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Override2.xml" ContentType="application/vnd.openxmlformats-officedocument.themeOverr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tags/tag26.xml" ContentType="application/vnd.openxmlformats-officedocument.presentationml.tags+xml"/>
  <Override PartName="/ppt/notesSlides/notesSlide10.xml" ContentType="application/vnd.openxmlformats-officedocument.presentationml.notesSlide+xml"/>
  <Override PartName="/ppt/tags/tag27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786" r:id="rId11"/>
    <p:sldMasterId id="2147483871" r:id="rId12"/>
  </p:sldMasterIdLst>
  <p:notesMasterIdLst>
    <p:notesMasterId r:id="rId58"/>
  </p:notesMasterIdLst>
  <p:handoutMasterIdLst>
    <p:handoutMasterId r:id="rId59"/>
  </p:handoutMasterIdLst>
  <p:sldIdLst>
    <p:sldId id="326" r:id="rId13"/>
    <p:sldId id="305" r:id="rId14"/>
    <p:sldId id="2147483277" r:id="rId15"/>
    <p:sldId id="2147483228" r:id="rId16"/>
    <p:sldId id="2147477256" r:id="rId17"/>
    <p:sldId id="2147483226" r:id="rId18"/>
    <p:sldId id="2147477257" r:id="rId19"/>
    <p:sldId id="2147483229" r:id="rId20"/>
    <p:sldId id="2147483235" r:id="rId21"/>
    <p:sldId id="2147483262" r:id="rId22"/>
    <p:sldId id="2147483263" r:id="rId23"/>
    <p:sldId id="2147483236" r:id="rId24"/>
    <p:sldId id="2147483237" r:id="rId25"/>
    <p:sldId id="2147483238" r:id="rId26"/>
    <p:sldId id="2147483239" r:id="rId27"/>
    <p:sldId id="2147483230" r:id="rId28"/>
    <p:sldId id="2147483231" r:id="rId29"/>
    <p:sldId id="2147483240" r:id="rId30"/>
    <p:sldId id="2147483269" r:id="rId31"/>
    <p:sldId id="2147483264" r:id="rId32"/>
    <p:sldId id="2147483265" r:id="rId33"/>
    <p:sldId id="2147477255" r:id="rId34"/>
    <p:sldId id="2147483267" r:id="rId35"/>
    <p:sldId id="2147483232" r:id="rId36"/>
    <p:sldId id="2147483251" r:id="rId37"/>
    <p:sldId id="2147483253" r:id="rId38"/>
    <p:sldId id="2147477254" r:id="rId39"/>
    <p:sldId id="2147477240" r:id="rId40"/>
    <p:sldId id="2147477239" r:id="rId41"/>
    <p:sldId id="2147483271" r:id="rId42"/>
    <p:sldId id="2147483243" r:id="rId43"/>
    <p:sldId id="2147483272" r:id="rId44"/>
    <p:sldId id="2147483273" r:id="rId45"/>
    <p:sldId id="2147483274" r:id="rId46"/>
    <p:sldId id="2147483275" r:id="rId47"/>
    <p:sldId id="2147483188" r:id="rId48"/>
    <p:sldId id="2147483191" r:id="rId49"/>
    <p:sldId id="2147483197" r:id="rId50"/>
    <p:sldId id="2147483206" r:id="rId51"/>
    <p:sldId id="2147483212" r:id="rId52"/>
    <p:sldId id="2147483218" r:id="rId53"/>
    <p:sldId id="2147483224" r:id="rId54"/>
    <p:sldId id="2147477247" r:id="rId55"/>
    <p:sldId id="2147477248" r:id="rId56"/>
    <p:sldId id="2147477246" r:id="rId57"/>
  </p:sldIdLst>
  <p:sldSz cx="12192000" cy="6858000"/>
  <p:notesSz cx="6858000" cy="9144000"/>
  <p:custDataLst>
    <p:custData r:id="rId7"/>
    <p:custData r:id="rId5"/>
    <p:custData r:id="rId3"/>
    <p:custData r:id="rId1"/>
    <p:custData r:id="rId2"/>
    <p:custData r:id="rId9"/>
    <p:custData r:id="rId10"/>
    <p:tags r:id="rId6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8CD3316-43F7-4E8C-90A0-93DF8BD8CA21}">
          <p14:sldIdLst>
            <p14:sldId id="326"/>
            <p14:sldId id="305"/>
            <p14:sldId id="2147483277"/>
            <p14:sldId id="2147483228"/>
            <p14:sldId id="2147477256"/>
            <p14:sldId id="2147483226"/>
          </p14:sldIdLst>
        </p14:section>
        <p14:section name="Inputs and Assumptions" id="{A8A86130-8820-4B3E-8555-8F193B83F2ED}">
          <p14:sldIdLst>
            <p14:sldId id="2147477257"/>
            <p14:sldId id="2147483229"/>
            <p14:sldId id="2147483235"/>
            <p14:sldId id="2147483262"/>
            <p14:sldId id="2147483263"/>
            <p14:sldId id="2147483236"/>
            <p14:sldId id="2147483237"/>
            <p14:sldId id="2147483238"/>
            <p14:sldId id="2147483239"/>
            <p14:sldId id="2147483230"/>
          </p14:sldIdLst>
        </p14:section>
        <p14:section name="CDM" id="{8B3906AF-70CE-4F64-8522-8C564FB6AE15}">
          <p14:sldIdLst>
            <p14:sldId id="2147483231"/>
            <p14:sldId id="2147483240"/>
            <p14:sldId id="2147483269"/>
            <p14:sldId id="2147483264"/>
            <p14:sldId id="2147483265"/>
            <p14:sldId id="2147477255"/>
            <p14:sldId id="2147483267"/>
            <p14:sldId id="2147483232"/>
          </p14:sldIdLst>
        </p14:section>
        <p14:section name="Wrap Up and Next Steps" id="{66A3D2FE-0544-4F22-A5FD-0AED33A79221}">
          <p14:sldIdLst>
            <p14:sldId id="2147483251"/>
            <p14:sldId id="2147483253"/>
          </p14:sldIdLst>
        </p14:section>
        <p14:section name="Appendix" id="{D8C5A219-0B16-4D87-9387-4FDDB5CF6AB6}">
          <p14:sldIdLst>
            <p14:sldId id="2147477254"/>
            <p14:sldId id="2147477240"/>
            <p14:sldId id="2147477239"/>
            <p14:sldId id="2147483271"/>
            <p14:sldId id="2147483243"/>
            <p14:sldId id="2147483272"/>
            <p14:sldId id="2147483273"/>
            <p14:sldId id="2147483274"/>
            <p14:sldId id="2147483275"/>
            <p14:sldId id="2147483188"/>
            <p14:sldId id="2147483191"/>
            <p14:sldId id="2147483197"/>
            <p14:sldId id="2147483206"/>
            <p14:sldId id="2147483212"/>
            <p14:sldId id="2147483218"/>
            <p14:sldId id="2147483224"/>
            <p14:sldId id="2147477247"/>
            <p14:sldId id="2147477248"/>
            <p14:sldId id="2147477246"/>
          </p14:sldIdLst>
        </p14:section>
      </p14:sectionLst>
    </p:ex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D2C8D17-FD65-FB54-A319-E3511F6C502A}" name="Ann Marie Vas" initials="AV" userId="S::avas@guidehouse.com::dff349ea-d376-495b-ac62-2f6f3a814efd" providerId="AD"/>
  <p188:author id="{32D2161D-AA4D-D273-AB68-0D9AE188B0C1}" name="Will Sierzchula" initials="WS" userId="S::will.sierzchula@guidehouse.com::a1fc03de-850a-4d02-85d4-4aa0074c9166" providerId="AD"/>
  <p188:author id="{7EAF3E2B-1995-93D3-D4A9-767A5668E56D}" name="Christy Morris" initials="CM" userId="S::cmorris@guidehouse.com::cf714ade-d8e1-4443-b69b-f2c9a6e3cdce" providerId="AD"/>
  <p188:author id="{735EE942-7792-6280-273B-E820DEA47E1B}" name="Karen Maoz" initials="KM" userId="S::karen.maoz@guidehouse.com::525c3a42-6de5-43fc-9111-67a73acdf964" providerId="AD"/>
  <p188:author id="{A2513858-515F-DAA2-4F27-A0B216AF9275}" name="Kathy Foltin" initials="KF" userId="S::kfoltin@guidehouse.com::e4e68a57-b30d-4037-a64f-8070b736549f" providerId="AD"/>
  <p188:author id="{00A49C81-6D57-93F5-80C2-0E3CFBF879B3}" name="Vivek Nath" initials="VN" userId="S::vivek.nath@guidehouse.com::06d3f116-6dbe-46ec-bc2a-23cbc04ad975" providerId="AD"/>
  <p188:author id="{1B78A3B9-2A25-1108-1651-495E1576E8A2}" name="Tiina Aardemae" initials="TA" userId="S::taardemae@guidehouse.com::aa87681a-cd13-423a-b2d6-2a582cf1d228" providerId="AD"/>
  <p188:author id="{4912B6E3-88C4-E905-63E6-3D2154446388}" name="Gavin Aiello" initials="GA" userId="S::gaiello@guidehouse.com::7e827c0a-2682-4fce-93e2-b0ca50e50c29" providerId="AD"/>
  <p188:author id="{FD7941E9-71DB-AA2C-7991-AAEE75B10B66}" name="Crystal Nickel" initials="CN" userId="S::cnickel@guidehouse.com::5f775c56-e983-4bd0-92ab-dc5f3c2d9ee9" providerId="AD"/>
  <p188:author id="{A5BBD5EE-E43B-6337-E9A3-E3BBC0D11C33}" name="Clayton, Emily" initials="CE" userId="S::emily.clayton_cpuc.ca.gov#ext#@accesshub.onmicrosoft.com::ead5f354-5b80-4eb0-b5b8-bdf219407779" providerId="AD"/>
  <p188:author id="{2AFCC4F8-417A-1D23-8A86-6A77D9D8FD13}" name="Shannon Willing" initials="SW" userId="S::swilling@guidehouse.com::962758e9-ff1a-47a6-abfd-793330ce251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F3F3"/>
    <a:srgbClr val="019587"/>
    <a:srgbClr val="00320B"/>
    <a:srgbClr val="40840B"/>
    <a:srgbClr val="002632"/>
    <a:srgbClr val="9DFED5"/>
    <a:srgbClr val="898989"/>
    <a:srgbClr val="0A0A0A"/>
    <a:srgbClr val="348CC2"/>
    <a:srgbClr val="BFE3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C4F877-92D1-4EAB-32A0-7C34B502680E}" v="62" dt="2025-10-21T22:49:46.188"/>
    <p1510:client id="{4C622207-6F0A-260F-83F2-DFD8AB63D84F}" v="54" dt="2025-10-22T17:56:46.795"/>
    <p1510:client id="{8FBC214A-A62C-4DD7-8297-A9A2B87FD9BF}" v="91" dt="2025-10-22T16:48:42.540"/>
  </p1510:revLst>
</p1510:revInfo>
</file>

<file path=ppt/tableStyles.xml><?xml version="1.0" encoding="utf-8"?>
<a:tblStyleLst xmlns:a="http://schemas.openxmlformats.org/drawingml/2006/main" def="{F5AB1C69-6EDB-4FF4-983F-18BD219EF32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48093" autoAdjust="0"/>
  </p:normalViewPr>
  <p:slideViewPr>
    <p:cSldViewPr snapToGrid="0">
      <p:cViewPr varScale="1">
        <p:scale>
          <a:sx n="47" d="100"/>
          <a:sy n="47" d="100"/>
        </p:scale>
        <p:origin x="1578" y="48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4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slide" Target="slides/slide30.xml"/><Relationship Id="rId47" Type="http://schemas.openxmlformats.org/officeDocument/2006/relationships/slide" Target="slides/slide35.xml"/><Relationship Id="rId50" Type="http://schemas.openxmlformats.org/officeDocument/2006/relationships/slide" Target="slides/slide38.xml"/><Relationship Id="rId55" Type="http://schemas.openxmlformats.org/officeDocument/2006/relationships/slide" Target="slides/slide43.xml"/><Relationship Id="rId63" Type="http://schemas.openxmlformats.org/officeDocument/2006/relationships/theme" Target="theme/theme1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9" Type="http://schemas.openxmlformats.org/officeDocument/2006/relationships/slide" Target="slides/slide17.xml"/><Relationship Id="rId11" Type="http://schemas.openxmlformats.org/officeDocument/2006/relationships/slideMaster" Target="slideMasters/slideMaster1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slide" Target="slides/slide28.xml"/><Relationship Id="rId45" Type="http://schemas.openxmlformats.org/officeDocument/2006/relationships/slide" Target="slides/slide33.xml"/><Relationship Id="rId53" Type="http://schemas.openxmlformats.org/officeDocument/2006/relationships/slide" Target="slides/slide41.xml"/><Relationship Id="rId58" Type="http://schemas.openxmlformats.org/officeDocument/2006/relationships/notesMaster" Target="notesMasters/notesMaster1.xml"/><Relationship Id="rId66" Type="http://schemas.microsoft.com/office/2018/10/relationships/authors" Target="authors.xml"/><Relationship Id="rId5" Type="http://schemas.openxmlformats.org/officeDocument/2006/relationships/customXml" Target="../customXml/item5.xml"/><Relationship Id="rId61" Type="http://schemas.openxmlformats.org/officeDocument/2006/relationships/presProps" Target="presProps.xml"/><Relationship Id="rId19" Type="http://schemas.openxmlformats.org/officeDocument/2006/relationships/slide" Target="slides/slide7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slide" Target="slides/slide31.xml"/><Relationship Id="rId48" Type="http://schemas.openxmlformats.org/officeDocument/2006/relationships/slide" Target="slides/slide36.xml"/><Relationship Id="rId56" Type="http://schemas.openxmlformats.org/officeDocument/2006/relationships/slide" Target="slides/slide44.xml"/><Relationship Id="rId64" Type="http://schemas.openxmlformats.org/officeDocument/2006/relationships/tableStyles" Target="tableStyles.xml"/><Relationship Id="rId8" Type="http://schemas.openxmlformats.org/officeDocument/2006/relationships/customXml" Target="../customXml/item8.xml"/><Relationship Id="rId51" Type="http://schemas.openxmlformats.org/officeDocument/2006/relationships/slide" Target="slides/slide39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slide" Target="slides/slide34.xml"/><Relationship Id="rId59" Type="http://schemas.openxmlformats.org/officeDocument/2006/relationships/handoutMaster" Target="handoutMasters/handoutMaster1.xml"/><Relationship Id="rId20" Type="http://schemas.openxmlformats.org/officeDocument/2006/relationships/slide" Target="slides/slide8.xml"/><Relationship Id="rId41" Type="http://schemas.openxmlformats.org/officeDocument/2006/relationships/slide" Target="slides/slide29.xml"/><Relationship Id="rId54" Type="http://schemas.openxmlformats.org/officeDocument/2006/relationships/slide" Target="slides/slide42.xml"/><Relationship Id="rId62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49" Type="http://schemas.openxmlformats.org/officeDocument/2006/relationships/slide" Target="slides/slide37.xml"/><Relationship Id="rId57" Type="http://schemas.openxmlformats.org/officeDocument/2006/relationships/slide" Target="slides/slide45.xml"/><Relationship Id="rId10" Type="http://schemas.openxmlformats.org/officeDocument/2006/relationships/customXml" Target="../customXml/item10.xml"/><Relationship Id="rId31" Type="http://schemas.openxmlformats.org/officeDocument/2006/relationships/slide" Target="slides/slide19.xml"/><Relationship Id="rId44" Type="http://schemas.openxmlformats.org/officeDocument/2006/relationships/slide" Target="slides/slide32.xml"/><Relationship Id="rId52" Type="http://schemas.openxmlformats.org/officeDocument/2006/relationships/slide" Target="slides/slide40.xml"/><Relationship Id="rId60" Type="http://schemas.openxmlformats.org/officeDocument/2006/relationships/tags" Target="tags/tag1.xml"/><Relationship Id="rId65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39" Type="http://schemas.openxmlformats.org/officeDocument/2006/relationships/slide" Target="slides/slide2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49474EC-0F50-6B3A-05FD-CC79826C44E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B160BC6-BF79-B840-75E6-6EE958C743E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DD94F8-2D5B-4368-9D16-993EC1948619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560F2A-195F-53E4-C0CF-51A2D70FC92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337D7DE-6E1F-1133-EBBB-51A2332FF43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1C9DCE-40E6-448C-99D7-18F0248CA6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67754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A756AC-950E-407D-B997-9F8281A4EB8E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2854C9-FAB8-4F12-AC50-7CC28BF7C9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128068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2854C9-FAB8-4F12-AC50-7CC28BF7C9C9}" type="slidenum">
              <a:rPr lang="en-US" smtClean="0"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36351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2854C9-FAB8-4F12-AC50-7CC28BF7C9C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77374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2854C9-FAB8-4F12-AC50-7CC28BF7C9C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5263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2854C9-FAB8-4F12-AC50-7CC28BF7C9C9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11404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773B1C-A675-471A-A047-E37FF95586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2ED0C50-7FDF-FB18-89F6-0CB998BC03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91C2F3A-AFD2-2731-FF16-7A6839226F9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E90CA0-C913-E877-1EF6-B0E8739B52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2854C9-FAB8-4F12-AC50-7CC28BF7C9C9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6507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196BDD-FE7A-FAFE-0AFB-62CE52E8BF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A7D433D-223E-31F1-55E8-FA737D042DE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A4DCBF1-19D2-5B59-98C8-C19A3BF2A0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EA48CD-C700-5992-99A3-DCBD37F45BE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2854C9-FAB8-4F12-AC50-7CC28BF7C9C9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544998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79A902-92E6-094B-FB7A-3CD5A001D4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39CBF0-9983-0CA3-5172-2A2EF2B65B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824C756-3FC1-5C6B-F4C6-61E8672D36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C53920-D4B8-2E2C-BBA4-9EB09C8B19C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2854C9-FAB8-4F12-AC50-7CC28BF7C9C9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250921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63B944-DA5B-4104-A0F9-E1C5AB142304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856674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EEC2CC-D024-6E18-D0C2-FE1AA0B388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E4154D1-4F48-8C32-9B63-6AF61E95FB9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ACE7538-08D6-BA56-65DA-6B1F2C0ABF5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BA7DF2-2FC1-0E4D-0F92-44EE84AAB7A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63B944-DA5B-4104-A0F9-E1C5AB142304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5743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BC4943-3EF2-9B84-84F2-C05857565C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DA47352-5815-7C90-87BA-1F1464D7E4D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7147FB9-8EB0-93B7-8E0A-EE50C92A7B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86D388-E33B-48B0-5A64-1076C398D7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63B944-DA5B-4104-A0F9-E1C5AB142304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6436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63B944-DA5B-4104-A0F9-E1C5AB142304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60590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2854C9-FAB8-4F12-AC50-7CC28BF7C9C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92355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63B944-DA5B-4104-A0F9-E1C5AB142304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515752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63B944-DA5B-4104-A0F9-E1C5AB142304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30851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63B944-DA5B-4104-A0F9-E1C5AB14230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42937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B7BAD3-AF26-C549-B9FF-03213EEFC56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29584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2854C9-FAB8-4F12-AC50-7CC28BF7C9C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9375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130D58-3D63-14E4-3EFF-48953FA09F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00C0C1F-3A80-B557-B738-33CDD04B10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6D93A14-F611-B0BE-FCCB-6C8BDE4148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B93C53-BD81-1A03-F76F-A30F75CB123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2854C9-FAB8-4F12-AC50-7CC28BF7C9C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43192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7FB023-7789-83DF-1C6B-E8C6B626A5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DA6E1B2-6ED2-7CB1-D0FB-79FC0643DF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F332AA-7BF3-2B34-6D9C-AA73C573589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F76443-8BF8-6990-05E1-39E30AA084A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2854C9-FAB8-4F12-AC50-7CC28BF7C9C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58028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endParaRPr lang="en-US" sz="1200">
              <a:solidFill>
                <a:schemeClr val="tx1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2854C9-FAB8-4F12-AC50-7CC28BF7C9C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0014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2854C9-FAB8-4F12-AC50-7CC28BF7C9C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99909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7" Type="http://schemas.openxmlformats.org/officeDocument/2006/relationships/image" Target="../media/image10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2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9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9.pn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0.png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svg"/><Relationship Id="rId7" Type="http://schemas.openxmlformats.org/officeDocument/2006/relationships/image" Target="../media/image37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6.png"/><Relationship Id="rId5" Type="http://schemas.openxmlformats.org/officeDocument/2006/relationships/image" Target="../media/image35.svg"/><Relationship Id="rId4" Type="http://schemas.openxmlformats.org/officeDocument/2006/relationships/image" Target="../media/image34.png"/></Relationships>
</file>

<file path=ppt/slideLayouts/_rels/slideLayout1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svg"/><Relationship Id="rId7" Type="http://schemas.openxmlformats.org/officeDocument/2006/relationships/image" Target="../media/image37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6.png"/><Relationship Id="rId5" Type="http://schemas.openxmlformats.org/officeDocument/2006/relationships/image" Target="../media/image35.svg"/><Relationship Id="rId4" Type="http://schemas.openxmlformats.org/officeDocument/2006/relationships/image" Target="../media/image34.png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1.svg"/><Relationship Id="rId4" Type="http://schemas.openxmlformats.org/officeDocument/2006/relationships/image" Target="../media/image40.png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7" Type="http://schemas.openxmlformats.org/officeDocument/2006/relationships/image" Target="../media/image3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.png"/><Relationship Id="rId5" Type="http://schemas.openxmlformats.org/officeDocument/2006/relationships/image" Target="../media/image43.svg"/><Relationship Id="rId4" Type="http://schemas.openxmlformats.org/officeDocument/2006/relationships/image" Target="../media/image25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7" Type="http://schemas.openxmlformats.org/officeDocument/2006/relationships/image" Target="../media/image45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4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4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6.png"/><Relationship Id="rId5" Type="http://schemas.openxmlformats.org/officeDocument/2006/relationships/image" Target="../media/image42.svg"/><Relationship Id="rId4" Type="http://schemas.openxmlformats.org/officeDocument/2006/relationships/image" Target="../media/image4.png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6.sv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9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0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svg"/><Relationship Id="rId7" Type="http://schemas.openxmlformats.org/officeDocument/2006/relationships/image" Target="../media/image37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6.png"/><Relationship Id="rId5" Type="http://schemas.openxmlformats.org/officeDocument/2006/relationships/image" Target="../media/image35.svg"/><Relationship Id="rId4" Type="http://schemas.openxmlformats.org/officeDocument/2006/relationships/image" Target="../media/image3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svg"/><Relationship Id="rId7" Type="http://schemas.openxmlformats.org/officeDocument/2006/relationships/image" Target="../media/image37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6.png"/><Relationship Id="rId5" Type="http://schemas.openxmlformats.org/officeDocument/2006/relationships/image" Target="../media/image35.svg"/><Relationship Id="rId4" Type="http://schemas.openxmlformats.org/officeDocument/2006/relationships/image" Target="../media/image34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1.svg"/><Relationship Id="rId4" Type="http://schemas.openxmlformats.org/officeDocument/2006/relationships/image" Target="../media/image40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7" Type="http://schemas.openxmlformats.org/officeDocument/2006/relationships/image" Target="../media/image3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43.svg"/><Relationship Id="rId4" Type="http://schemas.openxmlformats.org/officeDocument/2006/relationships/image" Target="../media/image25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7" Type="http://schemas.openxmlformats.org/officeDocument/2006/relationships/image" Target="../media/image45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4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4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6.png"/><Relationship Id="rId5" Type="http://schemas.openxmlformats.org/officeDocument/2006/relationships/image" Target="../media/image42.svg"/><Relationship Id="rId4" Type="http://schemas.openxmlformats.org/officeDocument/2006/relationships/image" Target="../media/image4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7" Type="http://schemas.openxmlformats.org/officeDocument/2006/relationships/image" Target="../media/image10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2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9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6.sv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2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1 - 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4ADC32B5-6938-17C4-2DFC-3B7C1D44061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8710864" y="2586790"/>
            <a:ext cx="309211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6000"/>
              <a:t>Vis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1E4B1B9-CCF8-13DC-9010-DF09F26923D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517358" y="2586790"/>
            <a:ext cx="309211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6000"/>
              <a:t>Mission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4CCA385-BADC-9412-0D5E-D86D6665ADB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609600" y="3730948"/>
            <a:ext cx="2936240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aphic 3">
            <a:extLst>
              <a:ext uri="{FF2B5EF4-FFF2-40B4-BE49-F238E27FC236}">
                <a16:creationId xmlns:a16="http://schemas.microsoft.com/office/drawing/2014/main" id="{B3F109DD-32AE-D92D-4621-BF43B58FB4A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09600" y="557212"/>
            <a:ext cx="1734668" cy="438912"/>
            <a:chOff x="609600" y="557212"/>
            <a:chExt cx="2667656" cy="674980"/>
          </a:xfrm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8BF33003-98EC-AC6E-F2E8-D433A9977017}"/>
                </a:ext>
              </a:extLst>
            </p:cNvPr>
            <p:cNvSpPr/>
            <p:nvPr/>
          </p:nvSpPr>
          <p:spPr>
            <a:xfrm>
              <a:off x="1180659" y="790421"/>
              <a:ext cx="2096597" cy="283512"/>
            </a:xfrm>
            <a:custGeom>
              <a:avLst/>
              <a:gdLst>
                <a:gd name="connsiteX0" fmla="*/ 129433 w 2096597"/>
                <a:gd name="connsiteY0" fmla="*/ 283512 h 283512"/>
                <a:gd name="connsiteX1" fmla="*/ 76968 w 2096597"/>
                <a:gd name="connsiteY1" fmla="*/ 273567 h 283512"/>
                <a:gd name="connsiteX2" fmla="*/ 36610 w 2096597"/>
                <a:gd name="connsiteY2" fmla="*/ 245461 h 283512"/>
                <a:gd name="connsiteX3" fmla="*/ 9369 w 2096597"/>
                <a:gd name="connsiteY3" fmla="*/ 199770 h 283512"/>
                <a:gd name="connsiteX4" fmla="*/ 0 w 2096597"/>
                <a:gd name="connsiteY4" fmla="*/ 142260 h 283512"/>
                <a:gd name="connsiteX5" fmla="*/ 10522 w 2096597"/>
                <a:gd name="connsiteY5" fmla="*/ 82733 h 283512"/>
                <a:gd name="connsiteX6" fmla="*/ 40358 w 2096597"/>
                <a:gd name="connsiteY6" fmla="*/ 36178 h 283512"/>
                <a:gd name="connsiteX7" fmla="*/ 80715 w 2096597"/>
                <a:gd name="connsiteY7" fmla="*/ 9513 h 283512"/>
                <a:gd name="connsiteX8" fmla="*/ 133612 w 2096597"/>
                <a:gd name="connsiteY8" fmla="*/ 0 h 283512"/>
                <a:gd name="connsiteX9" fmla="*/ 180744 w 2096597"/>
                <a:gd name="connsiteY9" fmla="*/ 6630 h 283512"/>
                <a:gd name="connsiteX10" fmla="*/ 216922 w 2096597"/>
                <a:gd name="connsiteY10" fmla="*/ 25656 h 283512"/>
                <a:gd name="connsiteX11" fmla="*/ 241425 w 2096597"/>
                <a:gd name="connsiteY11" fmla="*/ 55492 h 283512"/>
                <a:gd name="connsiteX12" fmla="*/ 254109 w 2096597"/>
                <a:gd name="connsiteY12" fmla="*/ 94264 h 283512"/>
                <a:gd name="connsiteX13" fmla="*/ 188672 w 2096597"/>
                <a:gd name="connsiteY13" fmla="*/ 94264 h 283512"/>
                <a:gd name="connsiteX14" fmla="*/ 171520 w 2096597"/>
                <a:gd name="connsiteY14" fmla="*/ 66446 h 283512"/>
                <a:gd name="connsiteX15" fmla="*/ 135774 w 2096597"/>
                <a:gd name="connsiteY15" fmla="*/ 55348 h 283512"/>
                <a:gd name="connsiteX16" fmla="*/ 106227 w 2096597"/>
                <a:gd name="connsiteY16" fmla="*/ 61978 h 283512"/>
                <a:gd name="connsiteX17" fmla="*/ 85039 w 2096597"/>
                <a:gd name="connsiteY17" fmla="*/ 80283 h 283512"/>
                <a:gd name="connsiteX18" fmla="*/ 72500 w 2096597"/>
                <a:gd name="connsiteY18" fmla="*/ 107668 h 283512"/>
                <a:gd name="connsiteX19" fmla="*/ 68320 w 2096597"/>
                <a:gd name="connsiteY19" fmla="*/ 142116 h 283512"/>
                <a:gd name="connsiteX20" fmla="*/ 73076 w 2096597"/>
                <a:gd name="connsiteY20" fmla="*/ 176709 h 283512"/>
                <a:gd name="connsiteX21" fmla="*/ 86625 w 2096597"/>
                <a:gd name="connsiteY21" fmla="*/ 204238 h 283512"/>
                <a:gd name="connsiteX22" fmla="*/ 108101 w 2096597"/>
                <a:gd name="connsiteY22" fmla="*/ 222255 h 283512"/>
                <a:gd name="connsiteX23" fmla="*/ 136783 w 2096597"/>
                <a:gd name="connsiteY23" fmla="*/ 228741 h 283512"/>
                <a:gd name="connsiteX24" fmla="*/ 160566 w 2096597"/>
                <a:gd name="connsiteY24" fmla="*/ 224705 h 283512"/>
                <a:gd name="connsiteX25" fmla="*/ 178438 w 2096597"/>
                <a:gd name="connsiteY25" fmla="*/ 214039 h 283512"/>
                <a:gd name="connsiteX26" fmla="*/ 190257 w 2096597"/>
                <a:gd name="connsiteY26" fmla="*/ 198761 h 283512"/>
                <a:gd name="connsiteX27" fmla="*/ 195734 w 2096597"/>
                <a:gd name="connsiteY27" fmla="*/ 181033 h 283512"/>
                <a:gd name="connsiteX28" fmla="*/ 195734 w 2096597"/>
                <a:gd name="connsiteY28" fmla="*/ 180312 h 283512"/>
                <a:gd name="connsiteX29" fmla="*/ 144711 w 2096597"/>
                <a:gd name="connsiteY29" fmla="*/ 180312 h 283512"/>
                <a:gd name="connsiteX30" fmla="*/ 144711 w 2096597"/>
                <a:gd name="connsiteY30" fmla="*/ 130874 h 283512"/>
                <a:gd name="connsiteX31" fmla="*/ 258144 w 2096597"/>
                <a:gd name="connsiteY31" fmla="*/ 130874 h 283512"/>
                <a:gd name="connsiteX32" fmla="*/ 258144 w 2096597"/>
                <a:gd name="connsiteY32" fmla="*/ 277026 h 283512"/>
                <a:gd name="connsiteX33" fmla="*/ 211013 w 2096597"/>
                <a:gd name="connsiteY33" fmla="*/ 277026 h 283512"/>
                <a:gd name="connsiteX34" fmla="*/ 207265 w 2096597"/>
                <a:gd name="connsiteY34" fmla="*/ 244308 h 283512"/>
                <a:gd name="connsiteX35" fmla="*/ 206544 w 2096597"/>
                <a:gd name="connsiteY35" fmla="*/ 244308 h 283512"/>
                <a:gd name="connsiteX36" fmla="*/ 173682 w 2096597"/>
                <a:gd name="connsiteY36" fmla="*/ 274143 h 283512"/>
                <a:gd name="connsiteX37" fmla="*/ 129288 w 2096597"/>
                <a:gd name="connsiteY37" fmla="*/ 283080 h 283512"/>
                <a:gd name="connsiteX38" fmla="*/ 358029 w 2096597"/>
                <a:gd name="connsiteY38" fmla="*/ 282647 h 283512"/>
                <a:gd name="connsiteX39" fmla="*/ 306862 w 2096597"/>
                <a:gd name="connsiteY39" fmla="*/ 262613 h 283512"/>
                <a:gd name="connsiteX40" fmla="*/ 289566 w 2096597"/>
                <a:gd name="connsiteY40" fmla="*/ 209859 h 283512"/>
                <a:gd name="connsiteX41" fmla="*/ 289566 w 2096597"/>
                <a:gd name="connsiteY41" fmla="*/ 82012 h 283512"/>
                <a:gd name="connsiteX42" fmla="*/ 351255 w 2096597"/>
                <a:gd name="connsiteY42" fmla="*/ 82012 h 283512"/>
                <a:gd name="connsiteX43" fmla="*/ 351255 w 2096597"/>
                <a:gd name="connsiteY43" fmla="*/ 197032 h 283512"/>
                <a:gd name="connsiteX44" fmla="*/ 358462 w 2096597"/>
                <a:gd name="connsiteY44" fmla="*/ 221534 h 283512"/>
                <a:gd name="connsiteX45" fmla="*/ 380514 w 2096597"/>
                <a:gd name="connsiteY45" fmla="*/ 230038 h 283512"/>
                <a:gd name="connsiteX46" fmla="*/ 405594 w 2096597"/>
                <a:gd name="connsiteY46" fmla="*/ 219228 h 283512"/>
                <a:gd name="connsiteX47" fmla="*/ 414674 w 2096597"/>
                <a:gd name="connsiteY47" fmla="*/ 190834 h 283512"/>
                <a:gd name="connsiteX48" fmla="*/ 414674 w 2096597"/>
                <a:gd name="connsiteY48" fmla="*/ 82012 h 283512"/>
                <a:gd name="connsiteX49" fmla="*/ 476652 w 2096597"/>
                <a:gd name="connsiteY49" fmla="*/ 82012 h 283512"/>
                <a:gd name="connsiteX50" fmla="*/ 476652 w 2096597"/>
                <a:gd name="connsiteY50" fmla="*/ 276882 h 283512"/>
                <a:gd name="connsiteX51" fmla="*/ 417269 w 2096597"/>
                <a:gd name="connsiteY51" fmla="*/ 276882 h 283512"/>
                <a:gd name="connsiteX52" fmla="*/ 417269 w 2096597"/>
                <a:gd name="connsiteY52" fmla="*/ 252956 h 283512"/>
                <a:gd name="connsiteX53" fmla="*/ 416116 w 2096597"/>
                <a:gd name="connsiteY53" fmla="*/ 252956 h 283512"/>
                <a:gd name="connsiteX54" fmla="*/ 391901 w 2096597"/>
                <a:gd name="connsiteY54" fmla="*/ 275008 h 283512"/>
                <a:gd name="connsiteX55" fmla="*/ 357885 w 2096597"/>
                <a:gd name="connsiteY55" fmla="*/ 282647 h 283512"/>
                <a:gd name="connsiteX56" fmla="*/ 511965 w 2096597"/>
                <a:gd name="connsiteY56" fmla="*/ 2162 h 283512"/>
                <a:gd name="connsiteX57" fmla="*/ 573943 w 2096597"/>
                <a:gd name="connsiteY57" fmla="*/ 2162 h 283512"/>
                <a:gd name="connsiteX58" fmla="*/ 573943 w 2096597"/>
                <a:gd name="connsiteY58" fmla="*/ 55059 h 283512"/>
                <a:gd name="connsiteX59" fmla="*/ 511965 w 2096597"/>
                <a:gd name="connsiteY59" fmla="*/ 55059 h 283512"/>
                <a:gd name="connsiteX60" fmla="*/ 511965 w 2096597"/>
                <a:gd name="connsiteY60" fmla="*/ 2162 h 283512"/>
                <a:gd name="connsiteX61" fmla="*/ 511965 w 2096597"/>
                <a:gd name="connsiteY61" fmla="*/ 82012 h 283512"/>
                <a:gd name="connsiteX62" fmla="*/ 573943 w 2096597"/>
                <a:gd name="connsiteY62" fmla="*/ 82012 h 283512"/>
                <a:gd name="connsiteX63" fmla="*/ 573943 w 2096597"/>
                <a:gd name="connsiteY63" fmla="*/ 276882 h 283512"/>
                <a:gd name="connsiteX64" fmla="*/ 511965 w 2096597"/>
                <a:gd name="connsiteY64" fmla="*/ 276882 h 283512"/>
                <a:gd name="connsiteX65" fmla="*/ 511965 w 2096597"/>
                <a:gd name="connsiteY65" fmla="*/ 82012 h 283512"/>
                <a:gd name="connsiteX66" fmla="*/ 685935 w 2096597"/>
                <a:gd name="connsiteY66" fmla="*/ 282936 h 283512"/>
                <a:gd name="connsiteX67" fmla="*/ 651631 w 2096597"/>
                <a:gd name="connsiteY67" fmla="*/ 275873 h 283512"/>
                <a:gd name="connsiteX68" fmla="*/ 624678 w 2096597"/>
                <a:gd name="connsiteY68" fmla="*/ 255550 h 283512"/>
                <a:gd name="connsiteX69" fmla="*/ 606949 w 2096597"/>
                <a:gd name="connsiteY69" fmla="*/ 222976 h 283512"/>
                <a:gd name="connsiteX70" fmla="*/ 600607 w 2096597"/>
                <a:gd name="connsiteY70" fmla="*/ 179447 h 283512"/>
                <a:gd name="connsiteX71" fmla="*/ 606949 w 2096597"/>
                <a:gd name="connsiteY71" fmla="*/ 137504 h 283512"/>
                <a:gd name="connsiteX72" fmla="*/ 624390 w 2096597"/>
                <a:gd name="connsiteY72" fmla="*/ 104930 h 283512"/>
                <a:gd name="connsiteX73" fmla="*/ 651199 w 2096597"/>
                <a:gd name="connsiteY73" fmla="*/ 83742 h 283512"/>
                <a:gd name="connsiteX74" fmla="*/ 685791 w 2096597"/>
                <a:gd name="connsiteY74" fmla="*/ 76103 h 283512"/>
                <a:gd name="connsiteX75" fmla="*/ 718942 w 2096597"/>
                <a:gd name="connsiteY75" fmla="*/ 83886 h 283512"/>
                <a:gd name="connsiteX76" fmla="*/ 740273 w 2096597"/>
                <a:gd name="connsiteY76" fmla="*/ 103921 h 283512"/>
                <a:gd name="connsiteX77" fmla="*/ 741426 w 2096597"/>
                <a:gd name="connsiteY77" fmla="*/ 103921 h 283512"/>
                <a:gd name="connsiteX78" fmla="*/ 741426 w 2096597"/>
                <a:gd name="connsiteY78" fmla="*/ 1874 h 283512"/>
                <a:gd name="connsiteX79" fmla="*/ 803404 w 2096597"/>
                <a:gd name="connsiteY79" fmla="*/ 1874 h 283512"/>
                <a:gd name="connsiteX80" fmla="*/ 803404 w 2096597"/>
                <a:gd name="connsiteY80" fmla="*/ 276738 h 283512"/>
                <a:gd name="connsiteX81" fmla="*/ 744021 w 2096597"/>
                <a:gd name="connsiteY81" fmla="*/ 276738 h 283512"/>
                <a:gd name="connsiteX82" fmla="*/ 744021 w 2096597"/>
                <a:gd name="connsiteY82" fmla="*/ 250505 h 283512"/>
                <a:gd name="connsiteX83" fmla="*/ 743300 w 2096597"/>
                <a:gd name="connsiteY83" fmla="*/ 250505 h 283512"/>
                <a:gd name="connsiteX84" fmla="*/ 719951 w 2096597"/>
                <a:gd name="connsiteY84" fmla="*/ 274287 h 283512"/>
                <a:gd name="connsiteX85" fmla="*/ 685935 w 2096597"/>
                <a:gd name="connsiteY85" fmla="*/ 282791 h 283512"/>
                <a:gd name="connsiteX86" fmla="*/ 701934 w 2096597"/>
                <a:gd name="connsiteY86" fmla="*/ 233642 h 283512"/>
                <a:gd name="connsiteX87" fmla="*/ 732202 w 2096597"/>
                <a:gd name="connsiteY87" fmla="*/ 218363 h 283512"/>
                <a:gd name="connsiteX88" fmla="*/ 743012 w 2096597"/>
                <a:gd name="connsiteY88" fmla="*/ 179159 h 283512"/>
                <a:gd name="connsiteX89" fmla="*/ 740562 w 2096597"/>
                <a:gd name="connsiteY89" fmla="*/ 156530 h 283512"/>
                <a:gd name="connsiteX90" fmla="*/ 732923 w 2096597"/>
                <a:gd name="connsiteY90" fmla="*/ 138657 h 283512"/>
                <a:gd name="connsiteX91" fmla="*/ 720383 w 2096597"/>
                <a:gd name="connsiteY91" fmla="*/ 126982 h 283512"/>
                <a:gd name="connsiteX92" fmla="*/ 702654 w 2096597"/>
                <a:gd name="connsiteY92" fmla="*/ 122802 h 283512"/>
                <a:gd name="connsiteX93" fmla="*/ 673683 w 2096597"/>
                <a:gd name="connsiteY93" fmla="*/ 138225 h 283512"/>
                <a:gd name="connsiteX94" fmla="*/ 663450 w 2096597"/>
                <a:gd name="connsiteY94" fmla="*/ 178438 h 283512"/>
                <a:gd name="connsiteX95" fmla="*/ 673539 w 2096597"/>
                <a:gd name="connsiteY95" fmla="*/ 218796 h 283512"/>
                <a:gd name="connsiteX96" fmla="*/ 701934 w 2096597"/>
                <a:gd name="connsiteY96" fmla="*/ 233642 h 283512"/>
                <a:gd name="connsiteX97" fmla="*/ 930242 w 2096597"/>
                <a:gd name="connsiteY97" fmla="*/ 282359 h 283512"/>
                <a:gd name="connsiteX98" fmla="*/ 886858 w 2096597"/>
                <a:gd name="connsiteY98" fmla="*/ 274576 h 283512"/>
                <a:gd name="connsiteX99" fmla="*/ 854139 w 2096597"/>
                <a:gd name="connsiteY99" fmla="*/ 252811 h 283512"/>
                <a:gd name="connsiteX100" fmla="*/ 833528 w 2096597"/>
                <a:gd name="connsiteY100" fmla="*/ 219949 h 283512"/>
                <a:gd name="connsiteX101" fmla="*/ 826322 w 2096597"/>
                <a:gd name="connsiteY101" fmla="*/ 178871 h 283512"/>
                <a:gd name="connsiteX102" fmla="*/ 833528 w 2096597"/>
                <a:gd name="connsiteY102" fmla="*/ 138369 h 283512"/>
                <a:gd name="connsiteX103" fmla="*/ 854139 w 2096597"/>
                <a:gd name="connsiteY103" fmla="*/ 105650 h 283512"/>
                <a:gd name="connsiteX104" fmla="*/ 885705 w 2096597"/>
                <a:gd name="connsiteY104" fmla="*/ 84030 h 283512"/>
                <a:gd name="connsiteX105" fmla="*/ 926495 w 2096597"/>
                <a:gd name="connsiteY105" fmla="*/ 76247 h 283512"/>
                <a:gd name="connsiteX106" fmla="*/ 963970 w 2096597"/>
                <a:gd name="connsiteY106" fmla="*/ 82733 h 283512"/>
                <a:gd name="connsiteX107" fmla="*/ 993085 w 2096597"/>
                <a:gd name="connsiteY107" fmla="*/ 100606 h 283512"/>
                <a:gd name="connsiteX108" fmla="*/ 1019173 w 2096597"/>
                <a:gd name="connsiteY108" fmla="*/ 141107 h 283512"/>
                <a:gd name="connsiteX109" fmla="*/ 1027389 w 2096597"/>
                <a:gd name="connsiteY109" fmla="*/ 195302 h 283512"/>
                <a:gd name="connsiteX110" fmla="*/ 887290 w 2096597"/>
                <a:gd name="connsiteY110" fmla="*/ 195302 h 283512"/>
                <a:gd name="connsiteX111" fmla="*/ 900983 w 2096597"/>
                <a:gd name="connsiteY111" fmla="*/ 226579 h 283512"/>
                <a:gd name="connsiteX112" fmla="*/ 931107 w 2096597"/>
                <a:gd name="connsiteY112" fmla="*/ 237966 h 283512"/>
                <a:gd name="connsiteX113" fmla="*/ 951286 w 2096597"/>
                <a:gd name="connsiteY113" fmla="*/ 232777 h 283512"/>
                <a:gd name="connsiteX114" fmla="*/ 963393 w 2096597"/>
                <a:gd name="connsiteY114" fmla="*/ 218508 h 283512"/>
                <a:gd name="connsiteX115" fmla="*/ 1023930 w 2096597"/>
                <a:gd name="connsiteY115" fmla="*/ 218508 h 283512"/>
                <a:gd name="connsiteX116" fmla="*/ 1012543 w 2096597"/>
                <a:gd name="connsiteY116" fmla="*/ 243875 h 283512"/>
                <a:gd name="connsiteX117" fmla="*/ 991211 w 2096597"/>
                <a:gd name="connsiteY117" fmla="*/ 264630 h 283512"/>
                <a:gd name="connsiteX118" fmla="*/ 963970 w 2096597"/>
                <a:gd name="connsiteY118" fmla="*/ 277891 h 283512"/>
                <a:gd name="connsiteX119" fmla="*/ 930242 w 2096597"/>
                <a:gd name="connsiteY119" fmla="*/ 282503 h 283512"/>
                <a:gd name="connsiteX120" fmla="*/ 964546 w 2096597"/>
                <a:gd name="connsiteY120" fmla="*/ 158404 h 283512"/>
                <a:gd name="connsiteX121" fmla="*/ 952727 w 2096597"/>
                <a:gd name="connsiteY121" fmla="*/ 130586 h 283512"/>
                <a:gd name="connsiteX122" fmla="*/ 927648 w 2096597"/>
                <a:gd name="connsiteY122" fmla="*/ 120352 h 283512"/>
                <a:gd name="connsiteX123" fmla="*/ 900262 w 2096597"/>
                <a:gd name="connsiteY123" fmla="*/ 130586 h 283512"/>
                <a:gd name="connsiteX124" fmla="*/ 887723 w 2096597"/>
                <a:gd name="connsiteY124" fmla="*/ 158404 h 283512"/>
                <a:gd name="connsiteX125" fmla="*/ 964546 w 2096597"/>
                <a:gd name="connsiteY125" fmla="*/ 158404 h 283512"/>
                <a:gd name="connsiteX126" fmla="*/ 1050162 w 2096597"/>
                <a:gd name="connsiteY126" fmla="*/ 2018 h 283512"/>
                <a:gd name="connsiteX127" fmla="*/ 1112140 w 2096597"/>
                <a:gd name="connsiteY127" fmla="*/ 2018 h 283512"/>
                <a:gd name="connsiteX128" fmla="*/ 1112140 w 2096597"/>
                <a:gd name="connsiteY128" fmla="*/ 105939 h 283512"/>
                <a:gd name="connsiteX129" fmla="*/ 1113293 w 2096597"/>
                <a:gd name="connsiteY129" fmla="*/ 105939 h 283512"/>
                <a:gd name="connsiteX130" fmla="*/ 1137219 w 2096597"/>
                <a:gd name="connsiteY130" fmla="*/ 84030 h 283512"/>
                <a:gd name="connsiteX131" fmla="*/ 1171091 w 2096597"/>
                <a:gd name="connsiteY131" fmla="*/ 76247 h 283512"/>
                <a:gd name="connsiteX132" fmla="*/ 1199629 w 2096597"/>
                <a:gd name="connsiteY132" fmla="*/ 81724 h 283512"/>
                <a:gd name="connsiteX133" fmla="*/ 1220961 w 2096597"/>
                <a:gd name="connsiteY133" fmla="*/ 97002 h 283512"/>
                <a:gd name="connsiteX134" fmla="*/ 1234366 w 2096597"/>
                <a:gd name="connsiteY134" fmla="*/ 120208 h 283512"/>
                <a:gd name="connsiteX135" fmla="*/ 1238978 w 2096597"/>
                <a:gd name="connsiteY135" fmla="*/ 150044 h 283512"/>
                <a:gd name="connsiteX136" fmla="*/ 1238978 w 2096597"/>
                <a:gd name="connsiteY136" fmla="*/ 276738 h 283512"/>
                <a:gd name="connsiteX137" fmla="*/ 1177000 w 2096597"/>
                <a:gd name="connsiteY137" fmla="*/ 276738 h 283512"/>
                <a:gd name="connsiteX138" fmla="*/ 1177000 w 2096597"/>
                <a:gd name="connsiteY138" fmla="*/ 162583 h 283512"/>
                <a:gd name="connsiteX139" fmla="*/ 1169361 w 2096597"/>
                <a:gd name="connsiteY139" fmla="*/ 137504 h 283512"/>
                <a:gd name="connsiteX140" fmla="*/ 1146588 w 2096597"/>
                <a:gd name="connsiteY140" fmla="*/ 127991 h 283512"/>
                <a:gd name="connsiteX141" fmla="*/ 1121653 w 2096597"/>
                <a:gd name="connsiteY141" fmla="*/ 139378 h 283512"/>
                <a:gd name="connsiteX142" fmla="*/ 1112284 w 2096597"/>
                <a:gd name="connsiteY142" fmla="*/ 169069 h 283512"/>
                <a:gd name="connsiteX143" fmla="*/ 1112284 w 2096597"/>
                <a:gd name="connsiteY143" fmla="*/ 276738 h 283512"/>
                <a:gd name="connsiteX144" fmla="*/ 1050306 w 2096597"/>
                <a:gd name="connsiteY144" fmla="*/ 276738 h 283512"/>
                <a:gd name="connsiteX145" fmla="*/ 1050306 w 2096597"/>
                <a:gd name="connsiteY145" fmla="*/ 1874 h 283512"/>
                <a:gd name="connsiteX146" fmla="*/ 1362645 w 2096597"/>
                <a:gd name="connsiteY146" fmla="*/ 282936 h 283512"/>
                <a:gd name="connsiteX147" fmla="*/ 1319837 w 2096597"/>
                <a:gd name="connsiteY147" fmla="*/ 275152 h 283512"/>
                <a:gd name="connsiteX148" fmla="*/ 1286830 w 2096597"/>
                <a:gd name="connsiteY148" fmla="*/ 253388 h 283512"/>
                <a:gd name="connsiteX149" fmla="*/ 1265787 w 2096597"/>
                <a:gd name="connsiteY149" fmla="*/ 220670 h 283512"/>
                <a:gd name="connsiteX150" fmla="*/ 1258292 w 2096597"/>
                <a:gd name="connsiteY150" fmla="*/ 179735 h 283512"/>
                <a:gd name="connsiteX151" fmla="*/ 1265787 w 2096597"/>
                <a:gd name="connsiteY151" fmla="*/ 138801 h 283512"/>
                <a:gd name="connsiteX152" fmla="*/ 1286830 w 2096597"/>
                <a:gd name="connsiteY152" fmla="*/ 106083 h 283512"/>
                <a:gd name="connsiteX153" fmla="*/ 1319837 w 2096597"/>
                <a:gd name="connsiteY153" fmla="*/ 84463 h 283512"/>
                <a:gd name="connsiteX154" fmla="*/ 1362645 w 2096597"/>
                <a:gd name="connsiteY154" fmla="*/ 76679 h 283512"/>
                <a:gd name="connsiteX155" fmla="*/ 1405453 w 2096597"/>
                <a:gd name="connsiteY155" fmla="*/ 84463 h 283512"/>
                <a:gd name="connsiteX156" fmla="*/ 1438171 w 2096597"/>
                <a:gd name="connsiteY156" fmla="*/ 106083 h 283512"/>
                <a:gd name="connsiteX157" fmla="*/ 1459071 w 2096597"/>
                <a:gd name="connsiteY157" fmla="*/ 138801 h 283512"/>
                <a:gd name="connsiteX158" fmla="*/ 1466422 w 2096597"/>
                <a:gd name="connsiteY158" fmla="*/ 179735 h 283512"/>
                <a:gd name="connsiteX159" fmla="*/ 1459071 w 2096597"/>
                <a:gd name="connsiteY159" fmla="*/ 220670 h 283512"/>
                <a:gd name="connsiteX160" fmla="*/ 1438171 w 2096597"/>
                <a:gd name="connsiteY160" fmla="*/ 253388 h 283512"/>
                <a:gd name="connsiteX161" fmla="*/ 1405453 w 2096597"/>
                <a:gd name="connsiteY161" fmla="*/ 275152 h 283512"/>
                <a:gd name="connsiteX162" fmla="*/ 1362645 w 2096597"/>
                <a:gd name="connsiteY162" fmla="*/ 282936 h 283512"/>
                <a:gd name="connsiteX163" fmla="*/ 1362213 w 2096597"/>
                <a:gd name="connsiteY163" fmla="*/ 238830 h 283512"/>
                <a:gd name="connsiteX164" fmla="*/ 1393201 w 2096597"/>
                <a:gd name="connsiteY164" fmla="*/ 222687 h 283512"/>
                <a:gd name="connsiteX165" fmla="*/ 1403723 w 2096597"/>
                <a:gd name="connsiteY165" fmla="*/ 179880 h 283512"/>
                <a:gd name="connsiteX166" fmla="*/ 1393201 w 2096597"/>
                <a:gd name="connsiteY166" fmla="*/ 136928 h 283512"/>
                <a:gd name="connsiteX167" fmla="*/ 1362213 w 2096597"/>
                <a:gd name="connsiteY167" fmla="*/ 120496 h 283512"/>
                <a:gd name="connsiteX168" fmla="*/ 1331368 w 2096597"/>
                <a:gd name="connsiteY168" fmla="*/ 136928 h 283512"/>
                <a:gd name="connsiteX169" fmla="*/ 1321134 w 2096597"/>
                <a:gd name="connsiteY169" fmla="*/ 179880 h 283512"/>
                <a:gd name="connsiteX170" fmla="*/ 1331368 w 2096597"/>
                <a:gd name="connsiteY170" fmla="*/ 222687 h 283512"/>
                <a:gd name="connsiteX171" fmla="*/ 1362213 w 2096597"/>
                <a:gd name="connsiteY171" fmla="*/ 238830 h 283512"/>
                <a:gd name="connsiteX172" fmla="*/ 1554488 w 2096597"/>
                <a:gd name="connsiteY172" fmla="*/ 282647 h 283512"/>
                <a:gd name="connsiteX173" fmla="*/ 1503320 w 2096597"/>
                <a:gd name="connsiteY173" fmla="*/ 262613 h 283512"/>
                <a:gd name="connsiteX174" fmla="*/ 1486024 w 2096597"/>
                <a:gd name="connsiteY174" fmla="*/ 209859 h 283512"/>
                <a:gd name="connsiteX175" fmla="*/ 1486024 w 2096597"/>
                <a:gd name="connsiteY175" fmla="*/ 82012 h 283512"/>
                <a:gd name="connsiteX176" fmla="*/ 1547713 w 2096597"/>
                <a:gd name="connsiteY176" fmla="*/ 82012 h 283512"/>
                <a:gd name="connsiteX177" fmla="*/ 1547713 w 2096597"/>
                <a:gd name="connsiteY177" fmla="*/ 197032 h 283512"/>
                <a:gd name="connsiteX178" fmla="*/ 1554920 w 2096597"/>
                <a:gd name="connsiteY178" fmla="*/ 221534 h 283512"/>
                <a:gd name="connsiteX179" fmla="*/ 1576973 w 2096597"/>
                <a:gd name="connsiteY179" fmla="*/ 230038 h 283512"/>
                <a:gd name="connsiteX180" fmla="*/ 1602052 w 2096597"/>
                <a:gd name="connsiteY180" fmla="*/ 219228 h 283512"/>
                <a:gd name="connsiteX181" fmla="*/ 1611132 w 2096597"/>
                <a:gd name="connsiteY181" fmla="*/ 190834 h 283512"/>
                <a:gd name="connsiteX182" fmla="*/ 1611132 w 2096597"/>
                <a:gd name="connsiteY182" fmla="*/ 82012 h 283512"/>
                <a:gd name="connsiteX183" fmla="*/ 1673110 w 2096597"/>
                <a:gd name="connsiteY183" fmla="*/ 82012 h 283512"/>
                <a:gd name="connsiteX184" fmla="*/ 1673110 w 2096597"/>
                <a:gd name="connsiteY184" fmla="*/ 276882 h 283512"/>
                <a:gd name="connsiteX185" fmla="*/ 1613727 w 2096597"/>
                <a:gd name="connsiteY185" fmla="*/ 276882 h 283512"/>
                <a:gd name="connsiteX186" fmla="*/ 1613727 w 2096597"/>
                <a:gd name="connsiteY186" fmla="*/ 252956 h 283512"/>
                <a:gd name="connsiteX187" fmla="*/ 1612574 w 2096597"/>
                <a:gd name="connsiteY187" fmla="*/ 252956 h 283512"/>
                <a:gd name="connsiteX188" fmla="*/ 1588359 w 2096597"/>
                <a:gd name="connsiteY188" fmla="*/ 275008 h 283512"/>
                <a:gd name="connsiteX189" fmla="*/ 1554344 w 2096597"/>
                <a:gd name="connsiteY189" fmla="*/ 282647 h 283512"/>
                <a:gd name="connsiteX190" fmla="*/ 1789571 w 2096597"/>
                <a:gd name="connsiteY190" fmla="*/ 283080 h 283512"/>
                <a:gd name="connsiteX191" fmla="*/ 1721395 w 2096597"/>
                <a:gd name="connsiteY191" fmla="*/ 264630 h 283512"/>
                <a:gd name="connsiteX192" fmla="*/ 1694730 w 2096597"/>
                <a:gd name="connsiteY192" fmla="*/ 213751 h 283512"/>
                <a:gd name="connsiteX193" fmla="*/ 1753393 w 2096597"/>
                <a:gd name="connsiteY193" fmla="*/ 213751 h 283512"/>
                <a:gd name="connsiteX194" fmla="*/ 1764491 w 2096597"/>
                <a:gd name="connsiteY194" fmla="*/ 235515 h 283512"/>
                <a:gd name="connsiteX195" fmla="*/ 1789282 w 2096597"/>
                <a:gd name="connsiteY195" fmla="*/ 242722 h 283512"/>
                <a:gd name="connsiteX196" fmla="*/ 1811479 w 2096597"/>
                <a:gd name="connsiteY196" fmla="*/ 237821 h 283512"/>
                <a:gd name="connsiteX197" fmla="*/ 1819695 w 2096597"/>
                <a:gd name="connsiteY197" fmla="*/ 223408 h 283512"/>
                <a:gd name="connsiteX198" fmla="*/ 1815515 w 2096597"/>
                <a:gd name="connsiteY198" fmla="*/ 212886 h 283512"/>
                <a:gd name="connsiteX199" fmla="*/ 1804416 w 2096597"/>
                <a:gd name="connsiteY199" fmla="*/ 206400 h 283512"/>
                <a:gd name="connsiteX200" fmla="*/ 1788562 w 2096597"/>
                <a:gd name="connsiteY200" fmla="*/ 202653 h 283512"/>
                <a:gd name="connsiteX201" fmla="*/ 1770112 w 2096597"/>
                <a:gd name="connsiteY201" fmla="*/ 199482 h 283512"/>
                <a:gd name="connsiteX202" fmla="*/ 1745033 w 2096597"/>
                <a:gd name="connsiteY202" fmla="*/ 194005 h 283512"/>
                <a:gd name="connsiteX203" fmla="*/ 1722404 w 2096597"/>
                <a:gd name="connsiteY203" fmla="*/ 184348 h 283512"/>
                <a:gd name="connsiteX204" fmla="*/ 1706261 w 2096597"/>
                <a:gd name="connsiteY204" fmla="*/ 167052 h 283512"/>
                <a:gd name="connsiteX205" fmla="*/ 1700207 w 2096597"/>
                <a:gd name="connsiteY205" fmla="*/ 139090 h 283512"/>
                <a:gd name="connsiteX206" fmla="*/ 1706837 w 2096597"/>
                <a:gd name="connsiteY206" fmla="*/ 111992 h 283512"/>
                <a:gd name="connsiteX207" fmla="*/ 1724999 w 2096597"/>
                <a:gd name="connsiteY207" fmla="*/ 92390 h 283512"/>
                <a:gd name="connsiteX208" fmla="*/ 1751808 w 2096597"/>
                <a:gd name="connsiteY208" fmla="*/ 80571 h 283512"/>
                <a:gd name="connsiteX209" fmla="*/ 1784382 w 2096597"/>
                <a:gd name="connsiteY209" fmla="*/ 76535 h 283512"/>
                <a:gd name="connsiteX210" fmla="*/ 1847945 w 2096597"/>
                <a:gd name="connsiteY210" fmla="*/ 93255 h 283512"/>
                <a:gd name="connsiteX211" fmla="*/ 1872304 w 2096597"/>
                <a:gd name="connsiteY211" fmla="*/ 138945 h 283512"/>
                <a:gd name="connsiteX212" fmla="*/ 1815226 w 2096597"/>
                <a:gd name="connsiteY212" fmla="*/ 138945 h 283512"/>
                <a:gd name="connsiteX213" fmla="*/ 1805137 w 2096597"/>
                <a:gd name="connsiteY213" fmla="*/ 120929 h 283512"/>
                <a:gd name="connsiteX214" fmla="*/ 1783949 w 2096597"/>
                <a:gd name="connsiteY214" fmla="*/ 116172 h 283512"/>
                <a:gd name="connsiteX215" fmla="*/ 1764780 w 2096597"/>
                <a:gd name="connsiteY215" fmla="*/ 120496 h 283512"/>
                <a:gd name="connsiteX216" fmla="*/ 1756996 w 2096597"/>
                <a:gd name="connsiteY216" fmla="*/ 134045 h 283512"/>
                <a:gd name="connsiteX217" fmla="*/ 1760744 w 2096597"/>
                <a:gd name="connsiteY217" fmla="*/ 142405 h 283512"/>
                <a:gd name="connsiteX218" fmla="*/ 1770977 w 2096597"/>
                <a:gd name="connsiteY218" fmla="*/ 147593 h 283512"/>
                <a:gd name="connsiteX219" fmla="*/ 1785967 w 2096597"/>
                <a:gd name="connsiteY219" fmla="*/ 151197 h 283512"/>
                <a:gd name="connsiteX220" fmla="*/ 1803696 w 2096597"/>
                <a:gd name="connsiteY220" fmla="*/ 154224 h 283512"/>
                <a:gd name="connsiteX221" fmla="*/ 1829784 w 2096597"/>
                <a:gd name="connsiteY221" fmla="*/ 159701 h 283512"/>
                <a:gd name="connsiteX222" fmla="*/ 1853710 w 2096597"/>
                <a:gd name="connsiteY222" fmla="*/ 169790 h 283512"/>
                <a:gd name="connsiteX223" fmla="*/ 1871439 w 2096597"/>
                <a:gd name="connsiteY223" fmla="*/ 188239 h 283512"/>
                <a:gd name="connsiteX224" fmla="*/ 1878357 w 2096597"/>
                <a:gd name="connsiteY224" fmla="*/ 218508 h 283512"/>
                <a:gd name="connsiteX225" fmla="*/ 1871727 w 2096597"/>
                <a:gd name="connsiteY225" fmla="*/ 246614 h 283512"/>
                <a:gd name="connsiteX226" fmla="*/ 1853278 w 2096597"/>
                <a:gd name="connsiteY226" fmla="*/ 266792 h 283512"/>
                <a:gd name="connsiteX227" fmla="*/ 1825172 w 2096597"/>
                <a:gd name="connsiteY227" fmla="*/ 279044 h 283512"/>
                <a:gd name="connsiteX228" fmla="*/ 1789715 w 2096597"/>
                <a:gd name="connsiteY228" fmla="*/ 283224 h 283512"/>
                <a:gd name="connsiteX229" fmla="*/ 1999430 w 2096597"/>
                <a:gd name="connsiteY229" fmla="*/ 282791 h 283512"/>
                <a:gd name="connsiteX230" fmla="*/ 1956046 w 2096597"/>
                <a:gd name="connsiteY230" fmla="*/ 275008 h 283512"/>
                <a:gd name="connsiteX231" fmla="*/ 1923327 w 2096597"/>
                <a:gd name="connsiteY231" fmla="*/ 253244 h 283512"/>
                <a:gd name="connsiteX232" fmla="*/ 1902716 w 2096597"/>
                <a:gd name="connsiteY232" fmla="*/ 220381 h 283512"/>
                <a:gd name="connsiteX233" fmla="*/ 1895509 w 2096597"/>
                <a:gd name="connsiteY233" fmla="*/ 179303 h 283512"/>
                <a:gd name="connsiteX234" fmla="*/ 1902716 w 2096597"/>
                <a:gd name="connsiteY234" fmla="*/ 138801 h 283512"/>
                <a:gd name="connsiteX235" fmla="*/ 1923327 w 2096597"/>
                <a:gd name="connsiteY235" fmla="*/ 106083 h 283512"/>
                <a:gd name="connsiteX236" fmla="*/ 1954893 w 2096597"/>
                <a:gd name="connsiteY236" fmla="*/ 84463 h 283512"/>
                <a:gd name="connsiteX237" fmla="*/ 1995683 w 2096597"/>
                <a:gd name="connsiteY237" fmla="*/ 76679 h 283512"/>
                <a:gd name="connsiteX238" fmla="*/ 2033157 w 2096597"/>
                <a:gd name="connsiteY238" fmla="*/ 83165 h 283512"/>
                <a:gd name="connsiteX239" fmla="*/ 2062273 w 2096597"/>
                <a:gd name="connsiteY239" fmla="*/ 101038 h 283512"/>
                <a:gd name="connsiteX240" fmla="*/ 2088361 w 2096597"/>
                <a:gd name="connsiteY240" fmla="*/ 141540 h 283512"/>
                <a:gd name="connsiteX241" fmla="*/ 2096577 w 2096597"/>
                <a:gd name="connsiteY241" fmla="*/ 195734 h 283512"/>
                <a:gd name="connsiteX242" fmla="*/ 1956478 w 2096597"/>
                <a:gd name="connsiteY242" fmla="*/ 195734 h 283512"/>
                <a:gd name="connsiteX243" fmla="*/ 1970171 w 2096597"/>
                <a:gd name="connsiteY243" fmla="*/ 227011 h 283512"/>
                <a:gd name="connsiteX244" fmla="*/ 2000295 w 2096597"/>
                <a:gd name="connsiteY244" fmla="*/ 238398 h 283512"/>
                <a:gd name="connsiteX245" fmla="*/ 2020474 w 2096597"/>
                <a:gd name="connsiteY245" fmla="*/ 233209 h 283512"/>
                <a:gd name="connsiteX246" fmla="*/ 2032725 w 2096597"/>
                <a:gd name="connsiteY246" fmla="*/ 218940 h 283512"/>
                <a:gd name="connsiteX247" fmla="*/ 2093262 w 2096597"/>
                <a:gd name="connsiteY247" fmla="*/ 218940 h 283512"/>
                <a:gd name="connsiteX248" fmla="*/ 2081875 w 2096597"/>
                <a:gd name="connsiteY248" fmla="*/ 244308 h 283512"/>
                <a:gd name="connsiteX249" fmla="*/ 2060543 w 2096597"/>
                <a:gd name="connsiteY249" fmla="*/ 265063 h 283512"/>
                <a:gd name="connsiteX250" fmla="*/ 2033302 w 2096597"/>
                <a:gd name="connsiteY250" fmla="*/ 278323 h 283512"/>
                <a:gd name="connsiteX251" fmla="*/ 1999574 w 2096597"/>
                <a:gd name="connsiteY251" fmla="*/ 282936 h 283512"/>
                <a:gd name="connsiteX252" fmla="*/ 2033878 w 2096597"/>
                <a:gd name="connsiteY252" fmla="*/ 158836 h 283512"/>
                <a:gd name="connsiteX253" fmla="*/ 2022059 w 2096597"/>
                <a:gd name="connsiteY253" fmla="*/ 131018 h 283512"/>
                <a:gd name="connsiteX254" fmla="*/ 1996980 w 2096597"/>
                <a:gd name="connsiteY254" fmla="*/ 120784 h 283512"/>
                <a:gd name="connsiteX255" fmla="*/ 1969594 w 2096597"/>
                <a:gd name="connsiteY255" fmla="*/ 131018 h 283512"/>
                <a:gd name="connsiteX256" fmla="*/ 1957055 w 2096597"/>
                <a:gd name="connsiteY256" fmla="*/ 158836 h 283512"/>
                <a:gd name="connsiteX257" fmla="*/ 2033878 w 2096597"/>
                <a:gd name="connsiteY257" fmla="*/ 158836 h 283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</a:cxnLst>
              <a:rect l="l" t="t" r="r" b="b"/>
              <a:pathLst>
                <a:path w="2096597" h="283512">
                  <a:moveTo>
                    <a:pt x="129433" y="283512"/>
                  </a:moveTo>
                  <a:cubicBezTo>
                    <a:pt x="109830" y="283512"/>
                    <a:pt x="92390" y="280197"/>
                    <a:pt x="76968" y="273567"/>
                  </a:cubicBezTo>
                  <a:cubicBezTo>
                    <a:pt x="61545" y="266937"/>
                    <a:pt x="47997" y="257568"/>
                    <a:pt x="36610" y="245461"/>
                  </a:cubicBezTo>
                  <a:cubicBezTo>
                    <a:pt x="24647" y="232489"/>
                    <a:pt x="15567" y="217354"/>
                    <a:pt x="9369" y="199770"/>
                  </a:cubicBezTo>
                  <a:cubicBezTo>
                    <a:pt x="3171" y="182330"/>
                    <a:pt x="0" y="163160"/>
                    <a:pt x="0" y="142260"/>
                  </a:cubicBezTo>
                  <a:cubicBezTo>
                    <a:pt x="0" y="121361"/>
                    <a:pt x="3459" y="100894"/>
                    <a:pt x="10522" y="82733"/>
                  </a:cubicBezTo>
                  <a:cubicBezTo>
                    <a:pt x="17440" y="64572"/>
                    <a:pt x="27386" y="49006"/>
                    <a:pt x="40358" y="36178"/>
                  </a:cubicBezTo>
                  <a:cubicBezTo>
                    <a:pt x="51744" y="24791"/>
                    <a:pt x="65149" y="15855"/>
                    <a:pt x="80715" y="9513"/>
                  </a:cubicBezTo>
                  <a:cubicBezTo>
                    <a:pt x="96138" y="3171"/>
                    <a:pt x="113866" y="0"/>
                    <a:pt x="133612" y="0"/>
                  </a:cubicBezTo>
                  <a:cubicBezTo>
                    <a:pt x="151053" y="0"/>
                    <a:pt x="166907" y="2162"/>
                    <a:pt x="180744" y="6630"/>
                  </a:cubicBezTo>
                  <a:cubicBezTo>
                    <a:pt x="194725" y="11098"/>
                    <a:pt x="206833" y="17440"/>
                    <a:pt x="216922" y="25656"/>
                  </a:cubicBezTo>
                  <a:cubicBezTo>
                    <a:pt x="227011" y="33872"/>
                    <a:pt x="235227" y="43817"/>
                    <a:pt x="241425" y="55492"/>
                  </a:cubicBezTo>
                  <a:cubicBezTo>
                    <a:pt x="247623" y="67167"/>
                    <a:pt x="251947" y="80139"/>
                    <a:pt x="254109" y="94264"/>
                  </a:cubicBezTo>
                  <a:lnTo>
                    <a:pt x="188672" y="94264"/>
                  </a:lnTo>
                  <a:cubicBezTo>
                    <a:pt x="186077" y="83165"/>
                    <a:pt x="180456" y="73797"/>
                    <a:pt x="171520" y="66446"/>
                  </a:cubicBezTo>
                  <a:cubicBezTo>
                    <a:pt x="162583" y="59095"/>
                    <a:pt x="150764" y="55348"/>
                    <a:pt x="135774" y="55348"/>
                  </a:cubicBezTo>
                  <a:cubicBezTo>
                    <a:pt x="124532" y="55348"/>
                    <a:pt x="114731" y="57654"/>
                    <a:pt x="106227" y="61978"/>
                  </a:cubicBezTo>
                  <a:cubicBezTo>
                    <a:pt x="97723" y="66446"/>
                    <a:pt x="90660" y="72500"/>
                    <a:pt x="85039" y="80283"/>
                  </a:cubicBezTo>
                  <a:cubicBezTo>
                    <a:pt x="79418" y="88066"/>
                    <a:pt x="75238" y="97146"/>
                    <a:pt x="72500" y="107668"/>
                  </a:cubicBezTo>
                  <a:cubicBezTo>
                    <a:pt x="69761" y="118190"/>
                    <a:pt x="68320" y="129721"/>
                    <a:pt x="68320" y="142116"/>
                  </a:cubicBezTo>
                  <a:cubicBezTo>
                    <a:pt x="68320" y="154512"/>
                    <a:pt x="69905" y="166043"/>
                    <a:pt x="73076" y="176709"/>
                  </a:cubicBezTo>
                  <a:cubicBezTo>
                    <a:pt x="76247" y="187375"/>
                    <a:pt x="80715" y="196599"/>
                    <a:pt x="86625" y="204238"/>
                  </a:cubicBezTo>
                  <a:cubicBezTo>
                    <a:pt x="92534" y="212021"/>
                    <a:pt x="99597" y="218075"/>
                    <a:pt x="108101" y="222255"/>
                  </a:cubicBezTo>
                  <a:cubicBezTo>
                    <a:pt x="116605" y="226579"/>
                    <a:pt x="126117" y="228741"/>
                    <a:pt x="136783" y="228741"/>
                  </a:cubicBezTo>
                  <a:cubicBezTo>
                    <a:pt x="145576" y="228741"/>
                    <a:pt x="153647" y="227444"/>
                    <a:pt x="160566" y="224705"/>
                  </a:cubicBezTo>
                  <a:cubicBezTo>
                    <a:pt x="167484" y="222111"/>
                    <a:pt x="173538" y="218508"/>
                    <a:pt x="178438" y="214039"/>
                  </a:cubicBezTo>
                  <a:cubicBezTo>
                    <a:pt x="183339" y="209571"/>
                    <a:pt x="187375" y="204526"/>
                    <a:pt x="190257" y="198761"/>
                  </a:cubicBezTo>
                  <a:cubicBezTo>
                    <a:pt x="193140" y="193140"/>
                    <a:pt x="195014" y="187230"/>
                    <a:pt x="195734" y="181033"/>
                  </a:cubicBezTo>
                  <a:lnTo>
                    <a:pt x="195734" y="180312"/>
                  </a:lnTo>
                  <a:lnTo>
                    <a:pt x="144711" y="180312"/>
                  </a:lnTo>
                  <a:lnTo>
                    <a:pt x="144711" y="130874"/>
                  </a:lnTo>
                  <a:lnTo>
                    <a:pt x="258144" y="130874"/>
                  </a:lnTo>
                  <a:lnTo>
                    <a:pt x="258144" y="277026"/>
                  </a:lnTo>
                  <a:lnTo>
                    <a:pt x="211013" y="277026"/>
                  </a:lnTo>
                  <a:lnTo>
                    <a:pt x="207265" y="244308"/>
                  </a:lnTo>
                  <a:lnTo>
                    <a:pt x="206544" y="244308"/>
                  </a:lnTo>
                  <a:cubicBezTo>
                    <a:pt x="197608" y="258289"/>
                    <a:pt x="186654" y="268234"/>
                    <a:pt x="173682" y="274143"/>
                  </a:cubicBezTo>
                  <a:cubicBezTo>
                    <a:pt x="160566" y="280053"/>
                    <a:pt x="145864" y="283080"/>
                    <a:pt x="129288" y="283080"/>
                  </a:cubicBezTo>
                  <a:moveTo>
                    <a:pt x="358029" y="282647"/>
                  </a:moveTo>
                  <a:cubicBezTo>
                    <a:pt x="335400" y="282647"/>
                    <a:pt x="318393" y="276017"/>
                    <a:pt x="306862" y="262613"/>
                  </a:cubicBezTo>
                  <a:cubicBezTo>
                    <a:pt x="295331" y="249352"/>
                    <a:pt x="289566" y="231768"/>
                    <a:pt x="289566" y="209859"/>
                  </a:cubicBezTo>
                  <a:lnTo>
                    <a:pt x="289566" y="82012"/>
                  </a:lnTo>
                  <a:lnTo>
                    <a:pt x="351255" y="82012"/>
                  </a:lnTo>
                  <a:lnTo>
                    <a:pt x="351255" y="197032"/>
                  </a:lnTo>
                  <a:cubicBezTo>
                    <a:pt x="351255" y="207697"/>
                    <a:pt x="353705" y="215913"/>
                    <a:pt x="358462" y="221534"/>
                  </a:cubicBezTo>
                  <a:cubicBezTo>
                    <a:pt x="363218" y="227300"/>
                    <a:pt x="370713" y="230038"/>
                    <a:pt x="380514" y="230038"/>
                  </a:cubicBezTo>
                  <a:cubicBezTo>
                    <a:pt x="391180" y="230038"/>
                    <a:pt x="399540" y="226435"/>
                    <a:pt x="405594" y="219228"/>
                  </a:cubicBezTo>
                  <a:cubicBezTo>
                    <a:pt x="411647" y="212021"/>
                    <a:pt x="414674" y="202509"/>
                    <a:pt x="414674" y="190834"/>
                  </a:cubicBezTo>
                  <a:lnTo>
                    <a:pt x="414674" y="82012"/>
                  </a:lnTo>
                  <a:lnTo>
                    <a:pt x="476652" y="82012"/>
                  </a:lnTo>
                  <a:lnTo>
                    <a:pt x="476652" y="276882"/>
                  </a:lnTo>
                  <a:lnTo>
                    <a:pt x="417269" y="276882"/>
                  </a:lnTo>
                  <a:lnTo>
                    <a:pt x="417269" y="252956"/>
                  </a:lnTo>
                  <a:lnTo>
                    <a:pt x="416116" y="252956"/>
                  </a:lnTo>
                  <a:cubicBezTo>
                    <a:pt x="409053" y="262613"/>
                    <a:pt x="400981" y="269963"/>
                    <a:pt x="391901" y="275008"/>
                  </a:cubicBezTo>
                  <a:cubicBezTo>
                    <a:pt x="382965" y="280053"/>
                    <a:pt x="371578" y="282647"/>
                    <a:pt x="357885" y="282647"/>
                  </a:cubicBezTo>
                  <a:moveTo>
                    <a:pt x="511965" y="2162"/>
                  </a:moveTo>
                  <a:lnTo>
                    <a:pt x="573943" y="2162"/>
                  </a:lnTo>
                  <a:lnTo>
                    <a:pt x="573943" y="55059"/>
                  </a:lnTo>
                  <a:lnTo>
                    <a:pt x="511965" y="55059"/>
                  </a:lnTo>
                  <a:lnTo>
                    <a:pt x="511965" y="2162"/>
                  </a:lnTo>
                  <a:close/>
                  <a:moveTo>
                    <a:pt x="511965" y="82012"/>
                  </a:moveTo>
                  <a:lnTo>
                    <a:pt x="573943" y="82012"/>
                  </a:lnTo>
                  <a:lnTo>
                    <a:pt x="573943" y="276882"/>
                  </a:lnTo>
                  <a:lnTo>
                    <a:pt x="511965" y="276882"/>
                  </a:lnTo>
                  <a:lnTo>
                    <a:pt x="511965" y="82012"/>
                  </a:lnTo>
                  <a:close/>
                  <a:moveTo>
                    <a:pt x="685935" y="282936"/>
                  </a:moveTo>
                  <a:cubicBezTo>
                    <a:pt x="673539" y="282936"/>
                    <a:pt x="662009" y="280629"/>
                    <a:pt x="651631" y="275873"/>
                  </a:cubicBezTo>
                  <a:cubicBezTo>
                    <a:pt x="641253" y="271117"/>
                    <a:pt x="632173" y="264342"/>
                    <a:pt x="624678" y="255550"/>
                  </a:cubicBezTo>
                  <a:cubicBezTo>
                    <a:pt x="617039" y="246614"/>
                    <a:pt x="611129" y="235804"/>
                    <a:pt x="606949" y="222976"/>
                  </a:cubicBezTo>
                  <a:cubicBezTo>
                    <a:pt x="602769" y="210148"/>
                    <a:pt x="600607" y="195590"/>
                    <a:pt x="600607" y="179447"/>
                  </a:cubicBezTo>
                  <a:cubicBezTo>
                    <a:pt x="600607" y="164169"/>
                    <a:pt x="602769" y="150332"/>
                    <a:pt x="606949" y="137504"/>
                  </a:cubicBezTo>
                  <a:cubicBezTo>
                    <a:pt x="611129" y="124820"/>
                    <a:pt x="617039" y="114010"/>
                    <a:pt x="624390" y="104930"/>
                  </a:cubicBezTo>
                  <a:cubicBezTo>
                    <a:pt x="631884" y="95993"/>
                    <a:pt x="640821" y="88931"/>
                    <a:pt x="651199" y="83742"/>
                  </a:cubicBezTo>
                  <a:cubicBezTo>
                    <a:pt x="661576" y="78697"/>
                    <a:pt x="673107" y="76103"/>
                    <a:pt x="685791" y="76103"/>
                  </a:cubicBezTo>
                  <a:cubicBezTo>
                    <a:pt x="699483" y="76103"/>
                    <a:pt x="710582" y="78697"/>
                    <a:pt x="718942" y="83886"/>
                  </a:cubicBezTo>
                  <a:cubicBezTo>
                    <a:pt x="727301" y="89075"/>
                    <a:pt x="734364" y="95705"/>
                    <a:pt x="740273" y="103921"/>
                  </a:cubicBezTo>
                  <a:lnTo>
                    <a:pt x="741426" y="103921"/>
                  </a:lnTo>
                  <a:lnTo>
                    <a:pt x="741426" y="1874"/>
                  </a:lnTo>
                  <a:lnTo>
                    <a:pt x="803404" y="1874"/>
                  </a:lnTo>
                  <a:lnTo>
                    <a:pt x="803404" y="276738"/>
                  </a:lnTo>
                  <a:lnTo>
                    <a:pt x="744021" y="276738"/>
                  </a:lnTo>
                  <a:lnTo>
                    <a:pt x="744021" y="250505"/>
                  </a:lnTo>
                  <a:lnTo>
                    <a:pt x="743300" y="250505"/>
                  </a:lnTo>
                  <a:cubicBezTo>
                    <a:pt x="737535" y="260595"/>
                    <a:pt x="729607" y="268522"/>
                    <a:pt x="719951" y="274287"/>
                  </a:cubicBezTo>
                  <a:cubicBezTo>
                    <a:pt x="710149" y="280053"/>
                    <a:pt x="698907" y="282791"/>
                    <a:pt x="685935" y="282791"/>
                  </a:cubicBezTo>
                  <a:moveTo>
                    <a:pt x="701934" y="233642"/>
                  </a:moveTo>
                  <a:cubicBezTo>
                    <a:pt x="714906" y="233642"/>
                    <a:pt x="724995" y="228597"/>
                    <a:pt x="732202" y="218363"/>
                  </a:cubicBezTo>
                  <a:cubicBezTo>
                    <a:pt x="739409" y="208274"/>
                    <a:pt x="743012" y="195158"/>
                    <a:pt x="743012" y="179159"/>
                  </a:cubicBezTo>
                  <a:cubicBezTo>
                    <a:pt x="743012" y="171087"/>
                    <a:pt x="742147" y="163448"/>
                    <a:pt x="740562" y="156530"/>
                  </a:cubicBezTo>
                  <a:cubicBezTo>
                    <a:pt x="738976" y="149611"/>
                    <a:pt x="736382" y="143558"/>
                    <a:pt x="732923" y="138657"/>
                  </a:cubicBezTo>
                  <a:cubicBezTo>
                    <a:pt x="729463" y="133757"/>
                    <a:pt x="725284" y="129865"/>
                    <a:pt x="720383" y="126982"/>
                  </a:cubicBezTo>
                  <a:cubicBezTo>
                    <a:pt x="715482" y="124244"/>
                    <a:pt x="709573" y="122802"/>
                    <a:pt x="702654" y="122802"/>
                  </a:cubicBezTo>
                  <a:cubicBezTo>
                    <a:pt x="690259" y="122802"/>
                    <a:pt x="680602" y="127991"/>
                    <a:pt x="673683" y="138225"/>
                  </a:cubicBezTo>
                  <a:cubicBezTo>
                    <a:pt x="666765" y="148458"/>
                    <a:pt x="663450" y="161863"/>
                    <a:pt x="663450" y="178438"/>
                  </a:cubicBezTo>
                  <a:cubicBezTo>
                    <a:pt x="663450" y="195014"/>
                    <a:pt x="666765" y="208851"/>
                    <a:pt x="673539" y="218796"/>
                  </a:cubicBezTo>
                  <a:cubicBezTo>
                    <a:pt x="680314" y="228741"/>
                    <a:pt x="689682" y="233642"/>
                    <a:pt x="701934" y="233642"/>
                  </a:cubicBezTo>
                  <a:moveTo>
                    <a:pt x="930242" y="282359"/>
                  </a:moveTo>
                  <a:cubicBezTo>
                    <a:pt x="914243" y="282359"/>
                    <a:pt x="899830" y="279765"/>
                    <a:pt x="886858" y="274576"/>
                  </a:cubicBezTo>
                  <a:cubicBezTo>
                    <a:pt x="873886" y="269387"/>
                    <a:pt x="862932" y="262180"/>
                    <a:pt x="854139" y="252811"/>
                  </a:cubicBezTo>
                  <a:cubicBezTo>
                    <a:pt x="845203" y="243587"/>
                    <a:pt x="838429" y="232633"/>
                    <a:pt x="833528" y="219949"/>
                  </a:cubicBezTo>
                  <a:cubicBezTo>
                    <a:pt x="828772" y="207265"/>
                    <a:pt x="826322" y="193572"/>
                    <a:pt x="826322" y="178871"/>
                  </a:cubicBezTo>
                  <a:cubicBezTo>
                    <a:pt x="826322" y="164169"/>
                    <a:pt x="828772" y="150909"/>
                    <a:pt x="833528" y="138369"/>
                  </a:cubicBezTo>
                  <a:cubicBezTo>
                    <a:pt x="838285" y="125829"/>
                    <a:pt x="845203" y="114875"/>
                    <a:pt x="854139" y="105650"/>
                  </a:cubicBezTo>
                  <a:cubicBezTo>
                    <a:pt x="863076" y="96426"/>
                    <a:pt x="873598" y="89219"/>
                    <a:pt x="885705" y="84030"/>
                  </a:cubicBezTo>
                  <a:cubicBezTo>
                    <a:pt x="897812" y="78841"/>
                    <a:pt x="911505" y="76247"/>
                    <a:pt x="926495" y="76247"/>
                  </a:cubicBezTo>
                  <a:cubicBezTo>
                    <a:pt x="940476" y="76247"/>
                    <a:pt x="953016" y="78409"/>
                    <a:pt x="963970" y="82733"/>
                  </a:cubicBezTo>
                  <a:cubicBezTo>
                    <a:pt x="975068" y="87057"/>
                    <a:pt x="984725" y="92967"/>
                    <a:pt x="993085" y="100606"/>
                  </a:cubicBezTo>
                  <a:cubicBezTo>
                    <a:pt x="1004760" y="111272"/>
                    <a:pt x="1013408" y="124820"/>
                    <a:pt x="1019173" y="141107"/>
                  </a:cubicBezTo>
                  <a:cubicBezTo>
                    <a:pt x="1024939" y="157539"/>
                    <a:pt x="1027533" y="175556"/>
                    <a:pt x="1027389" y="195302"/>
                  </a:cubicBezTo>
                  <a:lnTo>
                    <a:pt x="887290" y="195302"/>
                  </a:lnTo>
                  <a:cubicBezTo>
                    <a:pt x="889308" y="208562"/>
                    <a:pt x="893921" y="218940"/>
                    <a:pt x="900983" y="226579"/>
                  </a:cubicBezTo>
                  <a:cubicBezTo>
                    <a:pt x="908046" y="234218"/>
                    <a:pt x="918135" y="237966"/>
                    <a:pt x="931107" y="237966"/>
                  </a:cubicBezTo>
                  <a:cubicBezTo>
                    <a:pt x="939179" y="237966"/>
                    <a:pt x="945953" y="236236"/>
                    <a:pt x="951286" y="232777"/>
                  </a:cubicBezTo>
                  <a:cubicBezTo>
                    <a:pt x="956619" y="229318"/>
                    <a:pt x="960655" y="224561"/>
                    <a:pt x="963393" y="218508"/>
                  </a:cubicBezTo>
                  <a:lnTo>
                    <a:pt x="1023930" y="218508"/>
                  </a:lnTo>
                  <a:cubicBezTo>
                    <a:pt x="1021912" y="227444"/>
                    <a:pt x="1018020" y="235804"/>
                    <a:pt x="1012543" y="243875"/>
                  </a:cubicBezTo>
                  <a:cubicBezTo>
                    <a:pt x="1006922" y="251803"/>
                    <a:pt x="999859" y="258721"/>
                    <a:pt x="991211" y="264630"/>
                  </a:cubicBezTo>
                  <a:cubicBezTo>
                    <a:pt x="983140" y="270540"/>
                    <a:pt x="974059" y="274864"/>
                    <a:pt x="963970" y="277891"/>
                  </a:cubicBezTo>
                  <a:cubicBezTo>
                    <a:pt x="954024" y="280918"/>
                    <a:pt x="942782" y="282503"/>
                    <a:pt x="930242" y="282503"/>
                  </a:cubicBezTo>
                  <a:moveTo>
                    <a:pt x="964546" y="158404"/>
                  </a:moveTo>
                  <a:cubicBezTo>
                    <a:pt x="963249" y="146729"/>
                    <a:pt x="959357" y="137504"/>
                    <a:pt x="952727" y="130586"/>
                  </a:cubicBezTo>
                  <a:cubicBezTo>
                    <a:pt x="946097" y="123811"/>
                    <a:pt x="937737" y="120352"/>
                    <a:pt x="927648" y="120352"/>
                  </a:cubicBezTo>
                  <a:cubicBezTo>
                    <a:pt x="915685" y="120352"/>
                    <a:pt x="906604" y="123811"/>
                    <a:pt x="900262" y="130586"/>
                  </a:cubicBezTo>
                  <a:cubicBezTo>
                    <a:pt x="893921" y="137504"/>
                    <a:pt x="889741" y="146729"/>
                    <a:pt x="887723" y="158404"/>
                  </a:cubicBezTo>
                  <a:lnTo>
                    <a:pt x="964546" y="158404"/>
                  </a:lnTo>
                  <a:close/>
                  <a:moveTo>
                    <a:pt x="1050162" y="2018"/>
                  </a:moveTo>
                  <a:lnTo>
                    <a:pt x="1112140" y="2018"/>
                  </a:lnTo>
                  <a:lnTo>
                    <a:pt x="1112140" y="105939"/>
                  </a:lnTo>
                  <a:lnTo>
                    <a:pt x="1113293" y="105939"/>
                  </a:lnTo>
                  <a:cubicBezTo>
                    <a:pt x="1120355" y="96570"/>
                    <a:pt x="1128427" y="89219"/>
                    <a:pt x="1137219" y="84030"/>
                  </a:cubicBezTo>
                  <a:cubicBezTo>
                    <a:pt x="1146155" y="78841"/>
                    <a:pt x="1157398" y="76247"/>
                    <a:pt x="1171091" y="76247"/>
                  </a:cubicBezTo>
                  <a:cubicBezTo>
                    <a:pt x="1181757" y="76247"/>
                    <a:pt x="1191269" y="78121"/>
                    <a:pt x="1199629" y="81724"/>
                  </a:cubicBezTo>
                  <a:cubicBezTo>
                    <a:pt x="1207989" y="85327"/>
                    <a:pt x="1215052" y="90516"/>
                    <a:pt x="1220961" y="97002"/>
                  </a:cubicBezTo>
                  <a:cubicBezTo>
                    <a:pt x="1226871" y="103488"/>
                    <a:pt x="1231195" y="111272"/>
                    <a:pt x="1234366" y="120208"/>
                  </a:cubicBezTo>
                  <a:cubicBezTo>
                    <a:pt x="1237392" y="129144"/>
                    <a:pt x="1238978" y="139234"/>
                    <a:pt x="1238978" y="150044"/>
                  </a:cubicBezTo>
                  <a:lnTo>
                    <a:pt x="1238978" y="276738"/>
                  </a:lnTo>
                  <a:lnTo>
                    <a:pt x="1177000" y="276738"/>
                  </a:lnTo>
                  <a:lnTo>
                    <a:pt x="1177000" y="162583"/>
                  </a:lnTo>
                  <a:cubicBezTo>
                    <a:pt x="1177000" y="152206"/>
                    <a:pt x="1174406" y="143846"/>
                    <a:pt x="1169361" y="137504"/>
                  </a:cubicBezTo>
                  <a:cubicBezTo>
                    <a:pt x="1164316" y="131162"/>
                    <a:pt x="1156677" y="127991"/>
                    <a:pt x="1146588" y="127991"/>
                  </a:cubicBezTo>
                  <a:cubicBezTo>
                    <a:pt x="1136498" y="127991"/>
                    <a:pt x="1127850" y="131739"/>
                    <a:pt x="1121653" y="139378"/>
                  </a:cubicBezTo>
                  <a:cubicBezTo>
                    <a:pt x="1115455" y="147017"/>
                    <a:pt x="1112284" y="156962"/>
                    <a:pt x="1112284" y="169069"/>
                  </a:cubicBezTo>
                  <a:lnTo>
                    <a:pt x="1112284" y="276738"/>
                  </a:lnTo>
                  <a:lnTo>
                    <a:pt x="1050306" y="276738"/>
                  </a:lnTo>
                  <a:lnTo>
                    <a:pt x="1050306" y="1874"/>
                  </a:lnTo>
                  <a:close/>
                  <a:moveTo>
                    <a:pt x="1362645" y="282936"/>
                  </a:moveTo>
                  <a:cubicBezTo>
                    <a:pt x="1346935" y="282936"/>
                    <a:pt x="1332665" y="280341"/>
                    <a:pt x="1319837" y="275152"/>
                  </a:cubicBezTo>
                  <a:cubicBezTo>
                    <a:pt x="1307009" y="269963"/>
                    <a:pt x="1296055" y="262757"/>
                    <a:pt x="1286830" y="253388"/>
                  </a:cubicBezTo>
                  <a:cubicBezTo>
                    <a:pt x="1277750" y="244163"/>
                    <a:pt x="1270687" y="233209"/>
                    <a:pt x="1265787" y="220670"/>
                  </a:cubicBezTo>
                  <a:cubicBezTo>
                    <a:pt x="1260886" y="208130"/>
                    <a:pt x="1258292" y="194437"/>
                    <a:pt x="1258292" y="179735"/>
                  </a:cubicBezTo>
                  <a:cubicBezTo>
                    <a:pt x="1258292" y="165034"/>
                    <a:pt x="1260742" y="151341"/>
                    <a:pt x="1265787" y="138801"/>
                  </a:cubicBezTo>
                  <a:cubicBezTo>
                    <a:pt x="1270687" y="126262"/>
                    <a:pt x="1277750" y="115307"/>
                    <a:pt x="1286830" y="106083"/>
                  </a:cubicBezTo>
                  <a:cubicBezTo>
                    <a:pt x="1295911" y="96858"/>
                    <a:pt x="1307009" y="89651"/>
                    <a:pt x="1319837" y="84463"/>
                  </a:cubicBezTo>
                  <a:cubicBezTo>
                    <a:pt x="1332665" y="79274"/>
                    <a:pt x="1346935" y="76679"/>
                    <a:pt x="1362645" y="76679"/>
                  </a:cubicBezTo>
                  <a:cubicBezTo>
                    <a:pt x="1378356" y="76679"/>
                    <a:pt x="1392625" y="79274"/>
                    <a:pt x="1405453" y="84463"/>
                  </a:cubicBezTo>
                  <a:cubicBezTo>
                    <a:pt x="1418281" y="89651"/>
                    <a:pt x="1429235" y="96858"/>
                    <a:pt x="1438171" y="106083"/>
                  </a:cubicBezTo>
                  <a:cubicBezTo>
                    <a:pt x="1447108" y="115307"/>
                    <a:pt x="1454170" y="126262"/>
                    <a:pt x="1459071" y="138801"/>
                  </a:cubicBezTo>
                  <a:cubicBezTo>
                    <a:pt x="1463971" y="151341"/>
                    <a:pt x="1466422" y="165034"/>
                    <a:pt x="1466422" y="179735"/>
                  </a:cubicBezTo>
                  <a:cubicBezTo>
                    <a:pt x="1466422" y="194437"/>
                    <a:pt x="1463971" y="208130"/>
                    <a:pt x="1459071" y="220670"/>
                  </a:cubicBezTo>
                  <a:cubicBezTo>
                    <a:pt x="1454170" y="233209"/>
                    <a:pt x="1447108" y="244163"/>
                    <a:pt x="1438171" y="253388"/>
                  </a:cubicBezTo>
                  <a:cubicBezTo>
                    <a:pt x="1429235" y="262613"/>
                    <a:pt x="1418281" y="269819"/>
                    <a:pt x="1405453" y="275152"/>
                  </a:cubicBezTo>
                  <a:cubicBezTo>
                    <a:pt x="1392625" y="280341"/>
                    <a:pt x="1378356" y="282936"/>
                    <a:pt x="1362645" y="282936"/>
                  </a:cubicBezTo>
                  <a:moveTo>
                    <a:pt x="1362213" y="238830"/>
                  </a:moveTo>
                  <a:cubicBezTo>
                    <a:pt x="1375905" y="238830"/>
                    <a:pt x="1386283" y="233497"/>
                    <a:pt x="1393201" y="222687"/>
                  </a:cubicBezTo>
                  <a:cubicBezTo>
                    <a:pt x="1400264" y="211877"/>
                    <a:pt x="1403723" y="197608"/>
                    <a:pt x="1403723" y="179880"/>
                  </a:cubicBezTo>
                  <a:cubicBezTo>
                    <a:pt x="1403723" y="162151"/>
                    <a:pt x="1400264" y="147738"/>
                    <a:pt x="1393201" y="136928"/>
                  </a:cubicBezTo>
                  <a:cubicBezTo>
                    <a:pt x="1386283" y="125973"/>
                    <a:pt x="1375905" y="120496"/>
                    <a:pt x="1362213" y="120496"/>
                  </a:cubicBezTo>
                  <a:cubicBezTo>
                    <a:pt x="1348520" y="120496"/>
                    <a:pt x="1338286" y="125973"/>
                    <a:pt x="1331368" y="136928"/>
                  </a:cubicBezTo>
                  <a:cubicBezTo>
                    <a:pt x="1324594" y="147882"/>
                    <a:pt x="1321134" y="162151"/>
                    <a:pt x="1321134" y="179880"/>
                  </a:cubicBezTo>
                  <a:cubicBezTo>
                    <a:pt x="1321134" y="197608"/>
                    <a:pt x="1324594" y="211877"/>
                    <a:pt x="1331368" y="222687"/>
                  </a:cubicBezTo>
                  <a:cubicBezTo>
                    <a:pt x="1338286" y="233497"/>
                    <a:pt x="1348520" y="238830"/>
                    <a:pt x="1362213" y="238830"/>
                  </a:cubicBezTo>
                  <a:moveTo>
                    <a:pt x="1554488" y="282647"/>
                  </a:moveTo>
                  <a:cubicBezTo>
                    <a:pt x="1531859" y="282647"/>
                    <a:pt x="1514851" y="276017"/>
                    <a:pt x="1503320" y="262613"/>
                  </a:cubicBezTo>
                  <a:cubicBezTo>
                    <a:pt x="1491789" y="249352"/>
                    <a:pt x="1486024" y="231768"/>
                    <a:pt x="1486024" y="209859"/>
                  </a:cubicBezTo>
                  <a:lnTo>
                    <a:pt x="1486024" y="82012"/>
                  </a:lnTo>
                  <a:lnTo>
                    <a:pt x="1547713" y="82012"/>
                  </a:lnTo>
                  <a:lnTo>
                    <a:pt x="1547713" y="197032"/>
                  </a:lnTo>
                  <a:cubicBezTo>
                    <a:pt x="1547713" y="207697"/>
                    <a:pt x="1550164" y="215913"/>
                    <a:pt x="1554920" y="221534"/>
                  </a:cubicBezTo>
                  <a:cubicBezTo>
                    <a:pt x="1559677" y="227300"/>
                    <a:pt x="1567172" y="230038"/>
                    <a:pt x="1576973" y="230038"/>
                  </a:cubicBezTo>
                  <a:cubicBezTo>
                    <a:pt x="1587639" y="230038"/>
                    <a:pt x="1595998" y="226435"/>
                    <a:pt x="1602052" y="219228"/>
                  </a:cubicBezTo>
                  <a:cubicBezTo>
                    <a:pt x="1608106" y="212021"/>
                    <a:pt x="1611132" y="202509"/>
                    <a:pt x="1611132" y="190834"/>
                  </a:cubicBezTo>
                  <a:lnTo>
                    <a:pt x="1611132" y="82012"/>
                  </a:lnTo>
                  <a:lnTo>
                    <a:pt x="1673110" y="82012"/>
                  </a:lnTo>
                  <a:lnTo>
                    <a:pt x="1673110" y="276882"/>
                  </a:lnTo>
                  <a:lnTo>
                    <a:pt x="1613727" y="276882"/>
                  </a:lnTo>
                  <a:lnTo>
                    <a:pt x="1613727" y="252956"/>
                  </a:lnTo>
                  <a:lnTo>
                    <a:pt x="1612574" y="252956"/>
                  </a:lnTo>
                  <a:cubicBezTo>
                    <a:pt x="1605511" y="262613"/>
                    <a:pt x="1597440" y="269963"/>
                    <a:pt x="1588359" y="275008"/>
                  </a:cubicBezTo>
                  <a:cubicBezTo>
                    <a:pt x="1579423" y="280053"/>
                    <a:pt x="1568036" y="282647"/>
                    <a:pt x="1554344" y="282647"/>
                  </a:cubicBezTo>
                  <a:moveTo>
                    <a:pt x="1789571" y="283080"/>
                  </a:moveTo>
                  <a:cubicBezTo>
                    <a:pt x="1760888" y="283080"/>
                    <a:pt x="1738259" y="276882"/>
                    <a:pt x="1721395" y="264630"/>
                  </a:cubicBezTo>
                  <a:cubicBezTo>
                    <a:pt x="1704676" y="252379"/>
                    <a:pt x="1695739" y="235371"/>
                    <a:pt x="1694730" y="213751"/>
                  </a:cubicBezTo>
                  <a:lnTo>
                    <a:pt x="1753393" y="213751"/>
                  </a:lnTo>
                  <a:cubicBezTo>
                    <a:pt x="1754690" y="223408"/>
                    <a:pt x="1758294" y="230615"/>
                    <a:pt x="1764491" y="235515"/>
                  </a:cubicBezTo>
                  <a:cubicBezTo>
                    <a:pt x="1770545" y="240272"/>
                    <a:pt x="1778761" y="242722"/>
                    <a:pt x="1789282" y="242722"/>
                  </a:cubicBezTo>
                  <a:cubicBezTo>
                    <a:pt x="1798651" y="242722"/>
                    <a:pt x="1806146" y="241137"/>
                    <a:pt x="1811479" y="237821"/>
                  </a:cubicBezTo>
                  <a:cubicBezTo>
                    <a:pt x="1816956" y="234506"/>
                    <a:pt x="1819695" y="229750"/>
                    <a:pt x="1819695" y="223408"/>
                  </a:cubicBezTo>
                  <a:cubicBezTo>
                    <a:pt x="1819695" y="219084"/>
                    <a:pt x="1818253" y="215625"/>
                    <a:pt x="1815515" y="212886"/>
                  </a:cubicBezTo>
                  <a:cubicBezTo>
                    <a:pt x="1812776" y="210292"/>
                    <a:pt x="1809029" y="208130"/>
                    <a:pt x="1804416" y="206400"/>
                  </a:cubicBezTo>
                  <a:cubicBezTo>
                    <a:pt x="1799804" y="204815"/>
                    <a:pt x="1794615" y="203518"/>
                    <a:pt x="1788562" y="202653"/>
                  </a:cubicBezTo>
                  <a:cubicBezTo>
                    <a:pt x="1782652" y="201788"/>
                    <a:pt x="1776454" y="200635"/>
                    <a:pt x="1770112" y="199482"/>
                  </a:cubicBezTo>
                  <a:cubicBezTo>
                    <a:pt x="1761753" y="197896"/>
                    <a:pt x="1753393" y="196167"/>
                    <a:pt x="1745033" y="194005"/>
                  </a:cubicBezTo>
                  <a:cubicBezTo>
                    <a:pt x="1736673" y="191843"/>
                    <a:pt x="1729178" y="188672"/>
                    <a:pt x="1722404" y="184348"/>
                  </a:cubicBezTo>
                  <a:cubicBezTo>
                    <a:pt x="1715630" y="180024"/>
                    <a:pt x="1710297" y="174258"/>
                    <a:pt x="1706261" y="167052"/>
                  </a:cubicBezTo>
                  <a:cubicBezTo>
                    <a:pt x="1702225" y="159845"/>
                    <a:pt x="1700207" y="150476"/>
                    <a:pt x="1700207" y="139090"/>
                  </a:cubicBezTo>
                  <a:cubicBezTo>
                    <a:pt x="1700207" y="129000"/>
                    <a:pt x="1702369" y="119920"/>
                    <a:pt x="1706837" y="111992"/>
                  </a:cubicBezTo>
                  <a:cubicBezTo>
                    <a:pt x="1711306" y="104209"/>
                    <a:pt x="1717359" y="97579"/>
                    <a:pt x="1724999" y="92390"/>
                  </a:cubicBezTo>
                  <a:cubicBezTo>
                    <a:pt x="1732638" y="87201"/>
                    <a:pt x="1741574" y="83310"/>
                    <a:pt x="1751808" y="80571"/>
                  </a:cubicBezTo>
                  <a:cubicBezTo>
                    <a:pt x="1762041" y="77977"/>
                    <a:pt x="1772995" y="76535"/>
                    <a:pt x="1784382" y="76535"/>
                  </a:cubicBezTo>
                  <a:cubicBezTo>
                    <a:pt x="1812056" y="76535"/>
                    <a:pt x="1833243" y="82157"/>
                    <a:pt x="1847945" y="93255"/>
                  </a:cubicBezTo>
                  <a:cubicBezTo>
                    <a:pt x="1862647" y="104353"/>
                    <a:pt x="1870718" y="119631"/>
                    <a:pt x="1872304" y="138945"/>
                  </a:cubicBezTo>
                  <a:lnTo>
                    <a:pt x="1815226" y="138945"/>
                  </a:lnTo>
                  <a:cubicBezTo>
                    <a:pt x="1813929" y="130009"/>
                    <a:pt x="1810614" y="124100"/>
                    <a:pt x="1805137" y="120929"/>
                  </a:cubicBezTo>
                  <a:cubicBezTo>
                    <a:pt x="1799660" y="117758"/>
                    <a:pt x="1792598" y="116172"/>
                    <a:pt x="1783949" y="116172"/>
                  </a:cubicBezTo>
                  <a:cubicBezTo>
                    <a:pt x="1776310" y="116172"/>
                    <a:pt x="1769968" y="117614"/>
                    <a:pt x="1764780" y="120496"/>
                  </a:cubicBezTo>
                  <a:cubicBezTo>
                    <a:pt x="1759591" y="123379"/>
                    <a:pt x="1756996" y="127847"/>
                    <a:pt x="1756996" y="134045"/>
                  </a:cubicBezTo>
                  <a:cubicBezTo>
                    <a:pt x="1756996" y="137648"/>
                    <a:pt x="1758294" y="140387"/>
                    <a:pt x="1760744" y="142405"/>
                  </a:cubicBezTo>
                  <a:cubicBezTo>
                    <a:pt x="1763338" y="144423"/>
                    <a:pt x="1766653" y="146152"/>
                    <a:pt x="1770977" y="147593"/>
                  </a:cubicBezTo>
                  <a:cubicBezTo>
                    <a:pt x="1775301" y="149035"/>
                    <a:pt x="1780346" y="150188"/>
                    <a:pt x="1785967" y="151197"/>
                  </a:cubicBezTo>
                  <a:cubicBezTo>
                    <a:pt x="1791733" y="152206"/>
                    <a:pt x="1797642" y="153215"/>
                    <a:pt x="1803696" y="154224"/>
                  </a:cubicBezTo>
                  <a:cubicBezTo>
                    <a:pt x="1812344" y="155665"/>
                    <a:pt x="1820992" y="157539"/>
                    <a:pt x="1829784" y="159701"/>
                  </a:cubicBezTo>
                  <a:cubicBezTo>
                    <a:pt x="1838576" y="161863"/>
                    <a:pt x="1846504" y="165178"/>
                    <a:pt x="1853710" y="169790"/>
                  </a:cubicBezTo>
                  <a:cubicBezTo>
                    <a:pt x="1860917" y="174402"/>
                    <a:pt x="1866827" y="180456"/>
                    <a:pt x="1871439" y="188239"/>
                  </a:cubicBezTo>
                  <a:cubicBezTo>
                    <a:pt x="1876051" y="196023"/>
                    <a:pt x="1878357" y="206112"/>
                    <a:pt x="1878357" y="218508"/>
                  </a:cubicBezTo>
                  <a:cubicBezTo>
                    <a:pt x="1878357" y="229173"/>
                    <a:pt x="1876051" y="238542"/>
                    <a:pt x="1871727" y="246614"/>
                  </a:cubicBezTo>
                  <a:cubicBezTo>
                    <a:pt x="1867259" y="254685"/>
                    <a:pt x="1861061" y="261460"/>
                    <a:pt x="1853278" y="266792"/>
                  </a:cubicBezTo>
                  <a:cubicBezTo>
                    <a:pt x="1845350" y="272125"/>
                    <a:pt x="1835982" y="276161"/>
                    <a:pt x="1825172" y="279044"/>
                  </a:cubicBezTo>
                  <a:cubicBezTo>
                    <a:pt x="1814218" y="281782"/>
                    <a:pt x="1802399" y="283224"/>
                    <a:pt x="1789715" y="283224"/>
                  </a:cubicBezTo>
                  <a:moveTo>
                    <a:pt x="1999430" y="282791"/>
                  </a:moveTo>
                  <a:cubicBezTo>
                    <a:pt x="1983431" y="282791"/>
                    <a:pt x="1969018" y="280197"/>
                    <a:pt x="1956046" y="275008"/>
                  </a:cubicBezTo>
                  <a:cubicBezTo>
                    <a:pt x="1943073" y="269819"/>
                    <a:pt x="1932263" y="262613"/>
                    <a:pt x="1923327" y="253244"/>
                  </a:cubicBezTo>
                  <a:cubicBezTo>
                    <a:pt x="1914391" y="244019"/>
                    <a:pt x="1907617" y="233065"/>
                    <a:pt x="1902716" y="220381"/>
                  </a:cubicBezTo>
                  <a:cubicBezTo>
                    <a:pt x="1897960" y="207697"/>
                    <a:pt x="1895509" y="194005"/>
                    <a:pt x="1895509" y="179303"/>
                  </a:cubicBezTo>
                  <a:cubicBezTo>
                    <a:pt x="1895509" y="164601"/>
                    <a:pt x="1897960" y="151341"/>
                    <a:pt x="1902716" y="138801"/>
                  </a:cubicBezTo>
                  <a:cubicBezTo>
                    <a:pt x="1907473" y="126262"/>
                    <a:pt x="1914391" y="115307"/>
                    <a:pt x="1923327" y="106083"/>
                  </a:cubicBezTo>
                  <a:cubicBezTo>
                    <a:pt x="1932263" y="96858"/>
                    <a:pt x="1942785" y="89651"/>
                    <a:pt x="1954893" y="84463"/>
                  </a:cubicBezTo>
                  <a:cubicBezTo>
                    <a:pt x="1967144" y="79274"/>
                    <a:pt x="1980693" y="76679"/>
                    <a:pt x="1995683" y="76679"/>
                  </a:cubicBezTo>
                  <a:cubicBezTo>
                    <a:pt x="2009664" y="76679"/>
                    <a:pt x="2022059" y="78841"/>
                    <a:pt x="2033157" y="83165"/>
                  </a:cubicBezTo>
                  <a:cubicBezTo>
                    <a:pt x="2044256" y="87489"/>
                    <a:pt x="2053913" y="93399"/>
                    <a:pt x="2062273" y="101038"/>
                  </a:cubicBezTo>
                  <a:cubicBezTo>
                    <a:pt x="2073947" y="111704"/>
                    <a:pt x="2082596" y="125253"/>
                    <a:pt x="2088361" y="141540"/>
                  </a:cubicBezTo>
                  <a:cubicBezTo>
                    <a:pt x="2094126" y="157971"/>
                    <a:pt x="2096865" y="175988"/>
                    <a:pt x="2096577" y="195734"/>
                  </a:cubicBezTo>
                  <a:lnTo>
                    <a:pt x="1956478" y="195734"/>
                  </a:lnTo>
                  <a:cubicBezTo>
                    <a:pt x="1958496" y="208995"/>
                    <a:pt x="1963108" y="219372"/>
                    <a:pt x="1970171" y="227011"/>
                  </a:cubicBezTo>
                  <a:cubicBezTo>
                    <a:pt x="1977233" y="234651"/>
                    <a:pt x="1987323" y="238398"/>
                    <a:pt x="2000295" y="238398"/>
                  </a:cubicBezTo>
                  <a:cubicBezTo>
                    <a:pt x="2008366" y="238398"/>
                    <a:pt x="2015141" y="236668"/>
                    <a:pt x="2020474" y="233209"/>
                  </a:cubicBezTo>
                  <a:cubicBezTo>
                    <a:pt x="2025807" y="229750"/>
                    <a:pt x="2029842" y="224994"/>
                    <a:pt x="2032725" y="218940"/>
                  </a:cubicBezTo>
                  <a:lnTo>
                    <a:pt x="2093262" y="218940"/>
                  </a:lnTo>
                  <a:cubicBezTo>
                    <a:pt x="2091244" y="227876"/>
                    <a:pt x="2087496" y="236236"/>
                    <a:pt x="2081875" y="244308"/>
                  </a:cubicBezTo>
                  <a:cubicBezTo>
                    <a:pt x="2076254" y="252379"/>
                    <a:pt x="2069191" y="259153"/>
                    <a:pt x="2060543" y="265063"/>
                  </a:cubicBezTo>
                  <a:cubicBezTo>
                    <a:pt x="2052472" y="270972"/>
                    <a:pt x="2043391" y="275296"/>
                    <a:pt x="2033302" y="278323"/>
                  </a:cubicBezTo>
                  <a:cubicBezTo>
                    <a:pt x="2023212" y="281350"/>
                    <a:pt x="2011970" y="282936"/>
                    <a:pt x="1999574" y="282936"/>
                  </a:cubicBezTo>
                  <a:moveTo>
                    <a:pt x="2033878" y="158836"/>
                  </a:moveTo>
                  <a:cubicBezTo>
                    <a:pt x="2032581" y="147161"/>
                    <a:pt x="2028689" y="137936"/>
                    <a:pt x="2022059" y="131018"/>
                  </a:cubicBezTo>
                  <a:cubicBezTo>
                    <a:pt x="2015429" y="124244"/>
                    <a:pt x="2007069" y="120784"/>
                    <a:pt x="1996980" y="120784"/>
                  </a:cubicBezTo>
                  <a:cubicBezTo>
                    <a:pt x="1985017" y="120784"/>
                    <a:pt x="1975936" y="124244"/>
                    <a:pt x="1969594" y="131018"/>
                  </a:cubicBezTo>
                  <a:cubicBezTo>
                    <a:pt x="1963252" y="137936"/>
                    <a:pt x="1959072" y="147161"/>
                    <a:pt x="1957055" y="158836"/>
                  </a:cubicBezTo>
                  <a:lnTo>
                    <a:pt x="2033878" y="158836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15457261-1C34-087B-4575-1B5E779EBBAB}"/>
                </a:ext>
              </a:extLst>
            </p:cNvPr>
            <p:cNvSpPr/>
            <p:nvPr/>
          </p:nvSpPr>
          <p:spPr>
            <a:xfrm>
              <a:off x="882878" y="557212"/>
              <a:ext cx="273278" cy="674980"/>
            </a:xfrm>
            <a:custGeom>
              <a:avLst/>
              <a:gdLst>
                <a:gd name="connsiteX0" fmla="*/ 0 w 273278"/>
                <a:gd name="connsiteY0" fmla="*/ 0 h 674980"/>
                <a:gd name="connsiteX1" fmla="*/ 0 w 273278"/>
                <a:gd name="connsiteY1" fmla="*/ 476508 h 674980"/>
                <a:gd name="connsiteX2" fmla="*/ 272558 w 273278"/>
                <a:gd name="connsiteY2" fmla="*/ 674981 h 674980"/>
                <a:gd name="connsiteX3" fmla="*/ 273278 w 273278"/>
                <a:gd name="connsiteY3" fmla="*/ 674260 h 674980"/>
                <a:gd name="connsiteX4" fmla="*/ 0 w 273278"/>
                <a:gd name="connsiteY4" fmla="*/ 0 h 674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278" h="674980">
                  <a:moveTo>
                    <a:pt x="0" y="0"/>
                  </a:moveTo>
                  <a:lnTo>
                    <a:pt x="0" y="476508"/>
                  </a:lnTo>
                  <a:lnTo>
                    <a:pt x="272558" y="674981"/>
                  </a:lnTo>
                  <a:cubicBezTo>
                    <a:pt x="272558" y="674981"/>
                    <a:pt x="273134" y="674404"/>
                    <a:pt x="273278" y="67426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3D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0CDB77CD-C5E1-9227-DF1A-82C8E96E04A3}"/>
                </a:ext>
              </a:extLst>
            </p:cNvPr>
            <p:cNvSpPr/>
            <p:nvPr/>
          </p:nvSpPr>
          <p:spPr>
            <a:xfrm>
              <a:off x="609600" y="557212"/>
              <a:ext cx="273278" cy="674836"/>
            </a:xfrm>
            <a:custGeom>
              <a:avLst/>
              <a:gdLst>
                <a:gd name="connsiteX0" fmla="*/ 0 w 273278"/>
                <a:gd name="connsiteY0" fmla="*/ 674116 h 674836"/>
                <a:gd name="connsiteX1" fmla="*/ 721 w 273278"/>
                <a:gd name="connsiteY1" fmla="*/ 674837 h 674836"/>
                <a:gd name="connsiteX2" fmla="*/ 273278 w 273278"/>
                <a:gd name="connsiteY2" fmla="*/ 476364 h 674836"/>
                <a:gd name="connsiteX3" fmla="*/ 273278 w 273278"/>
                <a:gd name="connsiteY3" fmla="*/ 0 h 674836"/>
                <a:gd name="connsiteX4" fmla="*/ 0 w 273278"/>
                <a:gd name="connsiteY4" fmla="*/ 674116 h 674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278" h="674836">
                  <a:moveTo>
                    <a:pt x="0" y="674116"/>
                  </a:moveTo>
                  <a:cubicBezTo>
                    <a:pt x="0" y="674116"/>
                    <a:pt x="577" y="674692"/>
                    <a:pt x="721" y="674837"/>
                  </a:cubicBezTo>
                  <a:lnTo>
                    <a:pt x="273278" y="476364"/>
                  </a:lnTo>
                  <a:lnTo>
                    <a:pt x="273278" y="0"/>
                  </a:lnTo>
                  <a:lnTo>
                    <a:pt x="0" y="674116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6" name="Graphic 5">
            <a:extLst>
              <a:ext uri="{FF2B5EF4-FFF2-40B4-BE49-F238E27FC236}">
                <a16:creationId xmlns:a16="http://schemas.microsoft.com/office/drawing/2014/main" id="{0DBEBFD3-3735-BFC8-D7E6-A618637D48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6090476"/>
            <a:ext cx="1834388" cy="210312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6D9E022-BE89-FB15-252F-12F87B4655DB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8802624" y="3730948"/>
            <a:ext cx="2688336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A green and black triangle&#10;&#10;Description automatically generated">
            <a:extLst>
              <a:ext uri="{FF2B5EF4-FFF2-40B4-BE49-F238E27FC236}">
                <a16:creationId xmlns:a16="http://schemas.microsoft.com/office/drawing/2014/main" id="{A86F892C-2F81-39A8-7421-B03C5A21711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0432" y="0"/>
            <a:ext cx="5577121" cy="68580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DC0E9AD-7754-6000-D95A-ABDACDA8FEC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8710864" y="3962402"/>
            <a:ext cx="309211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800"/>
              <a:t>To earn a seat at the table for our clients’ most complex issues, creating meaningful opportunities and impact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CFBA21A-B743-3338-65FE-BEC48305E79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517358" y="3962402"/>
            <a:ext cx="30921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indent="0"/>
            <a:r>
              <a:rPr lang="en-US" sz="1800"/>
              <a:t>To solve big problems, build trust in society, and empower clients to shape the future.</a:t>
            </a:r>
          </a:p>
        </p:txBody>
      </p:sp>
    </p:spTree>
    <p:extLst>
      <p:ext uri="{BB962C8B-B14F-4D97-AF65-F5344CB8AC3E}">
        <p14:creationId xmlns:p14="http://schemas.microsoft.com/office/powerpoint/2010/main" val="28819414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 with Image - 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CB1E87D-CF80-16E1-E2DA-D366BCB64A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048537"/>
            <a:ext cx="5376672" cy="2244461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ation title extends </a:t>
            </a:r>
            <a:br>
              <a:rPr lang="en-US"/>
            </a:br>
            <a:r>
              <a:rPr lang="en-US"/>
              <a:t>up to 3 line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4CCA385-BADC-9412-0D5E-D86D6665ADB9}"/>
              </a:ext>
            </a:extLst>
          </p:cNvPr>
          <p:cNvCxnSpPr>
            <a:cxnSpLocks/>
          </p:cNvCxnSpPr>
          <p:nvPr/>
        </p:nvCxnSpPr>
        <p:spPr>
          <a:xfrm>
            <a:off x="609600" y="4594548"/>
            <a:ext cx="5376672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aphic 3">
            <a:extLst>
              <a:ext uri="{FF2B5EF4-FFF2-40B4-BE49-F238E27FC236}">
                <a16:creationId xmlns:a16="http://schemas.microsoft.com/office/drawing/2014/main" id="{B3F109DD-32AE-D92D-4621-BF43B58FB4A1}"/>
              </a:ext>
            </a:extLst>
          </p:cNvPr>
          <p:cNvGrpSpPr>
            <a:grpSpLocks noChangeAspect="1"/>
          </p:cNvGrpSpPr>
          <p:nvPr/>
        </p:nvGrpSpPr>
        <p:grpSpPr>
          <a:xfrm>
            <a:off x="609600" y="557212"/>
            <a:ext cx="1734668" cy="438912"/>
            <a:chOff x="609600" y="557212"/>
            <a:chExt cx="2667656" cy="674980"/>
          </a:xfrm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8BF33003-98EC-AC6E-F2E8-D433A9977017}"/>
                </a:ext>
              </a:extLst>
            </p:cNvPr>
            <p:cNvSpPr/>
            <p:nvPr/>
          </p:nvSpPr>
          <p:spPr>
            <a:xfrm>
              <a:off x="1180659" y="790421"/>
              <a:ext cx="2096597" cy="283512"/>
            </a:xfrm>
            <a:custGeom>
              <a:avLst/>
              <a:gdLst>
                <a:gd name="connsiteX0" fmla="*/ 129433 w 2096597"/>
                <a:gd name="connsiteY0" fmla="*/ 283512 h 283512"/>
                <a:gd name="connsiteX1" fmla="*/ 76968 w 2096597"/>
                <a:gd name="connsiteY1" fmla="*/ 273567 h 283512"/>
                <a:gd name="connsiteX2" fmla="*/ 36610 w 2096597"/>
                <a:gd name="connsiteY2" fmla="*/ 245461 h 283512"/>
                <a:gd name="connsiteX3" fmla="*/ 9369 w 2096597"/>
                <a:gd name="connsiteY3" fmla="*/ 199770 h 283512"/>
                <a:gd name="connsiteX4" fmla="*/ 0 w 2096597"/>
                <a:gd name="connsiteY4" fmla="*/ 142260 h 283512"/>
                <a:gd name="connsiteX5" fmla="*/ 10522 w 2096597"/>
                <a:gd name="connsiteY5" fmla="*/ 82733 h 283512"/>
                <a:gd name="connsiteX6" fmla="*/ 40358 w 2096597"/>
                <a:gd name="connsiteY6" fmla="*/ 36178 h 283512"/>
                <a:gd name="connsiteX7" fmla="*/ 80715 w 2096597"/>
                <a:gd name="connsiteY7" fmla="*/ 9513 h 283512"/>
                <a:gd name="connsiteX8" fmla="*/ 133612 w 2096597"/>
                <a:gd name="connsiteY8" fmla="*/ 0 h 283512"/>
                <a:gd name="connsiteX9" fmla="*/ 180744 w 2096597"/>
                <a:gd name="connsiteY9" fmla="*/ 6630 h 283512"/>
                <a:gd name="connsiteX10" fmla="*/ 216922 w 2096597"/>
                <a:gd name="connsiteY10" fmla="*/ 25656 h 283512"/>
                <a:gd name="connsiteX11" fmla="*/ 241425 w 2096597"/>
                <a:gd name="connsiteY11" fmla="*/ 55492 h 283512"/>
                <a:gd name="connsiteX12" fmla="*/ 254109 w 2096597"/>
                <a:gd name="connsiteY12" fmla="*/ 94264 h 283512"/>
                <a:gd name="connsiteX13" fmla="*/ 188672 w 2096597"/>
                <a:gd name="connsiteY13" fmla="*/ 94264 h 283512"/>
                <a:gd name="connsiteX14" fmla="*/ 171520 w 2096597"/>
                <a:gd name="connsiteY14" fmla="*/ 66446 h 283512"/>
                <a:gd name="connsiteX15" fmla="*/ 135774 w 2096597"/>
                <a:gd name="connsiteY15" fmla="*/ 55348 h 283512"/>
                <a:gd name="connsiteX16" fmla="*/ 106227 w 2096597"/>
                <a:gd name="connsiteY16" fmla="*/ 61978 h 283512"/>
                <a:gd name="connsiteX17" fmla="*/ 85039 w 2096597"/>
                <a:gd name="connsiteY17" fmla="*/ 80283 h 283512"/>
                <a:gd name="connsiteX18" fmla="*/ 72500 w 2096597"/>
                <a:gd name="connsiteY18" fmla="*/ 107668 h 283512"/>
                <a:gd name="connsiteX19" fmla="*/ 68320 w 2096597"/>
                <a:gd name="connsiteY19" fmla="*/ 142116 h 283512"/>
                <a:gd name="connsiteX20" fmla="*/ 73076 w 2096597"/>
                <a:gd name="connsiteY20" fmla="*/ 176709 h 283512"/>
                <a:gd name="connsiteX21" fmla="*/ 86625 w 2096597"/>
                <a:gd name="connsiteY21" fmla="*/ 204238 h 283512"/>
                <a:gd name="connsiteX22" fmla="*/ 108101 w 2096597"/>
                <a:gd name="connsiteY22" fmla="*/ 222255 h 283512"/>
                <a:gd name="connsiteX23" fmla="*/ 136783 w 2096597"/>
                <a:gd name="connsiteY23" fmla="*/ 228741 h 283512"/>
                <a:gd name="connsiteX24" fmla="*/ 160566 w 2096597"/>
                <a:gd name="connsiteY24" fmla="*/ 224705 h 283512"/>
                <a:gd name="connsiteX25" fmla="*/ 178438 w 2096597"/>
                <a:gd name="connsiteY25" fmla="*/ 214039 h 283512"/>
                <a:gd name="connsiteX26" fmla="*/ 190257 w 2096597"/>
                <a:gd name="connsiteY26" fmla="*/ 198761 h 283512"/>
                <a:gd name="connsiteX27" fmla="*/ 195734 w 2096597"/>
                <a:gd name="connsiteY27" fmla="*/ 181033 h 283512"/>
                <a:gd name="connsiteX28" fmla="*/ 195734 w 2096597"/>
                <a:gd name="connsiteY28" fmla="*/ 180312 h 283512"/>
                <a:gd name="connsiteX29" fmla="*/ 144711 w 2096597"/>
                <a:gd name="connsiteY29" fmla="*/ 180312 h 283512"/>
                <a:gd name="connsiteX30" fmla="*/ 144711 w 2096597"/>
                <a:gd name="connsiteY30" fmla="*/ 130874 h 283512"/>
                <a:gd name="connsiteX31" fmla="*/ 258144 w 2096597"/>
                <a:gd name="connsiteY31" fmla="*/ 130874 h 283512"/>
                <a:gd name="connsiteX32" fmla="*/ 258144 w 2096597"/>
                <a:gd name="connsiteY32" fmla="*/ 277026 h 283512"/>
                <a:gd name="connsiteX33" fmla="*/ 211013 w 2096597"/>
                <a:gd name="connsiteY33" fmla="*/ 277026 h 283512"/>
                <a:gd name="connsiteX34" fmla="*/ 207265 w 2096597"/>
                <a:gd name="connsiteY34" fmla="*/ 244308 h 283512"/>
                <a:gd name="connsiteX35" fmla="*/ 206544 w 2096597"/>
                <a:gd name="connsiteY35" fmla="*/ 244308 h 283512"/>
                <a:gd name="connsiteX36" fmla="*/ 173682 w 2096597"/>
                <a:gd name="connsiteY36" fmla="*/ 274143 h 283512"/>
                <a:gd name="connsiteX37" fmla="*/ 129288 w 2096597"/>
                <a:gd name="connsiteY37" fmla="*/ 283080 h 283512"/>
                <a:gd name="connsiteX38" fmla="*/ 358029 w 2096597"/>
                <a:gd name="connsiteY38" fmla="*/ 282647 h 283512"/>
                <a:gd name="connsiteX39" fmla="*/ 306862 w 2096597"/>
                <a:gd name="connsiteY39" fmla="*/ 262613 h 283512"/>
                <a:gd name="connsiteX40" fmla="*/ 289566 w 2096597"/>
                <a:gd name="connsiteY40" fmla="*/ 209859 h 283512"/>
                <a:gd name="connsiteX41" fmla="*/ 289566 w 2096597"/>
                <a:gd name="connsiteY41" fmla="*/ 82012 h 283512"/>
                <a:gd name="connsiteX42" fmla="*/ 351255 w 2096597"/>
                <a:gd name="connsiteY42" fmla="*/ 82012 h 283512"/>
                <a:gd name="connsiteX43" fmla="*/ 351255 w 2096597"/>
                <a:gd name="connsiteY43" fmla="*/ 197032 h 283512"/>
                <a:gd name="connsiteX44" fmla="*/ 358462 w 2096597"/>
                <a:gd name="connsiteY44" fmla="*/ 221534 h 283512"/>
                <a:gd name="connsiteX45" fmla="*/ 380514 w 2096597"/>
                <a:gd name="connsiteY45" fmla="*/ 230038 h 283512"/>
                <a:gd name="connsiteX46" fmla="*/ 405594 w 2096597"/>
                <a:gd name="connsiteY46" fmla="*/ 219228 h 283512"/>
                <a:gd name="connsiteX47" fmla="*/ 414674 w 2096597"/>
                <a:gd name="connsiteY47" fmla="*/ 190834 h 283512"/>
                <a:gd name="connsiteX48" fmla="*/ 414674 w 2096597"/>
                <a:gd name="connsiteY48" fmla="*/ 82012 h 283512"/>
                <a:gd name="connsiteX49" fmla="*/ 476652 w 2096597"/>
                <a:gd name="connsiteY49" fmla="*/ 82012 h 283512"/>
                <a:gd name="connsiteX50" fmla="*/ 476652 w 2096597"/>
                <a:gd name="connsiteY50" fmla="*/ 276882 h 283512"/>
                <a:gd name="connsiteX51" fmla="*/ 417269 w 2096597"/>
                <a:gd name="connsiteY51" fmla="*/ 276882 h 283512"/>
                <a:gd name="connsiteX52" fmla="*/ 417269 w 2096597"/>
                <a:gd name="connsiteY52" fmla="*/ 252956 h 283512"/>
                <a:gd name="connsiteX53" fmla="*/ 416116 w 2096597"/>
                <a:gd name="connsiteY53" fmla="*/ 252956 h 283512"/>
                <a:gd name="connsiteX54" fmla="*/ 391901 w 2096597"/>
                <a:gd name="connsiteY54" fmla="*/ 275008 h 283512"/>
                <a:gd name="connsiteX55" fmla="*/ 357885 w 2096597"/>
                <a:gd name="connsiteY55" fmla="*/ 282647 h 283512"/>
                <a:gd name="connsiteX56" fmla="*/ 511965 w 2096597"/>
                <a:gd name="connsiteY56" fmla="*/ 2162 h 283512"/>
                <a:gd name="connsiteX57" fmla="*/ 573943 w 2096597"/>
                <a:gd name="connsiteY57" fmla="*/ 2162 h 283512"/>
                <a:gd name="connsiteX58" fmla="*/ 573943 w 2096597"/>
                <a:gd name="connsiteY58" fmla="*/ 55059 h 283512"/>
                <a:gd name="connsiteX59" fmla="*/ 511965 w 2096597"/>
                <a:gd name="connsiteY59" fmla="*/ 55059 h 283512"/>
                <a:gd name="connsiteX60" fmla="*/ 511965 w 2096597"/>
                <a:gd name="connsiteY60" fmla="*/ 2162 h 283512"/>
                <a:gd name="connsiteX61" fmla="*/ 511965 w 2096597"/>
                <a:gd name="connsiteY61" fmla="*/ 82012 h 283512"/>
                <a:gd name="connsiteX62" fmla="*/ 573943 w 2096597"/>
                <a:gd name="connsiteY62" fmla="*/ 82012 h 283512"/>
                <a:gd name="connsiteX63" fmla="*/ 573943 w 2096597"/>
                <a:gd name="connsiteY63" fmla="*/ 276882 h 283512"/>
                <a:gd name="connsiteX64" fmla="*/ 511965 w 2096597"/>
                <a:gd name="connsiteY64" fmla="*/ 276882 h 283512"/>
                <a:gd name="connsiteX65" fmla="*/ 511965 w 2096597"/>
                <a:gd name="connsiteY65" fmla="*/ 82012 h 283512"/>
                <a:gd name="connsiteX66" fmla="*/ 685935 w 2096597"/>
                <a:gd name="connsiteY66" fmla="*/ 282936 h 283512"/>
                <a:gd name="connsiteX67" fmla="*/ 651631 w 2096597"/>
                <a:gd name="connsiteY67" fmla="*/ 275873 h 283512"/>
                <a:gd name="connsiteX68" fmla="*/ 624678 w 2096597"/>
                <a:gd name="connsiteY68" fmla="*/ 255550 h 283512"/>
                <a:gd name="connsiteX69" fmla="*/ 606949 w 2096597"/>
                <a:gd name="connsiteY69" fmla="*/ 222976 h 283512"/>
                <a:gd name="connsiteX70" fmla="*/ 600607 w 2096597"/>
                <a:gd name="connsiteY70" fmla="*/ 179447 h 283512"/>
                <a:gd name="connsiteX71" fmla="*/ 606949 w 2096597"/>
                <a:gd name="connsiteY71" fmla="*/ 137504 h 283512"/>
                <a:gd name="connsiteX72" fmla="*/ 624390 w 2096597"/>
                <a:gd name="connsiteY72" fmla="*/ 104930 h 283512"/>
                <a:gd name="connsiteX73" fmla="*/ 651199 w 2096597"/>
                <a:gd name="connsiteY73" fmla="*/ 83742 h 283512"/>
                <a:gd name="connsiteX74" fmla="*/ 685791 w 2096597"/>
                <a:gd name="connsiteY74" fmla="*/ 76103 h 283512"/>
                <a:gd name="connsiteX75" fmla="*/ 718942 w 2096597"/>
                <a:gd name="connsiteY75" fmla="*/ 83886 h 283512"/>
                <a:gd name="connsiteX76" fmla="*/ 740273 w 2096597"/>
                <a:gd name="connsiteY76" fmla="*/ 103921 h 283512"/>
                <a:gd name="connsiteX77" fmla="*/ 741426 w 2096597"/>
                <a:gd name="connsiteY77" fmla="*/ 103921 h 283512"/>
                <a:gd name="connsiteX78" fmla="*/ 741426 w 2096597"/>
                <a:gd name="connsiteY78" fmla="*/ 1874 h 283512"/>
                <a:gd name="connsiteX79" fmla="*/ 803404 w 2096597"/>
                <a:gd name="connsiteY79" fmla="*/ 1874 h 283512"/>
                <a:gd name="connsiteX80" fmla="*/ 803404 w 2096597"/>
                <a:gd name="connsiteY80" fmla="*/ 276738 h 283512"/>
                <a:gd name="connsiteX81" fmla="*/ 744021 w 2096597"/>
                <a:gd name="connsiteY81" fmla="*/ 276738 h 283512"/>
                <a:gd name="connsiteX82" fmla="*/ 744021 w 2096597"/>
                <a:gd name="connsiteY82" fmla="*/ 250505 h 283512"/>
                <a:gd name="connsiteX83" fmla="*/ 743300 w 2096597"/>
                <a:gd name="connsiteY83" fmla="*/ 250505 h 283512"/>
                <a:gd name="connsiteX84" fmla="*/ 719951 w 2096597"/>
                <a:gd name="connsiteY84" fmla="*/ 274287 h 283512"/>
                <a:gd name="connsiteX85" fmla="*/ 685935 w 2096597"/>
                <a:gd name="connsiteY85" fmla="*/ 282791 h 283512"/>
                <a:gd name="connsiteX86" fmla="*/ 701934 w 2096597"/>
                <a:gd name="connsiteY86" fmla="*/ 233642 h 283512"/>
                <a:gd name="connsiteX87" fmla="*/ 732202 w 2096597"/>
                <a:gd name="connsiteY87" fmla="*/ 218363 h 283512"/>
                <a:gd name="connsiteX88" fmla="*/ 743012 w 2096597"/>
                <a:gd name="connsiteY88" fmla="*/ 179159 h 283512"/>
                <a:gd name="connsiteX89" fmla="*/ 740562 w 2096597"/>
                <a:gd name="connsiteY89" fmla="*/ 156530 h 283512"/>
                <a:gd name="connsiteX90" fmla="*/ 732923 w 2096597"/>
                <a:gd name="connsiteY90" fmla="*/ 138657 h 283512"/>
                <a:gd name="connsiteX91" fmla="*/ 720383 w 2096597"/>
                <a:gd name="connsiteY91" fmla="*/ 126982 h 283512"/>
                <a:gd name="connsiteX92" fmla="*/ 702654 w 2096597"/>
                <a:gd name="connsiteY92" fmla="*/ 122802 h 283512"/>
                <a:gd name="connsiteX93" fmla="*/ 673683 w 2096597"/>
                <a:gd name="connsiteY93" fmla="*/ 138225 h 283512"/>
                <a:gd name="connsiteX94" fmla="*/ 663450 w 2096597"/>
                <a:gd name="connsiteY94" fmla="*/ 178438 h 283512"/>
                <a:gd name="connsiteX95" fmla="*/ 673539 w 2096597"/>
                <a:gd name="connsiteY95" fmla="*/ 218796 h 283512"/>
                <a:gd name="connsiteX96" fmla="*/ 701934 w 2096597"/>
                <a:gd name="connsiteY96" fmla="*/ 233642 h 283512"/>
                <a:gd name="connsiteX97" fmla="*/ 930242 w 2096597"/>
                <a:gd name="connsiteY97" fmla="*/ 282359 h 283512"/>
                <a:gd name="connsiteX98" fmla="*/ 886858 w 2096597"/>
                <a:gd name="connsiteY98" fmla="*/ 274576 h 283512"/>
                <a:gd name="connsiteX99" fmla="*/ 854139 w 2096597"/>
                <a:gd name="connsiteY99" fmla="*/ 252811 h 283512"/>
                <a:gd name="connsiteX100" fmla="*/ 833528 w 2096597"/>
                <a:gd name="connsiteY100" fmla="*/ 219949 h 283512"/>
                <a:gd name="connsiteX101" fmla="*/ 826322 w 2096597"/>
                <a:gd name="connsiteY101" fmla="*/ 178871 h 283512"/>
                <a:gd name="connsiteX102" fmla="*/ 833528 w 2096597"/>
                <a:gd name="connsiteY102" fmla="*/ 138369 h 283512"/>
                <a:gd name="connsiteX103" fmla="*/ 854139 w 2096597"/>
                <a:gd name="connsiteY103" fmla="*/ 105650 h 283512"/>
                <a:gd name="connsiteX104" fmla="*/ 885705 w 2096597"/>
                <a:gd name="connsiteY104" fmla="*/ 84030 h 283512"/>
                <a:gd name="connsiteX105" fmla="*/ 926495 w 2096597"/>
                <a:gd name="connsiteY105" fmla="*/ 76247 h 283512"/>
                <a:gd name="connsiteX106" fmla="*/ 963970 w 2096597"/>
                <a:gd name="connsiteY106" fmla="*/ 82733 h 283512"/>
                <a:gd name="connsiteX107" fmla="*/ 993085 w 2096597"/>
                <a:gd name="connsiteY107" fmla="*/ 100606 h 283512"/>
                <a:gd name="connsiteX108" fmla="*/ 1019173 w 2096597"/>
                <a:gd name="connsiteY108" fmla="*/ 141107 h 283512"/>
                <a:gd name="connsiteX109" fmla="*/ 1027389 w 2096597"/>
                <a:gd name="connsiteY109" fmla="*/ 195302 h 283512"/>
                <a:gd name="connsiteX110" fmla="*/ 887290 w 2096597"/>
                <a:gd name="connsiteY110" fmla="*/ 195302 h 283512"/>
                <a:gd name="connsiteX111" fmla="*/ 900983 w 2096597"/>
                <a:gd name="connsiteY111" fmla="*/ 226579 h 283512"/>
                <a:gd name="connsiteX112" fmla="*/ 931107 w 2096597"/>
                <a:gd name="connsiteY112" fmla="*/ 237966 h 283512"/>
                <a:gd name="connsiteX113" fmla="*/ 951286 w 2096597"/>
                <a:gd name="connsiteY113" fmla="*/ 232777 h 283512"/>
                <a:gd name="connsiteX114" fmla="*/ 963393 w 2096597"/>
                <a:gd name="connsiteY114" fmla="*/ 218508 h 283512"/>
                <a:gd name="connsiteX115" fmla="*/ 1023930 w 2096597"/>
                <a:gd name="connsiteY115" fmla="*/ 218508 h 283512"/>
                <a:gd name="connsiteX116" fmla="*/ 1012543 w 2096597"/>
                <a:gd name="connsiteY116" fmla="*/ 243875 h 283512"/>
                <a:gd name="connsiteX117" fmla="*/ 991211 w 2096597"/>
                <a:gd name="connsiteY117" fmla="*/ 264630 h 283512"/>
                <a:gd name="connsiteX118" fmla="*/ 963970 w 2096597"/>
                <a:gd name="connsiteY118" fmla="*/ 277891 h 283512"/>
                <a:gd name="connsiteX119" fmla="*/ 930242 w 2096597"/>
                <a:gd name="connsiteY119" fmla="*/ 282503 h 283512"/>
                <a:gd name="connsiteX120" fmla="*/ 964546 w 2096597"/>
                <a:gd name="connsiteY120" fmla="*/ 158404 h 283512"/>
                <a:gd name="connsiteX121" fmla="*/ 952727 w 2096597"/>
                <a:gd name="connsiteY121" fmla="*/ 130586 h 283512"/>
                <a:gd name="connsiteX122" fmla="*/ 927648 w 2096597"/>
                <a:gd name="connsiteY122" fmla="*/ 120352 h 283512"/>
                <a:gd name="connsiteX123" fmla="*/ 900262 w 2096597"/>
                <a:gd name="connsiteY123" fmla="*/ 130586 h 283512"/>
                <a:gd name="connsiteX124" fmla="*/ 887723 w 2096597"/>
                <a:gd name="connsiteY124" fmla="*/ 158404 h 283512"/>
                <a:gd name="connsiteX125" fmla="*/ 964546 w 2096597"/>
                <a:gd name="connsiteY125" fmla="*/ 158404 h 283512"/>
                <a:gd name="connsiteX126" fmla="*/ 1050162 w 2096597"/>
                <a:gd name="connsiteY126" fmla="*/ 2018 h 283512"/>
                <a:gd name="connsiteX127" fmla="*/ 1112140 w 2096597"/>
                <a:gd name="connsiteY127" fmla="*/ 2018 h 283512"/>
                <a:gd name="connsiteX128" fmla="*/ 1112140 w 2096597"/>
                <a:gd name="connsiteY128" fmla="*/ 105939 h 283512"/>
                <a:gd name="connsiteX129" fmla="*/ 1113293 w 2096597"/>
                <a:gd name="connsiteY129" fmla="*/ 105939 h 283512"/>
                <a:gd name="connsiteX130" fmla="*/ 1137219 w 2096597"/>
                <a:gd name="connsiteY130" fmla="*/ 84030 h 283512"/>
                <a:gd name="connsiteX131" fmla="*/ 1171091 w 2096597"/>
                <a:gd name="connsiteY131" fmla="*/ 76247 h 283512"/>
                <a:gd name="connsiteX132" fmla="*/ 1199629 w 2096597"/>
                <a:gd name="connsiteY132" fmla="*/ 81724 h 283512"/>
                <a:gd name="connsiteX133" fmla="*/ 1220961 w 2096597"/>
                <a:gd name="connsiteY133" fmla="*/ 97002 h 283512"/>
                <a:gd name="connsiteX134" fmla="*/ 1234366 w 2096597"/>
                <a:gd name="connsiteY134" fmla="*/ 120208 h 283512"/>
                <a:gd name="connsiteX135" fmla="*/ 1238978 w 2096597"/>
                <a:gd name="connsiteY135" fmla="*/ 150044 h 283512"/>
                <a:gd name="connsiteX136" fmla="*/ 1238978 w 2096597"/>
                <a:gd name="connsiteY136" fmla="*/ 276738 h 283512"/>
                <a:gd name="connsiteX137" fmla="*/ 1177000 w 2096597"/>
                <a:gd name="connsiteY137" fmla="*/ 276738 h 283512"/>
                <a:gd name="connsiteX138" fmla="*/ 1177000 w 2096597"/>
                <a:gd name="connsiteY138" fmla="*/ 162583 h 283512"/>
                <a:gd name="connsiteX139" fmla="*/ 1169361 w 2096597"/>
                <a:gd name="connsiteY139" fmla="*/ 137504 h 283512"/>
                <a:gd name="connsiteX140" fmla="*/ 1146588 w 2096597"/>
                <a:gd name="connsiteY140" fmla="*/ 127991 h 283512"/>
                <a:gd name="connsiteX141" fmla="*/ 1121653 w 2096597"/>
                <a:gd name="connsiteY141" fmla="*/ 139378 h 283512"/>
                <a:gd name="connsiteX142" fmla="*/ 1112284 w 2096597"/>
                <a:gd name="connsiteY142" fmla="*/ 169069 h 283512"/>
                <a:gd name="connsiteX143" fmla="*/ 1112284 w 2096597"/>
                <a:gd name="connsiteY143" fmla="*/ 276738 h 283512"/>
                <a:gd name="connsiteX144" fmla="*/ 1050306 w 2096597"/>
                <a:gd name="connsiteY144" fmla="*/ 276738 h 283512"/>
                <a:gd name="connsiteX145" fmla="*/ 1050306 w 2096597"/>
                <a:gd name="connsiteY145" fmla="*/ 1874 h 283512"/>
                <a:gd name="connsiteX146" fmla="*/ 1362645 w 2096597"/>
                <a:gd name="connsiteY146" fmla="*/ 282936 h 283512"/>
                <a:gd name="connsiteX147" fmla="*/ 1319837 w 2096597"/>
                <a:gd name="connsiteY147" fmla="*/ 275152 h 283512"/>
                <a:gd name="connsiteX148" fmla="*/ 1286830 w 2096597"/>
                <a:gd name="connsiteY148" fmla="*/ 253388 h 283512"/>
                <a:gd name="connsiteX149" fmla="*/ 1265787 w 2096597"/>
                <a:gd name="connsiteY149" fmla="*/ 220670 h 283512"/>
                <a:gd name="connsiteX150" fmla="*/ 1258292 w 2096597"/>
                <a:gd name="connsiteY150" fmla="*/ 179735 h 283512"/>
                <a:gd name="connsiteX151" fmla="*/ 1265787 w 2096597"/>
                <a:gd name="connsiteY151" fmla="*/ 138801 h 283512"/>
                <a:gd name="connsiteX152" fmla="*/ 1286830 w 2096597"/>
                <a:gd name="connsiteY152" fmla="*/ 106083 h 283512"/>
                <a:gd name="connsiteX153" fmla="*/ 1319837 w 2096597"/>
                <a:gd name="connsiteY153" fmla="*/ 84463 h 283512"/>
                <a:gd name="connsiteX154" fmla="*/ 1362645 w 2096597"/>
                <a:gd name="connsiteY154" fmla="*/ 76679 h 283512"/>
                <a:gd name="connsiteX155" fmla="*/ 1405453 w 2096597"/>
                <a:gd name="connsiteY155" fmla="*/ 84463 h 283512"/>
                <a:gd name="connsiteX156" fmla="*/ 1438171 w 2096597"/>
                <a:gd name="connsiteY156" fmla="*/ 106083 h 283512"/>
                <a:gd name="connsiteX157" fmla="*/ 1459071 w 2096597"/>
                <a:gd name="connsiteY157" fmla="*/ 138801 h 283512"/>
                <a:gd name="connsiteX158" fmla="*/ 1466422 w 2096597"/>
                <a:gd name="connsiteY158" fmla="*/ 179735 h 283512"/>
                <a:gd name="connsiteX159" fmla="*/ 1459071 w 2096597"/>
                <a:gd name="connsiteY159" fmla="*/ 220670 h 283512"/>
                <a:gd name="connsiteX160" fmla="*/ 1438171 w 2096597"/>
                <a:gd name="connsiteY160" fmla="*/ 253388 h 283512"/>
                <a:gd name="connsiteX161" fmla="*/ 1405453 w 2096597"/>
                <a:gd name="connsiteY161" fmla="*/ 275152 h 283512"/>
                <a:gd name="connsiteX162" fmla="*/ 1362645 w 2096597"/>
                <a:gd name="connsiteY162" fmla="*/ 282936 h 283512"/>
                <a:gd name="connsiteX163" fmla="*/ 1362213 w 2096597"/>
                <a:gd name="connsiteY163" fmla="*/ 238830 h 283512"/>
                <a:gd name="connsiteX164" fmla="*/ 1393201 w 2096597"/>
                <a:gd name="connsiteY164" fmla="*/ 222687 h 283512"/>
                <a:gd name="connsiteX165" fmla="*/ 1403723 w 2096597"/>
                <a:gd name="connsiteY165" fmla="*/ 179880 h 283512"/>
                <a:gd name="connsiteX166" fmla="*/ 1393201 w 2096597"/>
                <a:gd name="connsiteY166" fmla="*/ 136928 h 283512"/>
                <a:gd name="connsiteX167" fmla="*/ 1362213 w 2096597"/>
                <a:gd name="connsiteY167" fmla="*/ 120496 h 283512"/>
                <a:gd name="connsiteX168" fmla="*/ 1331368 w 2096597"/>
                <a:gd name="connsiteY168" fmla="*/ 136928 h 283512"/>
                <a:gd name="connsiteX169" fmla="*/ 1321134 w 2096597"/>
                <a:gd name="connsiteY169" fmla="*/ 179880 h 283512"/>
                <a:gd name="connsiteX170" fmla="*/ 1331368 w 2096597"/>
                <a:gd name="connsiteY170" fmla="*/ 222687 h 283512"/>
                <a:gd name="connsiteX171" fmla="*/ 1362213 w 2096597"/>
                <a:gd name="connsiteY171" fmla="*/ 238830 h 283512"/>
                <a:gd name="connsiteX172" fmla="*/ 1554488 w 2096597"/>
                <a:gd name="connsiteY172" fmla="*/ 282647 h 283512"/>
                <a:gd name="connsiteX173" fmla="*/ 1503320 w 2096597"/>
                <a:gd name="connsiteY173" fmla="*/ 262613 h 283512"/>
                <a:gd name="connsiteX174" fmla="*/ 1486024 w 2096597"/>
                <a:gd name="connsiteY174" fmla="*/ 209859 h 283512"/>
                <a:gd name="connsiteX175" fmla="*/ 1486024 w 2096597"/>
                <a:gd name="connsiteY175" fmla="*/ 82012 h 283512"/>
                <a:gd name="connsiteX176" fmla="*/ 1547713 w 2096597"/>
                <a:gd name="connsiteY176" fmla="*/ 82012 h 283512"/>
                <a:gd name="connsiteX177" fmla="*/ 1547713 w 2096597"/>
                <a:gd name="connsiteY177" fmla="*/ 197032 h 283512"/>
                <a:gd name="connsiteX178" fmla="*/ 1554920 w 2096597"/>
                <a:gd name="connsiteY178" fmla="*/ 221534 h 283512"/>
                <a:gd name="connsiteX179" fmla="*/ 1576973 w 2096597"/>
                <a:gd name="connsiteY179" fmla="*/ 230038 h 283512"/>
                <a:gd name="connsiteX180" fmla="*/ 1602052 w 2096597"/>
                <a:gd name="connsiteY180" fmla="*/ 219228 h 283512"/>
                <a:gd name="connsiteX181" fmla="*/ 1611132 w 2096597"/>
                <a:gd name="connsiteY181" fmla="*/ 190834 h 283512"/>
                <a:gd name="connsiteX182" fmla="*/ 1611132 w 2096597"/>
                <a:gd name="connsiteY182" fmla="*/ 82012 h 283512"/>
                <a:gd name="connsiteX183" fmla="*/ 1673110 w 2096597"/>
                <a:gd name="connsiteY183" fmla="*/ 82012 h 283512"/>
                <a:gd name="connsiteX184" fmla="*/ 1673110 w 2096597"/>
                <a:gd name="connsiteY184" fmla="*/ 276882 h 283512"/>
                <a:gd name="connsiteX185" fmla="*/ 1613727 w 2096597"/>
                <a:gd name="connsiteY185" fmla="*/ 276882 h 283512"/>
                <a:gd name="connsiteX186" fmla="*/ 1613727 w 2096597"/>
                <a:gd name="connsiteY186" fmla="*/ 252956 h 283512"/>
                <a:gd name="connsiteX187" fmla="*/ 1612574 w 2096597"/>
                <a:gd name="connsiteY187" fmla="*/ 252956 h 283512"/>
                <a:gd name="connsiteX188" fmla="*/ 1588359 w 2096597"/>
                <a:gd name="connsiteY188" fmla="*/ 275008 h 283512"/>
                <a:gd name="connsiteX189" fmla="*/ 1554344 w 2096597"/>
                <a:gd name="connsiteY189" fmla="*/ 282647 h 283512"/>
                <a:gd name="connsiteX190" fmla="*/ 1789571 w 2096597"/>
                <a:gd name="connsiteY190" fmla="*/ 283080 h 283512"/>
                <a:gd name="connsiteX191" fmla="*/ 1721395 w 2096597"/>
                <a:gd name="connsiteY191" fmla="*/ 264630 h 283512"/>
                <a:gd name="connsiteX192" fmla="*/ 1694730 w 2096597"/>
                <a:gd name="connsiteY192" fmla="*/ 213751 h 283512"/>
                <a:gd name="connsiteX193" fmla="*/ 1753393 w 2096597"/>
                <a:gd name="connsiteY193" fmla="*/ 213751 h 283512"/>
                <a:gd name="connsiteX194" fmla="*/ 1764491 w 2096597"/>
                <a:gd name="connsiteY194" fmla="*/ 235515 h 283512"/>
                <a:gd name="connsiteX195" fmla="*/ 1789282 w 2096597"/>
                <a:gd name="connsiteY195" fmla="*/ 242722 h 283512"/>
                <a:gd name="connsiteX196" fmla="*/ 1811479 w 2096597"/>
                <a:gd name="connsiteY196" fmla="*/ 237821 h 283512"/>
                <a:gd name="connsiteX197" fmla="*/ 1819695 w 2096597"/>
                <a:gd name="connsiteY197" fmla="*/ 223408 h 283512"/>
                <a:gd name="connsiteX198" fmla="*/ 1815515 w 2096597"/>
                <a:gd name="connsiteY198" fmla="*/ 212886 h 283512"/>
                <a:gd name="connsiteX199" fmla="*/ 1804416 w 2096597"/>
                <a:gd name="connsiteY199" fmla="*/ 206400 h 283512"/>
                <a:gd name="connsiteX200" fmla="*/ 1788562 w 2096597"/>
                <a:gd name="connsiteY200" fmla="*/ 202653 h 283512"/>
                <a:gd name="connsiteX201" fmla="*/ 1770112 w 2096597"/>
                <a:gd name="connsiteY201" fmla="*/ 199482 h 283512"/>
                <a:gd name="connsiteX202" fmla="*/ 1745033 w 2096597"/>
                <a:gd name="connsiteY202" fmla="*/ 194005 h 283512"/>
                <a:gd name="connsiteX203" fmla="*/ 1722404 w 2096597"/>
                <a:gd name="connsiteY203" fmla="*/ 184348 h 283512"/>
                <a:gd name="connsiteX204" fmla="*/ 1706261 w 2096597"/>
                <a:gd name="connsiteY204" fmla="*/ 167052 h 283512"/>
                <a:gd name="connsiteX205" fmla="*/ 1700207 w 2096597"/>
                <a:gd name="connsiteY205" fmla="*/ 139090 h 283512"/>
                <a:gd name="connsiteX206" fmla="*/ 1706837 w 2096597"/>
                <a:gd name="connsiteY206" fmla="*/ 111992 h 283512"/>
                <a:gd name="connsiteX207" fmla="*/ 1724999 w 2096597"/>
                <a:gd name="connsiteY207" fmla="*/ 92390 h 283512"/>
                <a:gd name="connsiteX208" fmla="*/ 1751808 w 2096597"/>
                <a:gd name="connsiteY208" fmla="*/ 80571 h 283512"/>
                <a:gd name="connsiteX209" fmla="*/ 1784382 w 2096597"/>
                <a:gd name="connsiteY209" fmla="*/ 76535 h 283512"/>
                <a:gd name="connsiteX210" fmla="*/ 1847945 w 2096597"/>
                <a:gd name="connsiteY210" fmla="*/ 93255 h 283512"/>
                <a:gd name="connsiteX211" fmla="*/ 1872304 w 2096597"/>
                <a:gd name="connsiteY211" fmla="*/ 138945 h 283512"/>
                <a:gd name="connsiteX212" fmla="*/ 1815226 w 2096597"/>
                <a:gd name="connsiteY212" fmla="*/ 138945 h 283512"/>
                <a:gd name="connsiteX213" fmla="*/ 1805137 w 2096597"/>
                <a:gd name="connsiteY213" fmla="*/ 120929 h 283512"/>
                <a:gd name="connsiteX214" fmla="*/ 1783949 w 2096597"/>
                <a:gd name="connsiteY214" fmla="*/ 116172 h 283512"/>
                <a:gd name="connsiteX215" fmla="*/ 1764780 w 2096597"/>
                <a:gd name="connsiteY215" fmla="*/ 120496 h 283512"/>
                <a:gd name="connsiteX216" fmla="*/ 1756996 w 2096597"/>
                <a:gd name="connsiteY216" fmla="*/ 134045 h 283512"/>
                <a:gd name="connsiteX217" fmla="*/ 1760744 w 2096597"/>
                <a:gd name="connsiteY217" fmla="*/ 142405 h 283512"/>
                <a:gd name="connsiteX218" fmla="*/ 1770977 w 2096597"/>
                <a:gd name="connsiteY218" fmla="*/ 147593 h 283512"/>
                <a:gd name="connsiteX219" fmla="*/ 1785967 w 2096597"/>
                <a:gd name="connsiteY219" fmla="*/ 151197 h 283512"/>
                <a:gd name="connsiteX220" fmla="*/ 1803696 w 2096597"/>
                <a:gd name="connsiteY220" fmla="*/ 154224 h 283512"/>
                <a:gd name="connsiteX221" fmla="*/ 1829784 w 2096597"/>
                <a:gd name="connsiteY221" fmla="*/ 159701 h 283512"/>
                <a:gd name="connsiteX222" fmla="*/ 1853710 w 2096597"/>
                <a:gd name="connsiteY222" fmla="*/ 169790 h 283512"/>
                <a:gd name="connsiteX223" fmla="*/ 1871439 w 2096597"/>
                <a:gd name="connsiteY223" fmla="*/ 188239 h 283512"/>
                <a:gd name="connsiteX224" fmla="*/ 1878357 w 2096597"/>
                <a:gd name="connsiteY224" fmla="*/ 218508 h 283512"/>
                <a:gd name="connsiteX225" fmla="*/ 1871727 w 2096597"/>
                <a:gd name="connsiteY225" fmla="*/ 246614 h 283512"/>
                <a:gd name="connsiteX226" fmla="*/ 1853278 w 2096597"/>
                <a:gd name="connsiteY226" fmla="*/ 266792 h 283512"/>
                <a:gd name="connsiteX227" fmla="*/ 1825172 w 2096597"/>
                <a:gd name="connsiteY227" fmla="*/ 279044 h 283512"/>
                <a:gd name="connsiteX228" fmla="*/ 1789715 w 2096597"/>
                <a:gd name="connsiteY228" fmla="*/ 283224 h 283512"/>
                <a:gd name="connsiteX229" fmla="*/ 1999430 w 2096597"/>
                <a:gd name="connsiteY229" fmla="*/ 282791 h 283512"/>
                <a:gd name="connsiteX230" fmla="*/ 1956046 w 2096597"/>
                <a:gd name="connsiteY230" fmla="*/ 275008 h 283512"/>
                <a:gd name="connsiteX231" fmla="*/ 1923327 w 2096597"/>
                <a:gd name="connsiteY231" fmla="*/ 253244 h 283512"/>
                <a:gd name="connsiteX232" fmla="*/ 1902716 w 2096597"/>
                <a:gd name="connsiteY232" fmla="*/ 220381 h 283512"/>
                <a:gd name="connsiteX233" fmla="*/ 1895509 w 2096597"/>
                <a:gd name="connsiteY233" fmla="*/ 179303 h 283512"/>
                <a:gd name="connsiteX234" fmla="*/ 1902716 w 2096597"/>
                <a:gd name="connsiteY234" fmla="*/ 138801 h 283512"/>
                <a:gd name="connsiteX235" fmla="*/ 1923327 w 2096597"/>
                <a:gd name="connsiteY235" fmla="*/ 106083 h 283512"/>
                <a:gd name="connsiteX236" fmla="*/ 1954893 w 2096597"/>
                <a:gd name="connsiteY236" fmla="*/ 84463 h 283512"/>
                <a:gd name="connsiteX237" fmla="*/ 1995683 w 2096597"/>
                <a:gd name="connsiteY237" fmla="*/ 76679 h 283512"/>
                <a:gd name="connsiteX238" fmla="*/ 2033157 w 2096597"/>
                <a:gd name="connsiteY238" fmla="*/ 83165 h 283512"/>
                <a:gd name="connsiteX239" fmla="*/ 2062273 w 2096597"/>
                <a:gd name="connsiteY239" fmla="*/ 101038 h 283512"/>
                <a:gd name="connsiteX240" fmla="*/ 2088361 w 2096597"/>
                <a:gd name="connsiteY240" fmla="*/ 141540 h 283512"/>
                <a:gd name="connsiteX241" fmla="*/ 2096577 w 2096597"/>
                <a:gd name="connsiteY241" fmla="*/ 195734 h 283512"/>
                <a:gd name="connsiteX242" fmla="*/ 1956478 w 2096597"/>
                <a:gd name="connsiteY242" fmla="*/ 195734 h 283512"/>
                <a:gd name="connsiteX243" fmla="*/ 1970171 w 2096597"/>
                <a:gd name="connsiteY243" fmla="*/ 227011 h 283512"/>
                <a:gd name="connsiteX244" fmla="*/ 2000295 w 2096597"/>
                <a:gd name="connsiteY244" fmla="*/ 238398 h 283512"/>
                <a:gd name="connsiteX245" fmla="*/ 2020474 w 2096597"/>
                <a:gd name="connsiteY245" fmla="*/ 233209 h 283512"/>
                <a:gd name="connsiteX246" fmla="*/ 2032725 w 2096597"/>
                <a:gd name="connsiteY246" fmla="*/ 218940 h 283512"/>
                <a:gd name="connsiteX247" fmla="*/ 2093262 w 2096597"/>
                <a:gd name="connsiteY247" fmla="*/ 218940 h 283512"/>
                <a:gd name="connsiteX248" fmla="*/ 2081875 w 2096597"/>
                <a:gd name="connsiteY248" fmla="*/ 244308 h 283512"/>
                <a:gd name="connsiteX249" fmla="*/ 2060543 w 2096597"/>
                <a:gd name="connsiteY249" fmla="*/ 265063 h 283512"/>
                <a:gd name="connsiteX250" fmla="*/ 2033302 w 2096597"/>
                <a:gd name="connsiteY250" fmla="*/ 278323 h 283512"/>
                <a:gd name="connsiteX251" fmla="*/ 1999574 w 2096597"/>
                <a:gd name="connsiteY251" fmla="*/ 282936 h 283512"/>
                <a:gd name="connsiteX252" fmla="*/ 2033878 w 2096597"/>
                <a:gd name="connsiteY252" fmla="*/ 158836 h 283512"/>
                <a:gd name="connsiteX253" fmla="*/ 2022059 w 2096597"/>
                <a:gd name="connsiteY253" fmla="*/ 131018 h 283512"/>
                <a:gd name="connsiteX254" fmla="*/ 1996980 w 2096597"/>
                <a:gd name="connsiteY254" fmla="*/ 120784 h 283512"/>
                <a:gd name="connsiteX255" fmla="*/ 1969594 w 2096597"/>
                <a:gd name="connsiteY255" fmla="*/ 131018 h 283512"/>
                <a:gd name="connsiteX256" fmla="*/ 1957055 w 2096597"/>
                <a:gd name="connsiteY256" fmla="*/ 158836 h 283512"/>
                <a:gd name="connsiteX257" fmla="*/ 2033878 w 2096597"/>
                <a:gd name="connsiteY257" fmla="*/ 158836 h 283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</a:cxnLst>
              <a:rect l="l" t="t" r="r" b="b"/>
              <a:pathLst>
                <a:path w="2096597" h="283512">
                  <a:moveTo>
                    <a:pt x="129433" y="283512"/>
                  </a:moveTo>
                  <a:cubicBezTo>
                    <a:pt x="109830" y="283512"/>
                    <a:pt x="92390" y="280197"/>
                    <a:pt x="76968" y="273567"/>
                  </a:cubicBezTo>
                  <a:cubicBezTo>
                    <a:pt x="61545" y="266937"/>
                    <a:pt x="47997" y="257568"/>
                    <a:pt x="36610" y="245461"/>
                  </a:cubicBezTo>
                  <a:cubicBezTo>
                    <a:pt x="24647" y="232489"/>
                    <a:pt x="15567" y="217354"/>
                    <a:pt x="9369" y="199770"/>
                  </a:cubicBezTo>
                  <a:cubicBezTo>
                    <a:pt x="3171" y="182330"/>
                    <a:pt x="0" y="163160"/>
                    <a:pt x="0" y="142260"/>
                  </a:cubicBezTo>
                  <a:cubicBezTo>
                    <a:pt x="0" y="121361"/>
                    <a:pt x="3459" y="100894"/>
                    <a:pt x="10522" y="82733"/>
                  </a:cubicBezTo>
                  <a:cubicBezTo>
                    <a:pt x="17440" y="64572"/>
                    <a:pt x="27386" y="49006"/>
                    <a:pt x="40358" y="36178"/>
                  </a:cubicBezTo>
                  <a:cubicBezTo>
                    <a:pt x="51744" y="24791"/>
                    <a:pt x="65149" y="15855"/>
                    <a:pt x="80715" y="9513"/>
                  </a:cubicBezTo>
                  <a:cubicBezTo>
                    <a:pt x="96138" y="3171"/>
                    <a:pt x="113866" y="0"/>
                    <a:pt x="133612" y="0"/>
                  </a:cubicBezTo>
                  <a:cubicBezTo>
                    <a:pt x="151053" y="0"/>
                    <a:pt x="166907" y="2162"/>
                    <a:pt x="180744" y="6630"/>
                  </a:cubicBezTo>
                  <a:cubicBezTo>
                    <a:pt x="194725" y="11098"/>
                    <a:pt x="206833" y="17440"/>
                    <a:pt x="216922" y="25656"/>
                  </a:cubicBezTo>
                  <a:cubicBezTo>
                    <a:pt x="227011" y="33872"/>
                    <a:pt x="235227" y="43817"/>
                    <a:pt x="241425" y="55492"/>
                  </a:cubicBezTo>
                  <a:cubicBezTo>
                    <a:pt x="247623" y="67167"/>
                    <a:pt x="251947" y="80139"/>
                    <a:pt x="254109" y="94264"/>
                  </a:cubicBezTo>
                  <a:lnTo>
                    <a:pt x="188672" y="94264"/>
                  </a:lnTo>
                  <a:cubicBezTo>
                    <a:pt x="186077" y="83165"/>
                    <a:pt x="180456" y="73797"/>
                    <a:pt x="171520" y="66446"/>
                  </a:cubicBezTo>
                  <a:cubicBezTo>
                    <a:pt x="162583" y="59095"/>
                    <a:pt x="150764" y="55348"/>
                    <a:pt x="135774" y="55348"/>
                  </a:cubicBezTo>
                  <a:cubicBezTo>
                    <a:pt x="124532" y="55348"/>
                    <a:pt x="114731" y="57654"/>
                    <a:pt x="106227" y="61978"/>
                  </a:cubicBezTo>
                  <a:cubicBezTo>
                    <a:pt x="97723" y="66446"/>
                    <a:pt x="90660" y="72500"/>
                    <a:pt x="85039" y="80283"/>
                  </a:cubicBezTo>
                  <a:cubicBezTo>
                    <a:pt x="79418" y="88066"/>
                    <a:pt x="75238" y="97146"/>
                    <a:pt x="72500" y="107668"/>
                  </a:cubicBezTo>
                  <a:cubicBezTo>
                    <a:pt x="69761" y="118190"/>
                    <a:pt x="68320" y="129721"/>
                    <a:pt x="68320" y="142116"/>
                  </a:cubicBezTo>
                  <a:cubicBezTo>
                    <a:pt x="68320" y="154512"/>
                    <a:pt x="69905" y="166043"/>
                    <a:pt x="73076" y="176709"/>
                  </a:cubicBezTo>
                  <a:cubicBezTo>
                    <a:pt x="76247" y="187375"/>
                    <a:pt x="80715" y="196599"/>
                    <a:pt x="86625" y="204238"/>
                  </a:cubicBezTo>
                  <a:cubicBezTo>
                    <a:pt x="92534" y="212021"/>
                    <a:pt x="99597" y="218075"/>
                    <a:pt x="108101" y="222255"/>
                  </a:cubicBezTo>
                  <a:cubicBezTo>
                    <a:pt x="116605" y="226579"/>
                    <a:pt x="126117" y="228741"/>
                    <a:pt x="136783" y="228741"/>
                  </a:cubicBezTo>
                  <a:cubicBezTo>
                    <a:pt x="145576" y="228741"/>
                    <a:pt x="153647" y="227444"/>
                    <a:pt x="160566" y="224705"/>
                  </a:cubicBezTo>
                  <a:cubicBezTo>
                    <a:pt x="167484" y="222111"/>
                    <a:pt x="173538" y="218508"/>
                    <a:pt x="178438" y="214039"/>
                  </a:cubicBezTo>
                  <a:cubicBezTo>
                    <a:pt x="183339" y="209571"/>
                    <a:pt x="187375" y="204526"/>
                    <a:pt x="190257" y="198761"/>
                  </a:cubicBezTo>
                  <a:cubicBezTo>
                    <a:pt x="193140" y="193140"/>
                    <a:pt x="195014" y="187230"/>
                    <a:pt x="195734" y="181033"/>
                  </a:cubicBezTo>
                  <a:lnTo>
                    <a:pt x="195734" y="180312"/>
                  </a:lnTo>
                  <a:lnTo>
                    <a:pt x="144711" y="180312"/>
                  </a:lnTo>
                  <a:lnTo>
                    <a:pt x="144711" y="130874"/>
                  </a:lnTo>
                  <a:lnTo>
                    <a:pt x="258144" y="130874"/>
                  </a:lnTo>
                  <a:lnTo>
                    <a:pt x="258144" y="277026"/>
                  </a:lnTo>
                  <a:lnTo>
                    <a:pt x="211013" y="277026"/>
                  </a:lnTo>
                  <a:lnTo>
                    <a:pt x="207265" y="244308"/>
                  </a:lnTo>
                  <a:lnTo>
                    <a:pt x="206544" y="244308"/>
                  </a:lnTo>
                  <a:cubicBezTo>
                    <a:pt x="197608" y="258289"/>
                    <a:pt x="186654" y="268234"/>
                    <a:pt x="173682" y="274143"/>
                  </a:cubicBezTo>
                  <a:cubicBezTo>
                    <a:pt x="160566" y="280053"/>
                    <a:pt x="145864" y="283080"/>
                    <a:pt x="129288" y="283080"/>
                  </a:cubicBezTo>
                  <a:moveTo>
                    <a:pt x="358029" y="282647"/>
                  </a:moveTo>
                  <a:cubicBezTo>
                    <a:pt x="335400" y="282647"/>
                    <a:pt x="318393" y="276017"/>
                    <a:pt x="306862" y="262613"/>
                  </a:cubicBezTo>
                  <a:cubicBezTo>
                    <a:pt x="295331" y="249352"/>
                    <a:pt x="289566" y="231768"/>
                    <a:pt x="289566" y="209859"/>
                  </a:cubicBezTo>
                  <a:lnTo>
                    <a:pt x="289566" y="82012"/>
                  </a:lnTo>
                  <a:lnTo>
                    <a:pt x="351255" y="82012"/>
                  </a:lnTo>
                  <a:lnTo>
                    <a:pt x="351255" y="197032"/>
                  </a:lnTo>
                  <a:cubicBezTo>
                    <a:pt x="351255" y="207697"/>
                    <a:pt x="353705" y="215913"/>
                    <a:pt x="358462" y="221534"/>
                  </a:cubicBezTo>
                  <a:cubicBezTo>
                    <a:pt x="363218" y="227300"/>
                    <a:pt x="370713" y="230038"/>
                    <a:pt x="380514" y="230038"/>
                  </a:cubicBezTo>
                  <a:cubicBezTo>
                    <a:pt x="391180" y="230038"/>
                    <a:pt x="399540" y="226435"/>
                    <a:pt x="405594" y="219228"/>
                  </a:cubicBezTo>
                  <a:cubicBezTo>
                    <a:pt x="411647" y="212021"/>
                    <a:pt x="414674" y="202509"/>
                    <a:pt x="414674" y="190834"/>
                  </a:cubicBezTo>
                  <a:lnTo>
                    <a:pt x="414674" y="82012"/>
                  </a:lnTo>
                  <a:lnTo>
                    <a:pt x="476652" y="82012"/>
                  </a:lnTo>
                  <a:lnTo>
                    <a:pt x="476652" y="276882"/>
                  </a:lnTo>
                  <a:lnTo>
                    <a:pt x="417269" y="276882"/>
                  </a:lnTo>
                  <a:lnTo>
                    <a:pt x="417269" y="252956"/>
                  </a:lnTo>
                  <a:lnTo>
                    <a:pt x="416116" y="252956"/>
                  </a:lnTo>
                  <a:cubicBezTo>
                    <a:pt x="409053" y="262613"/>
                    <a:pt x="400981" y="269963"/>
                    <a:pt x="391901" y="275008"/>
                  </a:cubicBezTo>
                  <a:cubicBezTo>
                    <a:pt x="382965" y="280053"/>
                    <a:pt x="371578" y="282647"/>
                    <a:pt x="357885" y="282647"/>
                  </a:cubicBezTo>
                  <a:moveTo>
                    <a:pt x="511965" y="2162"/>
                  </a:moveTo>
                  <a:lnTo>
                    <a:pt x="573943" y="2162"/>
                  </a:lnTo>
                  <a:lnTo>
                    <a:pt x="573943" y="55059"/>
                  </a:lnTo>
                  <a:lnTo>
                    <a:pt x="511965" y="55059"/>
                  </a:lnTo>
                  <a:lnTo>
                    <a:pt x="511965" y="2162"/>
                  </a:lnTo>
                  <a:close/>
                  <a:moveTo>
                    <a:pt x="511965" y="82012"/>
                  </a:moveTo>
                  <a:lnTo>
                    <a:pt x="573943" y="82012"/>
                  </a:lnTo>
                  <a:lnTo>
                    <a:pt x="573943" y="276882"/>
                  </a:lnTo>
                  <a:lnTo>
                    <a:pt x="511965" y="276882"/>
                  </a:lnTo>
                  <a:lnTo>
                    <a:pt x="511965" y="82012"/>
                  </a:lnTo>
                  <a:close/>
                  <a:moveTo>
                    <a:pt x="685935" y="282936"/>
                  </a:moveTo>
                  <a:cubicBezTo>
                    <a:pt x="673539" y="282936"/>
                    <a:pt x="662009" y="280629"/>
                    <a:pt x="651631" y="275873"/>
                  </a:cubicBezTo>
                  <a:cubicBezTo>
                    <a:pt x="641253" y="271117"/>
                    <a:pt x="632173" y="264342"/>
                    <a:pt x="624678" y="255550"/>
                  </a:cubicBezTo>
                  <a:cubicBezTo>
                    <a:pt x="617039" y="246614"/>
                    <a:pt x="611129" y="235804"/>
                    <a:pt x="606949" y="222976"/>
                  </a:cubicBezTo>
                  <a:cubicBezTo>
                    <a:pt x="602769" y="210148"/>
                    <a:pt x="600607" y="195590"/>
                    <a:pt x="600607" y="179447"/>
                  </a:cubicBezTo>
                  <a:cubicBezTo>
                    <a:pt x="600607" y="164169"/>
                    <a:pt x="602769" y="150332"/>
                    <a:pt x="606949" y="137504"/>
                  </a:cubicBezTo>
                  <a:cubicBezTo>
                    <a:pt x="611129" y="124820"/>
                    <a:pt x="617039" y="114010"/>
                    <a:pt x="624390" y="104930"/>
                  </a:cubicBezTo>
                  <a:cubicBezTo>
                    <a:pt x="631884" y="95993"/>
                    <a:pt x="640821" y="88931"/>
                    <a:pt x="651199" y="83742"/>
                  </a:cubicBezTo>
                  <a:cubicBezTo>
                    <a:pt x="661576" y="78697"/>
                    <a:pt x="673107" y="76103"/>
                    <a:pt x="685791" y="76103"/>
                  </a:cubicBezTo>
                  <a:cubicBezTo>
                    <a:pt x="699483" y="76103"/>
                    <a:pt x="710582" y="78697"/>
                    <a:pt x="718942" y="83886"/>
                  </a:cubicBezTo>
                  <a:cubicBezTo>
                    <a:pt x="727301" y="89075"/>
                    <a:pt x="734364" y="95705"/>
                    <a:pt x="740273" y="103921"/>
                  </a:cubicBezTo>
                  <a:lnTo>
                    <a:pt x="741426" y="103921"/>
                  </a:lnTo>
                  <a:lnTo>
                    <a:pt x="741426" y="1874"/>
                  </a:lnTo>
                  <a:lnTo>
                    <a:pt x="803404" y="1874"/>
                  </a:lnTo>
                  <a:lnTo>
                    <a:pt x="803404" y="276738"/>
                  </a:lnTo>
                  <a:lnTo>
                    <a:pt x="744021" y="276738"/>
                  </a:lnTo>
                  <a:lnTo>
                    <a:pt x="744021" y="250505"/>
                  </a:lnTo>
                  <a:lnTo>
                    <a:pt x="743300" y="250505"/>
                  </a:lnTo>
                  <a:cubicBezTo>
                    <a:pt x="737535" y="260595"/>
                    <a:pt x="729607" y="268522"/>
                    <a:pt x="719951" y="274287"/>
                  </a:cubicBezTo>
                  <a:cubicBezTo>
                    <a:pt x="710149" y="280053"/>
                    <a:pt x="698907" y="282791"/>
                    <a:pt x="685935" y="282791"/>
                  </a:cubicBezTo>
                  <a:moveTo>
                    <a:pt x="701934" y="233642"/>
                  </a:moveTo>
                  <a:cubicBezTo>
                    <a:pt x="714906" y="233642"/>
                    <a:pt x="724995" y="228597"/>
                    <a:pt x="732202" y="218363"/>
                  </a:cubicBezTo>
                  <a:cubicBezTo>
                    <a:pt x="739409" y="208274"/>
                    <a:pt x="743012" y="195158"/>
                    <a:pt x="743012" y="179159"/>
                  </a:cubicBezTo>
                  <a:cubicBezTo>
                    <a:pt x="743012" y="171087"/>
                    <a:pt x="742147" y="163448"/>
                    <a:pt x="740562" y="156530"/>
                  </a:cubicBezTo>
                  <a:cubicBezTo>
                    <a:pt x="738976" y="149611"/>
                    <a:pt x="736382" y="143558"/>
                    <a:pt x="732923" y="138657"/>
                  </a:cubicBezTo>
                  <a:cubicBezTo>
                    <a:pt x="729463" y="133757"/>
                    <a:pt x="725284" y="129865"/>
                    <a:pt x="720383" y="126982"/>
                  </a:cubicBezTo>
                  <a:cubicBezTo>
                    <a:pt x="715482" y="124244"/>
                    <a:pt x="709573" y="122802"/>
                    <a:pt x="702654" y="122802"/>
                  </a:cubicBezTo>
                  <a:cubicBezTo>
                    <a:pt x="690259" y="122802"/>
                    <a:pt x="680602" y="127991"/>
                    <a:pt x="673683" y="138225"/>
                  </a:cubicBezTo>
                  <a:cubicBezTo>
                    <a:pt x="666765" y="148458"/>
                    <a:pt x="663450" y="161863"/>
                    <a:pt x="663450" y="178438"/>
                  </a:cubicBezTo>
                  <a:cubicBezTo>
                    <a:pt x="663450" y="195014"/>
                    <a:pt x="666765" y="208851"/>
                    <a:pt x="673539" y="218796"/>
                  </a:cubicBezTo>
                  <a:cubicBezTo>
                    <a:pt x="680314" y="228741"/>
                    <a:pt x="689682" y="233642"/>
                    <a:pt x="701934" y="233642"/>
                  </a:cubicBezTo>
                  <a:moveTo>
                    <a:pt x="930242" y="282359"/>
                  </a:moveTo>
                  <a:cubicBezTo>
                    <a:pt x="914243" y="282359"/>
                    <a:pt x="899830" y="279765"/>
                    <a:pt x="886858" y="274576"/>
                  </a:cubicBezTo>
                  <a:cubicBezTo>
                    <a:pt x="873886" y="269387"/>
                    <a:pt x="862932" y="262180"/>
                    <a:pt x="854139" y="252811"/>
                  </a:cubicBezTo>
                  <a:cubicBezTo>
                    <a:pt x="845203" y="243587"/>
                    <a:pt x="838429" y="232633"/>
                    <a:pt x="833528" y="219949"/>
                  </a:cubicBezTo>
                  <a:cubicBezTo>
                    <a:pt x="828772" y="207265"/>
                    <a:pt x="826322" y="193572"/>
                    <a:pt x="826322" y="178871"/>
                  </a:cubicBezTo>
                  <a:cubicBezTo>
                    <a:pt x="826322" y="164169"/>
                    <a:pt x="828772" y="150909"/>
                    <a:pt x="833528" y="138369"/>
                  </a:cubicBezTo>
                  <a:cubicBezTo>
                    <a:pt x="838285" y="125829"/>
                    <a:pt x="845203" y="114875"/>
                    <a:pt x="854139" y="105650"/>
                  </a:cubicBezTo>
                  <a:cubicBezTo>
                    <a:pt x="863076" y="96426"/>
                    <a:pt x="873598" y="89219"/>
                    <a:pt x="885705" y="84030"/>
                  </a:cubicBezTo>
                  <a:cubicBezTo>
                    <a:pt x="897812" y="78841"/>
                    <a:pt x="911505" y="76247"/>
                    <a:pt x="926495" y="76247"/>
                  </a:cubicBezTo>
                  <a:cubicBezTo>
                    <a:pt x="940476" y="76247"/>
                    <a:pt x="953016" y="78409"/>
                    <a:pt x="963970" y="82733"/>
                  </a:cubicBezTo>
                  <a:cubicBezTo>
                    <a:pt x="975068" y="87057"/>
                    <a:pt x="984725" y="92967"/>
                    <a:pt x="993085" y="100606"/>
                  </a:cubicBezTo>
                  <a:cubicBezTo>
                    <a:pt x="1004760" y="111272"/>
                    <a:pt x="1013408" y="124820"/>
                    <a:pt x="1019173" y="141107"/>
                  </a:cubicBezTo>
                  <a:cubicBezTo>
                    <a:pt x="1024939" y="157539"/>
                    <a:pt x="1027533" y="175556"/>
                    <a:pt x="1027389" y="195302"/>
                  </a:cubicBezTo>
                  <a:lnTo>
                    <a:pt x="887290" y="195302"/>
                  </a:lnTo>
                  <a:cubicBezTo>
                    <a:pt x="889308" y="208562"/>
                    <a:pt x="893921" y="218940"/>
                    <a:pt x="900983" y="226579"/>
                  </a:cubicBezTo>
                  <a:cubicBezTo>
                    <a:pt x="908046" y="234218"/>
                    <a:pt x="918135" y="237966"/>
                    <a:pt x="931107" y="237966"/>
                  </a:cubicBezTo>
                  <a:cubicBezTo>
                    <a:pt x="939179" y="237966"/>
                    <a:pt x="945953" y="236236"/>
                    <a:pt x="951286" y="232777"/>
                  </a:cubicBezTo>
                  <a:cubicBezTo>
                    <a:pt x="956619" y="229318"/>
                    <a:pt x="960655" y="224561"/>
                    <a:pt x="963393" y="218508"/>
                  </a:cubicBezTo>
                  <a:lnTo>
                    <a:pt x="1023930" y="218508"/>
                  </a:lnTo>
                  <a:cubicBezTo>
                    <a:pt x="1021912" y="227444"/>
                    <a:pt x="1018020" y="235804"/>
                    <a:pt x="1012543" y="243875"/>
                  </a:cubicBezTo>
                  <a:cubicBezTo>
                    <a:pt x="1006922" y="251803"/>
                    <a:pt x="999859" y="258721"/>
                    <a:pt x="991211" y="264630"/>
                  </a:cubicBezTo>
                  <a:cubicBezTo>
                    <a:pt x="983140" y="270540"/>
                    <a:pt x="974059" y="274864"/>
                    <a:pt x="963970" y="277891"/>
                  </a:cubicBezTo>
                  <a:cubicBezTo>
                    <a:pt x="954024" y="280918"/>
                    <a:pt x="942782" y="282503"/>
                    <a:pt x="930242" y="282503"/>
                  </a:cubicBezTo>
                  <a:moveTo>
                    <a:pt x="964546" y="158404"/>
                  </a:moveTo>
                  <a:cubicBezTo>
                    <a:pt x="963249" y="146729"/>
                    <a:pt x="959357" y="137504"/>
                    <a:pt x="952727" y="130586"/>
                  </a:cubicBezTo>
                  <a:cubicBezTo>
                    <a:pt x="946097" y="123811"/>
                    <a:pt x="937737" y="120352"/>
                    <a:pt x="927648" y="120352"/>
                  </a:cubicBezTo>
                  <a:cubicBezTo>
                    <a:pt x="915685" y="120352"/>
                    <a:pt x="906604" y="123811"/>
                    <a:pt x="900262" y="130586"/>
                  </a:cubicBezTo>
                  <a:cubicBezTo>
                    <a:pt x="893921" y="137504"/>
                    <a:pt x="889741" y="146729"/>
                    <a:pt x="887723" y="158404"/>
                  </a:cubicBezTo>
                  <a:lnTo>
                    <a:pt x="964546" y="158404"/>
                  </a:lnTo>
                  <a:close/>
                  <a:moveTo>
                    <a:pt x="1050162" y="2018"/>
                  </a:moveTo>
                  <a:lnTo>
                    <a:pt x="1112140" y="2018"/>
                  </a:lnTo>
                  <a:lnTo>
                    <a:pt x="1112140" y="105939"/>
                  </a:lnTo>
                  <a:lnTo>
                    <a:pt x="1113293" y="105939"/>
                  </a:lnTo>
                  <a:cubicBezTo>
                    <a:pt x="1120355" y="96570"/>
                    <a:pt x="1128427" y="89219"/>
                    <a:pt x="1137219" y="84030"/>
                  </a:cubicBezTo>
                  <a:cubicBezTo>
                    <a:pt x="1146155" y="78841"/>
                    <a:pt x="1157398" y="76247"/>
                    <a:pt x="1171091" y="76247"/>
                  </a:cubicBezTo>
                  <a:cubicBezTo>
                    <a:pt x="1181757" y="76247"/>
                    <a:pt x="1191269" y="78121"/>
                    <a:pt x="1199629" y="81724"/>
                  </a:cubicBezTo>
                  <a:cubicBezTo>
                    <a:pt x="1207989" y="85327"/>
                    <a:pt x="1215052" y="90516"/>
                    <a:pt x="1220961" y="97002"/>
                  </a:cubicBezTo>
                  <a:cubicBezTo>
                    <a:pt x="1226871" y="103488"/>
                    <a:pt x="1231195" y="111272"/>
                    <a:pt x="1234366" y="120208"/>
                  </a:cubicBezTo>
                  <a:cubicBezTo>
                    <a:pt x="1237392" y="129144"/>
                    <a:pt x="1238978" y="139234"/>
                    <a:pt x="1238978" y="150044"/>
                  </a:cubicBezTo>
                  <a:lnTo>
                    <a:pt x="1238978" y="276738"/>
                  </a:lnTo>
                  <a:lnTo>
                    <a:pt x="1177000" y="276738"/>
                  </a:lnTo>
                  <a:lnTo>
                    <a:pt x="1177000" y="162583"/>
                  </a:lnTo>
                  <a:cubicBezTo>
                    <a:pt x="1177000" y="152206"/>
                    <a:pt x="1174406" y="143846"/>
                    <a:pt x="1169361" y="137504"/>
                  </a:cubicBezTo>
                  <a:cubicBezTo>
                    <a:pt x="1164316" y="131162"/>
                    <a:pt x="1156677" y="127991"/>
                    <a:pt x="1146588" y="127991"/>
                  </a:cubicBezTo>
                  <a:cubicBezTo>
                    <a:pt x="1136498" y="127991"/>
                    <a:pt x="1127850" y="131739"/>
                    <a:pt x="1121653" y="139378"/>
                  </a:cubicBezTo>
                  <a:cubicBezTo>
                    <a:pt x="1115455" y="147017"/>
                    <a:pt x="1112284" y="156962"/>
                    <a:pt x="1112284" y="169069"/>
                  </a:cubicBezTo>
                  <a:lnTo>
                    <a:pt x="1112284" y="276738"/>
                  </a:lnTo>
                  <a:lnTo>
                    <a:pt x="1050306" y="276738"/>
                  </a:lnTo>
                  <a:lnTo>
                    <a:pt x="1050306" y="1874"/>
                  </a:lnTo>
                  <a:close/>
                  <a:moveTo>
                    <a:pt x="1362645" y="282936"/>
                  </a:moveTo>
                  <a:cubicBezTo>
                    <a:pt x="1346935" y="282936"/>
                    <a:pt x="1332665" y="280341"/>
                    <a:pt x="1319837" y="275152"/>
                  </a:cubicBezTo>
                  <a:cubicBezTo>
                    <a:pt x="1307009" y="269963"/>
                    <a:pt x="1296055" y="262757"/>
                    <a:pt x="1286830" y="253388"/>
                  </a:cubicBezTo>
                  <a:cubicBezTo>
                    <a:pt x="1277750" y="244163"/>
                    <a:pt x="1270687" y="233209"/>
                    <a:pt x="1265787" y="220670"/>
                  </a:cubicBezTo>
                  <a:cubicBezTo>
                    <a:pt x="1260886" y="208130"/>
                    <a:pt x="1258292" y="194437"/>
                    <a:pt x="1258292" y="179735"/>
                  </a:cubicBezTo>
                  <a:cubicBezTo>
                    <a:pt x="1258292" y="165034"/>
                    <a:pt x="1260742" y="151341"/>
                    <a:pt x="1265787" y="138801"/>
                  </a:cubicBezTo>
                  <a:cubicBezTo>
                    <a:pt x="1270687" y="126262"/>
                    <a:pt x="1277750" y="115307"/>
                    <a:pt x="1286830" y="106083"/>
                  </a:cubicBezTo>
                  <a:cubicBezTo>
                    <a:pt x="1295911" y="96858"/>
                    <a:pt x="1307009" y="89651"/>
                    <a:pt x="1319837" y="84463"/>
                  </a:cubicBezTo>
                  <a:cubicBezTo>
                    <a:pt x="1332665" y="79274"/>
                    <a:pt x="1346935" y="76679"/>
                    <a:pt x="1362645" y="76679"/>
                  </a:cubicBezTo>
                  <a:cubicBezTo>
                    <a:pt x="1378356" y="76679"/>
                    <a:pt x="1392625" y="79274"/>
                    <a:pt x="1405453" y="84463"/>
                  </a:cubicBezTo>
                  <a:cubicBezTo>
                    <a:pt x="1418281" y="89651"/>
                    <a:pt x="1429235" y="96858"/>
                    <a:pt x="1438171" y="106083"/>
                  </a:cubicBezTo>
                  <a:cubicBezTo>
                    <a:pt x="1447108" y="115307"/>
                    <a:pt x="1454170" y="126262"/>
                    <a:pt x="1459071" y="138801"/>
                  </a:cubicBezTo>
                  <a:cubicBezTo>
                    <a:pt x="1463971" y="151341"/>
                    <a:pt x="1466422" y="165034"/>
                    <a:pt x="1466422" y="179735"/>
                  </a:cubicBezTo>
                  <a:cubicBezTo>
                    <a:pt x="1466422" y="194437"/>
                    <a:pt x="1463971" y="208130"/>
                    <a:pt x="1459071" y="220670"/>
                  </a:cubicBezTo>
                  <a:cubicBezTo>
                    <a:pt x="1454170" y="233209"/>
                    <a:pt x="1447108" y="244163"/>
                    <a:pt x="1438171" y="253388"/>
                  </a:cubicBezTo>
                  <a:cubicBezTo>
                    <a:pt x="1429235" y="262613"/>
                    <a:pt x="1418281" y="269819"/>
                    <a:pt x="1405453" y="275152"/>
                  </a:cubicBezTo>
                  <a:cubicBezTo>
                    <a:pt x="1392625" y="280341"/>
                    <a:pt x="1378356" y="282936"/>
                    <a:pt x="1362645" y="282936"/>
                  </a:cubicBezTo>
                  <a:moveTo>
                    <a:pt x="1362213" y="238830"/>
                  </a:moveTo>
                  <a:cubicBezTo>
                    <a:pt x="1375905" y="238830"/>
                    <a:pt x="1386283" y="233497"/>
                    <a:pt x="1393201" y="222687"/>
                  </a:cubicBezTo>
                  <a:cubicBezTo>
                    <a:pt x="1400264" y="211877"/>
                    <a:pt x="1403723" y="197608"/>
                    <a:pt x="1403723" y="179880"/>
                  </a:cubicBezTo>
                  <a:cubicBezTo>
                    <a:pt x="1403723" y="162151"/>
                    <a:pt x="1400264" y="147738"/>
                    <a:pt x="1393201" y="136928"/>
                  </a:cubicBezTo>
                  <a:cubicBezTo>
                    <a:pt x="1386283" y="125973"/>
                    <a:pt x="1375905" y="120496"/>
                    <a:pt x="1362213" y="120496"/>
                  </a:cubicBezTo>
                  <a:cubicBezTo>
                    <a:pt x="1348520" y="120496"/>
                    <a:pt x="1338286" y="125973"/>
                    <a:pt x="1331368" y="136928"/>
                  </a:cubicBezTo>
                  <a:cubicBezTo>
                    <a:pt x="1324594" y="147882"/>
                    <a:pt x="1321134" y="162151"/>
                    <a:pt x="1321134" y="179880"/>
                  </a:cubicBezTo>
                  <a:cubicBezTo>
                    <a:pt x="1321134" y="197608"/>
                    <a:pt x="1324594" y="211877"/>
                    <a:pt x="1331368" y="222687"/>
                  </a:cubicBezTo>
                  <a:cubicBezTo>
                    <a:pt x="1338286" y="233497"/>
                    <a:pt x="1348520" y="238830"/>
                    <a:pt x="1362213" y="238830"/>
                  </a:cubicBezTo>
                  <a:moveTo>
                    <a:pt x="1554488" y="282647"/>
                  </a:moveTo>
                  <a:cubicBezTo>
                    <a:pt x="1531859" y="282647"/>
                    <a:pt x="1514851" y="276017"/>
                    <a:pt x="1503320" y="262613"/>
                  </a:cubicBezTo>
                  <a:cubicBezTo>
                    <a:pt x="1491789" y="249352"/>
                    <a:pt x="1486024" y="231768"/>
                    <a:pt x="1486024" y="209859"/>
                  </a:cubicBezTo>
                  <a:lnTo>
                    <a:pt x="1486024" y="82012"/>
                  </a:lnTo>
                  <a:lnTo>
                    <a:pt x="1547713" y="82012"/>
                  </a:lnTo>
                  <a:lnTo>
                    <a:pt x="1547713" y="197032"/>
                  </a:lnTo>
                  <a:cubicBezTo>
                    <a:pt x="1547713" y="207697"/>
                    <a:pt x="1550164" y="215913"/>
                    <a:pt x="1554920" y="221534"/>
                  </a:cubicBezTo>
                  <a:cubicBezTo>
                    <a:pt x="1559677" y="227300"/>
                    <a:pt x="1567172" y="230038"/>
                    <a:pt x="1576973" y="230038"/>
                  </a:cubicBezTo>
                  <a:cubicBezTo>
                    <a:pt x="1587639" y="230038"/>
                    <a:pt x="1595998" y="226435"/>
                    <a:pt x="1602052" y="219228"/>
                  </a:cubicBezTo>
                  <a:cubicBezTo>
                    <a:pt x="1608106" y="212021"/>
                    <a:pt x="1611132" y="202509"/>
                    <a:pt x="1611132" y="190834"/>
                  </a:cubicBezTo>
                  <a:lnTo>
                    <a:pt x="1611132" y="82012"/>
                  </a:lnTo>
                  <a:lnTo>
                    <a:pt x="1673110" y="82012"/>
                  </a:lnTo>
                  <a:lnTo>
                    <a:pt x="1673110" y="276882"/>
                  </a:lnTo>
                  <a:lnTo>
                    <a:pt x="1613727" y="276882"/>
                  </a:lnTo>
                  <a:lnTo>
                    <a:pt x="1613727" y="252956"/>
                  </a:lnTo>
                  <a:lnTo>
                    <a:pt x="1612574" y="252956"/>
                  </a:lnTo>
                  <a:cubicBezTo>
                    <a:pt x="1605511" y="262613"/>
                    <a:pt x="1597440" y="269963"/>
                    <a:pt x="1588359" y="275008"/>
                  </a:cubicBezTo>
                  <a:cubicBezTo>
                    <a:pt x="1579423" y="280053"/>
                    <a:pt x="1568036" y="282647"/>
                    <a:pt x="1554344" y="282647"/>
                  </a:cubicBezTo>
                  <a:moveTo>
                    <a:pt x="1789571" y="283080"/>
                  </a:moveTo>
                  <a:cubicBezTo>
                    <a:pt x="1760888" y="283080"/>
                    <a:pt x="1738259" y="276882"/>
                    <a:pt x="1721395" y="264630"/>
                  </a:cubicBezTo>
                  <a:cubicBezTo>
                    <a:pt x="1704676" y="252379"/>
                    <a:pt x="1695739" y="235371"/>
                    <a:pt x="1694730" y="213751"/>
                  </a:cubicBezTo>
                  <a:lnTo>
                    <a:pt x="1753393" y="213751"/>
                  </a:lnTo>
                  <a:cubicBezTo>
                    <a:pt x="1754690" y="223408"/>
                    <a:pt x="1758294" y="230615"/>
                    <a:pt x="1764491" y="235515"/>
                  </a:cubicBezTo>
                  <a:cubicBezTo>
                    <a:pt x="1770545" y="240272"/>
                    <a:pt x="1778761" y="242722"/>
                    <a:pt x="1789282" y="242722"/>
                  </a:cubicBezTo>
                  <a:cubicBezTo>
                    <a:pt x="1798651" y="242722"/>
                    <a:pt x="1806146" y="241137"/>
                    <a:pt x="1811479" y="237821"/>
                  </a:cubicBezTo>
                  <a:cubicBezTo>
                    <a:pt x="1816956" y="234506"/>
                    <a:pt x="1819695" y="229750"/>
                    <a:pt x="1819695" y="223408"/>
                  </a:cubicBezTo>
                  <a:cubicBezTo>
                    <a:pt x="1819695" y="219084"/>
                    <a:pt x="1818253" y="215625"/>
                    <a:pt x="1815515" y="212886"/>
                  </a:cubicBezTo>
                  <a:cubicBezTo>
                    <a:pt x="1812776" y="210292"/>
                    <a:pt x="1809029" y="208130"/>
                    <a:pt x="1804416" y="206400"/>
                  </a:cubicBezTo>
                  <a:cubicBezTo>
                    <a:pt x="1799804" y="204815"/>
                    <a:pt x="1794615" y="203518"/>
                    <a:pt x="1788562" y="202653"/>
                  </a:cubicBezTo>
                  <a:cubicBezTo>
                    <a:pt x="1782652" y="201788"/>
                    <a:pt x="1776454" y="200635"/>
                    <a:pt x="1770112" y="199482"/>
                  </a:cubicBezTo>
                  <a:cubicBezTo>
                    <a:pt x="1761753" y="197896"/>
                    <a:pt x="1753393" y="196167"/>
                    <a:pt x="1745033" y="194005"/>
                  </a:cubicBezTo>
                  <a:cubicBezTo>
                    <a:pt x="1736673" y="191843"/>
                    <a:pt x="1729178" y="188672"/>
                    <a:pt x="1722404" y="184348"/>
                  </a:cubicBezTo>
                  <a:cubicBezTo>
                    <a:pt x="1715630" y="180024"/>
                    <a:pt x="1710297" y="174258"/>
                    <a:pt x="1706261" y="167052"/>
                  </a:cubicBezTo>
                  <a:cubicBezTo>
                    <a:pt x="1702225" y="159845"/>
                    <a:pt x="1700207" y="150476"/>
                    <a:pt x="1700207" y="139090"/>
                  </a:cubicBezTo>
                  <a:cubicBezTo>
                    <a:pt x="1700207" y="129000"/>
                    <a:pt x="1702369" y="119920"/>
                    <a:pt x="1706837" y="111992"/>
                  </a:cubicBezTo>
                  <a:cubicBezTo>
                    <a:pt x="1711306" y="104209"/>
                    <a:pt x="1717359" y="97579"/>
                    <a:pt x="1724999" y="92390"/>
                  </a:cubicBezTo>
                  <a:cubicBezTo>
                    <a:pt x="1732638" y="87201"/>
                    <a:pt x="1741574" y="83310"/>
                    <a:pt x="1751808" y="80571"/>
                  </a:cubicBezTo>
                  <a:cubicBezTo>
                    <a:pt x="1762041" y="77977"/>
                    <a:pt x="1772995" y="76535"/>
                    <a:pt x="1784382" y="76535"/>
                  </a:cubicBezTo>
                  <a:cubicBezTo>
                    <a:pt x="1812056" y="76535"/>
                    <a:pt x="1833243" y="82157"/>
                    <a:pt x="1847945" y="93255"/>
                  </a:cubicBezTo>
                  <a:cubicBezTo>
                    <a:pt x="1862647" y="104353"/>
                    <a:pt x="1870718" y="119631"/>
                    <a:pt x="1872304" y="138945"/>
                  </a:cubicBezTo>
                  <a:lnTo>
                    <a:pt x="1815226" y="138945"/>
                  </a:lnTo>
                  <a:cubicBezTo>
                    <a:pt x="1813929" y="130009"/>
                    <a:pt x="1810614" y="124100"/>
                    <a:pt x="1805137" y="120929"/>
                  </a:cubicBezTo>
                  <a:cubicBezTo>
                    <a:pt x="1799660" y="117758"/>
                    <a:pt x="1792598" y="116172"/>
                    <a:pt x="1783949" y="116172"/>
                  </a:cubicBezTo>
                  <a:cubicBezTo>
                    <a:pt x="1776310" y="116172"/>
                    <a:pt x="1769968" y="117614"/>
                    <a:pt x="1764780" y="120496"/>
                  </a:cubicBezTo>
                  <a:cubicBezTo>
                    <a:pt x="1759591" y="123379"/>
                    <a:pt x="1756996" y="127847"/>
                    <a:pt x="1756996" y="134045"/>
                  </a:cubicBezTo>
                  <a:cubicBezTo>
                    <a:pt x="1756996" y="137648"/>
                    <a:pt x="1758294" y="140387"/>
                    <a:pt x="1760744" y="142405"/>
                  </a:cubicBezTo>
                  <a:cubicBezTo>
                    <a:pt x="1763338" y="144423"/>
                    <a:pt x="1766653" y="146152"/>
                    <a:pt x="1770977" y="147593"/>
                  </a:cubicBezTo>
                  <a:cubicBezTo>
                    <a:pt x="1775301" y="149035"/>
                    <a:pt x="1780346" y="150188"/>
                    <a:pt x="1785967" y="151197"/>
                  </a:cubicBezTo>
                  <a:cubicBezTo>
                    <a:pt x="1791733" y="152206"/>
                    <a:pt x="1797642" y="153215"/>
                    <a:pt x="1803696" y="154224"/>
                  </a:cubicBezTo>
                  <a:cubicBezTo>
                    <a:pt x="1812344" y="155665"/>
                    <a:pt x="1820992" y="157539"/>
                    <a:pt x="1829784" y="159701"/>
                  </a:cubicBezTo>
                  <a:cubicBezTo>
                    <a:pt x="1838576" y="161863"/>
                    <a:pt x="1846504" y="165178"/>
                    <a:pt x="1853710" y="169790"/>
                  </a:cubicBezTo>
                  <a:cubicBezTo>
                    <a:pt x="1860917" y="174402"/>
                    <a:pt x="1866827" y="180456"/>
                    <a:pt x="1871439" y="188239"/>
                  </a:cubicBezTo>
                  <a:cubicBezTo>
                    <a:pt x="1876051" y="196023"/>
                    <a:pt x="1878357" y="206112"/>
                    <a:pt x="1878357" y="218508"/>
                  </a:cubicBezTo>
                  <a:cubicBezTo>
                    <a:pt x="1878357" y="229173"/>
                    <a:pt x="1876051" y="238542"/>
                    <a:pt x="1871727" y="246614"/>
                  </a:cubicBezTo>
                  <a:cubicBezTo>
                    <a:pt x="1867259" y="254685"/>
                    <a:pt x="1861061" y="261460"/>
                    <a:pt x="1853278" y="266792"/>
                  </a:cubicBezTo>
                  <a:cubicBezTo>
                    <a:pt x="1845350" y="272125"/>
                    <a:pt x="1835982" y="276161"/>
                    <a:pt x="1825172" y="279044"/>
                  </a:cubicBezTo>
                  <a:cubicBezTo>
                    <a:pt x="1814218" y="281782"/>
                    <a:pt x="1802399" y="283224"/>
                    <a:pt x="1789715" y="283224"/>
                  </a:cubicBezTo>
                  <a:moveTo>
                    <a:pt x="1999430" y="282791"/>
                  </a:moveTo>
                  <a:cubicBezTo>
                    <a:pt x="1983431" y="282791"/>
                    <a:pt x="1969018" y="280197"/>
                    <a:pt x="1956046" y="275008"/>
                  </a:cubicBezTo>
                  <a:cubicBezTo>
                    <a:pt x="1943073" y="269819"/>
                    <a:pt x="1932263" y="262613"/>
                    <a:pt x="1923327" y="253244"/>
                  </a:cubicBezTo>
                  <a:cubicBezTo>
                    <a:pt x="1914391" y="244019"/>
                    <a:pt x="1907617" y="233065"/>
                    <a:pt x="1902716" y="220381"/>
                  </a:cubicBezTo>
                  <a:cubicBezTo>
                    <a:pt x="1897960" y="207697"/>
                    <a:pt x="1895509" y="194005"/>
                    <a:pt x="1895509" y="179303"/>
                  </a:cubicBezTo>
                  <a:cubicBezTo>
                    <a:pt x="1895509" y="164601"/>
                    <a:pt x="1897960" y="151341"/>
                    <a:pt x="1902716" y="138801"/>
                  </a:cubicBezTo>
                  <a:cubicBezTo>
                    <a:pt x="1907473" y="126262"/>
                    <a:pt x="1914391" y="115307"/>
                    <a:pt x="1923327" y="106083"/>
                  </a:cubicBezTo>
                  <a:cubicBezTo>
                    <a:pt x="1932263" y="96858"/>
                    <a:pt x="1942785" y="89651"/>
                    <a:pt x="1954893" y="84463"/>
                  </a:cubicBezTo>
                  <a:cubicBezTo>
                    <a:pt x="1967144" y="79274"/>
                    <a:pt x="1980693" y="76679"/>
                    <a:pt x="1995683" y="76679"/>
                  </a:cubicBezTo>
                  <a:cubicBezTo>
                    <a:pt x="2009664" y="76679"/>
                    <a:pt x="2022059" y="78841"/>
                    <a:pt x="2033157" y="83165"/>
                  </a:cubicBezTo>
                  <a:cubicBezTo>
                    <a:pt x="2044256" y="87489"/>
                    <a:pt x="2053913" y="93399"/>
                    <a:pt x="2062273" y="101038"/>
                  </a:cubicBezTo>
                  <a:cubicBezTo>
                    <a:pt x="2073947" y="111704"/>
                    <a:pt x="2082596" y="125253"/>
                    <a:pt x="2088361" y="141540"/>
                  </a:cubicBezTo>
                  <a:cubicBezTo>
                    <a:pt x="2094126" y="157971"/>
                    <a:pt x="2096865" y="175988"/>
                    <a:pt x="2096577" y="195734"/>
                  </a:cubicBezTo>
                  <a:lnTo>
                    <a:pt x="1956478" y="195734"/>
                  </a:lnTo>
                  <a:cubicBezTo>
                    <a:pt x="1958496" y="208995"/>
                    <a:pt x="1963108" y="219372"/>
                    <a:pt x="1970171" y="227011"/>
                  </a:cubicBezTo>
                  <a:cubicBezTo>
                    <a:pt x="1977233" y="234651"/>
                    <a:pt x="1987323" y="238398"/>
                    <a:pt x="2000295" y="238398"/>
                  </a:cubicBezTo>
                  <a:cubicBezTo>
                    <a:pt x="2008366" y="238398"/>
                    <a:pt x="2015141" y="236668"/>
                    <a:pt x="2020474" y="233209"/>
                  </a:cubicBezTo>
                  <a:cubicBezTo>
                    <a:pt x="2025807" y="229750"/>
                    <a:pt x="2029842" y="224994"/>
                    <a:pt x="2032725" y="218940"/>
                  </a:cubicBezTo>
                  <a:lnTo>
                    <a:pt x="2093262" y="218940"/>
                  </a:lnTo>
                  <a:cubicBezTo>
                    <a:pt x="2091244" y="227876"/>
                    <a:pt x="2087496" y="236236"/>
                    <a:pt x="2081875" y="244308"/>
                  </a:cubicBezTo>
                  <a:cubicBezTo>
                    <a:pt x="2076254" y="252379"/>
                    <a:pt x="2069191" y="259153"/>
                    <a:pt x="2060543" y="265063"/>
                  </a:cubicBezTo>
                  <a:cubicBezTo>
                    <a:pt x="2052472" y="270972"/>
                    <a:pt x="2043391" y="275296"/>
                    <a:pt x="2033302" y="278323"/>
                  </a:cubicBezTo>
                  <a:cubicBezTo>
                    <a:pt x="2023212" y="281350"/>
                    <a:pt x="2011970" y="282936"/>
                    <a:pt x="1999574" y="282936"/>
                  </a:cubicBezTo>
                  <a:moveTo>
                    <a:pt x="2033878" y="158836"/>
                  </a:moveTo>
                  <a:cubicBezTo>
                    <a:pt x="2032581" y="147161"/>
                    <a:pt x="2028689" y="137936"/>
                    <a:pt x="2022059" y="131018"/>
                  </a:cubicBezTo>
                  <a:cubicBezTo>
                    <a:pt x="2015429" y="124244"/>
                    <a:pt x="2007069" y="120784"/>
                    <a:pt x="1996980" y="120784"/>
                  </a:cubicBezTo>
                  <a:cubicBezTo>
                    <a:pt x="1985017" y="120784"/>
                    <a:pt x="1975936" y="124244"/>
                    <a:pt x="1969594" y="131018"/>
                  </a:cubicBezTo>
                  <a:cubicBezTo>
                    <a:pt x="1963252" y="137936"/>
                    <a:pt x="1959072" y="147161"/>
                    <a:pt x="1957055" y="158836"/>
                  </a:cubicBezTo>
                  <a:lnTo>
                    <a:pt x="2033878" y="158836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15457261-1C34-087B-4575-1B5E779EBBAB}"/>
                </a:ext>
              </a:extLst>
            </p:cNvPr>
            <p:cNvSpPr/>
            <p:nvPr/>
          </p:nvSpPr>
          <p:spPr>
            <a:xfrm>
              <a:off x="882878" y="557212"/>
              <a:ext cx="273278" cy="674980"/>
            </a:xfrm>
            <a:custGeom>
              <a:avLst/>
              <a:gdLst>
                <a:gd name="connsiteX0" fmla="*/ 0 w 273278"/>
                <a:gd name="connsiteY0" fmla="*/ 0 h 674980"/>
                <a:gd name="connsiteX1" fmla="*/ 0 w 273278"/>
                <a:gd name="connsiteY1" fmla="*/ 476508 h 674980"/>
                <a:gd name="connsiteX2" fmla="*/ 272558 w 273278"/>
                <a:gd name="connsiteY2" fmla="*/ 674981 h 674980"/>
                <a:gd name="connsiteX3" fmla="*/ 273278 w 273278"/>
                <a:gd name="connsiteY3" fmla="*/ 674260 h 674980"/>
                <a:gd name="connsiteX4" fmla="*/ 0 w 273278"/>
                <a:gd name="connsiteY4" fmla="*/ 0 h 674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278" h="674980">
                  <a:moveTo>
                    <a:pt x="0" y="0"/>
                  </a:moveTo>
                  <a:lnTo>
                    <a:pt x="0" y="476508"/>
                  </a:lnTo>
                  <a:lnTo>
                    <a:pt x="272558" y="674981"/>
                  </a:lnTo>
                  <a:cubicBezTo>
                    <a:pt x="272558" y="674981"/>
                    <a:pt x="273134" y="674404"/>
                    <a:pt x="273278" y="67426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3D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0CDB77CD-C5E1-9227-DF1A-82C8E96E04A3}"/>
                </a:ext>
              </a:extLst>
            </p:cNvPr>
            <p:cNvSpPr/>
            <p:nvPr/>
          </p:nvSpPr>
          <p:spPr>
            <a:xfrm>
              <a:off x="609600" y="557212"/>
              <a:ext cx="273278" cy="674836"/>
            </a:xfrm>
            <a:custGeom>
              <a:avLst/>
              <a:gdLst>
                <a:gd name="connsiteX0" fmla="*/ 0 w 273278"/>
                <a:gd name="connsiteY0" fmla="*/ 674116 h 674836"/>
                <a:gd name="connsiteX1" fmla="*/ 721 w 273278"/>
                <a:gd name="connsiteY1" fmla="*/ 674837 h 674836"/>
                <a:gd name="connsiteX2" fmla="*/ 273278 w 273278"/>
                <a:gd name="connsiteY2" fmla="*/ 476364 h 674836"/>
                <a:gd name="connsiteX3" fmla="*/ 273278 w 273278"/>
                <a:gd name="connsiteY3" fmla="*/ 0 h 674836"/>
                <a:gd name="connsiteX4" fmla="*/ 0 w 273278"/>
                <a:gd name="connsiteY4" fmla="*/ 674116 h 674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278" h="674836">
                  <a:moveTo>
                    <a:pt x="0" y="674116"/>
                  </a:moveTo>
                  <a:cubicBezTo>
                    <a:pt x="0" y="674116"/>
                    <a:pt x="577" y="674692"/>
                    <a:pt x="721" y="674837"/>
                  </a:cubicBezTo>
                  <a:lnTo>
                    <a:pt x="273278" y="476364"/>
                  </a:lnTo>
                  <a:lnTo>
                    <a:pt x="273278" y="0"/>
                  </a:lnTo>
                  <a:lnTo>
                    <a:pt x="0" y="674116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8" name="Text Placeholder 16">
            <a:extLst>
              <a:ext uri="{FF2B5EF4-FFF2-40B4-BE49-F238E27FC236}">
                <a16:creationId xmlns:a16="http://schemas.microsoft.com/office/drawing/2014/main" id="{2CEC33A9-A637-6C33-525A-AF284749A9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1523079"/>
            <a:ext cx="1333500" cy="223908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400" b="1" cap="all" spc="3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DBEBFD3-3735-BFC8-D7E6-A618637D48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6090476"/>
            <a:ext cx="1834388" cy="210312"/>
          </a:xfrm>
          <a:prstGeom prst="rect">
            <a:avLst/>
          </a:prstGeom>
        </p:spPr>
      </p:pic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53B85769-FCCA-2D63-E7A5-C3FB3AF5264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645285" y="0"/>
            <a:ext cx="5546715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 b="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" name="Text Placeholder 33">
            <a:extLst>
              <a:ext uri="{FF2B5EF4-FFF2-40B4-BE49-F238E27FC236}">
                <a16:creationId xmlns:a16="http://schemas.microsoft.com/office/drawing/2014/main" id="{88AE528E-3459-3BE1-3110-B431E04FF8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4896099"/>
            <a:ext cx="5387082" cy="307777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b="1">
                <a:solidFill>
                  <a:schemeClr val="tx2"/>
                </a:solidFill>
                <a:latin typeface="+mj-lt"/>
              </a:defRPr>
            </a:lvl1pPr>
            <a:lvl2pPr marL="0" indent="0">
              <a:spcAft>
                <a:spcPts val="300"/>
              </a:spcAft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4" name="Text Placeholder 33">
            <a:extLst>
              <a:ext uri="{FF2B5EF4-FFF2-40B4-BE49-F238E27FC236}">
                <a16:creationId xmlns:a16="http://schemas.microsoft.com/office/drawing/2014/main" id="{2D8DD257-F285-9A19-2F10-3B81AA2D213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0348" y="5236388"/>
            <a:ext cx="5387082" cy="276999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</p:spTree>
    <p:extLst>
      <p:ext uri="{BB962C8B-B14F-4D97-AF65-F5344CB8AC3E}">
        <p14:creationId xmlns:p14="http://schemas.microsoft.com/office/powerpoint/2010/main" val="17012858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+ Image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24B2B4B-82F9-1536-578C-43BD5CE8AF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4B2B4B-82F9-1536-578C-43BD5CE8AF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Title 44">
            <a:extLst>
              <a:ext uri="{FF2B5EF4-FFF2-40B4-BE49-F238E27FC236}">
                <a16:creationId xmlns:a16="http://schemas.microsoft.com/office/drawing/2014/main" id="{8C8DBED3-A629-FC99-1B8F-BE074A307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800754"/>
            <a:ext cx="5486400" cy="553998"/>
          </a:xfrm>
        </p:spPr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  <p:sp>
        <p:nvSpPr>
          <p:cNvPr id="51" name="Footer Placeholder 50">
            <a:extLst>
              <a:ext uri="{FF2B5EF4-FFF2-40B4-BE49-F238E27FC236}">
                <a16:creationId xmlns:a16="http://schemas.microsoft.com/office/drawing/2014/main" id="{E6307089-0337-1E41-2413-B773C7DDA35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835ECE48-5FE3-A1E7-D32C-C2F6ADBC4A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47FA0D2-F8F7-895F-2FBF-67E102F5B1D5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9BC655C-7979-A16B-0182-2803B04DF645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10A51284-31AA-5A82-9D1B-95ECF46E976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137400" y="0"/>
            <a:ext cx="5054600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 b="0"/>
            </a:lvl1pPr>
          </a:lstStyle>
          <a:p>
            <a:r>
              <a:rPr lang="en-US"/>
              <a:t>Insert Photo</a:t>
            </a: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E62D234-D5FD-48E0-D01F-6175CB455F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62D234-D5FD-48E0-D01F-6175CB455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B0381F1-E3BA-89CB-8B69-00C507D035B7}"/>
              </a:ext>
            </a:extLst>
          </p:cNvPr>
          <p:cNvCxnSpPr>
            <a:cxnSpLocks/>
          </p:cNvCxnSpPr>
          <p:nvPr userDrawn="1"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1B46AC-808C-5D43-EA1B-15963FBCA79E}"/>
              </a:ext>
            </a:extLst>
          </p:cNvPr>
          <p:cNvCxnSpPr>
            <a:cxnSpLocks/>
          </p:cNvCxnSpPr>
          <p:nvPr userDrawn="1"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F2E75AC-868B-ABFD-D8E0-A1479E536EB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00" y="1609344"/>
            <a:ext cx="5486400" cy="475485"/>
          </a:xfrm>
        </p:spPr>
        <p:txBody>
          <a:bodyPr anchor="ctr">
            <a:noAutofit/>
          </a:bodyPr>
          <a:lstStyle>
            <a:lvl1pPr>
              <a:defRPr b="1" baseline="0">
                <a:latin typeface="+mj-lt"/>
              </a:defRPr>
            </a:lvl1pPr>
          </a:lstStyle>
          <a:p>
            <a:pPr lvl="0"/>
            <a:r>
              <a:rPr lang="en-US"/>
              <a:t>Insert header her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A3AD7AF5-595C-F328-AFFD-8CA68D602C7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9808" y="2198053"/>
            <a:ext cx="4485132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Topic nam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63A1477D-36BF-21E4-9F74-270256AE680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49808" y="2675705"/>
            <a:ext cx="4485132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Topic nam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1254762-E52A-A886-D5FB-85F619DBD5D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9808" y="3153357"/>
            <a:ext cx="4485132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Topic nam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3F6E28D1-56E8-837D-5E6C-D6AF09C9C94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9808" y="3631009"/>
            <a:ext cx="4485132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Topic nam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11F1E4AD-98B5-5194-501F-DA5B0D954F2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49808" y="4108523"/>
            <a:ext cx="4485132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Topic nam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B6C6CCD-35D0-B2AF-EEE5-411C0D1E5F3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49808" y="4586175"/>
            <a:ext cx="4485132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Topic nam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6AE2DD32-A179-D503-27E9-6B6F12028D1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9808" y="5063827"/>
            <a:ext cx="4485132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Topic nam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CDB6E2D2-C773-BAC9-9B73-82D96AD4D10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49808" y="5541479"/>
            <a:ext cx="4485132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Topic nam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D2F4AE02-2639-124D-374E-37A5808EC57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62600" y="2198053"/>
            <a:ext cx="386079" cy="349250"/>
          </a:xfrm>
        </p:spPr>
        <p:txBody>
          <a:bodyPr>
            <a:noAutofit/>
          </a:bodyPr>
          <a:lstStyle>
            <a:lvl1pPr algn="r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83B3E7B2-969E-0FBC-C536-C21567270A2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62600" y="2675705"/>
            <a:ext cx="386079" cy="349250"/>
          </a:xfrm>
        </p:spPr>
        <p:txBody>
          <a:bodyPr>
            <a:noAutofit/>
          </a:bodyPr>
          <a:lstStyle>
            <a:lvl1pPr algn="r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7264CF90-E306-FDD8-41AD-3A64F5A8A52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562600" y="3153357"/>
            <a:ext cx="386079" cy="349250"/>
          </a:xfrm>
        </p:spPr>
        <p:txBody>
          <a:bodyPr>
            <a:noAutofit/>
          </a:bodyPr>
          <a:lstStyle>
            <a:lvl1pPr algn="r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0E261DD9-B9CD-8A0C-93D6-32BC3F216DC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562600" y="3631009"/>
            <a:ext cx="386079" cy="349250"/>
          </a:xfrm>
        </p:spPr>
        <p:txBody>
          <a:bodyPr>
            <a:noAutofit/>
          </a:bodyPr>
          <a:lstStyle>
            <a:lvl1pPr algn="r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1897430-AD30-8217-BF29-76609DE1BF5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562600" y="4108523"/>
            <a:ext cx="386079" cy="349250"/>
          </a:xfrm>
        </p:spPr>
        <p:txBody>
          <a:bodyPr>
            <a:noAutofit/>
          </a:bodyPr>
          <a:lstStyle>
            <a:lvl1pPr algn="r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C154370D-A4F9-05EB-D1B1-4B90D648467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562600" y="4586175"/>
            <a:ext cx="386079" cy="349250"/>
          </a:xfrm>
        </p:spPr>
        <p:txBody>
          <a:bodyPr>
            <a:noAutofit/>
          </a:bodyPr>
          <a:lstStyle>
            <a:lvl1pPr algn="r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FD69A9A8-308F-E94F-B9B9-0EE76667801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562600" y="5063827"/>
            <a:ext cx="386079" cy="349250"/>
          </a:xfrm>
        </p:spPr>
        <p:txBody>
          <a:bodyPr>
            <a:noAutofit/>
          </a:bodyPr>
          <a:lstStyle>
            <a:lvl1pPr algn="r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EE107922-B9C4-7B43-BC9F-3197F9336B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562600" y="5541479"/>
            <a:ext cx="386079" cy="349250"/>
          </a:xfrm>
        </p:spPr>
        <p:txBody>
          <a:bodyPr>
            <a:noAutofit/>
          </a:bodyPr>
          <a:lstStyle>
            <a:lvl1pPr algn="r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6BD630D2-2057-F944-6AB9-25D424B4590A}"/>
              </a:ext>
            </a:extLst>
          </p:cNvPr>
          <p:cNvCxnSpPr/>
          <p:nvPr userDrawn="1"/>
        </p:nvCxnSpPr>
        <p:spPr>
          <a:xfrm>
            <a:off x="609600" y="2081019"/>
            <a:ext cx="54864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EDE7CE6-1F8F-912E-0255-9DEFEBD145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2561778"/>
            <a:ext cx="54864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A5D0685-6368-4EFC-6ABF-6FBDA64620D3}"/>
              </a:ext>
            </a:extLst>
          </p:cNvPr>
          <p:cNvCxnSpPr>
            <a:cxnSpLocks/>
          </p:cNvCxnSpPr>
          <p:nvPr userDrawn="1"/>
        </p:nvCxnSpPr>
        <p:spPr>
          <a:xfrm>
            <a:off x="609600" y="3037147"/>
            <a:ext cx="54864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9D31D586-C47A-BC1E-84C3-C22187C549C1}"/>
              </a:ext>
            </a:extLst>
          </p:cNvPr>
          <p:cNvCxnSpPr/>
          <p:nvPr userDrawn="1"/>
        </p:nvCxnSpPr>
        <p:spPr>
          <a:xfrm>
            <a:off x="609600" y="3512826"/>
            <a:ext cx="54864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42D8D352-4DAD-9AAD-381C-66D44F72050E}"/>
              </a:ext>
            </a:extLst>
          </p:cNvPr>
          <p:cNvCxnSpPr/>
          <p:nvPr userDrawn="1"/>
        </p:nvCxnSpPr>
        <p:spPr>
          <a:xfrm>
            <a:off x="609600" y="3993790"/>
            <a:ext cx="54864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5581177-466E-5025-CBB6-4C7A53C93462}"/>
              </a:ext>
            </a:extLst>
          </p:cNvPr>
          <p:cNvCxnSpPr/>
          <p:nvPr userDrawn="1"/>
        </p:nvCxnSpPr>
        <p:spPr>
          <a:xfrm>
            <a:off x="609600" y="4469469"/>
            <a:ext cx="54864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7F49381-136D-4144-69A9-FA2ADBC0DDD0}"/>
              </a:ext>
            </a:extLst>
          </p:cNvPr>
          <p:cNvCxnSpPr/>
          <p:nvPr userDrawn="1"/>
        </p:nvCxnSpPr>
        <p:spPr>
          <a:xfrm>
            <a:off x="609600" y="4947558"/>
            <a:ext cx="54864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1E9EB3C-EF38-1853-6B71-D11E37C84652}"/>
              </a:ext>
            </a:extLst>
          </p:cNvPr>
          <p:cNvCxnSpPr/>
          <p:nvPr userDrawn="1"/>
        </p:nvCxnSpPr>
        <p:spPr>
          <a:xfrm>
            <a:off x="609600" y="5423237"/>
            <a:ext cx="54864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66477247-7763-DAD0-F295-054F5E78F547}"/>
              </a:ext>
            </a:extLst>
          </p:cNvPr>
          <p:cNvCxnSpPr/>
          <p:nvPr userDrawn="1"/>
        </p:nvCxnSpPr>
        <p:spPr>
          <a:xfrm>
            <a:off x="609600" y="5905500"/>
            <a:ext cx="54864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7517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+ Icon Image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24B2B4B-82F9-1536-578C-43BD5CE8AF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4B2B4B-82F9-1536-578C-43BD5CE8AF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Title 44">
            <a:extLst>
              <a:ext uri="{FF2B5EF4-FFF2-40B4-BE49-F238E27FC236}">
                <a16:creationId xmlns:a16="http://schemas.microsoft.com/office/drawing/2014/main" id="{8C8DBED3-A629-FC99-1B8F-BE074A307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800754"/>
            <a:ext cx="5486400" cy="5539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  <p:sp>
        <p:nvSpPr>
          <p:cNvPr id="51" name="Footer Placeholder 50">
            <a:extLst>
              <a:ext uri="{FF2B5EF4-FFF2-40B4-BE49-F238E27FC236}">
                <a16:creationId xmlns:a16="http://schemas.microsoft.com/office/drawing/2014/main" id="{E6307089-0337-1E41-2413-B773C7DDA35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835ECE48-5FE3-A1E7-D32C-C2F6ADBC4A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47FA0D2-F8F7-895F-2FBF-67E102F5B1D5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9BC655C-7979-A16B-0182-2803B04DF645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Picture Placeholder 43">
            <a:extLst>
              <a:ext uri="{FF2B5EF4-FFF2-40B4-BE49-F238E27FC236}">
                <a16:creationId xmlns:a16="http://schemas.microsoft.com/office/drawing/2014/main" id="{6C44CEA0-0F17-2C8E-18CE-EE665ED83B1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" y="1600199"/>
            <a:ext cx="12191999" cy="3038475"/>
          </a:xfrm>
          <a:custGeom>
            <a:avLst/>
            <a:gdLst>
              <a:gd name="connsiteX0" fmla="*/ 0 w 12191999"/>
              <a:gd name="connsiteY0" fmla="*/ 0 h 3038475"/>
              <a:gd name="connsiteX1" fmla="*/ 9337309 w 12191999"/>
              <a:gd name="connsiteY1" fmla="*/ 0 h 3038475"/>
              <a:gd name="connsiteX2" fmla="*/ 9356682 w 12191999"/>
              <a:gd name="connsiteY2" fmla="*/ 95991 h 3038475"/>
              <a:gd name="connsiteX3" fmla="*/ 9618924 w 12191999"/>
              <a:gd name="connsiteY3" fmla="*/ 269803 h 3038475"/>
              <a:gd name="connsiteX4" fmla="*/ 9881167 w 12191999"/>
              <a:gd name="connsiteY4" fmla="*/ 95991 h 3038475"/>
              <a:gd name="connsiteX5" fmla="*/ 9900540 w 12191999"/>
              <a:gd name="connsiteY5" fmla="*/ 0 h 3038475"/>
              <a:gd name="connsiteX6" fmla="*/ 10157523 w 12191999"/>
              <a:gd name="connsiteY6" fmla="*/ 0 h 3038475"/>
              <a:gd name="connsiteX7" fmla="*/ 10177034 w 12191999"/>
              <a:gd name="connsiteY7" fmla="*/ 96672 h 3038475"/>
              <a:gd name="connsiteX8" fmla="*/ 10439283 w 12191999"/>
              <a:gd name="connsiteY8" fmla="*/ 270481 h 3038475"/>
              <a:gd name="connsiteX9" fmla="*/ 10701530 w 12191999"/>
              <a:gd name="connsiteY9" fmla="*/ 96672 h 3038475"/>
              <a:gd name="connsiteX10" fmla="*/ 10721041 w 12191999"/>
              <a:gd name="connsiteY10" fmla="*/ 0 h 3038475"/>
              <a:gd name="connsiteX11" fmla="*/ 10975649 w 12191999"/>
              <a:gd name="connsiteY11" fmla="*/ 0 h 3038475"/>
              <a:gd name="connsiteX12" fmla="*/ 10995160 w 12191999"/>
              <a:gd name="connsiteY12" fmla="*/ 96673 h 3038475"/>
              <a:gd name="connsiteX13" fmla="*/ 11257407 w 12191999"/>
              <a:gd name="connsiteY13" fmla="*/ 270482 h 3038475"/>
              <a:gd name="connsiteX14" fmla="*/ 11519656 w 12191999"/>
              <a:gd name="connsiteY14" fmla="*/ 96673 h 3038475"/>
              <a:gd name="connsiteX15" fmla="*/ 11539167 w 12191999"/>
              <a:gd name="connsiteY15" fmla="*/ 0 h 3038475"/>
              <a:gd name="connsiteX16" fmla="*/ 12191999 w 12191999"/>
              <a:gd name="connsiteY16" fmla="*/ 0 h 3038475"/>
              <a:gd name="connsiteX17" fmla="*/ 12191999 w 12191999"/>
              <a:gd name="connsiteY17" fmla="*/ 3038475 h 3038475"/>
              <a:gd name="connsiteX18" fmla="*/ 0 w 12191999"/>
              <a:gd name="connsiteY18" fmla="*/ 3038475 h 3038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1999" h="3038475">
                <a:moveTo>
                  <a:pt x="0" y="0"/>
                </a:moveTo>
                <a:lnTo>
                  <a:pt x="9337309" y="0"/>
                </a:lnTo>
                <a:lnTo>
                  <a:pt x="9356682" y="95991"/>
                </a:lnTo>
                <a:cubicBezTo>
                  <a:pt x="9399879" y="198146"/>
                  <a:pt x="9501013" y="269803"/>
                  <a:pt x="9618924" y="269803"/>
                </a:cubicBezTo>
                <a:cubicBezTo>
                  <a:pt x="9736835" y="269803"/>
                  <a:pt x="9837969" y="198146"/>
                  <a:pt x="9881167" y="95991"/>
                </a:cubicBezTo>
                <a:lnTo>
                  <a:pt x="9900540" y="0"/>
                </a:lnTo>
                <a:lnTo>
                  <a:pt x="10157523" y="0"/>
                </a:lnTo>
                <a:lnTo>
                  <a:pt x="10177034" y="96672"/>
                </a:lnTo>
                <a:cubicBezTo>
                  <a:pt x="10220233" y="198825"/>
                  <a:pt x="10321369" y="270481"/>
                  <a:pt x="10439283" y="270481"/>
                </a:cubicBezTo>
                <a:cubicBezTo>
                  <a:pt x="10557197" y="270481"/>
                  <a:pt x="10658332" y="198825"/>
                  <a:pt x="10701530" y="96672"/>
                </a:cubicBezTo>
                <a:lnTo>
                  <a:pt x="10721041" y="0"/>
                </a:lnTo>
                <a:lnTo>
                  <a:pt x="10975649" y="0"/>
                </a:lnTo>
                <a:lnTo>
                  <a:pt x="10995160" y="96673"/>
                </a:lnTo>
                <a:cubicBezTo>
                  <a:pt x="11038358" y="198826"/>
                  <a:pt x="11139494" y="270482"/>
                  <a:pt x="11257407" y="270482"/>
                </a:cubicBezTo>
                <a:cubicBezTo>
                  <a:pt x="11375320" y="270482"/>
                  <a:pt x="11476457" y="198826"/>
                  <a:pt x="11519656" y="96673"/>
                </a:cubicBezTo>
                <a:lnTo>
                  <a:pt x="11539167" y="0"/>
                </a:lnTo>
                <a:lnTo>
                  <a:pt x="12191999" y="0"/>
                </a:lnTo>
                <a:lnTo>
                  <a:pt x="12191999" y="3038475"/>
                </a:lnTo>
                <a:lnTo>
                  <a:pt x="0" y="303847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0" b="0"/>
            </a:lvl1pPr>
          </a:lstStyle>
          <a:p>
            <a:r>
              <a:rPr lang="en-US"/>
              <a:t>Insert Photo</a:t>
            </a: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E62D234-D5FD-48E0-D01F-6175CB455F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62D234-D5FD-48E0-D01F-6175CB455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B0381F1-E3BA-89CB-8B69-00C507D035B7}"/>
              </a:ext>
            </a:extLst>
          </p:cNvPr>
          <p:cNvCxnSpPr>
            <a:cxnSpLocks/>
          </p:cNvCxnSpPr>
          <p:nvPr userDrawn="1"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1B46AC-808C-5D43-EA1B-15963FBCA79E}"/>
              </a:ext>
            </a:extLst>
          </p:cNvPr>
          <p:cNvCxnSpPr>
            <a:cxnSpLocks/>
          </p:cNvCxnSpPr>
          <p:nvPr userDrawn="1"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4">
            <a:extLst>
              <a:ext uri="{FF2B5EF4-FFF2-40B4-BE49-F238E27FC236}">
                <a16:creationId xmlns:a16="http://schemas.microsoft.com/office/drawing/2014/main" id="{CE4D3010-E8F4-6ECE-FC85-E5C43829DD4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599" y="5601620"/>
            <a:ext cx="2348865" cy="64678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latin typeface="+mj-lt"/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6">
            <a:extLst>
              <a:ext uri="{FF2B5EF4-FFF2-40B4-BE49-F238E27FC236}">
                <a16:creationId xmlns:a16="http://schemas.microsoft.com/office/drawing/2014/main" id="{D3BAA845-643F-89D1-F332-B3E022656A1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09600" y="4884121"/>
            <a:ext cx="442911" cy="430887"/>
          </a:xfrm>
          <a:noFill/>
        </p:spPr>
        <p:txBody>
          <a:bodyPr wrap="square"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5" name="Text Placeholder 24">
            <a:extLst>
              <a:ext uri="{FF2B5EF4-FFF2-40B4-BE49-F238E27FC236}">
                <a16:creationId xmlns:a16="http://schemas.microsoft.com/office/drawing/2014/main" id="{DCEFF89C-78B8-ADF9-24ED-AEA05D3EC470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484244" y="5601620"/>
            <a:ext cx="2348865" cy="64678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latin typeface="+mj-lt"/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6">
            <a:extLst>
              <a:ext uri="{FF2B5EF4-FFF2-40B4-BE49-F238E27FC236}">
                <a16:creationId xmlns:a16="http://schemas.microsoft.com/office/drawing/2014/main" id="{D8446354-7DF9-CD63-06FD-34CC052BDF4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484244" y="4884121"/>
            <a:ext cx="442911" cy="430887"/>
          </a:xfrm>
          <a:noFill/>
        </p:spPr>
        <p:txBody>
          <a:bodyPr wrap="square"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A705EFF2-4847-92E0-5295-3C574E55E1D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358889" y="5601620"/>
            <a:ext cx="2348865" cy="64678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latin typeface="+mj-lt"/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26">
            <a:extLst>
              <a:ext uri="{FF2B5EF4-FFF2-40B4-BE49-F238E27FC236}">
                <a16:creationId xmlns:a16="http://schemas.microsoft.com/office/drawing/2014/main" id="{AC7CA245-18EA-597A-82E5-BA3812A8DE2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58889" y="4884121"/>
            <a:ext cx="442911" cy="430887"/>
          </a:xfrm>
          <a:noFill/>
        </p:spPr>
        <p:txBody>
          <a:bodyPr wrap="square"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3" name="Text Placeholder 24">
            <a:extLst>
              <a:ext uri="{FF2B5EF4-FFF2-40B4-BE49-F238E27FC236}">
                <a16:creationId xmlns:a16="http://schemas.microsoft.com/office/drawing/2014/main" id="{924E5149-F5C8-EA54-727E-B8B68A5FE9F7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233535" y="5601620"/>
            <a:ext cx="2348865" cy="64678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latin typeface="+mj-lt"/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3489A859-38FC-693E-A6ED-DA783AAA67B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233535" y="4884121"/>
            <a:ext cx="442911" cy="430887"/>
          </a:xfrm>
          <a:noFill/>
        </p:spPr>
        <p:txBody>
          <a:bodyPr wrap="square"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Date Placeholder 49">
            <a:extLst>
              <a:ext uri="{FF2B5EF4-FFF2-40B4-BE49-F238E27FC236}">
                <a16:creationId xmlns:a16="http://schemas.microsoft.com/office/drawing/2014/main" id="{B060A5B5-C6DF-5D69-2D87-90F40677BABD}"/>
              </a:ext>
            </a:extLst>
          </p:cNvPr>
          <p:cNvSpPr>
            <a:spLocks noGrp="1"/>
          </p:cNvSpPr>
          <p:nvPr>
            <p:ph type="dt" sz="half" idx="44"/>
          </p:nvPr>
        </p:nvSpPr>
        <p:spPr>
          <a:xfrm>
            <a:off x="10236555" y="139419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8EC7FE3E-E251-492A-8A26-609F7661DDA5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41599AF1-5158-10CB-A04F-6F714A9AF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49" name="Group 248">
            <a:extLst>
              <a:ext uri="{FF2B5EF4-FFF2-40B4-BE49-F238E27FC236}">
                <a16:creationId xmlns:a16="http://schemas.microsoft.com/office/drawing/2014/main" id="{B87E5EE8-0F60-7D2F-48BC-101064EE28B1}"/>
              </a:ext>
            </a:extLst>
          </p:cNvPr>
          <p:cNvGrpSpPr>
            <a:grpSpLocks/>
          </p:cNvGrpSpPr>
          <p:nvPr userDrawn="1"/>
        </p:nvGrpSpPr>
        <p:grpSpPr>
          <a:xfrm>
            <a:off x="9335262" y="1312230"/>
            <a:ext cx="2209250" cy="569889"/>
            <a:chOff x="9334317" y="1300791"/>
            <a:chExt cx="2209250" cy="569889"/>
          </a:xfrm>
        </p:grpSpPr>
        <p:grpSp>
          <p:nvGrpSpPr>
            <p:cNvPr id="180" name="Graphic 62">
              <a:extLst>
                <a:ext uri="{FF2B5EF4-FFF2-40B4-BE49-F238E27FC236}">
                  <a16:creationId xmlns:a16="http://schemas.microsoft.com/office/drawing/2014/main" id="{2D0F0C4B-399D-E541-384A-E31D942F452D}"/>
                </a:ext>
              </a:extLst>
            </p:cNvPr>
            <p:cNvGrpSpPr>
              <a:grpSpLocks/>
            </p:cNvGrpSpPr>
            <p:nvPr/>
          </p:nvGrpSpPr>
          <p:grpSpPr>
            <a:xfrm rot="5400000">
              <a:off x="9334323" y="1300785"/>
              <a:ext cx="569206" cy="569218"/>
              <a:chOff x="10101437" y="6590521"/>
              <a:chExt cx="569206" cy="569218"/>
            </a:xfrm>
          </p:grpSpPr>
          <p:sp>
            <p:nvSpPr>
              <p:cNvPr id="181" name="Freeform: Shape 180">
                <a:extLst>
                  <a:ext uri="{FF2B5EF4-FFF2-40B4-BE49-F238E27FC236}">
                    <a16:creationId xmlns:a16="http://schemas.microsoft.com/office/drawing/2014/main" id="{43F08049-ADFC-4339-6C3C-50CFA503894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101437" y="6590521"/>
                <a:ext cx="569206" cy="284609"/>
              </a:xfrm>
              <a:custGeom>
                <a:avLst/>
                <a:gdLst>
                  <a:gd name="connsiteX0" fmla="*/ 0 w 569206"/>
                  <a:gd name="connsiteY0" fmla="*/ 284609 h 284609"/>
                  <a:gd name="connsiteX1" fmla="*/ 284603 w 569206"/>
                  <a:gd name="connsiteY1" fmla="*/ 0 h 284609"/>
                  <a:gd name="connsiteX2" fmla="*/ 569207 w 569206"/>
                  <a:gd name="connsiteY2" fmla="*/ 284609 h 284609"/>
                  <a:gd name="connsiteX3" fmla="*/ 0 w 569206"/>
                  <a:gd name="connsiteY3" fmla="*/ 284609 h 284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9206" h="284609">
                    <a:moveTo>
                      <a:pt x="0" y="284609"/>
                    </a:moveTo>
                    <a:cubicBezTo>
                      <a:pt x="0" y="127391"/>
                      <a:pt x="127388" y="0"/>
                      <a:pt x="284603" y="0"/>
                    </a:cubicBezTo>
                    <a:cubicBezTo>
                      <a:pt x="441818" y="0"/>
                      <a:pt x="569207" y="127391"/>
                      <a:pt x="569207" y="284609"/>
                    </a:cubicBezTo>
                    <a:lnTo>
                      <a:pt x="0" y="284609"/>
                    </a:lnTo>
                    <a:close/>
                  </a:path>
                </a:pathLst>
              </a:custGeom>
              <a:solidFill>
                <a:srgbClr val="93D500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2" name="Freeform: Shape 181">
                <a:extLst>
                  <a:ext uri="{FF2B5EF4-FFF2-40B4-BE49-F238E27FC236}">
                    <a16:creationId xmlns:a16="http://schemas.microsoft.com/office/drawing/2014/main" id="{620C853C-0076-DF88-1809-1B9D6272BA0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101437" y="6875130"/>
                <a:ext cx="569206" cy="284609"/>
              </a:xfrm>
              <a:custGeom>
                <a:avLst/>
                <a:gdLst>
                  <a:gd name="connsiteX0" fmla="*/ 569207 w 569206"/>
                  <a:gd name="connsiteY0" fmla="*/ 0 h 284609"/>
                  <a:gd name="connsiteX1" fmla="*/ 284603 w 569206"/>
                  <a:gd name="connsiteY1" fmla="*/ 284609 h 284609"/>
                  <a:gd name="connsiteX2" fmla="*/ 0 w 569206"/>
                  <a:gd name="connsiteY2" fmla="*/ 0 h 284609"/>
                  <a:gd name="connsiteX3" fmla="*/ 569207 w 569206"/>
                  <a:gd name="connsiteY3" fmla="*/ 0 h 284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9206" h="284609">
                    <a:moveTo>
                      <a:pt x="569207" y="0"/>
                    </a:moveTo>
                    <a:cubicBezTo>
                      <a:pt x="569207" y="157218"/>
                      <a:pt x="441818" y="284609"/>
                      <a:pt x="284603" y="284609"/>
                    </a:cubicBezTo>
                    <a:cubicBezTo>
                      <a:pt x="127388" y="284609"/>
                      <a:pt x="0" y="157218"/>
                      <a:pt x="0" y="0"/>
                    </a:cubicBezTo>
                    <a:lnTo>
                      <a:pt x="569207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83" name="Graphic 62">
              <a:extLst>
                <a:ext uri="{FF2B5EF4-FFF2-40B4-BE49-F238E27FC236}">
                  <a16:creationId xmlns:a16="http://schemas.microsoft.com/office/drawing/2014/main" id="{30C3B7C6-2CD7-73CC-419C-76B8123B9D0F}"/>
                </a:ext>
              </a:extLst>
            </p:cNvPr>
            <p:cNvGrpSpPr>
              <a:grpSpLocks/>
            </p:cNvGrpSpPr>
            <p:nvPr/>
          </p:nvGrpSpPr>
          <p:grpSpPr>
            <a:xfrm rot="5400000">
              <a:off x="10154681" y="1301468"/>
              <a:ext cx="569206" cy="569218"/>
              <a:chOff x="10102120" y="5770163"/>
              <a:chExt cx="569206" cy="569218"/>
            </a:xfrm>
          </p:grpSpPr>
          <p:sp>
            <p:nvSpPr>
              <p:cNvPr id="184" name="Freeform: Shape 183">
                <a:extLst>
                  <a:ext uri="{FF2B5EF4-FFF2-40B4-BE49-F238E27FC236}">
                    <a16:creationId xmlns:a16="http://schemas.microsoft.com/office/drawing/2014/main" id="{D7BC0D93-C77A-7CC8-E7A3-5C20CF2605C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102120" y="5770163"/>
                <a:ext cx="284603" cy="569218"/>
              </a:xfrm>
              <a:custGeom>
                <a:avLst/>
                <a:gdLst>
                  <a:gd name="connsiteX0" fmla="*/ 284603 w 284603"/>
                  <a:gd name="connsiteY0" fmla="*/ 569218 h 569218"/>
                  <a:gd name="connsiteX1" fmla="*/ 0 w 284603"/>
                  <a:gd name="connsiteY1" fmla="*/ 284609 h 569218"/>
                  <a:gd name="connsiteX2" fmla="*/ 284603 w 284603"/>
                  <a:gd name="connsiteY2" fmla="*/ 0 h 569218"/>
                  <a:gd name="connsiteX3" fmla="*/ 284603 w 284603"/>
                  <a:gd name="connsiteY3" fmla="*/ 569218 h 569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4603" h="569218">
                    <a:moveTo>
                      <a:pt x="284603" y="569218"/>
                    </a:moveTo>
                    <a:cubicBezTo>
                      <a:pt x="127388" y="569218"/>
                      <a:pt x="0" y="441827"/>
                      <a:pt x="0" y="284609"/>
                    </a:cubicBezTo>
                    <a:cubicBezTo>
                      <a:pt x="0" y="127391"/>
                      <a:pt x="127388" y="0"/>
                      <a:pt x="284603" y="0"/>
                    </a:cubicBezTo>
                    <a:lnTo>
                      <a:pt x="284603" y="569218"/>
                    </a:lnTo>
                    <a:close/>
                  </a:path>
                </a:pathLst>
              </a:custGeom>
              <a:solidFill>
                <a:srgbClr val="93D500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5" name="Freeform: Shape 184">
                <a:extLst>
                  <a:ext uri="{FF2B5EF4-FFF2-40B4-BE49-F238E27FC236}">
                    <a16:creationId xmlns:a16="http://schemas.microsoft.com/office/drawing/2014/main" id="{45B75FD7-BA33-7F11-2231-E6F49DE077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386723" y="5770163"/>
                <a:ext cx="284603" cy="569218"/>
              </a:xfrm>
              <a:custGeom>
                <a:avLst/>
                <a:gdLst>
                  <a:gd name="connsiteX0" fmla="*/ 0 w 284603"/>
                  <a:gd name="connsiteY0" fmla="*/ 0 h 569218"/>
                  <a:gd name="connsiteX1" fmla="*/ 284603 w 284603"/>
                  <a:gd name="connsiteY1" fmla="*/ 284609 h 569218"/>
                  <a:gd name="connsiteX2" fmla="*/ 0 w 284603"/>
                  <a:gd name="connsiteY2" fmla="*/ 569218 h 569218"/>
                  <a:gd name="connsiteX3" fmla="*/ 0 w 284603"/>
                  <a:gd name="connsiteY3" fmla="*/ 0 h 569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4603" h="569218">
                    <a:moveTo>
                      <a:pt x="0" y="0"/>
                    </a:moveTo>
                    <a:cubicBezTo>
                      <a:pt x="157215" y="0"/>
                      <a:pt x="284603" y="127391"/>
                      <a:pt x="284603" y="284609"/>
                    </a:cubicBezTo>
                    <a:cubicBezTo>
                      <a:pt x="284603" y="441827"/>
                      <a:pt x="157215" y="569218"/>
                      <a:pt x="0" y="569218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89" name="Graphic 62">
              <a:extLst>
                <a:ext uri="{FF2B5EF4-FFF2-40B4-BE49-F238E27FC236}">
                  <a16:creationId xmlns:a16="http://schemas.microsoft.com/office/drawing/2014/main" id="{8C495686-DF44-2505-EDDB-0C9CAA7911E4}"/>
                </a:ext>
              </a:extLst>
            </p:cNvPr>
            <p:cNvGrpSpPr>
              <a:grpSpLocks/>
            </p:cNvGrpSpPr>
            <p:nvPr/>
          </p:nvGrpSpPr>
          <p:grpSpPr>
            <a:xfrm rot="5400000">
              <a:off x="10974355" y="1301468"/>
              <a:ext cx="569206" cy="569218"/>
              <a:chOff x="10102120" y="4950489"/>
              <a:chExt cx="569206" cy="569218"/>
            </a:xfrm>
          </p:grpSpPr>
          <p:sp>
            <p:nvSpPr>
              <p:cNvPr id="190" name="Freeform: Shape 189">
                <a:extLst>
                  <a:ext uri="{FF2B5EF4-FFF2-40B4-BE49-F238E27FC236}">
                    <a16:creationId xmlns:a16="http://schemas.microsoft.com/office/drawing/2014/main" id="{24E4E0CC-2C53-7DCE-1FA4-89FDB41B0EC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102120" y="5235098"/>
                <a:ext cx="569206" cy="284609"/>
              </a:xfrm>
              <a:custGeom>
                <a:avLst/>
                <a:gdLst>
                  <a:gd name="connsiteX0" fmla="*/ 569207 w 569206"/>
                  <a:gd name="connsiteY0" fmla="*/ 0 h 284609"/>
                  <a:gd name="connsiteX1" fmla="*/ 284603 w 569206"/>
                  <a:gd name="connsiteY1" fmla="*/ 284609 h 284609"/>
                  <a:gd name="connsiteX2" fmla="*/ 0 w 569206"/>
                  <a:gd name="connsiteY2" fmla="*/ 0 h 284609"/>
                  <a:gd name="connsiteX3" fmla="*/ 569207 w 569206"/>
                  <a:gd name="connsiteY3" fmla="*/ 0 h 284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9206" h="284609">
                    <a:moveTo>
                      <a:pt x="569207" y="0"/>
                    </a:moveTo>
                    <a:cubicBezTo>
                      <a:pt x="569207" y="157218"/>
                      <a:pt x="441818" y="284609"/>
                      <a:pt x="284603" y="284609"/>
                    </a:cubicBezTo>
                    <a:cubicBezTo>
                      <a:pt x="127388" y="284609"/>
                      <a:pt x="0" y="157218"/>
                      <a:pt x="0" y="0"/>
                    </a:cubicBezTo>
                    <a:lnTo>
                      <a:pt x="569207" y="0"/>
                    </a:lnTo>
                    <a:close/>
                  </a:path>
                </a:pathLst>
              </a:custGeom>
              <a:solidFill>
                <a:srgbClr val="93D500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1" name="Freeform: Shape 190">
                <a:extLst>
                  <a:ext uri="{FF2B5EF4-FFF2-40B4-BE49-F238E27FC236}">
                    <a16:creationId xmlns:a16="http://schemas.microsoft.com/office/drawing/2014/main" id="{559D7EA0-79B8-BF95-1F75-C0E4775E301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102120" y="4950489"/>
                <a:ext cx="569206" cy="284609"/>
              </a:xfrm>
              <a:custGeom>
                <a:avLst/>
                <a:gdLst>
                  <a:gd name="connsiteX0" fmla="*/ 0 w 569206"/>
                  <a:gd name="connsiteY0" fmla="*/ 284609 h 284609"/>
                  <a:gd name="connsiteX1" fmla="*/ 284603 w 569206"/>
                  <a:gd name="connsiteY1" fmla="*/ 0 h 284609"/>
                  <a:gd name="connsiteX2" fmla="*/ 569207 w 569206"/>
                  <a:gd name="connsiteY2" fmla="*/ 284609 h 284609"/>
                  <a:gd name="connsiteX3" fmla="*/ 0 w 569206"/>
                  <a:gd name="connsiteY3" fmla="*/ 284609 h 284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9206" h="284609">
                    <a:moveTo>
                      <a:pt x="0" y="284609"/>
                    </a:moveTo>
                    <a:cubicBezTo>
                      <a:pt x="0" y="127391"/>
                      <a:pt x="127388" y="0"/>
                      <a:pt x="284603" y="0"/>
                    </a:cubicBezTo>
                    <a:cubicBezTo>
                      <a:pt x="441818" y="0"/>
                      <a:pt x="569207" y="127391"/>
                      <a:pt x="569207" y="284609"/>
                    </a:cubicBezTo>
                    <a:lnTo>
                      <a:pt x="0" y="284609"/>
                    </a:lnTo>
                    <a:close/>
                  </a:path>
                </a:pathLst>
              </a:custGeom>
              <a:solidFill>
                <a:srgbClr val="000000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8618564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+ Image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AA09BD20-B30C-CC32-D428-A1EBE6AC61FC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0" y="1600200"/>
            <a:ext cx="12192000" cy="3052762"/>
          </a:xfrm>
          <a:solidFill>
            <a:schemeClr val="bg1">
              <a:lumMod val="75000"/>
            </a:schemeClr>
          </a:solidFill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000" b="0" dirty="0"/>
            </a:lvl1pPr>
          </a:lstStyle>
          <a:p>
            <a:pPr lvl="0" algn="ctr"/>
            <a:r>
              <a:rPr lang="en-US"/>
              <a:t>Insert Photo</a:t>
            </a: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24B2B4B-82F9-1536-578C-43BD5CE8AF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4B2B4B-82F9-1536-578C-43BD5CE8AF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Title 44">
            <a:extLst>
              <a:ext uri="{FF2B5EF4-FFF2-40B4-BE49-F238E27FC236}">
                <a16:creationId xmlns:a16="http://schemas.microsoft.com/office/drawing/2014/main" id="{8C8DBED3-A629-FC99-1B8F-BE074A307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800754"/>
            <a:ext cx="5486400" cy="5539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  <p:sp>
        <p:nvSpPr>
          <p:cNvPr id="51" name="Footer Placeholder 50">
            <a:extLst>
              <a:ext uri="{FF2B5EF4-FFF2-40B4-BE49-F238E27FC236}">
                <a16:creationId xmlns:a16="http://schemas.microsoft.com/office/drawing/2014/main" id="{E6307089-0337-1E41-2413-B773C7DDA35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835ECE48-5FE3-A1E7-D32C-C2F6ADBC4A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47FA0D2-F8F7-895F-2FBF-67E102F5B1D5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9BC655C-7979-A16B-0182-2803B04DF645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E62D234-D5FD-48E0-D01F-6175CB455F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62D234-D5FD-48E0-D01F-6175CB455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B0381F1-E3BA-89CB-8B69-00C507D035B7}"/>
              </a:ext>
            </a:extLst>
          </p:cNvPr>
          <p:cNvCxnSpPr>
            <a:cxnSpLocks/>
          </p:cNvCxnSpPr>
          <p:nvPr userDrawn="1"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1B46AC-808C-5D43-EA1B-15963FBCA79E}"/>
              </a:ext>
            </a:extLst>
          </p:cNvPr>
          <p:cNvCxnSpPr>
            <a:cxnSpLocks/>
          </p:cNvCxnSpPr>
          <p:nvPr userDrawn="1"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4">
            <a:extLst>
              <a:ext uri="{FF2B5EF4-FFF2-40B4-BE49-F238E27FC236}">
                <a16:creationId xmlns:a16="http://schemas.microsoft.com/office/drawing/2014/main" id="{CE4D3010-E8F4-6ECE-FC85-E5C43829DD4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599" y="5601620"/>
            <a:ext cx="2348865" cy="64678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latin typeface="+mj-lt"/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6">
            <a:extLst>
              <a:ext uri="{FF2B5EF4-FFF2-40B4-BE49-F238E27FC236}">
                <a16:creationId xmlns:a16="http://schemas.microsoft.com/office/drawing/2014/main" id="{D3BAA845-643F-89D1-F332-B3E022656A1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09600" y="4884121"/>
            <a:ext cx="442911" cy="430887"/>
          </a:xfrm>
          <a:noFill/>
        </p:spPr>
        <p:txBody>
          <a:bodyPr wrap="square"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5" name="Text Placeholder 24">
            <a:extLst>
              <a:ext uri="{FF2B5EF4-FFF2-40B4-BE49-F238E27FC236}">
                <a16:creationId xmlns:a16="http://schemas.microsoft.com/office/drawing/2014/main" id="{DCEFF89C-78B8-ADF9-24ED-AEA05D3EC470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484244" y="5601620"/>
            <a:ext cx="2348865" cy="64678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latin typeface="+mj-lt"/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6">
            <a:extLst>
              <a:ext uri="{FF2B5EF4-FFF2-40B4-BE49-F238E27FC236}">
                <a16:creationId xmlns:a16="http://schemas.microsoft.com/office/drawing/2014/main" id="{D8446354-7DF9-CD63-06FD-34CC052BDF4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484244" y="4884121"/>
            <a:ext cx="442911" cy="430887"/>
          </a:xfrm>
          <a:noFill/>
        </p:spPr>
        <p:txBody>
          <a:bodyPr wrap="square"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A705EFF2-4847-92E0-5295-3C574E55E1D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358889" y="5601620"/>
            <a:ext cx="2348865" cy="64678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latin typeface="+mj-lt"/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26">
            <a:extLst>
              <a:ext uri="{FF2B5EF4-FFF2-40B4-BE49-F238E27FC236}">
                <a16:creationId xmlns:a16="http://schemas.microsoft.com/office/drawing/2014/main" id="{AC7CA245-18EA-597A-82E5-BA3812A8DE2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58889" y="4884121"/>
            <a:ext cx="442911" cy="430887"/>
          </a:xfrm>
          <a:noFill/>
        </p:spPr>
        <p:txBody>
          <a:bodyPr wrap="square"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3" name="Text Placeholder 24">
            <a:extLst>
              <a:ext uri="{FF2B5EF4-FFF2-40B4-BE49-F238E27FC236}">
                <a16:creationId xmlns:a16="http://schemas.microsoft.com/office/drawing/2014/main" id="{924E5149-F5C8-EA54-727E-B8B68A5FE9F7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233535" y="5601620"/>
            <a:ext cx="2348865" cy="64678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latin typeface="+mj-lt"/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3489A859-38FC-693E-A6ED-DA783AAA67B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233535" y="4884121"/>
            <a:ext cx="442911" cy="430887"/>
          </a:xfrm>
          <a:noFill/>
        </p:spPr>
        <p:txBody>
          <a:bodyPr wrap="square"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Date Placeholder 49">
            <a:extLst>
              <a:ext uri="{FF2B5EF4-FFF2-40B4-BE49-F238E27FC236}">
                <a16:creationId xmlns:a16="http://schemas.microsoft.com/office/drawing/2014/main" id="{B060A5B5-C6DF-5D69-2D87-90F40677BABD}"/>
              </a:ext>
            </a:extLst>
          </p:cNvPr>
          <p:cNvSpPr>
            <a:spLocks noGrp="1"/>
          </p:cNvSpPr>
          <p:nvPr>
            <p:ph type="dt" sz="half" idx="44"/>
          </p:nvPr>
        </p:nvSpPr>
        <p:spPr>
          <a:xfrm>
            <a:off x="10236555" y="139419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8EC7FE3E-E251-492A-8A26-609F7661DDA5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41599AF1-5158-10CB-A04F-6F714A9AF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595778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 with Photo -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BCB6D247-1918-2009-BF8B-72F06F7A4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181100" y="1557159"/>
            <a:ext cx="3619500" cy="36195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000" b="0"/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E187098-AD66-B07F-82B5-BA55788E388F}"/>
              </a:ext>
            </a:extLst>
          </p:cNvPr>
          <p:cNvCxnSpPr>
            <a:cxnSpLocks/>
          </p:cNvCxnSpPr>
          <p:nvPr/>
        </p:nvCxnSpPr>
        <p:spPr>
          <a:xfrm>
            <a:off x="6738655" y="4526737"/>
            <a:ext cx="4848317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7A16E765-6BD0-3CDD-70C1-CA8D2467CB0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4083" y="1960494"/>
            <a:ext cx="4848317" cy="2212848"/>
          </a:xfrm>
        </p:spPr>
        <p:txBody>
          <a:bodyPr anchor="b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FB69FE2A-FEB7-BE08-9456-D4BD5BC806A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6" hasCustomPrompt="1"/>
          </p:nvPr>
        </p:nvSpPr>
        <p:spPr>
          <a:xfrm>
            <a:off x="5733826" y="911568"/>
            <a:ext cx="956993" cy="3062377"/>
          </a:xfrm>
        </p:spPr>
        <p:txBody>
          <a:bodyPr wrap="none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9900" kern="1200" dirty="0">
                <a:solidFill>
                  <a:schemeClr val="accent1"/>
                </a:solidFill>
                <a:latin typeface="Franklin Gothic Medium Cond" panose="020B0606030402020204" pitchFamily="34" charset="0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“</a:t>
            </a:r>
          </a:p>
        </p:txBody>
      </p:sp>
      <p:sp>
        <p:nvSpPr>
          <p:cNvPr id="63" name="Text Placeholder 33">
            <a:extLst>
              <a:ext uri="{FF2B5EF4-FFF2-40B4-BE49-F238E27FC236}">
                <a16:creationId xmlns:a16="http://schemas.microsoft.com/office/drawing/2014/main" id="{49315336-CF85-AB2B-B3A4-46E89F0D968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34082" y="4876991"/>
            <a:ext cx="4848317" cy="299668"/>
          </a:xfrm>
        </p:spPr>
        <p:txBody>
          <a:bodyPr wrap="square">
            <a:noAutofit/>
          </a:bodyPr>
          <a:lstStyle>
            <a:lvl1pPr marL="0" indent="0" algn="r">
              <a:spcAft>
                <a:spcPts val="300"/>
              </a:spcAft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r"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7C5D94E-21FC-6AC5-66EE-F82FAB1D00F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600" y="13802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6" name="Date Placeholder 12">
            <a:extLst>
              <a:ext uri="{FF2B5EF4-FFF2-40B4-BE49-F238E27FC236}">
                <a16:creationId xmlns:a16="http://schemas.microsoft.com/office/drawing/2014/main" id="{95E5C207-2DAF-C132-6FF6-E4FDC93005CA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0236555" y="13802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5F6B9B37-ED23-4617-8C0C-8F866FE38D8E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7" name="Footer Placeholder 13">
            <a:extLst>
              <a:ext uri="{FF2B5EF4-FFF2-40B4-BE49-F238E27FC236}">
                <a16:creationId xmlns:a16="http://schemas.microsoft.com/office/drawing/2014/main" id="{CF4B4545-13F4-2902-0AC9-6AF28B437C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09600" y="656608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4 Guidehouset</a:t>
            </a:r>
          </a:p>
        </p:txBody>
      </p:sp>
      <p:sp>
        <p:nvSpPr>
          <p:cNvPr id="13" name="Slide Number Placeholder 14">
            <a:extLst>
              <a:ext uri="{FF2B5EF4-FFF2-40B4-BE49-F238E27FC236}">
                <a16:creationId xmlns:a16="http://schemas.microsoft.com/office/drawing/2014/main" id="{C266639E-79B8-D05E-C2A0-2E9D57F6CBFE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>
          <a:xfrm>
            <a:off x="11248008" y="656608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F15F0ED-BBBC-2F21-14A8-BAEF93A451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03876" y="88565"/>
            <a:ext cx="995110" cy="252812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CDC81FC-8683-540B-7C77-9681384F4E65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FD21293-CCA9-B189-2095-9F95E3AE36C0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D4C4D422-07C3-3D74-FD30-B529BB44DF95}"/>
              </a:ext>
            </a:extLst>
          </p:cNvPr>
          <p:cNvCxnSpPr>
            <a:cxnSpLocks/>
          </p:cNvCxnSpPr>
          <p:nvPr userDrawn="1"/>
        </p:nvCxnSpPr>
        <p:spPr>
          <a:xfrm>
            <a:off x="6738655" y="4526737"/>
            <a:ext cx="4848317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33">
            <a:extLst>
              <a:ext uri="{FF2B5EF4-FFF2-40B4-BE49-F238E27FC236}">
                <a16:creationId xmlns:a16="http://schemas.microsoft.com/office/drawing/2014/main" id="{ED489F46-1121-34BF-36F0-886015468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734082" y="5204393"/>
            <a:ext cx="4848318" cy="276999"/>
          </a:xfrm>
        </p:spPr>
        <p:txBody>
          <a:bodyPr wrap="square">
            <a:noAutofit/>
          </a:bodyPr>
          <a:lstStyle>
            <a:lvl1pPr marL="0" indent="0" algn="r"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3BE9BDD3-0C22-DC07-8A70-55077D71D045}"/>
              </a:ext>
            </a:extLst>
          </p:cNvPr>
          <p:cNvSpPr/>
          <p:nvPr userDrawn="1"/>
        </p:nvSpPr>
        <p:spPr>
          <a:xfrm>
            <a:off x="1775460" y="4749905"/>
            <a:ext cx="2430780" cy="459253"/>
          </a:xfrm>
          <a:custGeom>
            <a:avLst/>
            <a:gdLst>
              <a:gd name="connsiteX0" fmla="*/ 762963 w 762963"/>
              <a:gd name="connsiteY0" fmla="*/ 0 h 148976"/>
              <a:gd name="connsiteX1" fmla="*/ 0 w 762963"/>
              <a:gd name="connsiteY1" fmla="*/ 0 h 1489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62963" h="148976">
                <a:moveTo>
                  <a:pt x="762963" y="0"/>
                </a:moveTo>
                <a:cubicBezTo>
                  <a:pt x="552232" y="198635"/>
                  <a:pt x="210732" y="198635"/>
                  <a:pt x="0" y="0"/>
                </a:cubicBezTo>
              </a:path>
            </a:pathLst>
          </a:custGeom>
          <a:noFill/>
          <a:ln w="762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211174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with Photo - Ligh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49">
            <a:extLst>
              <a:ext uri="{FF2B5EF4-FFF2-40B4-BE49-F238E27FC236}">
                <a16:creationId xmlns:a16="http://schemas.microsoft.com/office/drawing/2014/main" id="{68C8DFA2-ADF2-B013-F741-F2BFA6A790EA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0236555" y="139419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8DFA9521-7F27-42A7-9662-7BCC8FA50C6A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4C01BF98-E8D1-FA71-7F61-B40AD7F38B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00" y="139419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F7FDF169-3491-C6D5-06CE-0C6A409CB1F8}"/>
              </a:ext>
            </a:extLst>
          </p:cNvPr>
          <p:cNvCxnSpPr>
            <a:cxnSpLocks/>
          </p:cNvCxnSpPr>
          <p:nvPr/>
        </p:nvCxnSpPr>
        <p:spPr>
          <a:xfrm>
            <a:off x="6738655" y="4526737"/>
            <a:ext cx="484831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 Placeholder 19">
            <a:extLst>
              <a:ext uri="{FF2B5EF4-FFF2-40B4-BE49-F238E27FC236}">
                <a16:creationId xmlns:a16="http://schemas.microsoft.com/office/drawing/2014/main" id="{D2934921-DF3B-B31E-8649-612670262B8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734083" y="1960494"/>
            <a:ext cx="4848317" cy="2212848"/>
          </a:xfrm>
        </p:spPr>
        <p:txBody>
          <a:bodyPr anchor="b">
            <a:noAutofit/>
          </a:bodyPr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EDFA36-60E1-6C7B-5CCC-B90C1C3CC5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296F0A0-E7AD-B1C7-A831-F6B685006C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17">
            <a:extLst>
              <a:ext uri="{FF2B5EF4-FFF2-40B4-BE49-F238E27FC236}">
                <a16:creationId xmlns:a16="http://schemas.microsoft.com/office/drawing/2014/main" id="{E508596C-8AF4-394C-3308-4FFF0C7621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81100" y="1557159"/>
            <a:ext cx="3619500" cy="36195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0" b="0"/>
            </a:lvl1pPr>
          </a:lstStyle>
          <a:p>
            <a:pPr lvl="0" algn="ctr"/>
            <a:r>
              <a:rPr lang="en-US"/>
              <a:t>Inset Photo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FE4A2E3E-D662-CE0A-E534-695A999BF6B0}"/>
              </a:ext>
            </a:extLst>
          </p:cNvPr>
          <p:cNvCxnSpPr>
            <a:cxnSpLocks/>
          </p:cNvCxnSpPr>
          <p:nvPr userDrawn="1"/>
        </p:nvCxnSpPr>
        <p:spPr>
          <a:xfrm>
            <a:off x="6738655" y="4526737"/>
            <a:ext cx="4848317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6BDE3127-1813-14DC-828E-B3138819FEB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6" hasCustomPrompt="1"/>
          </p:nvPr>
        </p:nvSpPr>
        <p:spPr>
          <a:xfrm>
            <a:off x="5733826" y="911568"/>
            <a:ext cx="956993" cy="3062377"/>
          </a:xfrm>
        </p:spPr>
        <p:txBody>
          <a:bodyPr wrap="none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9900" kern="1200" dirty="0">
                <a:solidFill>
                  <a:schemeClr val="accent2"/>
                </a:solidFill>
                <a:latin typeface="Franklin Gothic Medium Cond" panose="020B0606030402020204" pitchFamily="34" charset="0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“</a:t>
            </a:r>
          </a:p>
        </p:txBody>
      </p:sp>
      <p:sp>
        <p:nvSpPr>
          <p:cNvPr id="9" name="Text Placeholder 33">
            <a:extLst>
              <a:ext uri="{FF2B5EF4-FFF2-40B4-BE49-F238E27FC236}">
                <a16:creationId xmlns:a16="http://schemas.microsoft.com/office/drawing/2014/main" id="{07A67CF4-5BEE-8E4E-1241-20B1A1AB748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34082" y="4876991"/>
            <a:ext cx="4848317" cy="299668"/>
          </a:xfrm>
        </p:spPr>
        <p:txBody>
          <a:bodyPr wrap="square">
            <a:noAutofit/>
          </a:bodyPr>
          <a:lstStyle>
            <a:lvl1pPr marL="0" indent="0" algn="r">
              <a:spcAft>
                <a:spcPts val="3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0" name="Text Placeholder 33">
            <a:extLst>
              <a:ext uri="{FF2B5EF4-FFF2-40B4-BE49-F238E27FC236}">
                <a16:creationId xmlns:a16="http://schemas.microsoft.com/office/drawing/2014/main" id="{6FFC7E46-DB66-D43C-3850-83C8E4F4A44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734082" y="5204393"/>
            <a:ext cx="4848318" cy="276999"/>
          </a:xfrm>
        </p:spPr>
        <p:txBody>
          <a:bodyPr wrap="square">
            <a:noAutofit/>
          </a:bodyPr>
          <a:lstStyle>
            <a:lvl1pPr marL="0" indent="0" algn="r"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72BAD1C6-BD8F-55FE-4E6A-52C11DD13654}"/>
              </a:ext>
            </a:extLst>
          </p:cNvPr>
          <p:cNvSpPr/>
          <p:nvPr userDrawn="1"/>
        </p:nvSpPr>
        <p:spPr>
          <a:xfrm>
            <a:off x="1775460" y="4749905"/>
            <a:ext cx="2430780" cy="459253"/>
          </a:xfrm>
          <a:custGeom>
            <a:avLst/>
            <a:gdLst>
              <a:gd name="connsiteX0" fmla="*/ 762963 w 762963"/>
              <a:gd name="connsiteY0" fmla="*/ 0 h 148976"/>
              <a:gd name="connsiteX1" fmla="*/ 0 w 762963"/>
              <a:gd name="connsiteY1" fmla="*/ 0 h 1489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62963" h="148976">
                <a:moveTo>
                  <a:pt x="762963" y="0"/>
                </a:moveTo>
                <a:cubicBezTo>
                  <a:pt x="552232" y="198635"/>
                  <a:pt x="210732" y="198635"/>
                  <a:pt x="0" y="0"/>
                </a:cubicBezTo>
              </a:path>
            </a:pathLst>
          </a:custGeom>
          <a:noFill/>
          <a:ln w="76200" cap="flat">
            <a:solidFill>
              <a:srgbClr val="95C93D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710410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- 4 Members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772DD-7002-F2A1-C348-A0C46F31C7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FED28113-7C82-17C7-BA44-13930C3558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4" name="Picture Placeholder 17">
            <a:extLst>
              <a:ext uri="{FF2B5EF4-FFF2-40B4-BE49-F238E27FC236}">
                <a16:creationId xmlns:a16="http://schemas.microsoft.com/office/drawing/2014/main" id="{813769C8-2552-7A85-2B62-C7568B6AC9AE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609600" y="1960419"/>
            <a:ext cx="1354281" cy="1354281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8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EF0FDF04-B2B6-525D-AE0D-E3736EA185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3527923"/>
            <a:ext cx="2258568" cy="307777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054EC6BE-3F2F-E9B7-0C72-6CDE487B5C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4597059"/>
            <a:ext cx="2258568" cy="1308441"/>
          </a:xfrm>
        </p:spPr>
        <p:txBody>
          <a:bodyPr>
            <a:noAutofit/>
          </a:bodyPr>
          <a:lstStyle>
            <a:lvl1pPr>
              <a:defRPr sz="14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Picture Placeholder 17">
            <a:extLst>
              <a:ext uri="{FF2B5EF4-FFF2-40B4-BE49-F238E27FC236}">
                <a16:creationId xmlns:a16="http://schemas.microsoft.com/office/drawing/2014/main" id="{6252DFA9-6D54-E4B7-97FB-9F469D69C192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516666" y="1960419"/>
            <a:ext cx="1354281" cy="1354281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Headshot</a:t>
            </a:r>
          </a:p>
        </p:txBody>
      </p:sp>
      <p:sp>
        <p:nvSpPr>
          <p:cNvPr id="44" name="Text Placeholder 37">
            <a:extLst>
              <a:ext uri="{FF2B5EF4-FFF2-40B4-BE49-F238E27FC236}">
                <a16:creationId xmlns:a16="http://schemas.microsoft.com/office/drawing/2014/main" id="{7B0BDFE2-624A-1A15-5460-B5974D8FC7D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16666" y="4597059"/>
            <a:ext cx="2258568" cy="1308441"/>
          </a:xfrm>
        </p:spPr>
        <p:txBody>
          <a:bodyPr>
            <a:noAutofit/>
          </a:bodyPr>
          <a:lstStyle>
            <a:lvl1pPr>
              <a:defRPr sz="14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Picture Placeholder 17">
            <a:extLst>
              <a:ext uri="{FF2B5EF4-FFF2-40B4-BE49-F238E27FC236}">
                <a16:creationId xmlns:a16="http://schemas.microsoft.com/office/drawing/2014/main" id="{292B6EA7-82EF-8D0E-757D-2DBF0C8C53DF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6419088" y="1960419"/>
            <a:ext cx="1354281" cy="1354281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Headshot</a:t>
            </a:r>
          </a:p>
        </p:txBody>
      </p:sp>
      <p:sp>
        <p:nvSpPr>
          <p:cNvPr id="50" name="Text Placeholder 37">
            <a:extLst>
              <a:ext uri="{FF2B5EF4-FFF2-40B4-BE49-F238E27FC236}">
                <a16:creationId xmlns:a16="http://schemas.microsoft.com/office/drawing/2014/main" id="{81EF1E7C-A189-32BE-97B5-28DA00F81F0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419088" y="4597059"/>
            <a:ext cx="2258568" cy="1308441"/>
          </a:xfrm>
        </p:spPr>
        <p:txBody>
          <a:bodyPr>
            <a:noAutofit/>
          </a:bodyPr>
          <a:lstStyle>
            <a:lvl1pPr>
              <a:defRPr sz="14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Picture Placeholder 17">
            <a:extLst>
              <a:ext uri="{FF2B5EF4-FFF2-40B4-BE49-F238E27FC236}">
                <a16:creationId xmlns:a16="http://schemas.microsoft.com/office/drawing/2014/main" id="{424B2AD3-6B91-052B-36CC-6D5B353D4876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9323832" y="1960419"/>
            <a:ext cx="1354281" cy="1354281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Headshot</a:t>
            </a:r>
          </a:p>
        </p:txBody>
      </p:sp>
      <p:sp>
        <p:nvSpPr>
          <p:cNvPr id="63" name="Text Placeholder 37">
            <a:extLst>
              <a:ext uri="{FF2B5EF4-FFF2-40B4-BE49-F238E27FC236}">
                <a16:creationId xmlns:a16="http://schemas.microsoft.com/office/drawing/2014/main" id="{A8E41E57-8F61-2F5E-A3A4-ED89414D828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3832" y="4597059"/>
            <a:ext cx="2258568" cy="1308441"/>
          </a:xfrm>
        </p:spPr>
        <p:txBody>
          <a:bodyPr>
            <a:noAutofit/>
          </a:bodyPr>
          <a:lstStyle>
            <a:lvl1pPr>
              <a:defRPr sz="14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9">
            <a:extLst>
              <a:ext uri="{FF2B5EF4-FFF2-40B4-BE49-F238E27FC236}">
                <a16:creationId xmlns:a16="http://schemas.microsoft.com/office/drawing/2014/main" id="{A1790F86-0957-48DF-CC52-AE8AE9487111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D7F9F177-B21B-4601-9445-BEDBCD962BE3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D74D7FCE-5041-B026-EA43-51B21F3B8BE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EBF6BF5C-8307-B3C5-1249-18E632BF5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CAA7CBE-DA9D-01C9-A282-A6D10AF8D4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33">
            <a:extLst>
              <a:ext uri="{FF2B5EF4-FFF2-40B4-BE49-F238E27FC236}">
                <a16:creationId xmlns:a16="http://schemas.microsoft.com/office/drawing/2014/main" id="{D11A414D-3F82-F52A-ED69-FAB9EFC6ECE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556" y="3843884"/>
            <a:ext cx="2256612" cy="246221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25" name="Text Placeholder 35">
            <a:extLst>
              <a:ext uri="{FF2B5EF4-FFF2-40B4-BE49-F238E27FC236}">
                <a16:creationId xmlns:a16="http://schemas.microsoft.com/office/drawing/2014/main" id="{2D933587-49D3-B2C3-66A7-A4E240E34C9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16666" y="3523468"/>
            <a:ext cx="2258568" cy="307777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EDAEAA86-D287-3299-DB78-D7C8566793B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419088" y="3523468"/>
            <a:ext cx="2258568" cy="307777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27" name="Text Placeholder 35">
            <a:extLst>
              <a:ext uri="{FF2B5EF4-FFF2-40B4-BE49-F238E27FC236}">
                <a16:creationId xmlns:a16="http://schemas.microsoft.com/office/drawing/2014/main" id="{65942B2D-3AC5-A77A-2B67-473A7F884BB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323832" y="3523468"/>
            <a:ext cx="2258568" cy="307777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ED2CB8D3-2554-6B6C-E376-EBA35297A1A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518657" y="3843884"/>
            <a:ext cx="2256612" cy="246221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29" name="Text Placeholder 33">
            <a:extLst>
              <a:ext uri="{FF2B5EF4-FFF2-40B4-BE49-F238E27FC236}">
                <a16:creationId xmlns:a16="http://schemas.microsoft.com/office/drawing/2014/main" id="{7BD67107-7EFF-BB36-FE18-C91DD934832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25759" y="3843884"/>
            <a:ext cx="2256612" cy="246221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30" name="Text Placeholder 33">
            <a:extLst>
              <a:ext uri="{FF2B5EF4-FFF2-40B4-BE49-F238E27FC236}">
                <a16:creationId xmlns:a16="http://schemas.microsoft.com/office/drawing/2014/main" id="{F5BC2639-2D4C-EA86-460B-D75BD37E0AA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306982" y="3843884"/>
            <a:ext cx="2256612" cy="246221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</p:spTree>
    <p:extLst>
      <p:ext uri="{BB962C8B-B14F-4D97-AF65-F5344CB8AC3E}">
        <p14:creationId xmlns:p14="http://schemas.microsoft.com/office/powerpoint/2010/main" val="15707534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Team Slide - 8 Members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7">
            <a:extLst>
              <a:ext uri="{FF2B5EF4-FFF2-40B4-BE49-F238E27FC236}">
                <a16:creationId xmlns:a16="http://schemas.microsoft.com/office/drawing/2014/main" id="{874FFD84-E820-9CCF-0AD2-36B6B4FE3C82}"/>
              </a:ext>
            </a:extLst>
          </p:cNvPr>
          <p:cNvSpPr>
            <a:spLocks noGrp="1" noChangeAspect="1"/>
          </p:cNvSpPr>
          <p:nvPr>
            <p:ph type="pic" sz="quarter" idx="53" hasCustomPrompt="1"/>
          </p:nvPr>
        </p:nvSpPr>
        <p:spPr>
          <a:xfrm>
            <a:off x="9294705" y="1955700"/>
            <a:ext cx="1054200" cy="10542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Headshot</a:t>
            </a:r>
          </a:p>
        </p:txBody>
      </p:sp>
      <p:sp>
        <p:nvSpPr>
          <p:cNvPr id="34" name="Picture Placeholder 17">
            <a:extLst>
              <a:ext uri="{FF2B5EF4-FFF2-40B4-BE49-F238E27FC236}">
                <a16:creationId xmlns:a16="http://schemas.microsoft.com/office/drawing/2014/main" id="{813769C8-2552-7A85-2B62-C7568B6AC9AE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609600" y="1955700"/>
            <a:ext cx="1054200" cy="10542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42" name="Picture Placeholder 17">
            <a:extLst>
              <a:ext uri="{FF2B5EF4-FFF2-40B4-BE49-F238E27FC236}">
                <a16:creationId xmlns:a16="http://schemas.microsoft.com/office/drawing/2014/main" id="{6252DFA9-6D54-E4B7-97FB-9F469D69C192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490664" y="1955700"/>
            <a:ext cx="1054200" cy="10542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Headshot</a:t>
            </a:r>
          </a:p>
        </p:txBody>
      </p:sp>
      <p:sp>
        <p:nvSpPr>
          <p:cNvPr id="48" name="Picture Placeholder 17">
            <a:extLst>
              <a:ext uri="{FF2B5EF4-FFF2-40B4-BE49-F238E27FC236}">
                <a16:creationId xmlns:a16="http://schemas.microsoft.com/office/drawing/2014/main" id="{292B6EA7-82EF-8D0E-757D-2DBF0C8C53DF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6419088" y="1955700"/>
            <a:ext cx="1054200" cy="10542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Headshot</a:t>
            </a:r>
          </a:p>
        </p:txBody>
      </p:sp>
      <p:sp>
        <p:nvSpPr>
          <p:cNvPr id="19" name="Picture Placeholder 17">
            <a:extLst>
              <a:ext uri="{FF2B5EF4-FFF2-40B4-BE49-F238E27FC236}">
                <a16:creationId xmlns:a16="http://schemas.microsoft.com/office/drawing/2014/main" id="{4DE34035-F5AD-C611-062F-5093E74F76CC}"/>
              </a:ext>
            </a:extLst>
          </p:cNvPr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609600" y="4198082"/>
            <a:ext cx="1054200" cy="10542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21" name="Picture Placeholder 17">
            <a:extLst>
              <a:ext uri="{FF2B5EF4-FFF2-40B4-BE49-F238E27FC236}">
                <a16:creationId xmlns:a16="http://schemas.microsoft.com/office/drawing/2014/main" id="{9686D5F5-5FD5-BDDF-5740-B4C1FA0E5BF8}"/>
              </a:ext>
            </a:extLst>
          </p:cNvPr>
          <p:cNvSpPr>
            <a:spLocks noGrp="1" noChangeAspect="1"/>
          </p:cNvSpPr>
          <p:nvPr>
            <p:ph type="pic" sz="quarter" idx="31" hasCustomPrompt="1"/>
          </p:nvPr>
        </p:nvSpPr>
        <p:spPr>
          <a:xfrm>
            <a:off x="3490664" y="4198082"/>
            <a:ext cx="1054200" cy="10542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Headshot</a:t>
            </a:r>
          </a:p>
        </p:txBody>
      </p:sp>
      <p:sp>
        <p:nvSpPr>
          <p:cNvPr id="23" name="Picture Placeholder 17">
            <a:extLst>
              <a:ext uri="{FF2B5EF4-FFF2-40B4-BE49-F238E27FC236}">
                <a16:creationId xmlns:a16="http://schemas.microsoft.com/office/drawing/2014/main" id="{FB7DC8FB-AA4D-3AEF-1A74-024B0CDBA10D}"/>
              </a:ext>
            </a:extLst>
          </p:cNvPr>
          <p:cNvSpPr>
            <a:spLocks noGrp="1" noChangeAspect="1"/>
          </p:cNvSpPr>
          <p:nvPr>
            <p:ph type="pic" sz="quarter" idx="33" hasCustomPrompt="1"/>
          </p:nvPr>
        </p:nvSpPr>
        <p:spPr>
          <a:xfrm>
            <a:off x="6419088" y="4198082"/>
            <a:ext cx="1054200" cy="10542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Headshot</a:t>
            </a:r>
          </a:p>
        </p:txBody>
      </p:sp>
      <p:sp>
        <p:nvSpPr>
          <p:cNvPr id="25" name="Picture Placeholder 17">
            <a:extLst>
              <a:ext uri="{FF2B5EF4-FFF2-40B4-BE49-F238E27FC236}">
                <a16:creationId xmlns:a16="http://schemas.microsoft.com/office/drawing/2014/main" id="{9DD06D5E-68D8-CF3C-E2F0-C5A1D9EE6675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9290495" y="4198082"/>
            <a:ext cx="1054200" cy="10542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Headsho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E772DD-7002-F2A1-C348-A0C46F31C7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FED28113-7C82-17C7-BA44-13930C3558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" name="Date Placeholder 49">
            <a:extLst>
              <a:ext uri="{FF2B5EF4-FFF2-40B4-BE49-F238E27FC236}">
                <a16:creationId xmlns:a16="http://schemas.microsoft.com/office/drawing/2014/main" id="{A1790F86-0957-48DF-CC52-AE8AE9487111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CAE2D3EF-2E1E-47F5-91C7-50BCE6E0488C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D74D7FCE-5041-B026-EA43-51B21F3B8BE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EBF6BF5C-8307-B3C5-1249-18E632BF5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CAA7CBE-DA9D-01C9-A282-A6D10AF8D4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8" name="Text Placeholder 35">
            <a:extLst>
              <a:ext uri="{FF2B5EF4-FFF2-40B4-BE49-F238E27FC236}">
                <a16:creationId xmlns:a16="http://schemas.microsoft.com/office/drawing/2014/main" id="{82AC21C8-B99B-2BC0-E7AC-E462E85BB9D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07827" y="3227269"/>
            <a:ext cx="2258568" cy="2769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8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39" name="Text Placeholder 33">
            <a:extLst>
              <a:ext uri="{FF2B5EF4-FFF2-40B4-BE49-F238E27FC236}">
                <a16:creationId xmlns:a16="http://schemas.microsoft.com/office/drawing/2014/main" id="{A35B063B-18C7-DC71-E554-282EDE7382B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07827" y="3512452"/>
            <a:ext cx="2256612" cy="215444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50" name="Text Placeholder 35">
            <a:extLst>
              <a:ext uri="{FF2B5EF4-FFF2-40B4-BE49-F238E27FC236}">
                <a16:creationId xmlns:a16="http://schemas.microsoft.com/office/drawing/2014/main" id="{81B712C3-F5BF-4CC7-BBC7-D413680C44A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486390" y="3227269"/>
            <a:ext cx="2258568" cy="2769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8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51" name="Text Placeholder 33">
            <a:extLst>
              <a:ext uri="{FF2B5EF4-FFF2-40B4-BE49-F238E27FC236}">
                <a16:creationId xmlns:a16="http://schemas.microsoft.com/office/drawing/2014/main" id="{E299C6CE-8AF4-C719-828D-649CA9C9485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486390" y="3512452"/>
            <a:ext cx="2256612" cy="215444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52" name="Text Placeholder 35">
            <a:extLst>
              <a:ext uri="{FF2B5EF4-FFF2-40B4-BE49-F238E27FC236}">
                <a16:creationId xmlns:a16="http://schemas.microsoft.com/office/drawing/2014/main" id="{EB801F43-F2B7-CBE9-357A-F36C0E97546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425922" y="3227269"/>
            <a:ext cx="2258568" cy="2769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8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53" name="Text Placeholder 33">
            <a:extLst>
              <a:ext uri="{FF2B5EF4-FFF2-40B4-BE49-F238E27FC236}">
                <a16:creationId xmlns:a16="http://schemas.microsoft.com/office/drawing/2014/main" id="{E87D44B1-BC3F-1E5B-3A26-AF3B7FC2BF2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425922" y="3512452"/>
            <a:ext cx="2256612" cy="215444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54" name="Text Placeholder 35">
            <a:extLst>
              <a:ext uri="{FF2B5EF4-FFF2-40B4-BE49-F238E27FC236}">
                <a16:creationId xmlns:a16="http://schemas.microsoft.com/office/drawing/2014/main" id="{5918D064-2F30-9CBA-2821-26AB4FE6EE6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30486" y="3227269"/>
            <a:ext cx="2258568" cy="2769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8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55" name="Text Placeholder 33">
            <a:extLst>
              <a:ext uri="{FF2B5EF4-FFF2-40B4-BE49-F238E27FC236}">
                <a16:creationId xmlns:a16="http://schemas.microsoft.com/office/drawing/2014/main" id="{D8D0603C-7B55-B6BD-29F5-5DEA129998D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330486" y="3512452"/>
            <a:ext cx="2256612" cy="215444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66" name="Text Placeholder 35">
            <a:extLst>
              <a:ext uri="{FF2B5EF4-FFF2-40B4-BE49-F238E27FC236}">
                <a16:creationId xmlns:a16="http://schemas.microsoft.com/office/drawing/2014/main" id="{A062BA50-079C-6100-E301-EDBEDFAD319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07827" y="5468446"/>
            <a:ext cx="2258568" cy="2769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8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67" name="Text Placeholder 33">
            <a:extLst>
              <a:ext uri="{FF2B5EF4-FFF2-40B4-BE49-F238E27FC236}">
                <a16:creationId xmlns:a16="http://schemas.microsoft.com/office/drawing/2014/main" id="{0E067610-4620-E1DE-2CD8-345CC45982B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07827" y="5753629"/>
            <a:ext cx="2256612" cy="215444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68" name="Text Placeholder 35">
            <a:extLst>
              <a:ext uri="{FF2B5EF4-FFF2-40B4-BE49-F238E27FC236}">
                <a16:creationId xmlns:a16="http://schemas.microsoft.com/office/drawing/2014/main" id="{BE730581-6369-EB17-F80E-F02AC2596B3B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486390" y="5468446"/>
            <a:ext cx="2258568" cy="2769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8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69" name="Text Placeholder 33">
            <a:extLst>
              <a:ext uri="{FF2B5EF4-FFF2-40B4-BE49-F238E27FC236}">
                <a16:creationId xmlns:a16="http://schemas.microsoft.com/office/drawing/2014/main" id="{C449B276-9CBD-FA88-B630-F665FA9395DD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486390" y="5753629"/>
            <a:ext cx="2256612" cy="215444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70" name="Text Placeholder 35">
            <a:extLst>
              <a:ext uri="{FF2B5EF4-FFF2-40B4-BE49-F238E27FC236}">
                <a16:creationId xmlns:a16="http://schemas.microsoft.com/office/drawing/2014/main" id="{82641E12-3574-556D-9292-D2D8F17E0EB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425922" y="5468446"/>
            <a:ext cx="2258568" cy="2769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8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71" name="Text Placeholder 33">
            <a:extLst>
              <a:ext uri="{FF2B5EF4-FFF2-40B4-BE49-F238E27FC236}">
                <a16:creationId xmlns:a16="http://schemas.microsoft.com/office/drawing/2014/main" id="{62159AB4-5518-F95D-C883-5F18C31386F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425922" y="5753629"/>
            <a:ext cx="2256612" cy="215444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72" name="Text Placeholder 35">
            <a:extLst>
              <a:ext uri="{FF2B5EF4-FFF2-40B4-BE49-F238E27FC236}">
                <a16:creationId xmlns:a16="http://schemas.microsoft.com/office/drawing/2014/main" id="{EA3EE371-9B6A-94CB-E243-1B449F7F08B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330486" y="5468446"/>
            <a:ext cx="2258568" cy="2769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8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73" name="Text Placeholder 33">
            <a:extLst>
              <a:ext uri="{FF2B5EF4-FFF2-40B4-BE49-F238E27FC236}">
                <a16:creationId xmlns:a16="http://schemas.microsoft.com/office/drawing/2014/main" id="{29259BFE-97CF-E9D2-6119-F50C9DD2DDC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330486" y="5753629"/>
            <a:ext cx="2256612" cy="215444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E043715-2447-EF79-C393-9F009DECA16C}"/>
              </a:ext>
            </a:extLst>
          </p:cNvPr>
          <p:cNvSpPr/>
          <p:nvPr/>
        </p:nvSpPr>
        <p:spPr>
          <a:xfrm>
            <a:off x="9437233" y="2881377"/>
            <a:ext cx="762963" cy="148976"/>
          </a:xfrm>
          <a:custGeom>
            <a:avLst/>
            <a:gdLst>
              <a:gd name="connsiteX0" fmla="*/ 762963 w 762963"/>
              <a:gd name="connsiteY0" fmla="*/ 0 h 148976"/>
              <a:gd name="connsiteX1" fmla="*/ 0 w 762963"/>
              <a:gd name="connsiteY1" fmla="*/ 0 h 1489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62963" h="148976">
                <a:moveTo>
                  <a:pt x="762963" y="0"/>
                </a:moveTo>
                <a:cubicBezTo>
                  <a:pt x="552232" y="198635"/>
                  <a:pt x="210732" y="198635"/>
                  <a:pt x="0" y="0"/>
                </a:cubicBezTo>
              </a:path>
            </a:pathLst>
          </a:custGeom>
          <a:noFill/>
          <a:ln w="50919" cap="flat">
            <a:solidFill>
              <a:srgbClr val="95C93D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E03C3675-718C-D8B2-50E1-DBE61222ED73}"/>
              </a:ext>
            </a:extLst>
          </p:cNvPr>
          <p:cNvSpPr/>
          <p:nvPr/>
        </p:nvSpPr>
        <p:spPr>
          <a:xfrm>
            <a:off x="6560789" y="2881377"/>
            <a:ext cx="762963" cy="148976"/>
          </a:xfrm>
          <a:custGeom>
            <a:avLst/>
            <a:gdLst>
              <a:gd name="connsiteX0" fmla="*/ 762963 w 762963"/>
              <a:gd name="connsiteY0" fmla="*/ 0 h 148976"/>
              <a:gd name="connsiteX1" fmla="*/ 0 w 762963"/>
              <a:gd name="connsiteY1" fmla="*/ 0 h 1489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62963" h="148976">
                <a:moveTo>
                  <a:pt x="762963" y="0"/>
                </a:moveTo>
                <a:cubicBezTo>
                  <a:pt x="552232" y="198635"/>
                  <a:pt x="210732" y="198635"/>
                  <a:pt x="0" y="0"/>
                </a:cubicBezTo>
              </a:path>
            </a:pathLst>
          </a:custGeom>
          <a:noFill/>
          <a:ln w="50919" cap="flat">
            <a:solidFill>
              <a:srgbClr val="95C93D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5F86E5F3-4C18-57C2-4208-6591AC702E57}"/>
              </a:ext>
            </a:extLst>
          </p:cNvPr>
          <p:cNvSpPr/>
          <p:nvPr/>
        </p:nvSpPr>
        <p:spPr>
          <a:xfrm>
            <a:off x="3637691" y="2881377"/>
            <a:ext cx="762963" cy="148976"/>
          </a:xfrm>
          <a:custGeom>
            <a:avLst/>
            <a:gdLst>
              <a:gd name="connsiteX0" fmla="*/ 762963 w 762963"/>
              <a:gd name="connsiteY0" fmla="*/ 0 h 148976"/>
              <a:gd name="connsiteX1" fmla="*/ 0 w 762963"/>
              <a:gd name="connsiteY1" fmla="*/ 0 h 1489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62963" h="148976">
                <a:moveTo>
                  <a:pt x="762963" y="0"/>
                </a:moveTo>
                <a:cubicBezTo>
                  <a:pt x="552232" y="198635"/>
                  <a:pt x="210732" y="198635"/>
                  <a:pt x="0" y="0"/>
                </a:cubicBezTo>
              </a:path>
            </a:pathLst>
          </a:custGeom>
          <a:noFill/>
          <a:ln w="50919" cap="flat">
            <a:solidFill>
              <a:srgbClr val="95C93D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658A8CF6-5C8C-BBE2-BE13-A21344246002}"/>
              </a:ext>
            </a:extLst>
          </p:cNvPr>
          <p:cNvSpPr/>
          <p:nvPr/>
        </p:nvSpPr>
        <p:spPr>
          <a:xfrm>
            <a:off x="9430409" y="5125956"/>
            <a:ext cx="762963" cy="148976"/>
          </a:xfrm>
          <a:custGeom>
            <a:avLst/>
            <a:gdLst>
              <a:gd name="connsiteX0" fmla="*/ 762963 w 762963"/>
              <a:gd name="connsiteY0" fmla="*/ 0 h 148976"/>
              <a:gd name="connsiteX1" fmla="*/ 0 w 762963"/>
              <a:gd name="connsiteY1" fmla="*/ 0 h 1489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62963" h="148976">
                <a:moveTo>
                  <a:pt x="762963" y="0"/>
                </a:moveTo>
                <a:cubicBezTo>
                  <a:pt x="552232" y="198635"/>
                  <a:pt x="210732" y="198635"/>
                  <a:pt x="0" y="0"/>
                </a:cubicBezTo>
              </a:path>
            </a:pathLst>
          </a:custGeom>
          <a:noFill/>
          <a:ln w="50919" cap="flat">
            <a:solidFill>
              <a:srgbClr val="95C93D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F2AB3ABB-1E4D-815A-F007-F88F12233393}"/>
              </a:ext>
            </a:extLst>
          </p:cNvPr>
          <p:cNvSpPr/>
          <p:nvPr/>
        </p:nvSpPr>
        <p:spPr>
          <a:xfrm>
            <a:off x="6567613" y="5125956"/>
            <a:ext cx="762963" cy="148976"/>
          </a:xfrm>
          <a:custGeom>
            <a:avLst/>
            <a:gdLst>
              <a:gd name="connsiteX0" fmla="*/ 762963 w 762963"/>
              <a:gd name="connsiteY0" fmla="*/ 0 h 148976"/>
              <a:gd name="connsiteX1" fmla="*/ 0 w 762963"/>
              <a:gd name="connsiteY1" fmla="*/ 0 h 1489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62963" h="148976">
                <a:moveTo>
                  <a:pt x="762963" y="0"/>
                </a:moveTo>
                <a:cubicBezTo>
                  <a:pt x="552232" y="198635"/>
                  <a:pt x="210732" y="198635"/>
                  <a:pt x="0" y="0"/>
                </a:cubicBezTo>
              </a:path>
            </a:pathLst>
          </a:custGeom>
          <a:noFill/>
          <a:ln w="50919" cap="flat">
            <a:solidFill>
              <a:srgbClr val="95C93D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0963D55A-4DD8-A62D-041E-765E758FE4A8}"/>
              </a:ext>
            </a:extLst>
          </p:cNvPr>
          <p:cNvSpPr/>
          <p:nvPr/>
        </p:nvSpPr>
        <p:spPr>
          <a:xfrm>
            <a:off x="3637691" y="5125956"/>
            <a:ext cx="762963" cy="148976"/>
          </a:xfrm>
          <a:custGeom>
            <a:avLst/>
            <a:gdLst>
              <a:gd name="connsiteX0" fmla="*/ 762963 w 762963"/>
              <a:gd name="connsiteY0" fmla="*/ 0 h 148976"/>
              <a:gd name="connsiteX1" fmla="*/ 0 w 762963"/>
              <a:gd name="connsiteY1" fmla="*/ 0 h 1489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62963" h="148976">
                <a:moveTo>
                  <a:pt x="762963" y="0"/>
                </a:moveTo>
                <a:cubicBezTo>
                  <a:pt x="552232" y="198635"/>
                  <a:pt x="210732" y="198635"/>
                  <a:pt x="0" y="0"/>
                </a:cubicBezTo>
              </a:path>
            </a:pathLst>
          </a:custGeom>
          <a:noFill/>
          <a:ln w="50919" cap="flat">
            <a:solidFill>
              <a:srgbClr val="95C93D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740BBF01-176C-0435-A04E-569431E75FDF}"/>
              </a:ext>
            </a:extLst>
          </p:cNvPr>
          <p:cNvSpPr/>
          <p:nvPr/>
        </p:nvSpPr>
        <p:spPr>
          <a:xfrm>
            <a:off x="747599" y="5125956"/>
            <a:ext cx="762963" cy="148976"/>
          </a:xfrm>
          <a:custGeom>
            <a:avLst/>
            <a:gdLst>
              <a:gd name="connsiteX0" fmla="*/ 762963 w 762963"/>
              <a:gd name="connsiteY0" fmla="*/ 0 h 148976"/>
              <a:gd name="connsiteX1" fmla="*/ 0 w 762963"/>
              <a:gd name="connsiteY1" fmla="*/ 0 h 1489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62963" h="148976">
                <a:moveTo>
                  <a:pt x="762963" y="0"/>
                </a:moveTo>
                <a:cubicBezTo>
                  <a:pt x="552232" y="198635"/>
                  <a:pt x="210732" y="198635"/>
                  <a:pt x="0" y="0"/>
                </a:cubicBezTo>
              </a:path>
            </a:pathLst>
          </a:custGeom>
          <a:noFill/>
          <a:ln w="50919" cap="flat">
            <a:solidFill>
              <a:srgbClr val="95C93D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FD5D955-4FDB-1C52-5897-246710B59A98}"/>
              </a:ext>
            </a:extLst>
          </p:cNvPr>
          <p:cNvSpPr/>
          <p:nvPr userDrawn="1"/>
        </p:nvSpPr>
        <p:spPr>
          <a:xfrm>
            <a:off x="753386" y="2881377"/>
            <a:ext cx="762963" cy="148976"/>
          </a:xfrm>
          <a:custGeom>
            <a:avLst/>
            <a:gdLst>
              <a:gd name="connsiteX0" fmla="*/ 762963 w 762963"/>
              <a:gd name="connsiteY0" fmla="*/ 0 h 148976"/>
              <a:gd name="connsiteX1" fmla="*/ 0 w 762963"/>
              <a:gd name="connsiteY1" fmla="*/ 0 h 1489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62963" h="148976">
                <a:moveTo>
                  <a:pt x="762963" y="0"/>
                </a:moveTo>
                <a:cubicBezTo>
                  <a:pt x="552232" y="198635"/>
                  <a:pt x="210732" y="198635"/>
                  <a:pt x="0" y="0"/>
                </a:cubicBezTo>
              </a:path>
            </a:pathLst>
          </a:custGeom>
          <a:noFill/>
          <a:ln w="50919" cap="flat">
            <a:solidFill>
              <a:srgbClr val="95C93D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498369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- 6 Members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772DD-7002-F2A1-C348-A0C46F31C7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FED28113-7C82-17C7-BA44-13930C3558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10972800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4" name="Picture Placeholder 17">
            <a:extLst>
              <a:ext uri="{FF2B5EF4-FFF2-40B4-BE49-F238E27FC236}">
                <a16:creationId xmlns:a16="http://schemas.microsoft.com/office/drawing/2014/main" id="{91443FC3-6EBF-129A-7CB0-2E46444145C2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608243" y="1863727"/>
            <a:ext cx="768096" cy="768096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75" name="Text Placeholder 35">
            <a:extLst>
              <a:ext uri="{FF2B5EF4-FFF2-40B4-BE49-F238E27FC236}">
                <a16:creationId xmlns:a16="http://schemas.microsoft.com/office/drawing/2014/main" id="{E222FD77-B00D-14C1-128B-AF209F40E5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66368" y="1999692"/>
            <a:ext cx="2258568" cy="2769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8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4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76" name="Text Placeholder 37">
            <a:extLst>
              <a:ext uri="{FF2B5EF4-FFF2-40B4-BE49-F238E27FC236}">
                <a16:creationId xmlns:a16="http://schemas.microsoft.com/office/drawing/2014/main" id="{EEB76F13-B749-A78B-DC39-0D7AB948208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5321" y="3018191"/>
            <a:ext cx="3337560" cy="649224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" name="Picture Placeholder 17">
            <a:extLst>
              <a:ext uri="{FF2B5EF4-FFF2-40B4-BE49-F238E27FC236}">
                <a16:creationId xmlns:a16="http://schemas.microsoft.com/office/drawing/2014/main" id="{B54E4C95-7221-9492-7471-0DCD6BCAB85A}"/>
              </a:ext>
            </a:extLst>
          </p:cNvPr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429360" y="1863727"/>
            <a:ext cx="768096" cy="768096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82" name="Text Placeholder 37">
            <a:extLst>
              <a:ext uri="{FF2B5EF4-FFF2-40B4-BE49-F238E27FC236}">
                <a16:creationId xmlns:a16="http://schemas.microsoft.com/office/drawing/2014/main" id="{107F5CCE-2B3E-F9A1-56F1-2C122EFF3B4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429360" y="3018191"/>
            <a:ext cx="3337560" cy="649224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6" name="Picture Placeholder 17">
            <a:extLst>
              <a:ext uri="{FF2B5EF4-FFF2-40B4-BE49-F238E27FC236}">
                <a16:creationId xmlns:a16="http://schemas.microsoft.com/office/drawing/2014/main" id="{0A54798C-9DDB-236B-75D5-1741208259E8}"/>
              </a:ext>
            </a:extLst>
          </p:cNvPr>
          <p:cNvSpPr>
            <a:spLocks noGrp="1" noChangeAspect="1"/>
          </p:cNvSpPr>
          <p:nvPr>
            <p:ph type="pic" sz="quarter" idx="32" hasCustomPrompt="1"/>
          </p:nvPr>
        </p:nvSpPr>
        <p:spPr>
          <a:xfrm>
            <a:off x="8249119" y="1863727"/>
            <a:ext cx="768096" cy="768096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88" name="Text Placeholder 37">
            <a:extLst>
              <a:ext uri="{FF2B5EF4-FFF2-40B4-BE49-F238E27FC236}">
                <a16:creationId xmlns:a16="http://schemas.microsoft.com/office/drawing/2014/main" id="{1FE98170-90C5-865C-F4D2-6AA60FA00F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249119" y="3018191"/>
            <a:ext cx="3337560" cy="649224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0" name="Picture Placeholder 17">
            <a:extLst>
              <a:ext uri="{FF2B5EF4-FFF2-40B4-BE49-F238E27FC236}">
                <a16:creationId xmlns:a16="http://schemas.microsoft.com/office/drawing/2014/main" id="{8FFBB970-B4BB-3F4B-4628-902C42B0224B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608243" y="4112412"/>
            <a:ext cx="768096" cy="768096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132" name="Text Placeholder 37">
            <a:extLst>
              <a:ext uri="{FF2B5EF4-FFF2-40B4-BE49-F238E27FC236}">
                <a16:creationId xmlns:a16="http://schemas.microsoft.com/office/drawing/2014/main" id="{DC0DB422-2E2E-C593-A777-B77F87AC670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05321" y="5266876"/>
            <a:ext cx="3337560" cy="649224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6" name="Picture Placeholder 17">
            <a:extLst>
              <a:ext uri="{FF2B5EF4-FFF2-40B4-BE49-F238E27FC236}">
                <a16:creationId xmlns:a16="http://schemas.microsoft.com/office/drawing/2014/main" id="{35080CE4-9FA2-2A30-26BC-A6026EB3B207}"/>
              </a:ext>
            </a:extLst>
          </p:cNvPr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4429360" y="4112412"/>
            <a:ext cx="768096" cy="768096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138" name="Text Placeholder 37">
            <a:extLst>
              <a:ext uri="{FF2B5EF4-FFF2-40B4-BE49-F238E27FC236}">
                <a16:creationId xmlns:a16="http://schemas.microsoft.com/office/drawing/2014/main" id="{9484FE72-56CA-7CD1-BD23-C4B8863BE91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429360" y="5266876"/>
            <a:ext cx="3337560" cy="649224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2" name="Picture Placeholder 17">
            <a:extLst>
              <a:ext uri="{FF2B5EF4-FFF2-40B4-BE49-F238E27FC236}">
                <a16:creationId xmlns:a16="http://schemas.microsoft.com/office/drawing/2014/main" id="{BEE2F446-F2BA-DFA2-5703-091C5680895A}"/>
              </a:ext>
            </a:extLst>
          </p:cNvPr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8249119" y="4112412"/>
            <a:ext cx="768096" cy="768096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144" name="Text Placeholder 37">
            <a:extLst>
              <a:ext uri="{FF2B5EF4-FFF2-40B4-BE49-F238E27FC236}">
                <a16:creationId xmlns:a16="http://schemas.microsoft.com/office/drawing/2014/main" id="{59AF7998-B0E5-06F3-A8BA-A17DB3F8A7F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8249119" y="5266876"/>
            <a:ext cx="3337560" cy="649224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49">
            <a:extLst>
              <a:ext uri="{FF2B5EF4-FFF2-40B4-BE49-F238E27FC236}">
                <a16:creationId xmlns:a16="http://schemas.microsoft.com/office/drawing/2014/main" id="{AD882E8D-86CF-78F5-CFB2-2C2A909487A0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236555" y="136647"/>
            <a:ext cx="1345845" cy="15388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5F677CC-96DB-441D-A14D-E6AC55F48714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CFD098C1-330C-AFAE-FA3D-112B70BA725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sp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4FCD77E7-40BA-46DE-2B5C-42D596278B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C933E16-9A69-6F57-B99A-CDFA86546F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12857EE3-1A8E-26A6-2E7D-216BF994943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508352" y="1999692"/>
            <a:ext cx="2258568" cy="2769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8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4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AE9ABF98-E432-CF37-C130-5B701B67AA9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328111" y="1999692"/>
            <a:ext cx="2258568" cy="2769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8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4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EBE4D164-8760-6682-DBED-856A9C8586A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666368" y="4248376"/>
            <a:ext cx="2258568" cy="2769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8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4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17" name="Text Placeholder 35">
            <a:extLst>
              <a:ext uri="{FF2B5EF4-FFF2-40B4-BE49-F238E27FC236}">
                <a16:creationId xmlns:a16="http://schemas.microsoft.com/office/drawing/2014/main" id="{A22D8366-7D6F-6124-A789-D967335764C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508352" y="4248376"/>
            <a:ext cx="2258568" cy="2769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8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4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19" name="Text Placeholder 35">
            <a:extLst>
              <a:ext uri="{FF2B5EF4-FFF2-40B4-BE49-F238E27FC236}">
                <a16:creationId xmlns:a16="http://schemas.microsoft.com/office/drawing/2014/main" id="{9A7B8620-5D0F-B93D-347D-F9FA577E85D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323832" y="4248376"/>
            <a:ext cx="2258568" cy="2769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8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4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0C70E4-0DB3-B925-043D-FF0992B5295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508625" y="2276475"/>
            <a:ext cx="2259013" cy="219456"/>
          </a:xfrm>
        </p:spPr>
        <p:txBody>
          <a:bodyPr anchor="t"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FCE4D44-D986-984D-7105-AE704E89122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666368" y="2276475"/>
            <a:ext cx="2259013" cy="219456"/>
          </a:xfrm>
        </p:spPr>
        <p:txBody>
          <a:bodyPr anchor="t"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7D7F42DC-8362-83F9-2DF8-863C89D9102B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327666" y="2276475"/>
            <a:ext cx="2259013" cy="219456"/>
          </a:xfrm>
        </p:spPr>
        <p:txBody>
          <a:bodyPr anchor="t"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40132AE-91BF-5CCD-3601-9C0D1DEA30B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5508625" y="4526850"/>
            <a:ext cx="2259013" cy="219456"/>
          </a:xfrm>
        </p:spPr>
        <p:txBody>
          <a:bodyPr anchor="t"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DD10FF7-3E05-9472-485D-A039372EE4DD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9323832" y="4526850"/>
            <a:ext cx="2259013" cy="219456"/>
          </a:xfrm>
        </p:spPr>
        <p:txBody>
          <a:bodyPr anchor="t"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FB022C9F-C583-A483-CD36-A8DB7561F9A2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666368" y="4526850"/>
            <a:ext cx="2259013" cy="219456"/>
          </a:xfrm>
        </p:spPr>
        <p:txBody>
          <a:bodyPr anchor="t"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Title/Position</a:t>
            </a:r>
          </a:p>
        </p:txBody>
      </p:sp>
    </p:spTree>
    <p:extLst>
      <p:ext uri="{BB962C8B-B14F-4D97-AF65-F5344CB8AC3E}">
        <p14:creationId xmlns:p14="http://schemas.microsoft.com/office/powerpoint/2010/main" val="214840970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- 8 Members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Picture Placeholder 17">
            <a:extLst>
              <a:ext uri="{FF2B5EF4-FFF2-40B4-BE49-F238E27FC236}">
                <a16:creationId xmlns:a16="http://schemas.microsoft.com/office/drawing/2014/main" id="{A6808325-F953-D3D6-B006-441B38CF8EEE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608243" y="1863727"/>
            <a:ext cx="768096" cy="768096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E772DD-7002-F2A1-C348-A0C46F31C7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FED28113-7C82-17C7-BA44-13930C3558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1" name="Text Placeholder 37">
            <a:extLst>
              <a:ext uri="{FF2B5EF4-FFF2-40B4-BE49-F238E27FC236}">
                <a16:creationId xmlns:a16="http://schemas.microsoft.com/office/drawing/2014/main" id="{884BC13A-5EAB-B07C-AD46-80083B8D2EF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1" y="3016191"/>
            <a:ext cx="2468880" cy="740664"/>
          </a:xfrm>
        </p:spPr>
        <p:txBody>
          <a:bodyPr>
            <a:noAutofit/>
          </a:bodyPr>
          <a:lstStyle>
            <a:lvl1pPr>
              <a:defRPr sz="12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Picture Placeholder 17">
            <a:extLst>
              <a:ext uri="{FF2B5EF4-FFF2-40B4-BE49-F238E27FC236}">
                <a16:creationId xmlns:a16="http://schemas.microsoft.com/office/drawing/2014/main" id="{F3898552-3A28-9276-B1B2-300B2D000858}"/>
              </a:ext>
            </a:extLst>
          </p:cNvPr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3441283" y="1870872"/>
            <a:ext cx="768096" cy="768096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67" name="Text Placeholder 37">
            <a:extLst>
              <a:ext uri="{FF2B5EF4-FFF2-40B4-BE49-F238E27FC236}">
                <a16:creationId xmlns:a16="http://schemas.microsoft.com/office/drawing/2014/main" id="{C27B05CE-BFA3-0CCE-302D-4232E19962A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445221" y="3016191"/>
            <a:ext cx="2468880" cy="740664"/>
          </a:xfrm>
        </p:spPr>
        <p:txBody>
          <a:bodyPr>
            <a:noAutofit/>
          </a:bodyPr>
          <a:lstStyle>
            <a:lvl1pPr>
              <a:defRPr sz="12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Picture Placeholder 17">
            <a:extLst>
              <a:ext uri="{FF2B5EF4-FFF2-40B4-BE49-F238E27FC236}">
                <a16:creationId xmlns:a16="http://schemas.microsoft.com/office/drawing/2014/main" id="{E4672307-788D-1DDD-3D4E-4D23409D7217}"/>
              </a:ext>
            </a:extLst>
          </p:cNvPr>
          <p:cNvSpPr>
            <a:spLocks noGrp="1" noChangeAspect="1"/>
          </p:cNvSpPr>
          <p:nvPr>
            <p:ph type="pic" sz="quarter" idx="32" hasCustomPrompt="1"/>
          </p:nvPr>
        </p:nvSpPr>
        <p:spPr>
          <a:xfrm>
            <a:off x="6274323" y="1863727"/>
            <a:ext cx="768096" cy="768096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73" name="Text Placeholder 37">
            <a:extLst>
              <a:ext uri="{FF2B5EF4-FFF2-40B4-BE49-F238E27FC236}">
                <a16:creationId xmlns:a16="http://schemas.microsoft.com/office/drawing/2014/main" id="{0E6DF668-EA51-C05E-4712-15DD3AEAA49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278127" y="3016191"/>
            <a:ext cx="2468880" cy="740664"/>
          </a:xfrm>
        </p:spPr>
        <p:txBody>
          <a:bodyPr>
            <a:noAutofit/>
          </a:bodyPr>
          <a:lstStyle>
            <a:lvl1pPr>
              <a:defRPr sz="12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2" name="Picture Placeholder 17">
            <a:extLst>
              <a:ext uri="{FF2B5EF4-FFF2-40B4-BE49-F238E27FC236}">
                <a16:creationId xmlns:a16="http://schemas.microsoft.com/office/drawing/2014/main" id="{84226C9B-295D-1EFE-2728-F8D6EFAD0A44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9111031" y="1870872"/>
            <a:ext cx="768096" cy="768096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94" name="Text Placeholder 37">
            <a:extLst>
              <a:ext uri="{FF2B5EF4-FFF2-40B4-BE49-F238E27FC236}">
                <a16:creationId xmlns:a16="http://schemas.microsoft.com/office/drawing/2014/main" id="{486E55A6-26AA-A3DF-84FE-8D113C5AB90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112389" y="3016191"/>
            <a:ext cx="2468880" cy="740664"/>
          </a:xfrm>
        </p:spPr>
        <p:txBody>
          <a:bodyPr>
            <a:noAutofit/>
          </a:bodyPr>
          <a:lstStyle>
            <a:lvl1pPr>
              <a:defRPr sz="12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1" name="Picture Placeholder 17">
            <a:extLst>
              <a:ext uri="{FF2B5EF4-FFF2-40B4-BE49-F238E27FC236}">
                <a16:creationId xmlns:a16="http://schemas.microsoft.com/office/drawing/2014/main" id="{0CA6C3D4-A3F4-EDAB-6F67-3BFABE4DD119}"/>
              </a:ext>
            </a:extLst>
          </p:cNvPr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608243" y="4017930"/>
            <a:ext cx="768096" cy="768096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103" name="Text Placeholder 37">
            <a:extLst>
              <a:ext uri="{FF2B5EF4-FFF2-40B4-BE49-F238E27FC236}">
                <a16:creationId xmlns:a16="http://schemas.microsoft.com/office/drawing/2014/main" id="{E9A9A3AE-754D-6F58-CDA0-3FA9EDD0160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09601" y="5164836"/>
            <a:ext cx="2468880" cy="740664"/>
          </a:xfrm>
        </p:spPr>
        <p:txBody>
          <a:bodyPr>
            <a:noAutofit/>
          </a:bodyPr>
          <a:lstStyle>
            <a:lvl1pPr>
              <a:defRPr sz="12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7" name="Picture Placeholder 17">
            <a:extLst>
              <a:ext uri="{FF2B5EF4-FFF2-40B4-BE49-F238E27FC236}">
                <a16:creationId xmlns:a16="http://schemas.microsoft.com/office/drawing/2014/main" id="{F4C4141A-B4E7-EA6D-428C-470130F5E769}"/>
              </a:ext>
            </a:extLst>
          </p:cNvPr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3441283" y="4017930"/>
            <a:ext cx="768096" cy="768096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109" name="Text Placeholder 37">
            <a:extLst>
              <a:ext uri="{FF2B5EF4-FFF2-40B4-BE49-F238E27FC236}">
                <a16:creationId xmlns:a16="http://schemas.microsoft.com/office/drawing/2014/main" id="{B9901CFF-8604-823F-B592-51A701B39CD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445221" y="5164836"/>
            <a:ext cx="2468880" cy="740664"/>
          </a:xfrm>
        </p:spPr>
        <p:txBody>
          <a:bodyPr>
            <a:noAutofit/>
          </a:bodyPr>
          <a:lstStyle>
            <a:lvl1pPr>
              <a:defRPr sz="12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3" name="Picture Placeholder 17">
            <a:extLst>
              <a:ext uri="{FF2B5EF4-FFF2-40B4-BE49-F238E27FC236}">
                <a16:creationId xmlns:a16="http://schemas.microsoft.com/office/drawing/2014/main" id="{86A0951C-5B41-D0C0-3F70-0EE1792F1784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6274323" y="4017930"/>
            <a:ext cx="768096" cy="768096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115" name="Text Placeholder 37">
            <a:extLst>
              <a:ext uri="{FF2B5EF4-FFF2-40B4-BE49-F238E27FC236}">
                <a16:creationId xmlns:a16="http://schemas.microsoft.com/office/drawing/2014/main" id="{4458F044-7215-58F3-4E7C-9A5F6EBB075C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6278127" y="5164836"/>
            <a:ext cx="2468880" cy="740664"/>
          </a:xfrm>
        </p:spPr>
        <p:txBody>
          <a:bodyPr>
            <a:noAutofit/>
          </a:bodyPr>
          <a:lstStyle>
            <a:lvl1pPr>
              <a:defRPr sz="12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9" name="Picture Placeholder 17">
            <a:extLst>
              <a:ext uri="{FF2B5EF4-FFF2-40B4-BE49-F238E27FC236}">
                <a16:creationId xmlns:a16="http://schemas.microsoft.com/office/drawing/2014/main" id="{2A6D5DF4-AE65-FD7E-FAF2-2D8B416A5C77}"/>
              </a:ext>
            </a:extLst>
          </p:cNvPr>
          <p:cNvSpPr>
            <a:spLocks noGrp="1" noChangeAspect="1"/>
          </p:cNvSpPr>
          <p:nvPr>
            <p:ph type="pic" sz="quarter" idx="47" hasCustomPrompt="1"/>
          </p:nvPr>
        </p:nvSpPr>
        <p:spPr>
          <a:xfrm>
            <a:off x="9111031" y="4017931"/>
            <a:ext cx="768096" cy="768096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121" name="Text Placeholder 37">
            <a:extLst>
              <a:ext uri="{FF2B5EF4-FFF2-40B4-BE49-F238E27FC236}">
                <a16:creationId xmlns:a16="http://schemas.microsoft.com/office/drawing/2014/main" id="{4F66CE7F-817C-CB08-DE9C-0CF140EC583B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112389" y="5164836"/>
            <a:ext cx="2468880" cy="740664"/>
          </a:xfrm>
        </p:spPr>
        <p:txBody>
          <a:bodyPr>
            <a:noAutofit/>
          </a:bodyPr>
          <a:lstStyle>
            <a:lvl1pPr>
              <a:defRPr sz="12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49">
            <a:extLst>
              <a:ext uri="{FF2B5EF4-FFF2-40B4-BE49-F238E27FC236}">
                <a16:creationId xmlns:a16="http://schemas.microsoft.com/office/drawing/2014/main" id="{E036F814-8460-0516-6471-21CEF37F23AA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844AF8A9-1A98-4506-8DE7-08BE63BF7320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3571DCB-691D-2E98-03B7-27439597A70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7DB57542-777D-DE54-4113-940D7E3AF3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D13B8B4A-1921-8AA2-C8C5-D940D7E01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35">
            <a:extLst>
              <a:ext uri="{FF2B5EF4-FFF2-40B4-BE49-F238E27FC236}">
                <a16:creationId xmlns:a16="http://schemas.microsoft.com/office/drawing/2014/main" id="{7ECA782E-6E58-3164-E695-4F0D3D9662D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589141" y="1958079"/>
            <a:ext cx="1489339" cy="444674"/>
          </a:xfrm>
        </p:spPr>
        <p:txBody>
          <a:bodyPr wrap="square" anchor="b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16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400"/>
            </a:lvl2pPr>
          </a:lstStyle>
          <a:p>
            <a:pPr lvl="0"/>
            <a:r>
              <a:rPr lang="en-US"/>
              <a:t>Name, </a:t>
            </a:r>
            <a:br>
              <a:rPr lang="en-US"/>
            </a:br>
            <a:r>
              <a:rPr lang="en-US"/>
              <a:t>Last Name</a:t>
            </a:r>
          </a:p>
        </p:txBody>
      </p:sp>
      <p:sp>
        <p:nvSpPr>
          <p:cNvPr id="19" name="Text Placeholder 35">
            <a:extLst>
              <a:ext uri="{FF2B5EF4-FFF2-40B4-BE49-F238E27FC236}">
                <a16:creationId xmlns:a16="http://schemas.microsoft.com/office/drawing/2014/main" id="{46CD7EEA-1286-4021-E3BA-D5488DD97C4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424363" y="1958079"/>
            <a:ext cx="1489339" cy="444674"/>
          </a:xfrm>
        </p:spPr>
        <p:txBody>
          <a:bodyPr wrap="square" anchor="b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16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400"/>
            </a:lvl2pPr>
          </a:lstStyle>
          <a:p>
            <a:pPr lvl="0"/>
            <a:r>
              <a:rPr lang="en-US"/>
              <a:t>Name, </a:t>
            </a:r>
            <a:br>
              <a:rPr lang="en-US"/>
            </a:br>
            <a:r>
              <a:rPr lang="en-US"/>
              <a:t>Last Name</a:t>
            </a:r>
          </a:p>
        </p:txBody>
      </p:sp>
      <p:sp>
        <p:nvSpPr>
          <p:cNvPr id="21" name="Text Placeholder 35">
            <a:extLst>
              <a:ext uri="{FF2B5EF4-FFF2-40B4-BE49-F238E27FC236}">
                <a16:creationId xmlns:a16="http://schemas.microsoft.com/office/drawing/2014/main" id="{EB775BD5-95D1-3684-FEDB-958E3E1DBBA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257667" y="1958079"/>
            <a:ext cx="1489339" cy="444674"/>
          </a:xfrm>
        </p:spPr>
        <p:txBody>
          <a:bodyPr wrap="square" anchor="b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16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400"/>
            </a:lvl2pPr>
          </a:lstStyle>
          <a:p>
            <a:pPr lvl="0"/>
            <a:r>
              <a:rPr lang="en-US"/>
              <a:t>Name, </a:t>
            </a:r>
            <a:br>
              <a:rPr lang="en-US"/>
            </a:br>
            <a:r>
              <a:rPr lang="en-US"/>
              <a:t>Last Name</a:t>
            </a:r>
          </a:p>
        </p:txBody>
      </p:sp>
      <p:sp>
        <p:nvSpPr>
          <p:cNvPr id="23" name="Text Placeholder 35">
            <a:extLst>
              <a:ext uri="{FF2B5EF4-FFF2-40B4-BE49-F238E27FC236}">
                <a16:creationId xmlns:a16="http://schemas.microsoft.com/office/drawing/2014/main" id="{01748B9B-0F0F-48D3-EFEC-6AB701ED4F3B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093061" y="1958079"/>
            <a:ext cx="1489339" cy="444674"/>
          </a:xfrm>
        </p:spPr>
        <p:txBody>
          <a:bodyPr wrap="square" anchor="b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16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400"/>
            </a:lvl2pPr>
          </a:lstStyle>
          <a:p>
            <a:pPr lvl="0"/>
            <a:r>
              <a:rPr lang="en-US"/>
              <a:t>Name, </a:t>
            </a:r>
            <a:br>
              <a:rPr lang="en-US"/>
            </a:br>
            <a:r>
              <a:rPr lang="en-US"/>
              <a:t>Last Name</a:t>
            </a:r>
          </a:p>
        </p:txBody>
      </p:sp>
      <p:sp>
        <p:nvSpPr>
          <p:cNvPr id="25" name="Text Placeholder 35">
            <a:extLst>
              <a:ext uri="{FF2B5EF4-FFF2-40B4-BE49-F238E27FC236}">
                <a16:creationId xmlns:a16="http://schemas.microsoft.com/office/drawing/2014/main" id="{1A4CD9BC-0A62-47BA-63EA-D598B4D49DE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589141" y="4081730"/>
            <a:ext cx="1489339" cy="444674"/>
          </a:xfrm>
        </p:spPr>
        <p:txBody>
          <a:bodyPr wrap="square" anchor="b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16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400"/>
            </a:lvl2pPr>
          </a:lstStyle>
          <a:p>
            <a:pPr lvl="0"/>
            <a:r>
              <a:rPr lang="en-US"/>
              <a:t>Name, </a:t>
            </a:r>
            <a:br>
              <a:rPr lang="en-US"/>
            </a:br>
            <a:r>
              <a:rPr lang="en-US"/>
              <a:t>Last Name</a:t>
            </a:r>
          </a:p>
        </p:txBody>
      </p:sp>
      <p:sp>
        <p:nvSpPr>
          <p:cNvPr id="27" name="Text Placeholder 35">
            <a:extLst>
              <a:ext uri="{FF2B5EF4-FFF2-40B4-BE49-F238E27FC236}">
                <a16:creationId xmlns:a16="http://schemas.microsoft.com/office/drawing/2014/main" id="{6FEE9610-6239-4FE5-DE2C-067280B1385D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424761" y="4081730"/>
            <a:ext cx="1489339" cy="444674"/>
          </a:xfrm>
        </p:spPr>
        <p:txBody>
          <a:bodyPr wrap="square" anchor="b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16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400"/>
            </a:lvl2pPr>
          </a:lstStyle>
          <a:p>
            <a:pPr lvl="0"/>
            <a:r>
              <a:rPr lang="en-US"/>
              <a:t>Name, </a:t>
            </a:r>
            <a:br>
              <a:rPr lang="en-US"/>
            </a:br>
            <a:r>
              <a:rPr lang="en-US"/>
              <a:t>Last Name</a:t>
            </a:r>
          </a:p>
        </p:txBody>
      </p:sp>
      <p:sp>
        <p:nvSpPr>
          <p:cNvPr id="29" name="Text Placeholder 35">
            <a:extLst>
              <a:ext uri="{FF2B5EF4-FFF2-40B4-BE49-F238E27FC236}">
                <a16:creationId xmlns:a16="http://schemas.microsoft.com/office/drawing/2014/main" id="{4F885BB1-B714-CD77-8E6F-D9F18879B87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7257667" y="4081730"/>
            <a:ext cx="1489339" cy="444674"/>
          </a:xfrm>
        </p:spPr>
        <p:txBody>
          <a:bodyPr wrap="square" anchor="b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16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400"/>
            </a:lvl2pPr>
          </a:lstStyle>
          <a:p>
            <a:pPr lvl="0"/>
            <a:r>
              <a:rPr lang="en-US"/>
              <a:t>Name, </a:t>
            </a:r>
            <a:br>
              <a:rPr lang="en-US"/>
            </a:br>
            <a:r>
              <a:rPr lang="en-US"/>
              <a:t>Last Name</a:t>
            </a:r>
          </a:p>
        </p:txBody>
      </p:sp>
      <p:sp>
        <p:nvSpPr>
          <p:cNvPr id="31" name="Text Placeholder 35">
            <a:extLst>
              <a:ext uri="{FF2B5EF4-FFF2-40B4-BE49-F238E27FC236}">
                <a16:creationId xmlns:a16="http://schemas.microsoft.com/office/drawing/2014/main" id="{C25AF511-F056-D130-A181-0921FD8412AE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0091929" y="4081730"/>
            <a:ext cx="1489339" cy="444674"/>
          </a:xfrm>
        </p:spPr>
        <p:txBody>
          <a:bodyPr wrap="square" anchor="b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16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400"/>
            </a:lvl2pPr>
          </a:lstStyle>
          <a:p>
            <a:pPr lvl="0"/>
            <a:r>
              <a:rPr lang="en-US"/>
              <a:t>Name, </a:t>
            </a:r>
            <a:br>
              <a:rPr lang="en-US"/>
            </a:br>
            <a:r>
              <a:rPr lang="en-US"/>
              <a:t>Last Nam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E236A97F-6227-1285-13E5-B562717B919E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24363" y="2408210"/>
            <a:ext cx="1489075" cy="182880"/>
          </a:xfrm>
        </p:spPr>
        <p:txBody>
          <a:bodyPr/>
          <a:lstStyle>
            <a:lvl1pPr>
              <a:defRPr sz="1200"/>
            </a:lvl1pPr>
            <a:lvl5pPr>
              <a:defRPr/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25FFC300-B300-AE9C-9A35-721F8EFF9C35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1589141" y="2408210"/>
            <a:ext cx="1489075" cy="182880"/>
          </a:xfrm>
        </p:spPr>
        <p:txBody>
          <a:bodyPr/>
          <a:lstStyle>
            <a:lvl1pPr>
              <a:defRPr sz="1200"/>
            </a:lvl1pPr>
            <a:lvl5pPr>
              <a:defRPr/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24D20157-C335-0214-6B38-5139D43A530E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7257931" y="2408210"/>
            <a:ext cx="1489075" cy="182880"/>
          </a:xfrm>
        </p:spPr>
        <p:txBody>
          <a:bodyPr/>
          <a:lstStyle>
            <a:lvl1pPr>
              <a:defRPr sz="1200"/>
            </a:lvl1pPr>
            <a:lvl5pPr>
              <a:defRPr/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38" name="Text Placeholder 34">
            <a:extLst>
              <a:ext uri="{FF2B5EF4-FFF2-40B4-BE49-F238E27FC236}">
                <a16:creationId xmlns:a16="http://schemas.microsoft.com/office/drawing/2014/main" id="{EE6BDADF-6B4D-DAD9-59FB-6F7777BF9345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10092193" y="2408210"/>
            <a:ext cx="1489075" cy="182880"/>
          </a:xfrm>
        </p:spPr>
        <p:txBody>
          <a:bodyPr/>
          <a:lstStyle>
            <a:lvl1pPr>
              <a:defRPr sz="1200"/>
            </a:lvl1pPr>
            <a:lvl5pPr>
              <a:defRPr/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A90FB390-6352-B76E-9584-6FAA43F3BE80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424363" y="4531861"/>
            <a:ext cx="1489075" cy="182880"/>
          </a:xfrm>
        </p:spPr>
        <p:txBody>
          <a:bodyPr/>
          <a:lstStyle>
            <a:lvl1pPr>
              <a:defRPr sz="1200"/>
            </a:lvl1pPr>
            <a:lvl5pPr>
              <a:defRPr/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40" name="Text Placeholder 34">
            <a:extLst>
              <a:ext uri="{FF2B5EF4-FFF2-40B4-BE49-F238E27FC236}">
                <a16:creationId xmlns:a16="http://schemas.microsoft.com/office/drawing/2014/main" id="{8FE54586-0FF1-181A-CED2-DA8BD5029A2B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7257931" y="4531861"/>
            <a:ext cx="1489075" cy="182880"/>
          </a:xfrm>
        </p:spPr>
        <p:txBody>
          <a:bodyPr/>
          <a:lstStyle>
            <a:lvl1pPr>
              <a:defRPr sz="1200"/>
            </a:lvl1pPr>
            <a:lvl5pPr>
              <a:defRPr/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41" name="Text Placeholder 34">
            <a:extLst>
              <a:ext uri="{FF2B5EF4-FFF2-40B4-BE49-F238E27FC236}">
                <a16:creationId xmlns:a16="http://schemas.microsoft.com/office/drawing/2014/main" id="{B31094E1-C0CA-F5B0-3843-DAF847159934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10092193" y="4531861"/>
            <a:ext cx="1489075" cy="182880"/>
          </a:xfrm>
        </p:spPr>
        <p:txBody>
          <a:bodyPr/>
          <a:lstStyle>
            <a:lvl1pPr>
              <a:defRPr sz="1200"/>
            </a:lvl1pPr>
            <a:lvl5pPr>
              <a:defRPr/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42" name="Text Placeholder 34">
            <a:extLst>
              <a:ext uri="{FF2B5EF4-FFF2-40B4-BE49-F238E27FC236}">
                <a16:creationId xmlns:a16="http://schemas.microsoft.com/office/drawing/2014/main" id="{7C3E3D7F-0F82-3FE9-DF1F-3F6F1C63178A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1589141" y="4531861"/>
            <a:ext cx="1489075" cy="182880"/>
          </a:xfrm>
        </p:spPr>
        <p:txBody>
          <a:bodyPr/>
          <a:lstStyle>
            <a:lvl1pPr>
              <a:defRPr sz="1200"/>
            </a:lvl1pPr>
            <a:lvl5pPr>
              <a:defRPr/>
            </a:lvl5pPr>
          </a:lstStyle>
          <a:p>
            <a:pPr lvl="0"/>
            <a:r>
              <a:rPr lang="en-US"/>
              <a:t>Title/Position</a:t>
            </a:r>
          </a:p>
        </p:txBody>
      </p:sp>
    </p:spTree>
    <p:extLst>
      <p:ext uri="{BB962C8B-B14F-4D97-AF65-F5344CB8AC3E}">
        <p14:creationId xmlns:p14="http://schemas.microsoft.com/office/powerpoint/2010/main" val="149279038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E6CDED-3690-C823-89B5-50C27CBFD3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8FE771C-AF3B-746F-8A25-2C5C4A4812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CED7064-E79D-96CC-BCD5-91C093F5AB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B8360DF4-7B74-45B1-DF30-A89B8E1303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38015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644F2F-8058-0037-6983-DD53BBDAE6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12" name="Date Placeholder 12">
            <a:extLst>
              <a:ext uri="{FF2B5EF4-FFF2-40B4-BE49-F238E27FC236}">
                <a16:creationId xmlns:a16="http://schemas.microsoft.com/office/drawing/2014/main" id="{9343F3EF-079D-EB6A-A42B-37599862F4A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86464B3D-EA1B-42ED-A932-DBB8DB286B58}" type="datetime4">
              <a:rPr lang="en-US" smtClean="0"/>
              <a:t>October 23, 2025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DB05CD1-4CCC-4FEB-DD04-DF2D61F0BD95}"/>
              </a:ext>
            </a:extLst>
          </p:cNvPr>
          <p:cNvGrpSpPr/>
          <p:nvPr userDrawn="1"/>
        </p:nvGrpSpPr>
        <p:grpSpPr>
          <a:xfrm>
            <a:off x="4686300" y="1713329"/>
            <a:ext cx="3120511" cy="567755"/>
            <a:chOff x="4686300" y="1713329"/>
            <a:chExt cx="3120511" cy="567755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D5F7246-50E3-64DF-B9D8-58E257BCA8DF}"/>
                </a:ext>
              </a:extLst>
            </p:cNvPr>
            <p:cNvSpPr/>
            <p:nvPr/>
          </p:nvSpPr>
          <p:spPr>
            <a:xfrm>
              <a:off x="4686300" y="1713329"/>
              <a:ext cx="3120511" cy="567755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0080" rtlCol="0" anchor="ctr"/>
            <a:lstStyle/>
            <a:p>
              <a:endParaRPr lang="en-US" sz="1200" b="1">
                <a:solidFill>
                  <a:schemeClr val="tx2"/>
                </a:solidFill>
                <a:latin typeface="+mj-lt"/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57E58353-3B6A-EAB0-24D4-8BC570418A38}"/>
                </a:ext>
              </a:extLst>
            </p:cNvPr>
            <p:cNvCxnSpPr>
              <a:cxnSpLocks/>
            </p:cNvCxnSpPr>
            <p:nvPr/>
          </p:nvCxnSpPr>
          <p:spPr>
            <a:xfrm>
              <a:off x="5328057" y="2281084"/>
              <a:ext cx="602431" cy="0"/>
            </a:xfrm>
            <a:prstGeom prst="line">
              <a:avLst/>
            </a:prstGeom>
            <a:ln w="508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B9C1735-EA75-8592-225D-ECD548932D88}"/>
              </a:ext>
            </a:extLst>
          </p:cNvPr>
          <p:cNvGrpSpPr/>
          <p:nvPr userDrawn="1"/>
        </p:nvGrpSpPr>
        <p:grpSpPr>
          <a:xfrm>
            <a:off x="8461888" y="2921468"/>
            <a:ext cx="3120511" cy="567755"/>
            <a:chOff x="8461888" y="2921468"/>
            <a:chExt cx="3120511" cy="567755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45981C0-31B7-556D-4E32-3B2DAAD60612}"/>
                </a:ext>
              </a:extLst>
            </p:cNvPr>
            <p:cNvSpPr/>
            <p:nvPr/>
          </p:nvSpPr>
          <p:spPr>
            <a:xfrm>
              <a:off x="8461888" y="2921468"/>
              <a:ext cx="3120511" cy="567755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0080" rtlCol="0" anchor="ctr"/>
            <a:lstStyle/>
            <a:p>
              <a:r>
                <a:rPr lang="en-US" sz="1600">
                  <a:solidFill>
                    <a:schemeClr val="tx2"/>
                  </a:solidFill>
                </a:rPr>
                <a:t>First, Last</a:t>
              </a:r>
            </a:p>
            <a:p>
              <a:r>
                <a:rPr lang="en-US" sz="1200">
                  <a:solidFill>
                    <a:schemeClr val="tx2"/>
                  </a:solidFill>
                </a:rPr>
                <a:t>Title</a:t>
              </a: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8E700BAA-9251-4230-7810-75414315594E}"/>
                </a:ext>
              </a:extLst>
            </p:cNvPr>
            <p:cNvCxnSpPr>
              <a:cxnSpLocks/>
            </p:cNvCxnSpPr>
            <p:nvPr/>
          </p:nvCxnSpPr>
          <p:spPr>
            <a:xfrm>
              <a:off x="9103644" y="3489223"/>
              <a:ext cx="602431" cy="0"/>
            </a:xfrm>
            <a:prstGeom prst="line">
              <a:avLst/>
            </a:prstGeom>
            <a:ln w="508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65ACF25-7131-4E32-0775-6166EBB274AE}"/>
              </a:ext>
            </a:extLst>
          </p:cNvPr>
          <p:cNvGrpSpPr/>
          <p:nvPr userDrawn="1"/>
        </p:nvGrpSpPr>
        <p:grpSpPr>
          <a:xfrm>
            <a:off x="4686302" y="4129607"/>
            <a:ext cx="3120512" cy="567755"/>
            <a:chOff x="4686302" y="4129607"/>
            <a:chExt cx="3120512" cy="567755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4B26E197-82A8-6744-B447-A08395B394DE}"/>
                </a:ext>
              </a:extLst>
            </p:cNvPr>
            <p:cNvSpPr/>
            <p:nvPr/>
          </p:nvSpPr>
          <p:spPr>
            <a:xfrm>
              <a:off x="4686302" y="4129607"/>
              <a:ext cx="3120512" cy="567755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0080" rtlCol="0" anchor="ctr"/>
            <a:lstStyle/>
            <a:p>
              <a:endParaRPr lang="en-US" sz="1200">
                <a:solidFill>
                  <a:schemeClr val="tx2"/>
                </a:solidFill>
              </a:endParaRPr>
            </a:p>
          </p:txBody>
        </p: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6AAFF47-D7D4-197B-93A1-7A5E1F06DEDE}"/>
                </a:ext>
              </a:extLst>
            </p:cNvPr>
            <p:cNvCxnSpPr>
              <a:cxnSpLocks/>
            </p:cNvCxnSpPr>
            <p:nvPr/>
          </p:nvCxnSpPr>
          <p:spPr>
            <a:xfrm>
              <a:off x="5328059" y="4697362"/>
              <a:ext cx="602431" cy="0"/>
            </a:xfrm>
            <a:prstGeom prst="line">
              <a:avLst/>
            </a:prstGeom>
            <a:solidFill>
              <a:schemeClr val="bg2"/>
            </a:solidFill>
            <a:ln w="508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4F6F87E1-ED35-40B0-AFCC-23E19B1FD056}"/>
              </a:ext>
            </a:extLst>
          </p:cNvPr>
          <p:cNvGrpSpPr/>
          <p:nvPr userDrawn="1"/>
        </p:nvGrpSpPr>
        <p:grpSpPr>
          <a:xfrm>
            <a:off x="8461889" y="4129607"/>
            <a:ext cx="3120512" cy="567755"/>
            <a:chOff x="8461889" y="4129607"/>
            <a:chExt cx="3120512" cy="56775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6AE6C5A-F717-B7AD-D70C-B2BE525001B9}"/>
                </a:ext>
              </a:extLst>
            </p:cNvPr>
            <p:cNvSpPr/>
            <p:nvPr/>
          </p:nvSpPr>
          <p:spPr>
            <a:xfrm>
              <a:off x="8461889" y="4129607"/>
              <a:ext cx="3120512" cy="567755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0080" rtlCol="0" anchor="ctr"/>
            <a:lstStyle/>
            <a:p>
              <a:endParaRPr lang="en-US" sz="1200">
                <a:solidFill>
                  <a:schemeClr val="tx2"/>
                </a:solidFill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8D89A840-CA99-3707-E49A-509D4D7596B5}"/>
                </a:ext>
              </a:extLst>
            </p:cNvPr>
            <p:cNvCxnSpPr>
              <a:cxnSpLocks/>
            </p:cNvCxnSpPr>
            <p:nvPr/>
          </p:nvCxnSpPr>
          <p:spPr>
            <a:xfrm>
              <a:off x="9103646" y="4697362"/>
              <a:ext cx="602431" cy="0"/>
            </a:xfrm>
            <a:prstGeom prst="line">
              <a:avLst/>
            </a:prstGeom>
            <a:solidFill>
              <a:schemeClr val="bg2"/>
            </a:solidFill>
            <a:ln w="508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6B26946F-6840-5A59-F60C-19F988490DC8}"/>
              </a:ext>
            </a:extLst>
          </p:cNvPr>
          <p:cNvGrpSpPr/>
          <p:nvPr userDrawn="1"/>
        </p:nvGrpSpPr>
        <p:grpSpPr>
          <a:xfrm>
            <a:off x="910715" y="4129607"/>
            <a:ext cx="3120512" cy="567755"/>
            <a:chOff x="910715" y="4129607"/>
            <a:chExt cx="3120512" cy="567755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7042A98-3581-B047-EB2B-E42CB8CBAFD4}"/>
                </a:ext>
              </a:extLst>
            </p:cNvPr>
            <p:cNvSpPr/>
            <p:nvPr/>
          </p:nvSpPr>
          <p:spPr>
            <a:xfrm>
              <a:off x="910715" y="4129607"/>
              <a:ext cx="3120512" cy="567755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0080" rtlCol="0" anchor="ctr"/>
            <a:lstStyle/>
            <a:p>
              <a:endParaRPr lang="en-US" sz="1200">
                <a:solidFill>
                  <a:schemeClr val="tx2"/>
                </a:solidFill>
              </a:endParaRP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9D65630B-07FE-4697-B2CF-05032F71B59C}"/>
                </a:ext>
              </a:extLst>
            </p:cNvPr>
            <p:cNvCxnSpPr>
              <a:cxnSpLocks/>
            </p:cNvCxnSpPr>
            <p:nvPr/>
          </p:nvCxnSpPr>
          <p:spPr>
            <a:xfrm>
              <a:off x="1552472" y="4697362"/>
              <a:ext cx="602431" cy="0"/>
            </a:xfrm>
            <a:prstGeom prst="line">
              <a:avLst/>
            </a:prstGeom>
            <a:solidFill>
              <a:schemeClr val="bg2"/>
            </a:solidFill>
            <a:ln w="508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E1EBB607-53EC-151B-C7F5-B576E2C3DBDE}"/>
              </a:ext>
            </a:extLst>
          </p:cNvPr>
          <p:cNvGrpSpPr/>
          <p:nvPr userDrawn="1"/>
        </p:nvGrpSpPr>
        <p:grpSpPr>
          <a:xfrm>
            <a:off x="4686302" y="5337745"/>
            <a:ext cx="3120512" cy="567755"/>
            <a:chOff x="4686302" y="5337745"/>
            <a:chExt cx="3120512" cy="567755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1D5E070D-8539-292C-BA26-58C88962DBA4}"/>
                </a:ext>
              </a:extLst>
            </p:cNvPr>
            <p:cNvSpPr/>
            <p:nvPr/>
          </p:nvSpPr>
          <p:spPr>
            <a:xfrm>
              <a:off x="4686302" y="5337745"/>
              <a:ext cx="3120512" cy="567755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0080" rtlCol="0" anchor="ctr"/>
            <a:lstStyle/>
            <a:p>
              <a:endParaRPr lang="en-US" sz="1200">
                <a:solidFill>
                  <a:schemeClr val="tx2"/>
                </a:solidFill>
              </a:endParaRPr>
            </a:p>
          </p:txBody>
        </p: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35A8CAFD-F4DA-52B3-5018-E8F8E4F6D18B}"/>
                </a:ext>
              </a:extLst>
            </p:cNvPr>
            <p:cNvCxnSpPr>
              <a:cxnSpLocks/>
            </p:cNvCxnSpPr>
            <p:nvPr/>
          </p:nvCxnSpPr>
          <p:spPr>
            <a:xfrm>
              <a:off x="5328058" y="5905500"/>
              <a:ext cx="602431" cy="0"/>
            </a:xfrm>
            <a:prstGeom prst="line">
              <a:avLst/>
            </a:prstGeom>
            <a:solidFill>
              <a:schemeClr val="bg2"/>
            </a:solidFill>
            <a:ln w="508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6D577176-A4ED-A77F-E360-1D73B530AA25}"/>
              </a:ext>
            </a:extLst>
          </p:cNvPr>
          <p:cNvGrpSpPr/>
          <p:nvPr userDrawn="1"/>
        </p:nvGrpSpPr>
        <p:grpSpPr>
          <a:xfrm>
            <a:off x="8461889" y="5337745"/>
            <a:ext cx="3120512" cy="567755"/>
            <a:chOff x="8461889" y="5337745"/>
            <a:chExt cx="3120512" cy="567755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9105BC11-C621-0FF5-5503-173C8AFA37DF}"/>
                </a:ext>
              </a:extLst>
            </p:cNvPr>
            <p:cNvSpPr/>
            <p:nvPr/>
          </p:nvSpPr>
          <p:spPr>
            <a:xfrm>
              <a:off x="8461889" y="5337745"/>
              <a:ext cx="3120512" cy="567755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0080" rtlCol="0" anchor="ctr"/>
            <a:lstStyle/>
            <a:p>
              <a:endParaRPr lang="en-US" sz="1200">
                <a:solidFill>
                  <a:schemeClr val="tx2"/>
                </a:solidFill>
              </a:endParaRPr>
            </a:p>
          </p:txBody>
        </p: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A5EE80AE-8B0C-DD10-ABB9-388E1D661B0A}"/>
                </a:ext>
              </a:extLst>
            </p:cNvPr>
            <p:cNvCxnSpPr>
              <a:cxnSpLocks/>
            </p:cNvCxnSpPr>
            <p:nvPr/>
          </p:nvCxnSpPr>
          <p:spPr>
            <a:xfrm>
              <a:off x="9103645" y="5905500"/>
              <a:ext cx="602431" cy="0"/>
            </a:xfrm>
            <a:prstGeom prst="line">
              <a:avLst/>
            </a:prstGeom>
            <a:solidFill>
              <a:schemeClr val="bg2"/>
            </a:solidFill>
            <a:ln w="508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5F4D42E5-D0D6-B3DC-CD23-A3207EAD1A92}"/>
              </a:ext>
            </a:extLst>
          </p:cNvPr>
          <p:cNvGrpSpPr/>
          <p:nvPr userDrawn="1"/>
        </p:nvGrpSpPr>
        <p:grpSpPr>
          <a:xfrm>
            <a:off x="910715" y="5337745"/>
            <a:ext cx="3120512" cy="567755"/>
            <a:chOff x="910715" y="5337745"/>
            <a:chExt cx="3120512" cy="567755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ED666DB-1575-9602-89B5-AC06D21D6193}"/>
                </a:ext>
              </a:extLst>
            </p:cNvPr>
            <p:cNvSpPr/>
            <p:nvPr/>
          </p:nvSpPr>
          <p:spPr>
            <a:xfrm>
              <a:off x="910715" y="5337745"/>
              <a:ext cx="3120512" cy="567755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0080" rtlCol="0" anchor="ctr"/>
            <a:lstStyle/>
            <a:p>
              <a:endParaRPr lang="en-US" sz="1200">
                <a:solidFill>
                  <a:schemeClr val="tx2"/>
                </a:solidFill>
              </a:endParaRPr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3A8644E7-FC5D-E6DE-802C-C1F83C228380}"/>
                </a:ext>
              </a:extLst>
            </p:cNvPr>
            <p:cNvCxnSpPr>
              <a:cxnSpLocks/>
            </p:cNvCxnSpPr>
            <p:nvPr/>
          </p:nvCxnSpPr>
          <p:spPr>
            <a:xfrm>
              <a:off x="1552471" y="5905500"/>
              <a:ext cx="602431" cy="0"/>
            </a:xfrm>
            <a:prstGeom prst="line">
              <a:avLst/>
            </a:prstGeom>
            <a:solidFill>
              <a:schemeClr val="bg2"/>
            </a:solidFill>
            <a:ln w="508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68915B4-826B-BE22-1085-630D605773D4}"/>
              </a:ext>
            </a:extLst>
          </p:cNvPr>
          <p:cNvGrpSpPr/>
          <p:nvPr userDrawn="1"/>
        </p:nvGrpSpPr>
        <p:grpSpPr>
          <a:xfrm>
            <a:off x="4686301" y="2921468"/>
            <a:ext cx="3120511" cy="567755"/>
            <a:chOff x="4686301" y="2921468"/>
            <a:chExt cx="3120511" cy="567755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47AD9448-5ED4-8375-B324-BB404F19624F}"/>
                </a:ext>
              </a:extLst>
            </p:cNvPr>
            <p:cNvSpPr/>
            <p:nvPr/>
          </p:nvSpPr>
          <p:spPr>
            <a:xfrm>
              <a:off x="4686301" y="2921468"/>
              <a:ext cx="3120511" cy="567755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0080" rtlCol="0" anchor="ctr"/>
            <a:lstStyle/>
            <a:p>
              <a:endParaRPr lang="en-US" sz="1200">
                <a:solidFill>
                  <a:schemeClr val="tx2"/>
                </a:solidFill>
              </a:endParaRPr>
            </a:p>
          </p:txBody>
        </p: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BF64A9D3-C868-212C-139B-CC1E91CC3DCE}"/>
                </a:ext>
              </a:extLst>
            </p:cNvPr>
            <p:cNvCxnSpPr>
              <a:cxnSpLocks/>
            </p:cNvCxnSpPr>
            <p:nvPr/>
          </p:nvCxnSpPr>
          <p:spPr>
            <a:xfrm>
              <a:off x="5328057" y="3489223"/>
              <a:ext cx="602431" cy="0"/>
            </a:xfrm>
            <a:prstGeom prst="line">
              <a:avLst/>
            </a:prstGeom>
            <a:ln w="508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ADB436BE-B2E6-CA84-E983-9D56B904115F}"/>
              </a:ext>
            </a:extLst>
          </p:cNvPr>
          <p:cNvGrpSpPr/>
          <p:nvPr userDrawn="1"/>
        </p:nvGrpSpPr>
        <p:grpSpPr>
          <a:xfrm>
            <a:off x="910714" y="2921468"/>
            <a:ext cx="3120511" cy="567755"/>
            <a:chOff x="910714" y="2921468"/>
            <a:chExt cx="3120511" cy="567755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1268E5EE-9EEA-2515-1E5D-47749EC5C5DE}"/>
                </a:ext>
              </a:extLst>
            </p:cNvPr>
            <p:cNvSpPr/>
            <p:nvPr/>
          </p:nvSpPr>
          <p:spPr>
            <a:xfrm>
              <a:off x="910714" y="2921468"/>
              <a:ext cx="3120511" cy="567755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0080" rtlCol="0" anchor="ctr"/>
            <a:lstStyle/>
            <a:p>
              <a:endParaRPr lang="en-US" sz="1200">
                <a:solidFill>
                  <a:schemeClr val="tx2"/>
                </a:solidFill>
              </a:endParaRPr>
            </a:p>
          </p:txBody>
        </p: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096A3727-BA71-6D8E-B5F6-F5B582A5DD7C}"/>
                </a:ext>
              </a:extLst>
            </p:cNvPr>
            <p:cNvCxnSpPr>
              <a:cxnSpLocks/>
            </p:cNvCxnSpPr>
            <p:nvPr/>
          </p:nvCxnSpPr>
          <p:spPr>
            <a:xfrm>
              <a:off x="1552470" y="3489223"/>
              <a:ext cx="602431" cy="0"/>
            </a:xfrm>
            <a:prstGeom prst="line">
              <a:avLst/>
            </a:prstGeom>
            <a:ln w="508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76B82481-7C33-3FFB-1477-9B89890022E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05963" y="2601276"/>
            <a:ext cx="7551174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Group 51">
            <a:extLst>
              <a:ext uri="{FF2B5EF4-FFF2-40B4-BE49-F238E27FC236}">
                <a16:creationId xmlns:a16="http://schemas.microsoft.com/office/drawing/2014/main" id="{8EBBC1E9-BA64-5E26-1B46-7BD60E3D0791}"/>
              </a:ext>
            </a:extLst>
          </p:cNvPr>
          <p:cNvGrpSpPr/>
          <p:nvPr userDrawn="1"/>
        </p:nvGrpSpPr>
        <p:grpSpPr>
          <a:xfrm>
            <a:off x="1005426" y="2601276"/>
            <a:ext cx="538" cy="2736470"/>
            <a:chOff x="1005426" y="2601276"/>
            <a:chExt cx="538" cy="2736470"/>
          </a:xfrm>
        </p:grpSpPr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B96FCE50-A837-B919-3CDE-F9C3C7D37EB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5963" y="2601276"/>
              <a:ext cx="0" cy="320192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7689F768-7902-083D-9833-459EE31E80B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5426" y="3489223"/>
              <a:ext cx="538" cy="640383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83FB124C-C842-B682-C4F0-A7A6623F0A9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5963" y="4697362"/>
              <a:ext cx="0" cy="640384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BBE7F86D-71D2-C5AD-3280-EA3759CD0D6F}"/>
              </a:ext>
            </a:extLst>
          </p:cNvPr>
          <p:cNvGrpSpPr/>
          <p:nvPr userDrawn="1"/>
        </p:nvGrpSpPr>
        <p:grpSpPr>
          <a:xfrm>
            <a:off x="4762395" y="2281084"/>
            <a:ext cx="19155" cy="3056662"/>
            <a:chOff x="4762395" y="2281084"/>
            <a:chExt cx="19155" cy="3056662"/>
          </a:xfrm>
        </p:grpSpPr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78CEE1B7-A1EE-31F2-9A78-C46D3EBDE19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62395" y="2281084"/>
              <a:ext cx="1" cy="640384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5E29F869-C5DE-A5AC-9567-42B29731296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781550" y="3489223"/>
              <a:ext cx="0" cy="640384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22285D4-4F13-D5B3-518F-A0437B5E56E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781550" y="4697362"/>
              <a:ext cx="0" cy="640384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66B9EF4F-FEAA-E96C-6F02-067982130884}"/>
              </a:ext>
            </a:extLst>
          </p:cNvPr>
          <p:cNvGrpSpPr/>
          <p:nvPr userDrawn="1"/>
        </p:nvGrpSpPr>
        <p:grpSpPr>
          <a:xfrm>
            <a:off x="8557137" y="2601276"/>
            <a:ext cx="0" cy="2736470"/>
            <a:chOff x="8557137" y="2601276"/>
            <a:chExt cx="0" cy="2736470"/>
          </a:xfrm>
        </p:grpSpPr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82A43772-77DA-30E2-1228-DFA36AC216A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557137" y="2601276"/>
              <a:ext cx="0" cy="320192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84EBCEF3-518E-4E64-537C-E6D716715EA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557137" y="3489223"/>
              <a:ext cx="0" cy="640384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98CE1FD3-6018-83D1-ECEC-07F2A2E793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557137" y="4697362"/>
              <a:ext cx="0" cy="640384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FEBA8699-B13D-5A8F-802D-BEE7DF97569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384648" y="1619119"/>
            <a:ext cx="758952" cy="758952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19" name="Picture Placeholder 17">
            <a:extLst>
              <a:ext uri="{FF2B5EF4-FFF2-40B4-BE49-F238E27FC236}">
                <a16:creationId xmlns:a16="http://schemas.microsoft.com/office/drawing/2014/main" id="{AB77C8B4-D0BE-8099-AC47-9ABB0833697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16106" y="2827598"/>
            <a:ext cx="758952" cy="758952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20" name="Picture Placeholder 17">
            <a:extLst>
              <a:ext uri="{FF2B5EF4-FFF2-40B4-BE49-F238E27FC236}">
                <a16:creationId xmlns:a16="http://schemas.microsoft.com/office/drawing/2014/main" id="{455620EE-917A-52FB-C242-DED1E434D33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6106" y="4032619"/>
            <a:ext cx="758952" cy="758952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21" name="Picture Placeholder 17">
            <a:extLst>
              <a:ext uri="{FF2B5EF4-FFF2-40B4-BE49-F238E27FC236}">
                <a16:creationId xmlns:a16="http://schemas.microsoft.com/office/drawing/2014/main" id="{7CFB2292-9DA1-300A-7D5F-8FCC69DF648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6106" y="5240758"/>
            <a:ext cx="758952" cy="758952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22" name="Picture Placeholder 17">
            <a:extLst>
              <a:ext uri="{FF2B5EF4-FFF2-40B4-BE49-F238E27FC236}">
                <a16:creationId xmlns:a16="http://schemas.microsoft.com/office/drawing/2014/main" id="{EFF2039F-74E3-8F53-E4E8-366EB293C02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81190" y="2827598"/>
            <a:ext cx="758952" cy="758952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23" name="Picture Placeholder 17">
            <a:extLst>
              <a:ext uri="{FF2B5EF4-FFF2-40B4-BE49-F238E27FC236}">
                <a16:creationId xmlns:a16="http://schemas.microsoft.com/office/drawing/2014/main" id="{5F0684BB-81B1-0B97-B0E4-27D281EF57D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381190" y="4032619"/>
            <a:ext cx="758952" cy="758952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24" name="Picture Placeholder 17">
            <a:extLst>
              <a:ext uri="{FF2B5EF4-FFF2-40B4-BE49-F238E27FC236}">
                <a16:creationId xmlns:a16="http://schemas.microsoft.com/office/drawing/2014/main" id="{320C316A-E0D3-E4DD-03B5-1AE60136629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81190" y="5240758"/>
            <a:ext cx="758952" cy="758952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25" name="Picture Placeholder 17">
            <a:extLst>
              <a:ext uri="{FF2B5EF4-FFF2-40B4-BE49-F238E27FC236}">
                <a16:creationId xmlns:a16="http://schemas.microsoft.com/office/drawing/2014/main" id="{7B5C94A9-FDAF-9ACA-B392-FBAF6BA7CEC5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146274" y="2827598"/>
            <a:ext cx="758952" cy="758952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26" name="Picture Placeholder 17">
            <a:extLst>
              <a:ext uri="{FF2B5EF4-FFF2-40B4-BE49-F238E27FC236}">
                <a16:creationId xmlns:a16="http://schemas.microsoft.com/office/drawing/2014/main" id="{850529AC-6277-DCF8-007A-9D609A1063A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146274" y="4032619"/>
            <a:ext cx="758952" cy="758952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27" name="Picture Placeholder 17">
            <a:extLst>
              <a:ext uri="{FF2B5EF4-FFF2-40B4-BE49-F238E27FC236}">
                <a16:creationId xmlns:a16="http://schemas.microsoft.com/office/drawing/2014/main" id="{BB477941-B318-7A15-3BC6-243AB603438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146274" y="5240758"/>
            <a:ext cx="758952" cy="758952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A6F6F5FD-7462-984C-CB9D-A6BEE8CFD3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326063" y="1768701"/>
            <a:ext cx="2480659" cy="25876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1"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 sz="1400"/>
            </a:lvl3pPr>
            <a:lvl4pPr marL="365760" indent="0">
              <a:buNone/>
              <a:defRPr sz="1400"/>
            </a:lvl4pPr>
            <a:lvl5pPr marL="548640" indent="0">
              <a:buNone/>
              <a:defRPr sz="1400"/>
            </a:lvl5pPr>
          </a:lstStyle>
          <a:p>
            <a:pPr lvl="0"/>
            <a:r>
              <a:rPr lang="en-US"/>
              <a:t>First, Last</a:t>
            </a:r>
          </a:p>
        </p:txBody>
      </p:sp>
      <p:sp>
        <p:nvSpPr>
          <p:cNvPr id="66" name="Text Placeholder 64">
            <a:extLst>
              <a:ext uri="{FF2B5EF4-FFF2-40B4-BE49-F238E27FC236}">
                <a16:creationId xmlns:a16="http://schemas.microsoft.com/office/drawing/2014/main" id="{4D4DDB3C-2B38-0270-97ED-52BDA9A666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26152" y="2042651"/>
            <a:ext cx="2480659" cy="20801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 b="1"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 sz="1400"/>
            </a:lvl3pPr>
            <a:lvl4pPr marL="365760" indent="0">
              <a:buNone/>
              <a:defRPr sz="1400"/>
            </a:lvl4pPr>
            <a:lvl5pPr marL="548640" indent="0">
              <a:buNone/>
              <a:defRPr sz="14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3" name="Text Placeholder 72">
            <a:extLst>
              <a:ext uri="{FF2B5EF4-FFF2-40B4-BE49-F238E27FC236}">
                <a16:creationId xmlns:a16="http://schemas.microsoft.com/office/drawing/2014/main" id="{C2C254D9-E83A-0C10-96C4-876267383FB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326063" y="2993010"/>
            <a:ext cx="2481262" cy="2417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First, Last</a:t>
            </a:r>
          </a:p>
        </p:txBody>
      </p:sp>
      <p:sp>
        <p:nvSpPr>
          <p:cNvPr id="74" name="Text Placeholder 72">
            <a:extLst>
              <a:ext uri="{FF2B5EF4-FFF2-40B4-BE49-F238E27FC236}">
                <a16:creationId xmlns:a16="http://schemas.microsoft.com/office/drawing/2014/main" id="{97113C6E-76FF-6DE6-CB48-1F3DFAEE38A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326063" y="3234796"/>
            <a:ext cx="2481262" cy="22902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5" name="Text Placeholder 72">
            <a:extLst>
              <a:ext uri="{FF2B5EF4-FFF2-40B4-BE49-F238E27FC236}">
                <a16:creationId xmlns:a16="http://schemas.microsoft.com/office/drawing/2014/main" id="{951FA22E-4F66-A887-C3F3-64D0F3D21E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550565" y="2993010"/>
            <a:ext cx="2481262" cy="2417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First, Last</a:t>
            </a:r>
          </a:p>
        </p:txBody>
      </p:sp>
      <p:sp>
        <p:nvSpPr>
          <p:cNvPr id="76" name="Text Placeholder 72">
            <a:extLst>
              <a:ext uri="{FF2B5EF4-FFF2-40B4-BE49-F238E27FC236}">
                <a16:creationId xmlns:a16="http://schemas.microsoft.com/office/drawing/2014/main" id="{47DA4178-F5FF-BE1B-862C-2C392A0B2DF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550565" y="3234796"/>
            <a:ext cx="2481262" cy="22902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7" name="Text Placeholder 72">
            <a:extLst>
              <a:ext uri="{FF2B5EF4-FFF2-40B4-BE49-F238E27FC236}">
                <a16:creationId xmlns:a16="http://schemas.microsoft.com/office/drawing/2014/main" id="{95D1E208-9E5D-C3B9-8A64-E1FA2002DB7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102252" y="2993010"/>
            <a:ext cx="2481262" cy="2417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First, Last</a:t>
            </a:r>
          </a:p>
        </p:txBody>
      </p:sp>
      <p:sp>
        <p:nvSpPr>
          <p:cNvPr id="78" name="Text Placeholder 72">
            <a:extLst>
              <a:ext uri="{FF2B5EF4-FFF2-40B4-BE49-F238E27FC236}">
                <a16:creationId xmlns:a16="http://schemas.microsoft.com/office/drawing/2014/main" id="{24F0B4F5-C723-9DEC-0011-B6DBA397416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102252" y="3234796"/>
            <a:ext cx="2481262" cy="22902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9" name="Text Placeholder 72">
            <a:extLst>
              <a:ext uri="{FF2B5EF4-FFF2-40B4-BE49-F238E27FC236}">
                <a16:creationId xmlns:a16="http://schemas.microsoft.com/office/drawing/2014/main" id="{0E38AE43-AB55-D472-1190-D4D85958CB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326063" y="4200200"/>
            <a:ext cx="2481262" cy="2417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First, Last</a:t>
            </a:r>
          </a:p>
        </p:txBody>
      </p:sp>
      <p:sp>
        <p:nvSpPr>
          <p:cNvPr id="80" name="Text Placeholder 72">
            <a:extLst>
              <a:ext uri="{FF2B5EF4-FFF2-40B4-BE49-F238E27FC236}">
                <a16:creationId xmlns:a16="http://schemas.microsoft.com/office/drawing/2014/main" id="{D33ED81F-A469-B7F7-5AF3-CED0DCCC917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326063" y="4441986"/>
            <a:ext cx="2481262" cy="22902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81" name="Text Placeholder 72">
            <a:extLst>
              <a:ext uri="{FF2B5EF4-FFF2-40B4-BE49-F238E27FC236}">
                <a16:creationId xmlns:a16="http://schemas.microsoft.com/office/drawing/2014/main" id="{607B5E31-C058-D5A0-68BC-1679B2CEE3D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550565" y="4200200"/>
            <a:ext cx="2481262" cy="2417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First, Last</a:t>
            </a:r>
          </a:p>
        </p:txBody>
      </p:sp>
      <p:sp>
        <p:nvSpPr>
          <p:cNvPr id="82" name="Text Placeholder 72">
            <a:extLst>
              <a:ext uri="{FF2B5EF4-FFF2-40B4-BE49-F238E27FC236}">
                <a16:creationId xmlns:a16="http://schemas.microsoft.com/office/drawing/2014/main" id="{509B5C83-E172-DE6C-EAFC-EF4AEC58B85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0565" y="4441986"/>
            <a:ext cx="2481262" cy="22902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83" name="Text Placeholder 72">
            <a:extLst>
              <a:ext uri="{FF2B5EF4-FFF2-40B4-BE49-F238E27FC236}">
                <a16:creationId xmlns:a16="http://schemas.microsoft.com/office/drawing/2014/main" id="{737FC36E-AE40-EF8B-09CA-D652D31F18E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102252" y="4200200"/>
            <a:ext cx="2481262" cy="2417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First, Last</a:t>
            </a:r>
          </a:p>
        </p:txBody>
      </p:sp>
      <p:sp>
        <p:nvSpPr>
          <p:cNvPr id="84" name="Text Placeholder 72">
            <a:extLst>
              <a:ext uri="{FF2B5EF4-FFF2-40B4-BE49-F238E27FC236}">
                <a16:creationId xmlns:a16="http://schemas.microsoft.com/office/drawing/2014/main" id="{22B649BA-07AE-B174-D89F-66AFF4F413A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102252" y="4441986"/>
            <a:ext cx="2481262" cy="22902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85" name="Text Placeholder 72">
            <a:extLst>
              <a:ext uri="{FF2B5EF4-FFF2-40B4-BE49-F238E27FC236}">
                <a16:creationId xmlns:a16="http://schemas.microsoft.com/office/drawing/2014/main" id="{8C0D8B0F-C437-1044-C79E-3AD0DDC3A21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326063" y="5407650"/>
            <a:ext cx="2481262" cy="2417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First, Last</a:t>
            </a:r>
          </a:p>
        </p:txBody>
      </p:sp>
      <p:sp>
        <p:nvSpPr>
          <p:cNvPr id="86" name="Text Placeholder 72">
            <a:extLst>
              <a:ext uri="{FF2B5EF4-FFF2-40B4-BE49-F238E27FC236}">
                <a16:creationId xmlns:a16="http://schemas.microsoft.com/office/drawing/2014/main" id="{C84556CB-9283-9F9D-2255-527985AEC05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326063" y="5649436"/>
            <a:ext cx="2481262" cy="22902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87" name="Text Placeholder 72">
            <a:extLst>
              <a:ext uri="{FF2B5EF4-FFF2-40B4-BE49-F238E27FC236}">
                <a16:creationId xmlns:a16="http://schemas.microsoft.com/office/drawing/2014/main" id="{8588CC8F-4E91-A733-2E50-9A1FFA4FD82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550565" y="5407650"/>
            <a:ext cx="2481262" cy="2417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First, Last</a:t>
            </a:r>
          </a:p>
        </p:txBody>
      </p:sp>
      <p:sp>
        <p:nvSpPr>
          <p:cNvPr id="88" name="Text Placeholder 72">
            <a:extLst>
              <a:ext uri="{FF2B5EF4-FFF2-40B4-BE49-F238E27FC236}">
                <a16:creationId xmlns:a16="http://schemas.microsoft.com/office/drawing/2014/main" id="{85A6B987-0A27-657E-043A-11A99E131F8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550565" y="5649436"/>
            <a:ext cx="2481262" cy="22902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89" name="Text Placeholder 72">
            <a:extLst>
              <a:ext uri="{FF2B5EF4-FFF2-40B4-BE49-F238E27FC236}">
                <a16:creationId xmlns:a16="http://schemas.microsoft.com/office/drawing/2014/main" id="{A3370798-4EB5-B38A-5404-062FE6DB2A3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02252" y="5407650"/>
            <a:ext cx="2481262" cy="2417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First, Last</a:t>
            </a:r>
          </a:p>
        </p:txBody>
      </p:sp>
      <p:sp>
        <p:nvSpPr>
          <p:cNvPr id="90" name="Text Placeholder 72">
            <a:extLst>
              <a:ext uri="{FF2B5EF4-FFF2-40B4-BE49-F238E27FC236}">
                <a16:creationId xmlns:a16="http://schemas.microsoft.com/office/drawing/2014/main" id="{82515C80-E15B-493B-3079-6281AFC3428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02252" y="5649436"/>
            <a:ext cx="2481262" cy="22902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7290460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 -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92AFFFE6-9509-4010-7DBE-B101C66BE8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52527" y="426278"/>
            <a:ext cx="1799617" cy="4572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C115252C-FF39-2E61-6A45-48C699481F4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7579" t="20639" r="1500" b="7525"/>
          <a:stretch/>
        </p:blipFill>
        <p:spPr>
          <a:xfrm>
            <a:off x="0" y="0"/>
            <a:ext cx="5486401" cy="6857999"/>
          </a:xfrm>
          <a:prstGeom prst="rect">
            <a:avLst/>
          </a:prstGeom>
        </p:spPr>
      </p:pic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215BE539-8AC2-9053-6A0F-892165433E6C}"/>
              </a:ext>
            </a:extLst>
          </p:cNvPr>
          <p:cNvCxnSpPr>
            <a:cxnSpLocks/>
          </p:cNvCxnSpPr>
          <p:nvPr/>
        </p:nvCxnSpPr>
        <p:spPr>
          <a:xfrm>
            <a:off x="6022043" y="4674590"/>
            <a:ext cx="5549059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14">
            <a:extLst>
              <a:ext uri="{FF2B5EF4-FFF2-40B4-BE49-F238E27FC236}">
                <a16:creationId xmlns:a16="http://schemas.microsoft.com/office/drawing/2014/main" id="{DF9F4C41-B8FC-527A-5C20-40AFD1C4A1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22042" y="1843100"/>
            <a:ext cx="5549059" cy="2468881"/>
          </a:xfrm>
        </p:spPr>
        <p:txBody>
          <a:bodyPr wrap="square" anchor="b">
            <a:no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ation title extends up to 3 lines</a:t>
            </a:r>
          </a:p>
        </p:txBody>
      </p:sp>
      <p:sp>
        <p:nvSpPr>
          <p:cNvPr id="52" name="Text Placeholder 16">
            <a:extLst>
              <a:ext uri="{FF2B5EF4-FFF2-40B4-BE49-F238E27FC236}">
                <a16:creationId xmlns:a16="http://schemas.microsoft.com/office/drawing/2014/main" id="{9D48456B-E50F-89D0-9198-667795E8F5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45992" y="1257550"/>
            <a:ext cx="2468880" cy="223908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400" b="1" cap="all" spc="300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A7BBF87-F8B7-07C3-057A-BFF9022ABA3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748011" y="6275411"/>
            <a:ext cx="1834388" cy="210312"/>
          </a:xfrm>
          <a:prstGeom prst="rect">
            <a:avLst/>
          </a:prstGeom>
        </p:spPr>
      </p:pic>
      <p:sp>
        <p:nvSpPr>
          <p:cNvPr id="3" name="Text Placeholder 33">
            <a:extLst>
              <a:ext uri="{FF2B5EF4-FFF2-40B4-BE49-F238E27FC236}">
                <a16:creationId xmlns:a16="http://schemas.microsoft.com/office/drawing/2014/main" id="{013984AB-1E83-4B6D-17F1-4FBBA4C4222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12807" y="5084002"/>
            <a:ext cx="5387082" cy="307777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300"/>
              </a:spcAft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4" name="Text Placeholder 33">
            <a:extLst>
              <a:ext uri="{FF2B5EF4-FFF2-40B4-BE49-F238E27FC236}">
                <a16:creationId xmlns:a16="http://schemas.microsoft.com/office/drawing/2014/main" id="{42C6B7E9-FD29-3038-05E7-30F86A25E0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23555" y="5424291"/>
            <a:ext cx="5387082" cy="276999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</p:spTree>
    <p:extLst>
      <p:ext uri="{BB962C8B-B14F-4D97-AF65-F5344CB8AC3E}">
        <p14:creationId xmlns:p14="http://schemas.microsoft.com/office/powerpoint/2010/main" val="258382824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Char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2F6F618-CF2E-13EA-0DF7-5CBE80F733F0}"/>
              </a:ext>
            </a:extLst>
          </p:cNvPr>
          <p:cNvSpPr/>
          <p:nvPr/>
        </p:nvSpPr>
        <p:spPr>
          <a:xfrm>
            <a:off x="0" y="0"/>
            <a:ext cx="406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A01A5ED-7D9E-57FB-3E55-9747F9B2FF02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4064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1F3E768-1BC9-4DFC-7E42-D61CF03C920E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4064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2556BBD-E905-984B-4075-604E21C91A06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09600" y="800754"/>
            <a:ext cx="2844800" cy="1000402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35">
            <a:extLst>
              <a:ext uri="{FF2B5EF4-FFF2-40B4-BE49-F238E27FC236}">
                <a16:creationId xmlns:a16="http://schemas.microsoft.com/office/drawing/2014/main" id="{6411CE3E-CF5E-1A4F-C684-DD36FC30311C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09599" y="2476502"/>
            <a:ext cx="2843783" cy="292608"/>
          </a:xfrm>
        </p:spPr>
        <p:txBody>
          <a:bodyPr anchor="t">
            <a:noAutofit/>
          </a:bodyPr>
          <a:lstStyle>
            <a:lvl1pPr>
              <a:spcAft>
                <a:spcPts val="1200"/>
              </a:spcAft>
              <a:defRPr sz="1400" b="1" cap="all" spc="300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24" name="Chart Placeholder 23">
            <a:extLst>
              <a:ext uri="{FF2B5EF4-FFF2-40B4-BE49-F238E27FC236}">
                <a16:creationId xmlns:a16="http://schemas.microsoft.com/office/drawing/2014/main" id="{7048E6E3-973C-DC77-BAA0-77D8C159B580}"/>
              </a:ext>
            </a:extLst>
          </p:cNvPr>
          <p:cNvSpPr>
            <a:spLocks noGrp="1"/>
          </p:cNvSpPr>
          <p:nvPr userDrawn="1">
            <p:ph type="chart" sz="quarter" idx="16"/>
          </p:nvPr>
        </p:nvSpPr>
        <p:spPr>
          <a:xfrm>
            <a:off x="4673598" y="1389115"/>
            <a:ext cx="6908801" cy="4972636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8C70CCB2-147C-C3A5-8880-72CCE0F38C5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4673598" y="496249"/>
            <a:ext cx="6908799" cy="276999"/>
          </a:xfrm>
        </p:spPr>
        <p:txBody>
          <a:bodyPr wrap="square" anchor="t">
            <a:noAutofit/>
          </a:bodyPr>
          <a:lstStyle>
            <a:lvl1pPr>
              <a:spcAft>
                <a:spcPts val="0"/>
              </a:spcAft>
              <a:defRPr sz="18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38BCFED-C663-CF81-5722-85F8F526221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09600" y="138027"/>
            <a:ext cx="2843782" cy="153888"/>
          </a:xfrm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12" name="Footer Placeholder 13">
            <a:extLst>
              <a:ext uri="{FF2B5EF4-FFF2-40B4-BE49-F238E27FC236}">
                <a16:creationId xmlns:a16="http://schemas.microsoft.com/office/drawing/2014/main" id="{741A0437-17F9-350E-A11B-4636A2924C44}"/>
              </a:ext>
            </a:extLst>
          </p:cNvPr>
          <p:cNvSpPr>
            <a:spLocks noGrp="1"/>
          </p:cNvSpPr>
          <p:nvPr userDrawn="1">
            <p:ph type="ftr" sz="quarter" idx="27"/>
          </p:nvPr>
        </p:nvSpPr>
        <p:spPr>
          <a:xfrm>
            <a:off x="609600" y="6566085"/>
            <a:ext cx="284378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13" name="Slide Number Placeholder 14">
            <a:extLst>
              <a:ext uri="{FF2B5EF4-FFF2-40B4-BE49-F238E27FC236}">
                <a16:creationId xmlns:a16="http://schemas.microsoft.com/office/drawing/2014/main" id="{AB3EBCA2-1DEC-8D2F-1555-FFA5AE9B0615}"/>
              </a:ext>
            </a:extLst>
          </p:cNvPr>
          <p:cNvSpPr>
            <a:spLocks noGrp="1"/>
          </p:cNvSpPr>
          <p:nvPr userDrawn="1">
            <p:ph type="sldNum" sz="quarter" idx="28"/>
          </p:nvPr>
        </p:nvSpPr>
        <p:spPr>
          <a:xfrm>
            <a:off x="11248008" y="656608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 Placeholder 49">
            <a:extLst>
              <a:ext uri="{FF2B5EF4-FFF2-40B4-BE49-F238E27FC236}">
                <a16:creationId xmlns:a16="http://schemas.microsoft.com/office/drawing/2014/main" id="{5C2866BB-378C-088E-630E-602A3FF05825}"/>
              </a:ext>
            </a:extLst>
          </p:cNvPr>
          <p:cNvSpPr>
            <a:spLocks noGrp="1"/>
          </p:cNvSpPr>
          <p:nvPr userDrawn="1">
            <p:ph type="dt" sz="half" idx="26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15148B0A-1AAA-4B39-B561-564E677A3782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BA504353-D4CA-4259-8F4D-F5ED2E99CB46}"/>
              </a:ext>
            </a:extLst>
          </p:cNvPr>
          <p:cNvSpPr>
            <a:spLocks noGrp="1"/>
          </p:cNvSpPr>
          <p:nvPr userDrawn="1">
            <p:ph type="body" sz="quarter" idx="29"/>
          </p:nvPr>
        </p:nvSpPr>
        <p:spPr>
          <a:xfrm>
            <a:off x="609597" y="2861071"/>
            <a:ext cx="2843783" cy="213969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600" dirty="0" smtClean="0">
                <a:solidFill>
                  <a:schemeClr val="bg1"/>
                </a:solidFill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CAA17021-CEBE-574C-5443-C3021D89FF4A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4673597" y="786391"/>
            <a:ext cx="6908799" cy="246221"/>
          </a:xfrm>
        </p:spPr>
        <p:txBody>
          <a:bodyPr wrap="square" anchor="t">
            <a:noAutofit/>
          </a:bodyPr>
          <a:lstStyle>
            <a:lvl1pPr>
              <a:spcAft>
                <a:spcPts val="0"/>
              </a:spcAft>
              <a:defRPr sz="1600" b="0"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E3A549B-E934-F6A8-2BA9-CE6DFF255D0A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09600" y="1813242"/>
            <a:ext cx="2843784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53675297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 Callouts - Ligh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1F2AC4-4CDC-2C50-1F85-6A0BB78D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047FEEB-518A-8ED4-B190-89AB72E00D7E}"/>
              </a:ext>
            </a:extLst>
          </p:cNvPr>
          <p:cNvCxnSpPr>
            <a:cxnSpLocks/>
          </p:cNvCxnSpPr>
          <p:nvPr/>
        </p:nvCxnSpPr>
        <p:spPr>
          <a:xfrm flipH="1">
            <a:off x="4673600" y="2220382"/>
            <a:ext cx="69088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E536A8F-77E4-2060-8067-D9F8A5BBD7FE}"/>
              </a:ext>
            </a:extLst>
          </p:cNvPr>
          <p:cNvCxnSpPr>
            <a:cxnSpLocks/>
          </p:cNvCxnSpPr>
          <p:nvPr/>
        </p:nvCxnSpPr>
        <p:spPr>
          <a:xfrm flipH="1">
            <a:off x="4673600" y="4338573"/>
            <a:ext cx="69088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35">
            <a:extLst>
              <a:ext uri="{FF2B5EF4-FFF2-40B4-BE49-F238E27FC236}">
                <a16:creationId xmlns:a16="http://schemas.microsoft.com/office/drawing/2014/main" id="{0780DDAB-A716-E44B-8B3F-D1AFC69E96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73600" y="653455"/>
            <a:ext cx="2313432" cy="1015663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6600" b="0">
                <a:solidFill>
                  <a:schemeClr val="tx2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XXX</a:t>
            </a:r>
          </a:p>
        </p:txBody>
      </p:sp>
      <p:sp>
        <p:nvSpPr>
          <p:cNvPr id="27" name="Text Placeholder 35">
            <a:extLst>
              <a:ext uri="{FF2B5EF4-FFF2-40B4-BE49-F238E27FC236}">
                <a16:creationId xmlns:a16="http://schemas.microsoft.com/office/drawing/2014/main" id="{6F975B03-F7CD-D8A4-0E18-19A70027DC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73600" y="2771646"/>
            <a:ext cx="2313432" cy="1015663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6600" b="0">
                <a:solidFill>
                  <a:schemeClr val="tx2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XXX</a:t>
            </a:r>
          </a:p>
        </p:txBody>
      </p:sp>
      <p:sp>
        <p:nvSpPr>
          <p:cNvPr id="28" name="Text Placeholder 35">
            <a:extLst>
              <a:ext uri="{FF2B5EF4-FFF2-40B4-BE49-F238E27FC236}">
                <a16:creationId xmlns:a16="http://schemas.microsoft.com/office/drawing/2014/main" id="{29105BCB-9491-B028-4CDE-AFF15ACE57A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73600" y="4889837"/>
            <a:ext cx="2313432" cy="1015663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6600" b="0">
                <a:solidFill>
                  <a:schemeClr val="tx2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XXX</a:t>
            </a:r>
          </a:p>
        </p:txBody>
      </p:sp>
      <p:sp>
        <p:nvSpPr>
          <p:cNvPr id="29" name="Text Placeholder 35">
            <a:extLst>
              <a:ext uri="{FF2B5EF4-FFF2-40B4-BE49-F238E27FC236}">
                <a16:creationId xmlns:a16="http://schemas.microsoft.com/office/drawing/2014/main" id="{8E051EED-DBA8-D571-CF36-C1A1CDB174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58406" y="653455"/>
            <a:ext cx="4023994" cy="1014984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2800" b="0">
                <a:solidFill>
                  <a:schemeClr val="tx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Category name</a:t>
            </a:r>
          </a:p>
        </p:txBody>
      </p:sp>
      <p:sp>
        <p:nvSpPr>
          <p:cNvPr id="31" name="Text Placeholder 35">
            <a:extLst>
              <a:ext uri="{FF2B5EF4-FFF2-40B4-BE49-F238E27FC236}">
                <a16:creationId xmlns:a16="http://schemas.microsoft.com/office/drawing/2014/main" id="{EFA2068F-D955-25B7-99A8-9CF50683A4C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58406" y="2772325"/>
            <a:ext cx="4023994" cy="1014984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2800" b="0">
                <a:solidFill>
                  <a:schemeClr val="tx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Category name</a:t>
            </a:r>
          </a:p>
        </p:txBody>
      </p:sp>
      <p:sp>
        <p:nvSpPr>
          <p:cNvPr id="32" name="Text Placeholder 35">
            <a:extLst>
              <a:ext uri="{FF2B5EF4-FFF2-40B4-BE49-F238E27FC236}">
                <a16:creationId xmlns:a16="http://schemas.microsoft.com/office/drawing/2014/main" id="{F3AAD773-5C24-9AC0-2752-DA13DC958E7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558406" y="4890516"/>
            <a:ext cx="4023994" cy="1014984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2800" b="0">
                <a:solidFill>
                  <a:schemeClr val="tx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Category nam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CF6B3C-FC00-5EB7-7C22-55ADD18344A5}"/>
              </a:ext>
            </a:extLst>
          </p:cNvPr>
          <p:cNvSpPr/>
          <p:nvPr/>
        </p:nvSpPr>
        <p:spPr>
          <a:xfrm>
            <a:off x="0" y="0"/>
            <a:ext cx="406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697812B-22E9-49AF-206B-89480FC52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2844800" cy="1000402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FFB35EB-C70D-E42F-3CD3-660192097D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813242"/>
            <a:ext cx="2843784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1" name="Text Placeholder 35">
            <a:extLst>
              <a:ext uri="{FF2B5EF4-FFF2-40B4-BE49-F238E27FC236}">
                <a16:creationId xmlns:a16="http://schemas.microsoft.com/office/drawing/2014/main" id="{15DFBE8A-8C17-F2F1-B093-69576955B2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" y="2476503"/>
            <a:ext cx="2843783" cy="295142"/>
          </a:xfrm>
        </p:spPr>
        <p:txBody>
          <a:bodyPr anchor="t">
            <a:noAutofit/>
          </a:bodyPr>
          <a:lstStyle>
            <a:lvl1pPr>
              <a:spcAft>
                <a:spcPts val="1200"/>
              </a:spcAft>
              <a:defRPr sz="1400" b="1" cap="all" spc="300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1B191817-16E1-D054-A2BF-E5437C6A210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38027"/>
            <a:ext cx="2843782" cy="153888"/>
          </a:xfrm>
        </p:spPr>
        <p:txBody>
          <a:bodyPr wrap="square" anchor="ctr">
            <a:sp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85D6DC0-B751-F104-558A-2CF533B9BE0F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4064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13">
            <a:extLst>
              <a:ext uri="{FF2B5EF4-FFF2-40B4-BE49-F238E27FC236}">
                <a16:creationId xmlns:a16="http://schemas.microsoft.com/office/drawing/2014/main" id="{F337DF17-7F97-2221-1EA6-AE47CFFA12A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609600" y="6566085"/>
            <a:ext cx="284378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E3AD8B8-FC1F-35CF-FD03-9E3947B1CFFD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4064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49">
            <a:extLst>
              <a:ext uri="{FF2B5EF4-FFF2-40B4-BE49-F238E27FC236}">
                <a16:creationId xmlns:a16="http://schemas.microsoft.com/office/drawing/2014/main" id="{8020E8BF-1299-4166-DFC7-34CF6757ED55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ABB39132-01AE-4489-B5A5-99BD96A00C93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DC231E2-1393-4B54-D6AB-39B8F6F3A1D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09600" y="2862072"/>
            <a:ext cx="2843213" cy="213969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  <a:lvl3pPr marL="182880" indent="0">
              <a:buNone/>
              <a:defRPr sz="1600">
                <a:solidFill>
                  <a:schemeClr val="bg1"/>
                </a:solidFill>
              </a:defRPr>
            </a:lvl3pPr>
            <a:lvl4pPr marL="365760" indent="0">
              <a:buNone/>
              <a:defRPr sz="1600">
                <a:solidFill>
                  <a:schemeClr val="bg1"/>
                </a:solidFill>
              </a:defRPr>
            </a:lvl4pPr>
            <a:lvl5pPr marL="54864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586702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 Callouts - Dark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2F6F618-CF2E-13EA-0DF7-5CBE80F733F0}"/>
              </a:ext>
            </a:extLst>
          </p:cNvPr>
          <p:cNvSpPr/>
          <p:nvPr/>
        </p:nvSpPr>
        <p:spPr>
          <a:xfrm flipH="1">
            <a:off x="4064000" y="0"/>
            <a:ext cx="8128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35">
            <a:extLst>
              <a:ext uri="{FF2B5EF4-FFF2-40B4-BE49-F238E27FC236}">
                <a16:creationId xmlns:a16="http://schemas.microsoft.com/office/drawing/2014/main" id="{0780DDAB-A716-E44B-8B3F-D1AFC69E96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73600" y="742698"/>
            <a:ext cx="2313432" cy="1015663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6600" b="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XXX</a:t>
            </a:r>
          </a:p>
        </p:txBody>
      </p:sp>
      <p:sp>
        <p:nvSpPr>
          <p:cNvPr id="27" name="Text Placeholder 35">
            <a:extLst>
              <a:ext uri="{FF2B5EF4-FFF2-40B4-BE49-F238E27FC236}">
                <a16:creationId xmlns:a16="http://schemas.microsoft.com/office/drawing/2014/main" id="{6F975B03-F7CD-D8A4-0E18-19A70027DC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73600" y="2860889"/>
            <a:ext cx="2313432" cy="1015663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6600" b="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XXX</a:t>
            </a:r>
          </a:p>
        </p:txBody>
      </p:sp>
      <p:sp>
        <p:nvSpPr>
          <p:cNvPr id="28" name="Text Placeholder 35">
            <a:extLst>
              <a:ext uri="{FF2B5EF4-FFF2-40B4-BE49-F238E27FC236}">
                <a16:creationId xmlns:a16="http://schemas.microsoft.com/office/drawing/2014/main" id="{29105BCB-9491-B028-4CDE-AFF15ACE57A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73600" y="4979080"/>
            <a:ext cx="2313432" cy="1015663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6600" b="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XXX</a:t>
            </a:r>
          </a:p>
        </p:txBody>
      </p:sp>
      <p:sp>
        <p:nvSpPr>
          <p:cNvPr id="29" name="Text Placeholder 35">
            <a:extLst>
              <a:ext uri="{FF2B5EF4-FFF2-40B4-BE49-F238E27FC236}">
                <a16:creationId xmlns:a16="http://schemas.microsoft.com/office/drawing/2014/main" id="{8E051EED-DBA8-D571-CF36-C1A1CDB174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58406" y="742698"/>
            <a:ext cx="4023994" cy="1014984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2800" b="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Category name</a:t>
            </a:r>
          </a:p>
        </p:txBody>
      </p:sp>
      <p:sp>
        <p:nvSpPr>
          <p:cNvPr id="31" name="Text Placeholder 35">
            <a:extLst>
              <a:ext uri="{FF2B5EF4-FFF2-40B4-BE49-F238E27FC236}">
                <a16:creationId xmlns:a16="http://schemas.microsoft.com/office/drawing/2014/main" id="{EFA2068F-D955-25B7-99A8-9CF50683A4C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58406" y="2861568"/>
            <a:ext cx="4023994" cy="1014984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2800" b="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Category name</a:t>
            </a:r>
          </a:p>
        </p:txBody>
      </p:sp>
      <p:sp>
        <p:nvSpPr>
          <p:cNvPr id="32" name="Text Placeholder 35">
            <a:extLst>
              <a:ext uri="{FF2B5EF4-FFF2-40B4-BE49-F238E27FC236}">
                <a16:creationId xmlns:a16="http://schemas.microsoft.com/office/drawing/2014/main" id="{F3AAD773-5C24-9AC0-2752-DA13DC958E7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558406" y="4979759"/>
            <a:ext cx="4023994" cy="1014984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2800" b="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Category nam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047FEEB-518A-8ED4-B190-89AB72E00D7E}"/>
              </a:ext>
            </a:extLst>
          </p:cNvPr>
          <p:cNvCxnSpPr>
            <a:cxnSpLocks/>
          </p:cNvCxnSpPr>
          <p:nvPr/>
        </p:nvCxnSpPr>
        <p:spPr>
          <a:xfrm flipH="1">
            <a:off x="4673600" y="2309625"/>
            <a:ext cx="69088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E536A8F-77E4-2060-8067-D9F8A5BBD7FE}"/>
              </a:ext>
            </a:extLst>
          </p:cNvPr>
          <p:cNvCxnSpPr>
            <a:cxnSpLocks/>
          </p:cNvCxnSpPr>
          <p:nvPr/>
        </p:nvCxnSpPr>
        <p:spPr>
          <a:xfrm flipH="1">
            <a:off x="4673600" y="4427816"/>
            <a:ext cx="69088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05754DDD-4564-A9EB-8E1A-7FCA5F9D6A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2844800" cy="1000402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7EA713E-01BE-BF01-9F34-76521E9285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813242"/>
            <a:ext cx="2843784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6" name="Text Placeholder 35">
            <a:extLst>
              <a:ext uri="{FF2B5EF4-FFF2-40B4-BE49-F238E27FC236}">
                <a16:creationId xmlns:a16="http://schemas.microsoft.com/office/drawing/2014/main" id="{208C13BF-5B90-D470-A4B5-3DCD3545EB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" y="2476503"/>
            <a:ext cx="2843783" cy="292608"/>
          </a:xfrm>
        </p:spPr>
        <p:txBody>
          <a:bodyPr anchor="t">
            <a:noAutofit/>
          </a:bodyPr>
          <a:lstStyle>
            <a:lvl1pPr>
              <a:spcAft>
                <a:spcPts val="1200"/>
              </a:spcAft>
              <a:defRPr sz="1400" b="1" cap="all" spc="300" baseline="0">
                <a:solidFill>
                  <a:schemeClr val="tx2"/>
                </a:solidFill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Header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78FDEB99-4784-B972-251E-0E3474B67D5D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40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74D925A-9D6D-4A25-E178-1FE9D77E72F8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40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53577F8E-3815-6002-2762-4915D87EA291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236555" y="13802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26D3A883-4524-43DF-8C88-CCCABA5D8FAF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14" name="Slide Number Placeholder 14">
            <a:extLst>
              <a:ext uri="{FF2B5EF4-FFF2-40B4-BE49-F238E27FC236}">
                <a16:creationId xmlns:a16="http://schemas.microsoft.com/office/drawing/2014/main" id="{FA10D52E-46F2-DFEC-06E7-6C106D7B1B9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248008" y="656608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23557860-BBEB-3C14-21FC-4FA8790767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09600" y="136647"/>
            <a:ext cx="2843782" cy="153888"/>
          </a:xfrm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34DE172C-87DA-3D2B-97EB-424DA18EDC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284378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C83E66-FF88-61D6-BC16-4730794EB09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9600" y="2862072"/>
            <a:ext cx="2843213" cy="2139696"/>
          </a:xfrm>
        </p:spPr>
        <p:txBody>
          <a:bodyPr/>
          <a:lstStyle>
            <a:lvl2pPr marL="0" indent="0">
              <a:buNone/>
              <a:defRPr sz="16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125564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 Callouts - Dark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35">
            <a:extLst>
              <a:ext uri="{FF2B5EF4-FFF2-40B4-BE49-F238E27FC236}">
                <a16:creationId xmlns:a16="http://schemas.microsoft.com/office/drawing/2014/main" id="{0780DDAB-A716-E44B-8B3F-D1AFC69E96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73600" y="884204"/>
            <a:ext cx="2313432" cy="1015663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6600" b="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XXX</a:t>
            </a:r>
          </a:p>
        </p:txBody>
      </p:sp>
      <p:sp>
        <p:nvSpPr>
          <p:cNvPr id="27" name="Text Placeholder 35">
            <a:extLst>
              <a:ext uri="{FF2B5EF4-FFF2-40B4-BE49-F238E27FC236}">
                <a16:creationId xmlns:a16="http://schemas.microsoft.com/office/drawing/2014/main" id="{6F975B03-F7CD-D8A4-0E18-19A70027DC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73600" y="2804205"/>
            <a:ext cx="2313432" cy="1015663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6600" b="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XXX</a:t>
            </a:r>
          </a:p>
        </p:txBody>
      </p:sp>
      <p:sp>
        <p:nvSpPr>
          <p:cNvPr id="28" name="Text Placeholder 35">
            <a:extLst>
              <a:ext uri="{FF2B5EF4-FFF2-40B4-BE49-F238E27FC236}">
                <a16:creationId xmlns:a16="http://schemas.microsoft.com/office/drawing/2014/main" id="{29105BCB-9491-B028-4CDE-AFF15ACE57A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73600" y="4724204"/>
            <a:ext cx="2313432" cy="1015663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6600" b="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XXX</a:t>
            </a:r>
          </a:p>
        </p:txBody>
      </p:sp>
      <p:sp>
        <p:nvSpPr>
          <p:cNvPr id="29" name="Text Placeholder 35">
            <a:extLst>
              <a:ext uri="{FF2B5EF4-FFF2-40B4-BE49-F238E27FC236}">
                <a16:creationId xmlns:a16="http://schemas.microsoft.com/office/drawing/2014/main" id="{8E051EED-DBA8-D571-CF36-C1A1CDB174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58406" y="884204"/>
            <a:ext cx="4023994" cy="1014984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2800" b="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Category name</a:t>
            </a:r>
          </a:p>
        </p:txBody>
      </p:sp>
      <p:sp>
        <p:nvSpPr>
          <p:cNvPr id="31" name="Text Placeholder 35">
            <a:extLst>
              <a:ext uri="{FF2B5EF4-FFF2-40B4-BE49-F238E27FC236}">
                <a16:creationId xmlns:a16="http://schemas.microsoft.com/office/drawing/2014/main" id="{EFA2068F-D955-25B7-99A8-9CF50683A4C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58406" y="2804884"/>
            <a:ext cx="4023994" cy="1014984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2800" b="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Category name</a:t>
            </a:r>
          </a:p>
        </p:txBody>
      </p:sp>
      <p:sp>
        <p:nvSpPr>
          <p:cNvPr id="32" name="Text Placeholder 35">
            <a:extLst>
              <a:ext uri="{FF2B5EF4-FFF2-40B4-BE49-F238E27FC236}">
                <a16:creationId xmlns:a16="http://schemas.microsoft.com/office/drawing/2014/main" id="{F3AAD773-5C24-9AC0-2752-DA13DC958E7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558406" y="4724883"/>
            <a:ext cx="4023994" cy="1014984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2800" b="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Category nam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047FEEB-518A-8ED4-B190-89AB72E00D7E}"/>
              </a:ext>
            </a:extLst>
          </p:cNvPr>
          <p:cNvCxnSpPr>
            <a:cxnSpLocks/>
          </p:cNvCxnSpPr>
          <p:nvPr/>
        </p:nvCxnSpPr>
        <p:spPr>
          <a:xfrm flipH="1">
            <a:off x="4673600" y="2352036"/>
            <a:ext cx="69088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E536A8F-77E4-2060-8067-D9F8A5BBD7FE}"/>
              </a:ext>
            </a:extLst>
          </p:cNvPr>
          <p:cNvCxnSpPr>
            <a:cxnSpLocks/>
          </p:cNvCxnSpPr>
          <p:nvPr/>
        </p:nvCxnSpPr>
        <p:spPr>
          <a:xfrm flipH="1">
            <a:off x="4673600" y="4272037"/>
            <a:ext cx="69088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077CD39D-FBC2-F67A-6ABF-7388633EE6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2844800" cy="1000402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2F4A5E10-6528-5317-6FC7-84D246855D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813242"/>
            <a:ext cx="2843784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9" name="Text Placeholder 35">
            <a:extLst>
              <a:ext uri="{FF2B5EF4-FFF2-40B4-BE49-F238E27FC236}">
                <a16:creationId xmlns:a16="http://schemas.microsoft.com/office/drawing/2014/main" id="{1B85DF85-C453-E835-0D48-26D1A5DDD8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" y="2476503"/>
            <a:ext cx="2843783" cy="292608"/>
          </a:xfrm>
        </p:spPr>
        <p:txBody>
          <a:bodyPr anchor="t">
            <a:noAutofit/>
          </a:bodyPr>
          <a:lstStyle>
            <a:lvl1pPr>
              <a:spcAft>
                <a:spcPts val="1200"/>
              </a:spcAft>
              <a:defRPr sz="1400" b="1" cap="all" spc="300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4FFAD1B4-2BD9-0113-10B5-AE6570A8774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3802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3" name="Date Placeholder 12">
            <a:extLst>
              <a:ext uri="{FF2B5EF4-FFF2-40B4-BE49-F238E27FC236}">
                <a16:creationId xmlns:a16="http://schemas.microsoft.com/office/drawing/2014/main" id="{52A6576F-6CE7-0F44-3DBD-A5056EB97BA4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236555" y="13802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21EC9463-8211-4A09-92F6-061FB202B684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4" name="Footer Placeholder 13">
            <a:extLst>
              <a:ext uri="{FF2B5EF4-FFF2-40B4-BE49-F238E27FC236}">
                <a16:creationId xmlns:a16="http://schemas.microsoft.com/office/drawing/2014/main" id="{A200D087-44D9-A485-ACDB-C083442B1568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609600" y="656608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11" name="Slide Number Placeholder 14">
            <a:extLst>
              <a:ext uri="{FF2B5EF4-FFF2-40B4-BE49-F238E27FC236}">
                <a16:creationId xmlns:a16="http://schemas.microsoft.com/office/drawing/2014/main" id="{27D25F20-E66E-4286-A051-A211725D55FD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248008" y="656608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26424F9E-E7F8-5B7C-FFAF-3ADCBD43B8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03876" y="88565"/>
            <a:ext cx="995110" cy="252812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3BB773C-EFC8-8BEA-A798-6903B9FE666D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97412D3-B7AD-6E8D-AD6D-72684880C9A0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C421E67-F862-2E50-47D7-635F4FDE0AD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600" y="2862072"/>
            <a:ext cx="2843213" cy="213969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  <a:lvl3pPr marL="182880" indent="0">
              <a:buNone/>
              <a:defRPr sz="1600">
                <a:solidFill>
                  <a:schemeClr val="bg1"/>
                </a:solidFill>
              </a:defRPr>
            </a:lvl3pPr>
            <a:lvl4pPr marL="365760" indent="0">
              <a:buNone/>
              <a:defRPr sz="1600">
                <a:solidFill>
                  <a:schemeClr val="bg1"/>
                </a:solidFill>
              </a:defRPr>
            </a:lvl4pPr>
            <a:lvl5pPr marL="54864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0145309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column - Dark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20A254F-BDD5-C9AF-1DD7-05ACB129B577}"/>
              </a:ext>
            </a:extLst>
          </p:cNvPr>
          <p:cNvSpPr/>
          <p:nvPr/>
        </p:nvSpPr>
        <p:spPr>
          <a:xfrm>
            <a:off x="7019925" y="431800"/>
            <a:ext cx="5172075" cy="599670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09D163-6DF6-9BE0-6173-D594B244B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5486400" cy="5539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F8511C82-C1B8-2B85-F38D-ACDB893239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54864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2" name="Text Placeholder 37">
            <a:extLst>
              <a:ext uri="{FF2B5EF4-FFF2-40B4-BE49-F238E27FC236}">
                <a16:creationId xmlns:a16="http://schemas.microsoft.com/office/drawing/2014/main" id="{F4AE42DD-CBC4-0669-9A85-81A01695BC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1" y="4225518"/>
            <a:ext cx="5486400" cy="1389888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2AAAC208-B9A3-AB8D-8A3F-5267EA42C80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9601" y="2111664"/>
            <a:ext cx="5486400" cy="1481328"/>
          </a:xfrm>
        </p:spPr>
        <p:txBody>
          <a:bodyPr anchor="b">
            <a:noAutofit/>
          </a:bodyPr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49">
            <a:extLst>
              <a:ext uri="{FF2B5EF4-FFF2-40B4-BE49-F238E27FC236}">
                <a16:creationId xmlns:a16="http://schemas.microsoft.com/office/drawing/2014/main" id="{5F217281-3A4E-E1DA-0ABE-80B7AC4FF1B8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916DF86A-30B1-4B44-A04E-9B307D9D54ED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CFB9608-E818-D2BF-8BF7-6E839B8050D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C85335B-FAF2-9208-41C9-63068D2F64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4B1F0BD-22AE-6975-1D8F-0E77C97E26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15BECC8-7D1B-6FCC-F690-CE812AE63D4C}"/>
              </a:ext>
            </a:extLst>
          </p:cNvPr>
          <p:cNvPicPr/>
          <p:nvPr userDrawn="1"/>
        </p:nvPicPr>
        <p:blipFill>
          <a:blip r:embed="rId2"/>
          <a:stretch>
            <a:fillRect/>
          </a:stretch>
        </p:blipFill>
        <p:spPr>
          <a:xfrm>
            <a:off x="7630516" y="1377621"/>
            <a:ext cx="3950550" cy="4121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1726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column - Ligh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09D163-6DF6-9BE0-6173-D594B244B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5486400" cy="5539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4DFF45-2DB6-69E3-0747-CC4006B4454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41C210-892D-24A5-E574-B59C507782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84C8C42-24E6-26F9-5E38-271AAD2DC69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B8C9EC5C-466E-4248-8A44-5AD6DAE3617F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F8511C82-C1B8-2B85-F38D-ACDB893239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54864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2" name="Text Placeholder 37">
            <a:extLst>
              <a:ext uri="{FF2B5EF4-FFF2-40B4-BE49-F238E27FC236}">
                <a16:creationId xmlns:a16="http://schemas.microsoft.com/office/drawing/2014/main" id="{F4AE42DD-CBC4-0669-9A85-81A01695BC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1" y="4225518"/>
            <a:ext cx="5486400" cy="1389888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42D5A6F2-908D-2D67-A69F-7F8AC3E161A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2AAAC208-B9A3-AB8D-8A3F-5267EA42C80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9601" y="2111664"/>
            <a:ext cx="5486400" cy="1481328"/>
          </a:xfrm>
        </p:spPr>
        <p:txBody>
          <a:bodyPr anchor="b">
            <a:noAutofit/>
          </a:bodyPr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32E9A54D-899E-AB52-26FF-B640B41CD336}"/>
              </a:ext>
            </a:extLst>
          </p:cNvPr>
          <p:cNvPicPr/>
          <p:nvPr userDrawn="1"/>
        </p:nvPicPr>
        <p:blipFill>
          <a:blip r:embed="rId2"/>
          <a:stretch>
            <a:fillRect/>
          </a:stretch>
        </p:blipFill>
        <p:spPr>
          <a:xfrm>
            <a:off x="7629672" y="1419268"/>
            <a:ext cx="3950550" cy="4048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28737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-column + Image - Ligh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09D163-6DF6-9BE0-6173-D594B244B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5978524" cy="5539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F8511C82-C1B8-2B85-F38D-ACDB893239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5978524" cy="30777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2" name="Text Placeholder 37">
            <a:extLst>
              <a:ext uri="{FF2B5EF4-FFF2-40B4-BE49-F238E27FC236}">
                <a16:creationId xmlns:a16="http://schemas.microsoft.com/office/drawing/2014/main" id="{F4AE42DD-CBC4-0669-9A85-81A01695BC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1" y="4225518"/>
            <a:ext cx="5978524" cy="1389888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2AAAC208-B9A3-AB8D-8A3F-5267EA42C80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9601" y="2111664"/>
            <a:ext cx="5978524" cy="1481328"/>
          </a:xfrm>
        </p:spPr>
        <p:txBody>
          <a:bodyPr anchor="b">
            <a:noAutofit/>
          </a:bodyPr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CFB9608-E818-D2BF-8BF7-6E839B8050D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C85335B-FAF2-9208-41C9-63068D2F64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E63F9C31-8332-AB06-3853-4F9BFCA2654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197724" y="0"/>
            <a:ext cx="4994276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 b="0"/>
            </a:lvl1pPr>
          </a:lstStyle>
          <a:p>
            <a:r>
              <a:rPr lang="en-US"/>
              <a:t>Insert Photo</a:t>
            </a:r>
          </a:p>
        </p:txBody>
      </p:sp>
    </p:spTree>
    <p:extLst>
      <p:ext uri="{BB962C8B-B14F-4D97-AF65-F5344CB8AC3E}">
        <p14:creationId xmlns:p14="http://schemas.microsoft.com/office/powerpoint/2010/main" val="2574703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-column + Image - Ligh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09D163-6DF6-9BE0-6173-D594B244B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03874" y="800754"/>
            <a:ext cx="5978525" cy="5539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F8511C82-C1B8-2B85-F38D-ACDB893239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03874" y="1371912"/>
            <a:ext cx="5978525" cy="30777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2" name="Text Placeholder 37">
            <a:extLst>
              <a:ext uri="{FF2B5EF4-FFF2-40B4-BE49-F238E27FC236}">
                <a16:creationId xmlns:a16="http://schemas.microsoft.com/office/drawing/2014/main" id="{F4AE42DD-CBC4-0669-9A85-81A01695BC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603875" y="4225518"/>
            <a:ext cx="5978525" cy="1389888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2AAAC208-B9A3-AB8D-8A3F-5267EA42C80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603875" y="2111664"/>
            <a:ext cx="5978525" cy="1481328"/>
          </a:xfrm>
        </p:spPr>
        <p:txBody>
          <a:bodyPr anchor="b">
            <a:noAutofit/>
          </a:bodyPr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E63F9C31-8332-AB06-3853-4F9BFCA2654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4994272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 b="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4" name="Date Placeholder 49">
            <a:extLst>
              <a:ext uri="{FF2B5EF4-FFF2-40B4-BE49-F238E27FC236}">
                <a16:creationId xmlns:a16="http://schemas.microsoft.com/office/drawing/2014/main" id="{EAE3F246-F4BA-D296-9A9E-F72A3B7D2B97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10FA273E-61F0-4C9C-BD24-C2959672C88E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2050F09-2097-9548-BAAE-6D4AC254B2C0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509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One-column + Image -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09D163-6DF6-9BE0-6173-D594B244B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5978524" cy="553998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F8511C82-C1B8-2B85-F38D-ACDB893239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5978524" cy="30777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2" name="Text Placeholder 37">
            <a:extLst>
              <a:ext uri="{FF2B5EF4-FFF2-40B4-BE49-F238E27FC236}">
                <a16:creationId xmlns:a16="http://schemas.microsoft.com/office/drawing/2014/main" id="{F4AE42DD-CBC4-0669-9A85-81A01695BC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1" y="4225518"/>
            <a:ext cx="5978524" cy="1389888"/>
          </a:xfrm>
        </p:spPr>
        <p:txBody>
          <a:bodyPr>
            <a:no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2AAAC208-B9A3-AB8D-8A3F-5267EA42C80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9601" y="2111664"/>
            <a:ext cx="5978524" cy="1481328"/>
          </a:xfrm>
        </p:spPr>
        <p:txBody>
          <a:bodyPr anchor="b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CFB9608-E818-D2BF-8BF7-6E839B8050D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C85335B-FAF2-9208-41C9-63068D2F64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E38C83F-FE77-B0B1-618B-39EACC5CBE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03876" y="88565"/>
            <a:ext cx="995110" cy="252812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DCBA5D9-BC1F-6EFF-E8A4-8986DCEC862B}"/>
              </a:ext>
            </a:extLst>
          </p:cNvPr>
          <p:cNvCxnSpPr>
            <a:cxnSpLocks/>
          </p:cNvCxnSpPr>
          <p:nvPr userDrawn="1"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2592204-2F9A-346C-21BD-84790B6413BA}"/>
              </a:ext>
            </a:extLst>
          </p:cNvPr>
          <p:cNvCxnSpPr>
            <a:cxnSpLocks/>
          </p:cNvCxnSpPr>
          <p:nvPr userDrawn="1"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E63F9C31-8332-AB06-3853-4F9BFCA2654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197724" y="0"/>
            <a:ext cx="4994276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 b="0"/>
            </a:lvl1pPr>
          </a:lstStyle>
          <a:p>
            <a:r>
              <a:rPr lang="en-US"/>
              <a:t>Insert Photo</a:t>
            </a:r>
          </a:p>
        </p:txBody>
      </p:sp>
    </p:spTree>
    <p:extLst>
      <p:ext uri="{BB962C8B-B14F-4D97-AF65-F5344CB8AC3E}">
        <p14:creationId xmlns:p14="http://schemas.microsoft.com/office/powerpoint/2010/main" val="46287059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One-column + Image -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09D163-6DF6-9BE0-6173-D594B244B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03875" y="800754"/>
            <a:ext cx="5986144" cy="553998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F8511C82-C1B8-2B85-F38D-ACDB893239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03875" y="1371912"/>
            <a:ext cx="5986144" cy="30777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2" name="Text Placeholder 37">
            <a:extLst>
              <a:ext uri="{FF2B5EF4-FFF2-40B4-BE49-F238E27FC236}">
                <a16:creationId xmlns:a16="http://schemas.microsoft.com/office/drawing/2014/main" id="{F4AE42DD-CBC4-0669-9A85-81A01695BC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603876" y="4225518"/>
            <a:ext cx="5986144" cy="1389888"/>
          </a:xfrm>
        </p:spPr>
        <p:txBody>
          <a:bodyPr>
            <a:no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2AAAC208-B9A3-AB8D-8A3F-5267EA42C80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603876" y="2111664"/>
            <a:ext cx="5986144" cy="1481328"/>
          </a:xfrm>
        </p:spPr>
        <p:txBody>
          <a:bodyPr anchor="b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E38C83F-FE77-B0B1-618B-39EACC5CBE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03876" y="88565"/>
            <a:ext cx="995110" cy="252812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DCBA5D9-BC1F-6EFF-E8A4-8986DCEC862B}"/>
              </a:ext>
            </a:extLst>
          </p:cNvPr>
          <p:cNvCxnSpPr>
            <a:cxnSpLocks/>
          </p:cNvCxnSpPr>
          <p:nvPr userDrawn="1"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2592204-2F9A-346C-21BD-84790B6413BA}"/>
              </a:ext>
            </a:extLst>
          </p:cNvPr>
          <p:cNvCxnSpPr>
            <a:cxnSpLocks/>
          </p:cNvCxnSpPr>
          <p:nvPr userDrawn="1"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E63F9C31-8332-AB06-3853-4F9BFCA2654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4994274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 b="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5" name="Date Placeholder 12">
            <a:extLst>
              <a:ext uri="{FF2B5EF4-FFF2-40B4-BE49-F238E27FC236}">
                <a16:creationId xmlns:a16="http://schemas.microsoft.com/office/drawing/2014/main" id="{F9CCB3FD-099F-8950-BA2E-03EDE47757CD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236555" y="13802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60834FE0-6810-4852-ABA9-A12629BD71E8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13" name="Slide Number Placeholder 14">
            <a:extLst>
              <a:ext uri="{FF2B5EF4-FFF2-40B4-BE49-F238E27FC236}">
                <a16:creationId xmlns:a16="http://schemas.microsoft.com/office/drawing/2014/main" id="{939BDB0E-7404-3E9E-E16A-F935BB2D2E92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248008" y="656608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40301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 - Ligh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D1804CB4-5557-9973-F2E2-067CE83E70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54436" y="424766"/>
            <a:ext cx="1783555" cy="453120"/>
          </a:xfrm>
          <a:prstGeom prst="rect">
            <a:avLst/>
          </a:prstGeom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270E44F-1E2D-F8B5-FD8F-60B5E3E8E9C9}"/>
              </a:ext>
            </a:extLst>
          </p:cNvPr>
          <p:cNvCxnSpPr>
            <a:cxnSpLocks/>
          </p:cNvCxnSpPr>
          <p:nvPr/>
        </p:nvCxnSpPr>
        <p:spPr>
          <a:xfrm>
            <a:off x="6022043" y="4674590"/>
            <a:ext cx="5549059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6AB97320-06D6-C577-0ABE-885AFB5AE2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22042" y="1843100"/>
            <a:ext cx="5549059" cy="2468881"/>
          </a:xfrm>
        </p:spPr>
        <p:txBody>
          <a:bodyPr wrap="square" anchor="b">
            <a:no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600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ation title extends up to 3 lines</a:t>
            </a:r>
          </a:p>
        </p:txBody>
      </p:sp>
      <p:sp>
        <p:nvSpPr>
          <p:cNvPr id="29" name="Text Placeholder 16">
            <a:extLst>
              <a:ext uri="{FF2B5EF4-FFF2-40B4-BE49-F238E27FC236}">
                <a16:creationId xmlns:a16="http://schemas.microsoft.com/office/drawing/2014/main" id="{71D30944-DF77-7E86-9FD0-8DBF26C43A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50618" y="1259866"/>
            <a:ext cx="2468880" cy="223908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400" b="1" cap="all" spc="3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8D2E7B1-6DAB-E708-9A1B-7D88594DA1F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48011" y="6275411"/>
            <a:ext cx="1834388" cy="210312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59960BED-8E9E-EA6F-5CAD-39178DD5B8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27579" t="20639" r="1500" b="7525"/>
          <a:stretch/>
        </p:blipFill>
        <p:spPr>
          <a:xfrm>
            <a:off x="0" y="0"/>
            <a:ext cx="5486401" cy="6857999"/>
          </a:xfrm>
          <a:prstGeom prst="rect">
            <a:avLst/>
          </a:prstGeom>
        </p:spPr>
      </p:pic>
      <p:sp>
        <p:nvSpPr>
          <p:cNvPr id="5" name="Text Placeholder 33">
            <a:extLst>
              <a:ext uri="{FF2B5EF4-FFF2-40B4-BE49-F238E27FC236}">
                <a16:creationId xmlns:a16="http://schemas.microsoft.com/office/drawing/2014/main" id="{FF7954BE-2255-0DBC-F7BC-EF11524493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22042" y="5074889"/>
            <a:ext cx="5387082" cy="307777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b="1">
                <a:solidFill>
                  <a:schemeClr val="tx2"/>
                </a:solidFill>
                <a:latin typeface="+mj-lt"/>
              </a:defRPr>
            </a:lvl1pPr>
            <a:lvl2pPr marL="0" indent="0">
              <a:spcAft>
                <a:spcPts val="300"/>
              </a:spcAft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6" name="Text Placeholder 33">
            <a:extLst>
              <a:ext uri="{FF2B5EF4-FFF2-40B4-BE49-F238E27FC236}">
                <a16:creationId xmlns:a16="http://schemas.microsoft.com/office/drawing/2014/main" id="{A395564A-B155-2EB1-E045-5B5D052E7E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32790" y="5415178"/>
            <a:ext cx="5387082" cy="276999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</p:spTree>
    <p:extLst>
      <p:ext uri="{BB962C8B-B14F-4D97-AF65-F5344CB8AC3E}">
        <p14:creationId xmlns:p14="http://schemas.microsoft.com/office/powerpoint/2010/main" val="289101750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44">
            <a:extLst>
              <a:ext uri="{FF2B5EF4-FFF2-40B4-BE49-F238E27FC236}">
                <a16:creationId xmlns:a16="http://schemas.microsoft.com/office/drawing/2014/main" id="{731DA744-1DEE-2501-A42E-C2E0191A1F5C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77701" y="1992598"/>
            <a:ext cx="521208" cy="521208"/>
          </a:xfrm>
          <a:noFill/>
        </p:spPr>
        <p:txBody>
          <a:bodyPr/>
          <a:lstStyle>
            <a:lvl1pPr>
              <a:defRPr sz="11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44">
            <a:extLst>
              <a:ext uri="{FF2B5EF4-FFF2-40B4-BE49-F238E27FC236}">
                <a16:creationId xmlns:a16="http://schemas.microsoft.com/office/drawing/2014/main" id="{19BC14CE-CCB2-79A2-11D9-159C8593E990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510668" y="1992598"/>
            <a:ext cx="521208" cy="521208"/>
          </a:xfrm>
          <a:noFill/>
        </p:spPr>
        <p:txBody>
          <a:bodyPr/>
          <a:lstStyle>
            <a:lvl1pPr>
              <a:defRPr sz="11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E17896-30F6-FC7D-2FDC-B08B42A370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46FEE47-0D8C-10E2-E380-268C0F614F0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4A29D8-E2A7-4760-696D-BA510B3288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D5025F-0C14-FCA7-8BC6-FC398093DAC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895E1F94-52C5-4023-B100-78DBF9BF45C5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D46404F1-817B-B4C5-A2D8-0EA4F8F6B9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6E1075F-48DF-8680-82D4-28A2AB5E975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21" name="Text Placeholder 46">
            <a:extLst>
              <a:ext uri="{FF2B5EF4-FFF2-40B4-BE49-F238E27FC236}">
                <a16:creationId xmlns:a16="http://schemas.microsoft.com/office/drawing/2014/main" id="{D06C7405-BD90-5CFE-376E-9A501B188D0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9600" y="2715854"/>
            <a:ext cx="5029200" cy="1289304"/>
          </a:xfrm>
        </p:spPr>
        <p:txBody>
          <a:bodyPr anchor="b">
            <a:noAutofit/>
          </a:bodyPr>
          <a:lstStyle>
            <a:lvl1pPr>
              <a:defRPr sz="2800"/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2DAA9A1-270F-18D4-0C67-FA0B17504AB3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0" y="4515696"/>
            <a:ext cx="5029200" cy="987552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3156739F-9BE8-571A-60C4-8A5C113558E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553200" y="4515696"/>
            <a:ext cx="5029200" cy="987552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46">
            <a:extLst>
              <a:ext uri="{FF2B5EF4-FFF2-40B4-BE49-F238E27FC236}">
                <a16:creationId xmlns:a16="http://schemas.microsoft.com/office/drawing/2014/main" id="{09AFE9A2-0ECF-A163-6A84-0E25CBC3D40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553200" y="2715854"/>
            <a:ext cx="5029200" cy="1289304"/>
          </a:xfrm>
        </p:spPr>
        <p:txBody>
          <a:bodyPr anchor="b">
            <a:noAutofit/>
          </a:bodyPr>
          <a:lstStyle>
            <a:lvl1pPr>
              <a:defRPr sz="2800"/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197174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-column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44">
            <a:extLst>
              <a:ext uri="{FF2B5EF4-FFF2-40B4-BE49-F238E27FC236}">
                <a16:creationId xmlns:a16="http://schemas.microsoft.com/office/drawing/2014/main" id="{9B92BB0C-06A1-B7EC-9ED0-D272996F08E1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567068" y="1992598"/>
            <a:ext cx="521208" cy="521208"/>
          </a:xfrm>
          <a:noFill/>
        </p:spPr>
        <p:txBody>
          <a:bodyPr/>
          <a:lstStyle>
            <a:lvl1pPr>
              <a:defRPr sz="11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Picture Placeholder 44">
            <a:extLst>
              <a:ext uri="{FF2B5EF4-FFF2-40B4-BE49-F238E27FC236}">
                <a16:creationId xmlns:a16="http://schemas.microsoft.com/office/drawing/2014/main" id="{CBDA006F-0322-06FE-CC00-072AFCB20129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8477697" y="1992598"/>
            <a:ext cx="521208" cy="521208"/>
          </a:xfrm>
          <a:noFill/>
        </p:spPr>
        <p:txBody>
          <a:bodyPr/>
          <a:lstStyle>
            <a:lvl1pPr>
              <a:defRPr sz="11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44">
            <a:extLst>
              <a:ext uri="{FF2B5EF4-FFF2-40B4-BE49-F238E27FC236}">
                <a16:creationId xmlns:a16="http://schemas.microsoft.com/office/drawing/2014/main" id="{5D3C83FF-F9BE-5ACE-923A-191F644A4B81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501115" y="1992598"/>
            <a:ext cx="521208" cy="521208"/>
          </a:xfrm>
          <a:noFill/>
        </p:spPr>
        <p:txBody>
          <a:bodyPr/>
          <a:lstStyle>
            <a:lvl1pPr>
              <a:defRPr sz="11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24CD20-5516-7DC5-C33D-FEC81A57BF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6B3B0D-3559-99F8-077B-940302BF51A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710ACD-357C-D3F8-AFC4-B9909D8E32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CF0CAB-4713-83C7-28F8-0DB75DB26EB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5E7157-9A69-4C00-8DC2-A825B4264B10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CFF9B5B2-AFF3-F577-FA6F-C489CB3AA6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C93F1CC1-A1A5-8BDC-DE12-111548DAB9B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D194AD06-F4DA-BD6D-FAFC-B444C31568F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8584" y="2748438"/>
            <a:ext cx="3099816" cy="923544"/>
          </a:xfrm>
        </p:spPr>
        <p:txBody>
          <a:bodyPr anchor="b">
            <a:noAutofit/>
          </a:bodyPr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31D0F84-196A-D07B-028F-08F39BEB0A6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8584" y="4185186"/>
            <a:ext cx="3099816" cy="1289304"/>
          </a:xfrm>
        </p:spPr>
        <p:txBody>
          <a:bodyPr>
            <a:noAutofit/>
          </a:bodyPr>
          <a:lstStyle>
            <a:lvl1pPr>
              <a:defRPr sz="1400"/>
            </a:lvl1pPr>
            <a:lvl2pPr marL="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7881F15A-C59A-E4E8-FC0E-FE9792F2ECA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545584" y="2748438"/>
            <a:ext cx="3099816" cy="923544"/>
          </a:xfrm>
        </p:spPr>
        <p:txBody>
          <a:bodyPr anchor="b">
            <a:noAutofit/>
          </a:bodyPr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05C2575A-267E-CB78-E7D3-0A82086DF69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545584" y="4185186"/>
            <a:ext cx="3099816" cy="1289304"/>
          </a:xfrm>
        </p:spPr>
        <p:txBody>
          <a:bodyPr>
            <a:noAutofit/>
          </a:bodyPr>
          <a:lstStyle>
            <a:lvl1pPr>
              <a:defRPr sz="1400"/>
            </a:lvl1pPr>
            <a:lvl2pPr marL="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D1253B36-5212-1DA8-01E7-81750827B17F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482583" y="2748438"/>
            <a:ext cx="3099816" cy="923544"/>
          </a:xfrm>
        </p:spPr>
        <p:txBody>
          <a:bodyPr anchor="b">
            <a:noAutofit/>
          </a:bodyPr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DB009249-FD49-BBAC-D4A3-BCAEB78F276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482583" y="4185186"/>
            <a:ext cx="3099816" cy="1289304"/>
          </a:xfrm>
        </p:spPr>
        <p:txBody>
          <a:bodyPr>
            <a:noAutofit/>
          </a:bodyPr>
          <a:lstStyle>
            <a:lvl1pPr>
              <a:defRPr sz="1400"/>
            </a:lvl1pPr>
            <a:lvl2pPr marL="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629832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-column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44">
            <a:extLst>
              <a:ext uri="{FF2B5EF4-FFF2-40B4-BE49-F238E27FC236}">
                <a16:creationId xmlns:a16="http://schemas.microsoft.com/office/drawing/2014/main" id="{89769F5D-1EE4-9650-C101-9BA367A72865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567068" y="1992598"/>
            <a:ext cx="521208" cy="521208"/>
          </a:xfrm>
          <a:noFill/>
        </p:spPr>
        <p:txBody>
          <a:bodyPr/>
          <a:lstStyle>
            <a:lvl1pPr>
              <a:defRPr sz="11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9" name="Picture Placeholder 44">
            <a:extLst>
              <a:ext uri="{FF2B5EF4-FFF2-40B4-BE49-F238E27FC236}">
                <a16:creationId xmlns:a16="http://schemas.microsoft.com/office/drawing/2014/main" id="{672A93A6-7142-4A8E-6BE9-C934050E0B26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3427226" y="1992598"/>
            <a:ext cx="521208" cy="521208"/>
          </a:xfrm>
          <a:noFill/>
        </p:spPr>
        <p:txBody>
          <a:bodyPr/>
          <a:lstStyle>
            <a:lvl1pPr>
              <a:defRPr sz="11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0" name="Picture Placeholder 44">
            <a:extLst>
              <a:ext uri="{FF2B5EF4-FFF2-40B4-BE49-F238E27FC236}">
                <a16:creationId xmlns:a16="http://schemas.microsoft.com/office/drawing/2014/main" id="{F055298F-0647-AD6D-DB65-6EFF4D715DA4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6319282" y="1992598"/>
            <a:ext cx="521208" cy="521208"/>
          </a:xfrm>
          <a:noFill/>
        </p:spPr>
        <p:txBody>
          <a:bodyPr/>
          <a:lstStyle>
            <a:lvl1pPr>
              <a:defRPr sz="11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1" name="Picture Placeholder 44">
            <a:extLst>
              <a:ext uri="{FF2B5EF4-FFF2-40B4-BE49-F238E27FC236}">
                <a16:creationId xmlns:a16="http://schemas.microsoft.com/office/drawing/2014/main" id="{D17283F2-B533-508F-96A7-9A4AAFB4DF2A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9211339" y="1992598"/>
            <a:ext cx="521208" cy="521208"/>
          </a:xfrm>
          <a:noFill/>
        </p:spPr>
        <p:txBody>
          <a:bodyPr/>
          <a:lstStyle>
            <a:lvl1pPr>
              <a:defRPr sz="11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24CD20-5516-7DC5-C33D-FEC81A57BF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6B3B0D-3559-99F8-077B-940302BF51A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710ACD-357C-D3F8-AFC4-B9909D8E32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CF0CAB-4713-83C7-28F8-0DB75DB26EB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6CBEA0C4-9756-47E6-99B4-9C02C7FF2B77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CFF9B5B2-AFF3-F577-FA6F-C489CB3AA6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C93F1CC1-A1A5-8BDC-DE12-111548DAB9B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D194AD06-F4DA-BD6D-FAFC-B444C31568F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8584" y="2748438"/>
            <a:ext cx="2358830" cy="923544"/>
          </a:xfrm>
        </p:spPr>
        <p:txBody>
          <a:bodyPr anchor="b">
            <a:noAutofit/>
          </a:bodyPr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31D0F84-196A-D07B-028F-08F39BEB0A6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8584" y="4185186"/>
            <a:ext cx="2358830" cy="1735690"/>
          </a:xfrm>
        </p:spPr>
        <p:txBody>
          <a:bodyPr>
            <a:noAutofit/>
          </a:bodyPr>
          <a:lstStyle>
            <a:lvl1pPr>
              <a:defRPr sz="1400"/>
            </a:lvl1pPr>
            <a:lvl2pPr marL="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2F984C37-EA47-C212-F04D-1F9B8FCA81C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479907" y="2748438"/>
            <a:ext cx="2358830" cy="923544"/>
          </a:xfrm>
        </p:spPr>
        <p:txBody>
          <a:bodyPr anchor="b">
            <a:noAutofit/>
          </a:bodyPr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2">
            <a:extLst>
              <a:ext uri="{FF2B5EF4-FFF2-40B4-BE49-F238E27FC236}">
                <a16:creationId xmlns:a16="http://schemas.microsoft.com/office/drawing/2014/main" id="{156FF9F4-E1C1-A3BD-5282-9E0865EE337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479907" y="4185186"/>
            <a:ext cx="2358830" cy="1735690"/>
          </a:xfrm>
        </p:spPr>
        <p:txBody>
          <a:bodyPr>
            <a:noAutofit/>
          </a:bodyPr>
          <a:lstStyle>
            <a:lvl1pPr>
              <a:defRPr sz="1400"/>
            </a:lvl1pPr>
            <a:lvl2pPr marL="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554334A6-9BBA-FA97-AA97-4DDDF2D4707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351231" y="2748438"/>
            <a:ext cx="2358830" cy="923544"/>
          </a:xfrm>
        </p:spPr>
        <p:txBody>
          <a:bodyPr anchor="b">
            <a:noAutofit/>
          </a:bodyPr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22">
            <a:extLst>
              <a:ext uri="{FF2B5EF4-FFF2-40B4-BE49-F238E27FC236}">
                <a16:creationId xmlns:a16="http://schemas.microsoft.com/office/drawing/2014/main" id="{4830E38D-A113-06E0-E740-A6C3F6DDD6E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51231" y="4185186"/>
            <a:ext cx="2358830" cy="1735690"/>
          </a:xfrm>
        </p:spPr>
        <p:txBody>
          <a:bodyPr>
            <a:noAutofit/>
          </a:bodyPr>
          <a:lstStyle>
            <a:lvl1pPr>
              <a:defRPr sz="1400"/>
            </a:lvl1pPr>
            <a:lvl2pPr marL="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0">
            <a:extLst>
              <a:ext uri="{FF2B5EF4-FFF2-40B4-BE49-F238E27FC236}">
                <a16:creationId xmlns:a16="http://schemas.microsoft.com/office/drawing/2014/main" id="{15C3EF92-C5EE-05D2-2CD7-E2C1DFBE54A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222554" y="2748438"/>
            <a:ext cx="2358830" cy="923544"/>
          </a:xfrm>
        </p:spPr>
        <p:txBody>
          <a:bodyPr anchor="b">
            <a:noAutofit/>
          </a:bodyPr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57BAEA13-CFA9-38DC-DF38-AACD6D8FAFDE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222554" y="4185186"/>
            <a:ext cx="2358830" cy="1735690"/>
          </a:xfrm>
        </p:spPr>
        <p:txBody>
          <a:bodyPr>
            <a:noAutofit/>
          </a:bodyPr>
          <a:lstStyle>
            <a:lvl1pPr>
              <a:defRPr sz="1400"/>
            </a:lvl1pPr>
            <a:lvl2pPr marL="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733108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Slide - Ligh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49855B-9E52-C109-BB22-81D9DEC99F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5" name="Text Placeholder 35">
            <a:extLst>
              <a:ext uri="{FF2B5EF4-FFF2-40B4-BE49-F238E27FC236}">
                <a16:creationId xmlns:a16="http://schemas.microsoft.com/office/drawing/2014/main" id="{17F8DA8A-8A83-2E82-D082-E4E4BF0C35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2913171"/>
            <a:ext cx="1874520" cy="738664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24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Insert </a:t>
            </a:r>
            <a:br>
              <a:rPr lang="en-US"/>
            </a:br>
            <a:r>
              <a:rPr lang="en-US"/>
              <a:t>header here</a:t>
            </a:r>
          </a:p>
        </p:txBody>
      </p:sp>
      <p:sp>
        <p:nvSpPr>
          <p:cNvPr id="36" name="Text Placeholder 37">
            <a:extLst>
              <a:ext uri="{FF2B5EF4-FFF2-40B4-BE49-F238E27FC236}">
                <a16:creationId xmlns:a16="http://schemas.microsoft.com/office/drawing/2014/main" id="{E39C0855-30DA-35F6-A578-7BEC38F29FC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4162378"/>
            <a:ext cx="1874520" cy="1481328"/>
          </a:xfrm>
        </p:spPr>
        <p:txBody>
          <a:bodyPr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35">
            <a:extLst>
              <a:ext uri="{FF2B5EF4-FFF2-40B4-BE49-F238E27FC236}">
                <a16:creationId xmlns:a16="http://schemas.microsoft.com/office/drawing/2014/main" id="{8D6FA3CA-013B-6D3F-E406-40575493F2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84017" y="2913171"/>
            <a:ext cx="1874520" cy="738664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24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Insert </a:t>
            </a:r>
            <a:br>
              <a:rPr lang="en-US"/>
            </a:br>
            <a:r>
              <a:rPr lang="en-US"/>
              <a:t>header here</a:t>
            </a:r>
          </a:p>
        </p:txBody>
      </p:sp>
      <p:sp>
        <p:nvSpPr>
          <p:cNvPr id="40" name="Text Placeholder 37">
            <a:extLst>
              <a:ext uri="{FF2B5EF4-FFF2-40B4-BE49-F238E27FC236}">
                <a16:creationId xmlns:a16="http://schemas.microsoft.com/office/drawing/2014/main" id="{D7DA436C-CDB7-AF89-F0B6-17B79E2F370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84017" y="4162378"/>
            <a:ext cx="1874520" cy="1481328"/>
          </a:xfrm>
        </p:spPr>
        <p:txBody>
          <a:bodyPr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35">
            <a:extLst>
              <a:ext uri="{FF2B5EF4-FFF2-40B4-BE49-F238E27FC236}">
                <a16:creationId xmlns:a16="http://schemas.microsoft.com/office/drawing/2014/main" id="{F85FA32E-317C-3728-F052-86E0456C984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55571" y="2913171"/>
            <a:ext cx="1874520" cy="738664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24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Insert </a:t>
            </a:r>
            <a:br>
              <a:rPr lang="en-US"/>
            </a:br>
            <a:r>
              <a:rPr lang="en-US"/>
              <a:t>header here</a:t>
            </a:r>
          </a:p>
        </p:txBody>
      </p:sp>
      <p:sp>
        <p:nvSpPr>
          <p:cNvPr id="44" name="Text Placeholder 37">
            <a:extLst>
              <a:ext uri="{FF2B5EF4-FFF2-40B4-BE49-F238E27FC236}">
                <a16:creationId xmlns:a16="http://schemas.microsoft.com/office/drawing/2014/main" id="{B8A6C3D4-FCE5-36CA-C2C3-2F5035AD377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55571" y="4162378"/>
            <a:ext cx="1874520" cy="1481328"/>
          </a:xfrm>
        </p:spPr>
        <p:txBody>
          <a:bodyPr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35">
            <a:extLst>
              <a:ext uri="{FF2B5EF4-FFF2-40B4-BE49-F238E27FC236}">
                <a16:creationId xmlns:a16="http://schemas.microsoft.com/office/drawing/2014/main" id="{645A059E-6755-4667-7A55-595DC3BA9D4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429988" y="2913171"/>
            <a:ext cx="1874520" cy="738664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24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Insert </a:t>
            </a:r>
            <a:br>
              <a:rPr lang="en-US"/>
            </a:br>
            <a:r>
              <a:rPr lang="en-US"/>
              <a:t>header here</a:t>
            </a:r>
          </a:p>
        </p:txBody>
      </p:sp>
      <p:sp>
        <p:nvSpPr>
          <p:cNvPr id="48" name="Text Placeholder 37">
            <a:extLst>
              <a:ext uri="{FF2B5EF4-FFF2-40B4-BE49-F238E27FC236}">
                <a16:creationId xmlns:a16="http://schemas.microsoft.com/office/drawing/2014/main" id="{FF1E85DF-94A0-E95A-E21C-3CCA97B6CD5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429988" y="4162378"/>
            <a:ext cx="1874520" cy="1481328"/>
          </a:xfrm>
        </p:spPr>
        <p:txBody>
          <a:bodyPr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35">
            <a:extLst>
              <a:ext uri="{FF2B5EF4-FFF2-40B4-BE49-F238E27FC236}">
                <a16:creationId xmlns:a16="http://schemas.microsoft.com/office/drawing/2014/main" id="{B706580B-D0EC-DB84-AF34-412C13B5B15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09796" y="2913171"/>
            <a:ext cx="1874520" cy="738664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24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Insert </a:t>
            </a:r>
            <a:br>
              <a:rPr lang="en-US"/>
            </a:br>
            <a:r>
              <a:rPr lang="en-US"/>
              <a:t>header here</a:t>
            </a:r>
          </a:p>
        </p:txBody>
      </p:sp>
      <p:sp>
        <p:nvSpPr>
          <p:cNvPr id="52" name="Text Placeholder 37">
            <a:extLst>
              <a:ext uri="{FF2B5EF4-FFF2-40B4-BE49-F238E27FC236}">
                <a16:creationId xmlns:a16="http://schemas.microsoft.com/office/drawing/2014/main" id="{0EBCED8E-EB08-0B1B-43D9-1EF6B19BC0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709796" y="4162378"/>
            <a:ext cx="1874520" cy="1481328"/>
          </a:xfrm>
        </p:spPr>
        <p:txBody>
          <a:bodyPr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Text Placeholder 3">
            <a:extLst>
              <a:ext uri="{FF2B5EF4-FFF2-40B4-BE49-F238E27FC236}">
                <a16:creationId xmlns:a16="http://schemas.microsoft.com/office/drawing/2014/main" id="{8EE55DB9-26FC-E53D-E41F-DC7CFF1273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Date Placeholder 49">
            <a:extLst>
              <a:ext uri="{FF2B5EF4-FFF2-40B4-BE49-F238E27FC236}">
                <a16:creationId xmlns:a16="http://schemas.microsoft.com/office/drawing/2014/main" id="{00167179-650B-E4CD-4B6C-C90D792F9EB5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6486C6F8-2C78-4FAB-B8FE-38F1BA981F1E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A38227B-AA85-94A0-F87C-53F33910EF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F5FA1229-D4C4-899E-5ACB-C07E219A9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7D5AB0F-905C-0611-2B43-272D4492B4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Picture Placeholder 44">
            <a:extLst>
              <a:ext uri="{FF2B5EF4-FFF2-40B4-BE49-F238E27FC236}">
                <a16:creationId xmlns:a16="http://schemas.microsoft.com/office/drawing/2014/main" id="{3DB86532-7B42-6C5F-7210-B1AD1D8EFD48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567068" y="2152093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44">
            <a:extLst>
              <a:ext uri="{FF2B5EF4-FFF2-40B4-BE49-F238E27FC236}">
                <a16:creationId xmlns:a16="http://schemas.microsoft.com/office/drawing/2014/main" id="{615249C2-8716-C802-5DF2-890AA231FE6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821168" y="2152093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44">
            <a:extLst>
              <a:ext uri="{FF2B5EF4-FFF2-40B4-BE49-F238E27FC236}">
                <a16:creationId xmlns:a16="http://schemas.microsoft.com/office/drawing/2014/main" id="{6DADB10F-3C0F-9A07-1512-1847FA653FEB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128424" y="2152093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Picture Placeholder 44">
            <a:extLst>
              <a:ext uri="{FF2B5EF4-FFF2-40B4-BE49-F238E27FC236}">
                <a16:creationId xmlns:a16="http://schemas.microsoft.com/office/drawing/2014/main" id="{F718D4CF-81B4-5AA5-CE52-6D7D7126E209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7382518" y="2152093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44">
            <a:extLst>
              <a:ext uri="{FF2B5EF4-FFF2-40B4-BE49-F238E27FC236}">
                <a16:creationId xmlns:a16="http://schemas.microsoft.com/office/drawing/2014/main" id="{7426D371-E5D0-3DF9-8D30-17B6F413B34D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668518" y="2152093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120582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-Column Slide -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44">
            <a:extLst>
              <a:ext uri="{FF2B5EF4-FFF2-40B4-BE49-F238E27FC236}">
                <a16:creationId xmlns:a16="http://schemas.microsoft.com/office/drawing/2014/main" id="{13784C03-FBF4-1B5A-7C2E-B178574279A4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567068" y="2152093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Picture Placeholder 44">
            <a:extLst>
              <a:ext uri="{FF2B5EF4-FFF2-40B4-BE49-F238E27FC236}">
                <a16:creationId xmlns:a16="http://schemas.microsoft.com/office/drawing/2014/main" id="{3CFF7CBB-4E9D-0B39-DA7A-FD8271833160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821168" y="2152093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Picture Placeholder 44">
            <a:extLst>
              <a:ext uri="{FF2B5EF4-FFF2-40B4-BE49-F238E27FC236}">
                <a16:creationId xmlns:a16="http://schemas.microsoft.com/office/drawing/2014/main" id="{76668B8C-4BF3-E7F5-C6F1-F1891A5295C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128424" y="2152093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2" name="Picture Placeholder 44">
            <a:extLst>
              <a:ext uri="{FF2B5EF4-FFF2-40B4-BE49-F238E27FC236}">
                <a16:creationId xmlns:a16="http://schemas.microsoft.com/office/drawing/2014/main" id="{BFDC18ED-AC2D-C92F-27D7-7EB549D74B9A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7382518" y="2152093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Picture Placeholder 44">
            <a:extLst>
              <a:ext uri="{FF2B5EF4-FFF2-40B4-BE49-F238E27FC236}">
                <a16:creationId xmlns:a16="http://schemas.microsoft.com/office/drawing/2014/main" id="{F2CCA429-706B-FCC9-0689-520F98CA52A6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668518" y="2152093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49855B-9E52-C109-BB22-81D9DEC99F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5" name="Text Placeholder 35">
            <a:extLst>
              <a:ext uri="{FF2B5EF4-FFF2-40B4-BE49-F238E27FC236}">
                <a16:creationId xmlns:a16="http://schemas.microsoft.com/office/drawing/2014/main" id="{17F8DA8A-8A83-2E82-D082-E4E4BF0C35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2913171"/>
            <a:ext cx="1874520" cy="738664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2400" b="1">
                <a:solidFill>
                  <a:schemeClr val="bg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Insert </a:t>
            </a:r>
            <a:br>
              <a:rPr lang="en-US"/>
            </a:br>
            <a:r>
              <a:rPr lang="en-US"/>
              <a:t>header here</a:t>
            </a:r>
          </a:p>
        </p:txBody>
      </p:sp>
      <p:sp>
        <p:nvSpPr>
          <p:cNvPr id="36" name="Text Placeholder 37">
            <a:extLst>
              <a:ext uri="{FF2B5EF4-FFF2-40B4-BE49-F238E27FC236}">
                <a16:creationId xmlns:a16="http://schemas.microsoft.com/office/drawing/2014/main" id="{E39C0855-30DA-35F6-A578-7BEC38F29FC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4162378"/>
            <a:ext cx="1874520" cy="1481328"/>
          </a:xfr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35">
            <a:extLst>
              <a:ext uri="{FF2B5EF4-FFF2-40B4-BE49-F238E27FC236}">
                <a16:creationId xmlns:a16="http://schemas.microsoft.com/office/drawing/2014/main" id="{8D6FA3CA-013B-6D3F-E406-40575493F2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84017" y="2913171"/>
            <a:ext cx="1874520" cy="738664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2400" b="1">
                <a:solidFill>
                  <a:schemeClr val="bg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Insert </a:t>
            </a:r>
            <a:br>
              <a:rPr lang="en-US"/>
            </a:br>
            <a:r>
              <a:rPr lang="en-US"/>
              <a:t>header here</a:t>
            </a:r>
          </a:p>
        </p:txBody>
      </p:sp>
      <p:sp>
        <p:nvSpPr>
          <p:cNvPr id="40" name="Text Placeholder 37">
            <a:extLst>
              <a:ext uri="{FF2B5EF4-FFF2-40B4-BE49-F238E27FC236}">
                <a16:creationId xmlns:a16="http://schemas.microsoft.com/office/drawing/2014/main" id="{D7DA436C-CDB7-AF89-F0B6-17B79E2F370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84017" y="4162378"/>
            <a:ext cx="1874520" cy="1481328"/>
          </a:xfr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35">
            <a:extLst>
              <a:ext uri="{FF2B5EF4-FFF2-40B4-BE49-F238E27FC236}">
                <a16:creationId xmlns:a16="http://schemas.microsoft.com/office/drawing/2014/main" id="{F85FA32E-317C-3728-F052-86E0456C984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55571" y="2913171"/>
            <a:ext cx="1874520" cy="738664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2400" b="1">
                <a:solidFill>
                  <a:schemeClr val="bg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Insert </a:t>
            </a:r>
            <a:br>
              <a:rPr lang="en-US"/>
            </a:br>
            <a:r>
              <a:rPr lang="en-US"/>
              <a:t>header here</a:t>
            </a:r>
          </a:p>
        </p:txBody>
      </p:sp>
      <p:sp>
        <p:nvSpPr>
          <p:cNvPr id="44" name="Text Placeholder 37">
            <a:extLst>
              <a:ext uri="{FF2B5EF4-FFF2-40B4-BE49-F238E27FC236}">
                <a16:creationId xmlns:a16="http://schemas.microsoft.com/office/drawing/2014/main" id="{B8A6C3D4-FCE5-36CA-C2C3-2F5035AD377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55571" y="4162378"/>
            <a:ext cx="1874520" cy="1481328"/>
          </a:xfr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35">
            <a:extLst>
              <a:ext uri="{FF2B5EF4-FFF2-40B4-BE49-F238E27FC236}">
                <a16:creationId xmlns:a16="http://schemas.microsoft.com/office/drawing/2014/main" id="{645A059E-6755-4667-7A55-595DC3BA9D4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429988" y="2913171"/>
            <a:ext cx="1874520" cy="738664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2400" b="1">
                <a:solidFill>
                  <a:schemeClr val="bg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Insert </a:t>
            </a:r>
            <a:br>
              <a:rPr lang="en-US"/>
            </a:br>
            <a:r>
              <a:rPr lang="en-US"/>
              <a:t>header here</a:t>
            </a:r>
          </a:p>
        </p:txBody>
      </p:sp>
      <p:sp>
        <p:nvSpPr>
          <p:cNvPr id="48" name="Text Placeholder 37">
            <a:extLst>
              <a:ext uri="{FF2B5EF4-FFF2-40B4-BE49-F238E27FC236}">
                <a16:creationId xmlns:a16="http://schemas.microsoft.com/office/drawing/2014/main" id="{FF1E85DF-94A0-E95A-E21C-3CCA97B6CD5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429988" y="4162378"/>
            <a:ext cx="1874520" cy="1481328"/>
          </a:xfr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35">
            <a:extLst>
              <a:ext uri="{FF2B5EF4-FFF2-40B4-BE49-F238E27FC236}">
                <a16:creationId xmlns:a16="http://schemas.microsoft.com/office/drawing/2014/main" id="{B706580B-D0EC-DB84-AF34-412C13B5B15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09796" y="2913171"/>
            <a:ext cx="1874520" cy="738664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2400" b="1">
                <a:solidFill>
                  <a:schemeClr val="bg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Insert </a:t>
            </a:r>
            <a:br>
              <a:rPr lang="en-US"/>
            </a:br>
            <a:r>
              <a:rPr lang="en-US"/>
              <a:t>header here</a:t>
            </a:r>
          </a:p>
        </p:txBody>
      </p:sp>
      <p:sp>
        <p:nvSpPr>
          <p:cNvPr id="52" name="Text Placeholder 37">
            <a:extLst>
              <a:ext uri="{FF2B5EF4-FFF2-40B4-BE49-F238E27FC236}">
                <a16:creationId xmlns:a16="http://schemas.microsoft.com/office/drawing/2014/main" id="{0EBCED8E-EB08-0B1B-43D9-1EF6B19BC0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709796" y="4162378"/>
            <a:ext cx="1874520" cy="1481328"/>
          </a:xfr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Text Placeholder 3">
            <a:extLst>
              <a:ext uri="{FF2B5EF4-FFF2-40B4-BE49-F238E27FC236}">
                <a16:creationId xmlns:a16="http://schemas.microsoft.com/office/drawing/2014/main" id="{8EE55DB9-26FC-E53D-E41F-DC7CFF1273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9CF81027-B92C-3715-B3B8-0AA5AEBC1A2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3802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4" name="Date Placeholder 12">
            <a:extLst>
              <a:ext uri="{FF2B5EF4-FFF2-40B4-BE49-F238E27FC236}">
                <a16:creationId xmlns:a16="http://schemas.microsoft.com/office/drawing/2014/main" id="{68B22D36-3282-7602-31C9-EEE78DC5A22A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236555" y="13802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2E532ACB-1314-45C6-998F-CFCCA7A58407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5" name="Footer Placeholder 13">
            <a:extLst>
              <a:ext uri="{FF2B5EF4-FFF2-40B4-BE49-F238E27FC236}">
                <a16:creationId xmlns:a16="http://schemas.microsoft.com/office/drawing/2014/main" id="{E9408875-4247-F6C9-BA4A-1C1255D2D0D5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609600" y="656608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FE6C9A4D-DB20-F5D9-67E5-661A2E468791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248008" y="656608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B44132BF-63D7-EDBB-8062-09CEDBF903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03876" y="88565"/>
            <a:ext cx="995110" cy="252812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9AA6A45-58A1-ECA9-622F-69F4D2BDCCEE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B36F4EB-7F41-9412-B8E4-4E989911B223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DEDC02D-8AF2-C5AE-14D7-410BAC85D4EE}"/>
              </a:ext>
            </a:extLst>
          </p:cNvPr>
          <p:cNvGrpSpPr/>
          <p:nvPr userDrawn="1"/>
        </p:nvGrpSpPr>
        <p:grpSpPr>
          <a:xfrm>
            <a:off x="0" y="426998"/>
            <a:ext cx="12192000" cy="6004005"/>
            <a:chOff x="0" y="426998"/>
            <a:chExt cx="12192000" cy="6004005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6A10C43D-9D28-CF07-F1C3-0188CC01673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26998"/>
              <a:ext cx="12192000" cy="0"/>
            </a:xfrm>
            <a:prstGeom prst="line">
              <a:avLst/>
            </a:prstGeom>
            <a:ln>
              <a:solidFill>
                <a:schemeClr val="bg1"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2AF94324-3EC5-1E9A-9848-3AB33B32689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6431003"/>
              <a:ext cx="12192000" cy="0"/>
            </a:xfrm>
            <a:prstGeom prst="line">
              <a:avLst/>
            </a:prstGeom>
            <a:ln>
              <a:solidFill>
                <a:schemeClr val="bg1"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6320459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-quadrant A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51D2EF4-5001-F13C-F78E-C3CD30675C37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19F35C9-63E6-2126-5191-C8E8DE1823BD}"/>
              </a:ext>
            </a:extLst>
          </p:cNvPr>
          <p:cNvCxnSpPr>
            <a:cxnSpLocks/>
          </p:cNvCxnSpPr>
          <p:nvPr userDrawn="1"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35B575CD-A0F4-D05B-49D1-AAC0DA3F142F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81" name="Title 1">
            <a:extLst>
              <a:ext uri="{FF2B5EF4-FFF2-40B4-BE49-F238E27FC236}">
                <a16:creationId xmlns:a16="http://schemas.microsoft.com/office/drawing/2014/main" id="{4D986523-65F7-CA58-BE9F-95D9B42E6D58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09600" y="800754"/>
            <a:ext cx="7078980" cy="5539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2" name="Footer Placeholder 2">
            <a:extLst>
              <a:ext uri="{FF2B5EF4-FFF2-40B4-BE49-F238E27FC236}">
                <a16:creationId xmlns:a16="http://schemas.microsoft.com/office/drawing/2014/main" id="{E36D4873-2E50-8B23-FB19-DDF3582A4B90}"/>
              </a:ext>
            </a:extLst>
          </p:cNvPr>
          <p:cNvSpPr>
            <a:spLocks noGrp="1"/>
          </p:cNvSpPr>
          <p:nvPr userDrawn="1">
            <p:ph type="ftr" sz="quarter" idx="10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84" name="Text Placeholder 24">
            <a:extLst>
              <a:ext uri="{FF2B5EF4-FFF2-40B4-BE49-F238E27FC236}">
                <a16:creationId xmlns:a16="http://schemas.microsoft.com/office/drawing/2014/main" id="{0771B77D-36A1-4EBD-304A-B385904204BE}"/>
              </a:ext>
            </a:extLst>
          </p:cNvPr>
          <p:cNvSpPr>
            <a:spLocks noGrp="1"/>
          </p:cNvSpPr>
          <p:nvPr userDrawn="1">
            <p:ph type="body" sz="quarter" idx="29"/>
          </p:nvPr>
        </p:nvSpPr>
        <p:spPr>
          <a:xfrm>
            <a:off x="609600" y="2515283"/>
            <a:ext cx="3191256" cy="52120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5" name="Text Placeholder 26">
            <a:extLst>
              <a:ext uri="{FF2B5EF4-FFF2-40B4-BE49-F238E27FC236}">
                <a16:creationId xmlns:a16="http://schemas.microsoft.com/office/drawing/2014/main" id="{EDD43944-89C8-A706-4272-8607BBCA2B02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609600" y="1795047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87" name="Text Placeholder 24">
            <a:extLst>
              <a:ext uri="{FF2B5EF4-FFF2-40B4-BE49-F238E27FC236}">
                <a16:creationId xmlns:a16="http://schemas.microsoft.com/office/drawing/2014/main" id="{B662D300-DDAF-6F6B-8E39-A7418E15931D}"/>
              </a:ext>
            </a:extLst>
          </p:cNvPr>
          <p:cNvSpPr>
            <a:spLocks noGrp="1"/>
          </p:cNvSpPr>
          <p:nvPr userDrawn="1">
            <p:ph type="body" sz="quarter" idx="31"/>
          </p:nvPr>
        </p:nvSpPr>
        <p:spPr>
          <a:xfrm>
            <a:off x="4500880" y="2515283"/>
            <a:ext cx="3191256" cy="52120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8" name="Text Placeholder 26">
            <a:extLst>
              <a:ext uri="{FF2B5EF4-FFF2-40B4-BE49-F238E27FC236}">
                <a16:creationId xmlns:a16="http://schemas.microsoft.com/office/drawing/2014/main" id="{16EEBDC3-7C5A-0C72-D3E0-741A60E0E06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4500880" y="1795047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90" name="Text Placeholder 24">
            <a:extLst>
              <a:ext uri="{FF2B5EF4-FFF2-40B4-BE49-F238E27FC236}">
                <a16:creationId xmlns:a16="http://schemas.microsoft.com/office/drawing/2014/main" id="{A24F53DB-EA07-419C-E02D-D0E94FD045F8}"/>
              </a:ext>
            </a:extLst>
          </p:cNvPr>
          <p:cNvSpPr>
            <a:spLocks noGrp="1"/>
          </p:cNvSpPr>
          <p:nvPr userDrawn="1">
            <p:ph type="body" sz="quarter" idx="33"/>
          </p:nvPr>
        </p:nvSpPr>
        <p:spPr>
          <a:xfrm>
            <a:off x="609600" y="4654479"/>
            <a:ext cx="3191256" cy="52120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1" name="Text Placeholder 26">
            <a:extLst>
              <a:ext uri="{FF2B5EF4-FFF2-40B4-BE49-F238E27FC236}">
                <a16:creationId xmlns:a16="http://schemas.microsoft.com/office/drawing/2014/main" id="{3A78A5E1-A2A6-7C74-75F4-720FD2C10167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09600" y="3934243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93" name="Text Placeholder 24">
            <a:extLst>
              <a:ext uri="{FF2B5EF4-FFF2-40B4-BE49-F238E27FC236}">
                <a16:creationId xmlns:a16="http://schemas.microsoft.com/office/drawing/2014/main" id="{299D343F-259D-AA0D-D7CC-4D2F2C059A3A}"/>
              </a:ext>
            </a:extLst>
          </p:cNvPr>
          <p:cNvSpPr>
            <a:spLocks noGrp="1"/>
          </p:cNvSpPr>
          <p:nvPr userDrawn="1">
            <p:ph type="body" sz="quarter" idx="35"/>
          </p:nvPr>
        </p:nvSpPr>
        <p:spPr>
          <a:xfrm>
            <a:off x="4500880" y="4654479"/>
            <a:ext cx="3191256" cy="52120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4" name="Text Placeholder 26">
            <a:extLst>
              <a:ext uri="{FF2B5EF4-FFF2-40B4-BE49-F238E27FC236}">
                <a16:creationId xmlns:a16="http://schemas.microsoft.com/office/drawing/2014/main" id="{3AE29A0E-322A-0149-80CB-2224AB498D1E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4500880" y="3934243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95" name="Text Placeholder 3">
            <a:extLst>
              <a:ext uri="{FF2B5EF4-FFF2-40B4-BE49-F238E27FC236}">
                <a16:creationId xmlns:a16="http://schemas.microsoft.com/office/drawing/2014/main" id="{E79CC756-FCC7-0E3C-8EE7-C039DC9CA4BE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09600" y="1371912"/>
            <a:ext cx="7078980" cy="30777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121" name="Graphic 120">
            <a:extLst>
              <a:ext uri="{FF2B5EF4-FFF2-40B4-BE49-F238E27FC236}">
                <a16:creationId xmlns:a16="http://schemas.microsoft.com/office/drawing/2014/main" id="{6A763AC6-A1BF-3217-C428-6A96C5F278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03875" y="88565"/>
            <a:ext cx="984250" cy="250052"/>
          </a:xfrm>
          <a:prstGeom prst="rect">
            <a:avLst/>
          </a:prstGeom>
        </p:spPr>
      </p:pic>
      <p:sp>
        <p:nvSpPr>
          <p:cNvPr id="10" name="Date Placeholder 49">
            <a:extLst>
              <a:ext uri="{FF2B5EF4-FFF2-40B4-BE49-F238E27FC236}">
                <a16:creationId xmlns:a16="http://schemas.microsoft.com/office/drawing/2014/main" id="{B6B4F7AA-D801-2536-6EE3-F4B99BF9D20C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ED734FD3-1022-4EF1-9EEE-DC71863AE71C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8FCD07A-5585-B12C-E039-0E70F1069B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CEBDD6-7A45-1DCB-6DD9-837A9D6953A6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09600" y="3078123"/>
            <a:ext cx="3190875" cy="73152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182880" indent="0">
              <a:buNone/>
              <a:defRPr sz="1400"/>
            </a:lvl3pPr>
            <a:lvl4pPr marL="365760" indent="0">
              <a:buNone/>
              <a:defRPr sz="1400"/>
            </a:lvl4pPr>
            <a:lvl5pPr marL="548640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1C9D9A6-A4A2-3FF9-B2A9-B6C7854452D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500563" y="3081489"/>
            <a:ext cx="3187700" cy="73152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ABE8072-909A-8BAD-8CA7-5013DF7F723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09600" y="5221224"/>
            <a:ext cx="3190875" cy="73152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182880" indent="0">
              <a:buNone/>
              <a:defRPr sz="1400"/>
            </a:lvl3pPr>
            <a:lvl4pPr marL="365760" indent="0">
              <a:buNone/>
              <a:defRPr sz="1400"/>
            </a:lvl4pPr>
            <a:lvl5pPr marL="548640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177CCA37-B289-D95E-8C0E-BC5B982711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505008" y="5221224"/>
            <a:ext cx="3190875" cy="73152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182880" indent="0">
              <a:buNone/>
              <a:defRPr sz="1400"/>
            </a:lvl3pPr>
            <a:lvl4pPr marL="365760" indent="0">
              <a:buNone/>
              <a:defRPr sz="1400"/>
            </a:lvl4pPr>
            <a:lvl5pPr marL="548640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 descr="A screenshot of a video game&#10;&#10;Description automatically generated">
            <a:extLst>
              <a:ext uri="{FF2B5EF4-FFF2-40B4-BE49-F238E27FC236}">
                <a16:creationId xmlns:a16="http://schemas.microsoft.com/office/drawing/2014/main" id="{37647DFC-6A3B-B517-AE8C-24502C125240}"/>
              </a:ext>
            </a:extLst>
          </p:cNvPr>
          <p:cNvPicPr/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77" t="34373" r="8007" b="2938"/>
          <a:stretch/>
        </p:blipFill>
        <p:spPr>
          <a:xfrm>
            <a:off x="8359253" y="539087"/>
            <a:ext cx="3261815" cy="578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21378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Quadrant A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35B575CD-A0F4-D05B-49D1-AAC0DA3F142F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609600" y="136647"/>
            <a:ext cx="4076700" cy="153888"/>
          </a:xfr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000" b="0" cap="all" spc="0" baseline="0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/>
              <a:t>Industry Name / Section Title</a:t>
            </a:r>
          </a:p>
        </p:txBody>
      </p:sp>
      <p:sp>
        <p:nvSpPr>
          <p:cNvPr id="81" name="Title 1">
            <a:extLst>
              <a:ext uri="{FF2B5EF4-FFF2-40B4-BE49-F238E27FC236}">
                <a16:creationId xmlns:a16="http://schemas.microsoft.com/office/drawing/2014/main" id="{4D986523-65F7-CA58-BE9F-95D9B42E6D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7078980" cy="553998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Footer Placeholder 2">
            <a:extLst>
              <a:ext uri="{FF2B5EF4-FFF2-40B4-BE49-F238E27FC236}">
                <a16:creationId xmlns:a16="http://schemas.microsoft.com/office/drawing/2014/main" id="{E36D4873-2E50-8B23-FB19-DDF3582A4B9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mtClean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85" name="Text Placeholder 26">
            <a:extLst>
              <a:ext uri="{FF2B5EF4-FFF2-40B4-BE49-F238E27FC236}">
                <a16:creationId xmlns:a16="http://schemas.microsoft.com/office/drawing/2014/main" id="{EDD43944-89C8-A706-4272-8607BBCA2B0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9600" y="1795047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88" name="Text Placeholder 26">
            <a:extLst>
              <a:ext uri="{FF2B5EF4-FFF2-40B4-BE49-F238E27FC236}">
                <a16:creationId xmlns:a16="http://schemas.microsoft.com/office/drawing/2014/main" id="{16EEBDC3-7C5A-0C72-D3E0-741A60E0E06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00880" y="1795047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91" name="Text Placeholder 26">
            <a:extLst>
              <a:ext uri="{FF2B5EF4-FFF2-40B4-BE49-F238E27FC236}">
                <a16:creationId xmlns:a16="http://schemas.microsoft.com/office/drawing/2014/main" id="{3A78A5E1-A2A6-7C74-75F4-720FD2C1016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600" y="3934243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94" name="Text Placeholder 26">
            <a:extLst>
              <a:ext uri="{FF2B5EF4-FFF2-40B4-BE49-F238E27FC236}">
                <a16:creationId xmlns:a16="http://schemas.microsoft.com/office/drawing/2014/main" id="{3AE29A0E-322A-0149-80CB-2224AB498D1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00880" y="3934243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95" name="Text Placeholder 3">
            <a:extLst>
              <a:ext uri="{FF2B5EF4-FFF2-40B4-BE49-F238E27FC236}">
                <a16:creationId xmlns:a16="http://schemas.microsoft.com/office/drawing/2014/main" id="{E79CC756-FCC7-0E3C-8EE7-C039DC9CA4B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7078980" cy="30777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152800FE-FBF0-49F7-F7E8-1489412E6B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03876" y="88565"/>
            <a:ext cx="995110" cy="252812"/>
          </a:xfrm>
          <a:prstGeom prst="rect">
            <a:avLst/>
          </a:prstGeom>
        </p:spPr>
      </p:pic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46EB6B38-7D72-D320-6E8A-6DD383343B5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mtClean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F1CC0A0-41F7-468C-8E0E-468227CB93D9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236555" y="136647"/>
            <a:ext cx="1345845" cy="153888"/>
          </a:xfr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mtClean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C3B46C02-003B-48AE-876D-3A7AE8CF956F}" type="datetime4">
              <a:rPr lang="en-US" smtClean="0"/>
              <a:t>October 23, 2025</a:t>
            </a:fld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A822572-CA27-14A6-5889-83EDE56BC82E}"/>
              </a:ext>
            </a:extLst>
          </p:cNvPr>
          <p:cNvGrpSpPr/>
          <p:nvPr userDrawn="1"/>
        </p:nvGrpSpPr>
        <p:grpSpPr>
          <a:xfrm>
            <a:off x="0" y="426998"/>
            <a:ext cx="12192000" cy="6004005"/>
            <a:chOff x="0" y="426998"/>
            <a:chExt cx="12192000" cy="6004005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CBBC9AB-1658-0BED-4B6F-984327C6AC9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26998"/>
              <a:ext cx="12192000" cy="0"/>
            </a:xfrm>
            <a:prstGeom prst="line">
              <a:avLst/>
            </a:prstGeom>
            <a:ln>
              <a:solidFill>
                <a:schemeClr val="bg1"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113BDAA-1D3C-579F-793D-B1665481C1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6431003"/>
              <a:ext cx="12192000" cy="0"/>
            </a:xfrm>
            <a:prstGeom prst="line">
              <a:avLst/>
            </a:prstGeom>
            <a:ln>
              <a:solidFill>
                <a:schemeClr val="bg1"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 Placeholder 24">
            <a:extLst>
              <a:ext uri="{FF2B5EF4-FFF2-40B4-BE49-F238E27FC236}">
                <a16:creationId xmlns:a16="http://schemas.microsoft.com/office/drawing/2014/main" id="{45D52899-4691-F249-E334-9C8EEA6FB81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600" y="2515283"/>
            <a:ext cx="3191256" cy="52120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4">
            <a:extLst>
              <a:ext uri="{FF2B5EF4-FFF2-40B4-BE49-F238E27FC236}">
                <a16:creationId xmlns:a16="http://schemas.microsoft.com/office/drawing/2014/main" id="{8F149C85-589D-6AE5-DB05-DB3C98D020A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500880" y="2515283"/>
            <a:ext cx="3191256" cy="52120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24">
            <a:extLst>
              <a:ext uri="{FF2B5EF4-FFF2-40B4-BE49-F238E27FC236}">
                <a16:creationId xmlns:a16="http://schemas.microsoft.com/office/drawing/2014/main" id="{DA8ED140-709E-CA2D-621B-29A679B246C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0" y="4654479"/>
            <a:ext cx="3191256" cy="52120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4">
            <a:extLst>
              <a:ext uri="{FF2B5EF4-FFF2-40B4-BE49-F238E27FC236}">
                <a16:creationId xmlns:a16="http://schemas.microsoft.com/office/drawing/2014/main" id="{04A8125B-0CA5-3DC6-8702-414763711E5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500880" y="4654479"/>
            <a:ext cx="3191256" cy="52120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86C5878-34C0-8518-3E55-9A63948F70C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09600" y="3078123"/>
            <a:ext cx="3190875" cy="73152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 sz="1400"/>
            </a:lvl3pPr>
            <a:lvl4pPr marL="365760" indent="0">
              <a:buNone/>
              <a:defRPr sz="1400"/>
            </a:lvl4pPr>
            <a:lvl5pPr marL="548640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2753D67B-4715-32EA-D98B-1D06782D63A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500563" y="3081489"/>
            <a:ext cx="3187700" cy="73152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8860125C-77DA-74AC-CBAD-8839DC140DB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09600" y="5221224"/>
            <a:ext cx="3190875" cy="73152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 sz="1400"/>
            </a:lvl3pPr>
            <a:lvl4pPr marL="365760" indent="0">
              <a:buNone/>
              <a:defRPr sz="1400"/>
            </a:lvl4pPr>
            <a:lvl5pPr marL="548640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0A5D10B8-DCE6-EB63-E982-EB602BB12715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505008" y="5221224"/>
            <a:ext cx="3190875" cy="73152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 sz="1400"/>
            </a:lvl3pPr>
            <a:lvl4pPr marL="365760" indent="0">
              <a:buNone/>
              <a:defRPr sz="1400"/>
            </a:lvl4pPr>
            <a:lvl5pPr marL="548640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15" descr="A green circles in a circle&#10;&#10;Description automatically generated">
            <a:extLst>
              <a:ext uri="{FF2B5EF4-FFF2-40B4-BE49-F238E27FC236}">
                <a16:creationId xmlns:a16="http://schemas.microsoft.com/office/drawing/2014/main" id="{5ED3FFB8-3733-52A8-213E-38BC8DFB5E12}"/>
              </a:ext>
            </a:extLst>
          </p:cNvPr>
          <p:cNvPicPr/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21" t="34126" r="5301" b="2732"/>
          <a:stretch/>
        </p:blipFill>
        <p:spPr>
          <a:xfrm>
            <a:off x="8352430" y="525439"/>
            <a:ext cx="3275463" cy="5800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44283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-quadrant B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5FB671-7288-F24D-B614-7485A1EB4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7078980" cy="5539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A06DE4C-2824-F86F-176F-D7CEE692CA7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3D05B5-3984-8ED5-ECAF-B676C58335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9A9FAB2-9497-583D-67D2-92656EBD96E1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E8D147B-20B8-41F8-9C65-D6EE371733C4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1E90DC0E-D394-DFF1-20FF-E4F025C29CC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53C5C91F-539C-50A5-74CB-E57859E7C44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9600" y="1795047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0" name="Text Placeholder 26">
            <a:extLst>
              <a:ext uri="{FF2B5EF4-FFF2-40B4-BE49-F238E27FC236}">
                <a16:creationId xmlns:a16="http://schemas.microsoft.com/office/drawing/2014/main" id="{3F52A92B-F518-04CD-762D-7E421D327B3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00880" y="1795047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6">
            <a:extLst>
              <a:ext uri="{FF2B5EF4-FFF2-40B4-BE49-F238E27FC236}">
                <a16:creationId xmlns:a16="http://schemas.microsoft.com/office/drawing/2014/main" id="{2E6139D6-5C1F-9984-933D-05C6245DDE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600" y="3934243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59081576-9853-F2AC-596D-5E4837628CC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00880" y="3934243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277C43D7-C00C-7DE6-0BB0-C5E8CE8207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7078980" cy="30777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6124C7D0-2EB5-CCA2-1131-CD42AFA531E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600" y="2515283"/>
            <a:ext cx="3191256" cy="52120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4EE4B5A0-6227-F787-6A54-C2A60161F7D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500880" y="2515283"/>
            <a:ext cx="3191256" cy="52120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5B9A97B2-2B34-59ED-CE30-23518BEB029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0" y="4654479"/>
            <a:ext cx="3191256" cy="52120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4">
            <a:extLst>
              <a:ext uri="{FF2B5EF4-FFF2-40B4-BE49-F238E27FC236}">
                <a16:creationId xmlns:a16="http://schemas.microsoft.com/office/drawing/2014/main" id="{C7D1D394-778B-6918-5F27-84D4E90ADBC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500880" y="4654479"/>
            <a:ext cx="3191256" cy="52120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E38DC567-338B-E0F7-CF67-AFE622A0CC9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09600" y="3078123"/>
            <a:ext cx="3190875" cy="73152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182880" indent="0">
              <a:buNone/>
              <a:defRPr sz="1400"/>
            </a:lvl3pPr>
            <a:lvl4pPr marL="365760" indent="0">
              <a:buNone/>
              <a:defRPr sz="1400"/>
            </a:lvl4pPr>
            <a:lvl5pPr marL="548640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D0DFD801-9B31-CBB2-FEAE-5C0FCD87BC1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500563" y="3081489"/>
            <a:ext cx="3187700" cy="73152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3">
            <a:extLst>
              <a:ext uri="{FF2B5EF4-FFF2-40B4-BE49-F238E27FC236}">
                <a16:creationId xmlns:a16="http://schemas.microsoft.com/office/drawing/2014/main" id="{2B46E368-9937-4345-14E3-49FF8C68F0A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09600" y="5221224"/>
            <a:ext cx="3190875" cy="73152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182880" indent="0">
              <a:buNone/>
              <a:defRPr sz="1400"/>
            </a:lvl3pPr>
            <a:lvl4pPr marL="365760" indent="0">
              <a:buNone/>
              <a:defRPr sz="1400"/>
            </a:lvl4pPr>
            <a:lvl5pPr marL="548640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13">
            <a:extLst>
              <a:ext uri="{FF2B5EF4-FFF2-40B4-BE49-F238E27FC236}">
                <a16:creationId xmlns:a16="http://schemas.microsoft.com/office/drawing/2014/main" id="{1303312D-25DE-1166-642A-6673876FFE04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505008" y="5221224"/>
            <a:ext cx="3190875" cy="73152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182880" indent="0">
              <a:buNone/>
              <a:defRPr sz="1400"/>
            </a:lvl3pPr>
            <a:lvl4pPr marL="365760" indent="0">
              <a:buNone/>
              <a:defRPr sz="1400"/>
            </a:lvl4pPr>
            <a:lvl5pPr marL="548640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E02B04E6-DFE4-8F61-77A7-3BAE91280415}"/>
              </a:ext>
            </a:extLst>
          </p:cNvPr>
          <p:cNvGrpSpPr/>
          <p:nvPr userDrawn="1"/>
        </p:nvGrpSpPr>
        <p:grpSpPr>
          <a:xfrm>
            <a:off x="8668767" y="2176216"/>
            <a:ext cx="2913628" cy="2916483"/>
            <a:chOff x="8477772" y="2176216"/>
            <a:chExt cx="3104627" cy="3107669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DDAB8FB-291B-E617-AD35-5D0D2C85B979}"/>
                </a:ext>
              </a:extLst>
            </p:cNvPr>
            <p:cNvSpPr/>
            <p:nvPr/>
          </p:nvSpPr>
          <p:spPr>
            <a:xfrm>
              <a:off x="8477772" y="4040792"/>
              <a:ext cx="1243092" cy="1243092"/>
            </a:xfrm>
            <a:custGeom>
              <a:avLst/>
              <a:gdLst>
                <a:gd name="connsiteX0" fmla="*/ 0 w 1243092"/>
                <a:gd name="connsiteY0" fmla="*/ 1243093 h 1243092"/>
                <a:gd name="connsiteX1" fmla="*/ 0 w 1243092"/>
                <a:gd name="connsiteY1" fmla="*/ 0 h 1243092"/>
                <a:gd name="connsiteX2" fmla="*/ 1243093 w 1243092"/>
                <a:gd name="connsiteY2" fmla="*/ 0 h 1243092"/>
                <a:gd name="connsiteX3" fmla="*/ 0 w 1243092"/>
                <a:gd name="connsiteY3" fmla="*/ 1243093 h 1243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092" h="1243092">
                  <a:moveTo>
                    <a:pt x="0" y="1243093"/>
                  </a:moveTo>
                  <a:lnTo>
                    <a:pt x="0" y="0"/>
                  </a:lnTo>
                  <a:lnTo>
                    <a:pt x="1243093" y="0"/>
                  </a:lnTo>
                  <a:lnTo>
                    <a:pt x="0" y="1243093"/>
                  </a:lnTo>
                  <a:close/>
                </a:path>
              </a:pathLst>
            </a:custGeom>
            <a:solidFill>
              <a:srgbClr val="00000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D8CFF20-FCFC-BF39-5C69-44CA783859FC}"/>
                </a:ext>
              </a:extLst>
            </p:cNvPr>
            <p:cNvSpPr/>
            <p:nvPr/>
          </p:nvSpPr>
          <p:spPr>
            <a:xfrm>
              <a:off x="8477772" y="4040792"/>
              <a:ext cx="1243092" cy="1243092"/>
            </a:xfrm>
            <a:custGeom>
              <a:avLst/>
              <a:gdLst>
                <a:gd name="connsiteX0" fmla="*/ 1243093 w 1243092"/>
                <a:gd name="connsiteY0" fmla="*/ 1243093 h 1243092"/>
                <a:gd name="connsiteX1" fmla="*/ 0 w 1243092"/>
                <a:gd name="connsiteY1" fmla="*/ 1243093 h 1243092"/>
                <a:gd name="connsiteX2" fmla="*/ 1243093 w 1243092"/>
                <a:gd name="connsiteY2" fmla="*/ 0 h 1243092"/>
                <a:gd name="connsiteX3" fmla="*/ 1243093 w 1243092"/>
                <a:gd name="connsiteY3" fmla="*/ 1243093 h 1243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092" h="1243092">
                  <a:moveTo>
                    <a:pt x="1243093" y="1243093"/>
                  </a:moveTo>
                  <a:lnTo>
                    <a:pt x="0" y="1243093"/>
                  </a:lnTo>
                  <a:lnTo>
                    <a:pt x="1243093" y="0"/>
                  </a:lnTo>
                  <a:lnTo>
                    <a:pt x="1243093" y="1243093"/>
                  </a:lnTo>
                  <a:close/>
                </a:path>
              </a:pathLst>
            </a:custGeom>
            <a:solidFill>
              <a:srgbClr val="93D50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8E7DB0F-57F2-0BB1-A359-3F2B24747527}"/>
                </a:ext>
              </a:extLst>
            </p:cNvPr>
            <p:cNvSpPr/>
            <p:nvPr/>
          </p:nvSpPr>
          <p:spPr>
            <a:xfrm>
              <a:off x="10339306" y="2176216"/>
              <a:ext cx="1243092" cy="1243092"/>
            </a:xfrm>
            <a:custGeom>
              <a:avLst/>
              <a:gdLst>
                <a:gd name="connsiteX0" fmla="*/ 0 w 1243092"/>
                <a:gd name="connsiteY0" fmla="*/ 1243093 h 1243092"/>
                <a:gd name="connsiteX1" fmla="*/ 0 w 1243092"/>
                <a:gd name="connsiteY1" fmla="*/ 0 h 1243092"/>
                <a:gd name="connsiteX2" fmla="*/ 1243093 w 1243092"/>
                <a:gd name="connsiteY2" fmla="*/ 0 h 1243092"/>
                <a:gd name="connsiteX3" fmla="*/ 0 w 1243092"/>
                <a:gd name="connsiteY3" fmla="*/ 1243093 h 1243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092" h="1243092">
                  <a:moveTo>
                    <a:pt x="0" y="1243093"/>
                  </a:moveTo>
                  <a:lnTo>
                    <a:pt x="0" y="0"/>
                  </a:lnTo>
                  <a:lnTo>
                    <a:pt x="1243093" y="0"/>
                  </a:lnTo>
                  <a:lnTo>
                    <a:pt x="0" y="1243093"/>
                  </a:lnTo>
                  <a:close/>
                </a:path>
              </a:pathLst>
            </a:custGeom>
            <a:solidFill>
              <a:srgbClr val="00000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766101B-1B7C-33CC-AB9A-2BCEB9054770}"/>
                </a:ext>
              </a:extLst>
            </p:cNvPr>
            <p:cNvSpPr/>
            <p:nvPr/>
          </p:nvSpPr>
          <p:spPr>
            <a:xfrm>
              <a:off x="10339306" y="2176216"/>
              <a:ext cx="1243092" cy="1243092"/>
            </a:xfrm>
            <a:custGeom>
              <a:avLst/>
              <a:gdLst>
                <a:gd name="connsiteX0" fmla="*/ 1243093 w 1243092"/>
                <a:gd name="connsiteY0" fmla="*/ 1243093 h 1243092"/>
                <a:gd name="connsiteX1" fmla="*/ 0 w 1243092"/>
                <a:gd name="connsiteY1" fmla="*/ 1243093 h 1243092"/>
                <a:gd name="connsiteX2" fmla="*/ 1243093 w 1243092"/>
                <a:gd name="connsiteY2" fmla="*/ 0 h 1243092"/>
                <a:gd name="connsiteX3" fmla="*/ 1243093 w 1243092"/>
                <a:gd name="connsiteY3" fmla="*/ 1243093 h 1243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092" h="1243092">
                  <a:moveTo>
                    <a:pt x="1243093" y="1243093"/>
                  </a:moveTo>
                  <a:lnTo>
                    <a:pt x="0" y="1243093"/>
                  </a:lnTo>
                  <a:lnTo>
                    <a:pt x="1243093" y="0"/>
                  </a:lnTo>
                  <a:lnTo>
                    <a:pt x="1243093" y="1243093"/>
                  </a:lnTo>
                  <a:close/>
                </a:path>
              </a:pathLst>
            </a:custGeom>
            <a:solidFill>
              <a:srgbClr val="93D50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7FF00E8-12B1-0F1C-1F00-424A505ED697}"/>
                </a:ext>
              </a:extLst>
            </p:cNvPr>
            <p:cNvSpPr/>
            <p:nvPr/>
          </p:nvSpPr>
          <p:spPr>
            <a:xfrm>
              <a:off x="8477772" y="2176216"/>
              <a:ext cx="1243093" cy="1243093"/>
            </a:xfrm>
            <a:custGeom>
              <a:avLst/>
              <a:gdLst>
                <a:gd name="connsiteX0" fmla="*/ 0 w 1243093"/>
                <a:gd name="connsiteY0" fmla="*/ 0 h 1243093"/>
                <a:gd name="connsiteX1" fmla="*/ 1243093 w 1243093"/>
                <a:gd name="connsiteY1" fmla="*/ 0 h 1243093"/>
                <a:gd name="connsiteX2" fmla="*/ 1243093 w 1243093"/>
                <a:gd name="connsiteY2" fmla="*/ 1243093 h 1243093"/>
                <a:gd name="connsiteX3" fmla="*/ 0 w 1243093"/>
                <a:gd name="connsiteY3" fmla="*/ 1243093 h 1243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093" h="1243093">
                  <a:moveTo>
                    <a:pt x="0" y="0"/>
                  </a:moveTo>
                  <a:lnTo>
                    <a:pt x="1243093" y="0"/>
                  </a:lnTo>
                  <a:lnTo>
                    <a:pt x="1243093" y="1243093"/>
                  </a:lnTo>
                  <a:lnTo>
                    <a:pt x="0" y="1243093"/>
                  </a:lnTo>
                  <a:close/>
                </a:path>
              </a:pathLst>
            </a:custGeom>
            <a:solidFill>
              <a:srgbClr val="00000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3390EB0-ABE0-10C4-D3D4-8DECDA33B7D6}"/>
                </a:ext>
              </a:extLst>
            </p:cNvPr>
            <p:cNvSpPr/>
            <p:nvPr/>
          </p:nvSpPr>
          <p:spPr>
            <a:xfrm>
              <a:off x="10339306" y="4040792"/>
              <a:ext cx="1243093" cy="1243093"/>
            </a:xfrm>
            <a:custGeom>
              <a:avLst/>
              <a:gdLst>
                <a:gd name="connsiteX0" fmla="*/ 0 w 1243093"/>
                <a:gd name="connsiteY0" fmla="*/ 0 h 1243093"/>
                <a:gd name="connsiteX1" fmla="*/ 1243093 w 1243093"/>
                <a:gd name="connsiteY1" fmla="*/ 0 h 1243093"/>
                <a:gd name="connsiteX2" fmla="*/ 1243093 w 1243093"/>
                <a:gd name="connsiteY2" fmla="*/ 1243093 h 1243093"/>
                <a:gd name="connsiteX3" fmla="*/ 0 w 1243093"/>
                <a:gd name="connsiteY3" fmla="*/ 1243093 h 1243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093" h="1243093">
                  <a:moveTo>
                    <a:pt x="0" y="0"/>
                  </a:moveTo>
                  <a:lnTo>
                    <a:pt x="1243093" y="0"/>
                  </a:lnTo>
                  <a:lnTo>
                    <a:pt x="1243093" y="1243093"/>
                  </a:lnTo>
                  <a:lnTo>
                    <a:pt x="0" y="1243093"/>
                  </a:lnTo>
                  <a:close/>
                </a:path>
              </a:pathLst>
            </a:custGeom>
            <a:solidFill>
              <a:srgbClr val="93D50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3092978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-quadrant B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5FB671-7288-F24D-B614-7485A1EB4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7078980" cy="553998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A06DE4C-2824-F86F-176F-D7CEE692CA7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mtClean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3D05B5-3984-8ED5-ECAF-B676C58335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mtClean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9A9FAB2-9497-583D-67D2-92656EBD96E1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236555" y="136647"/>
            <a:ext cx="1345845" cy="153888"/>
          </a:xfr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mtClean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09708D96-D14B-468B-AFA7-AF17343FD0E8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1E90DC0E-D394-DFF1-20FF-E4F025C29CC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000" b="0" cap="all" spc="0" baseline="0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/>
              <a:t>Industry Name / Section Titl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53C5C91F-539C-50A5-74CB-E57859E7C44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9600" y="1795047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0" name="Text Placeholder 26">
            <a:extLst>
              <a:ext uri="{FF2B5EF4-FFF2-40B4-BE49-F238E27FC236}">
                <a16:creationId xmlns:a16="http://schemas.microsoft.com/office/drawing/2014/main" id="{3F52A92B-F518-04CD-762D-7E421D327B3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00880" y="1795047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6">
            <a:extLst>
              <a:ext uri="{FF2B5EF4-FFF2-40B4-BE49-F238E27FC236}">
                <a16:creationId xmlns:a16="http://schemas.microsoft.com/office/drawing/2014/main" id="{2E6139D6-5C1F-9984-933D-05C6245DDE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600" y="3934243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59081576-9853-F2AC-596D-5E4837628CC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00880" y="3934243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277C43D7-C00C-7DE6-0BB0-C5E8CE8207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7078980" cy="30777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250C694-5F87-84DF-A0F9-B00F5BF6D5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03876" y="88565"/>
            <a:ext cx="995110" cy="252812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ECD61670-B7D7-5B2E-A14F-1BBBFB1B97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03876" y="88565"/>
            <a:ext cx="995110" cy="252812"/>
          </a:xfrm>
          <a:prstGeom prst="rect">
            <a:avLst/>
          </a:prstGeom>
        </p:spPr>
      </p:pic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94067C25-3E3C-AE62-A2E0-B3D02FD9878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600" y="2515283"/>
            <a:ext cx="3191256" cy="52120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4">
            <a:extLst>
              <a:ext uri="{FF2B5EF4-FFF2-40B4-BE49-F238E27FC236}">
                <a16:creationId xmlns:a16="http://schemas.microsoft.com/office/drawing/2014/main" id="{C5F12A71-FC73-20E5-8E26-8A9BFDFC9E5A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500880" y="2515283"/>
            <a:ext cx="3191256" cy="52120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24">
            <a:extLst>
              <a:ext uri="{FF2B5EF4-FFF2-40B4-BE49-F238E27FC236}">
                <a16:creationId xmlns:a16="http://schemas.microsoft.com/office/drawing/2014/main" id="{A35F2BAD-1C86-887D-465E-2B5EC8F3DC3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0" y="4654479"/>
            <a:ext cx="3191256" cy="52120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24">
            <a:extLst>
              <a:ext uri="{FF2B5EF4-FFF2-40B4-BE49-F238E27FC236}">
                <a16:creationId xmlns:a16="http://schemas.microsoft.com/office/drawing/2014/main" id="{AB986AAD-0107-9A6C-2D91-5FCFC9F4FD8D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500880" y="4654479"/>
            <a:ext cx="3191256" cy="52120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AD1F891E-7504-DEED-3613-32FDD29D9F3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09600" y="3078123"/>
            <a:ext cx="3190875" cy="73152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 sz="1400"/>
            </a:lvl3pPr>
            <a:lvl4pPr marL="365760" indent="0">
              <a:buNone/>
              <a:defRPr sz="1400"/>
            </a:lvl4pPr>
            <a:lvl5pPr marL="548640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D41E9690-7F8F-BFF8-0D74-9EE3FBCE401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500563" y="3081489"/>
            <a:ext cx="3187700" cy="73152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13">
            <a:extLst>
              <a:ext uri="{FF2B5EF4-FFF2-40B4-BE49-F238E27FC236}">
                <a16:creationId xmlns:a16="http://schemas.microsoft.com/office/drawing/2014/main" id="{3D503F38-0B4E-C025-B3C9-A8D7076D23D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09600" y="5221224"/>
            <a:ext cx="3190875" cy="73152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 sz="1400"/>
            </a:lvl3pPr>
            <a:lvl4pPr marL="365760" indent="0">
              <a:buNone/>
              <a:defRPr sz="1400"/>
            </a:lvl4pPr>
            <a:lvl5pPr marL="548640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13">
            <a:extLst>
              <a:ext uri="{FF2B5EF4-FFF2-40B4-BE49-F238E27FC236}">
                <a16:creationId xmlns:a16="http://schemas.microsoft.com/office/drawing/2014/main" id="{BD4EEAFE-3245-4E12-11AC-5F3D54A49B8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505008" y="5221224"/>
            <a:ext cx="3190875" cy="73152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 sz="1400"/>
            </a:lvl3pPr>
            <a:lvl4pPr marL="365760" indent="0">
              <a:buNone/>
              <a:defRPr sz="1400"/>
            </a:lvl4pPr>
            <a:lvl5pPr marL="548640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E02B04E6-DFE4-8F61-77A7-3BAE91280415}"/>
              </a:ext>
            </a:extLst>
          </p:cNvPr>
          <p:cNvGrpSpPr/>
          <p:nvPr userDrawn="1"/>
        </p:nvGrpSpPr>
        <p:grpSpPr>
          <a:xfrm>
            <a:off x="8668767" y="2176217"/>
            <a:ext cx="2913628" cy="2916485"/>
            <a:chOff x="8477772" y="2176216"/>
            <a:chExt cx="3104627" cy="3107669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DDAB8FB-291B-E617-AD35-5D0D2C85B979}"/>
                </a:ext>
              </a:extLst>
            </p:cNvPr>
            <p:cNvSpPr/>
            <p:nvPr/>
          </p:nvSpPr>
          <p:spPr>
            <a:xfrm>
              <a:off x="8477772" y="4040792"/>
              <a:ext cx="1243092" cy="1243091"/>
            </a:xfrm>
            <a:custGeom>
              <a:avLst/>
              <a:gdLst>
                <a:gd name="connsiteX0" fmla="*/ 0 w 1243092"/>
                <a:gd name="connsiteY0" fmla="*/ 1243093 h 1243092"/>
                <a:gd name="connsiteX1" fmla="*/ 0 w 1243092"/>
                <a:gd name="connsiteY1" fmla="*/ 0 h 1243092"/>
                <a:gd name="connsiteX2" fmla="*/ 1243093 w 1243092"/>
                <a:gd name="connsiteY2" fmla="*/ 0 h 1243092"/>
                <a:gd name="connsiteX3" fmla="*/ 0 w 1243092"/>
                <a:gd name="connsiteY3" fmla="*/ 1243093 h 1243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092" h="1243092">
                  <a:moveTo>
                    <a:pt x="0" y="1243093"/>
                  </a:moveTo>
                  <a:lnTo>
                    <a:pt x="0" y="0"/>
                  </a:lnTo>
                  <a:lnTo>
                    <a:pt x="1243093" y="0"/>
                  </a:lnTo>
                  <a:lnTo>
                    <a:pt x="0" y="1243093"/>
                  </a:lnTo>
                  <a:close/>
                </a:path>
              </a:pathLst>
            </a:custGeom>
            <a:solidFill>
              <a:schemeClr val="bg1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D8CFF20-FCFC-BF39-5C69-44CA783859FC}"/>
                </a:ext>
              </a:extLst>
            </p:cNvPr>
            <p:cNvSpPr/>
            <p:nvPr/>
          </p:nvSpPr>
          <p:spPr>
            <a:xfrm>
              <a:off x="8477772" y="4040792"/>
              <a:ext cx="1243092" cy="1243092"/>
            </a:xfrm>
            <a:custGeom>
              <a:avLst/>
              <a:gdLst>
                <a:gd name="connsiteX0" fmla="*/ 1243093 w 1243092"/>
                <a:gd name="connsiteY0" fmla="*/ 1243093 h 1243092"/>
                <a:gd name="connsiteX1" fmla="*/ 0 w 1243092"/>
                <a:gd name="connsiteY1" fmla="*/ 1243093 h 1243092"/>
                <a:gd name="connsiteX2" fmla="*/ 1243093 w 1243092"/>
                <a:gd name="connsiteY2" fmla="*/ 0 h 1243092"/>
                <a:gd name="connsiteX3" fmla="*/ 1243093 w 1243092"/>
                <a:gd name="connsiteY3" fmla="*/ 1243093 h 1243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092" h="1243092">
                  <a:moveTo>
                    <a:pt x="1243093" y="1243093"/>
                  </a:moveTo>
                  <a:lnTo>
                    <a:pt x="0" y="1243093"/>
                  </a:lnTo>
                  <a:lnTo>
                    <a:pt x="1243093" y="0"/>
                  </a:lnTo>
                  <a:lnTo>
                    <a:pt x="1243093" y="1243093"/>
                  </a:lnTo>
                  <a:close/>
                </a:path>
              </a:pathLst>
            </a:custGeom>
            <a:solidFill>
              <a:srgbClr val="93D50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F8E7DB0F-57F2-0BB1-A359-3F2B24747527}"/>
                </a:ext>
              </a:extLst>
            </p:cNvPr>
            <p:cNvSpPr/>
            <p:nvPr/>
          </p:nvSpPr>
          <p:spPr>
            <a:xfrm>
              <a:off x="10339306" y="2176216"/>
              <a:ext cx="1243092" cy="1243091"/>
            </a:xfrm>
            <a:custGeom>
              <a:avLst/>
              <a:gdLst>
                <a:gd name="connsiteX0" fmla="*/ 0 w 1243092"/>
                <a:gd name="connsiteY0" fmla="*/ 1243093 h 1243092"/>
                <a:gd name="connsiteX1" fmla="*/ 0 w 1243092"/>
                <a:gd name="connsiteY1" fmla="*/ 0 h 1243092"/>
                <a:gd name="connsiteX2" fmla="*/ 1243093 w 1243092"/>
                <a:gd name="connsiteY2" fmla="*/ 0 h 1243092"/>
                <a:gd name="connsiteX3" fmla="*/ 0 w 1243092"/>
                <a:gd name="connsiteY3" fmla="*/ 1243093 h 1243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092" h="1243092">
                  <a:moveTo>
                    <a:pt x="0" y="1243093"/>
                  </a:moveTo>
                  <a:lnTo>
                    <a:pt x="0" y="0"/>
                  </a:lnTo>
                  <a:lnTo>
                    <a:pt x="1243093" y="0"/>
                  </a:lnTo>
                  <a:lnTo>
                    <a:pt x="0" y="1243093"/>
                  </a:lnTo>
                  <a:close/>
                </a:path>
              </a:pathLst>
            </a:custGeom>
            <a:solidFill>
              <a:schemeClr val="bg1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766101B-1B7C-33CC-AB9A-2BCEB9054770}"/>
                </a:ext>
              </a:extLst>
            </p:cNvPr>
            <p:cNvSpPr/>
            <p:nvPr/>
          </p:nvSpPr>
          <p:spPr>
            <a:xfrm>
              <a:off x="10339306" y="2176216"/>
              <a:ext cx="1243092" cy="1243092"/>
            </a:xfrm>
            <a:custGeom>
              <a:avLst/>
              <a:gdLst>
                <a:gd name="connsiteX0" fmla="*/ 1243093 w 1243092"/>
                <a:gd name="connsiteY0" fmla="*/ 1243093 h 1243092"/>
                <a:gd name="connsiteX1" fmla="*/ 0 w 1243092"/>
                <a:gd name="connsiteY1" fmla="*/ 1243093 h 1243092"/>
                <a:gd name="connsiteX2" fmla="*/ 1243093 w 1243092"/>
                <a:gd name="connsiteY2" fmla="*/ 0 h 1243092"/>
                <a:gd name="connsiteX3" fmla="*/ 1243093 w 1243092"/>
                <a:gd name="connsiteY3" fmla="*/ 1243093 h 1243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092" h="1243092">
                  <a:moveTo>
                    <a:pt x="1243093" y="1243093"/>
                  </a:moveTo>
                  <a:lnTo>
                    <a:pt x="0" y="1243093"/>
                  </a:lnTo>
                  <a:lnTo>
                    <a:pt x="1243093" y="0"/>
                  </a:lnTo>
                  <a:lnTo>
                    <a:pt x="1243093" y="1243093"/>
                  </a:lnTo>
                  <a:close/>
                </a:path>
              </a:pathLst>
            </a:custGeom>
            <a:solidFill>
              <a:srgbClr val="93D50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7FF00E8-12B1-0F1C-1F00-424A505ED697}"/>
                </a:ext>
              </a:extLst>
            </p:cNvPr>
            <p:cNvSpPr/>
            <p:nvPr/>
          </p:nvSpPr>
          <p:spPr>
            <a:xfrm>
              <a:off x="8477772" y="2176216"/>
              <a:ext cx="1243093" cy="1243093"/>
            </a:xfrm>
            <a:custGeom>
              <a:avLst/>
              <a:gdLst>
                <a:gd name="connsiteX0" fmla="*/ 0 w 1243093"/>
                <a:gd name="connsiteY0" fmla="*/ 0 h 1243093"/>
                <a:gd name="connsiteX1" fmla="*/ 1243093 w 1243093"/>
                <a:gd name="connsiteY1" fmla="*/ 0 h 1243093"/>
                <a:gd name="connsiteX2" fmla="*/ 1243093 w 1243093"/>
                <a:gd name="connsiteY2" fmla="*/ 1243093 h 1243093"/>
                <a:gd name="connsiteX3" fmla="*/ 0 w 1243093"/>
                <a:gd name="connsiteY3" fmla="*/ 1243093 h 1243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093" h="1243093">
                  <a:moveTo>
                    <a:pt x="0" y="0"/>
                  </a:moveTo>
                  <a:lnTo>
                    <a:pt x="1243093" y="0"/>
                  </a:lnTo>
                  <a:lnTo>
                    <a:pt x="1243093" y="1243093"/>
                  </a:lnTo>
                  <a:lnTo>
                    <a:pt x="0" y="1243093"/>
                  </a:lnTo>
                  <a:close/>
                </a:path>
              </a:pathLst>
            </a:custGeom>
            <a:solidFill>
              <a:schemeClr val="bg1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3390EB0-ABE0-10C4-D3D4-8DECDA33B7D6}"/>
                </a:ext>
              </a:extLst>
            </p:cNvPr>
            <p:cNvSpPr/>
            <p:nvPr/>
          </p:nvSpPr>
          <p:spPr>
            <a:xfrm>
              <a:off x="10339306" y="4040792"/>
              <a:ext cx="1243093" cy="1243093"/>
            </a:xfrm>
            <a:custGeom>
              <a:avLst/>
              <a:gdLst>
                <a:gd name="connsiteX0" fmla="*/ 0 w 1243093"/>
                <a:gd name="connsiteY0" fmla="*/ 0 h 1243093"/>
                <a:gd name="connsiteX1" fmla="*/ 1243093 w 1243093"/>
                <a:gd name="connsiteY1" fmla="*/ 0 h 1243093"/>
                <a:gd name="connsiteX2" fmla="*/ 1243093 w 1243093"/>
                <a:gd name="connsiteY2" fmla="*/ 1243093 h 1243093"/>
                <a:gd name="connsiteX3" fmla="*/ 0 w 1243093"/>
                <a:gd name="connsiteY3" fmla="*/ 1243093 h 1243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093" h="1243093">
                  <a:moveTo>
                    <a:pt x="0" y="0"/>
                  </a:moveTo>
                  <a:lnTo>
                    <a:pt x="1243093" y="0"/>
                  </a:lnTo>
                  <a:lnTo>
                    <a:pt x="1243093" y="1243093"/>
                  </a:lnTo>
                  <a:lnTo>
                    <a:pt x="0" y="1243093"/>
                  </a:lnTo>
                  <a:close/>
                </a:path>
              </a:pathLst>
            </a:custGeom>
            <a:solidFill>
              <a:srgbClr val="93D50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7287799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-quadrant C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5FB671-7288-F24D-B614-7485A1EB4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436344"/>
            <a:ext cx="3191256" cy="1107996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9A9FAB2-9497-583D-67D2-92656EBD96E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EF6117FD-339D-46D2-9342-B24BFDA76C15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277C43D7-C00C-7DE6-0BB0-C5E8CE8207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569938"/>
            <a:ext cx="3191256" cy="30777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5" name="Text Placeholder 24">
            <a:extLst>
              <a:ext uri="{FF2B5EF4-FFF2-40B4-BE49-F238E27FC236}">
                <a16:creationId xmlns:a16="http://schemas.microsoft.com/office/drawing/2014/main" id="{81AC28DC-93A6-48C2-61B4-B0DC8EB3265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03420" y="1372989"/>
            <a:ext cx="3191256" cy="61264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latin typeface="+mj-lt"/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id="{38AC06FF-9423-61D1-DBC8-0E2170D5E89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394700" y="1372989"/>
            <a:ext cx="3191256" cy="61264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latin typeface="+mj-lt"/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24">
            <a:extLst>
              <a:ext uri="{FF2B5EF4-FFF2-40B4-BE49-F238E27FC236}">
                <a16:creationId xmlns:a16="http://schemas.microsoft.com/office/drawing/2014/main" id="{E7F60AF1-6C7F-C09E-8079-CCC041BCCFD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503420" y="4259227"/>
            <a:ext cx="3191256" cy="61264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latin typeface="+mj-lt"/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24">
            <a:extLst>
              <a:ext uri="{FF2B5EF4-FFF2-40B4-BE49-F238E27FC236}">
                <a16:creationId xmlns:a16="http://schemas.microsoft.com/office/drawing/2014/main" id="{24B848A0-46B3-5A33-8405-3915F72C91E4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394700" y="4259227"/>
            <a:ext cx="3191256" cy="61264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latin typeface="+mj-lt"/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26">
            <a:extLst>
              <a:ext uri="{FF2B5EF4-FFF2-40B4-BE49-F238E27FC236}">
                <a16:creationId xmlns:a16="http://schemas.microsoft.com/office/drawing/2014/main" id="{FA258B65-F95C-ACE5-EDC8-47341FB793E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503420" y="655490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6">
            <a:extLst>
              <a:ext uri="{FF2B5EF4-FFF2-40B4-BE49-F238E27FC236}">
                <a16:creationId xmlns:a16="http://schemas.microsoft.com/office/drawing/2014/main" id="{3E006ACC-8BC5-A8A5-BBDD-31E52AE25FD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394700" y="656457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1" name="Text Placeholder 26">
            <a:extLst>
              <a:ext uri="{FF2B5EF4-FFF2-40B4-BE49-F238E27FC236}">
                <a16:creationId xmlns:a16="http://schemas.microsoft.com/office/drawing/2014/main" id="{111CB98A-C475-0E30-46AE-C2931827AFD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503420" y="3542695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6">
            <a:extLst>
              <a:ext uri="{FF2B5EF4-FFF2-40B4-BE49-F238E27FC236}">
                <a16:creationId xmlns:a16="http://schemas.microsoft.com/office/drawing/2014/main" id="{17CB2B64-4FE7-7D72-ECF9-B226A53F939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94700" y="3542695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6B693173-4AED-2995-3081-BC3352EE7A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531E312-FA6B-91E7-BD98-02E52DBCB8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6801A41-6901-C085-44D0-685FA3E1A66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C5D5E21-197E-9FAF-EE30-DF02893C567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503738" y="1997829"/>
            <a:ext cx="3190875" cy="99364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FCC6C2EF-F367-CABC-9873-EB1DDAB421C5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8391525" y="1997829"/>
            <a:ext cx="3190875" cy="99364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3A777F17-3D5B-2101-D67A-B7BD6006991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503738" y="4892040"/>
            <a:ext cx="3190875" cy="99364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CEFC7221-44C7-32C6-C0CC-AA1920777AC3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391525" y="4892040"/>
            <a:ext cx="3190875" cy="99364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20420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1 - Ligh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FA731013-3954-C9C9-32E2-63B13C8EAF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95482" y="4755606"/>
            <a:ext cx="7790688" cy="1207008"/>
          </a:xfrm>
        </p:spPr>
        <p:txBody>
          <a:bodyPr anchor="ctr">
            <a:noAutofit/>
          </a:bodyPr>
          <a:lstStyle>
            <a:lvl1pPr algn="l">
              <a:spcAft>
                <a:spcPts val="0"/>
              </a:spcAft>
              <a:defRPr sz="2400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BFBD9314-78CE-52F9-6CE1-69A6E9DDF3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4755606"/>
            <a:ext cx="2176272" cy="1207008"/>
          </a:xfrm>
        </p:spPr>
        <p:txBody>
          <a:bodyPr anchor="ctr">
            <a:noAutofit/>
          </a:bodyPr>
          <a:lstStyle>
            <a:lvl1pPr algn="r">
              <a:spcAft>
                <a:spcPts val="0"/>
              </a:spcAft>
              <a:defRPr sz="1600" b="1" cap="all" spc="3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dustry 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47CFD3F-F102-2C11-67CC-0D8863F13C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95482" y="1270996"/>
            <a:ext cx="7786913" cy="2000804"/>
          </a:xfrm>
        </p:spPr>
        <p:txBody>
          <a:bodyPr wrap="square" anchor="b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7200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Title He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83D5ED6-566E-DC79-78F5-A84FD30D9FA0}"/>
              </a:ext>
            </a:extLst>
          </p:cNvPr>
          <p:cNvGrpSpPr/>
          <p:nvPr userDrawn="1"/>
        </p:nvGrpSpPr>
        <p:grpSpPr>
          <a:xfrm>
            <a:off x="3273878" y="0"/>
            <a:ext cx="0" cy="6857999"/>
            <a:chOff x="3273878" y="0"/>
            <a:chExt cx="0" cy="6857999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D303FAEB-3595-8000-D9D3-5E92B90EE65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273878" y="0"/>
              <a:ext cx="0" cy="685799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C813D6E3-FFCE-E4BE-FBF9-E9F4E6CDB54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273878" y="4649994"/>
              <a:ext cx="0" cy="1329892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aphic 15">
            <a:extLst>
              <a:ext uri="{FF2B5EF4-FFF2-40B4-BE49-F238E27FC236}">
                <a16:creationId xmlns:a16="http://schemas.microsoft.com/office/drawing/2014/main" id="{31E03152-3A58-A3F6-C41A-3EC11A8EB5AC}"/>
              </a:ext>
            </a:extLst>
          </p:cNvPr>
          <p:cNvGrpSpPr/>
          <p:nvPr/>
        </p:nvGrpSpPr>
        <p:grpSpPr>
          <a:xfrm>
            <a:off x="720590" y="1270996"/>
            <a:ext cx="2065282" cy="522565"/>
            <a:chOff x="616497" y="1270996"/>
            <a:chExt cx="2065282" cy="522565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6EEAFA5E-3D91-35E2-346D-C532C5A0D22F}"/>
                </a:ext>
              </a:extLst>
            </p:cNvPr>
            <p:cNvSpPr/>
            <p:nvPr/>
          </p:nvSpPr>
          <p:spPr>
            <a:xfrm>
              <a:off x="1058607" y="1451545"/>
              <a:ext cx="1623171" cy="219493"/>
            </a:xfrm>
            <a:custGeom>
              <a:avLst/>
              <a:gdLst>
                <a:gd name="connsiteX0" fmla="*/ 100206 w 1623171"/>
                <a:gd name="connsiteY0" fmla="*/ 219493 h 219493"/>
                <a:gd name="connsiteX1" fmla="*/ 59588 w 1623171"/>
                <a:gd name="connsiteY1" fmla="*/ 211794 h 219493"/>
                <a:gd name="connsiteX2" fmla="*/ 28343 w 1623171"/>
                <a:gd name="connsiteY2" fmla="*/ 190034 h 219493"/>
                <a:gd name="connsiteX3" fmla="*/ 7253 w 1623171"/>
                <a:gd name="connsiteY3" fmla="*/ 154661 h 219493"/>
                <a:gd name="connsiteX4" fmla="*/ 0 w 1623171"/>
                <a:gd name="connsiteY4" fmla="*/ 110137 h 219493"/>
                <a:gd name="connsiteX5" fmla="*/ 8146 w 1623171"/>
                <a:gd name="connsiteY5" fmla="*/ 64051 h 219493"/>
                <a:gd name="connsiteX6" fmla="*/ 31245 w 1623171"/>
                <a:gd name="connsiteY6" fmla="*/ 28009 h 219493"/>
                <a:gd name="connsiteX7" fmla="*/ 62489 w 1623171"/>
                <a:gd name="connsiteY7" fmla="*/ 7365 h 219493"/>
                <a:gd name="connsiteX8" fmla="*/ 103442 w 1623171"/>
                <a:gd name="connsiteY8" fmla="*/ 0 h 219493"/>
                <a:gd name="connsiteX9" fmla="*/ 139931 w 1623171"/>
                <a:gd name="connsiteY9" fmla="*/ 5133 h 219493"/>
                <a:gd name="connsiteX10" fmla="*/ 167940 w 1623171"/>
                <a:gd name="connsiteY10" fmla="*/ 19863 h 219493"/>
                <a:gd name="connsiteX11" fmla="*/ 186910 w 1623171"/>
                <a:gd name="connsiteY11" fmla="*/ 42961 h 219493"/>
                <a:gd name="connsiteX12" fmla="*/ 196729 w 1623171"/>
                <a:gd name="connsiteY12" fmla="*/ 72978 h 219493"/>
                <a:gd name="connsiteX13" fmla="*/ 146068 w 1623171"/>
                <a:gd name="connsiteY13" fmla="*/ 72978 h 219493"/>
                <a:gd name="connsiteX14" fmla="*/ 132789 w 1623171"/>
                <a:gd name="connsiteY14" fmla="*/ 51442 h 219493"/>
                <a:gd name="connsiteX15" fmla="*/ 105116 w 1623171"/>
                <a:gd name="connsiteY15" fmla="*/ 42850 h 219493"/>
                <a:gd name="connsiteX16" fmla="*/ 82240 w 1623171"/>
                <a:gd name="connsiteY16" fmla="*/ 47983 h 219493"/>
                <a:gd name="connsiteX17" fmla="*/ 65837 w 1623171"/>
                <a:gd name="connsiteY17" fmla="*/ 62154 h 219493"/>
                <a:gd name="connsiteX18" fmla="*/ 56129 w 1623171"/>
                <a:gd name="connsiteY18" fmla="*/ 83356 h 219493"/>
                <a:gd name="connsiteX19" fmla="*/ 52893 w 1623171"/>
                <a:gd name="connsiteY19" fmla="*/ 110026 h 219493"/>
                <a:gd name="connsiteX20" fmla="*/ 56575 w 1623171"/>
                <a:gd name="connsiteY20" fmla="*/ 136807 h 219493"/>
                <a:gd name="connsiteX21" fmla="*/ 67064 w 1623171"/>
                <a:gd name="connsiteY21" fmla="*/ 158120 h 219493"/>
                <a:gd name="connsiteX22" fmla="*/ 83691 w 1623171"/>
                <a:gd name="connsiteY22" fmla="*/ 172068 h 219493"/>
                <a:gd name="connsiteX23" fmla="*/ 105897 w 1623171"/>
                <a:gd name="connsiteY23" fmla="*/ 177090 h 219493"/>
                <a:gd name="connsiteX24" fmla="*/ 124309 w 1623171"/>
                <a:gd name="connsiteY24" fmla="*/ 173965 h 219493"/>
                <a:gd name="connsiteX25" fmla="*/ 138146 w 1623171"/>
                <a:gd name="connsiteY25" fmla="*/ 165708 h 219493"/>
                <a:gd name="connsiteX26" fmla="*/ 147296 w 1623171"/>
                <a:gd name="connsiteY26" fmla="*/ 153880 h 219493"/>
                <a:gd name="connsiteX27" fmla="*/ 151536 w 1623171"/>
                <a:gd name="connsiteY27" fmla="*/ 140154 h 219493"/>
                <a:gd name="connsiteX28" fmla="*/ 151536 w 1623171"/>
                <a:gd name="connsiteY28" fmla="*/ 139596 h 219493"/>
                <a:gd name="connsiteX29" fmla="*/ 112034 w 1623171"/>
                <a:gd name="connsiteY29" fmla="*/ 139596 h 219493"/>
                <a:gd name="connsiteX30" fmla="*/ 112034 w 1623171"/>
                <a:gd name="connsiteY30" fmla="*/ 101322 h 219493"/>
                <a:gd name="connsiteX31" fmla="*/ 199854 w 1623171"/>
                <a:gd name="connsiteY31" fmla="*/ 101322 h 219493"/>
                <a:gd name="connsiteX32" fmla="*/ 199854 w 1623171"/>
                <a:gd name="connsiteY32" fmla="*/ 214472 h 219493"/>
                <a:gd name="connsiteX33" fmla="*/ 163365 w 1623171"/>
                <a:gd name="connsiteY33" fmla="*/ 214472 h 219493"/>
                <a:gd name="connsiteX34" fmla="*/ 160463 w 1623171"/>
                <a:gd name="connsiteY34" fmla="*/ 189141 h 219493"/>
                <a:gd name="connsiteX35" fmla="*/ 159905 w 1623171"/>
                <a:gd name="connsiteY35" fmla="*/ 189141 h 219493"/>
                <a:gd name="connsiteX36" fmla="*/ 134463 w 1623171"/>
                <a:gd name="connsiteY36" fmla="*/ 212240 h 219493"/>
                <a:gd name="connsiteX37" fmla="*/ 100094 w 1623171"/>
                <a:gd name="connsiteY37" fmla="*/ 219158 h 219493"/>
                <a:gd name="connsiteX38" fmla="*/ 277184 w 1623171"/>
                <a:gd name="connsiteY38" fmla="*/ 218824 h 219493"/>
                <a:gd name="connsiteX39" fmla="*/ 237570 w 1623171"/>
                <a:gd name="connsiteY39" fmla="*/ 203313 h 219493"/>
                <a:gd name="connsiteX40" fmla="*/ 224180 w 1623171"/>
                <a:gd name="connsiteY40" fmla="*/ 162472 h 219493"/>
                <a:gd name="connsiteX41" fmla="*/ 224180 w 1623171"/>
                <a:gd name="connsiteY41" fmla="*/ 63493 h 219493"/>
                <a:gd name="connsiteX42" fmla="*/ 271939 w 1623171"/>
                <a:gd name="connsiteY42" fmla="*/ 63493 h 219493"/>
                <a:gd name="connsiteX43" fmla="*/ 271939 w 1623171"/>
                <a:gd name="connsiteY43" fmla="*/ 152541 h 219493"/>
                <a:gd name="connsiteX44" fmla="*/ 277519 w 1623171"/>
                <a:gd name="connsiteY44" fmla="*/ 171510 h 219493"/>
                <a:gd name="connsiteX45" fmla="*/ 294592 w 1623171"/>
                <a:gd name="connsiteY45" fmla="*/ 178094 h 219493"/>
                <a:gd name="connsiteX46" fmla="*/ 314008 w 1623171"/>
                <a:gd name="connsiteY46" fmla="*/ 169725 h 219493"/>
                <a:gd name="connsiteX47" fmla="*/ 321038 w 1623171"/>
                <a:gd name="connsiteY47" fmla="*/ 147742 h 219493"/>
                <a:gd name="connsiteX48" fmla="*/ 321038 w 1623171"/>
                <a:gd name="connsiteY48" fmla="*/ 63493 h 219493"/>
                <a:gd name="connsiteX49" fmla="*/ 369021 w 1623171"/>
                <a:gd name="connsiteY49" fmla="*/ 63493 h 219493"/>
                <a:gd name="connsiteX50" fmla="*/ 369021 w 1623171"/>
                <a:gd name="connsiteY50" fmla="*/ 214360 h 219493"/>
                <a:gd name="connsiteX51" fmla="*/ 323047 w 1623171"/>
                <a:gd name="connsiteY51" fmla="*/ 214360 h 219493"/>
                <a:gd name="connsiteX52" fmla="*/ 323047 w 1623171"/>
                <a:gd name="connsiteY52" fmla="*/ 195837 h 219493"/>
                <a:gd name="connsiteX53" fmla="*/ 322154 w 1623171"/>
                <a:gd name="connsiteY53" fmla="*/ 195837 h 219493"/>
                <a:gd name="connsiteX54" fmla="*/ 303407 w 1623171"/>
                <a:gd name="connsiteY54" fmla="*/ 212910 h 219493"/>
                <a:gd name="connsiteX55" fmla="*/ 277072 w 1623171"/>
                <a:gd name="connsiteY55" fmla="*/ 218824 h 219493"/>
                <a:gd name="connsiteX56" fmla="*/ 396360 w 1623171"/>
                <a:gd name="connsiteY56" fmla="*/ 1674 h 219493"/>
                <a:gd name="connsiteX57" fmla="*/ 444343 w 1623171"/>
                <a:gd name="connsiteY57" fmla="*/ 1674 h 219493"/>
                <a:gd name="connsiteX58" fmla="*/ 444343 w 1623171"/>
                <a:gd name="connsiteY58" fmla="*/ 42627 h 219493"/>
                <a:gd name="connsiteX59" fmla="*/ 396360 w 1623171"/>
                <a:gd name="connsiteY59" fmla="*/ 42627 h 219493"/>
                <a:gd name="connsiteX60" fmla="*/ 396360 w 1623171"/>
                <a:gd name="connsiteY60" fmla="*/ 1674 h 219493"/>
                <a:gd name="connsiteX61" fmla="*/ 396360 w 1623171"/>
                <a:gd name="connsiteY61" fmla="*/ 63493 h 219493"/>
                <a:gd name="connsiteX62" fmla="*/ 444343 w 1623171"/>
                <a:gd name="connsiteY62" fmla="*/ 63493 h 219493"/>
                <a:gd name="connsiteX63" fmla="*/ 444343 w 1623171"/>
                <a:gd name="connsiteY63" fmla="*/ 214360 h 219493"/>
                <a:gd name="connsiteX64" fmla="*/ 396360 w 1623171"/>
                <a:gd name="connsiteY64" fmla="*/ 214360 h 219493"/>
                <a:gd name="connsiteX65" fmla="*/ 396360 w 1623171"/>
                <a:gd name="connsiteY65" fmla="*/ 63493 h 219493"/>
                <a:gd name="connsiteX66" fmla="*/ 531046 w 1623171"/>
                <a:gd name="connsiteY66" fmla="*/ 219047 h 219493"/>
                <a:gd name="connsiteX67" fmla="*/ 504488 w 1623171"/>
                <a:gd name="connsiteY67" fmla="*/ 213579 h 219493"/>
                <a:gd name="connsiteX68" fmla="*/ 483621 w 1623171"/>
                <a:gd name="connsiteY68" fmla="*/ 197845 h 219493"/>
                <a:gd name="connsiteX69" fmla="*/ 469896 w 1623171"/>
                <a:gd name="connsiteY69" fmla="*/ 172626 h 219493"/>
                <a:gd name="connsiteX70" fmla="*/ 464986 w 1623171"/>
                <a:gd name="connsiteY70" fmla="*/ 138927 h 219493"/>
                <a:gd name="connsiteX71" fmla="*/ 469896 w 1623171"/>
                <a:gd name="connsiteY71" fmla="*/ 106455 h 219493"/>
                <a:gd name="connsiteX72" fmla="*/ 483398 w 1623171"/>
                <a:gd name="connsiteY72" fmla="*/ 81236 h 219493"/>
                <a:gd name="connsiteX73" fmla="*/ 504154 w 1623171"/>
                <a:gd name="connsiteY73" fmla="*/ 64833 h 219493"/>
                <a:gd name="connsiteX74" fmla="*/ 530935 w 1623171"/>
                <a:gd name="connsiteY74" fmla="*/ 58918 h 219493"/>
                <a:gd name="connsiteX75" fmla="*/ 556600 w 1623171"/>
                <a:gd name="connsiteY75" fmla="*/ 64944 h 219493"/>
                <a:gd name="connsiteX76" fmla="*/ 573115 w 1623171"/>
                <a:gd name="connsiteY76" fmla="*/ 80455 h 219493"/>
                <a:gd name="connsiteX77" fmla="*/ 574008 w 1623171"/>
                <a:gd name="connsiteY77" fmla="*/ 80455 h 219493"/>
                <a:gd name="connsiteX78" fmla="*/ 574008 w 1623171"/>
                <a:gd name="connsiteY78" fmla="*/ 1451 h 219493"/>
                <a:gd name="connsiteX79" fmla="*/ 621990 w 1623171"/>
                <a:gd name="connsiteY79" fmla="*/ 1451 h 219493"/>
                <a:gd name="connsiteX80" fmla="*/ 621990 w 1623171"/>
                <a:gd name="connsiteY80" fmla="*/ 214249 h 219493"/>
                <a:gd name="connsiteX81" fmla="*/ 576016 w 1623171"/>
                <a:gd name="connsiteY81" fmla="*/ 214249 h 219493"/>
                <a:gd name="connsiteX82" fmla="*/ 576016 w 1623171"/>
                <a:gd name="connsiteY82" fmla="*/ 193940 h 219493"/>
                <a:gd name="connsiteX83" fmla="*/ 575458 w 1623171"/>
                <a:gd name="connsiteY83" fmla="*/ 193940 h 219493"/>
                <a:gd name="connsiteX84" fmla="*/ 557381 w 1623171"/>
                <a:gd name="connsiteY84" fmla="*/ 212352 h 219493"/>
                <a:gd name="connsiteX85" fmla="*/ 531046 w 1623171"/>
                <a:gd name="connsiteY85" fmla="*/ 218935 h 219493"/>
                <a:gd name="connsiteX86" fmla="*/ 543433 w 1623171"/>
                <a:gd name="connsiteY86" fmla="*/ 180884 h 219493"/>
                <a:gd name="connsiteX87" fmla="*/ 566866 w 1623171"/>
                <a:gd name="connsiteY87" fmla="*/ 169056 h 219493"/>
                <a:gd name="connsiteX88" fmla="*/ 575235 w 1623171"/>
                <a:gd name="connsiteY88" fmla="*/ 138704 h 219493"/>
                <a:gd name="connsiteX89" fmla="*/ 573338 w 1623171"/>
                <a:gd name="connsiteY89" fmla="*/ 121184 h 219493"/>
                <a:gd name="connsiteX90" fmla="*/ 567424 w 1623171"/>
                <a:gd name="connsiteY90" fmla="*/ 107347 h 219493"/>
                <a:gd name="connsiteX91" fmla="*/ 557716 w 1623171"/>
                <a:gd name="connsiteY91" fmla="*/ 98309 h 219493"/>
                <a:gd name="connsiteX92" fmla="*/ 543991 w 1623171"/>
                <a:gd name="connsiteY92" fmla="*/ 95073 h 219493"/>
                <a:gd name="connsiteX93" fmla="*/ 521561 w 1623171"/>
                <a:gd name="connsiteY93" fmla="*/ 107013 h 219493"/>
                <a:gd name="connsiteX94" fmla="*/ 513639 w 1623171"/>
                <a:gd name="connsiteY94" fmla="*/ 138146 h 219493"/>
                <a:gd name="connsiteX95" fmla="*/ 521450 w 1623171"/>
                <a:gd name="connsiteY95" fmla="*/ 169390 h 219493"/>
                <a:gd name="connsiteX96" fmla="*/ 543433 w 1623171"/>
                <a:gd name="connsiteY96" fmla="*/ 180884 h 219493"/>
                <a:gd name="connsiteX97" fmla="*/ 720188 w 1623171"/>
                <a:gd name="connsiteY97" fmla="*/ 218601 h 219493"/>
                <a:gd name="connsiteX98" fmla="*/ 686600 w 1623171"/>
                <a:gd name="connsiteY98" fmla="*/ 212575 h 219493"/>
                <a:gd name="connsiteX99" fmla="*/ 661269 w 1623171"/>
                <a:gd name="connsiteY99" fmla="*/ 195725 h 219493"/>
                <a:gd name="connsiteX100" fmla="*/ 645312 w 1623171"/>
                <a:gd name="connsiteY100" fmla="*/ 170283 h 219493"/>
                <a:gd name="connsiteX101" fmla="*/ 639733 w 1623171"/>
                <a:gd name="connsiteY101" fmla="*/ 138480 h 219493"/>
                <a:gd name="connsiteX102" fmla="*/ 645312 w 1623171"/>
                <a:gd name="connsiteY102" fmla="*/ 107124 h 219493"/>
                <a:gd name="connsiteX103" fmla="*/ 661269 w 1623171"/>
                <a:gd name="connsiteY103" fmla="*/ 81794 h 219493"/>
                <a:gd name="connsiteX104" fmla="*/ 685707 w 1623171"/>
                <a:gd name="connsiteY104" fmla="*/ 65056 h 219493"/>
                <a:gd name="connsiteX105" fmla="*/ 717286 w 1623171"/>
                <a:gd name="connsiteY105" fmla="*/ 59030 h 219493"/>
                <a:gd name="connsiteX106" fmla="*/ 746299 w 1623171"/>
                <a:gd name="connsiteY106" fmla="*/ 64051 h 219493"/>
                <a:gd name="connsiteX107" fmla="*/ 768840 w 1623171"/>
                <a:gd name="connsiteY107" fmla="*/ 77888 h 219493"/>
                <a:gd name="connsiteX108" fmla="*/ 789037 w 1623171"/>
                <a:gd name="connsiteY108" fmla="*/ 109244 h 219493"/>
                <a:gd name="connsiteX109" fmla="*/ 795398 w 1623171"/>
                <a:gd name="connsiteY109" fmla="*/ 151201 h 219493"/>
                <a:gd name="connsiteX110" fmla="*/ 686934 w 1623171"/>
                <a:gd name="connsiteY110" fmla="*/ 151201 h 219493"/>
                <a:gd name="connsiteX111" fmla="*/ 697535 w 1623171"/>
                <a:gd name="connsiteY111" fmla="*/ 175416 h 219493"/>
                <a:gd name="connsiteX112" fmla="*/ 720857 w 1623171"/>
                <a:gd name="connsiteY112" fmla="*/ 184231 h 219493"/>
                <a:gd name="connsiteX113" fmla="*/ 736479 w 1623171"/>
                <a:gd name="connsiteY113" fmla="*/ 180214 h 219493"/>
                <a:gd name="connsiteX114" fmla="*/ 745853 w 1623171"/>
                <a:gd name="connsiteY114" fmla="*/ 169167 h 219493"/>
                <a:gd name="connsiteX115" fmla="*/ 792720 w 1623171"/>
                <a:gd name="connsiteY115" fmla="*/ 169167 h 219493"/>
                <a:gd name="connsiteX116" fmla="*/ 783904 w 1623171"/>
                <a:gd name="connsiteY116" fmla="*/ 188807 h 219493"/>
                <a:gd name="connsiteX117" fmla="*/ 767389 w 1623171"/>
                <a:gd name="connsiteY117" fmla="*/ 204875 h 219493"/>
                <a:gd name="connsiteX118" fmla="*/ 746299 w 1623171"/>
                <a:gd name="connsiteY118" fmla="*/ 215141 h 219493"/>
                <a:gd name="connsiteX119" fmla="*/ 720188 w 1623171"/>
                <a:gd name="connsiteY119" fmla="*/ 218712 h 219493"/>
                <a:gd name="connsiteX120" fmla="*/ 746746 w 1623171"/>
                <a:gd name="connsiteY120" fmla="*/ 122635 h 219493"/>
                <a:gd name="connsiteX121" fmla="*/ 737595 w 1623171"/>
                <a:gd name="connsiteY121" fmla="*/ 101099 h 219493"/>
                <a:gd name="connsiteX122" fmla="*/ 718179 w 1623171"/>
                <a:gd name="connsiteY122" fmla="*/ 93176 h 219493"/>
                <a:gd name="connsiteX123" fmla="*/ 696977 w 1623171"/>
                <a:gd name="connsiteY123" fmla="*/ 101099 h 219493"/>
                <a:gd name="connsiteX124" fmla="*/ 687269 w 1623171"/>
                <a:gd name="connsiteY124" fmla="*/ 122635 h 219493"/>
                <a:gd name="connsiteX125" fmla="*/ 746746 w 1623171"/>
                <a:gd name="connsiteY125" fmla="*/ 122635 h 219493"/>
                <a:gd name="connsiteX126" fmla="*/ 813029 w 1623171"/>
                <a:gd name="connsiteY126" fmla="*/ 1562 h 219493"/>
                <a:gd name="connsiteX127" fmla="*/ 861011 w 1623171"/>
                <a:gd name="connsiteY127" fmla="*/ 1562 h 219493"/>
                <a:gd name="connsiteX128" fmla="*/ 861011 w 1623171"/>
                <a:gd name="connsiteY128" fmla="*/ 82017 h 219493"/>
                <a:gd name="connsiteX129" fmla="*/ 861904 w 1623171"/>
                <a:gd name="connsiteY129" fmla="*/ 82017 h 219493"/>
                <a:gd name="connsiteX130" fmla="*/ 880428 w 1623171"/>
                <a:gd name="connsiteY130" fmla="*/ 65056 h 219493"/>
                <a:gd name="connsiteX131" fmla="*/ 906651 w 1623171"/>
                <a:gd name="connsiteY131" fmla="*/ 59030 h 219493"/>
                <a:gd name="connsiteX132" fmla="*/ 928745 w 1623171"/>
                <a:gd name="connsiteY132" fmla="*/ 63270 h 219493"/>
                <a:gd name="connsiteX133" fmla="*/ 945260 w 1623171"/>
                <a:gd name="connsiteY133" fmla="*/ 75099 h 219493"/>
                <a:gd name="connsiteX134" fmla="*/ 955638 w 1623171"/>
                <a:gd name="connsiteY134" fmla="*/ 93064 h 219493"/>
                <a:gd name="connsiteX135" fmla="*/ 959209 w 1623171"/>
                <a:gd name="connsiteY135" fmla="*/ 116163 h 219493"/>
                <a:gd name="connsiteX136" fmla="*/ 959209 w 1623171"/>
                <a:gd name="connsiteY136" fmla="*/ 214249 h 219493"/>
                <a:gd name="connsiteX137" fmla="*/ 911226 w 1623171"/>
                <a:gd name="connsiteY137" fmla="*/ 214249 h 219493"/>
                <a:gd name="connsiteX138" fmla="*/ 911226 w 1623171"/>
                <a:gd name="connsiteY138" fmla="*/ 125871 h 219493"/>
                <a:gd name="connsiteX139" fmla="*/ 905312 w 1623171"/>
                <a:gd name="connsiteY139" fmla="*/ 106455 h 219493"/>
                <a:gd name="connsiteX140" fmla="*/ 887681 w 1623171"/>
                <a:gd name="connsiteY140" fmla="*/ 99090 h 219493"/>
                <a:gd name="connsiteX141" fmla="*/ 868376 w 1623171"/>
                <a:gd name="connsiteY141" fmla="*/ 107905 h 219493"/>
                <a:gd name="connsiteX142" fmla="*/ 861123 w 1623171"/>
                <a:gd name="connsiteY142" fmla="*/ 130892 h 219493"/>
                <a:gd name="connsiteX143" fmla="*/ 861123 w 1623171"/>
                <a:gd name="connsiteY143" fmla="*/ 214249 h 219493"/>
                <a:gd name="connsiteX144" fmla="*/ 813140 w 1623171"/>
                <a:gd name="connsiteY144" fmla="*/ 214249 h 219493"/>
                <a:gd name="connsiteX145" fmla="*/ 813140 w 1623171"/>
                <a:gd name="connsiteY145" fmla="*/ 1451 h 219493"/>
                <a:gd name="connsiteX146" fmla="*/ 1054951 w 1623171"/>
                <a:gd name="connsiteY146" fmla="*/ 219047 h 219493"/>
                <a:gd name="connsiteX147" fmla="*/ 1021809 w 1623171"/>
                <a:gd name="connsiteY147" fmla="*/ 213021 h 219493"/>
                <a:gd name="connsiteX148" fmla="*/ 996256 w 1623171"/>
                <a:gd name="connsiteY148" fmla="*/ 196171 h 219493"/>
                <a:gd name="connsiteX149" fmla="*/ 979964 w 1623171"/>
                <a:gd name="connsiteY149" fmla="*/ 170841 h 219493"/>
                <a:gd name="connsiteX150" fmla="*/ 974161 w 1623171"/>
                <a:gd name="connsiteY150" fmla="*/ 139150 h 219493"/>
                <a:gd name="connsiteX151" fmla="*/ 979964 w 1623171"/>
                <a:gd name="connsiteY151" fmla="*/ 107459 h 219493"/>
                <a:gd name="connsiteX152" fmla="*/ 996256 w 1623171"/>
                <a:gd name="connsiteY152" fmla="*/ 82129 h 219493"/>
                <a:gd name="connsiteX153" fmla="*/ 1021809 w 1623171"/>
                <a:gd name="connsiteY153" fmla="*/ 65390 h 219493"/>
                <a:gd name="connsiteX154" fmla="*/ 1054951 w 1623171"/>
                <a:gd name="connsiteY154" fmla="*/ 59365 h 219493"/>
                <a:gd name="connsiteX155" fmla="*/ 1088093 w 1623171"/>
                <a:gd name="connsiteY155" fmla="*/ 65390 h 219493"/>
                <a:gd name="connsiteX156" fmla="*/ 1113423 w 1623171"/>
                <a:gd name="connsiteY156" fmla="*/ 82129 h 219493"/>
                <a:gd name="connsiteX157" fmla="*/ 1129603 w 1623171"/>
                <a:gd name="connsiteY157" fmla="*/ 107459 h 219493"/>
                <a:gd name="connsiteX158" fmla="*/ 1135294 w 1623171"/>
                <a:gd name="connsiteY158" fmla="*/ 139150 h 219493"/>
                <a:gd name="connsiteX159" fmla="*/ 1129603 w 1623171"/>
                <a:gd name="connsiteY159" fmla="*/ 170841 h 219493"/>
                <a:gd name="connsiteX160" fmla="*/ 1113423 w 1623171"/>
                <a:gd name="connsiteY160" fmla="*/ 196171 h 219493"/>
                <a:gd name="connsiteX161" fmla="*/ 1088093 w 1623171"/>
                <a:gd name="connsiteY161" fmla="*/ 213021 h 219493"/>
                <a:gd name="connsiteX162" fmla="*/ 1054951 w 1623171"/>
                <a:gd name="connsiteY162" fmla="*/ 219047 h 219493"/>
                <a:gd name="connsiteX163" fmla="*/ 1054616 w 1623171"/>
                <a:gd name="connsiteY163" fmla="*/ 184901 h 219493"/>
                <a:gd name="connsiteX164" fmla="*/ 1078608 w 1623171"/>
                <a:gd name="connsiteY164" fmla="*/ 172403 h 219493"/>
                <a:gd name="connsiteX165" fmla="*/ 1086753 w 1623171"/>
                <a:gd name="connsiteY165" fmla="*/ 139262 h 219493"/>
                <a:gd name="connsiteX166" fmla="*/ 1078608 w 1623171"/>
                <a:gd name="connsiteY166" fmla="*/ 106008 h 219493"/>
                <a:gd name="connsiteX167" fmla="*/ 1054616 w 1623171"/>
                <a:gd name="connsiteY167" fmla="*/ 93287 h 219493"/>
                <a:gd name="connsiteX168" fmla="*/ 1030736 w 1623171"/>
                <a:gd name="connsiteY168" fmla="*/ 106008 h 219493"/>
                <a:gd name="connsiteX169" fmla="*/ 1022814 w 1623171"/>
                <a:gd name="connsiteY169" fmla="*/ 139262 h 219493"/>
                <a:gd name="connsiteX170" fmla="*/ 1030736 w 1623171"/>
                <a:gd name="connsiteY170" fmla="*/ 172403 h 219493"/>
                <a:gd name="connsiteX171" fmla="*/ 1054616 w 1623171"/>
                <a:gd name="connsiteY171" fmla="*/ 184901 h 219493"/>
                <a:gd name="connsiteX172" fmla="*/ 1203474 w 1623171"/>
                <a:gd name="connsiteY172" fmla="*/ 218824 h 219493"/>
                <a:gd name="connsiteX173" fmla="*/ 1163861 w 1623171"/>
                <a:gd name="connsiteY173" fmla="*/ 203313 h 219493"/>
                <a:gd name="connsiteX174" fmla="*/ 1150470 w 1623171"/>
                <a:gd name="connsiteY174" fmla="*/ 162472 h 219493"/>
                <a:gd name="connsiteX175" fmla="*/ 1150470 w 1623171"/>
                <a:gd name="connsiteY175" fmla="*/ 63493 h 219493"/>
                <a:gd name="connsiteX176" fmla="*/ 1198230 w 1623171"/>
                <a:gd name="connsiteY176" fmla="*/ 63493 h 219493"/>
                <a:gd name="connsiteX177" fmla="*/ 1198230 w 1623171"/>
                <a:gd name="connsiteY177" fmla="*/ 152541 h 219493"/>
                <a:gd name="connsiteX178" fmla="*/ 1203809 w 1623171"/>
                <a:gd name="connsiteY178" fmla="*/ 171510 h 219493"/>
                <a:gd name="connsiteX179" fmla="*/ 1220882 w 1623171"/>
                <a:gd name="connsiteY179" fmla="*/ 178094 h 219493"/>
                <a:gd name="connsiteX180" fmla="*/ 1240298 w 1623171"/>
                <a:gd name="connsiteY180" fmla="*/ 169725 h 219493"/>
                <a:gd name="connsiteX181" fmla="*/ 1247328 w 1623171"/>
                <a:gd name="connsiteY181" fmla="*/ 147742 h 219493"/>
                <a:gd name="connsiteX182" fmla="*/ 1247328 w 1623171"/>
                <a:gd name="connsiteY182" fmla="*/ 63493 h 219493"/>
                <a:gd name="connsiteX183" fmla="*/ 1295311 w 1623171"/>
                <a:gd name="connsiteY183" fmla="*/ 63493 h 219493"/>
                <a:gd name="connsiteX184" fmla="*/ 1295311 w 1623171"/>
                <a:gd name="connsiteY184" fmla="*/ 214360 h 219493"/>
                <a:gd name="connsiteX185" fmla="*/ 1249337 w 1623171"/>
                <a:gd name="connsiteY185" fmla="*/ 214360 h 219493"/>
                <a:gd name="connsiteX186" fmla="*/ 1249337 w 1623171"/>
                <a:gd name="connsiteY186" fmla="*/ 195837 h 219493"/>
                <a:gd name="connsiteX187" fmla="*/ 1248444 w 1623171"/>
                <a:gd name="connsiteY187" fmla="*/ 195837 h 219493"/>
                <a:gd name="connsiteX188" fmla="*/ 1229698 w 1623171"/>
                <a:gd name="connsiteY188" fmla="*/ 212910 h 219493"/>
                <a:gd name="connsiteX189" fmla="*/ 1203363 w 1623171"/>
                <a:gd name="connsiteY189" fmla="*/ 218824 h 219493"/>
                <a:gd name="connsiteX190" fmla="*/ 1385474 w 1623171"/>
                <a:gd name="connsiteY190" fmla="*/ 219158 h 219493"/>
                <a:gd name="connsiteX191" fmla="*/ 1332693 w 1623171"/>
                <a:gd name="connsiteY191" fmla="*/ 204875 h 219493"/>
                <a:gd name="connsiteX192" fmla="*/ 1312049 w 1623171"/>
                <a:gd name="connsiteY192" fmla="*/ 165485 h 219493"/>
                <a:gd name="connsiteX193" fmla="*/ 1357466 w 1623171"/>
                <a:gd name="connsiteY193" fmla="*/ 165485 h 219493"/>
                <a:gd name="connsiteX194" fmla="*/ 1366058 w 1623171"/>
                <a:gd name="connsiteY194" fmla="*/ 182334 h 219493"/>
                <a:gd name="connsiteX195" fmla="*/ 1385251 w 1623171"/>
                <a:gd name="connsiteY195" fmla="*/ 187914 h 219493"/>
                <a:gd name="connsiteX196" fmla="*/ 1402435 w 1623171"/>
                <a:gd name="connsiteY196" fmla="*/ 184120 h 219493"/>
                <a:gd name="connsiteX197" fmla="*/ 1408796 w 1623171"/>
                <a:gd name="connsiteY197" fmla="*/ 172961 h 219493"/>
                <a:gd name="connsiteX198" fmla="*/ 1405560 w 1623171"/>
                <a:gd name="connsiteY198" fmla="*/ 164815 h 219493"/>
                <a:gd name="connsiteX199" fmla="*/ 1396968 w 1623171"/>
                <a:gd name="connsiteY199" fmla="*/ 159794 h 219493"/>
                <a:gd name="connsiteX200" fmla="*/ 1384693 w 1623171"/>
                <a:gd name="connsiteY200" fmla="*/ 156892 h 219493"/>
                <a:gd name="connsiteX201" fmla="*/ 1370410 w 1623171"/>
                <a:gd name="connsiteY201" fmla="*/ 154438 h 219493"/>
                <a:gd name="connsiteX202" fmla="*/ 1350993 w 1623171"/>
                <a:gd name="connsiteY202" fmla="*/ 150197 h 219493"/>
                <a:gd name="connsiteX203" fmla="*/ 1333474 w 1623171"/>
                <a:gd name="connsiteY203" fmla="*/ 142721 h 219493"/>
                <a:gd name="connsiteX204" fmla="*/ 1320976 w 1623171"/>
                <a:gd name="connsiteY204" fmla="*/ 129330 h 219493"/>
                <a:gd name="connsiteX205" fmla="*/ 1316290 w 1623171"/>
                <a:gd name="connsiteY205" fmla="*/ 107682 h 219493"/>
                <a:gd name="connsiteX206" fmla="*/ 1321423 w 1623171"/>
                <a:gd name="connsiteY206" fmla="*/ 86704 h 219493"/>
                <a:gd name="connsiteX207" fmla="*/ 1335483 w 1623171"/>
                <a:gd name="connsiteY207" fmla="*/ 71528 h 219493"/>
                <a:gd name="connsiteX208" fmla="*/ 1356238 w 1623171"/>
                <a:gd name="connsiteY208" fmla="*/ 62378 h 219493"/>
                <a:gd name="connsiteX209" fmla="*/ 1381457 w 1623171"/>
                <a:gd name="connsiteY209" fmla="*/ 59253 h 219493"/>
                <a:gd name="connsiteX210" fmla="*/ 1430667 w 1623171"/>
                <a:gd name="connsiteY210" fmla="*/ 72197 h 219493"/>
                <a:gd name="connsiteX211" fmla="*/ 1449525 w 1623171"/>
                <a:gd name="connsiteY211" fmla="*/ 107571 h 219493"/>
                <a:gd name="connsiteX212" fmla="*/ 1405337 w 1623171"/>
                <a:gd name="connsiteY212" fmla="*/ 107571 h 219493"/>
                <a:gd name="connsiteX213" fmla="*/ 1397525 w 1623171"/>
                <a:gd name="connsiteY213" fmla="*/ 93622 h 219493"/>
                <a:gd name="connsiteX214" fmla="*/ 1381122 w 1623171"/>
                <a:gd name="connsiteY214" fmla="*/ 89940 h 219493"/>
                <a:gd name="connsiteX215" fmla="*/ 1366281 w 1623171"/>
                <a:gd name="connsiteY215" fmla="*/ 93287 h 219493"/>
                <a:gd name="connsiteX216" fmla="*/ 1360255 w 1623171"/>
                <a:gd name="connsiteY216" fmla="*/ 103777 h 219493"/>
                <a:gd name="connsiteX217" fmla="*/ 1363156 w 1623171"/>
                <a:gd name="connsiteY217" fmla="*/ 110249 h 219493"/>
                <a:gd name="connsiteX218" fmla="*/ 1371079 w 1623171"/>
                <a:gd name="connsiteY218" fmla="*/ 114266 h 219493"/>
                <a:gd name="connsiteX219" fmla="*/ 1382684 w 1623171"/>
                <a:gd name="connsiteY219" fmla="*/ 117056 h 219493"/>
                <a:gd name="connsiteX220" fmla="*/ 1396410 w 1623171"/>
                <a:gd name="connsiteY220" fmla="*/ 119399 h 219493"/>
                <a:gd name="connsiteX221" fmla="*/ 1416607 w 1623171"/>
                <a:gd name="connsiteY221" fmla="*/ 123639 h 219493"/>
                <a:gd name="connsiteX222" fmla="*/ 1435131 w 1623171"/>
                <a:gd name="connsiteY222" fmla="*/ 131450 h 219493"/>
                <a:gd name="connsiteX223" fmla="*/ 1448856 w 1623171"/>
                <a:gd name="connsiteY223" fmla="*/ 145734 h 219493"/>
                <a:gd name="connsiteX224" fmla="*/ 1454212 w 1623171"/>
                <a:gd name="connsiteY224" fmla="*/ 169167 h 219493"/>
                <a:gd name="connsiteX225" fmla="*/ 1449079 w 1623171"/>
                <a:gd name="connsiteY225" fmla="*/ 190927 h 219493"/>
                <a:gd name="connsiteX226" fmla="*/ 1434796 w 1623171"/>
                <a:gd name="connsiteY226" fmla="*/ 206549 h 219493"/>
                <a:gd name="connsiteX227" fmla="*/ 1413036 w 1623171"/>
                <a:gd name="connsiteY227" fmla="*/ 216034 h 219493"/>
                <a:gd name="connsiteX228" fmla="*/ 1385586 w 1623171"/>
                <a:gd name="connsiteY228" fmla="*/ 219270 h 219493"/>
                <a:gd name="connsiteX229" fmla="*/ 1547946 w 1623171"/>
                <a:gd name="connsiteY229" fmla="*/ 218935 h 219493"/>
                <a:gd name="connsiteX230" fmla="*/ 1514358 w 1623171"/>
                <a:gd name="connsiteY230" fmla="*/ 212910 h 219493"/>
                <a:gd name="connsiteX231" fmla="*/ 1489027 w 1623171"/>
                <a:gd name="connsiteY231" fmla="*/ 196060 h 219493"/>
                <a:gd name="connsiteX232" fmla="*/ 1473070 w 1623171"/>
                <a:gd name="connsiteY232" fmla="*/ 170618 h 219493"/>
                <a:gd name="connsiteX233" fmla="*/ 1467491 w 1623171"/>
                <a:gd name="connsiteY233" fmla="*/ 138815 h 219493"/>
                <a:gd name="connsiteX234" fmla="*/ 1473070 w 1623171"/>
                <a:gd name="connsiteY234" fmla="*/ 107459 h 219493"/>
                <a:gd name="connsiteX235" fmla="*/ 1489027 w 1623171"/>
                <a:gd name="connsiteY235" fmla="*/ 82129 h 219493"/>
                <a:gd name="connsiteX236" fmla="*/ 1513465 w 1623171"/>
                <a:gd name="connsiteY236" fmla="*/ 65390 h 219493"/>
                <a:gd name="connsiteX237" fmla="*/ 1545045 w 1623171"/>
                <a:gd name="connsiteY237" fmla="*/ 59365 h 219493"/>
                <a:gd name="connsiteX238" fmla="*/ 1574057 w 1623171"/>
                <a:gd name="connsiteY238" fmla="*/ 64386 h 219493"/>
                <a:gd name="connsiteX239" fmla="*/ 1596598 w 1623171"/>
                <a:gd name="connsiteY239" fmla="*/ 78223 h 219493"/>
                <a:gd name="connsiteX240" fmla="*/ 1616795 w 1623171"/>
                <a:gd name="connsiteY240" fmla="*/ 109579 h 219493"/>
                <a:gd name="connsiteX241" fmla="*/ 1623156 w 1623171"/>
                <a:gd name="connsiteY241" fmla="*/ 151536 h 219493"/>
                <a:gd name="connsiteX242" fmla="*/ 1514693 w 1623171"/>
                <a:gd name="connsiteY242" fmla="*/ 151536 h 219493"/>
                <a:gd name="connsiteX243" fmla="*/ 1525293 w 1623171"/>
                <a:gd name="connsiteY243" fmla="*/ 175751 h 219493"/>
                <a:gd name="connsiteX244" fmla="*/ 1548615 w 1623171"/>
                <a:gd name="connsiteY244" fmla="*/ 184566 h 219493"/>
                <a:gd name="connsiteX245" fmla="*/ 1564238 w 1623171"/>
                <a:gd name="connsiteY245" fmla="*/ 180549 h 219493"/>
                <a:gd name="connsiteX246" fmla="*/ 1573723 w 1623171"/>
                <a:gd name="connsiteY246" fmla="*/ 169502 h 219493"/>
                <a:gd name="connsiteX247" fmla="*/ 1620590 w 1623171"/>
                <a:gd name="connsiteY247" fmla="*/ 169502 h 219493"/>
                <a:gd name="connsiteX248" fmla="*/ 1611774 w 1623171"/>
                <a:gd name="connsiteY248" fmla="*/ 189141 h 219493"/>
                <a:gd name="connsiteX249" fmla="*/ 1595259 w 1623171"/>
                <a:gd name="connsiteY249" fmla="*/ 205210 h 219493"/>
                <a:gd name="connsiteX250" fmla="*/ 1574169 w 1623171"/>
                <a:gd name="connsiteY250" fmla="*/ 215476 h 219493"/>
                <a:gd name="connsiteX251" fmla="*/ 1548057 w 1623171"/>
                <a:gd name="connsiteY251" fmla="*/ 219047 h 219493"/>
                <a:gd name="connsiteX252" fmla="*/ 1574615 w 1623171"/>
                <a:gd name="connsiteY252" fmla="*/ 122970 h 219493"/>
                <a:gd name="connsiteX253" fmla="*/ 1565465 w 1623171"/>
                <a:gd name="connsiteY253" fmla="*/ 101433 h 219493"/>
                <a:gd name="connsiteX254" fmla="*/ 1546049 w 1623171"/>
                <a:gd name="connsiteY254" fmla="*/ 93511 h 219493"/>
                <a:gd name="connsiteX255" fmla="*/ 1524847 w 1623171"/>
                <a:gd name="connsiteY255" fmla="*/ 101433 h 219493"/>
                <a:gd name="connsiteX256" fmla="*/ 1515139 w 1623171"/>
                <a:gd name="connsiteY256" fmla="*/ 122970 h 219493"/>
                <a:gd name="connsiteX257" fmla="*/ 1574615 w 1623171"/>
                <a:gd name="connsiteY257" fmla="*/ 122970 h 219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</a:cxnLst>
              <a:rect l="l" t="t" r="r" b="b"/>
              <a:pathLst>
                <a:path w="1623171" h="219493">
                  <a:moveTo>
                    <a:pt x="100206" y="219493"/>
                  </a:moveTo>
                  <a:cubicBezTo>
                    <a:pt x="85030" y="219493"/>
                    <a:pt x="71528" y="216927"/>
                    <a:pt x="59588" y="211794"/>
                  </a:cubicBezTo>
                  <a:cubicBezTo>
                    <a:pt x="47648" y="206661"/>
                    <a:pt x="37159" y="199407"/>
                    <a:pt x="28343" y="190034"/>
                  </a:cubicBezTo>
                  <a:cubicBezTo>
                    <a:pt x="19082" y="179991"/>
                    <a:pt x="12052" y="168274"/>
                    <a:pt x="7253" y="154661"/>
                  </a:cubicBezTo>
                  <a:cubicBezTo>
                    <a:pt x="2455" y="141159"/>
                    <a:pt x="0" y="126317"/>
                    <a:pt x="0" y="110137"/>
                  </a:cubicBezTo>
                  <a:cubicBezTo>
                    <a:pt x="0" y="93957"/>
                    <a:pt x="2678" y="78111"/>
                    <a:pt x="8146" y="64051"/>
                  </a:cubicBezTo>
                  <a:cubicBezTo>
                    <a:pt x="13502" y="49991"/>
                    <a:pt x="21202" y="37940"/>
                    <a:pt x="31245" y="28009"/>
                  </a:cubicBezTo>
                  <a:cubicBezTo>
                    <a:pt x="40060" y="19193"/>
                    <a:pt x="50438" y="12275"/>
                    <a:pt x="62489" y="7365"/>
                  </a:cubicBezTo>
                  <a:cubicBezTo>
                    <a:pt x="74429" y="2455"/>
                    <a:pt x="88154" y="0"/>
                    <a:pt x="103442" y="0"/>
                  </a:cubicBezTo>
                  <a:cubicBezTo>
                    <a:pt x="116944" y="0"/>
                    <a:pt x="129219" y="1674"/>
                    <a:pt x="139931" y="5133"/>
                  </a:cubicBezTo>
                  <a:cubicBezTo>
                    <a:pt x="150755" y="8592"/>
                    <a:pt x="160129" y="13502"/>
                    <a:pt x="167940" y="19863"/>
                  </a:cubicBezTo>
                  <a:cubicBezTo>
                    <a:pt x="175751" y="26223"/>
                    <a:pt x="182111" y="33923"/>
                    <a:pt x="186910" y="42961"/>
                  </a:cubicBezTo>
                  <a:cubicBezTo>
                    <a:pt x="191708" y="52000"/>
                    <a:pt x="195055" y="62043"/>
                    <a:pt x="196729" y="72978"/>
                  </a:cubicBezTo>
                  <a:lnTo>
                    <a:pt x="146068" y="72978"/>
                  </a:lnTo>
                  <a:cubicBezTo>
                    <a:pt x="144060" y="64386"/>
                    <a:pt x="139708" y="57133"/>
                    <a:pt x="132789" y="51442"/>
                  </a:cubicBezTo>
                  <a:cubicBezTo>
                    <a:pt x="125871" y="45751"/>
                    <a:pt x="116721" y="42850"/>
                    <a:pt x="105116" y="42850"/>
                  </a:cubicBezTo>
                  <a:cubicBezTo>
                    <a:pt x="96412" y="42850"/>
                    <a:pt x="88824" y="44635"/>
                    <a:pt x="82240" y="47983"/>
                  </a:cubicBezTo>
                  <a:cubicBezTo>
                    <a:pt x="75657" y="51442"/>
                    <a:pt x="70189" y="56129"/>
                    <a:pt x="65837" y="62154"/>
                  </a:cubicBezTo>
                  <a:cubicBezTo>
                    <a:pt x="61485" y="68180"/>
                    <a:pt x="58249" y="75210"/>
                    <a:pt x="56129" y="83356"/>
                  </a:cubicBezTo>
                  <a:cubicBezTo>
                    <a:pt x="54008" y="91502"/>
                    <a:pt x="52893" y="100429"/>
                    <a:pt x="52893" y="110026"/>
                  </a:cubicBezTo>
                  <a:cubicBezTo>
                    <a:pt x="52893" y="119622"/>
                    <a:pt x="54120" y="128549"/>
                    <a:pt x="56575" y="136807"/>
                  </a:cubicBezTo>
                  <a:cubicBezTo>
                    <a:pt x="59030" y="145064"/>
                    <a:pt x="62489" y="152206"/>
                    <a:pt x="67064" y="158120"/>
                  </a:cubicBezTo>
                  <a:cubicBezTo>
                    <a:pt x="71639" y="164146"/>
                    <a:pt x="77107" y="168832"/>
                    <a:pt x="83691" y="172068"/>
                  </a:cubicBezTo>
                  <a:cubicBezTo>
                    <a:pt x="90275" y="175416"/>
                    <a:pt x="97639" y="177090"/>
                    <a:pt x="105897" y="177090"/>
                  </a:cubicBezTo>
                  <a:cubicBezTo>
                    <a:pt x="112704" y="177090"/>
                    <a:pt x="118953" y="176086"/>
                    <a:pt x="124309" y="173965"/>
                  </a:cubicBezTo>
                  <a:cubicBezTo>
                    <a:pt x="129665" y="171957"/>
                    <a:pt x="134352" y="169167"/>
                    <a:pt x="138146" y="165708"/>
                  </a:cubicBezTo>
                  <a:cubicBezTo>
                    <a:pt x="141940" y="162249"/>
                    <a:pt x="145064" y="158343"/>
                    <a:pt x="147296" y="153880"/>
                  </a:cubicBezTo>
                  <a:cubicBezTo>
                    <a:pt x="149528" y="149528"/>
                    <a:pt x="150978" y="144953"/>
                    <a:pt x="151536" y="140154"/>
                  </a:cubicBezTo>
                  <a:lnTo>
                    <a:pt x="151536" y="139596"/>
                  </a:lnTo>
                  <a:lnTo>
                    <a:pt x="112034" y="139596"/>
                  </a:lnTo>
                  <a:lnTo>
                    <a:pt x="112034" y="101322"/>
                  </a:lnTo>
                  <a:lnTo>
                    <a:pt x="199854" y="101322"/>
                  </a:lnTo>
                  <a:lnTo>
                    <a:pt x="199854" y="214472"/>
                  </a:lnTo>
                  <a:lnTo>
                    <a:pt x="163365" y="214472"/>
                  </a:lnTo>
                  <a:lnTo>
                    <a:pt x="160463" y="189141"/>
                  </a:lnTo>
                  <a:lnTo>
                    <a:pt x="159905" y="189141"/>
                  </a:lnTo>
                  <a:cubicBezTo>
                    <a:pt x="152987" y="199965"/>
                    <a:pt x="144506" y="207665"/>
                    <a:pt x="134463" y="212240"/>
                  </a:cubicBezTo>
                  <a:cubicBezTo>
                    <a:pt x="124309" y="216815"/>
                    <a:pt x="112927" y="219158"/>
                    <a:pt x="100094" y="219158"/>
                  </a:cubicBezTo>
                  <a:moveTo>
                    <a:pt x="277184" y="218824"/>
                  </a:moveTo>
                  <a:cubicBezTo>
                    <a:pt x="259665" y="218824"/>
                    <a:pt x="246497" y="213691"/>
                    <a:pt x="237570" y="203313"/>
                  </a:cubicBezTo>
                  <a:cubicBezTo>
                    <a:pt x="228643" y="193047"/>
                    <a:pt x="224180" y="179433"/>
                    <a:pt x="224180" y="162472"/>
                  </a:cubicBezTo>
                  <a:lnTo>
                    <a:pt x="224180" y="63493"/>
                  </a:lnTo>
                  <a:lnTo>
                    <a:pt x="271939" y="63493"/>
                  </a:lnTo>
                  <a:lnTo>
                    <a:pt x="271939" y="152541"/>
                  </a:lnTo>
                  <a:cubicBezTo>
                    <a:pt x="271939" y="160798"/>
                    <a:pt x="273836" y="167159"/>
                    <a:pt x="277519" y="171510"/>
                  </a:cubicBezTo>
                  <a:cubicBezTo>
                    <a:pt x="281201" y="175974"/>
                    <a:pt x="287004" y="178094"/>
                    <a:pt x="294592" y="178094"/>
                  </a:cubicBezTo>
                  <a:cubicBezTo>
                    <a:pt x="302849" y="178094"/>
                    <a:pt x="309321" y="175304"/>
                    <a:pt x="314008" y="169725"/>
                  </a:cubicBezTo>
                  <a:cubicBezTo>
                    <a:pt x="318695" y="164146"/>
                    <a:pt x="321038" y="156781"/>
                    <a:pt x="321038" y="147742"/>
                  </a:cubicBezTo>
                  <a:lnTo>
                    <a:pt x="321038" y="63493"/>
                  </a:lnTo>
                  <a:lnTo>
                    <a:pt x="369021" y="63493"/>
                  </a:lnTo>
                  <a:lnTo>
                    <a:pt x="369021" y="214360"/>
                  </a:lnTo>
                  <a:lnTo>
                    <a:pt x="323047" y="214360"/>
                  </a:lnTo>
                  <a:lnTo>
                    <a:pt x="323047" y="195837"/>
                  </a:lnTo>
                  <a:lnTo>
                    <a:pt x="322154" y="195837"/>
                  </a:lnTo>
                  <a:cubicBezTo>
                    <a:pt x="316686" y="203313"/>
                    <a:pt x="310437" y="209004"/>
                    <a:pt x="303407" y="212910"/>
                  </a:cubicBezTo>
                  <a:cubicBezTo>
                    <a:pt x="296489" y="216815"/>
                    <a:pt x="287673" y="218824"/>
                    <a:pt x="277072" y="218824"/>
                  </a:cubicBezTo>
                  <a:moveTo>
                    <a:pt x="396360" y="1674"/>
                  </a:moveTo>
                  <a:lnTo>
                    <a:pt x="444343" y="1674"/>
                  </a:lnTo>
                  <a:lnTo>
                    <a:pt x="444343" y="42627"/>
                  </a:lnTo>
                  <a:lnTo>
                    <a:pt x="396360" y="42627"/>
                  </a:lnTo>
                  <a:lnTo>
                    <a:pt x="396360" y="1674"/>
                  </a:lnTo>
                  <a:close/>
                  <a:moveTo>
                    <a:pt x="396360" y="63493"/>
                  </a:moveTo>
                  <a:lnTo>
                    <a:pt x="444343" y="63493"/>
                  </a:lnTo>
                  <a:lnTo>
                    <a:pt x="444343" y="214360"/>
                  </a:lnTo>
                  <a:lnTo>
                    <a:pt x="396360" y="214360"/>
                  </a:lnTo>
                  <a:lnTo>
                    <a:pt x="396360" y="63493"/>
                  </a:lnTo>
                  <a:close/>
                  <a:moveTo>
                    <a:pt x="531046" y="219047"/>
                  </a:moveTo>
                  <a:cubicBezTo>
                    <a:pt x="521450" y="219047"/>
                    <a:pt x="512523" y="217261"/>
                    <a:pt x="504488" y="213579"/>
                  </a:cubicBezTo>
                  <a:cubicBezTo>
                    <a:pt x="496454" y="209897"/>
                    <a:pt x="489424" y="204652"/>
                    <a:pt x="483621" y="197845"/>
                  </a:cubicBezTo>
                  <a:cubicBezTo>
                    <a:pt x="477707" y="190927"/>
                    <a:pt x="473132" y="182558"/>
                    <a:pt x="469896" y="172626"/>
                  </a:cubicBezTo>
                  <a:cubicBezTo>
                    <a:pt x="466660" y="162695"/>
                    <a:pt x="464986" y="151425"/>
                    <a:pt x="464986" y="138927"/>
                  </a:cubicBezTo>
                  <a:cubicBezTo>
                    <a:pt x="464986" y="127098"/>
                    <a:pt x="466660" y="116386"/>
                    <a:pt x="469896" y="106455"/>
                  </a:cubicBezTo>
                  <a:cubicBezTo>
                    <a:pt x="473132" y="96635"/>
                    <a:pt x="477707" y="88266"/>
                    <a:pt x="483398" y="81236"/>
                  </a:cubicBezTo>
                  <a:cubicBezTo>
                    <a:pt x="489201" y="74317"/>
                    <a:pt x="496119" y="68850"/>
                    <a:pt x="504154" y="64833"/>
                  </a:cubicBezTo>
                  <a:cubicBezTo>
                    <a:pt x="512188" y="60927"/>
                    <a:pt x="521115" y="58918"/>
                    <a:pt x="530935" y="58918"/>
                  </a:cubicBezTo>
                  <a:cubicBezTo>
                    <a:pt x="541536" y="58918"/>
                    <a:pt x="550128" y="60927"/>
                    <a:pt x="556600" y="64944"/>
                  </a:cubicBezTo>
                  <a:cubicBezTo>
                    <a:pt x="563072" y="68961"/>
                    <a:pt x="568540" y="74094"/>
                    <a:pt x="573115" y="80455"/>
                  </a:cubicBezTo>
                  <a:lnTo>
                    <a:pt x="574008" y="80455"/>
                  </a:lnTo>
                  <a:lnTo>
                    <a:pt x="574008" y="1451"/>
                  </a:lnTo>
                  <a:lnTo>
                    <a:pt x="621990" y="1451"/>
                  </a:lnTo>
                  <a:lnTo>
                    <a:pt x="621990" y="214249"/>
                  </a:lnTo>
                  <a:lnTo>
                    <a:pt x="576016" y="214249"/>
                  </a:lnTo>
                  <a:lnTo>
                    <a:pt x="576016" y="193940"/>
                  </a:lnTo>
                  <a:lnTo>
                    <a:pt x="575458" y="193940"/>
                  </a:lnTo>
                  <a:cubicBezTo>
                    <a:pt x="570995" y="201751"/>
                    <a:pt x="564857" y="207888"/>
                    <a:pt x="557381" y="212352"/>
                  </a:cubicBezTo>
                  <a:cubicBezTo>
                    <a:pt x="549793" y="216815"/>
                    <a:pt x="541089" y="218935"/>
                    <a:pt x="531046" y="218935"/>
                  </a:cubicBezTo>
                  <a:moveTo>
                    <a:pt x="543433" y="180884"/>
                  </a:moveTo>
                  <a:cubicBezTo>
                    <a:pt x="553475" y="180884"/>
                    <a:pt x="561287" y="176978"/>
                    <a:pt x="566866" y="169056"/>
                  </a:cubicBezTo>
                  <a:cubicBezTo>
                    <a:pt x="572445" y="161244"/>
                    <a:pt x="575235" y="151090"/>
                    <a:pt x="575235" y="138704"/>
                  </a:cubicBezTo>
                  <a:cubicBezTo>
                    <a:pt x="575235" y="132455"/>
                    <a:pt x="574566" y="126541"/>
                    <a:pt x="573338" y="121184"/>
                  </a:cubicBezTo>
                  <a:cubicBezTo>
                    <a:pt x="572111" y="115828"/>
                    <a:pt x="570102" y="111141"/>
                    <a:pt x="567424" y="107347"/>
                  </a:cubicBezTo>
                  <a:cubicBezTo>
                    <a:pt x="564746" y="103553"/>
                    <a:pt x="561510" y="100541"/>
                    <a:pt x="557716" y="98309"/>
                  </a:cubicBezTo>
                  <a:cubicBezTo>
                    <a:pt x="553922" y="96189"/>
                    <a:pt x="549347" y="95073"/>
                    <a:pt x="543991" y="95073"/>
                  </a:cubicBezTo>
                  <a:cubicBezTo>
                    <a:pt x="534394" y="95073"/>
                    <a:pt x="526918" y="99090"/>
                    <a:pt x="521561" y="107013"/>
                  </a:cubicBezTo>
                  <a:cubicBezTo>
                    <a:pt x="516205" y="114935"/>
                    <a:pt x="513639" y="125313"/>
                    <a:pt x="513639" y="138146"/>
                  </a:cubicBezTo>
                  <a:cubicBezTo>
                    <a:pt x="513639" y="150978"/>
                    <a:pt x="516205" y="161691"/>
                    <a:pt x="521450" y="169390"/>
                  </a:cubicBezTo>
                  <a:cubicBezTo>
                    <a:pt x="526694" y="177090"/>
                    <a:pt x="533948" y="180884"/>
                    <a:pt x="543433" y="180884"/>
                  </a:cubicBezTo>
                  <a:moveTo>
                    <a:pt x="720188" y="218601"/>
                  </a:moveTo>
                  <a:cubicBezTo>
                    <a:pt x="707801" y="218601"/>
                    <a:pt x="696643" y="216592"/>
                    <a:pt x="686600" y="212575"/>
                  </a:cubicBezTo>
                  <a:cubicBezTo>
                    <a:pt x="676557" y="208558"/>
                    <a:pt x="668076" y="202978"/>
                    <a:pt x="661269" y="195725"/>
                  </a:cubicBezTo>
                  <a:cubicBezTo>
                    <a:pt x="654351" y="188583"/>
                    <a:pt x="649106" y="180103"/>
                    <a:pt x="645312" y="170283"/>
                  </a:cubicBezTo>
                  <a:cubicBezTo>
                    <a:pt x="641630" y="160463"/>
                    <a:pt x="639733" y="149862"/>
                    <a:pt x="639733" y="138480"/>
                  </a:cubicBezTo>
                  <a:cubicBezTo>
                    <a:pt x="639733" y="127098"/>
                    <a:pt x="641630" y="116832"/>
                    <a:pt x="645312" y="107124"/>
                  </a:cubicBezTo>
                  <a:cubicBezTo>
                    <a:pt x="648995" y="97416"/>
                    <a:pt x="654351" y="88935"/>
                    <a:pt x="661269" y="81794"/>
                  </a:cubicBezTo>
                  <a:cubicBezTo>
                    <a:pt x="668188" y="74652"/>
                    <a:pt x="676334" y="69073"/>
                    <a:pt x="685707" y="65056"/>
                  </a:cubicBezTo>
                  <a:cubicBezTo>
                    <a:pt x="695080" y="61039"/>
                    <a:pt x="705681" y="59030"/>
                    <a:pt x="717286" y="59030"/>
                  </a:cubicBezTo>
                  <a:cubicBezTo>
                    <a:pt x="728110" y="59030"/>
                    <a:pt x="737818" y="60704"/>
                    <a:pt x="746299" y="64051"/>
                  </a:cubicBezTo>
                  <a:cubicBezTo>
                    <a:pt x="754891" y="67399"/>
                    <a:pt x="762368" y="71974"/>
                    <a:pt x="768840" y="77888"/>
                  </a:cubicBezTo>
                  <a:cubicBezTo>
                    <a:pt x="777879" y="86146"/>
                    <a:pt x="784574" y="96635"/>
                    <a:pt x="789037" y="109244"/>
                  </a:cubicBezTo>
                  <a:cubicBezTo>
                    <a:pt x="793501" y="121965"/>
                    <a:pt x="795509" y="135914"/>
                    <a:pt x="795398" y="151201"/>
                  </a:cubicBezTo>
                  <a:lnTo>
                    <a:pt x="686934" y="151201"/>
                  </a:lnTo>
                  <a:cubicBezTo>
                    <a:pt x="688497" y="161468"/>
                    <a:pt x="692067" y="169502"/>
                    <a:pt x="697535" y="175416"/>
                  </a:cubicBezTo>
                  <a:cubicBezTo>
                    <a:pt x="703003" y="181330"/>
                    <a:pt x="710814" y="184231"/>
                    <a:pt x="720857" y="184231"/>
                  </a:cubicBezTo>
                  <a:cubicBezTo>
                    <a:pt x="727106" y="184231"/>
                    <a:pt x="732351" y="182892"/>
                    <a:pt x="736479" y="180214"/>
                  </a:cubicBezTo>
                  <a:cubicBezTo>
                    <a:pt x="740608" y="177536"/>
                    <a:pt x="743733" y="173854"/>
                    <a:pt x="745853" y="169167"/>
                  </a:cubicBezTo>
                  <a:lnTo>
                    <a:pt x="792720" y="169167"/>
                  </a:lnTo>
                  <a:cubicBezTo>
                    <a:pt x="791157" y="176086"/>
                    <a:pt x="788145" y="182558"/>
                    <a:pt x="783904" y="188807"/>
                  </a:cubicBezTo>
                  <a:cubicBezTo>
                    <a:pt x="779552" y="194944"/>
                    <a:pt x="774084" y="200300"/>
                    <a:pt x="767389" y="204875"/>
                  </a:cubicBezTo>
                  <a:cubicBezTo>
                    <a:pt x="761140" y="209450"/>
                    <a:pt x="754110" y="212798"/>
                    <a:pt x="746299" y="215141"/>
                  </a:cubicBezTo>
                  <a:cubicBezTo>
                    <a:pt x="738600" y="217485"/>
                    <a:pt x="729896" y="218712"/>
                    <a:pt x="720188" y="218712"/>
                  </a:cubicBezTo>
                  <a:moveTo>
                    <a:pt x="746746" y="122635"/>
                  </a:moveTo>
                  <a:cubicBezTo>
                    <a:pt x="745741" y="113596"/>
                    <a:pt x="742728" y="106455"/>
                    <a:pt x="737595" y="101099"/>
                  </a:cubicBezTo>
                  <a:cubicBezTo>
                    <a:pt x="732462" y="95854"/>
                    <a:pt x="725990" y="93176"/>
                    <a:pt x="718179" y="93176"/>
                  </a:cubicBezTo>
                  <a:cubicBezTo>
                    <a:pt x="708917" y="93176"/>
                    <a:pt x="701887" y="95854"/>
                    <a:pt x="696977" y="101099"/>
                  </a:cubicBezTo>
                  <a:cubicBezTo>
                    <a:pt x="692067" y="106455"/>
                    <a:pt x="688831" y="113596"/>
                    <a:pt x="687269" y="122635"/>
                  </a:cubicBezTo>
                  <a:lnTo>
                    <a:pt x="746746" y="122635"/>
                  </a:lnTo>
                  <a:close/>
                  <a:moveTo>
                    <a:pt x="813029" y="1562"/>
                  </a:moveTo>
                  <a:lnTo>
                    <a:pt x="861011" y="1562"/>
                  </a:lnTo>
                  <a:lnTo>
                    <a:pt x="861011" y="82017"/>
                  </a:lnTo>
                  <a:lnTo>
                    <a:pt x="861904" y="82017"/>
                  </a:lnTo>
                  <a:cubicBezTo>
                    <a:pt x="867372" y="74764"/>
                    <a:pt x="873621" y="69073"/>
                    <a:pt x="880428" y="65056"/>
                  </a:cubicBezTo>
                  <a:cubicBezTo>
                    <a:pt x="887346" y="61039"/>
                    <a:pt x="896050" y="59030"/>
                    <a:pt x="906651" y="59030"/>
                  </a:cubicBezTo>
                  <a:cubicBezTo>
                    <a:pt x="914908" y="59030"/>
                    <a:pt x="922273" y="60481"/>
                    <a:pt x="928745" y="63270"/>
                  </a:cubicBezTo>
                  <a:cubicBezTo>
                    <a:pt x="935217" y="66060"/>
                    <a:pt x="940685" y="70077"/>
                    <a:pt x="945260" y="75099"/>
                  </a:cubicBezTo>
                  <a:cubicBezTo>
                    <a:pt x="949835" y="80120"/>
                    <a:pt x="953183" y="86146"/>
                    <a:pt x="955638" y="93064"/>
                  </a:cubicBezTo>
                  <a:cubicBezTo>
                    <a:pt x="957981" y="99983"/>
                    <a:pt x="959209" y="107794"/>
                    <a:pt x="959209" y="116163"/>
                  </a:cubicBezTo>
                  <a:lnTo>
                    <a:pt x="959209" y="214249"/>
                  </a:lnTo>
                  <a:lnTo>
                    <a:pt x="911226" y="214249"/>
                  </a:lnTo>
                  <a:lnTo>
                    <a:pt x="911226" y="125871"/>
                  </a:lnTo>
                  <a:cubicBezTo>
                    <a:pt x="911226" y="117837"/>
                    <a:pt x="909217" y="111365"/>
                    <a:pt x="905312" y="106455"/>
                  </a:cubicBezTo>
                  <a:cubicBezTo>
                    <a:pt x="901406" y="101545"/>
                    <a:pt x="895492" y="99090"/>
                    <a:pt x="887681" y="99090"/>
                  </a:cubicBezTo>
                  <a:cubicBezTo>
                    <a:pt x="879870" y="99090"/>
                    <a:pt x="873174" y="101991"/>
                    <a:pt x="868376" y="107905"/>
                  </a:cubicBezTo>
                  <a:cubicBezTo>
                    <a:pt x="863578" y="113820"/>
                    <a:pt x="861123" y="121519"/>
                    <a:pt x="861123" y="130892"/>
                  </a:cubicBezTo>
                  <a:lnTo>
                    <a:pt x="861123" y="214249"/>
                  </a:lnTo>
                  <a:lnTo>
                    <a:pt x="813140" y="214249"/>
                  </a:lnTo>
                  <a:lnTo>
                    <a:pt x="813140" y="1451"/>
                  </a:lnTo>
                  <a:close/>
                  <a:moveTo>
                    <a:pt x="1054951" y="219047"/>
                  </a:moveTo>
                  <a:cubicBezTo>
                    <a:pt x="1042788" y="219047"/>
                    <a:pt x="1031741" y="217038"/>
                    <a:pt x="1021809" y="213021"/>
                  </a:cubicBezTo>
                  <a:cubicBezTo>
                    <a:pt x="1011878" y="209004"/>
                    <a:pt x="1003397" y="203425"/>
                    <a:pt x="996256" y="196171"/>
                  </a:cubicBezTo>
                  <a:cubicBezTo>
                    <a:pt x="989226" y="189030"/>
                    <a:pt x="983758" y="180549"/>
                    <a:pt x="979964" y="170841"/>
                  </a:cubicBezTo>
                  <a:cubicBezTo>
                    <a:pt x="976170" y="161133"/>
                    <a:pt x="974161" y="150532"/>
                    <a:pt x="974161" y="139150"/>
                  </a:cubicBezTo>
                  <a:cubicBezTo>
                    <a:pt x="974161" y="127768"/>
                    <a:pt x="976058" y="117167"/>
                    <a:pt x="979964" y="107459"/>
                  </a:cubicBezTo>
                  <a:cubicBezTo>
                    <a:pt x="983758" y="97751"/>
                    <a:pt x="989226" y="89270"/>
                    <a:pt x="996256" y="82129"/>
                  </a:cubicBezTo>
                  <a:cubicBezTo>
                    <a:pt x="1003286" y="74987"/>
                    <a:pt x="1011878" y="69408"/>
                    <a:pt x="1021809" y="65390"/>
                  </a:cubicBezTo>
                  <a:cubicBezTo>
                    <a:pt x="1031741" y="61373"/>
                    <a:pt x="1042788" y="59365"/>
                    <a:pt x="1054951" y="59365"/>
                  </a:cubicBezTo>
                  <a:cubicBezTo>
                    <a:pt x="1067114" y="59365"/>
                    <a:pt x="1078161" y="61373"/>
                    <a:pt x="1088093" y="65390"/>
                  </a:cubicBezTo>
                  <a:cubicBezTo>
                    <a:pt x="1098024" y="69408"/>
                    <a:pt x="1106505" y="74987"/>
                    <a:pt x="1113423" y="82129"/>
                  </a:cubicBezTo>
                  <a:cubicBezTo>
                    <a:pt x="1120341" y="89270"/>
                    <a:pt x="1125809" y="97751"/>
                    <a:pt x="1129603" y="107459"/>
                  </a:cubicBezTo>
                  <a:cubicBezTo>
                    <a:pt x="1133397" y="117167"/>
                    <a:pt x="1135294" y="127768"/>
                    <a:pt x="1135294" y="139150"/>
                  </a:cubicBezTo>
                  <a:cubicBezTo>
                    <a:pt x="1135294" y="150532"/>
                    <a:pt x="1133397" y="161133"/>
                    <a:pt x="1129603" y="170841"/>
                  </a:cubicBezTo>
                  <a:cubicBezTo>
                    <a:pt x="1125809" y="180549"/>
                    <a:pt x="1120341" y="189030"/>
                    <a:pt x="1113423" y="196171"/>
                  </a:cubicBezTo>
                  <a:cubicBezTo>
                    <a:pt x="1106505" y="203313"/>
                    <a:pt x="1098024" y="208892"/>
                    <a:pt x="1088093" y="213021"/>
                  </a:cubicBezTo>
                  <a:cubicBezTo>
                    <a:pt x="1078161" y="217038"/>
                    <a:pt x="1067114" y="219047"/>
                    <a:pt x="1054951" y="219047"/>
                  </a:cubicBezTo>
                  <a:moveTo>
                    <a:pt x="1054616" y="184901"/>
                  </a:moveTo>
                  <a:cubicBezTo>
                    <a:pt x="1065217" y="184901"/>
                    <a:pt x="1073251" y="180772"/>
                    <a:pt x="1078608" y="172403"/>
                  </a:cubicBezTo>
                  <a:cubicBezTo>
                    <a:pt x="1084075" y="164034"/>
                    <a:pt x="1086753" y="152987"/>
                    <a:pt x="1086753" y="139262"/>
                  </a:cubicBezTo>
                  <a:cubicBezTo>
                    <a:pt x="1086753" y="125536"/>
                    <a:pt x="1084075" y="114377"/>
                    <a:pt x="1078608" y="106008"/>
                  </a:cubicBezTo>
                  <a:cubicBezTo>
                    <a:pt x="1073251" y="97528"/>
                    <a:pt x="1065217" y="93287"/>
                    <a:pt x="1054616" y="93287"/>
                  </a:cubicBezTo>
                  <a:cubicBezTo>
                    <a:pt x="1044015" y="93287"/>
                    <a:pt x="1036093" y="97528"/>
                    <a:pt x="1030736" y="106008"/>
                  </a:cubicBezTo>
                  <a:cubicBezTo>
                    <a:pt x="1025492" y="114489"/>
                    <a:pt x="1022814" y="125536"/>
                    <a:pt x="1022814" y="139262"/>
                  </a:cubicBezTo>
                  <a:cubicBezTo>
                    <a:pt x="1022814" y="152987"/>
                    <a:pt x="1025492" y="164034"/>
                    <a:pt x="1030736" y="172403"/>
                  </a:cubicBezTo>
                  <a:cubicBezTo>
                    <a:pt x="1036093" y="180772"/>
                    <a:pt x="1044015" y="184901"/>
                    <a:pt x="1054616" y="184901"/>
                  </a:cubicBezTo>
                  <a:moveTo>
                    <a:pt x="1203474" y="218824"/>
                  </a:moveTo>
                  <a:cubicBezTo>
                    <a:pt x="1185955" y="218824"/>
                    <a:pt x="1172788" y="213691"/>
                    <a:pt x="1163861" y="203313"/>
                  </a:cubicBezTo>
                  <a:cubicBezTo>
                    <a:pt x="1154934" y="193047"/>
                    <a:pt x="1150470" y="179433"/>
                    <a:pt x="1150470" y="162472"/>
                  </a:cubicBezTo>
                  <a:lnTo>
                    <a:pt x="1150470" y="63493"/>
                  </a:lnTo>
                  <a:lnTo>
                    <a:pt x="1198230" y="63493"/>
                  </a:lnTo>
                  <a:lnTo>
                    <a:pt x="1198230" y="152541"/>
                  </a:lnTo>
                  <a:cubicBezTo>
                    <a:pt x="1198230" y="160798"/>
                    <a:pt x="1200127" y="167159"/>
                    <a:pt x="1203809" y="171510"/>
                  </a:cubicBezTo>
                  <a:cubicBezTo>
                    <a:pt x="1207492" y="175974"/>
                    <a:pt x="1213294" y="178094"/>
                    <a:pt x="1220882" y="178094"/>
                  </a:cubicBezTo>
                  <a:cubicBezTo>
                    <a:pt x="1229140" y="178094"/>
                    <a:pt x="1235612" y="175304"/>
                    <a:pt x="1240298" y="169725"/>
                  </a:cubicBezTo>
                  <a:cubicBezTo>
                    <a:pt x="1244985" y="164146"/>
                    <a:pt x="1247328" y="156781"/>
                    <a:pt x="1247328" y="147742"/>
                  </a:cubicBezTo>
                  <a:lnTo>
                    <a:pt x="1247328" y="63493"/>
                  </a:lnTo>
                  <a:lnTo>
                    <a:pt x="1295311" y="63493"/>
                  </a:lnTo>
                  <a:lnTo>
                    <a:pt x="1295311" y="214360"/>
                  </a:lnTo>
                  <a:lnTo>
                    <a:pt x="1249337" y="214360"/>
                  </a:lnTo>
                  <a:lnTo>
                    <a:pt x="1249337" y="195837"/>
                  </a:lnTo>
                  <a:lnTo>
                    <a:pt x="1248444" y="195837"/>
                  </a:lnTo>
                  <a:cubicBezTo>
                    <a:pt x="1242976" y="203313"/>
                    <a:pt x="1236727" y="209004"/>
                    <a:pt x="1229698" y="212910"/>
                  </a:cubicBezTo>
                  <a:cubicBezTo>
                    <a:pt x="1222779" y="216815"/>
                    <a:pt x="1213964" y="218824"/>
                    <a:pt x="1203363" y="218824"/>
                  </a:cubicBezTo>
                  <a:moveTo>
                    <a:pt x="1385474" y="219158"/>
                  </a:moveTo>
                  <a:cubicBezTo>
                    <a:pt x="1363268" y="219158"/>
                    <a:pt x="1345749" y="214360"/>
                    <a:pt x="1332693" y="204875"/>
                  </a:cubicBezTo>
                  <a:cubicBezTo>
                    <a:pt x="1319749" y="195390"/>
                    <a:pt x="1312830" y="182223"/>
                    <a:pt x="1312049" y="165485"/>
                  </a:cubicBezTo>
                  <a:lnTo>
                    <a:pt x="1357466" y="165485"/>
                  </a:lnTo>
                  <a:cubicBezTo>
                    <a:pt x="1358470" y="172961"/>
                    <a:pt x="1361259" y="178540"/>
                    <a:pt x="1366058" y="182334"/>
                  </a:cubicBezTo>
                  <a:cubicBezTo>
                    <a:pt x="1370744" y="186017"/>
                    <a:pt x="1377105" y="187914"/>
                    <a:pt x="1385251" y="187914"/>
                  </a:cubicBezTo>
                  <a:cubicBezTo>
                    <a:pt x="1392504" y="187914"/>
                    <a:pt x="1398307" y="186686"/>
                    <a:pt x="1402435" y="184120"/>
                  </a:cubicBezTo>
                  <a:cubicBezTo>
                    <a:pt x="1406676" y="181553"/>
                    <a:pt x="1408796" y="177871"/>
                    <a:pt x="1408796" y="172961"/>
                  </a:cubicBezTo>
                  <a:cubicBezTo>
                    <a:pt x="1408796" y="169613"/>
                    <a:pt x="1407680" y="166935"/>
                    <a:pt x="1405560" y="164815"/>
                  </a:cubicBezTo>
                  <a:cubicBezTo>
                    <a:pt x="1403440" y="162807"/>
                    <a:pt x="1400538" y="161133"/>
                    <a:pt x="1396968" y="159794"/>
                  </a:cubicBezTo>
                  <a:cubicBezTo>
                    <a:pt x="1393397" y="158566"/>
                    <a:pt x="1389380" y="157562"/>
                    <a:pt x="1384693" y="156892"/>
                  </a:cubicBezTo>
                  <a:cubicBezTo>
                    <a:pt x="1380118" y="156223"/>
                    <a:pt x="1375319" y="155330"/>
                    <a:pt x="1370410" y="154438"/>
                  </a:cubicBezTo>
                  <a:cubicBezTo>
                    <a:pt x="1363938" y="153210"/>
                    <a:pt x="1357466" y="151871"/>
                    <a:pt x="1350993" y="150197"/>
                  </a:cubicBezTo>
                  <a:cubicBezTo>
                    <a:pt x="1344521" y="148523"/>
                    <a:pt x="1338719" y="146068"/>
                    <a:pt x="1333474" y="142721"/>
                  </a:cubicBezTo>
                  <a:cubicBezTo>
                    <a:pt x="1328229" y="139373"/>
                    <a:pt x="1324101" y="134910"/>
                    <a:pt x="1320976" y="129330"/>
                  </a:cubicBezTo>
                  <a:cubicBezTo>
                    <a:pt x="1317852" y="123751"/>
                    <a:pt x="1316290" y="116498"/>
                    <a:pt x="1316290" y="107682"/>
                  </a:cubicBezTo>
                  <a:cubicBezTo>
                    <a:pt x="1316290" y="99871"/>
                    <a:pt x="1317963" y="92841"/>
                    <a:pt x="1321423" y="86704"/>
                  </a:cubicBezTo>
                  <a:cubicBezTo>
                    <a:pt x="1324882" y="80678"/>
                    <a:pt x="1329569" y="75545"/>
                    <a:pt x="1335483" y="71528"/>
                  </a:cubicBezTo>
                  <a:cubicBezTo>
                    <a:pt x="1341397" y="67511"/>
                    <a:pt x="1348315" y="64498"/>
                    <a:pt x="1356238" y="62378"/>
                  </a:cubicBezTo>
                  <a:cubicBezTo>
                    <a:pt x="1364161" y="60369"/>
                    <a:pt x="1372641" y="59253"/>
                    <a:pt x="1381457" y="59253"/>
                  </a:cubicBezTo>
                  <a:cubicBezTo>
                    <a:pt x="1402882" y="59253"/>
                    <a:pt x="1419285" y="63605"/>
                    <a:pt x="1430667" y="72197"/>
                  </a:cubicBezTo>
                  <a:cubicBezTo>
                    <a:pt x="1442049" y="80790"/>
                    <a:pt x="1448298" y="92618"/>
                    <a:pt x="1449525" y="107571"/>
                  </a:cubicBezTo>
                  <a:lnTo>
                    <a:pt x="1405337" y="107571"/>
                  </a:lnTo>
                  <a:cubicBezTo>
                    <a:pt x="1404332" y="100652"/>
                    <a:pt x="1401766" y="96077"/>
                    <a:pt x="1397525" y="93622"/>
                  </a:cubicBezTo>
                  <a:cubicBezTo>
                    <a:pt x="1393285" y="91167"/>
                    <a:pt x="1387817" y="89940"/>
                    <a:pt x="1381122" y="89940"/>
                  </a:cubicBezTo>
                  <a:cubicBezTo>
                    <a:pt x="1375208" y="89940"/>
                    <a:pt x="1370298" y="91056"/>
                    <a:pt x="1366281" y="93287"/>
                  </a:cubicBezTo>
                  <a:cubicBezTo>
                    <a:pt x="1362264" y="95519"/>
                    <a:pt x="1360255" y="98978"/>
                    <a:pt x="1360255" y="103777"/>
                  </a:cubicBezTo>
                  <a:cubicBezTo>
                    <a:pt x="1360255" y="106566"/>
                    <a:pt x="1361259" y="108687"/>
                    <a:pt x="1363156" y="110249"/>
                  </a:cubicBezTo>
                  <a:cubicBezTo>
                    <a:pt x="1365165" y="111811"/>
                    <a:pt x="1367732" y="113150"/>
                    <a:pt x="1371079" y="114266"/>
                  </a:cubicBezTo>
                  <a:cubicBezTo>
                    <a:pt x="1374427" y="115382"/>
                    <a:pt x="1378332" y="116274"/>
                    <a:pt x="1382684" y="117056"/>
                  </a:cubicBezTo>
                  <a:cubicBezTo>
                    <a:pt x="1387148" y="117837"/>
                    <a:pt x="1391723" y="118618"/>
                    <a:pt x="1396410" y="119399"/>
                  </a:cubicBezTo>
                  <a:cubicBezTo>
                    <a:pt x="1403105" y="120515"/>
                    <a:pt x="1409800" y="121965"/>
                    <a:pt x="1416607" y="123639"/>
                  </a:cubicBezTo>
                  <a:cubicBezTo>
                    <a:pt x="1423414" y="125313"/>
                    <a:pt x="1429551" y="127880"/>
                    <a:pt x="1435131" y="131450"/>
                  </a:cubicBezTo>
                  <a:cubicBezTo>
                    <a:pt x="1440710" y="135021"/>
                    <a:pt x="1445285" y="139708"/>
                    <a:pt x="1448856" y="145734"/>
                  </a:cubicBezTo>
                  <a:cubicBezTo>
                    <a:pt x="1452427" y="151759"/>
                    <a:pt x="1454212" y="159571"/>
                    <a:pt x="1454212" y="169167"/>
                  </a:cubicBezTo>
                  <a:cubicBezTo>
                    <a:pt x="1454212" y="177425"/>
                    <a:pt x="1452427" y="184678"/>
                    <a:pt x="1449079" y="190927"/>
                  </a:cubicBezTo>
                  <a:cubicBezTo>
                    <a:pt x="1445620" y="197176"/>
                    <a:pt x="1440822" y="202420"/>
                    <a:pt x="1434796" y="206549"/>
                  </a:cubicBezTo>
                  <a:cubicBezTo>
                    <a:pt x="1428658" y="210678"/>
                    <a:pt x="1421405" y="213802"/>
                    <a:pt x="1413036" y="216034"/>
                  </a:cubicBezTo>
                  <a:cubicBezTo>
                    <a:pt x="1404556" y="218154"/>
                    <a:pt x="1395405" y="219270"/>
                    <a:pt x="1385586" y="219270"/>
                  </a:cubicBezTo>
                  <a:moveTo>
                    <a:pt x="1547946" y="218935"/>
                  </a:moveTo>
                  <a:cubicBezTo>
                    <a:pt x="1535560" y="218935"/>
                    <a:pt x="1524401" y="216927"/>
                    <a:pt x="1514358" y="212910"/>
                  </a:cubicBezTo>
                  <a:cubicBezTo>
                    <a:pt x="1504315" y="208892"/>
                    <a:pt x="1495946" y="203313"/>
                    <a:pt x="1489027" y="196060"/>
                  </a:cubicBezTo>
                  <a:cubicBezTo>
                    <a:pt x="1482109" y="188918"/>
                    <a:pt x="1476864" y="180437"/>
                    <a:pt x="1473070" y="170618"/>
                  </a:cubicBezTo>
                  <a:cubicBezTo>
                    <a:pt x="1469388" y="160798"/>
                    <a:pt x="1467491" y="150197"/>
                    <a:pt x="1467491" y="138815"/>
                  </a:cubicBezTo>
                  <a:cubicBezTo>
                    <a:pt x="1467491" y="127433"/>
                    <a:pt x="1469388" y="117167"/>
                    <a:pt x="1473070" y="107459"/>
                  </a:cubicBezTo>
                  <a:cubicBezTo>
                    <a:pt x="1476753" y="97751"/>
                    <a:pt x="1482109" y="89270"/>
                    <a:pt x="1489027" y="82129"/>
                  </a:cubicBezTo>
                  <a:cubicBezTo>
                    <a:pt x="1495946" y="74987"/>
                    <a:pt x="1504092" y="69408"/>
                    <a:pt x="1513465" y="65390"/>
                  </a:cubicBezTo>
                  <a:cubicBezTo>
                    <a:pt x="1522950" y="61373"/>
                    <a:pt x="1533439" y="59365"/>
                    <a:pt x="1545045" y="59365"/>
                  </a:cubicBezTo>
                  <a:cubicBezTo>
                    <a:pt x="1555869" y="59365"/>
                    <a:pt x="1565465" y="61039"/>
                    <a:pt x="1574057" y="64386"/>
                  </a:cubicBezTo>
                  <a:cubicBezTo>
                    <a:pt x="1582650" y="67734"/>
                    <a:pt x="1590126" y="72309"/>
                    <a:pt x="1596598" y="78223"/>
                  </a:cubicBezTo>
                  <a:cubicBezTo>
                    <a:pt x="1605637" y="86481"/>
                    <a:pt x="1612332" y="96970"/>
                    <a:pt x="1616795" y="109579"/>
                  </a:cubicBezTo>
                  <a:cubicBezTo>
                    <a:pt x="1621259" y="122300"/>
                    <a:pt x="1623379" y="136249"/>
                    <a:pt x="1623156" y="151536"/>
                  </a:cubicBezTo>
                  <a:lnTo>
                    <a:pt x="1514693" y="151536"/>
                  </a:lnTo>
                  <a:cubicBezTo>
                    <a:pt x="1516255" y="161802"/>
                    <a:pt x="1519826" y="169837"/>
                    <a:pt x="1525293" y="175751"/>
                  </a:cubicBezTo>
                  <a:cubicBezTo>
                    <a:pt x="1530761" y="181665"/>
                    <a:pt x="1538572" y="184566"/>
                    <a:pt x="1548615" y="184566"/>
                  </a:cubicBezTo>
                  <a:cubicBezTo>
                    <a:pt x="1554864" y="184566"/>
                    <a:pt x="1560109" y="183227"/>
                    <a:pt x="1564238" y="180549"/>
                  </a:cubicBezTo>
                  <a:cubicBezTo>
                    <a:pt x="1568366" y="177871"/>
                    <a:pt x="1571491" y="174189"/>
                    <a:pt x="1573723" y="169502"/>
                  </a:cubicBezTo>
                  <a:lnTo>
                    <a:pt x="1620590" y="169502"/>
                  </a:lnTo>
                  <a:cubicBezTo>
                    <a:pt x="1619027" y="176420"/>
                    <a:pt x="1616126" y="182892"/>
                    <a:pt x="1611774" y="189141"/>
                  </a:cubicBezTo>
                  <a:cubicBezTo>
                    <a:pt x="1607422" y="195390"/>
                    <a:pt x="1601954" y="200635"/>
                    <a:pt x="1595259" y="205210"/>
                  </a:cubicBezTo>
                  <a:cubicBezTo>
                    <a:pt x="1589010" y="209785"/>
                    <a:pt x="1581980" y="213133"/>
                    <a:pt x="1574169" y="215476"/>
                  </a:cubicBezTo>
                  <a:cubicBezTo>
                    <a:pt x="1566358" y="217819"/>
                    <a:pt x="1557654" y="219047"/>
                    <a:pt x="1548057" y="219047"/>
                  </a:cubicBezTo>
                  <a:moveTo>
                    <a:pt x="1574615" y="122970"/>
                  </a:moveTo>
                  <a:cubicBezTo>
                    <a:pt x="1573611" y="113931"/>
                    <a:pt x="1570598" y="106790"/>
                    <a:pt x="1565465" y="101433"/>
                  </a:cubicBezTo>
                  <a:cubicBezTo>
                    <a:pt x="1560332" y="96189"/>
                    <a:pt x="1553860" y="93511"/>
                    <a:pt x="1546049" y="93511"/>
                  </a:cubicBezTo>
                  <a:cubicBezTo>
                    <a:pt x="1536787" y="93511"/>
                    <a:pt x="1529757" y="96189"/>
                    <a:pt x="1524847" y="101433"/>
                  </a:cubicBezTo>
                  <a:cubicBezTo>
                    <a:pt x="1519937" y="106790"/>
                    <a:pt x="1516701" y="113931"/>
                    <a:pt x="1515139" y="122970"/>
                  </a:cubicBezTo>
                  <a:lnTo>
                    <a:pt x="1574615" y="122970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B8BE45A8-7D4A-2619-F500-657F89EDC4C3}"/>
                </a:ext>
              </a:extLst>
            </p:cNvPr>
            <p:cNvSpPr/>
            <p:nvPr/>
          </p:nvSpPr>
          <p:spPr>
            <a:xfrm>
              <a:off x="828067" y="1270996"/>
              <a:ext cx="211570" cy="522565"/>
            </a:xfrm>
            <a:custGeom>
              <a:avLst/>
              <a:gdLst>
                <a:gd name="connsiteX0" fmla="*/ 0 w 211570"/>
                <a:gd name="connsiteY0" fmla="*/ 0 h 522565"/>
                <a:gd name="connsiteX1" fmla="*/ 0 w 211570"/>
                <a:gd name="connsiteY1" fmla="*/ 368909 h 522565"/>
                <a:gd name="connsiteX2" fmla="*/ 211013 w 211570"/>
                <a:gd name="connsiteY2" fmla="*/ 522566 h 522565"/>
                <a:gd name="connsiteX3" fmla="*/ 211570 w 211570"/>
                <a:gd name="connsiteY3" fmla="*/ 522008 h 522565"/>
                <a:gd name="connsiteX4" fmla="*/ 0 w 211570"/>
                <a:gd name="connsiteY4" fmla="*/ 0 h 522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1570" h="522565">
                  <a:moveTo>
                    <a:pt x="0" y="0"/>
                  </a:moveTo>
                  <a:lnTo>
                    <a:pt x="0" y="368909"/>
                  </a:lnTo>
                  <a:lnTo>
                    <a:pt x="211013" y="522566"/>
                  </a:lnTo>
                  <a:cubicBezTo>
                    <a:pt x="211013" y="522566"/>
                    <a:pt x="211459" y="522119"/>
                    <a:pt x="211570" y="52200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3D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BCAA6B34-39D1-54FF-1A5D-0509D410AD3D}"/>
                </a:ext>
              </a:extLst>
            </p:cNvPr>
            <p:cNvSpPr/>
            <p:nvPr/>
          </p:nvSpPr>
          <p:spPr>
            <a:xfrm>
              <a:off x="616497" y="1270996"/>
              <a:ext cx="211570" cy="522454"/>
            </a:xfrm>
            <a:custGeom>
              <a:avLst/>
              <a:gdLst>
                <a:gd name="connsiteX0" fmla="*/ 0 w 211570"/>
                <a:gd name="connsiteY0" fmla="*/ 521896 h 522454"/>
                <a:gd name="connsiteX1" fmla="*/ 558 w 211570"/>
                <a:gd name="connsiteY1" fmla="*/ 522454 h 522454"/>
                <a:gd name="connsiteX2" fmla="*/ 211570 w 211570"/>
                <a:gd name="connsiteY2" fmla="*/ 368798 h 522454"/>
                <a:gd name="connsiteX3" fmla="*/ 211570 w 211570"/>
                <a:gd name="connsiteY3" fmla="*/ 0 h 522454"/>
                <a:gd name="connsiteX4" fmla="*/ 0 w 211570"/>
                <a:gd name="connsiteY4" fmla="*/ 521896 h 522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1570" h="522454">
                  <a:moveTo>
                    <a:pt x="0" y="521896"/>
                  </a:moveTo>
                  <a:cubicBezTo>
                    <a:pt x="0" y="521896"/>
                    <a:pt x="446" y="522343"/>
                    <a:pt x="558" y="522454"/>
                  </a:cubicBezTo>
                  <a:lnTo>
                    <a:pt x="211570" y="368798"/>
                  </a:lnTo>
                  <a:lnTo>
                    <a:pt x="211570" y="0"/>
                  </a:lnTo>
                  <a:lnTo>
                    <a:pt x="0" y="521896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1413007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-quadrant 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5FB671-7288-F24D-B614-7485A1EB4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436344"/>
            <a:ext cx="3191256" cy="1107996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9A9FAB2-9497-583D-67D2-92656EBD96E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BBDD2723-EEF1-4DD5-8241-DD6A3D586244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277C43D7-C00C-7DE6-0BB0-C5E8CE8207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569938"/>
            <a:ext cx="3191256" cy="30777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0" name="Text Placeholder 26">
            <a:extLst>
              <a:ext uri="{FF2B5EF4-FFF2-40B4-BE49-F238E27FC236}">
                <a16:creationId xmlns:a16="http://schemas.microsoft.com/office/drawing/2014/main" id="{C0C50244-9E21-6A87-6F2A-F211E712EF6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503420" y="656457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1" name="Text Placeholder 26">
            <a:extLst>
              <a:ext uri="{FF2B5EF4-FFF2-40B4-BE49-F238E27FC236}">
                <a16:creationId xmlns:a16="http://schemas.microsoft.com/office/drawing/2014/main" id="{37FF0FC2-D0A4-C98D-6FA9-36A70B03299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394700" y="656457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2" name="Text Placeholder 26">
            <a:extLst>
              <a:ext uri="{FF2B5EF4-FFF2-40B4-BE49-F238E27FC236}">
                <a16:creationId xmlns:a16="http://schemas.microsoft.com/office/drawing/2014/main" id="{A66E84F9-7E79-CBE4-8BF0-EB295B78C84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503420" y="3542695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3" name="Text Placeholder 26">
            <a:extLst>
              <a:ext uri="{FF2B5EF4-FFF2-40B4-BE49-F238E27FC236}">
                <a16:creationId xmlns:a16="http://schemas.microsoft.com/office/drawing/2014/main" id="{71007FB7-9D94-ECE5-1BEF-E00EDE0ED88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94700" y="3542695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" name="Footer Placeholder 13">
            <a:extLst>
              <a:ext uri="{FF2B5EF4-FFF2-40B4-BE49-F238E27FC236}">
                <a16:creationId xmlns:a16="http://schemas.microsoft.com/office/drawing/2014/main" id="{171CAC7F-5BD2-9973-E271-C4800EE8263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609600" y="656608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4" name="Slide Number Placeholder 14">
            <a:extLst>
              <a:ext uri="{FF2B5EF4-FFF2-40B4-BE49-F238E27FC236}">
                <a16:creationId xmlns:a16="http://schemas.microsoft.com/office/drawing/2014/main" id="{9B713C4B-36F9-E5DB-37B8-DF15BB99547D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248008" y="656608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01E6768F-1A5B-7106-9769-0A5AE998BB8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09600" y="136647"/>
            <a:ext cx="4076700" cy="153888"/>
          </a:xfr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000" b="0" cap="all" spc="0" baseline="0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/>
              <a:t>Industry Name / Section 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ABBED0B-B428-09B2-BF1F-6C5529E4ADB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03876" y="88565"/>
            <a:ext cx="995110" cy="252812"/>
          </a:xfrm>
          <a:prstGeom prst="rect">
            <a:avLst/>
          </a:prstGeom>
        </p:spPr>
      </p:pic>
      <p:sp>
        <p:nvSpPr>
          <p:cNvPr id="28" name="Text Placeholder 24">
            <a:extLst>
              <a:ext uri="{FF2B5EF4-FFF2-40B4-BE49-F238E27FC236}">
                <a16:creationId xmlns:a16="http://schemas.microsoft.com/office/drawing/2014/main" id="{319CB39C-37C2-D5B7-1E9F-893FF233310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03420" y="1372989"/>
            <a:ext cx="3191256" cy="61264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7AD212FF-7D10-F86A-78D8-8E030C10250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394700" y="1372989"/>
            <a:ext cx="3191256" cy="61264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D4B57AA8-A9AA-B59D-3BE9-C0653FA0097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503420" y="4259227"/>
            <a:ext cx="3191256" cy="61264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24">
            <a:extLst>
              <a:ext uri="{FF2B5EF4-FFF2-40B4-BE49-F238E27FC236}">
                <a16:creationId xmlns:a16="http://schemas.microsoft.com/office/drawing/2014/main" id="{D28E0066-694B-5AEA-9CF0-31AC10EB9A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394700" y="4259227"/>
            <a:ext cx="3191256" cy="61264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2DD06C76-DED9-CB6C-69D9-32BBA81693E2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503738" y="1997829"/>
            <a:ext cx="3190875" cy="99364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01AB02C8-83DF-C2F2-975C-29A5DE0ECCB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8391525" y="1997829"/>
            <a:ext cx="3190875" cy="99364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FF4AD7C0-4147-D089-5241-B057AA9E291E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503738" y="4892040"/>
            <a:ext cx="3190875" cy="99364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C12C4410-0BC8-E932-C599-6950BD64B279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391525" y="4892040"/>
            <a:ext cx="3190875" cy="99364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994392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+ Content A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D7395C30-7718-F2A9-4ACA-588234BCD773}"/>
              </a:ext>
            </a:extLst>
          </p:cNvPr>
          <p:cNvGrpSpPr/>
          <p:nvPr userDrawn="1"/>
        </p:nvGrpSpPr>
        <p:grpSpPr>
          <a:xfrm>
            <a:off x="0" y="426998"/>
            <a:ext cx="6096000" cy="6004005"/>
            <a:chOff x="0" y="426998"/>
            <a:chExt cx="4064000" cy="6004005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B63D4F01-75C5-CFBB-6DBF-04760D2C399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26998"/>
              <a:ext cx="406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72F8D0A0-25DD-860D-FA90-F42106BE618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6431003"/>
              <a:ext cx="406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420A254F-BDD5-C9AF-1DD7-05ACB129B577}"/>
              </a:ext>
            </a:extLst>
          </p:cNvPr>
          <p:cNvSpPr/>
          <p:nvPr/>
        </p:nvSpPr>
        <p:spPr>
          <a:xfrm>
            <a:off x="6096001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41C210-892D-24A5-E574-B59C507782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/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2" name="Text Placeholder 37">
            <a:extLst>
              <a:ext uri="{FF2B5EF4-FFF2-40B4-BE49-F238E27FC236}">
                <a16:creationId xmlns:a16="http://schemas.microsoft.com/office/drawing/2014/main" id="{F4AE42DD-CBC4-0669-9A85-81A01695BC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1" y="4010928"/>
            <a:ext cx="4876799" cy="1231106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42D5A6F2-908D-2D67-A69F-7F8AC3E161A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600200"/>
            <a:ext cx="4876799" cy="215444"/>
          </a:xfrm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lang="en-US" sz="1400" b="1" kern="1200" cap="all" spc="3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Optional Eyebrow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2AAAC208-B9A3-AB8D-8A3F-5267EA42C80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9601" y="2024185"/>
            <a:ext cx="4876799" cy="1354217"/>
          </a:xfrm>
        </p:spPr>
        <p:txBody>
          <a:bodyPr anchor="b">
            <a:noAutofit/>
          </a:bodyPr>
          <a:lstStyle>
            <a:lvl1pPr>
              <a:defRPr sz="4400"/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5" name="Chart Placeholder 2">
            <a:extLst>
              <a:ext uri="{FF2B5EF4-FFF2-40B4-BE49-F238E27FC236}">
                <a16:creationId xmlns:a16="http://schemas.microsoft.com/office/drawing/2014/main" id="{6F3345E8-85EF-AE93-A578-743D05885994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6705602" y="668338"/>
            <a:ext cx="4876798" cy="5503862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4">
            <a:extLst>
              <a:ext uri="{FF2B5EF4-FFF2-40B4-BE49-F238E27FC236}">
                <a16:creationId xmlns:a16="http://schemas.microsoft.com/office/drawing/2014/main" id="{9B809583-71D6-430B-A541-2B72791DEAB7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EEA19F89-1E55-4F65-A2F4-F330EB73013A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C3F1776-D765-4702-8CB4-664547CC1EB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D4B153A3-0661-E455-EE3A-3CA0317DCFF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1952414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Image + Content A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999FA53E-003A-F4D8-E720-3A0FA7F3B9C0}"/>
              </a:ext>
            </a:extLst>
          </p:cNvPr>
          <p:cNvGrpSpPr/>
          <p:nvPr userDrawn="1"/>
        </p:nvGrpSpPr>
        <p:grpSpPr>
          <a:xfrm>
            <a:off x="5981701" y="426998"/>
            <a:ext cx="6210300" cy="6004005"/>
            <a:chOff x="0" y="426998"/>
            <a:chExt cx="4064000" cy="6004005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4DC1E47-BF2C-9C0E-A6C0-BEACA87A44F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26998"/>
              <a:ext cx="406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F728009A-09CD-0E80-19F4-3753A7B6DA7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6431003"/>
              <a:ext cx="406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420A254F-BDD5-C9AF-1DD7-05ACB129B577}"/>
              </a:ext>
            </a:extLst>
          </p:cNvPr>
          <p:cNvSpPr/>
          <p:nvPr/>
        </p:nvSpPr>
        <p:spPr>
          <a:xfrm>
            <a:off x="-1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41C210-892D-24A5-E574-B59C507782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2" name="Text Placeholder 37">
            <a:extLst>
              <a:ext uri="{FF2B5EF4-FFF2-40B4-BE49-F238E27FC236}">
                <a16:creationId xmlns:a16="http://schemas.microsoft.com/office/drawing/2014/main" id="{F4AE42DD-CBC4-0669-9A85-81A01695BC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05603" y="4010928"/>
            <a:ext cx="4876799" cy="1231106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42D5A6F2-908D-2D67-A69F-7F8AC3E161A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05602" y="1600200"/>
            <a:ext cx="4876799" cy="215444"/>
          </a:xfrm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lang="en-US" sz="1400" b="1" kern="1200" cap="all" spc="3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Optional Eyebrow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2AAAC208-B9A3-AB8D-8A3F-5267EA42C80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05603" y="2024185"/>
            <a:ext cx="4876799" cy="1354217"/>
          </a:xfrm>
        </p:spPr>
        <p:txBody>
          <a:bodyPr anchor="b">
            <a:noAutofit/>
          </a:bodyPr>
          <a:lstStyle>
            <a:lvl1pPr>
              <a:defRPr sz="4400"/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5" name="Chart Placeholder 2">
            <a:extLst>
              <a:ext uri="{FF2B5EF4-FFF2-40B4-BE49-F238E27FC236}">
                <a16:creationId xmlns:a16="http://schemas.microsoft.com/office/drawing/2014/main" id="{6F3345E8-85EF-AE93-A578-743D05885994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609600" y="668338"/>
            <a:ext cx="4876798" cy="5503862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4">
            <a:extLst>
              <a:ext uri="{FF2B5EF4-FFF2-40B4-BE49-F238E27FC236}">
                <a16:creationId xmlns:a16="http://schemas.microsoft.com/office/drawing/2014/main" id="{39483F8E-539E-6FDB-EFDE-8AE61624AEE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C681CFC5-FDB9-4659-93ED-9C31C6C21403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3" name="Footer Placeholder 13">
            <a:extLst>
              <a:ext uri="{FF2B5EF4-FFF2-40B4-BE49-F238E27FC236}">
                <a16:creationId xmlns:a16="http://schemas.microsoft.com/office/drawing/2014/main" id="{2A9426C7-2F9A-A497-B558-05C626DD8682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609600" y="656608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7D9D1A8E-FFEA-17D7-1469-A803D5DBAB5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38027"/>
            <a:ext cx="2843782" cy="153888"/>
          </a:xfrm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</p:spTree>
    <p:extLst>
      <p:ext uri="{BB962C8B-B14F-4D97-AF65-F5344CB8AC3E}">
        <p14:creationId xmlns:p14="http://schemas.microsoft.com/office/powerpoint/2010/main" val="63422155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+ Content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41C210-892D-24A5-E574-B59C507782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/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2" name="Text Placeholder 37">
            <a:extLst>
              <a:ext uri="{FF2B5EF4-FFF2-40B4-BE49-F238E27FC236}">
                <a16:creationId xmlns:a16="http://schemas.microsoft.com/office/drawing/2014/main" id="{F4AE42DD-CBC4-0669-9A85-81A01695BC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61514" y="4010928"/>
            <a:ext cx="5420886" cy="1231106"/>
          </a:xfrm>
        </p:spPr>
        <p:txBody>
          <a:bodyPr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42D5A6F2-908D-2D67-A69F-7F8AC3E161A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61513" y="1600200"/>
            <a:ext cx="5420886" cy="215444"/>
          </a:xfrm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lang="en-US" sz="1400" b="1" kern="1200" cap="all" spc="300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Optional Eyebrow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2AAAC208-B9A3-AB8D-8A3F-5267EA42C80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61514" y="2024185"/>
            <a:ext cx="5420886" cy="1354217"/>
          </a:xfrm>
        </p:spPr>
        <p:txBody>
          <a:bodyPr anchor="b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2" name="Date Placeholder 4">
            <a:extLst>
              <a:ext uri="{FF2B5EF4-FFF2-40B4-BE49-F238E27FC236}">
                <a16:creationId xmlns:a16="http://schemas.microsoft.com/office/drawing/2014/main" id="{709E5C72-0B80-7784-B781-1ACADFF2CB13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EE8A1F5C-7366-40D3-992E-5B5A9A4B1C8D}" type="datetime4">
              <a:rPr lang="en-US" smtClean="0"/>
              <a:t>October 23, 2025</a:t>
            </a:fld>
            <a:endParaRPr lang="en-US"/>
          </a:p>
        </p:txBody>
      </p:sp>
      <p:pic>
        <p:nvPicPr>
          <p:cNvPr id="3" name="Picture 2" descr="A group of green and white circles&#10;&#10;Description automatically generated">
            <a:extLst>
              <a:ext uri="{FF2B5EF4-FFF2-40B4-BE49-F238E27FC236}">
                <a16:creationId xmlns:a16="http://schemas.microsoft.com/office/drawing/2014/main" id="{40A018C1-AD88-652E-E110-D0480FCEA323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11" t="10281" r="15111" b="10381"/>
          <a:stretch/>
        </p:blipFill>
        <p:spPr>
          <a:xfrm>
            <a:off x="10161" y="-8669"/>
            <a:ext cx="5069840" cy="6866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61412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ed Lis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2F6F618-CF2E-13EA-0DF7-5CBE80F733F0}"/>
              </a:ext>
            </a:extLst>
          </p:cNvPr>
          <p:cNvSpPr/>
          <p:nvPr/>
        </p:nvSpPr>
        <p:spPr>
          <a:xfrm>
            <a:off x="0" y="0"/>
            <a:ext cx="406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556BBD-E905-984B-4075-604E21C91A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2844800" cy="1000402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71143EDC-4B43-463B-C8D7-7625E5355C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813242"/>
            <a:ext cx="2843784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2" name="Text Placeholder 35">
            <a:extLst>
              <a:ext uri="{FF2B5EF4-FFF2-40B4-BE49-F238E27FC236}">
                <a16:creationId xmlns:a16="http://schemas.microsoft.com/office/drawing/2014/main" id="{6411CE3E-CF5E-1A4F-C684-DD36FC3031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" y="2476503"/>
            <a:ext cx="2843783" cy="292608"/>
          </a:xfrm>
        </p:spPr>
        <p:txBody>
          <a:bodyPr anchor="t">
            <a:noAutofit/>
          </a:bodyPr>
          <a:lstStyle>
            <a:lvl1pPr>
              <a:spcAft>
                <a:spcPts val="1200"/>
              </a:spcAft>
              <a:defRPr sz="1400" b="1" cap="all" spc="300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D3E9CE75-DDC1-172A-CEDF-9BDA4CC23F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13">
            <a:extLst>
              <a:ext uri="{FF2B5EF4-FFF2-40B4-BE49-F238E27FC236}">
                <a16:creationId xmlns:a16="http://schemas.microsoft.com/office/drawing/2014/main" id="{BB97D0C9-0DE0-7FAA-BA0B-740774724C6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609600" y="6566085"/>
            <a:ext cx="284378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E22E7FA-BD3A-A8FB-1329-A12981820EAC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4064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F8FFCB73-844B-F5B3-7A75-E7CC0A3001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38027"/>
            <a:ext cx="2843782" cy="153888"/>
          </a:xfrm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AEE6556-E5DE-AECB-1B90-3D84DB7F1903}"/>
              </a:ext>
            </a:extLst>
          </p:cNvPr>
          <p:cNvCxnSpPr>
            <a:cxnSpLocks/>
          </p:cNvCxnSpPr>
          <p:nvPr userDrawn="1"/>
        </p:nvCxnSpPr>
        <p:spPr>
          <a:xfrm>
            <a:off x="0" y="426998"/>
            <a:ext cx="4064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EF4F4A-6920-E94C-8B0A-FB283F04995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9600" y="2862072"/>
            <a:ext cx="2843213" cy="213995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  <a:lvl3pPr marL="182880" indent="0">
              <a:buNone/>
              <a:defRPr sz="1600">
                <a:solidFill>
                  <a:schemeClr val="bg1"/>
                </a:solidFill>
              </a:defRPr>
            </a:lvl3pPr>
            <a:lvl4pPr marL="365760" indent="0">
              <a:buNone/>
              <a:defRPr sz="1600">
                <a:solidFill>
                  <a:schemeClr val="bg1"/>
                </a:solidFill>
              </a:defRPr>
            </a:lvl4pPr>
            <a:lvl5pPr marL="54864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E684734-B289-4A74-3949-5159F395556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161280" y="709131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B53C653-88C9-3E91-B671-829BF45735B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61280" y="1273143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5D32DD11-9A10-39E3-B132-186EAE2740E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61280" y="1832075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120F12DA-8067-B1BB-5B5E-61D073DDABA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61280" y="2391007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B5F28DF1-6B77-FCE0-991A-5282AAED553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161280" y="2950436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CCEB4079-F621-5066-D9F4-BC0DA96F6D8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161280" y="3508098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47D6751-917D-333E-896D-483C0697D88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161280" y="4069570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27DC68C9-0396-7E3A-204E-3CBC52EAC32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161280" y="4629246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1810B557-15AD-CE33-7D45-9B8E262E064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678365" y="709131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D4B8303-F23C-6399-4089-F04D8815B8D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78365" y="1273143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0319C4D-08EE-82DD-68E8-74E07690CBB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678365" y="1832075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CAF3EE2C-8BED-737B-8328-68B109205EB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678365" y="2391007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E33CFEC2-A17F-C949-5BF3-EE01C755A4C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678365" y="2950436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E5355B9F-B50F-E888-2001-E48B6011B68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678365" y="3508098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078D5A0D-6B63-AA91-0EA2-DAF7F3405A7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678365" y="4069570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6A916165-7B0E-4454-109D-14973C674BA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678365" y="4629246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0193D19F-D3EF-547B-F979-CEB39B81A44E}"/>
              </a:ext>
            </a:extLst>
          </p:cNvPr>
          <p:cNvCxnSpPr/>
          <p:nvPr userDrawn="1"/>
        </p:nvCxnSpPr>
        <p:spPr>
          <a:xfrm>
            <a:off x="4683760" y="546377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874C04B4-16F6-FE0B-BB33-95869EB3F959}"/>
              </a:ext>
            </a:extLst>
          </p:cNvPr>
          <p:cNvCxnSpPr>
            <a:cxnSpLocks/>
          </p:cNvCxnSpPr>
          <p:nvPr userDrawn="1"/>
        </p:nvCxnSpPr>
        <p:spPr>
          <a:xfrm>
            <a:off x="4683760" y="1106605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041A2B0-D002-55D8-3391-C40A2376B973}"/>
              </a:ext>
            </a:extLst>
          </p:cNvPr>
          <p:cNvCxnSpPr>
            <a:cxnSpLocks/>
          </p:cNvCxnSpPr>
          <p:nvPr userDrawn="1"/>
        </p:nvCxnSpPr>
        <p:spPr>
          <a:xfrm>
            <a:off x="4683760" y="1666833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86BF753F-E7E1-7B8F-5D42-7A6CE933C064}"/>
              </a:ext>
            </a:extLst>
          </p:cNvPr>
          <p:cNvCxnSpPr/>
          <p:nvPr userDrawn="1"/>
        </p:nvCxnSpPr>
        <p:spPr>
          <a:xfrm>
            <a:off x="4683760" y="2227061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3D28130-FCB5-1F2F-98D2-692A8292A362}"/>
              </a:ext>
            </a:extLst>
          </p:cNvPr>
          <p:cNvCxnSpPr/>
          <p:nvPr userDrawn="1"/>
        </p:nvCxnSpPr>
        <p:spPr>
          <a:xfrm>
            <a:off x="4683760" y="2787289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C53E41A-0D10-66A1-DF0B-E9E1DBFBA413}"/>
              </a:ext>
            </a:extLst>
          </p:cNvPr>
          <p:cNvCxnSpPr/>
          <p:nvPr userDrawn="1"/>
        </p:nvCxnSpPr>
        <p:spPr>
          <a:xfrm>
            <a:off x="4683760" y="3347517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07E1043-5BF0-ECEF-46A7-1683C71199D1}"/>
              </a:ext>
            </a:extLst>
          </p:cNvPr>
          <p:cNvCxnSpPr/>
          <p:nvPr userDrawn="1"/>
        </p:nvCxnSpPr>
        <p:spPr>
          <a:xfrm>
            <a:off x="4683760" y="5028201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14496DD-EB04-CA87-D61C-45FE054D7918}"/>
              </a:ext>
            </a:extLst>
          </p:cNvPr>
          <p:cNvCxnSpPr/>
          <p:nvPr userDrawn="1"/>
        </p:nvCxnSpPr>
        <p:spPr>
          <a:xfrm>
            <a:off x="4683760" y="3907745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734A481B-FE95-0D8F-3DA0-8424085FEB02}"/>
              </a:ext>
            </a:extLst>
          </p:cNvPr>
          <p:cNvCxnSpPr/>
          <p:nvPr userDrawn="1"/>
        </p:nvCxnSpPr>
        <p:spPr>
          <a:xfrm>
            <a:off x="4683760" y="4467973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C5E58F99-4950-7E1B-730C-BBB51E0CA0EA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161280" y="5188634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FCC3E068-CB5B-9C71-7831-FF2B7AF10D7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61280" y="5748310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01048860-EBD7-1469-69CB-31F301E7AF4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678365" y="5188634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AD751179-54BF-A39B-7F47-219904227EB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678365" y="5748310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9986F41-4468-0CC2-AA85-2D97CF903A76}"/>
              </a:ext>
            </a:extLst>
          </p:cNvPr>
          <p:cNvCxnSpPr/>
          <p:nvPr userDrawn="1"/>
        </p:nvCxnSpPr>
        <p:spPr>
          <a:xfrm>
            <a:off x="4683760" y="5588426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 Placeholder 7">
            <a:extLst>
              <a:ext uri="{FF2B5EF4-FFF2-40B4-BE49-F238E27FC236}">
                <a16:creationId xmlns:a16="http://schemas.microsoft.com/office/drawing/2014/main" id="{5E47671A-7193-F115-335F-7F81F6692108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914384" y="709131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6" name="Text Placeholder 7">
            <a:extLst>
              <a:ext uri="{FF2B5EF4-FFF2-40B4-BE49-F238E27FC236}">
                <a16:creationId xmlns:a16="http://schemas.microsoft.com/office/drawing/2014/main" id="{58052F57-46BA-5BCA-646A-BF4DB2FD2A0B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914384" y="1273143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7" name="Text Placeholder 7">
            <a:extLst>
              <a:ext uri="{FF2B5EF4-FFF2-40B4-BE49-F238E27FC236}">
                <a16:creationId xmlns:a16="http://schemas.microsoft.com/office/drawing/2014/main" id="{146FB5CB-C80A-DEDC-8232-6257456AF665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8914384" y="1832075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8" name="Text Placeholder 7">
            <a:extLst>
              <a:ext uri="{FF2B5EF4-FFF2-40B4-BE49-F238E27FC236}">
                <a16:creationId xmlns:a16="http://schemas.microsoft.com/office/drawing/2014/main" id="{C5D45E84-8074-AA03-7271-25F21C58CFFE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8914384" y="2391007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9" name="Text Placeholder 7">
            <a:extLst>
              <a:ext uri="{FF2B5EF4-FFF2-40B4-BE49-F238E27FC236}">
                <a16:creationId xmlns:a16="http://schemas.microsoft.com/office/drawing/2014/main" id="{8F01BE2A-9270-E6F6-5F99-44B56DC6576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8914384" y="2950436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" name="Text Placeholder 7">
            <a:extLst>
              <a:ext uri="{FF2B5EF4-FFF2-40B4-BE49-F238E27FC236}">
                <a16:creationId xmlns:a16="http://schemas.microsoft.com/office/drawing/2014/main" id="{E58A412E-5960-202A-37D7-5031CC0F7037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8914384" y="3508098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1" name="Text Placeholder 7">
            <a:extLst>
              <a:ext uri="{FF2B5EF4-FFF2-40B4-BE49-F238E27FC236}">
                <a16:creationId xmlns:a16="http://schemas.microsoft.com/office/drawing/2014/main" id="{47876B55-ED56-0F8E-FF13-FE599A4E6501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8914384" y="4069570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2" name="Text Placeholder 7">
            <a:extLst>
              <a:ext uri="{FF2B5EF4-FFF2-40B4-BE49-F238E27FC236}">
                <a16:creationId xmlns:a16="http://schemas.microsoft.com/office/drawing/2014/main" id="{7BEE7469-6688-2E78-BB19-A3E75D35DDC7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8914384" y="4629246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Text Placeholder 7">
            <a:extLst>
              <a:ext uri="{FF2B5EF4-FFF2-40B4-BE49-F238E27FC236}">
                <a16:creationId xmlns:a16="http://schemas.microsoft.com/office/drawing/2014/main" id="{EFE62FBB-732D-F184-AD68-BDF81039DB3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431469" y="709131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84" name="Text Placeholder 7">
            <a:extLst>
              <a:ext uri="{FF2B5EF4-FFF2-40B4-BE49-F238E27FC236}">
                <a16:creationId xmlns:a16="http://schemas.microsoft.com/office/drawing/2014/main" id="{79AA1B99-A482-5D4A-E5BD-E935BAC7F6B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431469" y="1273143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85" name="Text Placeholder 7">
            <a:extLst>
              <a:ext uri="{FF2B5EF4-FFF2-40B4-BE49-F238E27FC236}">
                <a16:creationId xmlns:a16="http://schemas.microsoft.com/office/drawing/2014/main" id="{0B4E7ECE-4E17-FD12-80FD-7D8514F8651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431469" y="1832075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86" name="Text Placeholder 7">
            <a:extLst>
              <a:ext uri="{FF2B5EF4-FFF2-40B4-BE49-F238E27FC236}">
                <a16:creationId xmlns:a16="http://schemas.microsoft.com/office/drawing/2014/main" id="{26F18B21-B2B9-513D-EE56-7C123BBC30E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431469" y="2391007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87" name="Text Placeholder 7">
            <a:extLst>
              <a:ext uri="{FF2B5EF4-FFF2-40B4-BE49-F238E27FC236}">
                <a16:creationId xmlns:a16="http://schemas.microsoft.com/office/drawing/2014/main" id="{545E1A05-D18E-1B39-B130-0B5373DF3CCF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8431469" y="2950436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88" name="Text Placeholder 7">
            <a:extLst>
              <a:ext uri="{FF2B5EF4-FFF2-40B4-BE49-F238E27FC236}">
                <a16:creationId xmlns:a16="http://schemas.microsoft.com/office/drawing/2014/main" id="{53FD3FA8-F7AA-9A96-9373-2471420EDFC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431469" y="3508098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89" name="Text Placeholder 7">
            <a:extLst>
              <a:ext uri="{FF2B5EF4-FFF2-40B4-BE49-F238E27FC236}">
                <a16:creationId xmlns:a16="http://schemas.microsoft.com/office/drawing/2014/main" id="{514F6B5C-F7CA-EE6E-9D8A-889974CF144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431469" y="4069570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90" name="Text Placeholder 7">
            <a:extLst>
              <a:ext uri="{FF2B5EF4-FFF2-40B4-BE49-F238E27FC236}">
                <a16:creationId xmlns:a16="http://schemas.microsoft.com/office/drawing/2014/main" id="{AB26ACFE-390C-FA98-6F7E-30F5880F5136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431469" y="4629246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BCA728BD-EB20-0200-30AA-CC2E8BE2C31C}"/>
              </a:ext>
            </a:extLst>
          </p:cNvPr>
          <p:cNvCxnSpPr/>
          <p:nvPr userDrawn="1"/>
        </p:nvCxnSpPr>
        <p:spPr>
          <a:xfrm>
            <a:off x="8436864" y="546377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A54F484E-1062-96FB-9772-A33DDC7DB459}"/>
              </a:ext>
            </a:extLst>
          </p:cNvPr>
          <p:cNvCxnSpPr>
            <a:cxnSpLocks/>
          </p:cNvCxnSpPr>
          <p:nvPr userDrawn="1"/>
        </p:nvCxnSpPr>
        <p:spPr>
          <a:xfrm>
            <a:off x="8436864" y="1106605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BA33404F-EA55-B570-58DC-A80E91C15CD5}"/>
              </a:ext>
            </a:extLst>
          </p:cNvPr>
          <p:cNvCxnSpPr>
            <a:cxnSpLocks/>
          </p:cNvCxnSpPr>
          <p:nvPr userDrawn="1"/>
        </p:nvCxnSpPr>
        <p:spPr>
          <a:xfrm>
            <a:off x="8436864" y="1666833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04C10450-0952-FCD7-218B-B1BA64F421A9}"/>
              </a:ext>
            </a:extLst>
          </p:cNvPr>
          <p:cNvCxnSpPr/>
          <p:nvPr userDrawn="1"/>
        </p:nvCxnSpPr>
        <p:spPr>
          <a:xfrm>
            <a:off x="8436864" y="2227061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F1D5D0B1-C9B7-70FA-D9F7-DB03909DAAB7}"/>
              </a:ext>
            </a:extLst>
          </p:cNvPr>
          <p:cNvCxnSpPr/>
          <p:nvPr userDrawn="1"/>
        </p:nvCxnSpPr>
        <p:spPr>
          <a:xfrm>
            <a:off x="8436864" y="2787289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4FE577B5-4E77-70F1-C858-26D7AAE05243}"/>
              </a:ext>
            </a:extLst>
          </p:cNvPr>
          <p:cNvCxnSpPr/>
          <p:nvPr userDrawn="1"/>
        </p:nvCxnSpPr>
        <p:spPr>
          <a:xfrm>
            <a:off x="8436864" y="3347517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C297698A-53AE-29B0-F1D7-AB8AD65FF4AF}"/>
              </a:ext>
            </a:extLst>
          </p:cNvPr>
          <p:cNvCxnSpPr/>
          <p:nvPr userDrawn="1"/>
        </p:nvCxnSpPr>
        <p:spPr>
          <a:xfrm>
            <a:off x="8436864" y="5028201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D4626EA3-4976-72B0-B21B-847D38BBC037}"/>
              </a:ext>
            </a:extLst>
          </p:cNvPr>
          <p:cNvCxnSpPr/>
          <p:nvPr userDrawn="1"/>
        </p:nvCxnSpPr>
        <p:spPr>
          <a:xfrm>
            <a:off x="8436864" y="3907745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933B1D61-7000-1613-792E-D419F44A721D}"/>
              </a:ext>
            </a:extLst>
          </p:cNvPr>
          <p:cNvCxnSpPr/>
          <p:nvPr userDrawn="1"/>
        </p:nvCxnSpPr>
        <p:spPr>
          <a:xfrm>
            <a:off x="8436864" y="4467973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 Placeholder 7">
            <a:extLst>
              <a:ext uri="{FF2B5EF4-FFF2-40B4-BE49-F238E27FC236}">
                <a16:creationId xmlns:a16="http://schemas.microsoft.com/office/drawing/2014/main" id="{A9DCFA3D-2D63-9C11-626F-009081F37163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8914384" y="5188634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1" name="Text Placeholder 7">
            <a:extLst>
              <a:ext uri="{FF2B5EF4-FFF2-40B4-BE49-F238E27FC236}">
                <a16:creationId xmlns:a16="http://schemas.microsoft.com/office/drawing/2014/main" id="{A39E1836-28CF-5341-A972-EA3BA17B52BF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8914384" y="5748310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2" name="Text Placeholder 7">
            <a:extLst>
              <a:ext uri="{FF2B5EF4-FFF2-40B4-BE49-F238E27FC236}">
                <a16:creationId xmlns:a16="http://schemas.microsoft.com/office/drawing/2014/main" id="{C5053EC7-3723-6190-C161-169DC1E5DD7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431469" y="5188634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03" name="Text Placeholder 7">
            <a:extLst>
              <a:ext uri="{FF2B5EF4-FFF2-40B4-BE49-F238E27FC236}">
                <a16:creationId xmlns:a16="http://schemas.microsoft.com/office/drawing/2014/main" id="{984AB201-4E11-E823-D4F7-476E854E3AA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8431469" y="5748310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19C9D6FF-7925-3B79-A3F7-1AF23F4C080D}"/>
              </a:ext>
            </a:extLst>
          </p:cNvPr>
          <p:cNvCxnSpPr/>
          <p:nvPr userDrawn="1"/>
        </p:nvCxnSpPr>
        <p:spPr>
          <a:xfrm>
            <a:off x="8436864" y="5588426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610155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ed Lis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2F6F618-CF2E-13EA-0DF7-5CBE80F733F0}"/>
              </a:ext>
            </a:extLst>
          </p:cNvPr>
          <p:cNvSpPr/>
          <p:nvPr/>
        </p:nvSpPr>
        <p:spPr>
          <a:xfrm>
            <a:off x="0" y="0"/>
            <a:ext cx="406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556BBD-E905-984B-4075-604E21C91A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2844800" cy="1000402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71143EDC-4B43-463B-C8D7-7625E5355C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813242"/>
            <a:ext cx="2843784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2" name="Text Placeholder 35">
            <a:extLst>
              <a:ext uri="{FF2B5EF4-FFF2-40B4-BE49-F238E27FC236}">
                <a16:creationId xmlns:a16="http://schemas.microsoft.com/office/drawing/2014/main" id="{6411CE3E-CF5E-1A4F-C684-DD36FC3031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" y="2476503"/>
            <a:ext cx="2843783" cy="292608"/>
          </a:xfrm>
        </p:spPr>
        <p:txBody>
          <a:bodyPr anchor="t">
            <a:noAutofit/>
          </a:bodyPr>
          <a:lstStyle>
            <a:lvl1pPr>
              <a:spcAft>
                <a:spcPts val="1200"/>
              </a:spcAft>
              <a:defRPr sz="1400" b="1" cap="all" spc="300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DDF3BDE-4A54-41C8-10FC-69B08AE6B99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677663" y="553997"/>
            <a:ext cx="3145536" cy="5618202"/>
          </a:xfrm>
        </p:spPr>
        <p:txBody>
          <a:bodyPr>
            <a:noAutofit/>
          </a:bodyPr>
          <a:lstStyle>
            <a:lvl1pPr marL="182880" indent="-182880">
              <a:spcAft>
                <a:spcPts val="900"/>
              </a:spcAft>
              <a:buFont typeface="Arial" panose="020B0604020202020204" pitchFamily="34" charset="0"/>
              <a:buChar char="•"/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ECA029A4-033F-F1AD-7DA5-37222638AB5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436864" y="553997"/>
            <a:ext cx="3145536" cy="5618202"/>
          </a:xfrm>
        </p:spPr>
        <p:txBody>
          <a:bodyPr>
            <a:noAutofit/>
          </a:bodyPr>
          <a:lstStyle>
            <a:lvl1pPr marL="182880" indent="-182880">
              <a:spcAft>
                <a:spcPts val="900"/>
              </a:spcAft>
              <a:buFont typeface="Arial" panose="020B0604020202020204" pitchFamily="34" charset="0"/>
              <a:buChar char="•"/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13">
            <a:extLst>
              <a:ext uri="{FF2B5EF4-FFF2-40B4-BE49-F238E27FC236}">
                <a16:creationId xmlns:a16="http://schemas.microsoft.com/office/drawing/2014/main" id="{E81C2C82-98A2-C7FB-445B-86F4D738263E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609600" y="6566085"/>
            <a:ext cx="284378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3DE3797-A47A-C183-05E6-01133D289C78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4064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403BD6AD-90DB-79A5-E68E-D51E7258BC0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38027"/>
            <a:ext cx="2843782" cy="153888"/>
          </a:xfrm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5F1349B-9632-CF50-3847-363E87A5E570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4064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0B9E1423-2A39-F742-D076-4FC2FF2633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FF2EEA-635A-FFF6-FCE1-B3EF9F77088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09600" y="2862072"/>
            <a:ext cx="2843213" cy="213969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  <a:lvl3pPr marL="182880" indent="0">
              <a:buNone/>
              <a:defRPr sz="1600">
                <a:solidFill>
                  <a:schemeClr val="bg1"/>
                </a:solidFill>
              </a:defRPr>
            </a:lvl3pPr>
            <a:lvl4pPr marL="365760" indent="0">
              <a:buNone/>
              <a:defRPr sz="1600">
                <a:solidFill>
                  <a:schemeClr val="bg1"/>
                </a:solidFill>
              </a:defRPr>
            </a:lvl4pPr>
            <a:lvl5pPr marL="54864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600339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44">
            <a:extLst>
              <a:ext uri="{FF2B5EF4-FFF2-40B4-BE49-F238E27FC236}">
                <a16:creationId xmlns:a16="http://schemas.microsoft.com/office/drawing/2014/main" id="{60FE08F7-7923-25E3-9EA0-3AA8E7EDEAB2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577701" y="1981968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Picture Placeholder 44">
            <a:extLst>
              <a:ext uri="{FF2B5EF4-FFF2-40B4-BE49-F238E27FC236}">
                <a16:creationId xmlns:a16="http://schemas.microsoft.com/office/drawing/2014/main" id="{1063C6E9-E6BD-D1B4-9AC7-855E6CE8BA25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577701" y="3087755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44">
            <a:extLst>
              <a:ext uri="{FF2B5EF4-FFF2-40B4-BE49-F238E27FC236}">
                <a16:creationId xmlns:a16="http://schemas.microsoft.com/office/drawing/2014/main" id="{F499B38D-38B5-7F85-7F74-FBFA68AA8C87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577701" y="4214806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Picture Placeholder 44">
            <a:extLst>
              <a:ext uri="{FF2B5EF4-FFF2-40B4-BE49-F238E27FC236}">
                <a16:creationId xmlns:a16="http://schemas.microsoft.com/office/drawing/2014/main" id="{7F790084-AD9F-370B-0483-ECA61BE5993C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577701" y="5320592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Picture Placeholder 44">
            <a:extLst>
              <a:ext uri="{FF2B5EF4-FFF2-40B4-BE49-F238E27FC236}">
                <a16:creationId xmlns:a16="http://schemas.microsoft.com/office/drawing/2014/main" id="{AFCFF63D-D6FF-C3FF-3114-6B37AB29CA0F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6383078" y="1981968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2" name="Picture Placeholder 44">
            <a:extLst>
              <a:ext uri="{FF2B5EF4-FFF2-40B4-BE49-F238E27FC236}">
                <a16:creationId xmlns:a16="http://schemas.microsoft.com/office/drawing/2014/main" id="{6467D23E-5594-CC52-9978-CD20B41707D0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6383078" y="3087755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Picture Placeholder 44">
            <a:extLst>
              <a:ext uri="{FF2B5EF4-FFF2-40B4-BE49-F238E27FC236}">
                <a16:creationId xmlns:a16="http://schemas.microsoft.com/office/drawing/2014/main" id="{A9C41153-FFFB-B8A5-C129-F46C1642A7DD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383078" y="4214806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2" name="Picture Placeholder 44">
            <a:extLst>
              <a:ext uri="{FF2B5EF4-FFF2-40B4-BE49-F238E27FC236}">
                <a16:creationId xmlns:a16="http://schemas.microsoft.com/office/drawing/2014/main" id="{FCAABB65-6A21-2CBD-501C-D3817B751B01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6383078" y="5320592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92DA3C-B400-7D96-D4FF-167A22E276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11A311-108E-39FF-FC73-01F17930D7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44F176-916E-708A-80E0-D930659536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E3BE2C7-99A3-5297-A35C-91C6A5C57AD8}"/>
              </a:ext>
            </a:extLst>
          </p:cNvPr>
          <p:cNvCxnSpPr>
            <a:cxnSpLocks/>
          </p:cNvCxnSpPr>
          <p:nvPr/>
        </p:nvCxnSpPr>
        <p:spPr>
          <a:xfrm flipH="1">
            <a:off x="609600" y="2792886"/>
            <a:ext cx="51816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960142E-EDAD-DFFA-9C01-1F67C216F750}"/>
              </a:ext>
            </a:extLst>
          </p:cNvPr>
          <p:cNvCxnSpPr>
            <a:cxnSpLocks/>
          </p:cNvCxnSpPr>
          <p:nvPr/>
        </p:nvCxnSpPr>
        <p:spPr>
          <a:xfrm flipH="1">
            <a:off x="609600" y="3911326"/>
            <a:ext cx="51816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0906117-86F4-9D4F-B178-CC975C116517}"/>
              </a:ext>
            </a:extLst>
          </p:cNvPr>
          <p:cNvCxnSpPr>
            <a:cxnSpLocks/>
          </p:cNvCxnSpPr>
          <p:nvPr/>
        </p:nvCxnSpPr>
        <p:spPr>
          <a:xfrm flipH="1">
            <a:off x="609600" y="5029766"/>
            <a:ext cx="51816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9B99F69-F56C-11B7-D0C6-91FE1BC33E24}"/>
              </a:ext>
            </a:extLst>
          </p:cNvPr>
          <p:cNvCxnSpPr>
            <a:cxnSpLocks/>
          </p:cNvCxnSpPr>
          <p:nvPr/>
        </p:nvCxnSpPr>
        <p:spPr>
          <a:xfrm flipH="1">
            <a:off x="6400800" y="2792886"/>
            <a:ext cx="51816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CA7D41F-C82E-2D14-195D-E005F0D8A477}"/>
              </a:ext>
            </a:extLst>
          </p:cNvPr>
          <p:cNvCxnSpPr>
            <a:cxnSpLocks/>
          </p:cNvCxnSpPr>
          <p:nvPr/>
        </p:nvCxnSpPr>
        <p:spPr>
          <a:xfrm flipH="1">
            <a:off x="6400800" y="3911326"/>
            <a:ext cx="51816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D663618-2FF9-3477-3DD8-C7DD916ECF39}"/>
              </a:ext>
            </a:extLst>
          </p:cNvPr>
          <p:cNvCxnSpPr>
            <a:cxnSpLocks/>
          </p:cNvCxnSpPr>
          <p:nvPr/>
        </p:nvCxnSpPr>
        <p:spPr>
          <a:xfrm flipH="1">
            <a:off x="6400800" y="5029766"/>
            <a:ext cx="51816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E8837E46-BA2C-9DF4-36FC-0763BF0A22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EF7D62BA-55BB-D3B6-13AD-F9D47B2F213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383792" y="1864334"/>
            <a:ext cx="4407408" cy="740664"/>
          </a:xfrm>
        </p:spPr>
        <p:txBody>
          <a:bodyPr anchor="ctr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33">
            <a:extLst>
              <a:ext uri="{FF2B5EF4-FFF2-40B4-BE49-F238E27FC236}">
                <a16:creationId xmlns:a16="http://schemas.microsoft.com/office/drawing/2014/main" id="{6C80C541-0250-9D84-391B-A21069927EB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383792" y="2980774"/>
            <a:ext cx="4407408" cy="740664"/>
          </a:xfrm>
        </p:spPr>
        <p:txBody>
          <a:bodyPr anchor="ctr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8BF74CDA-28C4-4C08-66B3-14A69F5CF3C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383792" y="4099214"/>
            <a:ext cx="4407408" cy="740664"/>
          </a:xfrm>
        </p:spPr>
        <p:txBody>
          <a:bodyPr anchor="ctr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7F33184B-9DE0-482E-55CA-0C2AE9FCEC4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383792" y="5217656"/>
            <a:ext cx="4407408" cy="740664"/>
          </a:xfrm>
        </p:spPr>
        <p:txBody>
          <a:bodyPr anchor="ctr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33">
            <a:extLst>
              <a:ext uri="{FF2B5EF4-FFF2-40B4-BE49-F238E27FC236}">
                <a16:creationId xmlns:a16="http://schemas.microsoft.com/office/drawing/2014/main" id="{276468C7-4A14-A8A8-5CE7-4B21B6E420E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174992" y="1864334"/>
            <a:ext cx="4407408" cy="740664"/>
          </a:xfrm>
        </p:spPr>
        <p:txBody>
          <a:bodyPr anchor="ctr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33">
            <a:extLst>
              <a:ext uri="{FF2B5EF4-FFF2-40B4-BE49-F238E27FC236}">
                <a16:creationId xmlns:a16="http://schemas.microsoft.com/office/drawing/2014/main" id="{E6C2CA8D-6C05-00B3-E5CA-FD18970B837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174992" y="2980774"/>
            <a:ext cx="4407408" cy="740664"/>
          </a:xfrm>
        </p:spPr>
        <p:txBody>
          <a:bodyPr anchor="ctr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33">
            <a:extLst>
              <a:ext uri="{FF2B5EF4-FFF2-40B4-BE49-F238E27FC236}">
                <a16:creationId xmlns:a16="http://schemas.microsoft.com/office/drawing/2014/main" id="{1944A092-782F-7703-C417-89A3E3F29CD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174992" y="4099214"/>
            <a:ext cx="4407408" cy="740664"/>
          </a:xfrm>
        </p:spPr>
        <p:txBody>
          <a:bodyPr anchor="ctr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33">
            <a:extLst>
              <a:ext uri="{FF2B5EF4-FFF2-40B4-BE49-F238E27FC236}">
                <a16:creationId xmlns:a16="http://schemas.microsoft.com/office/drawing/2014/main" id="{CD79B6C8-CDF7-D553-A358-90821D8DD524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174992" y="5217656"/>
            <a:ext cx="4407408" cy="740664"/>
          </a:xfrm>
        </p:spPr>
        <p:txBody>
          <a:bodyPr anchor="ctr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3A75833F-071D-1C82-482F-24D6ACC65F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CAADD96C-253C-8A15-2B0F-E9E97387A912}"/>
              </a:ext>
            </a:extLst>
          </p:cNvPr>
          <p:cNvSpPr>
            <a:spLocks noGrp="1"/>
          </p:cNvSpPr>
          <p:nvPr>
            <p:ph type="dt" sz="half" idx="44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E484552C-B576-4762-A571-B5CA76484FB7}" type="datetime4">
              <a:rPr lang="en-US" smtClean="0"/>
              <a:t>October 23, 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989246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A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9B71025-0D3F-8A12-3873-64C2498801E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" y="1790700"/>
            <a:ext cx="5358384" cy="1947672"/>
          </a:xfr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0" b="0"/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5AA237-899E-FCE0-0AD4-FB2A201876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10972800" cy="5539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022DAC-57D8-FDDF-7CC8-51F8E0B898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9F2FA9-D8E4-C2EC-CC64-A86F688904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9CF9EAE-D6F8-F104-36AA-53E56737A9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E6160F4D-A315-BF53-90E4-1CAC3F7B6DB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" y="3957828"/>
            <a:ext cx="5358384" cy="1947672"/>
          </a:xfr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0" b="0"/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7027D155-A6B5-0280-283D-C141C39D8B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24016" y="1790700"/>
            <a:ext cx="5358384" cy="1947672"/>
          </a:xfr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0" b="0"/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sp>
        <p:nvSpPr>
          <p:cNvPr id="15" name="Picture Placeholder 11">
            <a:extLst>
              <a:ext uri="{FF2B5EF4-FFF2-40B4-BE49-F238E27FC236}">
                <a16:creationId xmlns:a16="http://schemas.microsoft.com/office/drawing/2014/main" id="{30C351AF-CAC4-025C-75C9-8260C7290B5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24016" y="3957828"/>
            <a:ext cx="5358384" cy="1947672"/>
          </a:xfr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0" b="0"/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D7621DF6-C14F-C882-2FEB-46261B932E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12776338-D81B-C1EF-6EC3-146EA96FB5D5}"/>
              </a:ext>
            </a:extLst>
          </p:cNvPr>
          <p:cNvSpPr>
            <a:spLocks noGrp="1"/>
          </p:cNvSpPr>
          <p:nvPr>
            <p:ph type="dt" sz="half" idx="44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802212C3-D054-41B7-B2BF-B791A8716781}" type="datetime4">
              <a:rPr lang="en-US" smtClean="0"/>
              <a:t>October 23, 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567061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s C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5AA237-899E-FCE0-0AD4-FB2A201876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10972800" cy="5539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022DAC-57D8-FDDF-7CC8-51F8E0B898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9F2FA9-D8E4-C2EC-CC64-A86F688904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D9CC79-5E2B-2168-888E-FD51C76D6E2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162C123-080F-4289-B439-5E14023B5C17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B22928A-D77F-2EB2-5612-6796E59997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9CEEA61-0AD2-17FF-8A06-DEDFDB3DD90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5FB64E0-35EB-079E-2330-CD61F7E3D5B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" y="1790700"/>
            <a:ext cx="2551176" cy="4114800"/>
          </a:xfr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0" b="0"/>
            </a:lvl1pPr>
          </a:lstStyle>
          <a:p>
            <a:pPr lvl="0" algn="ctr"/>
            <a:r>
              <a:rPr lang="en-US"/>
              <a:t>Insert Photo</a:t>
            </a:r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F1A9043B-9BCA-1269-E31C-B480E7D262D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416808" y="1790700"/>
            <a:ext cx="2551176" cy="4114800"/>
          </a:xfr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0" b="0"/>
            </a:lvl1pPr>
          </a:lstStyle>
          <a:p>
            <a:pPr lvl="0" algn="ctr"/>
            <a:r>
              <a:rPr lang="en-US"/>
              <a:t>Insert Photo</a:t>
            </a:r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4804B2A6-2190-2E08-9358-3697DADCA99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24016" y="1790700"/>
            <a:ext cx="2551176" cy="4114800"/>
          </a:xfr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0" b="0"/>
            </a:lvl1pPr>
          </a:lstStyle>
          <a:p>
            <a:pPr lvl="0" algn="ctr"/>
            <a:r>
              <a:rPr lang="en-US"/>
              <a:t>Insert Photo</a:t>
            </a:r>
          </a:p>
        </p:txBody>
      </p:sp>
      <p:sp>
        <p:nvSpPr>
          <p:cNvPr id="15" name="Picture Placeholder 11">
            <a:extLst>
              <a:ext uri="{FF2B5EF4-FFF2-40B4-BE49-F238E27FC236}">
                <a16:creationId xmlns:a16="http://schemas.microsoft.com/office/drawing/2014/main" id="{B7CB3A23-8096-7865-E664-844FE6AF8ED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031224" y="1790700"/>
            <a:ext cx="2551176" cy="4114800"/>
          </a:xfr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0" b="0" dirty="0"/>
            </a:lvl1pPr>
          </a:lstStyle>
          <a:p>
            <a:pPr lvl="0" algn="ctr"/>
            <a:r>
              <a:rPr lang="en-US"/>
              <a:t>Insert Photo</a:t>
            </a:r>
          </a:p>
        </p:txBody>
      </p:sp>
    </p:spTree>
    <p:extLst>
      <p:ext uri="{BB962C8B-B14F-4D97-AF65-F5344CB8AC3E}">
        <p14:creationId xmlns:p14="http://schemas.microsoft.com/office/powerpoint/2010/main" val="149098579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B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5AA237-899E-FCE0-0AD4-FB2A201876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10972800" cy="5539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022DAC-57D8-FDDF-7CC8-51F8E0B898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9F2FA9-D8E4-C2EC-CC64-A86F688904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D9CC79-5E2B-2168-888E-FD51C76D6E2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162C123-080F-4289-B439-5E14023B5C17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B22928A-D77F-2EB2-5612-6796E59997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9CEEA61-0AD2-17FF-8A06-DEDFDB3DD90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F49AD499-1A3B-C5ED-169F-98A43158000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" y="1790700"/>
            <a:ext cx="2551176" cy="4114800"/>
          </a:xfrm>
          <a:custGeom>
            <a:avLst/>
            <a:gdLst>
              <a:gd name="connsiteX0" fmla="*/ 0 w 2551176"/>
              <a:gd name="connsiteY0" fmla="*/ 0 h 4114800"/>
              <a:gd name="connsiteX1" fmla="*/ 2551176 w 2551176"/>
              <a:gd name="connsiteY1" fmla="*/ 0 h 4114800"/>
              <a:gd name="connsiteX2" fmla="*/ 2551176 w 2551176"/>
              <a:gd name="connsiteY2" fmla="*/ 4114800 h 4114800"/>
              <a:gd name="connsiteX3" fmla="*/ 1553088 w 2551176"/>
              <a:gd name="connsiteY3" fmla="*/ 4114800 h 4114800"/>
              <a:gd name="connsiteX4" fmla="*/ 1548786 w 2551176"/>
              <a:gd name="connsiteY4" fmla="*/ 4072131 h 4114800"/>
              <a:gd name="connsiteX5" fmla="*/ 1275588 w 2551176"/>
              <a:gd name="connsiteY5" fmla="*/ 3849459 h 4114800"/>
              <a:gd name="connsiteX6" fmla="*/ 1002391 w 2551176"/>
              <a:gd name="connsiteY6" fmla="*/ 4072131 h 4114800"/>
              <a:gd name="connsiteX7" fmla="*/ 998088 w 2551176"/>
              <a:gd name="connsiteY7" fmla="*/ 4114800 h 4114800"/>
              <a:gd name="connsiteX8" fmla="*/ 0 w 2551176"/>
              <a:gd name="connsiteY8" fmla="*/ 4114800 h 41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51176" h="4114800">
                <a:moveTo>
                  <a:pt x="0" y="0"/>
                </a:moveTo>
                <a:lnTo>
                  <a:pt x="2551176" y="0"/>
                </a:lnTo>
                <a:lnTo>
                  <a:pt x="2551176" y="4114800"/>
                </a:lnTo>
                <a:lnTo>
                  <a:pt x="1553088" y="4114800"/>
                </a:lnTo>
                <a:lnTo>
                  <a:pt x="1548786" y="4072131"/>
                </a:lnTo>
                <a:cubicBezTo>
                  <a:pt x="1522778" y="3945067"/>
                  <a:pt x="1410328" y="3849459"/>
                  <a:pt x="1275588" y="3849459"/>
                </a:cubicBezTo>
                <a:cubicBezTo>
                  <a:pt x="1140848" y="3849459"/>
                  <a:pt x="1028398" y="3945067"/>
                  <a:pt x="1002391" y="4072131"/>
                </a:cubicBezTo>
                <a:lnTo>
                  <a:pt x="998088" y="4114800"/>
                </a:lnTo>
                <a:lnTo>
                  <a:pt x="0" y="41148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0" b="0"/>
            </a:lvl1pPr>
          </a:lstStyle>
          <a:p>
            <a:pPr lvl="0" algn="ctr"/>
            <a:r>
              <a:rPr lang="en-US"/>
              <a:t>Insert Photo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0F56ADE-836D-004F-ABBC-AC5EDA9CCF2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416808" y="1790700"/>
            <a:ext cx="2551176" cy="4114800"/>
          </a:xfrm>
          <a:custGeom>
            <a:avLst/>
            <a:gdLst>
              <a:gd name="connsiteX0" fmla="*/ 0 w 2551176"/>
              <a:gd name="connsiteY0" fmla="*/ 0 h 4114800"/>
              <a:gd name="connsiteX1" fmla="*/ 2551176 w 2551176"/>
              <a:gd name="connsiteY1" fmla="*/ 0 h 4114800"/>
              <a:gd name="connsiteX2" fmla="*/ 2551176 w 2551176"/>
              <a:gd name="connsiteY2" fmla="*/ 4114800 h 4114800"/>
              <a:gd name="connsiteX3" fmla="*/ 1553088 w 2551176"/>
              <a:gd name="connsiteY3" fmla="*/ 4114800 h 4114800"/>
              <a:gd name="connsiteX4" fmla="*/ 1548786 w 2551176"/>
              <a:gd name="connsiteY4" fmla="*/ 4072131 h 4114800"/>
              <a:gd name="connsiteX5" fmla="*/ 1275589 w 2551176"/>
              <a:gd name="connsiteY5" fmla="*/ 3849459 h 4114800"/>
              <a:gd name="connsiteX6" fmla="*/ 1002391 w 2551176"/>
              <a:gd name="connsiteY6" fmla="*/ 4072131 h 4114800"/>
              <a:gd name="connsiteX7" fmla="*/ 998088 w 2551176"/>
              <a:gd name="connsiteY7" fmla="*/ 4114800 h 4114800"/>
              <a:gd name="connsiteX8" fmla="*/ 0 w 2551176"/>
              <a:gd name="connsiteY8" fmla="*/ 4114800 h 41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51176" h="4114800">
                <a:moveTo>
                  <a:pt x="0" y="0"/>
                </a:moveTo>
                <a:lnTo>
                  <a:pt x="2551176" y="0"/>
                </a:lnTo>
                <a:lnTo>
                  <a:pt x="2551176" y="4114800"/>
                </a:lnTo>
                <a:lnTo>
                  <a:pt x="1553088" y="4114800"/>
                </a:lnTo>
                <a:lnTo>
                  <a:pt x="1548786" y="4072131"/>
                </a:lnTo>
                <a:cubicBezTo>
                  <a:pt x="1522779" y="3945067"/>
                  <a:pt x="1410329" y="3849459"/>
                  <a:pt x="1275589" y="3849459"/>
                </a:cubicBezTo>
                <a:cubicBezTo>
                  <a:pt x="1140848" y="3849459"/>
                  <a:pt x="1028398" y="3945067"/>
                  <a:pt x="1002391" y="4072131"/>
                </a:cubicBezTo>
                <a:lnTo>
                  <a:pt x="998088" y="4114800"/>
                </a:lnTo>
                <a:lnTo>
                  <a:pt x="0" y="41148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0" b="0"/>
            </a:lvl1pPr>
          </a:lstStyle>
          <a:p>
            <a:pPr lvl="0" algn="ctr"/>
            <a:r>
              <a:rPr lang="en-US"/>
              <a:t>Insert Photo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1B1AAF4-337D-3CB6-B7EA-151F2D8CCC8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24016" y="1790700"/>
            <a:ext cx="2551176" cy="4114800"/>
          </a:xfrm>
          <a:custGeom>
            <a:avLst/>
            <a:gdLst>
              <a:gd name="connsiteX0" fmla="*/ 0 w 2551176"/>
              <a:gd name="connsiteY0" fmla="*/ 0 h 4114800"/>
              <a:gd name="connsiteX1" fmla="*/ 2551176 w 2551176"/>
              <a:gd name="connsiteY1" fmla="*/ 0 h 4114800"/>
              <a:gd name="connsiteX2" fmla="*/ 2551176 w 2551176"/>
              <a:gd name="connsiteY2" fmla="*/ 4114800 h 4114800"/>
              <a:gd name="connsiteX3" fmla="*/ 1553088 w 2551176"/>
              <a:gd name="connsiteY3" fmla="*/ 4114800 h 4114800"/>
              <a:gd name="connsiteX4" fmla="*/ 1548786 w 2551176"/>
              <a:gd name="connsiteY4" fmla="*/ 4072131 h 4114800"/>
              <a:gd name="connsiteX5" fmla="*/ 1275589 w 2551176"/>
              <a:gd name="connsiteY5" fmla="*/ 3849459 h 4114800"/>
              <a:gd name="connsiteX6" fmla="*/ 1002391 w 2551176"/>
              <a:gd name="connsiteY6" fmla="*/ 4072131 h 4114800"/>
              <a:gd name="connsiteX7" fmla="*/ 998088 w 2551176"/>
              <a:gd name="connsiteY7" fmla="*/ 4114800 h 4114800"/>
              <a:gd name="connsiteX8" fmla="*/ 0 w 2551176"/>
              <a:gd name="connsiteY8" fmla="*/ 4114800 h 41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51176" h="4114800">
                <a:moveTo>
                  <a:pt x="0" y="0"/>
                </a:moveTo>
                <a:lnTo>
                  <a:pt x="2551176" y="0"/>
                </a:lnTo>
                <a:lnTo>
                  <a:pt x="2551176" y="4114800"/>
                </a:lnTo>
                <a:lnTo>
                  <a:pt x="1553088" y="4114800"/>
                </a:lnTo>
                <a:lnTo>
                  <a:pt x="1548786" y="4072131"/>
                </a:lnTo>
                <a:cubicBezTo>
                  <a:pt x="1522779" y="3945067"/>
                  <a:pt x="1410329" y="3849459"/>
                  <a:pt x="1275589" y="3849459"/>
                </a:cubicBezTo>
                <a:cubicBezTo>
                  <a:pt x="1140848" y="3849459"/>
                  <a:pt x="1028398" y="3945067"/>
                  <a:pt x="1002391" y="4072131"/>
                </a:cubicBezTo>
                <a:lnTo>
                  <a:pt x="998088" y="4114800"/>
                </a:lnTo>
                <a:lnTo>
                  <a:pt x="0" y="41148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0" b="0"/>
            </a:lvl1pPr>
          </a:lstStyle>
          <a:p>
            <a:pPr lvl="0" algn="ctr"/>
            <a:r>
              <a:rPr lang="en-US"/>
              <a:t>Insert Photo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0405F5B-EBBC-8883-AEC0-0BBF8A81CF8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031224" y="1790700"/>
            <a:ext cx="2551176" cy="4114800"/>
          </a:xfrm>
          <a:custGeom>
            <a:avLst/>
            <a:gdLst>
              <a:gd name="connsiteX0" fmla="*/ 0 w 2551176"/>
              <a:gd name="connsiteY0" fmla="*/ 0 h 4114800"/>
              <a:gd name="connsiteX1" fmla="*/ 2551176 w 2551176"/>
              <a:gd name="connsiteY1" fmla="*/ 0 h 4114800"/>
              <a:gd name="connsiteX2" fmla="*/ 2551176 w 2551176"/>
              <a:gd name="connsiteY2" fmla="*/ 4114800 h 4114800"/>
              <a:gd name="connsiteX3" fmla="*/ 1554029 w 2551176"/>
              <a:gd name="connsiteY3" fmla="*/ 4114800 h 4114800"/>
              <a:gd name="connsiteX4" fmla="*/ 1548786 w 2551176"/>
              <a:gd name="connsiteY4" fmla="*/ 4062796 h 4114800"/>
              <a:gd name="connsiteX5" fmla="*/ 1275588 w 2551176"/>
              <a:gd name="connsiteY5" fmla="*/ 3840124 h 4114800"/>
              <a:gd name="connsiteX6" fmla="*/ 1002391 w 2551176"/>
              <a:gd name="connsiteY6" fmla="*/ 4062796 h 4114800"/>
              <a:gd name="connsiteX7" fmla="*/ 997147 w 2551176"/>
              <a:gd name="connsiteY7" fmla="*/ 4114800 h 4114800"/>
              <a:gd name="connsiteX8" fmla="*/ 0 w 2551176"/>
              <a:gd name="connsiteY8" fmla="*/ 4114800 h 41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51176" h="4114800">
                <a:moveTo>
                  <a:pt x="0" y="0"/>
                </a:moveTo>
                <a:lnTo>
                  <a:pt x="2551176" y="0"/>
                </a:lnTo>
                <a:lnTo>
                  <a:pt x="2551176" y="4114800"/>
                </a:lnTo>
                <a:lnTo>
                  <a:pt x="1554029" y="4114800"/>
                </a:lnTo>
                <a:lnTo>
                  <a:pt x="1548786" y="4062796"/>
                </a:lnTo>
                <a:cubicBezTo>
                  <a:pt x="1522778" y="3935732"/>
                  <a:pt x="1410328" y="3840124"/>
                  <a:pt x="1275588" y="3840124"/>
                </a:cubicBezTo>
                <a:cubicBezTo>
                  <a:pt x="1140848" y="3840124"/>
                  <a:pt x="1028398" y="3935732"/>
                  <a:pt x="1002391" y="4062796"/>
                </a:cubicBezTo>
                <a:lnTo>
                  <a:pt x="997147" y="4114800"/>
                </a:lnTo>
                <a:lnTo>
                  <a:pt x="0" y="41148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0" b="0"/>
            </a:lvl1pPr>
          </a:lstStyle>
          <a:p>
            <a:pPr lvl="0" algn="ctr"/>
            <a:r>
              <a:rPr lang="en-US"/>
              <a:t>Insert Photo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6ED5DAD-CBDE-36C0-281E-B1CD97A3F16E}"/>
              </a:ext>
            </a:extLst>
          </p:cNvPr>
          <p:cNvGrpSpPr/>
          <p:nvPr userDrawn="1"/>
        </p:nvGrpSpPr>
        <p:grpSpPr>
          <a:xfrm rot="5400000" flipV="1">
            <a:off x="1606322" y="5649685"/>
            <a:ext cx="557732" cy="557728"/>
            <a:chOff x="10790180" y="2982466"/>
            <a:chExt cx="790041" cy="790037"/>
          </a:xfrm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4A129AD9-1F5C-5825-AE7C-08A6D145B474}"/>
                </a:ext>
              </a:extLst>
            </p:cNvPr>
            <p:cNvSpPr/>
            <p:nvPr/>
          </p:nvSpPr>
          <p:spPr>
            <a:xfrm>
              <a:off x="10790180" y="2982466"/>
              <a:ext cx="395020" cy="790037"/>
            </a:xfrm>
            <a:custGeom>
              <a:avLst/>
              <a:gdLst>
                <a:gd name="connsiteX0" fmla="*/ 395021 w 395020"/>
                <a:gd name="connsiteY0" fmla="*/ 790037 h 790037"/>
                <a:gd name="connsiteX1" fmla="*/ 0 w 395020"/>
                <a:gd name="connsiteY1" fmla="*/ 395019 h 790037"/>
                <a:gd name="connsiteX2" fmla="*/ 395021 w 395020"/>
                <a:gd name="connsiteY2" fmla="*/ 0 h 790037"/>
                <a:gd name="connsiteX3" fmla="*/ 395021 w 395020"/>
                <a:gd name="connsiteY3" fmla="*/ 790037 h 790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020" h="790037">
                  <a:moveTo>
                    <a:pt x="395021" y="790037"/>
                  </a:moveTo>
                  <a:cubicBezTo>
                    <a:pt x="176890" y="790037"/>
                    <a:pt x="0" y="613148"/>
                    <a:pt x="0" y="395019"/>
                  </a:cubicBezTo>
                  <a:cubicBezTo>
                    <a:pt x="0" y="176889"/>
                    <a:pt x="176890" y="0"/>
                    <a:pt x="395021" y="0"/>
                  </a:cubicBezTo>
                  <a:lnTo>
                    <a:pt x="395021" y="790037"/>
                  </a:lnTo>
                  <a:close/>
                </a:path>
              </a:pathLst>
            </a:custGeom>
            <a:solidFill>
              <a:srgbClr val="93D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CA7AD01-D409-B276-D35E-89B5ED7B49DF}"/>
                </a:ext>
              </a:extLst>
            </p:cNvPr>
            <p:cNvSpPr/>
            <p:nvPr/>
          </p:nvSpPr>
          <p:spPr>
            <a:xfrm>
              <a:off x="11185201" y="2982466"/>
              <a:ext cx="395020" cy="790037"/>
            </a:xfrm>
            <a:custGeom>
              <a:avLst/>
              <a:gdLst>
                <a:gd name="connsiteX0" fmla="*/ 0 w 395020"/>
                <a:gd name="connsiteY0" fmla="*/ 0 h 790037"/>
                <a:gd name="connsiteX1" fmla="*/ 395021 w 395020"/>
                <a:gd name="connsiteY1" fmla="*/ 395019 h 790037"/>
                <a:gd name="connsiteX2" fmla="*/ 0 w 395020"/>
                <a:gd name="connsiteY2" fmla="*/ 790037 h 790037"/>
                <a:gd name="connsiteX3" fmla="*/ 0 w 395020"/>
                <a:gd name="connsiteY3" fmla="*/ 0 h 790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020" h="790037">
                  <a:moveTo>
                    <a:pt x="0" y="0"/>
                  </a:moveTo>
                  <a:cubicBezTo>
                    <a:pt x="218130" y="0"/>
                    <a:pt x="395021" y="176889"/>
                    <a:pt x="395021" y="395019"/>
                  </a:cubicBezTo>
                  <a:cubicBezTo>
                    <a:pt x="395021" y="613148"/>
                    <a:pt x="218130" y="790037"/>
                    <a:pt x="0" y="79003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23DF22E-6C5B-FFD9-EE32-21B34326B5FA}"/>
              </a:ext>
            </a:extLst>
          </p:cNvPr>
          <p:cNvGrpSpPr/>
          <p:nvPr userDrawn="1"/>
        </p:nvGrpSpPr>
        <p:grpSpPr>
          <a:xfrm rot="16200000">
            <a:off x="4413530" y="5649685"/>
            <a:ext cx="557732" cy="557728"/>
            <a:chOff x="10790180" y="2982466"/>
            <a:chExt cx="790041" cy="790037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A92C64A-C00A-0B29-EE39-10A9409ED893}"/>
                </a:ext>
              </a:extLst>
            </p:cNvPr>
            <p:cNvSpPr/>
            <p:nvPr/>
          </p:nvSpPr>
          <p:spPr>
            <a:xfrm>
              <a:off x="10790180" y="2982466"/>
              <a:ext cx="395020" cy="790037"/>
            </a:xfrm>
            <a:custGeom>
              <a:avLst/>
              <a:gdLst>
                <a:gd name="connsiteX0" fmla="*/ 395021 w 395020"/>
                <a:gd name="connsiteY0" fmla="*/ 790037 h 790037"/>
                <a:gd name="connsiteX1" fmla="*/ 0 w 395020"/>
                <a:gd name="connsiteY1" fmla="*/ 395019 h 790037"/>
                <a:gd name="connsiteX2" fmla="*/ 395021 w 395020"/>
                <a:gd name="connsiteY2" fmla="*/ 0 h 790037"/>
                <a:gd name="connsiteX3" fmla="*/ 395021 w 395020"/>
                <a:gd name="connsiteY3" fmla="*/ 790037 h 790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020" h="790037">
                  <a:moveTo>
                    <a:pt x="395021" y="790037"/>
                  </a:moveTo>
                  <a:cubicBezTo>
                    <a:pt x="176890" y="790037"/>
                    <a:pt x="0" y="613148"/>
                    <a:pt x="0" y="395019"/>
                  </a:cubicBezTo>
                  <a:cubicBezTo>
                    <a:pt x="0" y="176889"/>
                    <a:pt x="176890" y="0"/>
                    <a:pt x="395021" y="0"/>
                  </a:cubicBezTo>
                  <a:lnTo>
                    <a:pt x="395021" y="790037"/>
                  </a:lnTo>
                  <a:close/>
                </a:path>
              </a:pathLst>
            </a:custGeom>
            <a:solidFill>
              <a:srgbClr val="93D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719BC5A-CA11-DA4B-E611-BE90F16D668D}"/>
                </a:ext>
              </a:extLst>
            </p:cNvPr>
            <p:cNvSpPr/>
            <p:nvPr/>
          </p:nvSpPr>
          <p:spPr>
            <a:xfrm>
              <a:off x="11185201" y="2982466"/>
              <a:ext cx="395020" cy="790037"/>
            </a:xfrm>
            <a:custGeom>
              <a:avLst/>
              <a:gdLst>
                <a:gd name="connsiteX0" fmla="*/ 0 w 395020"/>
                <a:gd name="connsiteY0" fmla="*/ 0 h 790037"/>
                <a:gd name="connsiteX1" fmla="*/ 395021 w 395020"/>
                <a:gd name="connsiteY1" fmla="*/ 395019 h 790037"/>
                <a:gd name="connsiteX2" fmla="*/ 0 w 395020"/>
                <a:gd name="connsiteY2" fmla="*/ 790037 h 790037"/>
                <a:gd name="connsiteX3" fmla="*/ 0 w 395020"/>
                <a:gd name="connsiteY3" fmla="*/ 0 h 790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020" h="790037">
                  <a:moveTo>
                    <a:pt x="0" y="0"/>
                  </a:moveTo>
                  <a:cubicBezTo>
                    <a:pt x="218130" y="0"/>
                    <a:pt x="395021" y="176889"/>
                    <a:pt x="395021" y="395019"/>
                  </a:cubicBezTo>
                  <a:cubicBezTo>
                    <a:pt x="395021" y="613148"/>
                    <a:pt x="218130" y="790037"/>
                    <a:pt x="0" y="79003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C6FE544-F06F-572B-C721-23904D42AD80}"/>
              </a:ext>
            </a:extLst>
          </p:cNvPr>
          <p:cNvGrpSpPr/>
          <p:nvPr userDrawn="1"/>
        </p:nvGrpSpPr>
        <p:grpSpPr>
          <a:xfrm rot="5400000" flipV="1">
            <a:off x="7220738" y="5649685"/>
            <a:ext cx="557732" cy="557728"/>
            <a:chOff x="10790180" y="2982466"/>
            <a:chExt cx="790041" cy="790037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2598CAC-B1E6-5349-962B-36362C79F238}"/>
                </a:ext>
              </a:extLst>
            </p:cNvPr>
            <p:cNvSpPr/>
            <p:nvPr/>
          </p:nvSpPr>
          <p:spPr>
            <a:xfrm>
              <a:off x="10790180" y="2982466"/>
              <a:ext cx="395020" cy="790037"/>
            </a:xfrm>
            <a:custGeom>
              <a:avLst/>
              <a:gdLst>
                <a:gd name="connsiteX0" fmla="*/ 395021 w 395020"/>
                <a:gd name="connsiteY0" fmla="*/ 790037 h 790037"/>
                <a:gd name="connsiteX1" fmla="*/ 0 w 395020"/>
                <a:gd name="connsiteY1" fmla="*/ 395019 h 790037"/>
                <a:gd name="connsiteX2" fmla="*/ 395021 w 395020"/>
                <a:gd name="connsiteY2" fmla="*/ 0 h 790037"/>
                <a:gd name="connsiteX3" fmla="*/ 395021 w 395020"/>
                <a:gd name="connsiteY3" fmla="*/ 790037 h 790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020" h="790037">
                  <a:moveTo>
                    <a:pt x="395021" y="790037"/>
                  </a:moveTo>
                  <a:cubicBezTo>
                    <a:pt x="176890" y="790037"/>
                    <a:pt x="0" y="613148"/>
                    <a:pt x="0" y="395019"/>
                  </a:cubicBezTo>
                  <a:cubicBezTo>
                    <a:pt x="0" y="176889"/>
                    <a:pt x="176890" y="0"/>
                    <a:pt x="395021" y="0"/>
                  </a:cubicBezTo>
                  <a:lnTo>
                    <a:pt x="395021" y="790037"/>
                  </a:lnTo>
                  <a:close/>
                </a:path>
              </a:pathLst>
            </a:custGeom>
            <a:solidFill>
              <a:srgbClr val="93D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DB2245A5-FA98-894F-85CD-65806E90F958}"/>
                </a:ext>
              </a:extLst>
            </p:cNvPr>
            <p:cNvSpPr/>
            <p:nvPr/>
          </p:nvSpPr>
          <p:spPr>
            <a:xfrm>
              <a:off x="11185201" y="2982466"/>
              <a:ext cx="395020" cy="790037"/>
            </a:xfrm>
            <a:custGeom>
              <a:avLst/>
              <a:gdLst>
                <a:gd name="connsiteX0" fmla="*/ 0 w 395020"/>
                <a:gd name="connsiteY0" fmla="*/ 0 h 790037"/>
                <a:gd name="connsiteX1" fmla="*/ 395021 w 395020"/>
                <a:gd name="connsiteY1" fmla="*/ 395019 h 790037"/>
                <a:gd name="connsiteX2" fmla="*/ 0 w 395020"/>
                <a:gd name="connsiteY2" fmla="*/ 790037 h 790037"/>
                <a:gd name="connsiteX3" fmla="*/ 0 w 395020"/>
                <a:gd name="connsiteY3" fmla="*/ 0 h 790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020" h="790037">
                  <a:moveTo>
                    <a:pt x="0" y="0"/>
                  </a:moveTo>
                  <a:cubicBezTo>
                    <a:pt x="218130" y="0"/>
                    <a:pt x="395021" y="176889"/>
                    <a:pt x="395021" y="395019"/>
                  </a:cubicBezTo>
                  <a:cubicBezTo>
                    <a:pt x="395021" y="613148"/>
                    <a:pt x="218130" y="790037"/>
                    <a:pt x="0" y="79003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D7CC577-2F17-3EF7-7FD8-6F8A2A5F4651}"/>
              </a:ext>
            </a:extLst>
          </p:cNvPr>
          <p:cNvGrpSpPr/>
          <p:nvPr userDrawn="1"/>
        </p:nvGrpSpPr>
        <p:grpSpPr>
          <a:xfrm rot="16200000">
            <a:off x="10027946" y="5649685"/>
            <a:ext cx="557732" cy="557728"/>
            <a:chOff x="10790180" y="2982466"/>
            <a:chExt cx="790041" cy="790037"/>
          </a:xfrm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A6F6D48-0D01-E7AB-A30C-F1FFC17B1734}"/>
                </a:ext>
              </a:extLst>
            </p:cNvPr>
            <p:cNvSpPr/>
            <p:nvPr/>
          </p:nvSpPr>
          <p:spPr>
            <a:xfrm>
              <a:off x="10790180" y="2982466"/>
              <a:ext cx="395020" cy="790037"/>
            </a:xfrm>
            <a:custGeom>
              <a:avLst/>
              <a:gdLst>
                <a:gd name="connsiteX0" fmla="*/ 395021 w 395020"/>
                <a:gd name="connsiteY0" fmla="*/ 790037 h 790037"/>
                <a:gd name="connsiteX1" fmla="*/ 0 w 395020"/>
                <a:gd name="connsiteY1" fmla="*/ 395019 h 790037"/>
                <a:gd name="connsiteX2" fmla="*/ 395021 w 395020"/>
                <a:gd name="connsiteY2" fmla="*/ 0 h 790037"/>
                <a:gd name="connsiteX3" fmla="*/ 395021 w 395020"/>
                <a:gd name="connsiteY3" fmla="*/ 790037 h 790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020" h="790037">
                  <a:moveTo>
                    <a:pt x="395021" y="790037"/>
                  </a:moveTo>
                  <a:cubicBezTo>
                    <a:pt x="176890" y="790037"/>
                    <a:pt x="0" y="613148"/>
                    <a:pt x="0" y="395019"/>
                  </a:cubicBezTo>
                  <a:cubicBezTo>
                    <a:pt x="0" y="176889"/>
                    <a:pt x="176890" y="0"/>
                    <a:pt x="395021" y="0"/>
                  </a:cubicBezTo>
                  <a:lnTo>
                    <a:pt x="395021" y="790037"/>
                  </a:lnTo>
                  <a:close/>
                </a:path>
              </a:pathLst>
            </a:custGeom>
            <a:solidFill>
              <a:srgbClr val="93D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5985A824-D9EB-90EA-540E-42D8B6A5E602}"/>
                </a:ext>
              </a:extLst>
            </p:cNvPr>
            <p:cNvSpPr/>
            <p:nvPr/>
          </p:nvSpPr>
          <p:spPr>
            <a:xfrm>
              <a:off x="11185201" y="2982466"/>
              <a:ext cx="395020" cy="790037"/>
            </a:xfrm>
            <a:custGeom>
              <a:avLst/>
              <a:gdLst>
                <a:gd name="connsiteX0" fmla="*/ 0 w 395020"/>
                <a:gd name="connsiteY0" fmla="*/ 0 h 790037"/>
                <a:gd name="connsiteX1" fmla="*/ 395021 w 395020"/>
                <a:gd name="connsiteY1" fmla="*/ 395019 h 790037"/>
                <a:gd name="connsiteX2" fmla="*/ 0 w 395020"/>
                <a:gd name="connsiteY2" fmla="*/ 790037 h 790037"/>
                <a:gd name="connsiteX3" fmla="*/ 0 w 395020"/>
                <a:gd name="connsiteY3" fmla="*/ 0 h 790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020" h="790037">
                  <a:moveTo>
                    <a:pt x="0" y="0"/>
                  </a:moveTo>
                  <a:cubicBezTo>
                    <a:pt x="218130" y="0"/>
                    <a:pt x="395021" y="176889"/>
                    <a:pt x="395021" y="395019"/>
                  </a:cubicBezTo>
                  <a:cubicBezTo>
                    <a:pt x="395021" y="613148"/>
                    <a:pt x="218130" y="790037"/>
                    <a:pt x="0" y="79003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012443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 -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DE3CA1B0-623A-9E3F-9B2B-5EFA479D7D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38562" y="2453998"/>
            <a:ext cx="7552295" cy="2000804"/>
          </a:xfrm>
        </p:spPr>
        <p:txBody>
          <a:bodyPr wrap="square" anchor="t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7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Title Here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353296DA-3EB1-2F89-5D2A-CD471FFD68D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8562" y="5956756"/>
            <a:ext cx="7552345" cy="215444"/>
          </a:xfrm>
        </p:spPr>
        <p:txBody>
          <a:bodyPr wrap="square" anchor="b">
            <a:noAutofit/>
          </a:bodyPr>
          <a:lstStyle>
            <a:lvl1pPr>
              <a:spcAft>
                <a:spcPts val="0"/>
              </a:spcAft>
              <a:defRPr sz="1400" b="1" cap="all" spc="300"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dustry Nam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AB37842-EC51-8631-1C75-0B1DCCBB60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8562" y="1062569"/>
            <a:ext cx="1799617" cy="457200"/>
          </a:xfrm>
          <a:prstGeom prst="rect">
            <a:avLst/>
          </a:prstGeom>
        </p:spPr>
      </p:pic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73ECA860-D36F-D1ED-E741-2F6625B97D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8562" y="4942006"/>
            <a:ext cx="7552295" cy="738664"/>
          </a:xfrm>
        </p:spPr>
        <p:txBody>
          <a:bodyPr anchor="b">
            <a:noAutofit/>
          </a:bodyPr>
          <a:lstStyle>
            <a:lvl1pPr algn="l"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1D1B2D9-69D8-BCE4-17C2-3031E4E8385D}"/>
              </a:ext>
            </a:extLst>
          </p:cNvPr>
          <p:cNvGrpSpPr/>
          <p:nvPr userDrawn="1"/>
        </p:nvGrpSpPr>
        <p:grpSpPr>
          <a:xfrm>
            <a:off x="938562" y="1983579"/>
            <a:ext cx="7552295" cy="0"/>
            <a:chOff x="938562" y="1983579"/>
            <a:chExt cx="7552295" cy="0"/>
          </a:xfrm>
        </p:grpSpPr>
        <p:cxnSp>
          <p:nvCxnSpPr>
            <p:cNvPr id="2" name="Straight Connector 1">
              <a:extLst>
                <a:ext uri="{FF2B5EF4-FFF2-40B4-BE49-F238E27FC236}">
                  <a16:creationId xmlns:a16="http://schemas.microsoft.com/office/drawing/2014/main" id="{0E4290B1-C5D4-50D5-BCF3-3E59301DBD7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38562" y="1983579"/>
              <a:ext cx="7552295" cy="0"/>
            </a:xfrm>
            <a:prstGeom prst="line">
              <a:avLst/>
            </a:prstGeom>
            <a:ln>
              <a:solidFill>
                <a:schemeClr val="bg1"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67537F7F-A3FD-E47E-4415-2126205ED623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1543059" y="1379082"/>
              <a:ext cx="0" cy="1208993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Graphic 5">
            <a:extLst>
              <a:ext uri="{FF2B5EF4-FFF2-40B4-BE49-F238E27FC236}">
                <a16:creationId xmlns:a16="http://schemas.microsoft.com/office/drawing/2014/main" id="{5A739C11-B85C-1E6D-6FEF-0C04AE381823}"/>
              </a:ext>
            </a:extLst>
          </p:cNvPr>
          <p:cNvPicPr/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2988" b="2988"/>
          <a:stretch/>
        </p:blipFill>
        <p:spPr>
          <a:xfrm>
            <a:off x="9566275" y="0"/>
            <a:ext cx="226038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335587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istics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644F2F-8058-0037-6983-DD53BBDAE6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E6CDED-3690-C823-89B5-50C27CBFD3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985037-0DF6-C09A-FF7F-5A35AE79B3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8015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8FE771C-AF3B-746F-8A25-2C5C4A4812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3" name="Text Placeholder 33">
            <a:extLst>
              <a:ext uri="{FF2B5EF4-FFF2-40B4-BE49-F238E27FC236}">
                <a16:creationId xmlns:a16="http://schemas.microsoft.com/office/drawing/2014/main" id="{7E25B57A-249F-302B-B85D-FA5ED6A06A1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9599" y="1981432"/>
            <a:ext cx="1995949" cy="1015663"/>
          </a:xfrm>
        </p:spPr>
        <p:txBody>
          <a:bodyPr lIns="0" rIns="0" anchor="ctr">
            <a:noAutofit/>
          </a:bodyPr>
          <a:lstStyle>
            <a:lvl1pPr>
              <a:defRPr lang="en-US" sz="6000" dirty="0">
                <a:latin typeface="+mj-lt"/>
              </a:defRPr>
            </a:lvl1pPr>
          </a:lstStyle>
          <a:p>
            <a:pPr lvl="0"/>
            <a:r>
              <a:rPr lang="en-US"/>
              <a:t>00M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81332B9F-1F08-F247-B712-9C3A3624ECE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9599" y="3435635"/>
            <a:ext cx="1995949" cy="1015663"/>
          </a:xfrm>
        </p:spPr>
        <p:txBody>
          <a:bodyPr lIns="0" rIns="0" anchor="ctr">
            <a:noAutofit/>
          </a:bodyPr>
          <a:lstStyle>
            <a:lvl1pPr>
              <a:defRPr lang="en-US" sz="6000" dirty="0">
                <a:latin typeface="+mj-lt"/>
              </a:defRPr>
            </a:lvl1pPr>
          </a:lstStyle>
          <a:p>
            <a:pPr lvl="0"/>
            <a:r>
              <a:rPr lang="en-US"/>
              <a:t>00M</a:t>
            </a:r>
          </a:p>
        </p:txBody>
      </p:sp>
      <p:sp>
        <p:nvSpPr>
          <p:cNvPr id="35" name="Text Placeholder 33">
            <a:extLst>
              <a:ext uri="{FF2B5EF4-FFF2-40B4-BE49-F238E27FC236}">
                <a16:creationId xmlns:a16="http://schemas.microsoft.com/office/drawing/2014/main" id="{7393CE72-B83F-00E3-F8CD-862380C62E5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599" y="4889838"/>
            <a:ext cx="1995949" cy="1015663"/>
          </a:xfrm>
        </p:spPr>
        <p:txBody>
          <a:bodyPr lIns="0" rIns="0" anchor="ctr">
            <a:noAutofit/>
          </a:bodyPr>
          <a:lstStyle>
            <a:lvl1pPr>
              <a:defRPr lang="en-US" sz="6000" dirty="0">
                <a:latin typeface="+mj-lt"/>
              </a:defRPr>
            </a:lvl1pPr>
          </a:lstStyle>
          <a:p>
            <a:pPr lvl="0"/>
            <a:r>
              <a:rPr lang="en-US"/>
              <a:t>00M</a:t>
            </a:r>
          </a:p>
        </p:txBody>
      </p:sp>
      <p:sp>
        <p:nvSpPr>
          <p:cNvPr id="41" name="Text Placeholder 33">
            <a:extLst>
              <a:ext uri="{FF2B5EF4-FFF2-40B4-BE49-F238E27FC236}">
                <a16:creationId xmlns:a16="http://schemas.microsoft.com/office/drawing/2014/main" id="{90333D83-CE3E-B927-4B86-D6DE7FF1E8D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371303" y="1981432"/>
            <a:ext cx="1995949" cy="1015663"/>
          </a:xfrm>
        </p:spPr>
        <p:txBody>
          <a:bodyPr lIns="0" rIns="0" anchor="ctr">
            <a:noAutofit/>
          </a:bodyPr>
          <a:lstStyle>
            <a:lvl1pPr>
              <a:defRPr lang="en-US" sz="6000" dirty="0">
                <a:latin typeface="+mj-lt"/>
              </a:defRPr>
            </a:lvl1pPr>
          </a:lstStyle>
          <a:p>
            <a:pPr lvl="0"/>
            <a:r>
              <a:rPr lang="en-US"/>
              <a:t>00M</a:t>
            </a:r>
          </a:p>
        </p:txBody>
      </p:sp>
      <p:sp>
        <p:nvSpPr>
          <p:cNvPr id="42" name="Text Placeholder 33">
            <a:extLst>
              <a:ext uri="{FF2B5EF4-FFF2-40B4-BE49-F238E27FC236}">
                <a16:creationId xmlns:a16="http://schemas.microsoft.com/office/drawing/2014/main" id="{431E9520-FD4B-C5E8-75B7-42F0A83BEE6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371303" y="3435635"/>
            <a:ext cx="1995949" cy="1015663"/>
          </a:xfrm>
        </p:spPr>
        <p:txBody>
          <a:bodyPr lIns="0" rIns="0" anchor="ctr">
            <a:noAutofit/>
          </a:bodyPr>
          <a:lstStyle>
            <a:lvl1pPr>
              <a:defRPr lang="en-US" sz="6000" dirty="0">
                <a:latin typeface="+mj-lt"/>
              </a:defRPr>
            </a:lvl1pPr>
          </a:lstStyle>
          <a:p>
            <a:pPr lvl="0"/>
            <a:r>
              <a:rPr lang="en-US"/>
              <a:t>00M</a:t>
            </a:r>
          </a:p>
        </p:txBody>
      </p:sp>
      <p:sp>
        <p:nvSpPr>
          <p:cNvPr id="43" name="Text Placeholder 33">
            <a:extLst>
              <a:ext uri="{FF2B5EF4-FFF2-40B4-BE49-F238E27FC236}">
                <a16:creationId xmlns:a16="http://schemas.microsoft.com/office/drawing/2014/main" id="{13A258BC-65F7-7E99-1C10-1F7A78D89A4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371303" y="4889838"/>
            <a:ext cx="1995949" cy="1015663"/>
          </a:xfrm>
        </p:spPr>
        <p:txBody>
          <a:bodyPr lIns="0" rIns="0" anchor="ctr">
            <a:noAutofit/>
          </a:bodyPr>
          <a:lstStyle>
            <a:lvl1pPr>
              <a:defRPr lang="en-US" sz="6000" dirty="0">
                <a:latin typeface="+mj-lt"/>
              </a:defRPr>
            </a:lvl1pPr>
          </a:lstStyle>
          <a:p>
            <a:pPr lvl="0"/>
            <a:r>
              <a:rPr lang="en-US"/>
              <a:t>00M</a:t>
            </a:r>
          </a:p>
        </p:txBody>
      </p:sp>
      <p:sp>
        <p:nvSpPr>
          <p:cNvPr id="7" name="Text Placeholder 33">
            <a:extLst>
              <a:ext uri="{FF2B5EF4-FFF2-40B4-BE49-F238E27FC236}">
                <a16:creationId xmlns:a16="http://schemas.microsoft.com/office/drawing/2014/main" id="{53E29BA2-2A65-DCC1-F92B-B16E116F89B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969340" y="1981432"/>
            <a:ext cx="2851356" cy="1015663"/>
          </a:xfrm>
        </p:spPr>
        <p:txBody>
          <a:bodyPr anchor="ctr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3">
            <a:extLst>
              <a:ext uri="{FF2B5EF4-FFF2-40B4-BE49-F238E27FC236}">
                <a16:creationId xmlns:a16="http://schemas.microsoft.com/office/drawing/2014/main" id="{A7555289-4122-EEDC-87E0-6D6E5178ACE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969340" y="3435635"/>
            <a:ext cx="2851356" cy="1015663"/>
          </a:xfrm>
        </p:spPr>
        <p:txBody>
          <a:bodyPr anchor="ctr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87D57193-8B70-088C-7CED-0D5D6475DF3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2969340" y="4889838"/>
            <a:ext cx="2851356" cy="1015663"/>
          </a:xfrm>
        </p:spPr>
        <p:txBody>
          <a:bodyPr anchor="ctr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3">
            <a:extLst>
              <a:ext uri="{FF2B5EF4-FFF2-40B4-BE49-F238E27FC236}">
                <a16:creationId xmlns:a16="http://schemas.microsoft.com/office/drawing/2014/main" id="{1111471C-B4BB-C16C-20B6-9EABD7911DC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731044" y="1981432"/>
            <a:ext cx="2851356" cy="1015663"/>
          </a:xfrm>
        </p:spPr>
        <p:txBody>
          <a:bodyPr anchor="ctr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3">
            <a:extLst>
              <a:ext uri="{FF2B5EF4-FFF2-40B4-BE49-F238E27FC236}">
                <a16:creationId xmlns:a16="http://schemas.microsoft.com/office/drawing/2014/main" id="{DE19B41B-36A1-A98B-A96B-28E331CA83AE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8731044" y="3435635"/>
            <a:ext cx="2851356" cy="1015663"/>
          </a:xfrm>
        </p:spPr>
        <p:txBody>
          <a:bodyPr anchor="ctr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7201346C-7F24-9A74-C424-0A91E7C05AB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8731044" y="4889838"/>
            <a:ext cx="2851356" cy="1015663"/>
          </a:xfrm>
        </p:spPr>
        <p:txBody>
          <a:bodyPr anchor="ctr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Date Placeholder 4">
            <a:extLst>
              <a:ext uri="{FF2B5EF4-FFF2-40B4-BE49-F238E27FC236}">
                <a16:creationId xmlns:a16="http://schemas.microsoft.com/office/drawing/2014/main" id="{10DD0599-157A-2B10-FC25-8F782FE55986}"/>
              </a:ext>
            </a:extLst>
          </p:cNvPr>
          <p:cNvSpPr>
            <a:spLocks noGrp="1"/>
          </p:cNvSpPr>
          <p:nvPr>
            <p:ph type="dt" sz="half" idx="44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2701F099-C06A-4FA7-B2D7-8073F5E9C3B6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966CE636-D2E8-A795-F616-7764CB50FF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1579251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tatistic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985037-0DF6-C09A-FF7F-5A35AE79B3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8015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8FE771C-AF3B-746F-8A25-2C5C4A4812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" name="Text Placeholder 33">
            <a:extLst>
              <a:ext uri="{FF2B5EF4-FFF2-40B4-BE49-F238E27FC236}">
                <a16:creationId xmlns:a16="http://schemas.microsoft.com/office/drawing/2014/main" id="{7E25B57A-249F-302B-B85D-FA5ED6A06A1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9599" y="1981432"/>
            <a:ext cx="1995949" cy="1015663"/>
          </a:xfrm>
        </p:spPr>
        <p:txBody>
          <a:bodyPr lIns="0" rIns="0" anchor="ctr">
            <a:noAutofit/>
          </a:bodyPr>
          <a:lstStyle>
            <a:lvl1pPr>
              <a:defRPr lang="en-US" sz="6000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0M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81332B9F-1F08-F247-B712-9C3A3624ECE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9599" y="3435635"/>
            <a:ext cx="1995949" cy="1015663"/>
          </a:xfrm>
        </p:spPr>
        <p:txBody>
          <a:bodyPr lIns="0" rIns="0" anchor="ctr">
            <a:noAutofit/>
          </a:bodyPr>
          <a:lstStyle>
            <a:lvl1pPr>
              <a:defRPr lang="en-US" sz="6000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0M</a:t>
            </a:r>
          </a:p>
        </p:txBody>
      </p:sp>
      <p:sp>
        <p:nvSpPr>
          <p:cNvPr id="35" name="Text Placeholder 33">
            <a:extLst>
              <a:ext uri="{FF2B5EF4-FFF2-40B4-BE49-F238E27FC236}">
                <a16:creationId xmlns:a16="http://schemas.microsoft.com/office/drawing/2014/main" id="{7393CE72-B83F-00E3-F8CD-862380C62E5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599" y="4889838"/>
            <a:ext cx="1995949" cy="1015663"/>
          </a:xfrm>
        </p:spPr>
        <p:txBody>
          <a:bodyPr lIns="0" rIns="0" anchor="ctr">
            <a:noAutofit/>
          </a:bodyPr>
          <a:lstStyle>
            <a:lvl1pPr>
              <a:defRPr lang="en-US" sz="6000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0M</a:t>
            </a:r>
          </a:p>
        </p:txBody>
      </p:sp>
      <p:sp>
        <p:nvSpPr>
          <p:cNvPr id="41" name="Text Placeholder 33">
            <a:extLst>
              <a:ext uri="{FF2B5EF4-FFF2-40B4-BE49-F238E27FC236}">
                <a16:creationId xmlns:a16="http://schemas.microsoft.com/office/drawing/2014/main" id="{90333D83-CE3E-B927-4B86-D6DE7FF1E8D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371303" y="1981432"/>
            <a:ext cx="1995949" cy="1015663"/>
          </a:xfrm>
        </p:spPr>
        <p:txBody>
          <a:bodyPr lIns="0" rIns="0" anchor="ctr">
            <a:noAutofit/>
          </a:bodyPr>
          <a:lstStyle>
            <a:lvl1pPr>
              <a:defRPr lang="en-US" sz="6000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0M</a:t>
            </a:r>
          </a:p>
        </p:txBody>
      </p:sp>
      <p:sp>
        <p:nvSpPr>
          <p:cNvPr id="42" name="Text Placeholder 33">
            <a:extLst>
              <a:ext uri="{FF2B5EF4-FFF2-40B4-BE49-F238E27FC236}">
                <a16:creationId xmlns:a16="http://schemas.microsoft.com/office/drawing/2014/main" id="{431E9520-FD4B-C5E8-75B7-42F0A83BEE6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371303" y="3435635"/>
            <a:ext cx="1995949" cy="1015663"/>
          </a:xfrm>
        </p:spPr>
        <p:txBody>
          <a:bodyPr lIns="0" rIns="0" anchor="ctr">
            <a:noAutofit/>
          </a:bodyPr>
          <a:lstStyle>
            <a:lvl1pPr>
              <a:defRPr lang="en-US" sz="6000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0M</a:t>
            </a:r>
          </a:p>
        </p:txBody>
      </p:sp>
      <p:sp>
        <p:nvSpPr>
          <p:cNvPr id="43" name="Text Placeholder 33">
            <a:extLst>
              <a:ext uri="{FF2B5EF4-FFF2-40B4-BE49-F238E27FC236}">
                <a16:creationId xmlns:a16="http://schemas.microsoft.com/office/drawing/2014/main" id="{13A258BC-65F7-7E99-1C10-1F7A78D89A4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371303" y="4889838"/>
            <a:ext cx="1995949" cy="1015663"/>
          </a:xfrm>
        </p:spPr>
        <p:txBody>
          <a:bodyPr lIns="0" rIns="0" anchor="ctr">
            <a:noAutofit/>
          </a:bodyPr>
          <a:lstStyle>
            <a:lvl1pPr>
              <a:defRPr lang="en-US" sz="6000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0M</a:t>
            </a:r>
          </a:p>
        </p:txBody>
      </p:sp>
      <p:sp>
        <p:nvSpPr>
          <p:cNvPr id="7" name="Text Placeholder 33">
            <a:extLst>
              <a:ext uri="{FF2B5EF4-FFF2-40B4-BE49-F238E27FC236}">
                <a16:creationId xmlns:a16="http://schemas.microsoft.com/office/drawing/2014/main" id="{53E29BA2-2A65-DCC1-F92B-B16E116F89B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969340" y="1981432"/>
            <a:ext cx="2851356" cy="1015663"/>
          </a:xfrm>
        </p:spPr>
        <p:txBody>
          <a:bodyPr anchor="ctr"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3">
            <a:extLst>
              <a:ext uri="{FF2B5EF4-FFF2-40B4-BE49-F238E27FC236}">
                <a16:creationId xmlns:a16="http://schemas.microsoft.com/office/drawing/2014/main" id="{A7555289-4122-EEDC-87E0-6D6E5178ACE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969340" y="3435635"/>
            <a:ext cx="2851356" cy="1015663"/>
          </a:xfrm>
        </p:spPr>
        <p:txBody>
          <a:bodyPr anchor="ctr"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87D57193-8B70-088C-7CED-0D5D6475DF3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2969340" y="4889838"/>
            <a:ext cx="2851356" cy="1015663"/>
          </a:xfrm>
        </p:spPr>
        <p:txBody>
          <a:bodyPr anchor="ctr"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3">
            <a:extLst>
              <a:ext uri="{FF2B5EF4-FFF2-40B4-BE49-F238E27FC236}">
                <a16:creationId xmlns:a16="http://schemas.microsoft.com/office/drawing/2014/main" id="{1111471C-B4BB-C16C-20B6-9EABD7911DC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731044" y="1981432"/>
            <a:ext cx="2851356" cy="1015663"/>
          </a:xfrm>
        </p:spPr>
        <p:txBody>
          <a:bodyPr anchor="ctr"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3">
            <a:extLst>
              <a:ext uri="{FF2B5EF4-FFF2-40B4-BE49-F238E27FC236}">
                <a16:creationId xmlns:a16="http://schemas.microsoft.com/office/drawing/2014/main" id="{DE19B41B-36A1-A98B-A96B-28E331CA83AE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8731044" y="3435635"/>
            <a:ext cx="2851356" cy="1015663"/>
          </a:xfrm>
        </p:spPr>
        <p:txBody>
          <a:bodyPr anchor="ctr"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7201346C-7F24-9A74-C424-0A91E7C05AB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8731044" y="4889838"/>
            <a:ext cx="2851356" cy="1015663"/>
          </a:xfrm>
        </p:spPr>
        <p:txBody>
          <a:bodyPr anchor="ctr"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CA5FE8D1-CE4A-70FF-38C5-921E263BAFD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3802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6" name="Date Placeholder 12">
            <a:extLst>
              <a:ext uri="{FF2B5EF4-FFF2-40B4-BE49-F238E27FC236}">
                <a16:creationId xmlns:a16="http://schemas.microsoft.com/office/drawing/2014/main" id="{9F001AA3-E8A3-08B5-EBAC-5BC79F1A0EF2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236555" y="13802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B7FCE19A-6763-449F-932A-B690384CB417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10" name="Footer Placeholder 13">
            <a:extLst>
              <a:ext uri="{FF2B5EF4-FFF2-40B4-BE49-F238E27FC236}">
                <a16:creationId xmlns:a16="http://schemas.microsoft.com/office/drawing/2014/main" id="{1CBB0353-FBF5-B1E3-D1C1-03E34A43B192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609600" y="656608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20" name="Slide Number Placeholder 14">
            <a:extLst>
              <a:ext uri="{FF2B5EF4-FFF2-40B4-BE49-F238E27FC236}">
                <a16:creationId xmlns:a16="http://schemas.microsoft.com/office/drawing/2014/main" id="{B51E7EAE-68E6-4D4C-35F1-39A661AF655D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248008" y="656608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668416C8-DA1C-C6E9-68D4-3F01F4C55B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03876" y="88565"/>
            <a:ext cx="995110" cy="252812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FADCDA6-711B-3677-A59A-4F39CDDCE639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38B03EF-DCA7-985D-D7DF-092FA5C3E989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BD26ABCD-AA8B-0812-FC27-ECCA4F55A68D}"/>
              </a:ext>
            </a:extLst>
          </p:cNvPr>
          <p:cNvCxnSpPr>
            <a:cxnSpLocks/>
          </p:cNvCxnSpPr>
          <p:nvPr userDrawn="1"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780444BC-6040-AD50-C04B-A7CF5F19A28D}"/>
              </a:ext>
            </a:extLst>
          </p:cNvPr>
          <p:cNvCxnSpPr>
            <a:cxnSpLocks/>
          </p:cNvCxnSpPr>
          <p:nvPr userDrawn="1"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757133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644F2F-8058-0037-6983-DD53BBDAE6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E6CDED-3690-C823-89B5-50C27CBFD3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985037-0DF6-C09A-FF7F-5A35AE79B3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8015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8FE771C-AF3B-746F-8A25-2C5C4A4812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3">
            <a:extLst>
              <a:ext uri="{FF2B5EF4-FFF2-40B4-BE49-F238E27FC236}">
                <a16:creationId xmlns:a16="http://schemas.microsoft.com/office/drawing/2014/main" id="{A3FF7FE9-7C3E-9E3F-5E98-C14306A5E66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9600" y="4007068"/>
            <a:ext cx="2019300" cy="1477407"/>
          </a:xfrm>
        </p:spPr>
        <p:txBody>
          <a:bodyPr anchor="t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33">
            <a:extLst>
              <a:ext uri="{FF2B5EF4-FFF2-40B4-BE49-F238E27FC236}">
                <a16:creationId xmlns:a16="http://schemas.microsoft.com/office/drawing/2014/main" id="{7040573E-FA4E-F880-7253-8F615D3A556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847975" y="4007068"/>
            <a:ext cx="2019300" cy="1477407"/>
          </a:xfrm>
        </p:spPr>
        <p:txBody>
          <a:bodyPr anchor="t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33">
            <a:extLst>
              <a:ext uri="{FF2B5EF4-FFF2-40B4-BE49-F238E27FC236}">
                <a16:creationId xmlns:a16="http://schemas.microsoft.com/office/drawing/2014/main" id="{FC9FDCE9-3F2A-8273-3A90-940BD2FB45C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086350" y="4007068"/>
            <a:ext cx="2019300" cy="1477407"/>
          </a:xfrm>
        </p:spPr>
        <p:txBody>
          <a:bodyPr anchor="t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C73D29D7-D2B7-C2E6-E294-7211B43A0E0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324725" y="4007068"/>
            <a:ext cx="2019300" cy="1477407"/>
          </a:xfrm>
        </p:spPr>
        <p:txBody>
          <a:bodyPr anchor="t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9E8DB932-E00E-7098-CC9F-DB7146FCD55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563100" y="4007068"/>
            <a:ext cx="2019300" cy="1477407"/>
          </a:xfrm>
        </p:spPr>
        <p:txBody>
          <a:bodyPr anchor="t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33">
            <a:extLst>
              <a:ext uri="{FF2B5EF4-FFF2-40B4-BE49-F238E27FC236}">
                <a16:creationId xmlns:a16="http://schemas.microsoft.com/office/drawing/2014/main" id="{029791F1-18D9-6ADC-173D-2DB273FF26B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09600" y="2461210"/>
            <a:ext cx="812799" cy="430887"/>
          </a:xfrm>
        </p:spPr>
        <p:txBody>
          <a:bodyPr lIns="0" anchor="ctr">
            <a:noAutofit/>
          </a:bodyPr>
          <a:lstStyle>
            <a:lvl1pPr>
              <a:defRPr lang="en-US" sz="2400" dirty="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6" name="Text Placeholder 33">
            <a:extLst>
              <a:ext uri="{FF2B5EF4-FFF2-40B4-BE49-F238E27FC236}">
                <a16:creationId xmlns:a16="http://schemas.microsoft.com/office/drawing/2014/main" id="{E648E2D6-1714-3A97-3AFB-36501C0AE41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847975" y="2461210"/>
            <a:ext cx="812799" cy="430887"/>
          </a:xfrm>
        </p:spPr>
        <p:txBody>
          <a:bodyPr lIns="0" anchor="ctr">
            <a:noAutofit/>
          </a:bodyPr>
          <a:lstStyle>
            <a:lvl1pPr>
              <a:defRPr lang="en-US" sz="2400" dirty="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1" name="Text Placeholder 33">
            <a:extLst>
              <a:ext uri="{FF2B5EF4-FFF2-40B4-BE49-F238E27FC236}">
                <a16:creationId xmlns:a16="http://schemas.microsoft.com/office/drawing/2014/main" id="{7796FB6B-A7D4-62B6-13B5-27FC13C31C6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086350" y="2461210"/>
            <a:ext cx="812799" cy="430887"/>
          </a:xfrm>
        </p:spPr>
        <p:txBody>
          <a:bodyPr lIns="0" anchor="ctr">
            <a:noAutofit/>
          </a:bodyPr>
          <a:lstStyle>
            <a:lvl1pPr>
              <a:defRPr lang="en-US" sz="2400" dirty="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33">
            <a:extLst>
              <a:ext uri="{FF2B5EF4-FFF2-40B4-BE49-F238E27FC236}">
                <a16:creationId xmlns:a16="http://schemas.microsoft.com/office/drawing/2014/main" id="{7C8A7C98-FB2F-39E1-5A63-E3CE3009615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324725" y="2461210"/>
            <a:ext cx="812799" cy="430887"/>
          </a:xfrm>
        </p:spPr>
        <p:txBody>
          <a:bodyPr lIns="0" anchor="ctr">
            <a:noAutofit/>
          </a:bodyPr>
          <a:lstStyle>
            <a:lvl1pPr>
              <a:defRPr lang="en-US" sz="2400" dirty="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33">
            <a:extLst>
              <a:ext uri="{FF2B5EF4-FFF2-40B4-BE49-F238E27FC236}">
                <a16:creationId xmlns:a16="http://schemas.microsoft.com/office/drawing/2014/main" id="{377A0E12-8209-F77D-D443-47B6CC416C9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563100" y="2461210"/>
            <a:ext cx="812799" cy="430887"/>
          </a:xfrm>
        </p:spPr>
        <p:txBody>
          <a:bodyPr lIns="0" anchor="ctr">
            <a:noAutofit/>
          </a:bodyPr>
          <a:lstStyle>
            <a:lvl1pPr>
              <a:defRPr lang="en-US" sz="2400" dirty="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11028E06-0590-49EE-428F-4F698DA8C098}"/>
              </a:ext>
            </a:extLst>
          </p:cNvPr>
          <p:cNvSpPr>
            <a:spLocks noGrp="1"/>
          </p:cNvSpPr>
          <p:nvPr>
            <p:ph type="dt" sz="half" idx="44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7E188797-EBD3-44EC-B195-8F88FB48BCB0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2370188-3E8A-4A8B-B64A-337B723DF3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24" name="Picture Placeholder 44">
            <a:extLst>
              <a:ext uri="{FF2B5EF4-FFF2-40B4-BE49-F238E27FC236}">
                <a16:creationId xmlns:a16="http://schemas.microsoft.com/office/drawing/2014/main" id="{D0A1BF89-346C-EEBA-9A68-27A8CAD66F79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98967" y="3353587"/>
            <a:ext cx="475488" cy="47548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o add picture</a:t>
            </a:r>
          </a:p>
        </p:txBody>
      </p:sp>
      <p:sp>
        <p:nvSpPr>
          <p:cNvPr id="25" name="Picture Placeholder 44">
            <a:extLst>
              <a:ext uri="{FF2B5EF4-FFF2-40B4-BE49-F238E27FC236}">
                <a16:creationId xmlns:a16="http://schemas.microsoft.com/office/drawing/2014/main" id="{FE4CEB3D-C869-490C-EFE4-65AB3D7F0E10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853067" y="3353587"/>
            <a:ext cx="475488" cy="47548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6" name="Picture Placeholder 44">
            <a:extLst>
              <a:ext uri="{FF2B5EF4-FFF2-40B4-BE49-F238E27FC236}">
                <a16:creationId xmlns:a16="http://schemas.microsoft.com/office/drawing/2014/main" id="{FECB9004-6F8E-2D42-833B-F1BDC8A2FA33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5085892" y="3353587"/>
            <a:ext cx="475488" cy="47548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Picture Placeholder 44">
            <a:extLst>
              <a:ext uri="{FF2B5EF4-FFF2-40B4-BE49-F238E27FC236}">
                <a16:creationId xmlns:a16="http://schemas.microsoft.com/office/drawing/2014/main" id="{CFDE9957-DCA0-56F8-F7F3-DDD5207EF344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7308087" y="3353587"/>
            <a:ext cx="475488" cy="47548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Picture Placeholder 44">
            <a:extLst>
              <a:ext uri="{FF2B5EF4-FFF2-40B4-BE49-F238E27FC236}">
                <a16:creationId xmlns:a16="http://schemas.microsoft.com/office/drawing/2014/main" id="{77BFB51C-3B11-D42A-30D2-2F1372EA298F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583454" y="3353587"/>
            <a:ext cx="475488" cy="47548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3399772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drant Charts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644F2F-8058-0037-6983-DD53BBDAE6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E6CDED-3690-C823-89B5-50C27CBFD3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985037-0DF6-C09A-FF7F-5A35AE79B3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8015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8FE771C-AF3B-746F-8A25-2C5C4A4812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Chart Placeholder 2">
            <a:extLst>
              <a:ext uri="{FF2B5EF4-FFF2-40B4-BE49-F238E27FC236}">
                <a16:creationId xmlns:a16="http://schemas.microsoft.com/office/drawing/2014/main" id="{0DFBDD93-FDE3-C5C5-3401-38180D1BD0DD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6172200" y="1898650"/>
            <a:ext cx="5410200" cy="1924050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7" name="Chart Placeholder 2">
            <a:extLst>
              <a:ext uri="{FF2B5EF4-FFF2-40B4-BE49-F238E27FC236}">
                <a16:creationId xmlns:a16="http://schemas.microsoft.com/office/drawing/2014/main" id="{7280B777-A22D-280B-3187-F8EABE1B0879}"/>
              </a:ext>
            </a:extLst>
          </p:cNvPr>
          <p:cNvSpPr>
            <a:spLocks noGrp="1"/>
          </p:cNvSpPr>
          <p:nvPr>
            <p:ph type="chart" sz="quarter" idx="32"/>
          </p:nvPr>
        </p:nvSpPr>
        <p:spPr>
          <a:xfrm>
            <a:off x="6172200" y="3972609"/>
            <a:ext cx="5410200" cy="1924050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4" name="Chart Placeholder 2">
            <a:extLst>
              <a:ext uri="{FF2B5EF4-FFF2-40B4-BE49-F238E27FC236}">
                <a16:creationId xmlns:a16="http://schemas.microsoft.com/office/drawing/2014/main" id="{2C11B0B6-19E8-0F46-62A9-191A5728893D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609600" y="1898650"/>
            <a:ext cx="5410200" cy="1924050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5" name="Chart Placeholder 2">
            <a:extLst>
              <a:ext uri="{FF2B5EF4-FFF2-40B4-BE49-F238E27FC236}">
                <a16:creationId xmlns:a16="http://schemas.microsoft.com/office/drawing/2014/main" id="{6AA788D3-78E3-DC72-05D2-6C3AE0CB3374}"/>
              </a:ext>
            </a:extLst>
          </p:cNvPr>
          <p:cNvSpPr>
            <a:spLocks noGrp="1"/>
          </p:cNvSpPr>
          <p:nvPr>
            <p:ph type="chart" sz="quarter" idx="34"/>
          </p:nvPr>
        </p:nvSpPr>
        <p:spPr>
          <a:xfrm>
            <a:off x="609600" y="3972609"/>
            <a:ext cx="5410200" cy="1924050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25371273-63D4-ADA3-419B-F6E1D0936929}"/>
              </a:ext>
            </a:extLst>
          </p:cNvPr>
          <p:cNvSpPr>
            <a:spLocks noGrp="1"/>
          </p:cNvSpPr>
          <p:nvPr>
            <p:ph type="dt" sz="half" idx="44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96DFA3E3-A7BE-4477-834B-06DC1C0BB938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0BE35F7-12FC-E8A7-DEBE-1ECEB88FD8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1801210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Slide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644F2F-8058-0037-6983-DD53BBDAE6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E6CDED-3690-C823-89B5-50C27CBFD3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985037-0DF6-C09A-FF7F-5A35AE79B3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8015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8FE771C-AF3B-746F-8A25-2C5C4A4812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able Placeholder 10">
            <a:extLst>
              <a:ext uri="{FF2B5EF4-FFF2-40B4-BE49-F238E27FC236}">
                <a16:creationId xmlns:a16="http://schemas.microsoft.com/office/drawing/2014/main" id="{40D724CC-2F7D-C8B4-1533-9B5820DA74FD}"/>
              </a:ext>
            </a:extLst>
          </p:cNvPr>
          <p:cNvSpPr>
            <a:spLocks noGrp="1"/>
          </p:cNvSpPr>
          <p:nvPr>
            <p:ph type="tbl" sz="quarter" idx="35"/>
          </p:nvPr>
        </p:nvSpPr>
        <p:spPr>
          <a:xfrm>
            <a:off x="609600" y="1898650"/>
            <a:ext cx="10972800" cy="400685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2" name="Date Placeholder 4">
            <a:extLst>
              <a:ext uri="{FF2B5EF4-FFF2-40B4-BE49-F238E27FC236}">
                <a16:creationId xmlns:a16="http://schemas.microsoft.com/office/drawing/2014/main" id="{18D02B29-16EA-4C5A-95FD-C3FE8CDDCD53}"/>
              </a:ext>
            </a:extLst>
          </p:cNvPr>
          <p:cNvSpPr>
            <a:spLocks noGrp="1"/>
          </p:cNvSpPr>
          <p:nvPr>
            <p:ph type="dt" sz="half" idx="44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E022535A-5A5D-499B-AEA0-D8D0837D5420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ED771DD-A8E7-36F6-47C3-66B79E0249F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</p:spTree>
    <p:extLst>
      <p:ext uri="{BB962C8B-B14F-4D97-AF65-F5344CB8AC3E}">
        <p14:creationId xmlns:p14="http://schemas.microsoft.com/office/powerpoint/2010/main" val="56952388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-column + Image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09D163-6DF6-9BE0-6173-D594B244B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5854700" cy="61555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2" name="Text Placeholder 37">
            <a:extLst>
              <a:ext uri="{FF2B5EF4-FFF2-40B4-BE49-F238E27FC236}">
                <a16:creationId xmlns:a16="http://schemas.microsoft.com/office/drawing/2014/main" id="{F4AE42DD-CBC4-0669-9A85-81A01695BC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1" y="2196559"/>
            <a:ext cx="5854700" cy="1389888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CFB9608-E818-D2BF-8BF7-6E839B8050D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C85335B-FAF2-9208-41C9-63068D2F64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E63F9C31-8332-AB06-3853-4F9BFCA2654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019924" y="0"/>
            <a:ext cx="5172076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 b="0"/>
            </a:lvl1pPr>
          </a:lstStyle>
          <a:p>
            <a:r>
              <a:rPr lang="en-US"/>
              <a:t>Insert Photo</a:t>
            </a:r>
          </a:p>
        </p:txBody>
      </p:sp>
    </p:spTree>
    <p:extLst>
      <p:ext uri="{BB962C8B-B14F-4D97-AF65-F5344CB8AC3E}">
        <p14:creationId xmlns:p14="http://schemas.microsoft.com/office/powerpoint/2010/main" val="189048999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Slide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2F6F618-CF2E-13EA-0DF7-5CBE80F733F0}"/>
              </a:ext>
            </a:extLst>
          </p:cNvPr>
          <p:cNvSpPr/>
          <p:nvPr/>
        </p:nvSpPr>
        <p:spPr>
          <a:xfrm>
            <a:off x="0" y="0"/>
            <a:ext cx="406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556BBD-E905-984B-4075-604E21C91A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030476"/>
            <a:ext cx="2844800" cy="557588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Contact U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1F2AC4-4CDC-2C50-1F85-6A0BB78D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04057"/>
            <a:ext cx="334392" cy="153888"/>
          </a:xfrm>
          <a:prstGeom prst="rect">
            <a:avLst/>
          </a:prstGeom>
        </p:spPr>
        <p:txBody>
          <a:bodyPr/>
          <a:lstStyle>
            <a:lvl1pPr marL="0" algn="r" defTabSz="914400" rtl="0" eaLnBrk="1" latinLnBrk="0" hangingPunct="1">
              <a:lnSpc>
                <a:spcPct val="100000"/>
              </a:lnSpc>
              <a:defRPr lang="en-US" sz="10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13">
            <a:extLst>
              <a:ext uri="{FF2B5EF4-FFF2-40B4-BE49-F238E27FC236}">
                <a16:creationId xmlns:a16="http://schemas.microsoft.com/office/drawing/2014/main" id="{921022F6-082E-070C-4DB3-B094BAC8F06A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609600" y="6566085"/>
            <a:ext cx="284378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4F8EC44-A14B-04DD-722C-DF999D485AB7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4064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79AEE561-F1DF-C182-2D00-A201CFF5B50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38027"/>
            <a:ext cx="2843782" cy="153888"/>
          </a:xfrm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4E7B4B7-4D67-15CD-FAE2-B9C5F23DD6EA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41656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Graphic 27">
            <a:extLst>
              <a:ext uri="{FF2B5EF4-FFF2-40B4-BE49-F238E27FC236}">
                <a16:creationId xmlns:a16="http://schemas.microsoft.com/office/drawing/2014/main" id="{3206FDDC-B4E4-B862-C400-9BE84AC048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0038" y="4434699"/>
            <a:ext cx="255772" cy="255772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D21F0717-32ED-EB7B-05F5-B8C9E6E6E66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600" y="5244372"/>
            <a:ext cx="256648" cy="256648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BBAB294A-E131-F955-1109-D240A2C9C3F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9955" y="4836476"/>
            <a:ext cx="255938" cy="255938"/>
          </a:xfrm>
          <a:prstGeom prst="rect">
            <a:avLst/>
          </a:prstGeom>
        </p:spPr>
      </p:pic>
      <p:sp>
        <p:nvSpPr>
          <p:cNvPr id="32" name="Freeform 43">
            <a:extLst>
              <a:ext uri="{FF2B5EF4-FFF2-40B4-BE49-F238E27FC236}">
                <a16:creationId xmlns:a16="http://schemas.microsoft.com/office/drawing/2014/main" id="{6127DE7E-C870-F0DF-B8E2-9EDEABB6E149}"/>
              </a:ext>
            </a:extLst>
          </p:cNvPr>
          <p:cNvSpPr/>
          <p:nvPr/>
        </p:nvSpPr>
        <p:spPr>
          <a:xfrm>
            <a:off x="612731" y="5655112"/>
            <a:ext cx="250388" cy="250388"/>
          </a:xfrm>
          <a:custGeom>
            <a:avLst/>
            <a:gdLst>
              <a:gd name="connsiteX0" fmla="*/ 225288 w 450576"/>
              <a:gd name="connsiteY0" fmla="*/ 0 h 450576"/>
              <a:gd name="connsiteX1" fmla="*/ 0 w 450576"/>
              <a:gd name="connsiteY1" fmla="*/ 225288 h 450576"/>
              <a:gd name="connsiteX2" fmla="*/ 225288 w 450576"/>
              <a:gd name="connsiteY2" fmla="*/ 450576 h 450576"/>
              <a:gd name="connsiteX3" fmla="*/ 450576 w 450576"/>
              <a:gd name="connsiteY3" fmla="*/ 225288 h 450576"/>
              <a:gd name="connsiteX4" fmla="*/ 225288 w 450576"/>
              <a:gd name="connsiteY4" fmla="*/ 0 h 450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0576" h="450576">
                <a:moveTo>
                  <a:pt x="225288" y="0"/>
                </a:moveTo>
                <a:cubicBezTo>
                  <a:pt x="100869" y="0"/>
                  <a:pt x="0" y="100869"/>
                  <a:pt x="0" y="225288"/>
                </a:cubicBezTo>
                <a:cubicBezTo>
                  <a:pt x="0" y="349707"/>
                  <a:pt x="100869" y="450576"/>
                  <a:pt x="225288" y="450576"/>
                </a:cubicBezTo>
                <a:cubicBezTo>
                  <a:pt x="349707" y="450576"/>
                  <a:pt x="450576" y="349707"/>
                  <a:pt x="450576" y="225288"/>
                </a:cubicBezTo>
                <a:cubicBezTo>
                  <a:pt x="450576" y="100869"/>
                  <a:pt x="349707" y="0"/>
                  <a:pt x="225288" y="0"/>
                </a:cubicBezTo>
                <a:close/>
              </a:path>
            </a:pathLst>
          </a:custGeom>
          <a:solidFill>
            <a:schemeClr val="accent2"/>
          </a:solidFill>
          <a:ln w="365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chemeClr val="bg1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E616624-F30E-25E7-BBCE-E9478B045916}"/>
              </a:ext>
            </a:extLst>
          </p:cNvPr>
          <p:cNvCxnSpPr>
            <a:cxnSpLocks/>
          </p:cNvCxnSpPr>
          <p:nvPr userDrawn="1"/>
        </p:nvCxnSpPr>
        <p:spPr>
          <a:xfrm>
            <a:off x="0" y="6431003"/>
            <a:ext cx="4064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B804AFB-D8C9-4FCF-8CBC-A80B114B9A68}"/>
              </a:ext>
            </a:extLst>
          </p:cNvPr>
          <p:cNvCxnSpPr>
            <a:cxnSpLocks/>
          </p:cNvCxnSpPr>
          <p:nvPr userDrawn="1"/>
        </p:nvCxnSpPr>
        <p:spPr>
          <a:xfrm>
            <a:off x="0" y="426998"/>
            <a:ext cx="41656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CA1DA7B2-7934-1637-79DE-26D4B8B0A234}"/>
              </a:ext>
            </a:extLst>
          </p:cNvPr>
          <p:cNvGrpSpPr/>
          <p:nvPr userDrawn="1"/>
        </p:nvGrpSpPr>
        <p:grpSpPr>
          <a:xfrm>
            <a:off x="609601" y="1921054"/>
            <a:ext cx="2843783" cy="254588"/>
            <a:chOff x="609601" y="3820887"/>
            <a:chExt cx="4876798" cy="0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22617C65-3034-A252-8D5D-4D880171BE4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9601" y="3820887"/>
              <a:ext cx="4876798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F463F618-8C33-3A96-D317-D5BC7F24CB54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1274547" y="3155941"/>
              <a:ext cx="0" cy="1329892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858712D1-1827-7705-6D36-46E29414ECF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599" y="2274130"/>
            <a:ext cx="2843785" cy="1227104"/>
          </a:xfrm>
          <a:noFill/>
        </p:spPr>
        <p:txBody>
          <a:bodyPr wrap="square" lIns="0" anchor="t">
            <a:noAutofit/>
          </a:bodyPr>
          <a:lstStyle>
            <a:lvl1pPr>
              <a:defRPr lang="en-US" sz="18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3" name="Picture 22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DFBAD531-1DE5-2FEF-5FE0-87AF88C485D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677" y="5685779"/>
            <a:ext cx="174441" cy="174441"/>
          </a:xfrm>
          <a:prstGeom prst="rect">
            <a:avLst/>
          </a:prstGeom>
        </p:spPr>
      </p:pic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3BDC7183-C322-7F39-32D6-7D94F281050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73495" y="4496375"/>
            <a:ext cx="2641598" cy="249603"/>
          </a:xfrm>
        </p:spPr>
        <p:txBody>
          <a:bodyPr>
            <a:noAutofit/>
          </a:bodyPr>
          <a:lstStyle>
            <a:lvl1pPr>
              <a:defRPr sz="1000" u="sng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@Guidehouse.com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DA457577-EF3C-20D8-129A-576EBE386A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73495" y="4885046"/>
            <a:ext cx="2641598" cy="249603"/>
          </a:xfrm>
        </p:spPr>
        <p:txBody>
          <a:bodyPr>
            <a:noAutofit/>
          </a:bodyPr>
          <a:lstStyle>
            <a:lvl1pPr>
              <a:defRPr sz="1000" u="sng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eb Address</a:t>
            </a:r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C57DEAE3-AE01-CA08-315B-36CADEA309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73495" y="5302491"/>
            <a:ext cx="2641598" cy="249603"/>
          </a:xfrm>
        </p:spPr>
        <p:txBody>
          <a:bodyPr>
            <a:noAutofit/>
          </a:bodyPr>
          <a:lstStyle>
            <a:lvl1pPr>
              <a:defRPr sz="1000" u="sng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inkedIn Page</a:t>
            </a: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1D4A47DE-32B1-7824-7BFD-27892B192A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73495" y="5707274"/>
            <a:ext cx="2641598" cy="249603"/>
          </a:xfrm>
        </p:spPr>
        <p:txBody>
          <a:bodyPr>
            <a:noAutofit/>
          </a:bodyPr>
          <a:lstStyle>
            <a:lvl1pPr>
              <a:defRPr sz="1000" u="sng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Guidehouse YouTube</a:t>
            </a:r>
          </a:p>
        </p:txBody>
      </p:sp>
      <p:sp>
        <p:nvSpPr>
          <p:cNvPr id="42" name="Picture Placeholder 11">
            <a:extLst>
              <a:ext uri="{FF2B5EF4-FFF2-40B4-BE49-F238E27FC236}">
                <a16:creationId xmlns:a16="http://schemas.microsoft.com/office/drawing/2014/main" id="{1FF9DD26-55C4-2B04-094D-64B96B73C56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062982" y="0"/>
            <a:ext cx="8129017" cy="6858000"/>
          </a:xfr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0" b="0"/>
            </a:lvl1pPr>
          </a:lstStyle>
          <a:p>
            <a:pPr lvl="0" algn="ctr"/>
            <a:r>
              <a:rPr lang="en-US"/>
              <a:t>Insert Photo</a:t>
            </a:r>
          </a:p>
        </p:txBody>
      </p:sp>
    </p:spTree>
    <p:extLst>
      <p:ext uri="{BB962C8B-B14F-4D97-AF65-F5344CB8AC3E}">
        <p14:creationId xmlns:p14="http://schemas.microsoft.com/office/powerpoint/2010/main" val="250685590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Slide 2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DFC4F1AD-EC45-7E34-BADB-AAF710BD4B93}"/>
              </a:ext>
            </a:extLst>
          </p:cNvPr>
          <p:cNvSpPr/>
          <p:nvPr/>
        </p:nvSpPr>
        <p:spPr>
          <a:xfrm>
            <a:off x="0" y="-1"/>
            <a:ext cx="4063995" cy="685799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243C5BA8-7179-8270-C9BB-2F55B7B00C0F}"/>
              </a:ext>
            </a:extLst>
          </p:cNvPr>
          <p:cNvSpPr/>
          <p:nvPr/>
        </p:nvSpPr>
        <p:spPr>
          <a:xfrm>
            <a:off x="627177" y="5265507"/>
            <a:ext cx="221494" cy="22149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809E94E-2FFC-A969-42EF-4BAE752C498A}"/>
              </a:ext>
            </a:extLst>
          </p:cNvPr>
          <p:cNvSpPr/>
          <p:nvPr/>
        </p:nvSpPr>
        <p:spPr>
          <a:xfrm>
            <a:off x="627177" y="4860694"/>
            <a:ext cx="221494" cy="22149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A80DCDB-CF74-D037-968C-C968F2A24000}"/>
              </a:ext>
            </a:extLst>
          </p:cNvPr>
          <p:cNvSpPr/>
          <p:nvPr/>
        </p:nvSpPr>
        <p:spPr>
          <a:xfrm>
            <a:off x="627177" y="4451119"/>
            <a:ext cx="221494" cy="22149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556BBD-E905-984B-4075-604E21C91A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023088"/>
            <a:ext cx="2844800" cy="557589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ontact U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4AE3EC1-342D-FB6B-FDAF-2F58C6189DDB}"/>
              </a:ext>
            </a:extLst>
          </p:cNvPr>
          <p:cNvGrpSpPr/>
          <p:nvPr/>
        </p:nvGrpSpPr>
        <p:grpSpPr>
          <a:xfrm>
            <a:off x="609601" y="1921054"/>
            <a:ext cx="2843783" cy="254588"/>
            <a:chOff x="609601" y="3820887"/>
            <a:chExt cx="4876798" cy="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B3C93084-9653-E1AF-4113-3BB3C129DF9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9601" y="3820887"/>
              <a:ext cx="4876798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6CA2CD75-5FAC-A4AE-07DB-DE9C3B9D3512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1274547" y="3155941"/>
              <a:ext cx="0" cy="1329892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ext Placeholder 33">
            <a:extLst>
              <a:ext uri="{FF2B5EF4-FFF2-40B4-BE49-F238E27FC236}">
                <a16:creationId xmlns:a16="http://schemas.microsoft.com/office/drawing/2014/main" id="{1E8F9C8A-8AC9-0DE6-19FE-EAB935A283E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599" y="2274130"/>
            <a:ext cx="2843785" cy="1227104"/>
          </a:xfrm>
          <a:noFill/>
        </p:spPr>
        <p:txBody>
          <a:bodyPr wrap="square" lIns="0" anchor="t">
            <a:noAutofit/>
          </a:bodyPr>
          <a:lstStyle>
            <a:lvl1pPr>
              <a:defRPr lang="en-US" sz="180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B3C5C9F-C92E-B834-72C9-77EC61FB67B0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40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5A54784-CAED-1766-179C-AC6CC1A23556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40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03F72ED-D877-6AA8-3532-0EEF5C67794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9600" y="136647"/>
            <a:ext cx="2843782" cy="153888"/>
          </a:xfrm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4DF17159-DFB7-30F8-507F-ABDD81012B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284378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20" name="Date Placeholder 12">
            <a:extLst>
              <a:ext uri="{FF2B5EF4-FFF2-40B4-BE49-F238E27FC236}">
                <a16:creationId xmlns:a16="http://schemas.microsoft.com/office/drawing/2014/main" id="{219FF7E9-1687-B3C1-8EFB-348AC1E3D542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236555" y="138027"/>
            <a:ext cx="1345845" cy="153888"/>
          </a:xfr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5AFAB103-A3CA-4344-B6C7-19F361844E18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21" name="Slide Number Placeholder 14">
            <a:extLst>
              <a:ext uri="{FF2B5EF4-FFF2-40B4-BE49-F238E27FC236}">
                <a16:creationId xmlns:a16="http://schemas.microsoft.com/office/drawing/2014/main" id="{CEA6CC5D-E02E-1C35-AC63-68030821FC77}"/>
              </a:ext>
            </a:extLst>
          </p:cNvPr>
          <p:cNvSpPr txBox="1">
            <a:spLocks/>
          </p:cNvSpPr>
          <p:nvPr/>
        </p:nvSpPr>
        <p:spPr>
          <a:xfrm>
            <a:off x="11248008" y="6566085"/>
            <a:ext cx="334392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lnSpc>
                <a:spcPct val="100000"/>
              </a:lnSpc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Picture Placeholder 11">
            <a:extLst>
              <a:ext uri="{FF2B5EF4-FFF2-40B4-BE49-F238E27FC236}">
                <a16:creationId xmlns:a16="http://schemas.microsoft.com/office/drawing/2014/main" id="{A10A5E3D-27CE-9262-4C32-FE8CE26713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062982" y="0"/>
            <a:ext cx="8129017" cy="6858000"/>
          </a:xfr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0" b="0" dirty="0"/>
            </a:lvl1pPr>
          </a:lstStyle>
          <a:p>
            <a:pPr lvl="0" algn="ctr"/>
            <a:r>
              <a:rPr lang="en-US"/>
              <a:t>Insert Photo</a:t>
            </a: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3DFB2677-8D81-4667-DC9C-5569D06C79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0038" y="4434699"/>
            <a:ext cx="255772" cy="255772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FE926014-B7E9-F267-91D1-9F25679AF6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600" y="5247930"/>
            <a:ext cx="256648" cy="256648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B6DD699B-36A2-9182-CFE9-0D306C832B5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9955" y="4841212"/>
            <a:ext cx="255938" cy="255938"/>
          </a:xfrm>
          <a:prstGeom prst="rect">
            <a:avLst/>
          </a:prstGeom>
        </p:spPr>
      </p:pic>
      <p:sp>
        <p:nvSpPr>
          <p:cNvPr id="27" name="Freeform 43">
            <a:extLst>
              <a:ext uri="{FF2B5EF4-FFF2-40B4-BE49-F238E27FC236}">
                <a16:creationId xmlns:a16="http://schemas.microsoft.com/office/drawing/2014/main" id="{D80268B0-17B8-1E47-DE57-CA0612B25B42}"/>
              </a:ext>
            </a:extLst>
          </p:cNvPr>
          <p:cNvSpPr/>
          <p:nvPr/>
        </p:nvSpPr>
        <p:spPr>
          <a:xfrm>
            <a:off x="612731" y="5655112"/>
            <a:ext cx="250388" cy="250388"/>
          </a:xfrm>
          <a:custGeom>
            <a:avLst/>
            <a:gdLst>
              <a:gd name="connsiteX0" fmla="*/ 225288 w 450576"/>
              <a:gd name="connsiteY0" fmla="*/ 0 h 450576"/>
              <a:gd name="connsiteX1" fmla="*/ 0 w 450576"/>
              <a:gd name="connsiteY1" fmla="*/ 225288 h 450576"/>
              <a:gd name="connsiteX2" fmla="*/ 225288 w 450576"/>
              <a:gd name="connsiteY2" fmla="*/ 450576 h 450576"/>
              <a:gd name="connsiteX3" fmla="*/ 450576 w 450576"/>
              <a:gd name="connsiteY3" fmla="*/ 225288 h 450576"/>
              <a:gd name="connsiteX4" fmla="*/ 225288 w 450576"/>
              <a:gd name="connsiteY4" fmla="*/ 0 h 450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0576" h="450576">
                <a:moveTo>
                  <a:pt x="225288" y="0"/>
                </a:moveTo>
                <a:cubicBezTo>
                  <a:pt x="100869" y="0"/>
                  <a:pt x="0" y="100869"/>
                  <a:pt x="0" y="225288"/>
                </a:cubicBezTo>
                <a:cubicBezTo>
                  <a:pt x="0" y="349707"/>
                  <a:pt x="100869" y="450576"/>
                  <a:pt x="225288" y="450576"/>
                </a:cubicBezTo>
                <a:cubicBezTo>
                  <a:pt x="349707" y="450576"/>
                  <a:pt x="450576" y="349707"/>
                  <a:pt x="450576" y="225288"/>
                </a:cubicBezTo>
                <a:cubicBezTo>
                  <a:pt x="450576" y="100869"/>
                  <a:pt x="349707" y="0"/>
                  <a:pt x="225288" y="0"/>
                </a:cubicBezTo>
                <a:close/>
              </a:path>
            </a:pathLst>
          </a:custGeom>
          <a:solidFill>
            <a:schemeClr val="accent2"/>
          </a:solidFill>
          <a:ln w="365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37" name="Slide Number Placeholder 14">
            <a:extLst>
              <a:ext uri="{FF2B5EF4-FFF2-40B4-BE49-F238E27FC236}">
                <a16:creationId xmlns:a16="http://schemas.microsoft.com/office/drawing/2014/main" id="{7DB715CD-AAC8-4DE0-2CF6-615B258E0FBB}"/>
              </a:ext>
            </a:extLst>
          </p:cNvPr>
          <p:cNvSpPr txBox="1">
            <a:spLocks/>
          </p:cNvSpPr>
          <p:nvPr userDrawn="1"/>
        </p:nvSpPr>
        <p:spPr>
          <a:xfrm>
            <a:off x="11248008" y="6566085"/>
            <a:ext cx="334392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lnSpc>
                <a:spcPct val="100000"/>
              </a:lnSpc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E16BC054-6701-5333-7F73-290EE0139A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0038" y="4434699"/>
            <a:ext cx="255772" cy="255772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E85BEBAA-9656-9114-4EAB-75429C62C56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9955" y="4841212"/>
            <a:ext cx="255938" cy="255938"/>
          </a:xfrm>
          <a:prstGeom prst="rect">
            <a:avLst/>
          </a:prstGeom>
        </p:spPr>
      </p:pic>
      <p:pic>
        <p:nvPicPr>
          <p:cNvPr id="32" name="Picture 31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7BE7C63A-6876-037F-5D98-59BDEC67AE3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677" y="5694846"/>
            <a:ext cx="174441" cy="174441"/>
          </a:xfrm>
          <a:prstGeom prst="rect">
            <a:avLst/>
          </a:prstGeom>
        </p:spPr>
      </p:pic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1B28B1C-6151-F70E-912A-4B5C8F317EA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73495" y="4496375"/>
            <a:ext cx="2641598" cy="249603"/>
          </a:xfrm>
        </p:spPr>
        <p:txBody>
          <a:bodyPr>
            <a:noAutofit/>
          </a:bodyPr>
          <a:lstStyle>
            <a:lvl1pPr>
              <a:defRPr sz="1000" u="sng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@Guidehouse.com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A8C0C5F-DE09-41A6-96CE-2CB52349DB9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73495" y="4885046"/>
            <a:ext cx="2641598" cy="249603"/>
          </a:xfrm>
        </p:spPr>
        <p:txBody>
          <a:bodyPr>
            <a:noAutofit/>
          </a:bodyPr>
          <a:lstStyle>
            <a:lvl1pPr>
              <a:defRPr sz="1000" u="sng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Web Address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DDE61524-C943-DC13-B6C6-3FB449B2D4C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73495" y="5302491"/>
            <a:ext cx="2641598" cy="249603"/>
          </a:xfrm>
        </p:spPr>
        <p:txBody>
          <a:bodyPr>
            <a:noAutofit/>
          </a:bodyPr>
          <a:lstStyle>
            <a:lvl1pPr>
              <a:defRPr sz="1000" u="sng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inkedIn Page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79D1D1C5-B723-01B2-7FF2-2CA862FB33B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73495" y="5707274"/>
            <a:ext cx="2641598" cy="249603"/>
          </a:xfrm>
        </p:spPr>
        <p:txBody>
          <a:bodyPr>
            <a:noAutofit/>
          </a:bodyPr>
          <a:lstStyle>
            <a:lvl1pPr>
              <a:defRPr sz="1000" u="sng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Guidehouse YouTube</a:t>
            </a:r>
          </a:p>
        </p:txBody>
      </p:sp>
    </p:spTree>
    <p:extLst>
      <p:ext uri="{BB962C8B-B14F-4D97-AF65-F5344CB8AC3E}">
        <p14:creationId xmlns:p14="http://schemas.microsoft.com/office/powerpoint/2010/main" val="182386537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clusion -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AF9C81B7-A5E3-CFE9-A53F-0799F9D9D0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4922" y="4871631"/>
            <a:ext cx="6753678" cy="774308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5BAF25B-04F0-0E9E-EE99-41526B4A0F45}"/>
              </a:ext>
            </a:extLst>
          </p:cNvPr>
          <p:cNvCxnSpPr>
            <a:cxnSpLocks/>
          </p:cNvCxnSpPr>
          <p:nvPr/>
        </p:nvCxnSpPr>
        <p:spPr>
          <a:xfrm flipH="1">
            <a:off x="609600" y="0"/>
            <a:ext cx="0" cy="685799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8F80EF6-F585-EBDB-78CB-8A490CB37079}"/>
              </a:ext>
            </a:extLst>
          </p:cNvPr>
          <p:cNvCxnSpPr>
            <a:cxnSpLocks/>
          </p:cNvCxnSpPr>
          <p:nvPr/>
        </p:nvCxnSpPr>
        <p:spPr>
          <a:xfrm flipH="1">
            <a:off x="609600" y="4518121"/>
            <a:ext cx="0" cy="148132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aphic 7">
            <a:extLst>
              <a:ext uri="{FF2B5EF4-FFF2-40B4-BE49-F238E27FC236}">
                <a16:creationId xmlns:a16="http://schemas.microsoft.com/office/drawing/2014/main" id="{0071CE00-4746-CC55-5BC6-40F38BEB682E}"/>
              </a:ext>
            </a:extLst>
          </p:cNvPr>
          <p:cNvGrpSpPr/>
          <p:nvPr/>
        </p:nvGrpSpPr>
        <p:grpSpPr>
          <a:xfrm>
            <a:off x="1094922" y="618057"/>
            <a:ext cx="2338095" cy="591593"/>
            <a:chOff x="609600" y="557212"/>
            <a:chExt cx="2670098" cy="675598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3879F54-97B4-F7C3-10E6-BAA18E487EDA}"/>
                </a:ext>
              </a:extLst>
            </p:cNvPr>
            <p:cNvSpPr/>
            <p:nvPr/>
          </p:nvSpPr>
          <p:spPr>
            <a:xfrm>
              <a:off x="1181182" y="790634"/>
              <a:ext cx="2098515" cy="283771"/>
            </a:xfrm>
            <a:custGeom>
              <a:avLst/>
              <a:gdLst>
                <a:gd name="connsiteX0" fmla="*/ 129551 w 2098515"/>
                <a:gd name="connsiteY0" fmla="*/ 283771 h 283771"/>
                <a:gd name="connsiteX1" fmla="*/ 77038 w 2098515"/>
                <a:gd name="connsiteY1" fmla="*/ 273817 h 283771"/>
                <a:gd name="connsiteX2" fmla="*/ 36644 w 2098515"/>
                <a:gd name="connsiteY2" fmla="*/ 245685 h 283771"/>
                <a:gd name="connsiteX3" fmla="*/ 9377 w 2098515"/>
                <a:gd name="connsiteY3" fmla="*/ 199953 h 283771"/>
                <a:gd name="connsiteX4" fmla="*/ 0 w 2098515"/>
                <a:gd name="connsiteY4" fmla="*/ 142391 h 283771"/>
                <a:gd name="connsiteX5" fmla="*/ 10531 w 2098515"/>
                <a:gd name="connsiteY5" fmla="*/ 82809 h 283771"/>
                <a:gd name="connsiteX6" fmla="*/ 40395 w 2098515"/>
                <a:gd name="connsiteY6" fmla="*/ 36211 h 283771"/>
                <a:gd name="connsiteX7" fmla="*/ 80789 w 2098515"/>
                <a:gd name="connsiteY7" fmla="*/ 9522 h 283771"/>
                <a:gd name="connsiteX8" fmla="*/ 133735 w 2098515"/>
                <a:gd name="connsiteY8" fmla="*/ 0 h 283771"/>
                <a:gd name="connsiteX9" fmla="*/ 180910 w 2098515"/>
                <a:gd name="connsiteY9" fmla="*/ 6636 h 283771"/>
                <a:gd name="connsiteX10" fmla="*/ 217121 w 2098515"/>
                <a:gd name="connsiteY10" fmla="*/ 25679 h 283771"/>
                <a:gd name="connsiteX11" fmla="*/ 241646 w 2098515"/>
                <a:gd name="connsiteY11" fmla="*/ 55542 h 283771"/>
                <a:gd name="connsiteX12" fmla="*/ 254341 w 2098515"/>
                <a:gd name="connsiteY12" fmla="*/ 94350 h 283771"/>
                <a:gd name="connsiteX13" fmla="*/ 188844 w 2098515"/>
                <a:gd name="connsiteY13" fmla="*/ 94350 h 283771"/>
                <a:gd name="connsiteX14" fmla="*/ 171677 w 2098515"/>
                <a:gd name="connsiteY14" fmla="*/ 66507 h 283771"/>
                <a:gd name="connsiteX15" fmla="*/ 135899 w 2098515"/>
                <a:gd name="connsiteY15" fmla="*/ 55398 h 283771"/>
                <a:gd name="connsiteX16" fmla="*/ 106324 w 2098515"/>
                <a:gd name="connsiteY16" fmla="*/ 62034 h 283771"/>
                <a:gd name="connsiteX17" fmla="*/ 85117 w 2098515"/>
                <a:gd name="connsiteY17" fmla="*/ 80356 h 283771"/>
                <a:gd name="connsiteX18" fmla="*/ 72566 w 2098515"/>
                <a:gd name="connsiteY18" fmla="*/ 107767 h 283771"/>
                <a:gd name="connsiteX19" fmla="*/ 68382 w 2098515"/>
                <a:gd name="connsiteY19" fmla="*/ 142246 h 283771"/>
                <a:gd name="connsiteX20" fmla="*/ 73143 w 2098515"/>
                <a:gd name="connsiteY20" fmla="*/ 176870 h 283771"/>
                <a:gd name="connsiteX21" fmla="*/ 86704 w 2098515"/>
                <a:gd name="connsiteY21" fmla="*/ 204425 h 283771"/>
                <a:gd name="connsiteX22" fmla="*/ 108200 w 2098515"/>
                <a:gd name="connsiteY22" fmla="*/ 222458 h 283771"/>
                <a:gd name="connsiteX23" fmla="*/ 136909 w 2098515"/>
                <a:gd name="connsiteY23" fmla="*/ 228950 h 283771"/>
                <a:gd name="connsiteX24" fmla="*/ 160712 w 2098515"/>
                <a:gd name="connsiteY24" fmla="*/ 224911 h 283771"/>
                <a:gd name="connsiteX25" fmla="*/ 178601 w 2098515"/>
                <a:gd name="connsiteY25" fmla="*/ 214235 h 283771"/>
                <a:gd name="connsiteX26" fmla="*/ 190431 w 2098515"/>
                <a:gd name="connsiteY26" fmla="*/ 198943 h 283771"/>
                <a:gd name="connsiteX27" fmla="*/ 195913 w 2098515"/>
                <a:gd name="connsiteY27" fmla="*/ 181198 h 283771"/>
                <a:gd name="connsiteX28" fmla="*/ 195913 w 2098515"/>
                <a:gd name="connsiteY28" fmla="*/ 180477 h 283771"/>
                <a:gd name="connsiteX29" fmla="*/ 144843 w 2098515"/>
                <a:gd name="connsiteY29" fmla="*/ 180477 h 283771"/>
                <a:gd name="connsiteX30" fmla="*/ 144843 w 2098515"/>
                <a:gd name="connsiteY30" fmla="*/ 130994 h 283771"/>
                <a:gd name="connsiteX31" fmla="*/ 258381 w 2098515"/>
                <a:gd name="connsiteY31" fmla="*/ 130994 h 283771"/>
                <a:gd name="connsiteX32" fmla="*/ 258381 w 2098515"/>
                <a:gd name="connsiteY32" fmla="*/ 277279 h 283771"/>
                <a:gd name="connsiteX33" fmla="*/ 211206 w 2098515"/>
                <a:gd name="connsiteY33" fmla="*/ 277279 h 283771"/>
                <a:gd name="connsiteX34" fmla="*/ 207455 w 2098515"/>
                <a:gd name="connsiteY34" fmla="*/ 244531 h 283771"/>
                <a:gd name="connsiteX35" fmla="*/ 206733 w 2098515"/>
                <a:gd name="connsiteY35" fmla="*/ 244531 h 283771"/>
                <a:gd name="connsiteX36" fmla="*/ 173841 w 2098515"/>
                <a:gd name="connsiteY36" fmla="*/ 274394 h 283771"/>
                <a:gd name="connsiteX37" fmla="*/ 129407 w 2098515"/>
                <a:gd name="connsiteY37" fmla="*/ 283339 h 283771"/>
                <a:gd name="connsiteX38" fmla="*/ 358357 w 2098515"/>
                <a:gd name="connsiteY38" fmla="*/ 282906 h 283771"/>
                <a:gd name="connsiteX39" fmla="*/ 307143 w 2098515"/>
                <a:gd name="connsiteY39" fmla="*/ 262853 h 283771"/>
                <a:gd name="connsiteX40" fmla="*/ 289831 w 2098515"/>
                <a:gd name="connsiteY40" fmla="*/ 210051 h 283771"/>
                <a:gd name="connsiteX41" fmla="*/ 289831 w 2098515"/>
                <a:gd name="connsiteY41" fmla="*/ 82087 h 283771"/>
                <a:gd name="connsiteX42" fmla="*/ 351577 w 2098515"/>
                <a:gd name="connsiteY42" fmla="*/ 82087 h 283771"/>
                <a:gd name="connsiteX43" fmla="*/ 351577 w 2098515"/>
                <a:gd name="connsiteY43" fmla="*/ 197212 h 283771"/>
                <a:gd name="connsiteX44" fmla="*/ 358790 w 2098515"/>
                <a:gd name="connsiteY44" fmla="*/ 221737 h 283771"/>
                <a:gd name="connsiteX45" fmla="*/ 380863 w 2098515"/>
                <a:gd name="connsiteY45" fmla="*/ 230249 h 283771"/>
                <a:gd name="connsiteX46" fmla="*/ 405965 w 2098515"/>
                <a:gd name="connsiteY46" fmla="*/ 219429 h 283771"/>
                <a:gd name="connsiteX47" fmla="*/ 415054 w 2098515"/>
                <a:gd name="connsiteY47" fmla="*/ 191008 h 283771"/>
                <a:gd name="connsiteX48" fmla="*/ 415054 w 2098515"/>
                <a:gd name="connsiteY48" fmla="*/ 82087 h 283771"/>
                <a:gd name="connsiteX49" fmla="*/ 477088 w 2098515"/>
                <a:gd name="connsiteY49" fmla="*/ 82087 h 283771"/>
                <a:gd name="connsiteX50" fmla="*/ 477088 w 2098515"/>
                <a:gd name="connsiteY50" fmla="*/ 277135 h 283771"/>
                <a:gd name="connsiteX51" fmla="*/ 417650 w 2098515"/>
                <a:gd name="connsiteY51" fmla="*/ 277135 h 283771"/>
                <a:gd name="connsiteX52" fmla="*/ 417650 w 2098515"/>
                <a:gd name="connsiteY52" fmla="*/ 253187 h 283771"/>
                <a:gd name="connsiteX53" fmla="*/ 416496 w 2098515"/>
                <a:gd name="connsiteY53" fmla="*/ 253187 h 283771"/>
                <a:gd name="connsiteX54" fmla="*/ 392260 w 2098515"/>
                <a:gd name="connsiteY54" fmla="*/ 275260 h 283771"/>
                <a:gd name="connsiteX55" fmla="*/ 358213 w 2098515"/>
                <a:gd name="connsiteY55" fmla="*/ 282906 h 283771"/>
                <a:gd name="connsiteX56" fmla="*/ 512433 w 2098515"/>
                <a:gd name="connsiteY56" fmla="*/ 2164 h 283771"/>
                <a:gd name="connsiteX57" fmla="*/ 574468 w 2098515"/>
                <a:gd name="connsiteY57" fmla="*/ 2164 h 283771"/>
                <a:gd name="connsiteX58" fmla="*/ 574468 w 2098515"/>
                <a:gd name="connsiteY58" fmla="*/ 55110 h 283771"/>
                <a:gd name="connsiteX59" fmla="*/ 512433 w 2098515"/>
                <a:gd name="connsiteY59" fmla="*/ 55110 h 283771"/>
                <a:gd name="connsiteX60" fmla="*/ 512433 w 2098515"/>
                <a:gd name="connsiteY60" fmla="*/ 2164 h 283771"/>
                <a:gd name="connsiteX61" fmla="*/ 512433 w 2098515"/>
                <a:gd name="connsiteY61" fmla="*/ 82087 h 283771"/>
                <a:gd name="connsiteX62" fmla="*/ 574468 w 2098515"/>
                <a:gd name="connsiteY62" fmla="*/ 82087 h 283771"/>
                <a:gd name="connsiteX63" fmla="*/ 574468 w 2098515"/>
                <a:gd name="connsiteY63" fmla="*/ 277135 h 283771"/>
                <a:gd name="connsiteX64" fmla="*/ 512433 w 2098515"/>
                <a:gd name="connsiteY64" fmla="*/ 277135 h 283771"/>
                <a:gd name="connsiteX65" fmla="*/ 512433 w 2098515"/>
                <a:gd name="connsiteY65" fmla="*/ 82087 h 283771"/>
                <a:gd name="connsiteX66" fmla="*/ 686563 w 2098515"/>
                <a:gd name="connsiteY66" fmla="*/ 283194 h 283771"/>
                <a:gd name="connsiteX67" fmla="*/ 652227 w 2098515"/>
                <a:gd name="connsiteY67" fmla="*/ 276125 h 283771"/>
                <a:gd name="connsiteX68" fmla="*/ 625249 w 2098515"/>
                <a:gd name="connsiteY68" fmla="*/ 255784 h 283771"/>
                <a:gd name="connsiteX69" fmla="*/ 607505 w 2098515"/>
                <a:gd name="connsiteY69" fmla="*/ 223180 h 283771"/>
                <a:gd name="connsiteX70" fmla="*/ 601157 w 2098515"/>
                <a:gd name="connsiteY70" fmla="*/ 179611 h 283771"/>
                <a:gd name="connsiteX71" fmla="*/ 607505 w 2098515"/>
                <a:gd name="connsiteY71" fmla="*/ 137630 h 283771"/>
                <a:gd name="connsiteX72" fmla="*/ 624961 w 2098515"/>
                <a:gd name="connsiteY72" fmla="*/ 105026 h 283771"/>
                <a:gd name="connsiteX73" fmla="*/ 651794 w 2098515"/>
                <a:gd name="connsiteY73" fmla="*/ 83819 h 283771"/>
                <a:gd name="connsiteX74" fmla="*/ 686418 w 2098515"/>
                <a:gd name="connsiteY74" fmla="*/ 76172 h 283771"/>
                <a:gd name="connsiteX75" fmla="*/ 719600 w 2098515"/>
                <a:gd name="connsiteY75" fmla="*/ 83963 h 283771"/>
                <a:gd name="connsiteX76" fmla="*/ 740951 w 2098515"/>
                <a:gd name="connsiteY76" fmla="*/ 104016 h 283771"/>
                <a:gd name="connsiteX77" fmla="*/ 742105 w 2098515"/>
                <a:gd name="connsiteY77" fmla="*/ 104016 h 283771"/>
                <a:gd name="connsiteX78" fmla="*/ 742105 w 2098515"/>
                <a:gd name="connsiteY78" fmla="*/ 1875 h 283771"/>
                <a:gd name="connsiteX79" fmla="*/ 804139 w 2098515"/>
                <a:gd name="connsiteY79" fmla="*/ 1875 h 283771"/>
                <a:gd name="connsiteX80" fmla="*/ 804139 w 2098515"/>
                <a:gd name="connsiteY80" fmla="*/ 276991 h 283771"/>
                <a:gd name="connsiteX81" fmla="*/ 744702 w 2098515"/>
                <a:gd name="connsiteY81" fmla="*/ 276991 h 283771"/>
                <a:gd name="connsiteX82" fmla="*/ 744702 w 2098515"/>
                <a:gd name="connsiteY82" fmla="*/ 250735 h 283771"/>
                <a:gd name="connsiteX83" fmla="*/ 743981 w 2098515"/>
                <a:gd name="connsiteY83" fmla="*/ 250735 h 283771"/>
                <a:gd name="connsiteX84" fmla="*/ 720609 w 2098515"/>
                <a:gd name="connsiteY84" fmla="*/ 274538 h 283771"/>
                <a:gd name="connsiteX85" fmla="*/ 686563 w 2098515"/>
                <a:gd name="connsiteY85" fmla="*/ 283050 h 283771"/>
                <a:gd name="connsiteX86" fmla="*/ 702576 w 2098515"/>
                <a:gd name="connsiteY86" fmla="*/ 233855 h 283771"/>
                <a:gd name="connsiteX87" fmla="*/ 732872 w 2098515"/>
                <a:gd name="connsiteY87" fmla="*/ 218563 h 283771"/>
                <a:gd name="connsiteX88" fmla="*/ 743692 w 2098515"/>
                <a:gd name="connsiteY88" fmla="*/ 179323 h 283771"/>
                <a:gd name="connsiteX89" fmla="*/ 741239 w 2098515"/>
                <a:gd name="connsiteY89" fmla="*/ 156673 h 283771"/>
                <a:gd name="connsiteX90" fmla="*/ 733593 w 2098515"/>
                <a:gd name="connsiteY90" fmla="*/ 138784 h 283771"/>
                <a:gd name="connsiteX91" fmla="*/ 721042 w 2098515"/>
                <a:gd name="connsiteY91" fmla="*/ 127098 h 283771"/>
                <a:gd name="connsiteX92" fmla="*/ 703297 w 2098515"/>
                <a:gd name="connsiteY92" fmla="*/ 122915 h 283771"/>
                <a:gd name="connsiteX93" fmla="*/ 674300 w 2098515"/>
                <a:gd name="connsiteY93" fmla="*/ 138351 h 283771"/>
                <a:gd name="connsiteX94" fmla="*/ 664057 w 2098515"/>
                <a:gd name="connsiteY94" fmla="*/ 178601 h 283771"/>
                <a:gd name="connsiteX95" fmla="*/ 674156 w 2098515"/>
                <a:gd name="connsiteY95" fmla="*/ 218996 h 283771"/>
                <a:gd name="connsiteX96" fmla="*/ 702576 w 2098515"/>
                <a:gd name="connsiteY96" fmla="*/ 233855 h 283771"/>
                <a:gd name="connsiteX97" fmla="*/ 931094 w 2098515"/>
                <a:gd name="connsiteY97" fmla="*/ 282617 h 283771"/>
                <a:gd name="connsiteX98" fmla="*/ 887670 w 2098515"/>
                <a:gd name="connsiteY98" fmla="*/ 274827 h 283771"/>
                <a:gd name="connsiteX99" fmla="*/ 854921 w 2098515"/>
                <a:gd name="connsiteY99" fmla="*/ 253043 h 283771"/>
                <a:gd name="connsiteX100" fmla="*/ 834291 w 2098515"/>
                <a:gd name="connsiteY100" fmla="*/ 220150 h 283771"/>
                <a:gd name="connsiteX101" fmla="*/ 827078 w 2098515"/>
                <a:gd name="connsiteY101" fmla="*/ 179034 h 283771"/>
                <a:gd name="connsiteX102" fmla="*/ 834291 w 2098515"/>
                <a:gd name="connsiteY102" fmla="*/ 138495 h 283771"/>
                <a:gd name="connsiteX103" fmla="*/ 854921 w 2098515"/>
                <a:gd name="connsiteY103" fmla="*/ 105747 h 283771"/>
                <a:gd name="connsiteX104" fmla="*/ 886515 w 2098515"/>
                <a:gd name="connsiteY104" fmla="*/ 84107 h 283771"/>
                <a:gd name="connsiteX105" fmla="*/ 927343 w 2098515"/>
                <a:gd name="connsiteY105" fmla="*/ 76317 h 283771"/>
                <a:gd name="connsiteX106" fmla="*/ 964852 w 2098515"/>
                <a:gd name="connsiteY106" fmla="*/ 82809 h 283771"/>
                <a:gd name="connsiteX107" fmla="*/ 993994 w 2098515"/>
                <a:gd name="connsiteY107" fmla="*/ 100698 h 283771"/>
                <a:gd name="connsiteX108" fmla="*/ 1020106 w 2098515"/>
                <a:gd name="connsiteY108" fmla="*/ 141237 h 283771"/>
                <a:gd name="connsiteX109" fmla="*/ 1028329 w 2098515"/>
                <a:gd name="connsiteY109" fmla="*/ 195481 h 283771"/>
                <a:gd name="connsiteX110" fmla="*/ 888102 w 2098515"/>
                <a:gd name="connsiteY110" fmla="*/ 195481 h 283771"/>
                <a:gd name="connsiteX111" fmla="*/ 901808 w 2098515"/>
                <a:gd name="connsiteY111" fmla="*/ 226786 h 283771"/>
                <a:gd name="connsiteX112" fmla="*/ 931959 w 2098515"/>
                <a:gd name="connsiteY112" fmla="*/ 238183 h 283771"/>
                <a:gd name="connsiteX113" fmla="*/ 952157 w 2098515"/>
                <a:gd name="connsiteY113" fmla="*/ 232990 h 283771"/>
                <a:gd name="connsiteX114" fmla="*/ 964275 w 2098515"/>
                <a:gd name="connsiteY114" fmla="*/ 218707 h 283771"/>
                <a:gd name="connsiteX115" fmla="*/ 1024867 w 2098515"/>
                <a:gd name="connsiteY115" fmla="*/ 218707 h 283771"/>
                <a:gd name="connsiteX116" fmla="*/ 1013470 w 2098515"/>
                <a:gd name="connsiteY116" fmla="*/ 244098 h 283771"/>
                <a:gd name="connsiteX117" fmla="*/ 992118 w 2098515"/>
                <a:gd name="connsiteY117" fmla="*/ 264873 h 283771"/>
                <a:gd name="connsiteX118" fmla="*/ 964852 w 2098515"/>
                <a:gd name="connsiteY118" fmla="*/ 278145 h 283771"/>
                <a:gd name="connsiteX119" fmla="*/ 931094 w 2098515"/>
                <a:gd name="connsiteY119" fmla="*/ 282762 h 283771"/>
                <a:gd name="connsiteX120" fmla="*/ 965429 w 2098515"/>
                <a:gd name="connsiteY120" fmla="*/ 158548 h 283771"/>
                <a:gd name="connsiteX121" fmla="*/ 953599 w 2098515"/>
                <a:gd name="connsiteY121" fmla="*/ 130705 h 283771"/>
                <a:gd name="connsiteX122" fmla="*/ 928497 w 2098515"/>
                <a:gd name="connsiteY122" fmla="*/ 120462 h 283771"/>
                <a:gd name="connsiteX123" fmla="*/ 901086 w 2098515"/>
                <a:gd name="connsiteY123" fmla="*/ 130705 h 283771"/>
                <a:gd name="connsiteX124" fmla="*/ 888535 w 2098515"/>
                <a:gd name="connsiteY124" fmla="*/ 158548 h 283771"/>
                <a:gd name="connsiteX125" fmla="*/ 965429 w 2098515"/>
                <a:gd name="connsiteY125" fmla="*/ 158548 h 283771"/>
                <a:gd name="connsiteX126" fmla="*/ 1051123 w 2098515"/>
                <a:gd name="connsiteY126" fmla="*/ 2020 h 283771"/>
                <a:gd name="connsiteX127" fmla="*/ 1113158 w 2098515"/>
                <a:gd name="connsiteY127" fmla="*/ 2020 h 283771"/>
                <a:gd name="connsiteX128" fmla="*/ 1113158 w 2098515"/>
                <a:gd name="connsiteY128" fmla="*/ 106036 h 283771"/>
                <a:gd name="connsiteX129" fmla="*/ 1114312 w 2098515"/>
                <a:gd name="connsiteY129" fmla="*/ 106036 h 283771"/>
                <a:gd name="connsiteX130" fmla="*/ 1138260 w 2098515"/>
                <a:gd name="connsiteY130" fmla="*/ 84107 h 283771"/>
                <a:gd name="connsiteX131" fmla="*/ 1172162 w 2098515"/>
                <a:gd name="connsiteY131" fmla="*/ 76317 h 283771"/>
                <a:gd name="connsiteX132" fmla="*/ 1200727 w 2098515"/>
                <a:gd name="connsiteY132" fmla="*/ 81799 h 283771"/>
                <a:gd name="connsiteX133" fmla="*/ 1222079 w 2098515"/>
                <a:gd name="connsiteY133" fmla="*/ 97091 h 283771"/>
                <a:gd name="connsiteX134" fmla="*/ 1235495 w 2098515"/>
                <a:gd name="connsiteY134" fmla="*/ 120318 h 283771"/>
                <a:gd name="connsiteX135" fmla="*/ 1240112 w 2098515"/>
                <a:gd name="connsiteY135" fmla="*/ 150181 h 283771"/>
                <a:gd name="connsiteX136" fmla="*/ 1240112 w 2098515"/>
                <a:gd name="connsiteY136" fmla="*/ 276991 h 283771"/>
                <a:gd name="connsiteX137" fmla="*/ 1178077 w 2098515"/>
                <a:gd name="connsiteY137" fmla="*/ 276991 h 283771"/>
                <a:gd name="connsiteX138" fmla="*/ 1178077 w 2098515"/>
                <a:gd name="connsiteY138" fmla="*/ 162732 h 283771"/>
                <a:gd name="connsiteX139" fmla="*/ 1170431 w 2098515"/>
                <a:gd name="connsiteY139" fmla="*/ 137630 h 283771"/>
                <a:gd name="connsiteX140" fmla="*/ 1147637 w 2098515"/>
                <a:gd name="connsiteY140" fmla="*/ 128108 h 283771"/>
                <a:gd name="connsiteX141" fmla="*/ 1122679 w 2098515"/>
                <a:gd name="connsiteY141" fmla="*/ 139505 h 283771"/>
                <a:gd name="connsiteX142" fmla="*/ 1113302 w 2098515"/>
                <a:gd name="connsiteY142" fmla="*/ 169224 h 283771"/>
                <a:gd name="connsiteX143" fmla="*/ 1113302 w 2098515"/>
                <a:gd name="connsiteY143" fmla="*/ 276991 h 283771"/>
                <a:gd name="connsiteX144" fmla="*/ 1051267 w 2098515"/>
                <a:gd name="connsiteY144" fmla="*/ 276991 h 283771"/>
                <a:gd name="connsiteX145" fmla="*/ 1051267 w 2098515"/>
                <a:gd name="connsiteY145" fmla="*/ 1875 h 283771"/>
                <a:gd name="connsiteX146" fmla="*/ 1363892 w 2098515"/>
                <a:gd name="connsiteY146" fmla="*/ 283194 h 283771"/>
                <a:gd name="connsiteX147" fmla="*/ 1321045 w 2098515"/>
                <a:gd name="connsiteY147" fmla="*/ 275404 h 283771"/>
                <a:gd name="connsiteX148" fmla="*/ 1288008 w 2098515"/>
                <a:gd name="connsiteY148" fmla="*/ 253620 h 283771"/>
                <a:gd name="connsiteX149" fmla="*/ 1266945 w 2098515"/>
                <a:gd name="connsiteY149" fmla="*/ 220871 h 283771"/>
                <a:gd name="connsiteX150" fmla="*/ 1259443 w 2098515"/>
                <a:gd name="connsiteY150" fmla="*/ 179900 h 283771"/>
                <a:gd name="connsiteX151" fmla="*/ 1266945 w 2098515"/>
                <a:gd name="connsiteY151" fmla="*/ 138928 h 283771"/>
                <a:gd name="connsiteX152" fmla="*/ 1288008 w 2098515"/>
                <a:gd name="connsiteY152" fmla="*/ 106180 h 283771"/>
                <a:gd name="connsiteX153" fmla="*/ 1321045 w 2098515"/>
                <a:gd name="connsiteY153" fmla="*/ 84540 h 283771"/>
                <a:gd name="connsiteX154" fmla="*/ 1363892 w 2098515"/>
                <a:gd name="connsiteY154" fmla="*/ 76750 h 283771"/>
                <a:gd name="connsiteX155" fmla="*/ 1406739 w 2098515"/>
                <a:gd name="connsiteY155" fmla="*/ 84540 h 283771"/>
                <a:gd name="connsiteX156" fmla="*/ 1439487 w 2098515"/>
                <a:gd name="connsiteY156" fmla="*/ 106180 h 283771"/>
                <a:gd name="connsiteX157" fmla="*/ 1460406 w 2098515"/>
                <a:gd name="connsiteY157" fmla="*/ 138928 h 283771"/>
                <a:gd name="connsiteX158" fmla="*/ 1467764 w 2098515"/>
                <a:gd name="connsiteY158" fmla="*/ 179900 h 283771"/>
                <a:gd name="connsiteX159" fmla="*/ 1460406 w 2098515"/>
                <a:gd name="connsiteY159" fmla="*/ 220871 h 283771"/>
                <a:gd name="connsiteX160" fmla="*/ 1439487 w 2098515"/>
                <a:gd name="connsiteY160" fmla="*/ 253620 h 283771"/>
                <a:gd name="connsiteX161" fmla="*/ 1406739 w 2098515"/>
                <a:gd name="connsiteY161" fmla="*/ 275404 h 283771"/>
                <a:gd name="connsiteX162" fmla="*/ 1363892 w 2098515"/>
                <a:gd name="connsiteY162" fmla="*/ 283194 h 283771"/>
                <a:gd name="connsiteX163" fmla="*/ 1363459 w 2098515"/>
                <a:gd name="connsiteY163" fmla="*/ 239049 h 283771"/>
                <a:gd name="connsiteX164" fmla="*/ 1394477 w 2098515"/>
                <a:gd name="connsiteY164" fmla="*/ 222891 h 283771"/>
                <a:gd name="connsiteX165" fmla="*/ 1405008 w 2098515"/>
                <a:gd name="connsiteY165" fmla="*/ 180044 h 283771"/>
                <a:gd name="connsiteX166" fmla="*/ 1394477 w 2098515"/>
                <a:gd name="connsiteY166" fmla="*/ 137053 h 283771"/>
                <a:gd name="connsiteX167" fmla="*/ 1363459 w 2098515"/>
                <a:gd name="connsiteY167" fmla="*/ 120606 h 283771"/>
                <a:gd name="connsiteX168" fmla="*/ 1332586 w 2098515"/>
                <a:gd name="connsiteY168" fmla="*/ 137053 h 283771"/>
                <a:gd name="connsiteX169" fmla="*/ 1322343 w 2098515"/>
                <a:gd name="connsiteY169" fmla="*/ 180044 h 283771"/>
                <a:gd name="connsiteX170" fmla="*/ 1332586 w 2098515"/>
                <a:gd name="connsiteY170" fmla="*/ 222891 h 283771"/>
                <a:gd name="connsiteX171" fmla="*/ 1363459 w 2098515"/>
                <a:gd name="connsiteY171" fmla="*/ 239049 h 283771"/>
                <a:gd name="connsiteX172" fmla="*/ 1555910 w 2098515"/>
                <a:gd name="connsiteY172" fmla="*/ 282906 h 283771"/>
                <a:gd name="connsiteX173" fmla="*/ 1504696 w 2098515"/>
                <a:gd name="connsiteY173" fmla="*/ 262853 h 283771"/>
                <a:gd name="connsiteX174" fmla="*/ 1487384 w 2098515"/>
                <a:gd name="connsiteY174" fmla="*/ 210051 h 283771"/>
                <a:gd name="connsiteX175" fmla="*/ 1487384 w 2098515"/>
                <a:gd name="connsiteY175" fmla="*/ 82087 h 283771"/>
                <a:gd name="connsiteX176" fmla="*/ 1549130 w 2098515"/>
                <a:gd name="connsiteY176" fmla="*/ 82087 h 283771"/>
                <a:gd name="connsiteX177" fmla="*/ 1549130 w 2098515"/>
                <a:gd name="connsiteY177" fmla="*/ 197212 h 283771"/>
                <a:gd name="connsiteX178" fmla="*/ 1556343 w 2098515"/>
                <a:gd name="connsiteY178" fmla="*/ 221737 h 283771"/>
                <a:gd name="connsiteX179" fmla="*/ 1578416 w 2098515"/>
                <a:gd name="connsiteY179" fmla="*/ 230249 h 283771"/>
                <a:gd name="connsiteX180" fmla="*/ 1603518 w 2098515"/>
                <a:gd name="connsiteY180" fmla="*/ 219429 h 283771"/>
                <a:gd name="connsiteX181" fmla="*/ 1612607 w 2098515"/>
                <a:gd name="connsiteY181" fmla="*/ 191008 h 283771"/>
                <a:gd name="connsiteX182" fmla="*/ 1612607 w 2098515"/>
                <a:gd name="connsiteY182" fmla="*/ 82087 h 283771"/>
                <a:gd name="connsiteX183" fmla="*/ 1674641 w 2098515"/>
                <a:gd name="connsiteY183" fmla="*/ 82087 h 283771"/>
                <a:gd name="connsiteX184" fmla="*/ 1674641 w 2098515"/>
                <a:gd name="connsiteY184" fmla="*/ 277135 h 283771"/>
                <a:gd name="connsiteX185" fmla="*/ 1615204 w 2098515"/>
                <a:gd name="connsiteY185" fmla="*/ 277135 h 283771"/>
                <a:gd name="connsiteX186" fmla="*/ 1615204 w 2098515"/>
                <a:gd name="connsiteY186" fmla="*/ 253187 h 283771"/>
                <a:gd name="connsiteX187" fmla="*/ 1614050 w 2098515"/>
                <a:gd name="connsiteY187" fmla="*/ 253187 h 283771"/>
                <a:gd name="connsiteX188" fmla="*/ 1589813 w 2098515"/>
                <a:gd name="connsiteY188" fmla="*/ 275260 h 283771"/>
                <a:gd name="connsiteX189" fmla="*/ 1555766 w 2098515"/>
                <a:gd name="connsiteY189" fmla="*/ 282906 h 283771"/>
                <a:gd name="connsiteX190" fmla="*/ 1791208 w 2098515"/>
                <a:gd name="connsiteY190" fmla="*/ 283339 h 283771"/>
                <a:gd name="connsiteX191" fmla="*/ 1722971 w 2098515"/>
                <a:gd name="connsiteY191" fmla="*/ 264873 h 283771"/>
                <a:gd name="connsiteX192" fmla="*/ 1696281 w 2098515"/>
                <a:gd name="connsiteY192" fmla="*/ 213947 h 283771"/>
                <a:gd name="connsiteX193" fmla="*/ 1754998 w 2098515"/>
                <a:gd name="connsiteY193" fmla="*/ 213947 h 283771"/>
                <a:gd name="connsiteX194" fmla="*/ 1766106 w 2098515"/>
                <a:gd name="connsiteY194" fmla="*/ 235731 h 283771"/>
                <a:gd name="connsiteX195" fmla="*/ 1790920 w 2098515"/>
                <a:gd name="connsiteY195" fmla="*/ 242944 h 283771"/>
                <a:gd name="connsiteX196" fmla="*/ 1813137 w 2098515"/>
                <a:gd name="connsiteY196" fmla="*/ 238039 h 283771"/>
                <a:gd name="connsiteX197" fmla="*/ 1821360 w 2098515"/>
                <a:gd name="connsiteY197" fmla="*/ 223612 h 283771"/>
                <a:gd name="connsiteX198" fmla="*/ 1817176 w 2098515"/>
                <a:gd name="connsiteY198" fmla="*/ 213081 h 283771"/>
                <a:gd name="connsiteX199" fmla="*/ 1806068 w 2098515"/>
                <a:gd name="connsiteY199" fmla="*/ 206589 h 283771"/>
                <a:gd name="connsiteX200" fmla="*/ 1790199 w 2098515"/>
                <a:gd name="connsiteY200" fmla="*/ 202838 h 283771"/>
                <a:gd name="connsiteX201" fmla="*/ 1771732 w 2098515"/>
                <a:gd name="connsiteY201" fmla="*/ 199664 h 283771"/>
                <a:gd name="connsiteX202" fmla="*/ 1746630 w 2098515"/>
                <a:gd name="connsiteY202" fmla="*/ 194182 h 283771"/>
                <a:gd name="connsiteX203" fmla="*/ 1723980 w 2098515"/>
                <a:gd name="connsiteY203" fmla="*/ 184516 h 283771"/>
                <a:gd name="connsiteX204" fmla="*/ 1707823 w 2098515"/>
                <a:gd name="connsiteY204" fmla="*/ 167204 h 283771"/>
                <a:gd name="connsiteX205" fmla="*/ 1701763 w 2098515"/>
                <a:gd name="connsiteY205" fmla="*/ 139217 h 283771"/>
                <a:gd name="connsiteX206" fmla="*/ 1708400 w 2098515"/>
                <a:gd name="connsiteY206" fmla="*/ 112095 h 283771"/>
                <a:gd name="connsiteX207" fmla="*/ 1726577 w 2098515"/>
                <a:gd name="connsiteY207" fmla="*/ 92475 h 283771"/>
                <a:gd name="connsiteX208" fmla="*/ 1753411 w 2098515"/>
                <a:gd name="connsiteY208" fmla="*/ 80645 h 283771"/>
                <a:gd name="connsiteX209" fmla="*/ 1786015 w 2098515"/>
                <a:gd name="connsiteY209" fmla="*/ 76605 h 283771"/>
                <a:gd name="connsiteX210" fmla="*/ 1849636 w 2098515"/>
                <a:gd name="connsiteY210" fmla="*/ 93340 h 283771"/>
                <a:gd name="connsiteX211" fmla="*/ 1874017 w 2098515"/>
                <a:gd name="connsiteY211" fmla="*/ 139073 h 283771"/>
                <a:gd name="connsiteX212" fmla="*/ 1816888 w 2098515"/>
                <a:gd name="connsiteY212" fmla="*/ 139073 h 283771"/>
                <a:gd name="connsiteX213" fmla="*/ 1806789 w 2098515"/>
                <a:gd name="connsiteY213" fmla="*/ 121039 h 283771"/>
                <a:gd name="connsiteX214" fmla="*/ 1785582 w 2098515"/>
                <a:gd name="connsiteY214" fmla="*/ 116278 h 283771"/>
                <a:gd name="connsiteX215" fmla="*/ 1766395 w 2098515"/>
                <a:gd name="connsiteY215" fmla="*/ 120606 h 283771"/>
                <a:gd name="connsiteX216" fmla="*/ 1758604 w 2098515"/>
                <a:gd name="connsiteY216" fmla="*/ 134167 h 283771"/>
                <a:gd name="connsiteX217" fmla="*/ 1762355 w 2098515"/>
                <a:gd name="connsiteY217" fmla="*/ 142535 h 283771"/>
                <a:gd name="connsiteX218" fmla="*/ 1772598 w 2098515"/>
                <a:gd name="connsiteY218" fmla="*/ 147728 h 283771"/>
                <a:gd name="connsiteX219" fmla="*/ 1787602 w 2098515"/>
                <a:gd name="connsiteY219" fmla="*/ 151335 h 283771"/>
                <a:gd name="connsiteX220" fmla="*/ 1805346 w 2098515"/>
                <a:gd name="connsiteY220" fmla="*/ 154365 h 283771"/>
                <a:gd name="connsiteX221" fmla="*/ 1831459 w 2098515"/>
                <a:gd name="connsiteY221" fmla="*/ 159847 h 283771"/>
                <a:gd name="connsiteX222" fmla="*/ 1855407 w 2098515"/>
                <a:gd name="connsiteY222" fmla="*/ 169945 h 283771"/>
                <a:gd name="connsiteX223" fmla="*/ 1873152 w 2098515"/>
                <a:gd name="connsiteY223" fmla="*/ 188412 h 283771"/>
                <a:gd name="connsiteX224" fmla="*/ 1880076 w 2098515"/>
                <a:gd name="connsiteY224" fmla="*/ 218707 h 283771"/>
                <a:gd name="connsiteX225" fmla="*/ 1873440 w 2098515"/>
                <a:gd name="connsiteY225" fmla="*/ 246839 h 283771"/>
                <a:gd name="connsiteX226" fmla="*/ 1854974 w 2098515"/>
                <a:gd name="connsiteY226" fmla="*/ 267037 h 283771"/>
                <a:gd name="connsiteX227" fmla="*/ 1826842 w 2098515"/>
                <a:gd name="connsiteY227" fmla="*/ 279299 h 283771"/>
                <a:gd name="connsiteX228" fmla="*/ 1791353 w 2098515"/>
                <a:gd name="connsiteY228" fmla="*/ 283483 h 283771"/>
                <a:gd name="connsiteX229" fmla="*/ 2001260 w 2098515"/>
                <a:gd name="connsiteY229" fmla="*/ 283050 h 283771"/>
                <a:gd name="connsiteX230" fmla="*/ 1957836 w 2098515"/>
                <a:gd name="connsiteY230" fmla="*/ 275260 h 283771"/>
                <a:gd name="connsiteX231" fmla="*/ 1925087 w 2098515"/>
                <a:gd name="connsiteY231" fmla="*/ 253476 h 283771"/>
                <a:gd name="connsiteX232" fmla="*/ 1904457 w 2098515"/>
                <a:gd name="connsiteY232" fmla="*/ 220583 h 283771"/>
                <a:gd name="connsiteX233" fmla="*/ 1897244 w 2098515"/>
                <a:gd name="connsiteY233" fmla="*/ 179467 h 283771"/>
                <a:gd name="connsiteX234" fmla="*/ 1904457 w 2098515"/>
                <a:gd name="connsiteY234" fmla="*/ 138928 h 283771"/>
                <a:gd name="connsiteX235" fmla="*/ 1925087 w 2098515"/>
                <a:gd name="connsiteY235" fmla="*/ 106180 h 283771"/>
                <a:gd name="connsiteX236" fmla="*/ 1956682 w 2098515"/>
                <a:gd name="connsiteY236" fmla="*/ 84540 h 283771"/>
                <a:gd name="connsiteX237" fmla="*/ 1997509 w 2098515"/>
                <a:gd name="connsiteY237" fmla="*/ 76750 h 283771"/>
                <a:gd name="connsiteX238" fmla="*/ 2035018 w 2098515"/>
                <a:gd name="connsiteY238" fmla="*/ 83242 h 283771"/>
                <a:gd name="connsiteX239" fmla="*/ 2064160 w 2098515"/>
                <a:gd name="connsiteY239" fmla="*/ 101131 h 283771"/>
                <a:gd name="connsiteX240" fmla="*/ 2090272 w 2098515"/>
                <a:gd name="connsiteY240" fmla="*/ 141669 h 283771"/>
                <a:gd name="connsiteX241" fmla="*/ 2098495 w 2098515"/>
                <a:gd name="connsiteY241" fmla="*/ 195913 h 283771"/>
                <a:gd name="connsiteX242" fmla="*/ 1958269 w 2098515"/>
                <a:gd name="connsiteY242" fmla="*/ 195913 h 283771"/>
                <a:gd name="connsiteX243" fmla="*/ 1971974 w 2098515"/>
                <a:gd name="connsiteY243" fmla="*/ 227219 h 283771"/>
                <a:gd name="connsiteX244" fmla="*/ 2002125 w 2098515"/>
                <a:gd name="connsiteY244" fmla="*/ 238616 h 283771"/>
                <a:gd name="connsiteX245" fmla="*/ 2022323 w 2098515"/>
                <a:gd name="connsiteY245" fmla="*/ 233423 h 283771"/>
                <a:gd name="connsiteX246" fmla="*/ 2034585 w 2098515"/>
                <a:gd name="connsiteY246" fmla="*/ 219140 h 283771"/>
                <a:gd name="connsiteX247" fmla="*/ 2095177 w 2098515"/>
                <a:gd name="connsiteY247" fmla="*/ 219140 h 283771"/>
                <a:gd name="connsiteX248" fmla="*/ 2083780 w 2098515"/>
                <a:gd name="connsiteY248" fmla="*/ 244531 h 283771"/>
                <a:gd name="connsiteX249" fmla="*/ 2062429 w 2098515"/>
                <a:gd name="connsiteY249" fmla="*/ 265305 h 283771"/>
                <a:gd name="connsiteX250" fmla="*/ 2035162 w 2098515"/>
                <a:gd name="connsiteY250" fmla="*/ 278578 h 283771"/>
                <a:gd name="connsiteX251" fmla="*/ 2001404 w 2098515"/>
                <a:gd name="connsiteY251" fmla="*/ 283194 h 283771"/>
                <a:gd name="connsiteX252" fmla="*/ 2035739 w 2098515"/>
                <a:gd name="connsiteY252" fmla="*/ 158981 h 283771"/>
                <a:gd name="connsiteX253" fmla="*/ 2023910 w 2098515"/>
                <a:gd name="connsiteY253" fmla="*/ 131138 h 283771"/>
                <a:gd name="connsiteX254" fmla="*/ 1998807 w 2098515"/>
                <a:gd name="connsiteY254" fmla="*/ 120895 h 283771"/>
                <a:gd name="connsiteX255" fmla="*/ 1971397 w 2098515"/>
                <a:gd name="connsiteY255" fmla="*/ 131138 h 283771"/>
                <a:gd name="connsiteX256" fmla="*/ 1958846 w 2098515"/>
                <a:gd name="connsiteY256" fmla="*/ 158981 h 283771"/>
                <a:gd name="connsiteX257" fmla="*/ 2035739 w 2098515"/>
                <a:gd name="connsiteY257" fmla="*/ 158981 h 28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</a:cxnLst>
              <a:rect l="l" t="t" r="r" b="b"/>
              <a:pathLst>
                <a:path w="2098515" h="283771">
                  <a:moveTo>
                    <a:pt x="129551" y="283771"/>
                  </a:moveTo>
                  <a:cubicBezTo>
                    <a:pt x="109931" y="283771"/>
                    <a:pt x="92475" y="280453"/>
                    <a:pt x="77038" y="273817"/>
                  </a:cubicBezTo>
                  <a:cubicBezTo>
                    <a:pt x="61602" y="267181"/>
                    <a:pt x="48041" y="257804"/>
                    <a:pt x="36644" y="245685"/>
                  </a:cubicBezTo>
                  <a:cubicBezTo>
                    <a:pt x="24670" y="232701"/>
                    <a:pt x="15581" y="217553"/>
                    <a:pt x="9377" y="199953"/>
                  </a:cubicBezTo>
                  <a:cubicBezTo>
                    <a:pt x="3174" y="182497"/>
                    <a:pt x="0" y="163309"/>
                    <a:pt x="0" y="142391"/>
                  </a:cubicBezTo>
                  <a:cubicBezTo>
                    <a:pt x="0" y="121472"/>
                    <a:pt x="3462" y="100986"/>
                    <a:pt x="10531" y="82809"/>
                  </a:cubicBezTo>
                  <a:cubicBezTo>
                    <a:pt x="17456" y="64631"/>
                    <a:pt x="27411" y="49050"/>
                    <a:pt x="40395" y="36211"/>
                  </a:cubicBezTo>
                  <a:cubicBezTo>
                    <a:pt x="51792" y="24814"/>
                    <a:pt x="65208" y="15869"/>
                    <a:pt x="80789" y="9522"/>
                  </a:cubicBezTo>
                  <a:cubicBezTo>
                    <a:pt x="96226" y="3174"/>
                    <a:pt x="113970" y="0"/>
                    <a:pt x="133735" y="0"/>
                  </a:cubicBezTo>
                  <a:cubicBezTo>
                    <a:pt x="151191" y="0"/>
                    <a:pt x="167060" y="2164"/>
                    <a:pt x="180910" y="6636"/>
                  </a:cubicBezTo>
                  <a:cubicBezTo>
                    <a:pt x="194904" y="11108"/>
                    <a:pt x="207022" y="17456"/>
                    <a:pt x="217121" y="25679"/>
                  </a:cubicBezTo>
                  <a:cubicBezTo>
                    <a:pt x="227219" y="33903"/>
                    <a:pt x="235442" y="43857"/>
                    <a:pt x="241646" y="55542"/>
                  </a:cubicBezTo>
                  <a:cubicBezTo>
                    <a:pt x="247849" y="67228"/>
                    <a:pt x="252177" y="80212"/>
                    <a:pt x="254341" y="94350"/>
                  </a:cubicBezTo>
                  <a:lnTo>
                    <a:pt x="188844" y="94350"/>
                  </a:lnTo>
                  <a:cubicBezTo>
                    <a:pt x="186248" y="83242"/>
                    <a:pt x="180621" y="73864"/>
                    <a:pt x="171677" y="66507"/>
                  </a:cubicBezTo>
                  <a:cubicBezTo>
                    <a:pt x="162732" y="59149"/>
                    <a:pt x="150902" y="55398"/>
                    <a:pt x="135899" y="55398"/>
                  </a:cubicBezTo>
                  <a:cubicBezTo>
                    <a:pt x="124646" y="55398"/>
                    <a:pt x="114836" y="57706"/>
                    <a:pt x="106324" y="62034"/>
                  </a:cubicBezTo>
                  <a:cubicBezTo>
                    <a:pt x="97812" y="66507"/>
                    <a:pt x="90743" y="72566"/>
                    <a:pt x="85117" y="80356"/>
                  </a:cubicBezTo>
                  <a:cubicBezTo>
                    <a:pt x="79491" y="88147"/>
                    <a:pt x="75307" y="97235"/>
                    <a:pt x="72566" y="107767"/>
                  </a:cubicBezTo>
                  <a:cubicBezTo>
                    <a:pt x="69825" y="118298"/>
                    <a:pt x="68382" y="129839"/>
                    <a:pt x="68382" y="142246"/>
                  </a:cubicBezTo>
                  <a:cubicBezTo>
                    <a:pt x="68382" y="154653"/>
                    <a:pt x="69969" y="166195"/>
                    <a:pt x="73143" y="176870"/>
                  </a:cubicBezTo>
                  <a:cubicBezTo>
                    <a:pt x="76317" y="187546"/>
                    <a:pt x="80789" y="196779"/>
                    <a:pt x="86704" y="204425"/>
                  </a:cubicBezTo>
                  <a:cubicBezTo>
                    <a:pt x="92619" y="212215"/>
                    <a:pt x="99688" y="218275"/>
                    <a:pt x="108200" y="222458"/>
                  </a:cubicBezTo>
                  <a:cubicBezTo>
                    <a:pt x="116711" y="226786"/>
                    <a:pt x="126233" y="228950"/>
                    <a:pt x="136909" y="228950"/>
                  </a:cubicBezTo>
                  <a:cubicBezTo>
                    <a:pt x="145709" y="228950"/>
                    <a:pt x="153788" y="227652"/>
                    <a:pt x="160712" y="224911"/>
                  </a:cubicBezTo>
                  <a:cubicBezTo>
                    <a:pt x="167637" y="222314"/>
                    <a:pt x="173696" y="218707"/>
                    <a:pt x="178601" y="214235"/>
                  </a:cubicBezTo>
                  <a:cubicBezTo>
                    <a:pt x="183507" y="209763"/>
                    <a:pt x="187546" y="204714"/>
                    <a:pt x="190431" y="198943"/>
                  </a:cubicBezTo>
                  <a:cubicBezTo>
                    <a:pt x="193317" y="193317"/>
                    <a:pt x="195192" y="187402"/>
                    <a:pt x="195913" y="181198"/>
                  </a:cubicBezTo>
                  <a:lnTo>
                    <a:pt x="195913" y="180477"/>
                  </a:lnTo>
                  <a:lnTo>
                    <a:pt x="144843" y="180477"/>
                  </a:lnTo>
                  <a:lnTo>
                    <a:pt x="144843" y="130994"/>
                  </a:lnTo>
                  <a:lnTo>
                    <a:pt x="258381" y="130994"/>
                  </a:lnTo>
                  <a:lnTo>
                    <a:pt x="258381" y="277279"/>
                  </a:lnTo>
                  <a:lnTo>
                    <a:pt x="211206" y="277279"/>
                  </a:lnTo>
                  <a:lnTo>
                    <a:pt x="207455" y="244531"/>
                  </a:lnTo>
                  <a:lnTo>
                    <a:pt x="206733" y="244531"/>
                  </a:lnTo>
                  <a:cubicBezTo>
                    <a:pt x="197789" y="258525"/>
                    <a:pt x="186825" y="268479"/>
                    <a:pt x="173841" y="274394"/>
                  </a:cubicBezTo>
                  <a:cubicBezTo>
                    <a:pt x="160712" y="280309"/>
                    <a:pt x="145997" y="283339"/>
                    <a:pt x="129407" y="283339"/>
                  </a:cubicBezTo>
                  <a:moveTo>
                    <a:pt x="358357" y="282906"/>
                  </a:moveTo>
                  <a:cubicBezTo>
                    <a:pt x="335707" y="282906"/>
                    <a:pt x="318684" y="276270"/>
                    <a:pt x="307143" y="262853"/>
                  </a:cubicBezTo>
                  <a:cubicBezTo>
                    <a:pt x="295601" y="249580"/>
                    <a:pt x="289831" y="231980"/>
                    <a:pt x="289831" y="210051"/>
                  </a:cubicBezTo>
                  <a:lnTo>
                    <a:pt x="289831" y="82087"/>
                  </a:lnTo>
                  <a:lnTo>
                    <a:pt x="351577" y="82087"/>
                  </a:lnTo>
                  <a:lnTo>
                    <a:pt x="351577" y="197212"/>
                  </a:lnTo>
                  <a:cubicBezTo>
                    <a:pt x="351577" y="207887"/>
                    <a:pt x="354029" y="216111"/>
                    <a:pt x="358790" y="221737"/>
                  </a:cubicBezTo>
                  <a:cubicBezTo>
                    <a:pt x="363551" y="227508"/>
                    <a:pt x="371052" y="230249"/>
                    <a:pt x="380863" y="230249"/>
                  </a:cubicBezTo>
                  <a:cubicBezTo>
                    <a:pt x="391538" y="230249"/>
                    <a:pt x="399906" y="226642"/>
                    <a:pt x="405965" y="219429"/>
                  </a:cubicBezTo>
                  <a:cubicBezTo>
                    <a:pt x="412024" y="212215"/>
                    <a:pt x="415054" y="202694"/>
                    <a:pt x="415054" y="191008"/>
                  </a:cubicBezTo>
                  <a:lnTo>
                    <a:pt x="415054" y="82087"/>
                  </a:lnTo>
                  <a:lnTo>
                    <a:pt x="477088" y="82087"/>
                  </a:lnTo>
                  <a:lnTo>
                    <a:pt x="477088" y="277135"/>
                  </a:lnTo>
                  <a:lnTo>
                    <a:pt x="417650" y="277135"/>
                  </a:lnTo>
                  <a:lnTo>
                    <a:pt x="417650" y="253187"/>
                  </a:lnTo>
                  <a:lnTo>
                    <a:pt x="416496" y="253187"/>
                  </a:lnTo>
                  <a:cubicBezTo>
                    <a:pt x="409427" y="262853"/>
                    <a:pt x="401348" y="270210"/>
                    <a:pt x="392260" y="275260"/>
                  </a:cubicBezTo>
                  <a:cubicBezTo>
                    <a:pt x="383315" y="280309"/>
                    <a:pt x="371918" y="282906"/>
                    <a:pt x="358213" y="282906"/>
                  </a:cubicBezTo>
                  <a:moveTo>
                    <a:pt x="512433" y="2164"/>
                  </a:moveTo>
                  <a:lnTo>
                    <a:pt x="574468" y="2164"/>
                  </a:lnTo>
                  <a:lnTo>
                    <a:pt x="574468" y="55110"/>
                  </a:lnTo>
                  <a:lnTo>
                    <a:pt x="512433" y="55110"/>
                  </a:lnTo>
                  <a:lnTo>
                    <a:pt x="512433" y="2164"/>
                  </a:lnTo>
                  <a:close/>
                  <a:moveTo>
                    <a:pt x="512433" y="82087"/>
                  </a:moveTo>
                  <a:lnTo>
                    <a:pt x="574468" y="82087"/>
                  </a:lnTo>
                  <a:lnTo>
                    <a:pt x="574468" y="277135"/>
                  </a:lnTo>
                  <a:lnTo>
                    <a:pt x="512433" y="277135"/>
                  </a:lnTo>
                  <a:lnTo>
                    <a:pt x="512433" y="82087"/>
                  </a:lnTo>
                  <a:close/>
                  <a:moveTo>
                    <a:pt x="686563" y="283194"/>
                  </a:moveTo>
                  <a:cubicBezTo>
                    <a:pt x="674156" y="283194"/>
                    <a:pt x="662614" y="280886"/>
                    <a:pt x="652227" y="276125"/>
                  </a:cubicBezTo>
                  <a:cubicBezTo>
                    <a:pt x="641840" y="271365"/>
                    <a:pt x="632751" y="264584"/>
                    <a:pt x="625249" y="255784"/>
                  </a:cubicBezTo>
                  <a:cubicBezTo>
                    <a:pt x="617603" y="246839"/>
                    <a:pt x="611688" y="236019"/>
                    <a:pt x="607505" y="223180"/>
                  </a:cubicBezTo>
                  <a:cubicBezTo>
                    <a:pt x="603321" y="210340"/>
                    <a:pt x="601157" y="195769"/>
                    <a:pt x="601157" y="179611"/>
                  </a:cubicBezTo>
                  <a:cubicBezTo>
                    <a:pt x="601157" y="164319"/>
                    <a:pt x="603321" y="150470"/>
                    <a:pt x="607505" y="137630"/>
                  </a:cubicBezTo>
                  <a:cubicBezTo>
                    <a:pt x="611688" y="124934"/>
                    <a:pt x="617603" y="114114"/>
                    <a:pt x="624961" y="105026"/>
                  </a:cubicBezTo>
                  <a:cubicBezTo>
                    <a:pt x="632463" y="96081"/>
                    <a:pt x="641407" y="89012"/>
                    <a:pt x="651794" y="83819"/>
                  </a:cubicBezTo>
                  <a:cubicBezTo>
                    <a:pt x="662182" y="78769"/>
                    <a:pt x="673723" y="76172"/>
                    <a:pt x="686418" y="76172"/>
                  </a:cubicBezTo>
                  <a:cubicBezTo>
                    <a:pt x="700124" y="76172"/>
                    <a:pt x="711232" y="78769"/>
                    <a:pt x="719600" y="83963"/>
                  </a:cubicBezTo>
                  <a:cubicBezTo>
                    <a:pt x="727967" y="89156"/>
                    <a:pt x="735036" y="95793"/>
                    <a:pt x="740951" y="104016"/>
                  </a:cubicBezTo>
                  <a:lnTo>
                    <a:pt x="742105" y="104016"/>
                  </a:lnTo>
                  <a:lnTo>
                    <a:pt x="742105" y="1875"/>
                  </a:lnTo>
                  <a:lnTo>
                    <a:pt x="804139" y="1875"/>
                  </a:lnTo>
                  <a:lnTo>
                    <a:pt x="804139" y="276991"/>
                  </a:lnTo>
                  <a:lnTo>
                    <a:pt x="744702" y="276991"/>
                  </a:lnTo>
                  <a:lnTo>
                    <a:pt x="744702" y="250735"/>
                  </a:lnTo>
                  <a:lnTo>
                    <a:pt x="743981" y="250735"/>
                  </a:lnTo>
                  <a:cubicBezTo>
                    <a:pt x="738210" y="260833"/>
                    <a:pt x="730275" y="268768"/>
                    <a:pt x="720609" y="274538"/>
                  </a:cubicBezTo>
                  <a:cubicBezTo>
                    <a:pt x="710799" y="280309"/>
                    <a:pt x="699547" y="283050"/>
                    <a:pt x="686563" y="283050"/>
                  </a:cubicBezTo>
                  <a:moveTo>
                    <a:pt x="702576" y="233855"/>
                  </a:moveTo>
                  <a:cubicBezTo>
                    <a:pt x="715560" y="233855"/>
                    <a:pt x="725659" y="228806"/>
                    <a:pt x="732872" y="218563"/>
                  </a:cubicBezTo>
                  <a:cubicBezTo>
                    <a:pt x="740085" y="208465"/>
                    <a:pt x="743692" y="195336"/>
                    <a:pt x="743692" y="179323"/>
                  </a:cubicBezTo>
                  <a:cubicBezTo>
                    <a:pt x="743692" y="171244"/>
                    <a:pt x="742826" y="163598"/>
                    <a:pt x="741239" y="156673"/>
                  </a:cubicBezTo>
                  <a:cubicBezTo>
                    <a:pt x="739653" y="149748"/>
                    <a:pt x="737056" y="143689"/>
                    <a:pt x="733593" y="138784"/>
                  </a:cubicBezTo>
                  <a:cubicBezTo>
                    <a:pt x="730131" y="133879"/>
                    <a:pt x="725947" y="129984"/>
                    <a:pt x="721042" y="127098"/>
                  </a:cubicBezTo>
                  <a:cubicBezTo>
                    <a:pt x="716137" y="124357"/>
                    <a:pt x="710222" y="122915"/>
                    <a:pt x="703297" y="122915"/>
                  </a:cubicBezTo>
                  <a:cubicBezTo>
                    <a:pt x="690891" y="122915"/>
                    <a:pt x="681225" y="128108"/>
                    <a:pt x="674300" y="138351"/>
                  </a:cubicBezTo>
                  <a:cubicBezTo>
                    <a:pt x="667375" y="148594"/>
                    <a:pt x="664057" y="162011"/>
                    <a:pt x="664057" y="178601"/>
                  </a:cubicBezTo>
                  <a:cubicBezTo>
                    <a:pt x="664057" y="195192"/>
                    <a:pt x="667375" y="209042"/>
                    <a:pt x="674156" y="218996"/>
                  </a:cubicBezTo>
                  <a:cubicBezTo>
                    <a:pt x="680936" y="228950"/>
                    <a:pt x="690314" y="233855"/>
                    <a:pt x="702576" y="233855"/>
                  </a:cubicBezTo>
                  <a:moveTo>
                    <a:pt x="931094" y="282617"/>
                  </a:moveTo>
                  <a:cubicBezTo>
                    <a:pt x="915080" y="282617"/>
                    <a:pt x="900654" y="280021"/>
                    <a:pt x="887670" y="274827"/>
                  </a:cubicBezTo>
                  <a:cubicBezTo>
                    <a:pt x="874686" y="269633"/>
                    <a:pt x="863721" y="262420"/>
                    <a:pt x="854921" y="253043"/>
                  </a:cubicBezTo>
                  <a:cubicBezTo>
                    <a:pt x="845977" y="243810"/>
                    <a:pt x="839196" y="232845"/>
                    <a:pt x="834291" y="220150"/>
                  </a:cubicBezTo>
                  <a:cubicBezTo>
                    <a:pt x="829530" y="207455"/>
                    <a:pt x="827078" y="193749"/>
                    <a:pt x="827078" y="179034"/>
                  </a:cubicBezTo>
                  <a:cubicBezTo>
                    <a:pt x="827078" y="164319"/>
                    <a:pt x="829530" y="151047"/>
                    <a:pt x="834291" y="138495"/>
                  </a:cubicBezTo>
                  <a:cubicBezTo>
                    <a:pt x="839052" y="125944"/>
                    <a:pt x="845977" y="114980"/>
                    <a:pt x="854921" y="105747"/>
                  </a:cubicBezTo>
                  <a:cubicBezTo>
                    <a:pt x="863866" y="96514"/>
                    <a:pt x="874397" y="89301"/>
                    <a:pt x="886515" y="84107"/>
                  </a:cubicBezTo>
                  <a:cubicBezTo>
                    <a:pt x="898634" y="78914"/>
                    <a:pt x="912339" y="76317"/>
                    <a:pt x="927343" y="76317"/>
                  </a:cubicBezTo>
                  <a:cubicBezTo>
                    <a:pt x="941337" y="76317"/>
                    <a:pt x="953888" y="78481"/>
                    <a:pt x="964852" y="82809"/>
                  </a:cubicBezTo>
                  <a:cubicBezTo>
                    <a:pt x="975960" y="87137"/>
                    <a:pt x="985626" y="93052"/>
                    <a:pt x="993994" y="100698"/>
                  </a:cubicBezTo>
                  <a:cubicBezTo>
                    <a:pt x="1005679" y="111373"/>
                    <a:pt x="1014335" y="124934"/>
                    <a:pt x="1020106" y="141237"/>
                  </a:cubicBezTo>
                  <a:cubicBezTo>
                    <a:pt x="1025877" y="157683"/>
                    <a:pt x="1028473" y="175716"/>
                    <a:pt x="1028329" y="195481"/>
                  </a:cubicBezTo>
                  <a:lnTo>
                    <a:pt x="888102" y="195481"/>
                  </a:lnTo>
                  <a:cubicBezTo>
                    <a:pt x="890122" y="208753"/>
                    <a:pt x="894739" y="219140"/>
                    <a:pt x="901808" y="226786"/>
                  </a:cubicBezTo>
                  <a:cubicBezTo>
                    <a:pt x="908877" y="234432"/>
                    <a:pt x="918975" y="238183"/>
                    <a:pt x="931959" y="238183"/>
                  </a:cubicBezTo>
                  <a:cubicBezTo>
                    <a:pt x="940038" y="238183"/>
                    <a:pt x="946819" y="236452"/>
                    <a:pt x="952157" y="232990"/>
                  </a:cubicBezTo>
                  <a:cubicBezTo>
                    <a:pt x="957494" y="229527"/>
                    <a:pt x="961534" y="224767"/>
                    <a:pt x="964275" y="218707"/>
                  </a:cubicBezTo>
                  <a:lnTo>
                    <a:pt x="1024867" y="218707"/>
                  </a:lnTo>
                  <a:cubicBezTo>
                    <a:pt x="1022847" y="227652"/>
                    <a:pt x="1018952" y="236019"/>
                    <a:pt x="1013470" y="244098"/>
                  </a:cubicBezTo>
                  <a:cubicBezTo>
                    <a:pt x="1007843" y="252033"/>
                    <a:pt x="1000774" y="258958"/>
                    <a:pt x="992118" y="264873"/>
                  </a:cubicBezTo>
                  <a:cubicBezTo>
                    <a:pt x="984039" y="270787"/>
                    <a:pt x="974951" y="275115"/>
                    <a:pt x="964852" y="278145"/>
                  </a:cubicBezTo>
                  <a:cubicBezTo>
                    <a:pt x="954898" y="281175"/>
                    <a:pt x="943645" y="282762"/>
                    <a:pt x="931094" y="282762"/>
                  </a:cubicBezTo>
                  <a:moveTo>
                    <a:pt x="965429" y="158548"/>
                  </a:moveTo>
                  <a:cubicBezTo>
                    <a:pt x="964131" y="146863"/>
                    <a:pt x="960235" y="137630"/>
                    <a:pt x="953599" y="130705"/>
                  </a:cubicBezTo>
                  <a:cubicBezTo>
                    <a:pt x="946963" y="123925"/>
                    <a:pt x="938596" y="120462"/>
                    <a:pt x="928497" y="120462"/>
                  </a:cubicBezTo>
                  <a:cubicBezTo>
                    <a:pt x="916523" y="120462"/>
                    <a:pt x="907434" y="123925"/>
                    <a:pt x="901086" y="130705"/>
                  </a:cubicBezTo>
                  <a:cubicBezTo>
                    <a:pt x="894739" y="137630"/>
                    <a:pt x="890555" y="146863"/>
                    <a:pt x="888535" y="158548"/>
                  </a:cubicBezTo>
                  <a:lnTo>
                    <a:pt x="965429" y="158548"/>
                  </a:lnTo>
                  <a:close/>
                  <a:moveTo>
                    <a:pt x="1051123" y="2020"/>
                  </a:moveTo>
                  <a:lnTo>
                    <a:pt x="1113158" y="2020"/>
                  </a:lnTo>
                  <a:lnTo>
                    <a:pt x="1113158" y="106036"/>
                  </a:lnTo>
                  <a:lnTo>
                    <a:pt x="1114312" y="106036"/>
                  </a:lnTo>
                  <a:cubicBezTo>
                    <a:pt x="1121381" y="96658"/>
                    <a:pt x="1129460" y="89301"/>
                    <a:pt x="1138260" y="84107"/>
                  </a:cubicBezTo>
                  <a:cubicBezTo>
                    <a:pt x="1147204" y="78914"/>
                    <a:pt x="1158457" y="76317"/>
                    <a:pt x="1172162" y="76317"/>
                  </a:cubicBezTo>
                  <a:cubicBezTo>
                    <a:pt x="1182838" y="76317"/>
                    <a:pt x="1192360" y="78192"/>
                    <a:pt x="1200727" y="81799"/>
                  </a:cubicBezTo>
                  <a:cubicBezTo>
                    <a:pt x="1209095" y="85406"/>
                    <a:pt x="1216164" y="90599"/>
                    <a:pt x="1222079" y="97091"/>
                  </a:cubicBezTo>
                  <a:cubicBezTo>
                    <a:pt x="1227993" y="103583"/>
                    <a:pt x="1232321" y="111373"/>
                    <a:pt x="1235495" y="120318"/>
                  </a:cubicBezTo>
                  <a:cubicBezTo>
                    <a:pt x="1238525" y="129262"/>
                    <a:pt x="1240112" y="139361"/>
                    <a:pt x="1240112" y="150181"/>
                  </a:cubicBezTo>
                  <a:lnTo>
                    <a:pt x="1240112" y="276991"/>
                  </a:lnTo>
                  <a:lnTo>
                    <a:pt x="1178077" y="276991"/>
                  </a:lnTo>
                  <a:lnTo>
                    <a:pt x="1178077" y="162732"/>
                  </a:lnTo>
                  <a:cubicBezTo>
                    <a:pt x="1178077" y="152345"/>
                    <a:pt x="1175481" y="143978"/>
                    <a:pt x="1170431" y="137630"/>
                  </a:cubicBezTo>
                  <a:cubicBezTo>
                    <a:pt x="1165382" y="131282"/>
                    <a:pt x="1157736" y="128108"/>
                    <a:pt x="1147637" y="128108"/>
                  </a:cubicBezTo>
                  <a:cubicBezTo>
                    <a:pt x="1137539" y="128108"/>
                    <a:pt x="1128883" y="131859"/>
                    <a:pt x="1122679" y="139505"/>
                  </a:cubicBezTo>
                  <a:cubicBezTo>
                    <a:pt x="1116476" y="147151"/>
                    <a:pt x="1113302" y="157106"/>
                    <a:pt x="1113302" y="169224"/>
                  </a:cubicBezTo>
                  <a:lnTo>
                    <a:pt x="1113302" y="276991"/>
                  </a:lnTo>
                  <a:lnTo>
                    <a:pt x="1051267" y="276991"/>
                  </a:lnTo>
                  <a:lnTo>
                    <a:pt x="1051267" y="1875"/>
                  </a:lnTo>
                  <a:close/>
                  <a:moveTo>
                    <a:pt x="1363892" y="283194"/>
                  </a:moveTo>
                  <a:cubicBezTo>
                    <a:pt x="1348167" y="283194"/>
                    <a:pt x="1333885" y="280598"/>
                    <a:pt x="1321045" y="275404"/>
                  </a:cubicBezTo>
                  <a:cubicBezTo>
                    <a:pt x="1308205" y="270210"/>
                    <a:pt x="1297241" y="262997"/>
                    <a:pt x="1288008" y="253620"/>
                  </a:cubicBezTo>
                  <a:cubicBezTo>
                    <a:pt x="1278919" y="244387"/>
                    <a:pt x="1271850" y="233423"/>
                    <a:pt x="1266945" y="220871"/>
                  </a:cubicBezTo>
                  <a:cubicBezTo>
                    <a:pt x="1262040" y="208320"/>
                    <a:pt x="1259443" y="194615"/>
                    <a:pt x="1259443" y="179900"/>
                  </a:cubicBezTo>
                  <a:cubicBezTo>
                    <a:pt x="1259443" y="165185"/>
                    <a:pt x="1261896" y="151479"/>
                    <a:pt x="1266945" y="138928"/>
                  </a:cubicBezTo>
                  <a:cubicBezTo>
                    <a:pt x="1271850" y="126377"/>
                    <a:pt x="1278919" y="115413"/>
                    <a:pt x="1288008" y="106180"/>
                  </a:cubicBezTo>
                  <a:cubicBezTo>
                    <a:pt x="1297097" y="96947"/>
                    <a:pt x="1308205" y="89734"/>
                    <a:pt x="1321045" y="84540"/>
                  </a:cubicBezTo>
                  <a:cubicBezTo>
                    <a:pt x="1333885" y="79346"/>
                    <a:pt x="1348167" y="76750"/>
                    <a:pt x="1363892" y="76750"/>
                  </a:cubicBezTo>
                  <a:cubicBezTo>
                    <a:pt x="1379617" y="76750"/>
                    <a:pt x="1393900" y="79346"/>
                    <a:pt x="1406739" y="84540"/>
                  </a:cubicBezTo>
                  <a:cubicBezTo>
                    <a:pt x="1419579" y="89734"/>
                    <a:pt x="1430543" y="96947"/>
                    <a:pt x="1439487" y="106180"/>
                  </a:cubicBezTo>
                  <a:cubicBezTo>
                    <a:pt x="1448432" y="115413"/>
                    <a:pt x="1455501" y="126377"/>
                    <a:pt x="1460406" y="138928"/>
                  </a:cubicBezTo>
                  <a:cubicBezTo>
                    <a:pt x="1465311" y="151479"/>
                    <a:pt x="1467764" y="165185"/>
                    <a:pt x="1467764" y="179900"/>
                  </a:cubicBezTo>
                  <a:cubicBezTo>
                    <a:pt x="1467764" y="194615"/>
                    <a:pt x="1465311" y="208320"/>
                    <a:pt x="1460406" y="220871"/>
                  </a:cubicBezTo>
                  <a:cubicBezTo>
                    <a:pt x="1455501" y="233423"/>
                    <a:pt x="1448432" y="244387"/>
                    <a:pt x="1439487" y="253620"/>
                  </a:cubicBezTo>
                  <a:cubicBezTo>
                    <a:pt x="1430543" y="262853"/>
                    <a:pt x="1419579" y="270066"/>
                    <a:pt x="1406739" y="275404"/>
                  </a:cubicBezTo>
                  <a:cubicBezTo>
                    <a:pt x="1393900" y="280598"/>
                    <a:pt x="1379617" y="283194"/>
                    <a:pt x="1363892" y="283194"/>
                  </a:cubicBezTo>
                  <a:moveTo>
                    <a:pt x="1363459" y="239049"/>
                  </a:moveTo>
                  <a:cubicBezTo>
                    <a:pt x="1377165" y="239049"/>
                    <a:pt x="1387552" y="233711"/>
                    <a:pt x="1394477" y="222891"/>
                  </a:cubicBezTo>
                  <a:cubicBezTo>
                    <a:pt x="1401546" y="212071"/>
                    <a:pt x="1405008" y="197789"/>
                    <a:pt x="1405008" y="180044"/>
                  </a:cubicBezTo>
                  <a:cubicBezTo>
                    <a:pt x="1405008" y="162299"/>
                    <a:pt x="1401546" y="147873"/>
                    <a:pt x="1394477" y="137053"/>
                  </a:cubicBezTo>
                  <a:cubicBezTo>
                    <a:pt x="1387552" y="126089"/>
                    <a:pt x="1377165" y="120606"/>
                    <a:pt x="1363459" y="120606"/>
                  </a:cubicBezTo>
                  <a:cubicBezTo>
                    <a:pt x="1349754" y="120606"/>
                    <a:pt x="1339511" y="126089"/>
                    <a:pt x="1332586" y="137053"/>
                  </a:cubicBezTo>
                  <a:cubicBezTo>
                    <a:pt x="1325806" y="148017"/>
                    <a:pt x="1322343" y="162299"/>
                    <a:pt x="1322343" y="180044"/>
                  </a:cubicBezTo>
                  <a:cubicBezTo>
                    <a:pt x="1322343" y="197789"/>
                    <a:pt x="1325806" y="212071"/>
                    <a:pt x="1332586" y="222891"/>
                  </a:cubicBezTo>
                  <a:cubicBezTo>
                    <a:pt x="1339511" y="233711"/>
                    <a:pt x="1349754" y="239049"/>
                    <a:pt x="1363459" y="239049"/>
                  </a:cubicBezTo>
                  <a:moveTo>
                    <a:pt x="1555910" y="282906"/>
                  </a:moveTo>
                  <a:cubicBezTo>
                    <a:pt x="1533260" y="282906"/>
                    <a:pt x="1516237" y="276270"/>
                    <a:pt x="1504696" y="262853"/>
                  </a:cubicBezTo>
                  <a:cubicBezTo>
                    <a:pt x="1493154" y="249580"/>
                    <a:pt x="1487384" y="231980"/>
                    <a:pt x="1487384" y="210051"/>
                  </a:cubicBezTo>
                  <a:lnTo>
                    <a:pt x="1487384" y="82087"/>
                  </a:lnTo>
                  <a:lnTo>
                    <a:pt x="1549130" y="82087"/>
                  </a:lnTo>
                  <a:lnTo>
                    <a:pt x="1549130" y="197212"/>
                  </a:lnTo>
                  <a:cubicBezTo>
                    <a:pt x="1549130" y="207887"/>
                    <a:pt x="1551582" y="216111"/>
                    <a:pt x="1556343" y="221737"/>
                  </a:cubicBezTo>
                  <a:cubicBezTo>
                    <a:pt x="1561104" y="227508"/>
                    <a:pt x="1568606" y="230249"/>
                    <a:pt x="1578416" y="230249"/>
                  </a:cubicBezTo>
                  <a:cubicBezTo>
                    <a:pt x="1589092" y="230249"/>
                    <a:pt x="1597459" y="226642"/>
                    <a:pt x="1603518" y="219429"/>
                  </a:cubicBezTo>
                  <a:cubicBezTo>
                    <a:pt x="1609577" y="212215"/>
                    <a:pt x="1612607" y="202694"/>
                    <a:pt x="1612607" y="191008"/>
                  </a:cubicBezTo>
                  <a:lnTo>
                    <a:pt x="1612607" y="82087"/>
                  </a:lnTo>
                  <a:lnTo>
                    <a:pt x="1674641" y="82087"/>
                  </a:lnTo>
                  <a:lnTo>
                    <a:pt x="1674641" y="277135"/>
                  </a:lnTo>
                  <a:lnTo>
                    <a:pt x="1615204" y="277135"/>
                  </a:lnTo>
                  <a:lnTo>
                    <a:pt x="1615204" y="253187"/>
                  </a:lnTo>
                  <a:lnTo>
                    <a:pt x="1614050" y="253187"/>
                  </a:lnTo>
                  <a:cubicBezTo>
                    <a:pt x="1606980" y="262853"/>
                    <a:pt x="1598902" y="270210"/>
                    <a:pt x="1589813" y="275260"/>
                  </a:cubicBezTo>
                  <a:cubicBezTo>
                    <a:pt x="1580868" y="280309"/>
                    <a:pt x="1569471" y="282906"/>
                    <a:pt x="1555766" y="282906"/>
                  </a:cubicBezTo>
                  <a:moveTo>
                    <a:pt x="1791208" y="283339"/>
                  </a:moveTo>
                  <a:cubicBezTo>
                    <a:pt x="1762499" y="283339"/>
                    <a:pt x="1739850" y="277135"/>
                    <a:pt x="1722971" y="264873"/>
                  </a:cubicBezTo>
                  <a:cubicBezTo>
                    <a:pt x="1706236" y="252610"/>
                    <a:pt x="1697291" y="235587"/>
                    <a:pt x="1696281" y="213947"/>
                  </a:cubicBezTo>
                  <a:lnTo>
                    <a:pt x="1754998" y="213947"/>
                  </a:lnTo>
                  <a:cubicBezTo>
                    <a:pt x="1756296" y="223612"/>
                    <a:pt x="1759903" y="230826"/>
                    <a:pt x="1766106" y="235731"/>
                  </a:cubicBezTo>
                  <a:cubicBezTo>
                    <a:pt x="1772165" y="240492"/>
                    <a:pt x="1780388" y="242944"/>
                    <a:pt x="1790920" y="242944"/>
                  </a:cubicBezTo>
                  <a:cubicBezTo>
                    <a:pt x="1800297" y="242944"/>
                    <a:pt x="1807799" y="241357"/>
                    <a:pt x="1813137" y="238039"/>
                  </a:cubicBezTo>
                  <a:cubicBezTo>
                    <a:pt x="1818619" y="234721"/>
                    <a:pt x="1821360" y="229960"/>
                    <a:pt x="1821360" y="223612"/>
                  </a:cubicBezTo>
                  <a:cubicBezTo>
                    <a:pt x="1821360" y="219284"/>
                    <a:pt x="1819917" y="215822"/>
                    <a:pt x="1817176" y="213081"/>
                  </a:cubicBezTo>
                  <a:cubicBezTo>
                    <a:pt x="1814435" y="210484"/>
                    <a:pt x="1810684" y="208320"/>
                    <a:pt x="1806068" y="206589"/>
                  </a:cubicBezTo>
                  <a:cubicBezTo>
                    <a:pt x="1801451" y="205002"/>
                    <a:pt x="1796258" y="203704"/>
                    <a:pt x="1790199" y="202838"/>
                  </a:cubicBezTo>
                  <a:cubicBezTo>
                    <a:pt x="1784284" y="201973"/>
                    <a:pt x="1778080" y="200818"/>
                    <a:pt x="1771732" y="199664"/>
                  </a:cubicBezTo>
                  <a:cubicBezTo>
                    <a:pt x="1763365" y="198077"/>
                    <a:pt x="1754998" y="196346"/>
                    <a:pt x="1746630" y="194182"/>
                  </a:cubicBezTo>
                  <a:cubicBezTo>
                    <a:pt x="1738263" y="192018"/>
                    <a:pt x="1730761" y="188844"/>
                    <a:pt x="1723980" y="184516"/>
                  </a:cubicBezTo>
                  <a:cubicBezTo>
                    <a:pt x="1717200" y="180188"/>
                    <a:pt x="1711862" y="174418"/>
                    <a:pt x="1707823" y="167204"/>
                  </a:cubicBezTo>
                  <a:cubicBezTo>
                    <a:pt x="1703783" y="159991"/>
                    <a:pt x="1701763" y="150614"/>
                    <a:pt x="1701763" y="139217"/>
                  </a:cubicBezTo>
                  <a:cubicBezTo>
                    <a:pt x="1701763" y="129118"/>
                    <a:pt x="1703927" y="120029"/>
                    <a:pt x="1708400" y="112095"/>
                  </a:cubicBezTo>
                  <a:cubicBezTo>
                    <a:pt x="1712872" y="104304"/>
                    <a:pt x="1718931" y="97668"/>
                    <a:pt x="1726577" y="92475"/>
                  </a:cubicBezTo>
                  <a:cubicBezTo>
                    <a:pt x="1734223" y="87281"/>
                    <a:pt x="1743168" y="83386"/>
                    <a:pt x="1753411" y="80645"/>
                  </a:cubicBezTo>
                  <a:cubicBezTo>
                    <a:pt x="1763653" y="78048"/>
                    <a:pt x="1774618" y="76605"/>
                    <a:pt x="1786015" y="76605"/>
                  </a:cubicBezTo>
                  <a:cubicBezTo>
                    <a:pt x="1813714" y="76605"/>
                    <a:pt x="1834921" y="82232"/>
                    <a:pt x="1849636" y="93340"/>
                  </a:cubicBezTo>
                  <a:cubicBezTo>
                    <a:pt x="1864351" y="104449"/>
                    <a:pt x="1872430" y="119741"/>
                    <a:pt x="1874017" y="139073"/>
                  </a:cubicBezTo>
                  <a:lnTo>
                    <a:pt x="1816888" y="139073"/>
                  </a:lnTo>
                  <a:cubicBezTo>
                    <a:pt x="1815589" y="130128"/>
                    <a:pt x="1812271" y="124213"/>
                    <a:pt x="1806789" y="121039"/>
                  </a:cubicBezTo>
                  <a:cubicBezTo>
                    <a:pt x="1801307" y="117865"/>
                    <a:pt x="1794238" y="116278"/>
                    <a:pt x="1785582" y="116278"/>
                  </a:cubicBezTo>
                  <a:cubicBezTo>
                    <a:pt x="1777936" y="116278"/>
                    <a:pt x="1771588" y="117721"/>
                    <a:pt x="1766395" y="120606"/>
                  </a:cubicBezTo>
                  <a:cubicBezTo>
                    <a:pt x="1761201" y="123492"/>
                    <a:pt x="1758604" y="127964"/>
                    <a:pt x="1758604" y="134167"/>
                  </a:cubicBezTo>
                  <a:cubicBezTo>
                    <a:pt x="1758604" y="137774"/>
                    <a:pt x="1759903" y="140515"/>
                    <a:pt x="1762355" y="142535"/>
                  </a:cubicBezTo>
                  <a:cubicBezTo>
                    <a:pt x="1764952" y="144555"/>
                    <a:pt x="1768270" y="146286"/>
                    <a:pt x="1772598" y="147728"/>
                  </a:cubicBezTo>
                  <a:cubicBezTo>
                    <a:pt x="1776926" y="149171"/>
                    <a:pt x="1781975" y="150325"/>
                    <a:pt x="1787602" y="151335"/>
                  </a:cubicBezTo>
                  <a:cubicBezTo>
                    <a:pt x="1793372" y="152345"/>
                    <a:pt x="1799287" y="153355"/>
                    <a:pt x="1805346" y="154365"/>
                  </a:cubicBezTo>
                  <a:cubicBezTo>
                    <a:pt x="1814002" y="155807"/>
                    <a:pt x="1822659" y="157683"/>
                    <a:pt x="1831459" y="159847"/>
                  </a:cubicBezTo>
                  <a:cubicBezTo>
                    <a:pt x="1840259" y="162011"/>
                    <a:pt x="1848193" y="165329"/>
                    <a:pt x="1855407" y="169945"/>
                  </a:cubicBezTo>
                  <a:cubicBezTo>
                    <a:pt x="1862620" y="174562"/>
                    <a:pt x="1868535" y="180621"/>
                    <a:pt x="1873152" y="188412"/>
                  </a:cubicBezTo>
                  <a:cubicBezTo>
                    <a:pt x="1877768" y="196202"/>
                    <a:pt x="1880076" y="206301"/>
                    <a:pt x="1880076" y="218707"/>
                  </a:cubicBezTo>
                  <a:cubicBezTo>
                    <a:pt x="1880076" y="229383"/>
                    <a:pt x="1877768" y="238760"/>
                    <a:pt x="1873440" y="246839"/>
                  </a:cubicBezTo>
                  <a:cubicBezTo>
                    <a:pt x="1868968" y="254918"/>
                    <a:pt x="1862764" y="261699"/>
                    <a:pt x="1854974" y="267037"/>
                  </a:cubicBezTo>
                  <a:cubicBezTo>
                    <a:pt x="1847039" y="272374"/>
                    <a:pt x="1837662" y="276414"/>
                    <a:pt x="1826842" y="279299"/>
                  </a:cubicBezTo>
                  <a:cubicBezTo>
                    <a:pt x="1815878" y="282040"/>
                    <a:pt x="1804048" y="283483"/>
                    <a:pt x="1791353" y="283483"/>
                  </a:cubicBezTo>
                  <a:moveTo>
                    <a:pt x="2001260" y="283050"/>
                  </a:moveTo>
                  <a:cubicBezTo>
                    <a:pt x="1985246" y="283050"/>
                    <a:pt x="1970820" y="280453"/>
                    <a:pt x="1957836" y="275260"/>
                  </a:cubicBezTo>
                  <a:cubicBezTo>
                    <a:pt x="1944852" y="270066"/>
                    <a:pt x="1934032" y="262853"/>
                    <a:pt x="1925087" y="253476"/>
                  </a:cubicBezTo>
                  <a:cubicBezTo>
                    <a:pt x="1916143" y="244243"/>
                    <a:pt x="1909362" y="233278"/>
                    <a:pt x="1904457" y="220583"/>
                  </a:cubicBezTo>
                  <a:cubicBezTo>
                    <a:pt x="1899697" y="207887"/>
                    <a:pt x="1897244" y="194182"/>
                    <a:pt x="1897244" y="179467"/>
                  </a:cubicBezTo>
                  <a:cubicBezTo>
                    <a:pt x="1897244" y="164752"/>
                    <a:pt x="1899697" y="151479"/>
                    <a:pt x="1904457" y="138928"/>
                  </a:cubicBezTo>
                  <a:cubicBezTo>
                    <a:pt x="1909218" y="126377"/>
                    <a:pt x="1916143" y="115413"/>
                    <a:pt x="1925087" y="106180"/>
                  </a:cubicBezTo>
                  <a:cubicBezTo>
                    <a:pt x="1934032" y="96947"/>
                    <a:pt x="1944563" y="89734"/>
                    <a:pt x="1956682" y="84540"/>
                  </a:cubicBezTo>
                  <a:cubicBezTo>
                    <a:pt x="1968944" y="79346"/>
                    <a:pt x="1982505" y="76750"/>
                    <a:pt x="1997509" y="76750"/>
                  </a:cubicBezTo>
                  <a:cubicBezTo>
                    <a:pt x="2011503" y="76750"/>
                    <a:pt x="2023910" y="78914"/>
                    <a:pt x="2035018" y="83242"/>
                  </a:cubicBezTo>
                  <a:cubicBezTo>
                    <a:pt x="2046127" y="87570"/>
                    <a:pt x="2055792" y="93484"/>
                    <a:pt x="2064160" y="101131"/>
                  </a:cubicBezTo>
                  <a:cubicBezTo>
                    <a:pt x="2075845" y="111806"/>
                    <a:pt x="2084501" y="125367"/>
                    <a:pt x="2090272" y="141669"/>
                  </a:cubicBezTo>
                  <a:cubicBezTo>
                    <a:pt x="2096043" y="158116"/>
                    <a:pt x="2098784" y="176149"/>
                    <a:pt x="2098495" y="195913"/>
                  </a:cubicBezTo>
                  <a:lnTo>
                    <a:pt x="1958269" y="195913"/>
                  </a:lnTo>
                  <a:cubicBezTo>
                    <a:pt x="1960288" y="209186"/>
                    <a:pt x="1964905" y="219573"/>
                    <a:pt x="1971974" y="227219"/>
                  </a:cubicBezTo>
                  <a:cubicBezTo>
                    <a:pt x="1979043" y="234865"/>
                    <a:pt x="1989142" y="238616"/>
                    <a:pt x="2002125" y="238616"/>
                  </a:cubicBezTo>
                  <a:cubicBezTo>
                    <a:pt x="2010204" y="238616"/>
                    <a:pt x="2016985" y="236885"/>
                    <a:pt x="2022323" y="233423"/>
                  </a:cubicBezTo>
                  <a:cubicBezTo>
                    <a:pt x="2027661" y="229960"/>
                    <a:pt x="2031700" y="225199"/>
                    <a:pt x="2034585" y="219140"/>
                  </a:cubicBezTo>
                  <a:lnTo>
                    <a:pt x="2095177" y="219140"/>
                  </a:lnTo>
                  <a:cubicBezTo>
                    <a:pt x="2093158" y="228085"/>
                    <a:pt x="2089406" y="236452"/>
                    <a:pt x="2083780" y="244531"/>
                  </a:cubicBezTo>
                  <a:cubicBezTo>
                    <a:pt x="2078154" y="252610"/>
                    <a:pt x="2071085" y="259390"/>
                    <a:pt x="2062429" y="265305"/>
                  </a:cubicBezTo>
                  <a:cubicBezTo>
                    <a:pt x="2054350" y="271220"/>
                    <a:pt x="2045261" y="275548"/>
                    <a:pt x="2035162" y="278578"/>
                  </a:cubicBezTo>
                  <a:cubicBezTo>
                    <a:pt x="2025064" y="281607"/>
                    <a:pt x="2013811" y="283194"/>
                    <a:pt x="2001404" y="283194"/>
                  </a:cubicBezTo>
                  <a:moveTo>
                    <a:pt x="2035739" y="158981"/>
                  </a:moveTo>
                  <a:cubicBezTo>
                    <a:pt x="2034441" y="147296"/>
                    <a:pt x="2030546" y="138063"/>
                    <a:pt x="2023910" y="131138"/>
                  </a:cubicBezTo>
                  <a:cubicBezTo>
                    <a:pt x="2017273" y="124357"/>
                    <a:pt x="2008906" y="120895"/>
                    <a:pt x="1998807" y="120895"/>
                  </a:cubicBezTo>
                  <a:cubicBezTo>
                    <a:pt x="1986833" y="120895"/>
                    <a:pt x="1977745" y="124357"/>
                    <a:pt x="1971397" y="131138"/>
                  </a:cubicBezTo>
                  <a:cubicBezTo>
                    <a:pt x="1965049" y="138063"/>
                    <a:pt x="1960865" y="147296"/>
                    <a:pt x="1958846" y="158981"/>
                  </a:cubicBezTo>
                  <a:lnTo>
                    <a:pt x="2035739" y="158981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24B68200-DB43-792E-71EC-C6AE421B0EEF}"/>
                </a:ext>
              </a:extLst>
            </p:cNvPr>
            <p:cNvSpPr/>
            <p:nvPr/>
          </p:nvSpPr>
          <p:spPr>
            <a:xfrm>
              <a:off x="883128" y="557212"/>
              <a:ext cx="273528" cy="675598"/>
            </a:xfrm>
            <a:custGeom>
              <a:avLst/>
              <a:gdLst>
                <a:gd name="connsiteX0" fmla="*/ 0 w 273528"/>
                <a:gd name="connsiteY0" fmla="*/ 0 h 675598"/>
                <a:gd name="connsiteX1" fmla="*/ 0 w 273528"/>
                <a:gd name="connsiteY1" fmla="*/ 476944 h 675598"/>
                <a:gd name="connsiteX2" fmla="*/ 272807 w 273528"/>
                <a:gd name="connsiteY2" fmla="*/ 675598 h 675598"/>
                <a:gd name="connsiteX3" fmla="*/ 273529 w 273528"/>
                <a:gd name="connsiteY3" fmla="*/ 674877 h 675598"/>
                <a:gd name="connsiteX4" fmla="*/ 0 w 273528"/>
                <a:gd name="connsiteY4" fmla="*/ 0 h 675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528" h="675598">
                  <a:moveTo>
                    <a:pt x="0" y="0"/>
                  </a:moveTo>
                  <a:lnTo>
                    <a:pt x="0" y="476944"/>
                  </a:lnTo>
                  <a:lnTo>
                    <a:pt x="272807" y="675598"/>
                  </a:lnTo>
                  <a:cubicBezTo>
                    <a:pt x="272807" y="675598"/>
                    <a:pt x="273384" y="675021"/>
                    <a:pt x="273529" y="67487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3D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9060205-FE3B-4340-5EB2-6566F1F24035}"/>
                </a:ext>
              </a:extLst>
            </p:cNvPr>
            <p:cNvSpPr/>
            <p:nvPr/>
          </p:nvSpPr>
          <p:spPr>
            <a:xfrm>
              <a:off x="609600" y="557212"/>
              <a:ext cx="273528" cy="675453"/>
            </a:xfrm>
            <a:custGeom>
              <a:avLst/>
              <a:gdLst>
                <a:gd name="connsiteX0" fmla="*/ 0 w 273528"/>
                <a:gd name="connsiteY0" fmla="*/ 674733 h 675453"/>
                <a:gd name="connsiteX1" fmla="*/ 721 w 273528"/>
                <a:gd name="connsiteY1" fmla="*/ 675454 h 675453"/>
                <a:gd name="connsiteX2" fmla="*/ 273529 w 273528"/>
                <a:gd name="connsiteY2" fmla="*/ 476799 h 675453"/>
                <a:gd name="connsiteX3" fmla="*/ 273529 w 273528"/>
                <a:gd name="connsiteY3" fmla="*/ 0 h 675453"/>
                <a:gd name="connsiteX4" fmla="*/ 0 w 273528"/>
                <a:gd name="connsiteY4" fmla="*/ 674733 h 675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528" h="675453">
                  <a:moveTo>
                    <a:pt x="0" y="674733"/>
                  </a:moveTo>
                  <a:cubicBezTo>
                    <a:pt x="0" y="674733"/>
                    <a:pt x="577" y="675310"/>
                    <a:pt x="721" y="675454"/>
                  </a:cubicBezTo>
                  <a:lnTo>
                    <a:pt x="273529" y="476799"/>
                  </a:lnTo>
                  <a:lnTo>
                    <a:pt x="273529" y="0"/>
                  </a:lnTo>
                  <a:lnTo>
                    <a:pt x="0" y="674733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48" name="Graphic 47">
            <a:extLst>
              <a:ext uri="{FF2B5EF4-FFF2-40B4-BE49-F238E27FC236}">
                <a16:creationId xmlns:a16="http://schemas.microsoft.com/office/drawing/2014/main" id="{3C7E5846-B97D-9495-EFF3-E8E8BB25B1B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6112" r="2378"/>
          <a:stretch/>
        </p:blipFill>
        <p:spPr>
          <a:xfrm>
            <a:off x="6829137" y="0"/>
            <a:ext cx="5362864" cy="4608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21275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clusion - Ligh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EB833B88-89EF-37DD-D0B2-ADAEC5BEB8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4922" y="4871631"/>
            <a:ext cx="6753678" cy="774308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648416DC-291E-222B-2DEB-6D4A007A495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6509" r="2867" b="-1"/>
          <a:stretch/>
        </p:blipFill>
        <p:spPr>
          <a:xfrm>
            <a:off x="6819901" y="0"/>
            <a:ext cx="5372100" cy="4617631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2567EC2D-0286-8A6B-681F-A39AF8DA669A}"/>
              </a:ext>
            </a:extLst>
          </p:cNvPr>
          <p:cNvGrpSpPr/>
          <p:nvPr userDrawn="1"/>
        </p:nvGrpSpPr>
        <p:grpSpPr>
          <a:xfrm>
            <a:off x="609600" y="0"/>
            <a:ext cx="0" cy="6857999"/>
            <a:chOff x="609600" y="0"/>
            <a:chExt cx="0" cy="6857999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36D2E5ED-C185-3DC1-26E6-2864460B534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9600" y="0"/>
              <a:ext cx="0" cy="685799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4952DA0B-BA15-6F93-5059-E69C8AFAE59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9600" y="4518121"/>
              <a:ext cx="0" cy="1481328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Graphic 10">
            <a:extLst>
              <a:ext uri="{FF2B5EF4-FFF2-40B4-BE49-F238E27FC236}">
                <a16:creationId xmlns:a16="http://schemas.microsoft.com/office/drawing/2014/main" id="{944BDD3E-7F49-55AC-5477-FED2F889144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4922" y="618058"/>
            <a:ext cx="2338096" cy="594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1028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 - Ligh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EA392F83-2467-8DF1-A072-47811A39DF5F}"/>
              </a:ext>
            </a:extLst>
          </p:cNvPr>
          <p:cNvGrpSpPr/>
          <p:nvPr/>
        </p:nvGrpSpPr>
        <p:grpSpPr>
          <a:xfrm>
            <a:off x="938562" y="1983578"/>
            <a:ext cx="7556215" cy="1"/>
            <a:chOff x="938562" y="1983578"/>
            <a:chExt cx="7556215" cy="1"/>
          </a:xfrm>
        </p:grpSpPr>
        <p:cxnSp>
          <p:nvCxnSpPr>
            <p:cNvPr id="2" name="Straight Connector 1">
              <a:extLst>
                <a:ext uri="{FF2B5EF4-FFF2-40B4-BE49-F238E27FC236}">
                  <a16:creationId xmlns:a16="http://schemas.microsoft.com/office/drawing/2014/main" id="{0E4290B1-C5D4-50D5-BCF3-3E59301DBD7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38562" y="1983578"/>
              <a:ext cx="7556215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67537F7F-A3FD-E47E-4415-2126205ED623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1543059" y="1379082"/>
              <a:ext cx="0" cy="1208993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" name="Graphic 3">
            <a:extLst>
              <a:ext uri="{FF2B5EF4-FFF2-40B4-BE49-F238E27FC236}">
                <a16:creationId xmlns:a16="http://schemas.microsoft.com/office/drawing/2014/main" id="{F6EA8AA0-F903-6C8E-6D87-56CECC2A2D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8562" y="1066649"/>
            <a:ext cx="1783555" cy="453120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CA173CA-8280-BC75-9ADA-A758945C9B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38562" y="2453998"/>
            <a:ext cx="7552944" cy="2000804"/>
          </a:xfrm>
        </p:spPr>
        <p:txBody>
          <a:bodyPr wrap="square" anchor="t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7200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Title Here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0A035E54-E921-86F2-0D4B-5D1D8B09F8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8562" y="5956756"/>
            <a:ext cx="7552944" cy="215444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 cap="all" spc="3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dustry nam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319FCB8-4E4F-F7FC-F575-05569591DC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8562" y="4942006"/>
            <a:ext cx="7552295" cy="738664"/>
          </a:xfrm>
        </p:spPr>
        <p:txBody>
          <a:bodyPr anchor="b">
            <a:noAutofit/>
          </a:bodyPr>
          <a:lstStyle>
            <a:lvl1pPr algn="l">
              <a:spcAft>
                <a:spcPts val="0"/>
              </a:spcAft>
              <a:defRPr sz="2400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05D1414-51F8-1738-37D9-17673BA327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2950" b="2950"/>
          <a:stretch/>
        </p:blipFill>
        <p:spPr>
          <a:xfrm>
            <a:off x="9568093" y="1"/>
            <a:ext cx="225856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52452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2 -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DE3CA1B0-623A-9E3F-9B2B-5EFA479D7D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38562" y="2453998"/>
            <a:ext cx="7227537" cy="1125116"/>
          </a:xfrm>
        </p:spPr>
        <p:txBody>
          <a:bodyPr wrap="square" anchor="t">
            <a:no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8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ank You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2E9ACEB-AC65-3A5B-7C63-992A9120364E}"/>
              </a:ext>
            </a:extLst>
          </p:cNvPr>
          <p:cNvGrpSpPr/>
          <p:nvPr userDrawn="1"/>
        </p:nvGrpSpPr>
        <p:grpSpPr>
          <a:xfrm>
            <a:off x="1" y="1983579"/>
            <a:ext cx="12191999" cy="0"/>
            <a:chOff x="1" y="1983579"/>
            <a:chExt cx="12191999" cy="0"/>
          </a:xfrm>
        </p:grpSpPr>
        <p:cxnSp>
          <p:nvCxnSpPr>
            <p:cNvPr id="2" name="Straight Connector 1">
              <a:extLst>
                <a:ext uri="{FF2B5EF4-FFF2-40B4-BE49-F238E27FC236}">
                  <a16:creationId xmlns:a16="http://schemas.microsoft.com/office/drawing/2014/main" id="{0E4290B1-C5D4-50D5-BCF3-3E59301DBD7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" y="1983579"/>
              <a:ext cx="12191999" cy="0"/>
            </a:xfrm>
            <a:prstGeom prst="line">
              <a:avLst/>
            </a:prstGeom>
            <a:ln>
              <a:solidFill>
                <a:schemeClr val="bg1"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67537F7F-A3FD-E47E-4415-2126205ED623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1543059" y="1379082"/>
              <a:ext cx="0" cy="1208993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Graphic 7">
            <a:extLst>
              <a:ext uri="{FF2B5EF4-FFF2-40B4-BE49-F238E27FC236}">
                <a16:creationId xmlns:a16="http://schemas.microsoft.com/office/drawing/2014/main" id="{3AB37842-EC51-8631-1C75-0B1DCCBB60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8562" y="1062569"/>
            <a:ext cx="1799617" cy="4572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3F3CE916-7E55-F8DE-3538-C3D9756ED4E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8563" y="5961888"/>
            <a:ext cx="1834388" cy="210312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B2F6610E-AA8A-AA03-9940-957C1FB8B0C9}"/>
              </a:ext>
            </a:extLst>
          </p:cNvPr>
          <p:cNvPicPr/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68938" y="2931518"/>
            <a:ext cx="2984500" cy="2978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22825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2 - Ligh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DE3CA1B0-623A-9E3F-9B2B-5EFA479D7D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38562" y="2453998"/>
            <a:ext cx="7176738" cy="1125116"/>
          </a:xfrm>
        </p:spPr>
        <p:txBody>
          <a:bodyPr wrap="square" anchor="t">
            <a:no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8800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ank You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A392F83-2467-8DF1-A072-47811A39DF5F}"/>
              </a:ext>
            </a:extLst>
          </p:cNvPr>
          <p:cNvGrpSpPr/>
          <p:nvPr/>
        </p:nvGrpSpPr>
        <p:grpSpPr>
          <a:xfrm>
            <a:off x="1" y="1983579"/>
            <a:ext cx="12191999" cy="0"/>
            <a:chOff x="1" y="1983579"/>
            <a:chExt cx="12191999" cy="0"/>
          </a:xfrm>
        </p:grpSpPr>
        <p:cxnSp>
          <p:nvCxnSpPr>
            <p:cNvPr id="2" name="Straight Connector 1">
              <a:extLst>
                <a:ext uri="{FF2B5EF4-FFF2-40B4-BE49-F238E27FC236}">
                  <a16:creationId xmlns:a16="http://schemas.microsoft.com/office/drawing/2014/main" id="{0E4290B1-C5D4-50D5-BCF3-3E59301DBD7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" y="1983579"/>
              <a:ext cx="12191999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67537F7F-A3FD-E47E-4415-2126205ED623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1543059" y="1379082"/>
              <a:ext cx="0" cy="1208993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" name="Graphic 3">
            <a:extLst>
              <a:ext uri="{FF2B5EF4-FFF2-40B4-BE49-F238E27FC236}">
                <a16:creationId xmlns:a16="http://schemas.microsoft.com/office/drawing/2014/main" id="{F6EA8AA0-F903-6C8E-6D87-56CECC2A2D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8562" y="1066649"/>
            <a:ext cx="1783555" cy="45312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E4938A9D-779B-9E93-E00C-DB40A81BC40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8563" y="5961888"/>
            <a:ext cx="1834388" cy="210312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2A060178-C7DC-1546-A061-11499B0B9C77}"/>
              </a:ext>
            </a:extLst>
          </p:cNvPr>
          <p:cNvPicPr/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68937" y="2931517"/>
            <a:ext cx="2984501" cy="2978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39218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3 -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DE3CA1B0-623A-9E3F-9B2B-5EFA479D7D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38563" y="2875002"/>
            <a:ext cx="4052538" cy="1107996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7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ank You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864A7B1-01CA-74D7-5CA7-9E6002A2544A}"/>
              </a:ext>
            </a:extLst>
          </p:cNvPr>
          <p:cNvGrpSpPr/>
          <p:nvPr userDrawn="1"/>
        </p:nvGrpSpPr>
        <p:grpSpPr>
          <a:xfrm rot="16200000">
            <a:off x="-2819401" y="3428999"/>
            <a:ext cx="6858001" cy="0"/>
            <a:chOff x="1" y="1983579"/>
            <a:chExt cx="6858001" cy="0"/>
          </a:xfrm>
        </p:grpSpPr>
        <p:cxnSp>
          <p:nvCxnSpPr>
            <p:cNvPr id="2" name="Straight Connector 1">
              <a:extLst>
                <a:ext uri="{FF2B5EF4-FFF2-40B4-BE49-F238E27FC236}">
                  <a16:creationId xmlns:a16="http://schemas.microsoft.com/office/drawing/2014/main" id="{0E4290B1-C5D4-50D5-BCF3-3E59301DBD78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429002" y="-1445422"/>
              <a:ext cx="0" cy="6858001"/>
            </a:xfrm>
            <a:prstGeom prst="line">
              <a:avLst/>
            </a:prstGeom>
            <a:ln>
              <a:solidFill>
                <a:schemeClr val="bg1"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67537F7F-A3FD-E47E-4415-2126205ED623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3429000" y="1379082"/>
              <a:ext cx="0" cy="1208993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Graphic 7">
            <a:extLst>
              <a:ext uri="{FF2B5EF4-FFF2-40B4-BE49-F238E27FC236}">
                <a16:creationId xmlns:a16="http://schemas.microsoft.com/office/drawing/2014/main" id="{3AB37842-EC51-8631-1C75-0B1DCCBB60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8562" y="1062569"/>
            <a:ext cx="1799617" cy="4572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3F3CE916-7E55-F8DE-3538-C3D9756ED4E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8563" y="5961888"/>
            <a:ext cx="1834388" cy="210312"/>
          </a:xfrm>
          <a:prstGeom prst="rect">
            <a:avLst/>
          </a:prstGeom>
        </p:spPr>
      </p:pic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19D49CF5-B256-D13A-3A62-029D9B36D9C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5999" cy="6858000"/>
          </a:xfr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0" b="0"/>
            </a:lvl1pPr>
          </a:lstStyle>
          <a:p>
            <a:pPr lvl="0" algn="ctr"/>
            <a:r>
              <a:rPr lang="en-US"/>
              <a:t>Insert Photo</a:t>
            </a:r>
          </a:p>
        </p:txBody>
      </p:sp>
    </p:spTree>
    <p:extLst>
      <p:ext uri="{BB962C8B-B14F-4D97-AF65-F5344CB8AC3E}">
        <p14:creationId xmlns:p14="http://schemas.microsoft.com/office/powerpoint/2010/main" val="3368306746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Map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BC176DF-9D05-69AA-11F1-229243D036F3}"/>
              </a:ext>
            </a:extLst>
          </p:cNvPr>
          <p:cNvGrpSpPr/>
          <p:nvPr userDrawn="1"/>
        </p:nvGrpSpPr>
        <p:grpSpPr>
          <a:xfrm>
            <a:off x="850900" y="0"/>
            <a:ext cx="10490200" cy="6314858"/>
            <a:chOff x="850900" y="0"/>
            <a:chExt cx="10490200" cy="6314858"/>
          </a:xfrm>
        </p:grpSpPr>
        <p:sp>
          <p:nvSpPr>
            <p:cNvPr id="5" name="Freeform 33">
              <a:extLst>
                <a:ext uri="{FF2B5EF4-FFF2-40B4-BE49-F238E27FC236}">
                  <a16:creationId xmlns:a16="http://schemas.microsoft.com/office/drawing/2014/main" id="{C32CC898-F0A8-4972-5297-5ED2EB060A9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50709" y="4900384"/>
              <a:ext cx="276084" cy="303320"/>
            </a:xfrm>
            <a:custGeom>
              <a:avLst/>
              <a:gdLst>
                <a:gd name="T0" fmla="*/ 0 w 518"/>
                <a:gd name="T1" fmla="*/ 2147483647 h 534"/>
                <a:gd name="T2" fmla="*/ 0 w 518"/>
                <a:gd name="T3" fmla="*/ 2147483647 h 534"/>
                <a:gd name="T4" fmla="*/ 2147483647 w 518"/>
                <a:gd name="T5" fmla="*/ 2147483647 h 534"/>
                <a:gd name="T6" fmla="*/ 2147483647 w 518"/>
                <a:gd name="T7" fmla="*/ 2147483647 h 534"/>
                <a:gd name="T8" fmla="*/ 2147483647 w 518"/>
                <a:gd name="T9" fmla="*/ 0 h 534"/>
                <a:gd name="T10" fmla="*/ 2147483647 w 518"/>
                <a:gd name="T11" fmla="*/ 0 h 534"/>
                <a:gd name="T12" fmla="*/ 2147483647 w 518"/>
                <a:gd name="T13" fmla="*/ 0 h 534"/>
                <a:gd name="T14" fmla="*/ 2147483647 w 518"/>
                <a:gd name="T15" fmla="*/ 0 h 534"/>
                <a:gd name="T16" fmla="*/ 2147483647 w 518"/>
                <a:gd name="T17" fmla="*/ 0 h 534"/>
                <a:gd name="T18" fmla="*/ 2147483647 w 518"/>
                <a:gd name="T19" fmla="*/ 0 h 534"/>
                <a:gd name="T20" fmla="*/ 2147483647 w 518"/>
                <a:gd name="T21" fmla="*/ 0 h 534"/>
                <a:gd name="T22" fmla="*/ 2147483647 w 518"/>
                <a:gd name="T23" fmla="*/ 0 h 534"/>
                <a:gd name="T24" fmla="*/ 2147483647 w 518"/>
                <a:gd name="T25" fmla="*/ 0 h 534"/>
                <a:gd name="T26" fmla="*/ 2147483647 w 518"/>
                <a:gd name="T27" fmla="*/ 0 h 534"/>
                <a:gd name="T28" fmla="*/ 2147483647 w 518"/>
                <a:gd name="T29" fmla="*/ 0 h 534"/>
                <a:gd name="T30" fmla="*/ 2147483647 w 518"/>
                <a:gd name="T31" fmla="*/ 2147483647 h 534"/>
                <a:gd name="T32" fmla="*/ 2147483647 w 518"/>
                <a:gd name="T33" fmla="*/ 2147483647 h 534"/>
                <a:gd name="T34" fmla="*/ 2147483647 w 518"/>
                <a:gd name="T35" fmla="*/ 2147483647 h 534"/>
                <a:gd name="T36" fmla="*/ 2147483647 w 518"/>
                <a:gd name="T37" fmla="*/ 2147483647 h 534"/>
                <a:gd name="T38" fmla="*/ 2147483647 w 518"/>
                <a:gd name="T39" fmla="*/ 2147483647 h 534"/>
                <a:gd name="T40" fmla="*/ 2147483647 w 518"/>
                <a:gd name="T41" fmla="*/ 2147483647 h 534"/>
                <a:gd name="T42" fmla="*/ 2147483647 w 518"/>
                <a:gd name="T43" fmla="*/ 2147483647 h 534"/>
                <a:gd name="T44" fmla="*/ 2147483647 w 518"/>
                <a:gd name="T45" fmla="*/ 2147483647 h 534"/>
                <a:gd name="T46" fmla="*/ 2147483647 w 518"/>
                <a:gd name="T47" fmla="*/ 2147483647 h 534"/>
                <a:gd name="T48" fmla="*/ 2147483647 w 518"/>
                <a:gd name="T49" fmla="*/ 2147483647 h 534"/>
                <a:gd name="T50" fmla="*/ 2147483647 w 518"/>
                <a:gd name="T51" fmla="*/ 2147483647 h 534"/>
                <a:gd name="T52" fmla="*/ 2147483647 w 518"/>
                <a:gd name="T53" fmla="*/ 2147483647 h 534"/>
                <a:gd name="T54" fmla="*/ 2147483647 w 518"/>
                <a:gd name="T55" fmla="*/ 2147483647 h 534"/>
                <a:gd name="T56" fmla="*/ 2147483647 w 518"/>
                <a:gd name="T57" fmla="*/ 2147483647 h 534"/>
                <a:gd name="T58" fmla="*/ 2147483647 w 518"/>
                <a:gd name="T59" fmla="*/ 2147483647 h 534"/>
                <a:gd name="T60" fmla="*/ 2147483647 w 518"/>
                <a:gd name="T61" fmla="*/ 2147483647 h 534"/>
                <a:gd name="T62" fmla="*/ 2147483647 w 518"/>
                <a:gd name="T63" fmla="*/ 2147483647 h 534"/>
                <a:gd name="T64" fmla="*/ 2147483647 w 518"/>
                <a:gd name="T65" fmla="*/ 2147483647 h 534"/>
                <a:gd name="T66" fmla="*/ 2147483647 w 518"/>
                <a:gd name="T67" fmla="*/ 2147483647 h 534"/>
                <a:gd name="T68" fmla="*/ 2147483647 w 518"/>
                <a:gd name="T69" fmla="*/ 2147483647 h 534"/>
                <a:gd name="T70" fmla="*/ 2147483647 w 518"/>
                <a:gd name="T71" fmla="*/ 2147483647 h 534"/>
                <a:gd name="T72" fmla="*/ 2147483647 w 518"/>
                <a:gd name="T73" fmla="*/ 2147483647 h 534"/>
                <a:gd name="T74" fmla="*/ 2147483647 w 518"/>
                <a:gd name="T75" fmla="*/ 2147483647 h 534"/>
                <a:gd name="T76" fmla="*/ 2147483647 w 518"/>
                <a:gd name="T77" fmla="*/ 2147483647 h 534"/>
                <a:gd name="T78" fmla="*/ 0 w 518"/>
                <a:gd name="T79" fmla="*/ 2147483647 h 534"/>
                <a:gd name="T80" fmla="*/ 2147483647 w 518"/>
                <a:gd name="T81" fmla="*/ 2147483647 h 534"/>
                <a:gd name="T82" fmla="*/ 2147483647 w 518"/>
                <a:gd name="T83" fmla="*/ 2147483647 h 534"/>
                <a:gd name="T84" fmla="*/ 0 w 518"/>
                <a:gd name="T85" fmla="*/ 2147483647 h 534"/>
                <a:gd name="T86" fmla="*/ 0 w 518"/>
                <a:gd name="T87" fmla="*/ 2147483647 h 534"/>
                <a:gd name="T88" fmla="*/ 0 w 518"/>
                <a:gd name="T89" fmla="*/ 2147483647 h 534"/>
                <a:gd name="T90" fmla="*/ 0 w 518"/>
                <a:gd name="T91" fmla="*/ 2147483647 h 53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518"/>
                <a:gd name="T139" fmla="*/ 0 h 534"/>
                <a:gd name="T140" fmla="*/ 518 w 518"/>
                <a:gd name="T141" fmla="*/ 534 h 53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518" h="534">
                  <a:moveTo>
                    <a:pt x="0" y="409"/>
                  </a:moveTo>
                  <a:lnTo>
                    <a:pt x="0" y="356"/>
                  </a:lnTo>
                  <a:lnTo>
                    <a:pt x="0" y="298"/>
                  </a:lnTo>
                  <a:lnTo>
                    <a:pt x="0" y="244"/>
                  </a:lnTo>
                  <a:lnTo>
                    <a:pt x="56" y="244"/>
                  </a:lnTo>
                  <a:lnTo>
                    <a:pt x="56" y="206"/>
                  </a:lnTo>
                  <a:lnTo>
                    <a:pt x="56" y="149"/>
                  </a:lnTo>
                  <a:lnTo>
                    <a:pt x="56" y="93"/>
                  </a:lnTo>
                  <a:lnTo>
                    <a:pt x="56" y="40"/>
                  </a:lnTo>
                  <a:lnTo>
                    <a:pt x="61" y="35"/>
                  </a:lnTo>
                  <a:lnTo>
                    <a:pt x="141" y="20"/>
                  </a:lnTo>
                  <a:lnTo>
                    <a:pt x="158" y="17"/>
                  </a:lnTo>
                  <a:lnTo>
                    <a:pt x="164" y="17"/>
                  </a:lnTo>
                  <a:lnTo>
                    <a:pt x="181" y="18"/>
                  </a:lnTo>
                  <a:lnTo>
                    <a:pt x="192" y="22"/>
                  </a:lnTo>
                  <a:lnTo>
                    <a:pt x="199" y="34"/>
                  </a:lnTo>
                  <a:lnTo>
                    <a:pt x="202" y="49"/>
                  </a:lnTo>
                  <a:lnTo>
                    <a:pt x="208" y="41"/>
                  </a:lnTo>
                  <a:lnTo>
                    <a:pt x="217" y="30"/>
                  </a:lnTo>
                  <a:lnTo>
                    <a:pt x="233" y="18"/>
                  </a:lnTo>
                  <a:lnTo>
                    <a:pt x="260" y="12"/>
                  </a:lnTo>
                  <a:lnTo>
                    <a:pt x="265" y="6"/>
                  </a:lnTo>
                  <a:lnTo>
                    <a:pt x="272" y="1"/>
                  </a:lnTo>
                  <a:lnTo>
                    <a:pt x="283" y="0"/>
                  </a:lnTo>
                  <a:lnTo>
                    <a:pt x="291" y="2"/>
                  </a:lnTo>
                  <a:lnTo>
                    <a:pt x="291" y="11"/>
                  </a:lnTo>
                  <a:lnTo>
                    <a:pt x="294" y="17"/>
                  </a:lnTo>
                  <a:lnTo>
                    <a:pt x="307" y="39"/>
                  </a:lnTo>
                  <a:lnTo>
                    <a:pt x="317" y="49"/>
                  </a:lnTo>
                  <a:lnTo>
                    <a:pt x="319" y="60"/>
                  </a:lnTo>
                  <a:lnTo>
                    <a:pt x="325" y="74"/>
                  </a:lnTo>
                  <a:lnTo>
                    <a:pt x="339" y="93"/>
                  </a:lnTo>
                  <a:lnTo>
                    <a:pt x="368" y="124"/>
                  </a:lnTo>
                  <a:lnTo>
                    <a:pt x="385" y="127"/>
                  </a:lnTo>
                  <a:lnTo>
                    <a:pt x="398" y="137"/>
                  </a:lnTo>
                  <a:lnTo>
                    <a:pt x="407" y="151"/>
                  </a:lnTo>
                  <a:lnTo>
                    <a:pt x="420" y="154"/>
                  </a:lnTo>
                  <a:lnTo>
                    <a:pt x="431" y="164"/>
                  </a:lnTo>
                  <a:lnTo>
                    <a:pt x="431" y="185"/>
                  </a:lnTo>
                  <a:lnTo>
                    <a:pt x="434" y="205"/>
                  </a:lnTo>
                  <a:lnTo>
                    <a:pt x="441" y="218"/>
                  </a:lnTo>
                  <a:lnTo>
                    <a:pt x="449" y="227"/>
                  </a:lnTo>
                  <a:lnTo>
                    <a:pt x="458" y="232"/>
                  </a:lnTo>
                  <a:lnTo>
                    <a:pt x="470" y="234"/>
                  </a:lnTo>
                  <a:lnTo>
                    <a:pt x="484" y="234"/>
                  </a:lnTo>
                  <a:lnTo>
                    <a:pt x="497" y="240"/>
                  </a:lnTo>
                  <a:lnTo>
                    <a:pt x="507" y="244"/>
                  </a:lnTo>
                  <a:lnTo>
                    <a:pt x="518" y="253"/>
                  </a:lnTo>
                  <a:lnTo>
                    <a:pt x="517" y="256"/>
                  </a:lnTo>
                  <a:lnTo>
                    <a:pt x="506" y="261"/>
                  </a:lnTo>
                  <a:lnTo>
                    <a:pt x="492" y="270"/>
                  </a:lnTo>
                  <a:lnTo>
                    <a:pt x="454" y="288"/>
                  </a:lnTo>
                  <a:lnTo>
                    <a:pt x="438" y="305"/>
                  </a:lnTo>
                  <a:lnTo>
                    <a:pt x="418" y="318"/>
                  </a:lnTo>
                  <a:lnTo>
                    <a:pt x="399" y="336"/>
                  </a:lnTo>
                  <a:lnTo>
                    <a:pt x="388" y="352"/>
                  </a:lnTo>
                  <a:lnTo>
                    <a:pt x="371" y="377"/>
                  </a:lnTo>
                  <a:lnTo>
                    <a:pt x="344" y="396"/>
                  </a:lnTo>
                  <a:lnTo>
                    <a:pt x="329" y="415"/>
                  </a:lnTo>
                  <a:lnTo>
                    <a:pt x="314" y="449"/>
                  </a:lnTo>
                  <a:lnTo>
                    <a:pt x="309" y="455"/>
                  </a:lnTo>
                  <a:lnTo>
                    <a:pt x="301" y="459"/>
                  </a:lnTo>
                  <a:lnTo>
                    <a:pt x="290" y="460"/>
                  </a:lnTo>
                  <a:lnTo>
                    <a:pt x="265" y="466"/>
                  </a:lnTo>
                  <a:lnTo>
                    <a:pt x="250" y="465"/>
                  </a:lnTo>
                  <a:lnTo>
                    <a:pt x="227" y="452"/>
                  </a:lnTo>
                  <a:lnTo>
                    <a:pt x="215" y="447"/>
                  </a:lnTo>
                  <a:lnTo>
                    <a:pt x="201" y="445"/>
                  </a:lnTo>
                  <a:lnTo>
                    <a:pt x="189" y="449"/>
                  </a:lnTo>
                  <a:lnTo>
                    <a:pt x="170" y="469"/>
                  </a:lnTo>
                  <a:lnTo>
                    <a:pt x="163" y="477"/>
                  </a:lnTo>
                  <a:lnTo>
                    <a:pt x="161" y="485"/>
                  </a:lnTo>
                  <a:lnTo>
                    <a:pt x="152" y="496"/>
                  </a:lnTo>
                  <a:lnTo>
                    <a:pt x="140" y="503"/>
                  </a:lnTo>
                  <a:lnTo>
                    <a:pt x="135" y="508"/>
                  </a:lnTo>
                  <a:lnTo>
                    <a:pt x="125" y="525"/>
                  </a:lnTo>
                  <a:lnTo>
                    <a:pt x="90" y="534"/>
                  </a:lnTo>
                  <a:lnTo>
                    <a:pt x="72" y="533"/>
                  </a:lnTo>
                  <a:lnTo>
                    <a:pt x="56" y="530"/>
                  </a:lnTo>
                  <a:lnTo>
                    <a:pt x="46" y="528"/>
                  </a:lnTo>
                  <a:lnTo>
                    <a:pt x="43" y="519"/>
                  </a:lnTo>
                  <a:lnTo>
                    <a:pt x="50" y="498"/>
                  </a:lnTo>
                  <a:lnTo>
                    <a:pt x="52" y="485"/>
                  </a:lnTo>
                  <a:lnTo>
                    <a:pt x="52" y="479"/>
                  </a:lnTo>
                  <a:lnTo>
                    <a:pt x="51" y="461"/>
                  </a:lnTo>
                  <a:lnTo>
                    <a:pt x="44" y="449"/>
                  </a:lnTo>
                  <a:lnTo>
                    <a:pt x="30" y="438"/>
                  </a:lnTo>
                  <a:lnTo>
                    <a:pt x="25" y="429"/>
                  </a:lnTo>
                  <a:lnTo>
                    <a:pt x="13" y="418"/>
                  </a:lnTo>
                  <a:lnTo>
                    <a:pt x="11" y="415"/>
                  </a:lnTo>
                  <a:lnTo>
                    <a:pt x="5" y="409"/>
                  </a:lnTo>
                  <a:lnTo>
                    <a:pt x="0" y="40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6" name="Freeform 23">
              <a:extLst>
                <a:ext uri="{FF2B5EF4-FFF2-40B4-BE49-F238E27FC236}">
                  <a16:creationId xmlns:a16="http://schemas.microsoft.com/office/drawing/2014/main" id="{EA1C6CBA-1809-9FC7-0DF6-96F1453AB42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728272" y="4632121"/>
              <a:ext cx="95510" cy="248448"/>
            </a:xfrm>
            <a:custGeom>
              <a:avLst/>
              <a:gdLst>
                <a:gd name="T0" fmla="*/ 2147483647 w 175"/>
                <a:gd name="T1" fmla="*/ 0 h 431"/>
                <a:gd name="T2" fmla="*/ 0 w 175"/>
                <a:gd name="T3" fmla="*/ 0 h 431"/>
                <a:gd name="T4" fmla="*/ 0 w 175"/>
                <a:gd name="T5" fmla="*/ 0 h 431"/>
                <a:gd name="T6" fmla="*/ 0 w 175"/>
                <a:gd name="T7" fmla="*/ 0 h 431"/>
                <a:gd name="T8" fmla="*/ 0 w 175"/>
                <a:gd name="T9" fmla="*/ 0 h 431"/>
                <a:gd name="T10" fmla="*/ 0 w 175"/>
                <a:gd name="T11" fmla="*/ 0 h 431"/>
                <a:gd name="T12" fmla="*/ 2147483647 w 175"/>
                <a:gd name="T13" fmla="*/ 0 h 431"/>
                <a:gd name="T14" fmla="*/ 0 w 175"/>
                <a:gd name="T15" fmla="*/ 2147483647 h 431"/>
                <a:gd name="T16" fmla="*/ 0 w 175"/>
                <a:gd name="T17" fmla="*/ 2147483647 h 431"/>
                <a:gd name="T18" fmla="*/ 0 w 175"/>
                <a:gd name="T19" fmla="*/ 2147483647 h 431"/>
                <a:gd name="T20" fmla="*/ 0 w 175"/>
                <a:gd name="T21" fmla="*/ 2147483647 h 431"/>
                <a:gd name="T22" fmla="*/ 0 w 175"/>
                <a:gd name="T23" fmla="*/ 2147483647 h 431"/>
                <a:gd name="T24" fmla="*/ 0 w 175"/>
                <a:gd name="T25" fmla="*/ 2147483647 h 431"/>
                <a:gd name="T26" fmla="*/ 0 w 175"/>
                <a:gd name="T27" fmla="*/ 2147483647 h 431"/>
                <a:gd name="T28" fmla="*/ 0 w 175"/>
                <a:gd name="T29" fmla="*/ 2147483647 h 431"/>
                <a:gd name="T30" fmla="*/ 0 w 175"/>
                <a:gd name="T31" fmla="*/ 2147483647 h 431"/>
                <a:gd name="T32" fmla="*/ 0 w 175"/>
                <a:gd name="T33" fmla="*/ 2147483647 h 431"/>
                <a:gd name="T34" fmla="*/ 0 w 175"/>
                <a:gd name="T35" fmla="*/ 2147483647 h 431"/>
                <a:gd name="T36" fmla="*/ 2147483647 w 175"/>
                <a:gd name="T37" fmla="*/ 2147483647 h 431"/>
                <a:gd name="T38" fmla="*/ 2147483647 w 175"/>
                <a:gd name="T39" fmla="*/ 2147483647 h 431"/>
                <a:gd name="T40" fmla="*/ 2147483647 w 175"/>
                <a:gd name="T41" fmla="*/ 2147483647 h 431"/>
                <a:gd name="T42" fmla="*/ 2147483647 w 175"/>
                <a:gd name="T43" fmla="*/ 2147483647 h 431"/>
                <a:gd name="T44" fmla="*/ 2147483647 w 175"/>
                <a:gd name="T45" fmla="*/ 2147483647 h 431"/>
                <a:gd name="T46" fmla="*/ 2147483647 w 175"/>
                <a:gd name="T47" fmla="*/ 2147483647 h 431"/>
                <a:gd name="T48" fmla="*/ 2147483647 w 175"/>
                <a:gd name="T49" fmla="*/ 2147483647 h 431"/>
                <a:gd name="T50" fmla="*/ 2147483647 w 175"/>
                <a:gd name="T51" fmla="*/ 2147483647 h 431"/>
                <a:gd name="T52" fmla="*/ 2147483647 w 175"/>
                <a:gd name="T53" fmla="*/ 2147483647 h 431"/>
                <a:gd name="T54" fmla="*/ 2147483647 w 175"/>
                <a:gd name="T55" fmla="*/ 2147483647 h 431"/>
                <a:gd name="T56" fmla="*/ 2147483647 w 175"/>
                <a:gd name="T57" fmla="*/ 2147483647 h 431"/>
                <a:gd name="T58" fmla="*/ 2147483647 w 175"/>
                <a:gd name="T59" fmla="*/ 2147483647 h 431"/>
                <a:gd name="T60" fmla="*/ 2147483647 w 175"/>
                <a:gd name="T61" fmla="*/ 2147483647 h 431"/>
                <a:gd name="T62" fmla="*/ 2147483647 w 175"/>
                <a:gd name="T63" fmla="*/ 2147483647 h 431"/>
                <a:gd name="T64" fmla="*/ 2147483647 w 175"/>
                <a:gd name="T65" fmla="*/ 2147483647 h 431"/>
                <a:gd name="T66" fmla="*/ 2147483647 w 175"/>
                <a:gd name="T67" fmla="*/ 2147483647 h 431"/>
                <a:gd name="T68" fmla="*/ 2147483647 w 175"/>
                <a:gd name="T69" fmla="*/ 2147483647 h 431"/>
                <a:gd name="T70" fmla="*/ 2147483647 w 175"/>
                <a:gd name="T71" fmla="*/ 2147483647 h 431"/>
                <a:gd name="T72" fmla="*/ 2147483647 w 175"/>
                <a:gd name="T73" fmla="*/ 2147483647 h 431"/>
                <a:gd name="T74" fmla="*/ 2147483647 w 175"/>
                <a:gd name="T75" fmla="*/ 2147483647 h 431"/>
                <a:gd name="T76" fmla="*/ 2147483647 w 175"/>
                <a:gd name="T77" fmla="*/ 2147483647 h 431"/>
                <a:gd name="T78" fmla="*/ 2147483647 w 175"/>
                <a:gd name="T79" fmla="*/ 2147483647 h 431"/>
                <a:gd name="T80" fmla="*/ 2147483647 w 175"/>
                <a:gd name="T81" fmla="*/ 2147483647 h 431"/>
                <a:gd name="T82" fmla="*/ 2147483647 w 175"/>
                <a:gd name="T83" fmla="*/ 2147483647 h 431"/>
                <a:gd name="T84" fmla="*/ 2147483647 w 175"/>
                <a:gd name="T85" fmla="*/ 2147483647 h 431"/>
                <a:gd name="T86" fmla="*/ 2147483647 w 175"/>
                <a:gd name="T87" fmla="*/ 2147483647 h 431"/>
                <a:gd name="T88" fmla="*/ 2147483647 w 175"/>
                <a:gd name="T89" fmla="*/ 2147483647 h 431"/>
                <a:gd name="T90" fmla="*/ 2147483647 w 175"/>
                <a:gd name="T91" fmla="*/ 2147483647 h 431"/>
                <a:gd name="T92" fmla="*/ 2147483647 w 175"/>
                <a:gd name="T93" fmla="*/ 2147483647 h 431"/>
                <a:gd name="T94" fmla="*/ 2147483647 w 175"/>
                <a:gd name="T95" fmla="*/ 2147483647 h 431"/>
                <a:gd name="T96" fmla="*/ 2147483647 w 175"/>
                <a:gd name="T97" fmla="*/ 0 h 431"/>
                <a:gd name="T98" fmla="*/ 2147483647 w 175"/>
                <a:gd name="T99" fmla="*/ 0 h 431"/>
                <a:gd name="T100" fmla="*/ 2147483647 w 175"/>
                <a:gd name="T101" fmla="*/ 0 h 431"/>
                <a:gd name="T102" fmla="*/ 2147483647 w 175"/>
                <a:gd name="T103" fmla="*/ 0 h 43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75"/>
                <a:gd name="T157" fmla="*/ 0 h 431"/>
                <a:gd name="T158" fmla="*/ 175 w 175"/>
                <a:gd name="T159" fmla="*/ 431 h 431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75" h="431">
                  <a:moveTo>
                    <a:pt x="64" y="18"/>
                  </a:moveTo>
                  <a:lnTo>
                    <a:pt x="62" y="14"/>
                  </a:lnTo>
                  <a:lnTo>
                    <a:pt x="61" y="11"/>
                  </a:lnTo>
                  <a:lnTo>
                    <a:pt x="58" y="10"/>
                  </a:lnTo>
                  <a:lnTo>
                    <a:pt x="53" y="10"/>
                  </a:lnTo>
                  <a:lnTo>
                    <a:pt x="42" y="14"/>
                  </a:lnTo>
                  <a:lnTo>
                    <a:pt x="40" y="13"/>
                  </a:lnTo>
                  <a:lnTo>
                    <a:pt x="35" y="6"/>
                  </a:lnTo>
                  <a:lnTo>
                    <a:pt x="25" y="8"/>
                  </a:lnTo>
                  <a:lnTo>
                    <a:pt x="14" y="0"/>
                  </a:lnTo>
                  <a:lnTo>
                    <a:pt x="13" y="3"/>
                  </a:lnTo>
                  <a:lnTo>
                    <a:pt x="13" y="8"/>
                  </a:lnTo>
                  <a:lnTo>
                    <a:pt x="14" y="9"/>
                  </a:lnTo>
                  <a:lnTo>
                    <a:pt x="16" y="15"/>
                  </a:lnTo>
                  <a:lnTo>
                    <a:pt x="25" y="15"/>
                  </a:lnTo>
                  <a:lnTo>
                    <a:pt x="32" y="24"/>
                  </a:lnTo>
                  <a:lnTo>
                    <a:pt x="34" y="29"/>
                  </a:lnTo>
                  <a:lnTo>
                    <a:pt x="37" y="40"/>
                  </a:lnTo>
                  <a:lnTo>
                    <a:pt x="43" y="45"/>
                  </a:lnTo>
                  <a:lnTo>
                    <a:pt x="46" y="63"/>
                  </a:lnTo>
                  <a:lnTo>
                    <a:pt x="50" y="65"/>
                  </a:lnTo>
                  <a:lnTo>
                    <a:pt x="51" y="72"/>
                  </a:lnTo>
                  <a:lnTo>
                    <a:pt x="51" y="75"/>
                  </a:lnTo>
                  <a:lnTo>
                    <a:pt x="42" y="80"/>
                  </a:lnTo>
                  <a:lnTo>
                    <a:pt x="40" y="81"/>
                  </a:lnTo>
                  <a:lnTo>
                    <a:pt x="36" y="84"/>
                  </a:lnTo>
                  <a:lnTo>
                    <a:pt x="35" y="94"/>
                  </a:lnTo>
                  <a:lnTo>
                    <a:pt x="36" y="102"/>
                  </a:lnTo>
                  <a:lnTo>
                    <a:pt x="30" y="119"/>
                  </a:lnTo>
                  <a:lnTo>
                    <a:pt x="31" y="127"/>
                  </a:lnTo>
                  <a:lnTo>
                    <a:pt x="32" y="142"/>
                  </a:lnTo>
                  <a:lnTo>
                    <a:pt x="30" y="156"/>
                  </a:lnTo>
                  <a:lnTo>
                    <a:pt x="31" y="159"/>
                  </a:lnTo>
                  <a:lnTo>
                    <a:pt x="35" y="164"/>
                  </a:lnTo>
                  <a:lnTo>
                    <a:pt x="40" y="166"/>
                  </a:lnTo>
                  <a:lnTo>
                    <a:pt x="41" y="172"/>
                  </a:lnTo>
                  <a:lnTo>
                    <a:pt x="38" y="175"/>
                  </a:lnTo>
                  <a:lnTo>
                    <a:pt x="30" y="176"/>
                  </a:lnTo>
                  <a:lnTo>
                    <a:pt x="24" y="181"/>
                  </a:lnTo>
                  <a:lnTo>
                    <a:pt x="19" y="182"/>
                  </a:lnTo>
                  <a:lnTo>
                    <a:pt x="18" y="183"/>
                  </a:lnTo>
                  <a:lnTo>
                    <a:pt x="14" y="198"/>
                  </a:lnTo>
                  <a:lnTo>
                    <a:pt x="14" y="213"/>
                  </a:lnTo>
                  <a:lnTo>
                    <a:pt x="9" y="228"/>
                  </a:lnTo>
                  <a:lnTo>
                    <a:pt x="2" y="235"/>
                  </a:lnTo>
                  <a:lnTo>
                    <a:pt x="0" y="239"/>
                  </a:lnTo>
                  <a:lnTo>
                    <a:pt x="3" y="247"/>
                  </a:lnTo>
                  <a:lnTo>
                    <a:pt x="8" y="248"/>
                  </a:lnTo>
                  <a:lnTo>
                    <a:pt x="11" y="256"/>
                  </a:lnTo>
                  <a:lnTo>
                    <a:pt x="19" y="255"/>
                  </a:lnTo>
                  <a:lnTo>
                    <a:pt x="23" y="257"/>
                  </a:lnTo>
                  <a:lnTo>
                    <a:pt x="23" y="258"/>
                  </a:lnTo>
                  <a:lnTo>
                    <a:pt x="24" y="261"/>
                  </a:lnTo>
                  <a:lnTo>
                    <a:pt x="30" y="263"/>
                  </a:lnTo>
                  <a:lnTo>
                    <a:pt x="37" y="279"/>
                  </a:lnTo>
                  <a:lnTo>
                    <a:pt x="47" y="289"/>
                  </a:lnTo>
                  <a:lnTo>
                    <a:pt x="51" y="289"/>
                  </a:lnTo>
                  <a:lnTo>
                    <a:pt x="59" y="287"/>
                  </a:lnTo>
                  <a:lnTo>
                    <a:pt x="89" y="283"/>
                  </a:lnTo>
                  <a:lnTo>
                    <a:pt x="93" y="284"/>
                  </a:lnTo>
                  <a:lnTo>
                    <a:pt x="96" y="289"/>
                  </a:lnTo>
                  <a:lnTo>
                    <a:pt x="100" y="302"/>
                  </a:lnTo>
                  <a:lnTo>
                    <a:pt x="101" y="310"/>
                  </a:lnTo>
                  <a:lnTo>
                    <a:pt x="102" y="328"/>
                  </a:lnTo>
                  <a:lnTo>
                    <a:pt x="100" y="336"/>
                  </a:lnTo>
                  <a:lnTo>
                    <a:pt x="94" y="343"/>
                  </a:lnTo>
                  <a:lnTo>
                    <a:pt x="95" y="349"/>
                  </a:lnTo>
                  <a:lnTo>
                    <a:pt x="89" y="354"/>
                  </a:lnTo>
                  <a:lnTo>
                    <a:pt x="86" y="365"/>
                  </a:lnTo>
                  <a:lnTo>
                    <a:pt x="89" y="369"/>
                  </a:lnTo>
                  <a:lnTo>
                    <a:pt x="94" y="385"/>
                  </a:lnTo>
                  <a:lnTo>
                    <a:pt x="97" y="388"/>
                  </a:lnTo>
                  <a:lnTo>
                    <a:pt x="101" y="390"/>
                  </a:lnTo>
                  <a:lnTo>
                    <a:pt x="104" y="395"/>
                  </a:lnTo>
                  <a:lnTo>
                    <a:pt x="112" y="404"/>
                  </a:lnTo>
                  <a:lnTo>
                    <a:pt x="117" y="411"/>
                  </a:lnTo>
                  <a:lnTo>
                    <a:pt x="121" y="413"/>
                  </a:lnTo>
                  <a:lnTo>
                    <a:pt x="128" y="414"/>
                  </a:lnTo>
                  <a:lnTo>
                    <a:pt x="132" y="419"/>
                  </a:lnTo>
                  <a:lnTo>
                    <a:pt x="132" y="423"/>
                  </a:lnTo>
                  <a:lnTo>
                    <a:pt x="127" y="429"/>
                  </a:lnTo>
                  <a:lnTo>
                    <a:pt x="128" y="431"/>
                  </a:lnTo>
                  <a:lnTo>
                    <a:pt x="140" y="431"/>
                  </a:lnTo>
                  <a:lnTo>
                    <a:pt x="142" y="430"/>
                  </a:lnTo>
                  <a:lnTo>
                    <a:pt x="140" y="420"/>
                  </a:lnTo>
                  <a:lnTo>
                    <a:pt x="142" y="414"/>
                  </a:lnTo>
                  <a:lnTo>
                    <a:pt x="139" y="409"/>
                  </a:lnTo>
                  <a:lnTo>
                    <a:pt x="136" y="406"/>
                  </a:lnTo>
                  <a:lnTo>
                    <a:pt x="136" y="400"/>
                  </a:lnTo>
                  <a:lnTo>
                    <a:pt x="139" y="392"/>
                  </a:lnTo>
                  <a:lnTo>
                    <a:pt x="139" y="388"/>
                  </a:lnTo>
                  <a:lnTo>
                    <a:pt x="140" y="385"/>
                  </a:lnTo>
                  <a:lnTo>
                    <a:pt x="153" y="377"/>
                  </a:lnTo>
                  <a:lnTo>
                    <a:pt x="159" y="376"/>
                  </a:lnTo>
                  <a:lnTo>
                    <a:pt x="165" y="374"/>
                  </a:lnTo>
                  <a:lnTo>
                    <a:pt x="169" y="368"/>
                  </a:lnTo>
                  <a:lnTo>
                    <a:pt x="170" y="347"/>
                  </a:lnTo>
                  <a:lnTo>
                    <a:pt x="172" y="339"/>
                  </a:lnTo>
                  <a:lnTo>
                    <a:pt x="169" y="325"/>
                  </a:lnTo>
                  <a:lnTo>
                    <a:pt x="172" y="315"/>
                  </a:lnTo>
                  <a:lnTo>
                    <a:pt x="175" y="307"/>
                  </a:lnTo>
                  <a:lnTo>
                    <a:pt x="172" y="295"/>
                  </a:lnTo>
                  <a:lnTo>
                    <a:pt x="167" y="288"/>
                  </a:lnTo>
                  <a:lnTo>
                    <a:pt x="154" y="275"/>
                  </a:lnTo>
                  <a:lnTo>
                    <a:pt x="148" y="266"/>
                  </a:lnTo>
                  <a:lnTo>
                    <a:pt x="133" y="247"/>
                  </a:lnTo>
                  <a:lnTo>
                    <a:pt x="123" y="240"/>
                  </a:lnTo>
                  <a:lnTo>
                    <a:pt x="116" y="230"/>
                  </a:lnTo>
                  <a:lnTo>
                    <a:pt x="115" y="231"/>
                  </a:lnTo>
                  <a:lnTo>
                    <a:pt x="115" y="239"/>
                  </a:lnTo>
                  <a:lnTo>
                    <a:pt x="116" y="242"/>
                  </a:lnTo>
                  <a:lnTo>
                    <a:pt x="117" y="245"/>
                  </a:lnTo>
                  <a:lnTo>
                    <a:pt x="122" y="246"/>
                  </a:lnTo>
                  <a:lnTo>
                    <a:pt x="126" y="250"/>
                  </a:lnTo>
                  <a:lnTo>
                    <a:pt x="136" y="274"/>
                  </a:lnTo>
                  <a:lnTo>
                    <a:pt x="136" y="280"/>
                  </a:lnTo>
                  <a:lnTo>
                    <a:pt x="134" y="282"/>
                  </a:lnTo>
                  <a:lnTo>
                    <a:pt x="132" y="280"/>
                  </a:lnTo>
                  <a:lnTo>
                    <a:pt x="126" y="272"/>
                  </a:lnTo>
                  <a:lnTo>
                    <a:pt x="121" y="269"/>
                  </a:lnTo>
                  <a:lnTo>
                    <a:pt x="117" y="262"/>
                  </a:lnTo>
                  <a:lnTo>
                    <a:pt x="116" y="262"/>
                  </a:lnTo>
                  <a:lnTo>
                    <a:pt x="115" y="262"/>
                  </a:lnTo>
                  <a:lnTo>
                    <a:pt x="111" y="271"/>
                  </a:lnTo>
                  <a:lnTo>
                    <a:pt x="109" y="272"/>
                  </a:lnTo>
                  <a:lnTo>
                    <a:pt x="102" y="272"/>
                  </a:lnTo>
                  <a:lnTo>
                    <a:pt x="101" y="269"/>
                  </a:lnTo>
                  <a:lnTo>
                    <a:pt x="99" y="266"/>
                  </a:lnTo>
                  <a:lnTo>
                    <a:pt x="97" y="261"/>
                  </a:lnTo>
                  <a:lnTo>
                    <a:pt x="97" y="256"/>
                  </a:lnTo>
                  <a:lnTo>
                    <a:pt x="100" y="247"/>
                  </a:lnTo>
                  <a:lnTo>
                    <a:pt x="100" y="245"/>
                  </a:lnTo>
                  <a:lnTo>
                    <a:pt x="97" y="241"/>
                  </a:lnTo>
                  <a:lnTo>
                    <a:pt x="91" y="235"/>
                  </a:lnTo>
                  <a:lnTo>
                    <a:pt x="89" y="231"/>
                  </a:lnTo>
                  <a:lnTo>
                    <a:pt x="86" y="223"/>
                  </a:lnTo>
                  <a:lnTo>
                    <a:pt x="86" y="209"/>
                  </a:lnTo>
                  <a:lnTo>
                    <a:pt x="85" y="208"/>
                  </a:lnTo>
                  <a:lnTo>
                    <a:pt x="80" y="187"/>
                  </a:lnTo>
                  <a:lnTo>
                    <a:pt x="68" y="164"/>
                  </a:lnTo>
                  <a:lnTo>
                    <a:pt x="68" y="159"/>
                  </a:lnTo>
                  <a:lnTo>
                    <a:pt x="68" y="154"/>
                  </a:lnTo>
                  <a:lnTo>
                    <a:pt x="73" y="145"/>
                  </a:lnTo>
                  <a:lnTo>
                    <a:pt x="79" y="140"/>
                  </a:lnTo>
                  <a:lnTo>
                    <a:pt x="83" y="128"/>
                  </a:lnTo>
                  <a:lnTo>
                    <a:pt x="81" y="94"/>
                  </a:lnTo>
                  <a:lnTo>
                    <a:pt x="79" y="70"/>
                  </a:lnTo>
                  <a:lnTo>
                    <a:pt x="81" y="63"/>
                  </a:lnTo>
                  <a:lnTo>
                    <a:pt x="81" y="57"/>
                  </a:lnTo>
                  <a:lnTo>
                    <a:pt x="78" y="51"/>
                  </a:lnTo>
                  <a:lnTo>
                    <a:pt x="72" y="48"/>
                  </a:lnTo>
                  <a:lnTo>
                    <a:pt x="69" y="46"/>
                  </a:lnTo>
                  <a:lnTo>
                    <a:pt x="63" y="32"/>
                  </a:lnTo>
                  <a:lnTo>
                    <a:pt x="62" y="26"/>
                  </a:lnTo>
                  <a:lnTo>
                    <a:pt x="64" y="18"/>
                  </a:lnTo>
                  <a:lnTo>
                    <a:pt x="69" y="10"/>
                  </a:lnTo>
                  <a:lnTo>
                    <a:pt x="64" y="1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7" name="Freeform 26">
              <a:extLst>
                <a:ext uri="{FF2B5EF4-FFF2-40B4-BE49-F238E27FC236}">
                  <a16:creationId xmlns:a16="http://schemas.microsoft.com/office/drawing/2014/main" id="{BF42B0B5-BDF6-F740-4CA4-FB52754FE1A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110442" y="4520854"/>
              <a:ext cx="368608" cy="387152"/>
            </a:xfrm>
            <a:custGeom>
              <a:avLst/>
              <a:gdLst>
                <a:gd name="T0" fmla="*/ 0 w 692"/>
                <a:gd name="T1" fmla="*/ 2147483647 h 684"/>
                <a:gd name="T2" fmla="*/ 0 w 692"/>
                <a:gd name="T3" fmla="*/ 2147483647 h 684"/>
                <a:gd name="T4" fmla="*/ 0 w 692"/>
                <a:gd name="T5" fmla="*/ 2147483647 h 684"/>
                <a:gd name="T6" fmla="*/ 0 w 692"/>
                <a:gd name="T7" fmla="*/ 2147483647 h 684"/>
                <a:gd name="T8" fmla="*/ 0 w 692"/>
                <a:gd name="T9" fmla="*/ 2147483647 h 684"/>
                <a:gd name="T10" fmla="*/ 0 w 692"/>
                <a:gd name="T11" fmla="*/ 2147483647 h 684"/>
                <a:gd name="T12" fmla="*/ 0 w 692"/>
                <a:gd name="T13" fmla="*/ 0 h 684"/>
                <a:gd name="T14" fmla="*/ 0 w 692"/>
                <a:gd name="T15" fmla="*/ 0 h 684"/>
                <a:gd name="T16" fmla="*/ 0 w 692"/>
                <a:gd name="T17" fmla="*/ 0 h 684"/>
                <a:gd name="T18" fmla="*/ 0 w 692"/>
                <a:gd name="T19" fmla="*/ 0 h 684"/>
                <a:gd name="T20" fmla="*/ 0 w 692"/>
                <a:gd name="T21" fmla="*/ 0 h 684"/>
                <a:gd name="T22" fmla="*/ 0 w 692"/>
                <a:gd name="T23" fmla="*/ 0 h 684"/>
                <a:gd name="T24" fmla="*/ 0 w 692"/>
                <a:gd name="T25" fmla="*/ 0 h 684"/>
                <a:gd name="T26" fmla="*/ 0 w 692"/>
                <a:gd name="T27" fmla="*/ 0 h 684"/>
                <a:gd name="T28" fmla="*/ 0 w 692"/>
                <a:gd name="T29" fmla="*/ 0 h 684"/>
                <a:gd name="T30" fmla="*/ 0 w 692"/>
                <a:gd name="T31" fmla="*/ 0 h 684"/>
                <a:gd name="T32" fmla="*/ 0 w 692"/>
                <a:gd name="T33" fmla="*/ 0 h 684"/>
                <a:gd name="T34" fmla="*/ 0 w 692"/>
                <a:gd name="T35" fmla="*/ 0 h 684"/>
                <a:gd name="T36" fmla="*/ 2147483647 w 692"/>
                <a:gd name="T37" fmla="*/ 0 h 684"/>
                <a:gd name="T38" fmla="*/ 2147483647 w 692"/>
                <a:gd name="T39" fmla="*/ 0 h 684"/>
                <a:gd name="T40" fmla="*/ 2147483647 w 692"/>
                <a:gd name="T41" fmla="*/ 0 h 684"/>
                <a:gd name="T42" fmla="*/ 2147483647 w 692"/>
                <a:gd name="T43" fmla="*/ 0 h 684"/>
                <a:gd name="T44" fmla="*/ 2147483647 w 692"/>
                <a:gd name="T45" fmla="*/ 0 h 684"/>
                <a:gd name="T46" fmla="*/ 2147483647 w 692"/>
                <a:gd name="T47" fmla="*/ 0 h 684"/>
                <a:gd name="T48" fmla="*/ 2147483647 w 692"/>
                <a:gd name="T49" fmla="*/ 0 h 684"/>
                <a:gd name="T50" fmla="*/ 2147483647 w 692"/>
                <a:gd name="T51" fmla="*/ 0 h 684"/>
                <a:gd name="T52" fmla="*/ 2147483647 w 692"/>
                <a:gd name="T53" fmla="*/ 0 h 684"/>
                <a:gd name="T54" fmla="*/ 2147483647 w 692"/>
                <a:gd name="T55" fmla="*/ 0 h 684"/>
                <a:gd name="T56" fmla="*/ 2147483647 w 692"/>
                <a:gd name="T57" fmla="*/ 0 h 684"/>
                <a:gd name="T58" fmla="*/ 2147483647 w 692"/>
                <a:gd name="T59" fmla="*/ 0 h 684"/>
                <a:gd name="T60" fmla="*/ 2147483647 w 692"/>
                <a:gd name="T61" fmla="*/ 0 h 684"/>
                <a:gd name="T62" fmla="*/ 2147483647 w 692"/>
                <a:gd name="T63" fmla="*/ 0 h 684"/>
                <a:gd name="T64" fmla="*/ 2147483647 w 692"/>
                <a:gd name="T65" fmla="*/ 0 h 684"/>
                <a:gd name="T66" fmla="*/ 2147483647 w 692"/>
                <a:gd name="T67" fmla="*/ 2147483647 h 684"/>
                <a:gd name="T68" fmla="*/ 2147483647 w 692"/>
                <a:gd name="T69" fmla="*/ 2147483647 h 684"/>
                <a:gd name="T70" fmla="*/ 2147483647 w 692"/>
                <a:gd name="T71" fmla="*/ 2147483647 h 684"/>
                <a:gd name="T72" fmla="*/ 2147483647 w 692"/>
                <a:gd name="T73" fmla="*/ 2147483647 h 684"/>
                <a:gd name="T74" fmla="*/ 2147483647 w 692"/>
                <a:gd name="T75" fmla="*/ 2147483647 h 684"/>
                <a:gd name="T76" fmla="*/ 2147483647 w 692"/>
                <a:gd name="T77" fmla="*/ 2147483647 h 684"/>
                <a:gd name="T78" fmla="*/ 2147483647 w 692"/>
                <a:gd name="T79" fmla="*/ 2147483647 h 684"/>
                <a:gd name="T80" fmla="*/ 2147483647 w 692"/>
                <a:gd name="T81" fmla="*/ 2147483647 h 684"/>
                <a:gd name="T82" fmla="*/ 2147483647 w 692"/>
                <a:gd name="T83" fmla="*/ 2147483647 h 684"/>
                <a:gd name="T84" fmla="*/ 2147483647 w 692"/>
                <a:gd name="T85" fmla="*/ 2147483647 h 684"/>
                <a:gd name="T86" fmla="*/ 0 w 692"/>
                <a:gd name="T87" fmla="*/ 2147483647 h 684"/>
                <a:gd name="T88" fmla="*/ 0 w 692"/>
                <a:gd name="T89" fmla="*/ 2147483647 h 684"/>
                <a:gd name="T90" fmla="*/ 0 w 692"/>
                <a:gd name="T91" fmla="*/ 2147483647 h 684"/>
                <a:gd name="T92" fmla="*/ 0 w 692"/>
                <a:gd name="T93" fmla="*/ 2147483647 h 684"/>
                <a:gd name="T94" fmla="*/ 0 w 692"/>
                <a:gd name="T95" fmla="*/ 2147483647 h 68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692"/>
                <a:gd name="T145" fmla="*/ 0 h 684"/>
                <a:gd name="T146" fmla="*/ 692 w 692"/>
                <a:gd name="T147" fmla="*/ 684 h 68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692" h="684">
                  <a:moveTo>
                    <a:pt x="5" y="597"/>
                  </a:moveTo>
                  <a:lnTo>
                    <a:pt x="5" y="576"/>
                  </a:lnTo>
                  <a:lnTo>
                    <a:pt x="6" y="565"/>
                  </a:lnTo>
                  <a:lnTo>
                    <a:pt x="14" y="557"/>
                  </a:lnTo>
                  <a:lnTo>
                    <a:pt x="21" y="532"/>
                  </a:lnTo>
                  <a:lnTo>
                    <a:pt x="25" y="522"/>
                  </a:lnTo>
                  <a:lnTo>
                    <a:pt x="26" y="508"/>
                  </a:lnTo>
                  <a:lnTo>
                    <a:pt x="30" y="499"/>
                  </a:lnTo>
                  <a:lnTo>
                    <a:pt x="31" y="487"/>
                  </a:lnTo>
                  <a:lnTo>
                    <a:pt x="33" y="481"/>
                  </a:lnTo>
                  <a:lnTo>
                    <a:pt x="36" y="470"/>
                  </a:lnTo>
                  <a:lnTo>
                    <a:pt x="43" y="451"/>
                  </a:lnTo>
                  <a:lnTo>
                    <a:pt x="43" y="444"/>
                  </a:lnTo>
                  <a:lnTo>
                    <a:pt x="47" y="439"/>
                  </a:lnTo>
                  <a:lnTo>
                    <a:pt x="47" y="433"/>
                  </a:lnTo>
                  <a:lnTo>
                    <a:pt x="53" y="418"/>
                  </a:lnTo>
                  <a:lnTo>
                    <a:pt x="63" y="411"/>
                  </a:lnTo>
                  <a:lnTo>
                    <a:pt x="69" y="403"/>
                  </a:lnTo>
                  <a:lnTo>
                    <a:pt x="70" y="391"/>
                  </a:lnTo>
                  <a:lnTo>
                    <a:pt x="90" y="381"/>
                  </a:lnTo>
                  <a:lnTo>
                    <a:pt x="103" y="366"/>
                  </a:lnTo>
                  <a:lnTo>
                    <a:pt x="108" y="358"/>
                  </a:lnTo>
                  <a:lnTo>
                    <a:pt x="113" y="347"/>
                  </a:lnTo>
                  <a:lnTo>
                    <a:pt x="116" y="331"/>
                  </a:lnTo>
                  <a:lnTo>
                    <a:pt x="116" y="315"/>
                  </a:lnTo>
                  <a:lnTo>
                    <a:pt x="118" y="306"/>
                  </a:lnTo>
                  <a:lnTo>
                    <a:pt x="117" y="290"/>
                  </a:lnTo>
                  <a:lnTo>
                    <a:pt x="122" y="283"/>
                  </a:lnTo>
                  <a:lnTo>
                    <a:pt x="117" y="264"/>
                  </a:lnTo>
                  <a:lnTo>
                    <a:pt x="105" y="253"/>
                  </a:lnTo>
                  <a:lnTo>
                    <a:pt x="100" y="242"/>
                  </a:lnTo>
                  <a:lnTo>
                    <a:pt x="95" y="235"/>
                  </a:lnTo>
                  <a:lnTo>
                    <a:pt x="89" y="219"/>
                  </a:lnTo>
                  <a:lnTo>
                    <a:pt x="81" y="188"/>
                  </a:lnTo>
                  <a:lnTo>
                    <a:pt x="81" y="182"/>
                  </a:lnTo>
                  <a:lnTo>
                    <a:pt x="86" y="175"/>
                  </a:lnTo>
                  <a:lnTo>
                    <a:pt x="94" y="169"/>
                  </a:lnTo>
                  <a:lnTo>
                    <a:pt x="94" y="151"/>
                  </a:lnTo>
                  <a:lnTo>
                    <a:pt x="90" y="137"/>
                  </a:lnTo>
                  <a:lnTo>
                    <a:pt x="84" y="128"/>
                  </a:lnTo>
                  <a:lnTo>
                    <a:pt x="73" y="91"/>
                  </a:lnTo>
                  <a:lnTo>
                    <a:pt x="70" y="79"/>
                  </a:lnTo>
                  <a:lnTo>
                    <a:pt x="67" y="70"/>
                  </a:lnTo>
                  <a:lnTo>
                    <a:pt x="53" y="53"/>
                  </a:lnTo>
                  <a:lnTo>
                    <a:pt x="48" y="45"/>
                  </a:lnTo>
                  <a:lnTo>
                    <a:pt x="43" y="36"/>
                  </a:lnTo>
                  <a:lnTo>
                    <a:pt x="40" y="30"/>
                  </a:lnTo>
                  <a:lnTo>
                    <a:pt x="40" y="26"/>
                  </a:lnTo>
                  <a:lnTo>
                    <a:pt x="41" y="24"/>
                  </a:lnTo>
                  <a:lnTo>
                    <a:pt x="47" y="21"/>
                  </a:lnTo>
                  <a:lnTo>
                    <a:pt x="65" y="16"/>
                  </a:lnTo>
                  <a:lnTo>
                    <a:pt x="79" y="9"/>
                  </a:lnTo>
                  <a:lnTo>
                    <a:pt x="92" y="4"/>
                  </a:lnTo>
                  <a:lnTo>
                    <a:pt x="101" y="4"/>
                  </a:lnTo>
                  <a:lnTo>
                    <a:pt x="108" y="3"/>
                  </a:lnTo>
                  <a:lnTo>
                    <a:pt x="132" y="4"/>
                  </a:lnTo>
                  <a:lnTo>
                    <a:pt x="154" y="2"/>
                  </a:lnTo>
                  <a:lnTo>
                    <a:pt x="161" y="4"/>
                  </a:lnTo>
                  <a:lnTo>
                    <a:pt x="180" y="5"/>
                  </a:lnTo>
                  <a:lnTo>
                    <a:pt x="193" y="3"/>
                  </a:lnTo>
                  <a:lnTo>
                    <a:pt x="207" y="3"/>
                  </a:lnTo>
                  <a:lnTo>
                    <a:pt x="240" y="0"/>
                  </a:lnTo>
                  <a:lnTo>
                    <a:pt x="256" y="2"/>
                  </a:lnTo>
                  <a:lnTo>
                    <a:pt x="258" y="3"/>
                  </a:lnTo>
                  <a:lnTo>
                    <a:pt x="263" y="10"/>
                  </a:lnTo>
                  <a:lnTo>
                    <a:pt x="267" y="11"/>
                  </a:lnTo>
                  <a:lnTo>
                    <a:pt x="271" y="10"/>
                  </a:lnTo>
                  <a:lnTo>
                    <a:pt x="275" y="19"/>
                  </a:lnTo>
                  <a:lnTo>
                    <a:pt x="280" y="37"/>
                  </a:lnTo>
                  <a:lnTo>
                    <a:pt x="282" y="51"/>
                  </a:lnTo>
                  <a:lnTo>
                    <a:pt x="283" y="56"/>
                  </a:lnTo>
                  <a:lnTo>
                    <a:pt x="290" y="68"/>
                  </a:lnTo>
                  <a:lnTo>
                    <a:pt x="294" y="84"/>
                  </a:lnTo>
                  <a:lnTo>
                    <a:pt x="306" y="97"/>
                  </a:lnTo>
                  <a:lnTo>
                    <a:pt x="327" y="124"/>
                  </a:lnTo>
                  <a:lnTo>
                    <a:pt x="339" y="129"/>
                  </a:lnTo>
                  <a:lnTo>
                    <a:pt x="353" y="129"/>
                  </a:lnTo>
                  <a:lnTo>
                    <a:pt x="374" y="122"/>
                  </a:lnTo>
                  <a:lnTo>
                    <a:pt x="387" y="119"/>
                  </a:lnTo>
                  <a:lnTo>
                    <a:pt x="404" y="122"/>
                  </a:lnTo>
                  <a:lnTo>
                    <a:pt x="424" y="122"/>
                  </a:lnTo>
                  <a:lnTo>
                    <a:pt x="427" y="107"/>
                  </a:lnTo>
                  <a:lnTo>
                    <a:pt x="428" y="100"/>
                  </a:lnTo>
                  <a:lnTo>
                    <a:pt x="430" y="95"/>
                  </a:lnTo>
                  <a:lnTo>
                    <a:pt x="431" y="91"/>
                  </a:lnTo>
                  <a:lnTo>
                    <a:pt x="433" y="86"/>
                  </a:lnTo>
                  <a:lnTo>
                    <a:pt x="434" y="75"/>
                  </a:lnTo>
                  <a:lnTo>
                    <a:pt x="436" y="67"/>
                  </a:lnTo>
                  <a:lnTo>
                    <a:pt x="479" y="67"/>
                  </a:lnTo>
                  <a:lnTo>
                    <a:pt x="482" y="61"/>
                  </a:lnTo>
                  <a:lnTo>
                    <a:pt x="505" y="61"/>
                  </a:lnTo>
                  <a:lnTo>
                    <a:pt x="504" y="83"/>
                  </a:lnTo>
                  <a:lnTo>
                    <a:pt x="552" y="84"/>
                  </a:lnTo>
                  <a:lnTo>
                    <a:pt x="556" y="88"/>
                  </a:lnTo>
                  <a:lnTo>
                    <a:pt x="558" y="96"/>
                  </a:lnTo>
                  <a:lnTo>
                    <a:pt x="560" y="128"/>
                  </a:lnTo>
                  <a:lnTo>
                    <a:pt x="563" y="140"/>
                  </a:lnTo>
                  <a:lnTo>
                    <a:pt x="563" y="156"/>
                  </a:lnTo>
                  <a:lnTo>
                    <a:pt x="565" y="172"/>
                  </a:lnTo>
                  <a:lnTo>
                    <a:pt x="565" y="178"/>
                  </a:lnTo>
                  <a:lnTo>
                    <a:pt x="562" y="189"/>
                  </a:lnTo>
                  <a:lnTo>
                    <a:pt x="562" y="203"/>
                  </a:lnTo>
                  <a:lnTo>
                    <a:pt x="564" y="212"/>
                  </a:lnTo>
                  <a:lnTo>
                    <a:pt x="573" y="226"/>
                  </a:lnTo>
                  <a:lnTo>
                    <a:pt x="579" y="247"/>
                  </a:lnTo>
                  <a:lnTo>
                    <a:pt x="585" y="263"/>
                  </a:lnTo>
                  <a:lnTo>
                    <a:pt x="585" y="271"/>
                  </a:lnTo>
                  <a:lnTo>
                    <a:pt x="580" y="278"/>
                  </a:lnTo>
                  <a:lnTo>
                    <a:pt x="569" y="289"/>
                  </a:lnTo>
                  <a:lnTo>
                    <a:pt x="569" y="291"/>
                  </a:lnTo>
                  <a:lnTo>
                    <a:pt x="570" y="294"/>
                  </a:lnTo>
                  <a:lnTo>
                    <a:pt x="572" y="295"/>
                  </a:lnTo>
                  <a:lnTo>
                    <a:pt x="575" y="296"/>
                  </a:lnTo>
                  <a:lnTo>
                    <a:pt x="581" y="304"/>
                  </a:lnTo>
                  <a:lnTo>
                    <a:pt x="587" y="305"/>
                  </a:lnTo>
                  <a:lnTo>
                    <a:pt x="590" y="304"/>
                  </a:lnTo>
                  <a:lnTo>
                    <a:pt x="592" y="298"/>
                  </a:lnTo>
                  <a:lnTo>
                    <a:pt x="595" y="290"/>
                  </a:lnTo>
                  <a:lnTo>
                    <a:pt x="600" y="288"/>
                  </a:lnTo>
                  <a:lnTo>
                    <a:pt x="651" y="288"/>
                  </a:lnTo>
                  <a:lnTo>
                    <a:pt x="661" y="284"/>
                  </a:lnTo>
                  <a:lnTo>
                    <a:pt x="670" y="287"/>
                  </a:lnTo>
                  <a:lnTo>
                    <a:pt x="672" y="287"/>
                  </a:lnTo>
                  <a:lnTo>
                    <a:pt x="682" y="279"/>
                  </a:lnTo>
                  <a:lnTo>
                    <a:pt x="683" y="279"/>
                  </a:lnTo>
                  <a:lnTo>
                    <a:pt x="687" y="283"/>
                  </a:lnTo>
                  <a:lnTo>
                    <a:pt x="687" y="287"/>
                  </a:lnTo>
                  <a:lnTo>
                    <a:pt x="686" y="288"/>
                  </a:lnTo>
                  <a:lnTo>
                    <a:pt x="685" y="290"/>
                  </a:lnTo>
                  <a:lnTo>
                    <a:pt x="686" y="300"/>
                  </a:lnTo>
                  <a:lnTo>
                    <a:pt x="686" y="305"/>
                  </a:lnTo>
                  <a:lnTo>
                    <a:pt x="683" y="311"/>
                  </a:lnTo>
                  <a:lnTo>
                    <a:pt x="683" y="323"/>
                  </a:lnTo>
                  <a:lnTo>
                    <a:pt x="681" y="336"/>
                  </a:lnTo>
                  <a:lnTo>
                    <a:pt x="682" y="350"/>
                  </a:lnTo>
                  <a:lnTo>
                    <a:pt x="681" y="364"/>
                  </a:lnTo>
                  <a:lnTo>
                    <a:pt x="678" y="373"/>
                  </a:lnTo>
                  <a:lnTo>
                    <a:pt x="678" y="388"/>
                  </a:lnTo>
                  <a:lnTo>
                    <a:pt x="680" y="392"/>
                  </a:lnTo>
                  <a:lnTo>
                    <a:pt x="683" y="396"/>
                  </a:lnTo>
                  <a:lnTo>
                    <a:pt x="692" y="398"/>
                  </a:lnTo>
                  <a:lnTo>
                    <a:pt x="633" y="398"/>
                  </a:lnTo>
                  <a:lnTo>
                    <a:pt x="573" y="398"/>
                  </a:lnTo>
                  <a:lnTo>
                    <a:pt x="573" y="452"/>
                  </a:lnTo>
                  <a:lnTo>
                    <a:pt x="573" y="508"/>
                  </a:lnTo>
                  <a:lnTo>
                    <a:pt x="573" y="562"/>
                  </a:lnTo>
                  <a:lnTo>
                    <a:pt x="573" y="600"/>
                  </a:lnTo>
                  <a:lnTo>
                    <a:pt x="573" y="601"/>
                  </a:lnTo>
                  <a:lnTo>
                    <a:pt x="580" y="607"/>
                  </a:lnTo>
                  <a:lnTo>
                    <a:pt x="584" y="614"/>
                  </a:lnTo>
                  <a:lnTo>
                    <a:pt x="597" y="623"/>
                  </a:lnTo>
                  <a:lnTo>
                    <a:pt x="603" y="630"/>
                  </a:lnTo>
                  <a:lnTo>
                    <a:pt x="613" y="639"/>
                  </a:lnTo>
                  <a:lnTo>
                    <a:pt x="617" y="644"/>
                  </a:lnTo>
                  <a:lnTo>
                    <a:pt x="626" y="648"/>
                  </a:lnTo>
                  <a:lnTo>
                    <a:pt x="630" y="654"/>
                  </a:lnTo>
                  <a:lnTo>
                    <a:pt x="638" y="659"/>
                  </a:lnTo>
                  <a:lnTo>
                    <a:pt x="635" y="661"/>
                  </a:lnTo>
                  <a:lnTo>
                    <a:pt x="624" y="664"/>
                  </a:lnTo>
                  <a:lnTo>
                    <a:pt x="549" y="683"/>
                  </a:lnTo>
                  <a:lnTo>
                    <a:pt x="541" y="684"/>
                  </a:lnTo>
                  <a:lnTo>
                    <a:pt x="537" y="682"/>
                  </a:lnTo>
                  <a:lnTo>
                    <a:pt x="525" y="681"/>
                  </a:lnTo>
                  <a:lnTo>
                    <a:pt x="513" y="677"/>
                  </a:lnTo>
                  <a:lnTo>
                    <a:pt x="497" y="676"/>
                  </a:lnTo>
                  <a:lnTo>
                    <a:pt x="463" y="669"/>
                  </a:lnTo>
                  <a:lnTo>
                    <a:pt x="436" y="669"/>
                  </a:lnTo>
                  <a:lnTo>
                    <a:pt x="417" y="671"/>
                  </a:lnTo>
                  <a:lnTo>
                    <a:pt x="408" y="671"/>
                  </a:lnTo>
                  <a:lnTo>
                    <a:pt x="391" y="665"/>
                  </a:lnTo>
                  <a:lnTo>
                    <a:pt x="385" y="655"/>
                  </a:lnTo>
                  <a:lnTo>
                    <a:pt x="369" y="644"/>
                  </a:lnTo>
                  <a:lnTo>
                    <a:pt x="349" y="644"/>
                  </a:lnTo>
                  <a:lnTo>
                    <a:pt x="302" y="644"/>
                  </a:lnTo>
                  <a:lnTo>
                    <a:pt x="255" y="644"/>
                  </a:lnTo>
                  <a:lnTo>
                    <a:pt x="201" y="644"/>
                  </a:lnTo>
                  <a:lnTo>
                    <a:pt x="151" y="644"/>
                  </a:lnTo>
                  <a:lnTo>
                    <a:pt x="133" y="644"/>
                  </a:lnTo>
                  <a:lnTo>
                    <a:pt x="126" y="646"/>
                  </a:lnTo>
                  <a:lnTo>
                    <a:pt x="112" y="633"/>
                  </a:lnTo>
                  <a:lnTo>
                    <a:pt x="99" y="628"/>
                  </a:lnTo>
                  <a:lnTo>
                    <a:pt x="94" y="619"/>
                  </a:lnTo>
                  <a:lnTo>
                    <a:pt x="84" y="618"/>
                  </a:lnTo>
                  <a:lnTo>
                    <a:pt x="62" y="618"/>
                  </a:lnTo>
                  <a:lnTo>
                    <a:pt x="52" y="622"/>
                  </a:lnTo>
                  <a:lnTo>
                    <a:pt x="42" y="632"/>
                  </a:lnTo>
                  <a:lnTo>
                    <a:pt x="36" y="635"/>
                  </a:lnTo>
                  <a:lnTo>
                    <a:pt x="26" y="629"/>
                  </a:lnTo>
                  <a:lnTo>
                    <a:pt x="15" y="638"/>
                  </a:lnTo>
                  <a:lnTo>
                    <a:pt x="4" y="644"/>
                  </a:lnTo>
                  <a:lnTo>
                    <a:pt x="4" y="638"/>
                  </a:lnTo>
                  <a:lnTo>
                    <a:pt x="0" y="617"/>
                  </a:lnTo>
                  <a:lnTo>
                    <a:pt x="0" y="606"/>
                  </a:lnTo>
                  <a:lnTo>
                    <a:pt x="5" y="608"/>
                  </a:lnTo>
                  <a:lnTo>
                    <a:pt x="5" y="59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4C383FE9-4EE4-DEDF-34B6-5DB0F1858C3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414880" y="4595541"/>
              <a:ext cx="341746" cy="312465"/>
            </a:xfrm>
            <a:custGeom>
              <a:avLst/>
              <a:gdLst>
                <a:gd name="T0" fmla="*/ 0 w 640"/>
                <a:gd name="T1" fmla="*/ 2147483647 h 552"/>
                <a:gd name="T2" fmla="*/ 2147483647 w 640"/>
                <a:gd name="T3" fmla="*/ 2147483647 h 552"/>
                <a:gd name="T4" fmla="*/ 2147483647 w 640"/>
                <a:gd name="T5" fmla="*/ 2147483647 h 552"/>
                <a:gd name="T6" fmla="*/ 2147483647 w 640"/>
                <a:gd name="T7" fmla="*/ 2147483647 h 552"/>
                <a:gd name="T8" fmla="*/ 2147483647 w 640"/>
                <a:gd name="T9" fmla="*/ 2147483647 h 552"/>
                <a:gd name="T10" fmla="*/ 2147483647 w 640"/>
                <a:gd name="T11" fmla="*/ 2147483647 h 552"/>
                <a:gd name="T12" fmla="*/ 2147483647 w 640"/>
                <a:gd name="T13" fmla="*/ 2147483647 h 552"/>
                <a:gd name="T14" fmla="*/ 2147483647 w 640"/>
                <a:gd name="T15" fmla="*/ 2147483647 h 552"/>
                <a:gd name="T16" fmla="*/ 2147483647 w 640"/>
                <a:gd name="T17" fmla="*/ 2147483647 h 552"/>
                <a:gd name="T18" fmla="*/ 2147483647 w 640"/>
                <a:gd name="T19" fmla="*/ 2147483647 h 552"/>
                <a:gd name="T20" fmla="*/ 2147483647 w 640"/>
                <a:gd name="T21" fmla="*/ 2147483647 h 552"/>
                <a:gd name="T22" fmla="*/ 2147483647 w 640"/>
                <a:gd name="T23" fmla="*/ 2147483647 h 552"/>
                <a:gd name="T24" fmla="*/ 2147483647 w 640"/>
                <a:gd name="T25" fmla="*/ 2147483647 h 552"/>
                <a:gd name="T26" fmla="*/ 2147483647 w 640"/>
                <a:gd name="T27" fmla="*/ 2147483647 h 552"/>
                <a:gd name="T28" fmla="*/ 2147483647 w 640"/>
                <a:gd name="T29" fmla="*/ 2147483647 h 552"/>
                <a:gd name="T30" fmla="*/ 2147483647 w 640"/>
                <a:gd name="T31" fmla="*/ 2147483647 h 552"/>
                <a:gd name="T32" fmla="*/ 2147483647 w 640"/>
                <a:gd name="T33" fmla="*/ 2147483647 h 552"/>
                <a:gd name="T34" fmla="*/ 2147483647 w 640"/>
                <a:gd name="T35" fmla="*/ 2147483647 h 552"/>
                <a:gd name="T36" fmla="*/ 2147483647 w 640"/>
                <a:gd name="T37" fmla="*/ 2147483647 h 552"/>
                <a:gd name="T38" fmla="*/ 2147483647 w 640"/>
                <a:gd name="T39" fmla="*/ 2147483647 h 552"/>
                <a:gd name="T40" fmla="*/ 2147483647 w 640"/>
                <a:gd name="T41" fmla="*/ 0 h 552"/>
                <a:gd name="T42" fmla="*/ 2147483647 w 640"/>
                <a:gd name="T43" fmla="*/ 0 h 552"/>
                <a:gd name="T44" fmla="*/ 2147483647 w 640"/>
                <a:gd name="T45" fmla="*/ 0 h 552"/>
                <a:gd name="T46" fmla="*/ 2147483647 w 640"/>
                <a:gd name="T47" fmla="*/ 0 h 552"/>
                <a:gd name="T48" fmla="*/ 2147483647 w 640"/>
                <a:gd name="T49" fmla="*/ 0 h 552"/>
                <a:gd name="T50" fmla="*/ 2147483647 w 640"/>
                <a:gd name="T51" fmla="*/ 0 h 552"/>
                <a:gd name="T52" fmla="*/ 2147483647 w 640"/>
                <a:gd name="T53" fmla="*/ 0 h 552"/>
                <a:gd name="T54" fmla="*/ 2147483647 w 640"/>
                <a:gd name="T55" fmla="*/ 0 h 552"/>
                <a:gd name="T56" fmla="*/ 2147483647 w 640"/>
                <a:gd name="T57" fmla="*/ 2147483647 h 552"/>
                <a:gd name="T58" fmla="*/ 2147483647 w 640"/>
                <a:gd name="T59" fmla="*/ 2147483647 h 552"/>
                <a:gd name="T60" fmla="*/ 2147483647 w 640"/>
                <a:gd name="T61" fmla="*/ 2147483647 h 552"/>
                <a:gd name="T62" fmla="*/ 2147483647 w 640"/>
                <a:gd name="T63" fmla="*/ 2147483647 h 552"/>
                <a:gd name="T64" fmla="*/ 2147483647 w 640"/>
                <a:gd name="T65" fmla="*/ 2147483647 h 552"/>
                <a:gd name="T66" fmla="*/ 2147483647 w 640"/>
                <a:gd name="T67" fmla="*/ 2147483647 h 552"/>
                <a:gd name="T68" fmla="*/ 2147483647 w 640"/>
                <a:gd name="T69" fmla="*/ 2147483647 h 552"/>
                <a:gd name="T70" fmla="*/ 2147483647 w 640"/>
                <a:gd name="T71" fmla="*/ 2147483647 h 552"/>
                <a:gd name="T72" fmla="*/ 2147483647 w 640"/>
                <a:gd name="T73" fmla="*/ 2147483647 h 552"/>
                <a:gd name="T74" fmla="*/ 2147483647 w 640"/>
                <a:gd name="T75" fmla="*/ 2147483647 h 552"/>
                <a:gd name="T76" fmla="*/ 2147483647 w 640"/>
                <a:gd name="T77" fmla="*/ 2147483647 h 552"/>
                <a:gd name="T78" fmla="*/ 2147483647 w 640"/>
                <a:gd name="T79" fmla="*/ 2147483647 h 552"/>
                <a:gd name="T80" fmla="*/ 2147483647 w 640"/>
                <a:gd name="T81" fmla="*/ 2147483647 h 552"/>
                <a:gd name="T82" fmla="*/ 2147483647 w 640"/>
                <a:gd name="T83" fmla="*/ 2147483647 h 552"/>
                <a:gd name="T84" fmla="*/ 2147483647 w 640"/>
                <a:gd name="T85" fmla="*/ 2147483647 h 552"/>
                <a:gd name="T86" fmla="*/ 2147483647 w 640"/>
                <a:gd name="T87" fmla="*/ 2147483647 h 552"/>
                <a:gd name="T88" fmla="*/ 2147483647 w 640"/>
                <a:gd name="T89" fmla="*/ 2147483647 h 552"/>
                <a:gd name="T90" fmla="*/ 2147483647 w 640"/>
                <a:gd name="T91" fmla="*/ 2147483647 h 552"/>
                <a:gd name="T92" fmla="*/ 2147483647 w 640"/>
                <a:gd name="T93" fmla="*/ 2147483647 h 552"/>
                <a:gd name="T94" fmla="*/ 2147483647 w 640"/>
                <a:gd name="T95" fmla="*/ 2147483647 h 552"/>
                <a:gd name="T96" fmla="*/ 2147483647 w 640"/>
                <a:gd name="T97" fmla="*/ 2147483647 h 552"/>
                <a:gd name="T98" fmla="*/ 2147483647 w 640"/>
                <a:gd name="T99" fmla="*/ 2147483647 h 552"/>
                <a:gd name="T100" fmla="*/ 2147483647 w 640"/>
                <a:gd name="T101" fmla="*/ 2147483647 h 552"/>
                <a:gd name="T102" fmla="*/ 2147483647 w 640"/>
                <a:gd name="T103" fmla="*/ 2147483647 h 552"/>
                <a:gd name="T104" fmla="*/ 2147483647 w 640"/>
                <a:gd name="T105" fmla="*/ 2147483647 h 552"/>
                <a:gd name="T106" fmla="*/ 2147483647 w 640"/>
                <a:gd name="T107" fmla="*/ 2147483647 h 552"/>
                <a:gd name="T108" fmla="*/ 0 w 640"/>
                <a:gd name="T109" fmla="*/ 2147483647 h 552"/>
                <a:gd name="T110" fmla="*/ 0 w 640"/>
                <a:gd name="T111" fmla="*/ 2147483647 h 55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40"/>
                <a:gd name="T169" fmla="*/ 0 h 552"/>
                <a:gd name="T170" fmla="*/ 640 w 640"/>
                <a:gd name="T171" fmla="*/ 552 h 55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40" h="552">
                  <a:moveTo>
                    <a:pt x="0" y="468"/>
                  </a:moveTo>
                  <a:lnTo>
                    <a:pt x="0" y="430"/>
                  </a:lnTo>
                  <a:lnTo>
                    <a:pt x="0" y="376"/>
                  </a:lnTo>
                  <a:lnTo>
                    <a:pt x="0" y="320"/>
                  </a:lnTo>
                  <a:lnTo>
                    <a:pt x="0" y="266"/>
                  </a:lnTo>
                  <a:lnTo>
                    <a:pt x="60" y="266"/>
                  </a:lnTo>
                  <a:lnTo>
                    <a:pt x="119" y="266"/>
                  </a:lnTo>
                  <a:lnTo>
                    <a:pt x="110" y="264"/>
                  </a:lnTo>
                  <a:lnTo>
                    <a:pt x="107" y="260"/>
                  </a:lnTo>
                  <a:lnTo>
                    <a:pt x="105" y="256"/>
                  </a:lnTo>
                  <a:lnTo>
                    <a:pt x="105" y="241"/>
                  </a:lnTo>
                  <a:lnTo>
                    <a:pt x="108" y="232"/>
                  </a:lnTo>
                  <a:lnTo>
                    <a:pt x="109" y="218"/>
                  </a:lnTo>
                  <a:lnTo>
                    <a:pt x="108" y="204"/>
                  </a:lnTo>
                  <a:lnTo>
                    <a:pt x="110" y="191"/>
                  </a:lnTo>
                  <a:lnTo>
                    <a:pt x="110" y="179"/>
                  </a:lnTo>
                  <a:lnTo>
                    <a:pt x="113" y="173"/>
                  </a:lnTo>
                  <a:lnTo>
                    <a:pt x="113" y="168"/>
                  </a:lnTo>
                  <a:lnTo>
                    <a:pt x="112" y="158"/>
                  </a:lnTo>
                  <a:lnTo>
                    <a:pt x="113" y="156"/>
                  </a:lnTo>
                  <a:lnTo>
                    <a:pt x="114" y="155"/>
                  </a:lnTo>
                  <a:lnTo>
                    <a:pt x="114" y="151"/>
                  </a:lnTo>
                  <a:lnTo>
                    <a:pt x="110" y="147"/>
                  </a:lnTo>
                  <a:lnTo>
                    <a:pt x="120" y="145"/>
                  </a:lnTo>
                  <a:lnTo>
                    <a:pt x="124" y="145"/>
                  </a:lnTo>
                  <a:lnTo>
                    <a:pt x="126" y="14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4" y="173"/>
                  </a:lnTo>
                  <a:lnTo>
                    <a:pt x="137" y="173"/>
                  </a:lnTo>
                  <a:lnTo>
                    <a:pt x="151" y="167"/>
                  </a:lnTo>
                  <a:lnTo>
                    <a:pt x="156" y="166"/>
                  </a:lnTo>
                  <a:lnTo>
                    <a:pt x="162" y="166"/>
                  </a:lnTo>
                  <a:lnTo>
                    <a:pt x="173" y="161"/>
                  </a:lnTo>
                  <a:lnTo>
                    <a:pt x="179" y="169"/>
                  </a:lnTo>
                  <a:lnTo>
                    <a:pt x="183" y="178"/>
                  </a:lnTo>
                  <a:lnTo>
                    <a:pt x="188" y="184"/>
                  </a:lnTo>
                  <a:lnTo>
                    <a:pt x="201" y="190"/>
                  </a:lnTo>
                  <a:lnTo>
                    <a:pt x="213" y="198"/>
                  </a:lnTo>
                  <a:lnTo>
                    <a:pt x="231" y="205"/>
                  </a:lnTo>
                  <a:lnTo>
                    <a:pt x="243" y="206"/>
                  </a:lnTo>
                  <a:lnTo>
                    <a:pt x="252" y="204"/>
                  </a:lnTo>
                  <a:lnTo>
                    <a:pt x="264" y="199"/>
                  </a:lnTo>
                  <a:lnTo>
                    <a:pt x="274" y="196"/>
                  </a:lnTo>
                  <a:lnTo>
                    <a:pt x="279" y="198"/>
                  </a:lnTo>
                  <a:lnTo>
                    <a:pt x="298" y="216"/>
                  </a:lnTo>
                  <a:lnTo>
                    <a:pt x="312" y="222"/>
                  </a:lnTo>
                  <a:lnTo>
                    <a:pt x="323" y="226"/>
                  </a:lnTo>
                  <a:lnTo>
                    <a:pt x="334" y="227"/>
                  </a:lnTo>
                  <a:lnTo>
                    <a:pt x="341" y="233"/>
                  </a:lnTo>
                  <a:lnTo>
                    <a:pt x="346" y="245"/>
                  </a:lnTo>
                  <a:lnTo>
                    <a:pt x="350" y="252"/>
                  </a:lnTo>
                  <a:lnTo>
                    <a:pt x="363" y="264"/>
                  </a:lnTo>
                  <a:lnTo>
                    <a:pt x="377" y="272"/>
                  </a:lnTo>
                  <a:lnTo>
                    <a:pt x="387" y="276"/>
                  </a:lnTo>
                  <a:lnTo>
                    <a:pt x="397" y="277"/>
                  </a:lnTo>
                  <a:lnTo>
                    <a:pt x="400" y="277"/>
                  </a:lnTo>
                  <a:lnTo>
                    <a:pt x="406" y="275"/>
                  </a:lnTo>
                  <a:lnTo>
                    <a:pt x="410" y="274"/>
                  </a:lnTo>
                  <a:lnTo>
                    <a:pt x="411" y="275"/>
                  </a:lnTo>
                  <a:lnTo>
                    <a:pt x="416" y="282"/>
                  </a:lnTo>
                  <a:lnTo>
                    <a:pt x="420" y="283"/>
                  </a:lnTo>
                  <a:lnTo>
                    <a:pt x="424" y="283"/>
                  </a:lnTo>
                  <a:lnTo>
                    <a:pt x="426" y="281"/>
                  </a:lnTo>
                  <a:lnTo>
                    <a:pt x="426" y="274"/>
                  </a:lnTo>
                  <a:lnTo>
                    <a:pt x="425" y="266"/>
                  </a:lnTo>
                  <a:lnTo>
                    <a:pt x="424" y="231"/>
                  </a:lnTo>
                  <a:lnTo>
                    <a:pt x="421" y="223"/>
                  </a:lnTo>
                  <a:lnTo>
                    <a:pt x="415" y="222"/>
                  </a:lnTo>
                  <a:lnTo>
                    <a:pt x="406" y="227"/>
                  </a:lnTo>
                  <a:lnTo>
                    <a:pt x="395" y="225"/>
                  </a:lnTo>
                  <a:lnTo>
                    <a:pt x="383" y="225"/>
                  </a:lnTo>
                  <a:lnTo>
                    <a:pt x="376" y="220"/>
                  </a:lnTo>
                  <a:lnTo>
                    <a:pt x="366" y="207"/>
                  </a:lnTo>
                  <a:lnTo>
                    <a:pt x="360" y="201"/>
                  </a:lnTo>
                  <a:lnTo>
                    <a:pt x="358" y="199"/>
                  </a:lnTo>
                  <a:lnTo>
                    <a:pt x="357" y="189"/>
                  </a:lnTo>
                  <a:lnTo>
                    <a:pt x="360" y="182"/>
                  </a:lnTo>
                  <a:lnTo>
                    <a:pt x="362" y="170"/>
                  </a:lnTo>
                  <a:lnTo>
                    <a:pt x="377" y="131"/>
                  </a:lnTo>
                  <a:lnTo>
                    <a:pt x="378" y="124"/>
                  </a:lnTo>
                  <a:lnTo>
                    <a:pt x="379" y="99"/>
                  </a:lnTo>
                  <a:lnTo>
                    <a:pt x="377" y="85"/>
                  </a:lnTo>
                  <a:lnTo>
                    <a:pt x="370" y="66"/>
                  </a:lnTo>
                  <a:lnTo>
                    <a:pt x="370" y="56"/>
                  </a:lnTo>
                  <a:lnTo>
                    <a:pt x="372" y="53"/>
                  </a:lnTo>
                  <a:lnTo>
                    <a:pt x="374" y="44"/>
                  </a:lnTo>
                  <a:lnTo>
                    <a:pt x="379" y="37"/>
                  </a:lnTo>
                  <a:lnTo>
                    <a:pt x="387" y="23"/>
                  </a:lnTo>
                  <a:lnTo>
                    <a:pt x="389" y="21"/>
                  </a:lnTo>
                  <a:lnTo>
                    <a:pt x="394" y="17"/>
                  </a:lnTo>
                  <a:lnTo>
                    <a:pt x="397" y="17"/>
                  </a:lnTo>
                  <a:lnTo>
                    <a:pt x="406" y="13"/>
                  </a:lnTo>
                  <a:lnTo>
                    <a:pt x="468" y="0"/>
                  </a:lnTo>
                  <a:lnTo>
                    <a:pt x="471" y="6"/>
                  </a:lnTo>
                  <a:lnTo>
                    <a:pt x="470" y="13"/>
                  </a:lnTo>
                  <a:lnTo>
                    <a:pt x="471" y="22"/>
                  </a:lnTo>
                  <a:lnTo>
                    <a:pt x="475" y="23"/>
                  </a:lnTo>
                  <a:lnTo>
                    <a:pt x="483" y="24"/>
                  </a:lnTo>
                  <a:lnTo>
                    <a:pt x="494" y="33"/>
                  </a:lnTo>
                  <a:lnTo>
                    <a:pt x="502" y="22"/>
                  </a:lnTo>
                  <a:lnTo>
                    <a:pt x="508" y="21"/>
                  </a:lnTo>
                  <a:lnTo>
                    <a:pt x="516" y="23"/>
                  </a:lnTo>
                  <a:lnTo>
                    <a:pt x="526" y="32"/>
                  </a:lnTo>
                  <a:lnTo>
                    <a:pt x="530" y="39"/>
                  </a:lnTo>
                  <a:lnTo>
                    <a:pt x="538" y="43"/>
                  </a:lnTo>
                  <a:lnTo>
                    <a:pt x="546" y="45"/>
                  </a:lnTo>
                  <a:lnTo>
                    <a:pt x="575" y="57"/>
                  </a:lnTo>
                  <a:lnTo>
                    <a:pt x="586" y="61"/>
                  </a:lnTo>
                  <a:lnTo>
                    <a:pt x="597" y="61"/>
                  </a:lnTo>
                  <a:lnTo>
                    <a:pt x="599" y="64"/>
                  </a:lnTo>
                  <a:lnTo>
                    <a:pt x="603" y="67"/>
                  </a:lnTo>
                  <a:lnTo>
                    <a:pt x="602" y="70"/>
                  </a:lnTo>
                  <a:lnTo>
                    <a:pt x="602" y="75"/>
                  </a:lnTo>
                  <a:lnTo>
                    <a:pt x="603" y="76"/>
                  </a:lnTo>
                  <a:lnTo>
                    <a:pt x="605" y="82"/>
                  </a:lnTo>
                  <a:lnTo>
                    <a:pt x="614" y="82"/>
                  </a:lnTo>
                  <a:lnTo>
                    <a:pt x="621" y="91"/>
                  </a:lnTo>
                  <a:lnTo>
                    <a:pt x="623" y="96"/>
                  </a:lnTo>
                  <a:lnTo>
                    <a:pt x="626" y="107"/>
                  </a:lnTo>
                  <a:lnTo>
                    <a:pt x="632" y="112"/>
                  </a:lnTo>
                  <a:lnTo>
                    <a:pt x="635" y="130"/>
                  </a:lnTo>
                  <a:lnTo>
                    <a:pt x="639" y="132"/>
                  </a:lnTo>
                  <a:lnTo>
                    <a:pt x="640" y="139"/>
                  </a:lnTo>
                  <a:lnTo>
                    <a:pt x="640" y="142"/>
                  </a:lnTo>
                  <a:lnTo>
                    <a:pt x="631" y="147"/>
                  </a:lnTo>
                  <a:lnTo>
                    <a:pt x="629" y="148"/>
                  </a:lnTo>
                  <a:lnTo>
                    <a:pt x="625" y="151"/>
                  </a:lnTo>
                  <a:lnTo>
                    <a:pt x="624" y="161"/>
                  </a:lnTo>
                  <a:lnTo>
                    <a:pt x="625" y="169"/>
                  </a:lnTo>
                  <a:lnTo>
                    <a:pt x="619" y="186"/>
                  </a:lnTo>
                  <a:lnTo>
                    <a:pt x="620" y="194"/>
                  </a:lnTo>
                  <a:lnTo>
                    <a:pt x="621" y="209"/>
                  </a:lnTo>
                  <a:lnTo>
                    <a:pt x="619" y="223"/>
                  </a:lnTo>
                  <a:lnTo>
                    <a:pt x="620" y="226"/>
                  </a:lnTo>
                  <a:lnTo>
                    <a:pt x="624" y="231"/>
                  </a:lnTo>
                  <a:lnTo>
                    <a:pt x="629" y="233"/>
                  </a:lnTo>
                  <a:lnTo>
                    <a:pt x="630" y="239"/>
                  </a:lnTo>
                  <a:lnTo>
                    <a:pt x="627" y="242"/>
                  </a:lnTo>
                  <a:lnTo>
                    <a:pt x="619" y="243"/>
                  </a:lnTo>
                  <a:lnTo>
                    <a:pt x="613" y="248"/>
                  </a:lnTo>
                  <a:lnTo>
                    <a:pt x="608" y="249"/>
                  </a:lnTo>
                  <a:lnTo>
                    <a:pt x="607" y="250"/>
                  </a:lnTo>
                  <a:lnTo>
                    <a:pt x="603" y="265"/>
                  </a:lnTo>
                  <a:lnTo>
                    <a:pt x="603" y="280"/>
                  </a:lnTo>
                  <a:lnTo>
                    <a:pt x="598" y="295"/>
                  </a:lnTo>
                  <a:lnTo>
                    <a:pt x="591" y="302"/>
                  </a:lnTo>
                  <a:lnTo>
                    <a:pt x="589" y="306"/>
                  </a:lnTo>
                  <a:lnTo>
                    <a:pt x="592" y="314"/>
                  </a:lnTo>
                  <a:lnTo>
                    <a:pt x="597" y="315"/>
                  </a:lnTo>
                  <a:lnTo>
                    <a:pt x="600" y="323"/>
                  </a:lnTo>
                  <a:lnTo>
                    <a:pt x="608" y="322"/>
                  </a:lnTo>
                  <a:lnTo>
                    <a:pt x="612" y="324"/>
                  </a:lnTo>
                  <a:lnTo>
                    <a:pt x="612" y="325"/>
                  </a:lnTo>
                  <a:lnTo>
                    <a:pt x="603" y="326"/>
                  </a:lnTo>
                  <a:lnTo>
                    <a:pt x="438" y="383"/>
                  </a:lnTo>
                  <a:lnTo>
                    <a:pt x="446" y="399"/>
                  </a:lnTo>
                  <a:lnTo>
                    <a:pt x="448" y="411"/>
                  </a:lnTo>
                  <a:lnTo>
                    <a:pt x="453" y="414"/>
                  </a:lnTo>
                  <a:lnTo>
                    <a:pt x="452" y="416"/>
                  </a:lnTo>
                  <a:lnTo>
                    <a:pt x="444" y="415"/>
                  </a:lnTo>
                  <a:lnTo>
                    <a:pt x="436" y="417"/>
                  </a:lnTo>
                  <a:lnTo>
                    <a:pt x="430" y="416"/>
                  </a:lnTo>
                  <a:lnTo>
                    <a:pt x="424" y="414"/>
                  </a:lnTo>
                  <a:lnTo>
                    <a:pt x="420" y="414"/>
                  </a:lnTo>
                  <a:lnTo>
                    <a:pt x="408" y="420"/>
                  </a:lnTo>
                  <a:lnTo>
                    <a:pt x="392" y="421"/>
                  </a:lnTo>
                  <a:lnTo>
                    <a:pt x="385" y="425"/>
                  </a:lnTo>
                  <a:lnTo>
                    <a:pt x="378" y="432"/>
                  </a:lnTo>
                  <a:lnTo>
                    <a:pt x="372" y="432"/>
                  </a:lnTo>
                  <a:lnTo>
                    <a:pt x="366" y="435"/>
                  </a:lnTo>
                  <a:lnTo>
                    <a:pt x="365" y="442"/>
                  </a:lnTo>
                  <a:lnTo>
                    <a:pt x="365" y="451"/>
                  </a:lnTo>
                  <a:lnTo>
                    <a:pt x="366" y="455"/>
                  </a:lnTo>
                  <a:lnTo>
                    <a:pt x="365" y="459"/>
                  </a:lnTo>
                  <a:lnTo>
                    <a:pt x="363" y="464"/>
                  </a:lnTo>
                  <a:lnTo>
                    <a:pt x="362" y="468"/>
                  </a:lnTo>
                  <a:lnTo>
                    <a:pt x="354" y="468"/>
                  </a:lnTo>
                  <a:lnTo>
                    <a:pt x="342" y="467"/>
                  </a:lnTo>
                  <a:lnTo>
                    <a:pt x="336" y="469"/>
                  </a:lnTo>
                  <a:lnTo>
                    <a:pt x="334" y="473"/>
                  </a:lnTo>
                  <a:lnTo>
                    <a:pt x="331" y="473"/>
                  </a:lnTo>
                  <a:lnTo>
                    <a:pt x="324" y="482"/>
                  </a:lnTo>
                  <a:lnTo>
                    <a:pt x="315" y="481"/>
                  </a:lnTo>
                  <a:lnTo>
                    <a:pt x="312" y="482"/>
                  </a:lnTo>
                  <a:lnTo>
                    <a:pt x="309" y="485"/>
                  </a:lnTo>
                  <a:lnTo>
                    <a:pt x="307" y="490"/>
                  </a:lnTo>
                  <a:lnTo>
                    <a:pt x="303" y="491"/>
                  </a:lnTo>
                  <a:lnTo>
                    <a:pt x="297" y="503"/>
                  </a:lnTo>
                  <a:lnTo>
                    <a:pt x="287" y="513"/>
                  </a:lnTo>
                  <a:lnTo>
                    <a:pt x="285" y="518"/>
                  </a:lnTo>
                  <a:lnTo>
                    <a:pt x="285" y="524"/>
                  </a:lnTo>
                  <a:lnTo>
                    <a:pt x="280" y="529"/>
                  </a:lnTo>
                  <a:lnTo>
                    <a:pt x="276" y="532"/>
                  </a:lnTo>
                  <a:lnTo>
                    <a:pt x="270" y="541"/>
                  </a:lnTo>
                  <a:lnTo>
                    <a:pt x="264" y="549"/>
                  </a:lnTo>
                  <a:lnTo>
                    <a:pt x="259" y="549"/>
                  </a:lnTo>
                  <a:lnTo>
                    <a:pt x="252" y="552"/>
                  </a:lnTo>
                  <a:lnTo>
                    <a:pt x="247" y="551"/>
                  </a:lnTo>
                  <a:lnTo>
                    <a:pt x="245" y="546"/>
                  </a:lnTo>
                  <a:lnTo>
                    <a:pt x="241" y="544"/>
                  </a:lnTo>
                  <a:lnTo>
                    <a:pt x="233" y="545"/>
                  </a:lnTo>
                  <a:lnTo>
                    <a:pt x="228" y="544"/>
                  </a:lnTo>
                  <a:lnTo>
                    <a:pt x="211" y="546"/>
                  </a:lnTo>
                  <a:lnTo>
                    <a:pt x="198" y="541"/>
                  </a:lnTo>
                  <a:lnTo>
                    <a:pt x="179" y="543"/>
                  </a:lnTo>
                  <a:lnTo>
                    <a:pt x="174" y="543"/>
                  </a:lnTo>
                  <a:lnTo>
                    <a:pt x="172" y="539"/>
                  </a:lnTo>
                  <a:lnTo>
                    <a:pt x="164" y="537"/>
                  </a:lnTo>
                  <a:lnTo>
                    <a:pt x="157" y="524"/>
                  </a:lnTo>
                  <a:lnTo>
                    <a:pt x="153" y="521"/>
                  </a:lnTo>
                  <a:lnTo>
                    <a:pt x="139" y="518"/>
                  </a:lnTo>
                  <a:lnTo>
                    <a:pt x="118" y="518"/>
                  </a:lnTo>
                  <a:lnTo>
                    <a:pt x="115" y="514"/>
                  </a:lnTo>
                  <a:lnTo>
                    <a:pt x="72" y="525"/>
                  </a:lnTo>
                  <a:lnTo>
                    <a:pt x="65" y="527"/>
                  </a:lnTo>
                  <a:lnTo>
                    <a:pt x="57" y="522"/>
                  </a:lnTo>
                  <a:lnTo>
                    <a:pt x="53" y="516"/>
                  </a:lnTo>
                  <a:lnTo>
                    <a:pt x="44" y="512"/>
                  </a:lnTo>
                  <a:lnTo>
                    <a:pt x="40" y="507"/>
                  </a:lnTo>
                  <a:lnTo>
                    <a:pt x="30" y="498"/>
                  </a:lnTo>
                  <a:lnTo>
                    <a:pt x="24" y="491"/>
                  </a:lnTo>
                  <a:lnTo>
                    <a:pt x="11" y="482"/>
                  </a:lnTo>
                  <a:lnTo>
                    <a:pt x="7" y="475"/>
                  </a:lnTo>
                  <a:lnTo>
                    <a:pt x="0" y="469"/>
                  </a:lnTo>
                  <a:lnTo>
                    <a:pt x="0" y="46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306B5B93-A9D4-EA04-ACD6-77D0BB456DE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650670" y="4667179"/>
              <a:ext cx="310407" cy="531952"/>
            </a:xfrm>
            <a:custGeom>
              <a:avLst/>
              <a:gdLst>
                <a:gd name="T0" fmla="*/ 2147483647 w 586"/>
                <a:gd name="T1" fmla="*/ 0 h 937"/>
                <a:gd name="T2" fmla="*/ 2147483647 w 586"/>
                <a:gd name="T3" fmla="*/ 0 h 937"/>
                <a:gd name="T4" fmla="*/ 2147483647 w 586"/>
                <a:gd name="T5" fmla="*/ 2147483647 h 937"/>
                <a:gd name="T6" fmla="*/ 2147483647 w 586"/>
                <a:gd name="T7" fmla="*/ 2147483647 h 937"/>
                <a:gd name="T8" fmla="*/ 2147483647 w 586"/>
                <a:gd name="T9" fmla="*/ 2147483647 h 937"/>
                <a:gd name="T10" fmla="*/ 2147483647 w 586"/>
                <a:gd name="T11" fmla="*/ 2147483647 h 937"/>
                <a:gd name="T12" fmla="*/ 2147483647 w 586"/>
                <a:gd name="T13" fmla="*/ 2147483647 h 937"/>
                <a:gd name="T14" fmla="*/ 2147483647 w 586"/>
                <a:gd name="T15" fmla="*/ 2147483647 h 937"/>
                <a:gd name="T16" fmla="*/ 2147483647 w 586"/>
                <a:gd name="T17" fmla="*/ 2147483647 h 937"/>
                <a:gd name="T18" fmla="*/ 2147483647 w 586"/>
                <a:gd name="T19" fmla="*/ 2147483647 h 937"/>
                <a:gd name="T20" fmla="*/ 2147483647 w 586"/>
                <a:gd name="T21" fmla="*/ 2147483647 h 937"/>
                <a:gd name="T22" fmla="*/ 2147483647 w 586"/>
                <a:gd name="T23" fmla="*/ 2147483647 h 937"/>
                <a:gd name="T24" fmla="*/ 2147483647 w 586"/>
                <a:gd name="T25" fmla="*/ 2147483647 h 937"/>
                <a:gd name="T26" fmla="*/ 2147483647 w 586"/>
                <a:gd name="T27" fmla="*/ 2147483647 h 937"/>
                <a:gd name="T28" fmla="*/ 2147483647 w 586"/>
                <a:gd name="T29" fmla="*/ 2147483647 h 937"/>
                <a:gd name="T30" fmla="*/ 2147483647 w 586"/>
                <a:gd name="T31" fmla="*/ 2147483647 h 937"/>
                <a:gd name="T32" fmla="*/ 2147483647 w 586"/>
                <a:gd name="T33" fmla="*/ 2147483647 h 937"/>
                <a:gd name="T34" fmla="*/ 2147483647 w 586"/>
                <a:gd name="T35" fmla="*/ 2147483647 h 937"/>
                <a:gd name="T36" fmla="*/ 2147483647 w 586"/>
                <a:gd name="T37" fmla="*/ 2147483647 h 937"/>
                <a:gd name="T38" fmla="*/ 2147483647 w 586"/>
                <a:gd name="T39" fmla="*/ 2147483647 h 937"/>
                <a:gd name="T40" fmla="*/ 2147483647 w 586"/>
                <a:gd name="T41" fmla="*/ 2147483647 h 937"/>
                <a:gd name="T42" fmla="*/ 2147483647 w 586"/>
                <a:gd name="T43" fmla="*/ 2147483647 h 937"/>
                <a:gd name="T44" fmla="*/ 2147483647 w 586"/>
                <a:gd name="T45" fmla="*/ 2147483647 h 937"/>
                <a:gd name="T46" fmla="*/ 2147483647 w 586"/>
                <a:gd name="T47" fmla="*/ 2147483647 h 937"/>
                <a:gd name="T48" fmla="*/ 2147483647 w 586"/>
                <a:gd name="T49" fmla="*/ 2147483647 h 937"/>
                <a:gd name="T50" fmla="*/ 2147483647 w 586"/>
                <a:gd name="T51" fmla="*/ 2147483647 h 937"/>
                <a:gd name="T52" fmla="*/ 2147483647 w 586"/>
                <a:gd name="T53" fmla="*/ 2147483647 h 937"/>
                <a:gd name="T54" fmla="*/ 2147483647 w 586"/>
                <a:gd name="T55" fmla="*/ 2147483647 h 937"/>
                <a:gd name="T56" fmla="*/ 2147483647 w 586"/>
                <a:gd name="T57" fmla="*/ 2147483647 h 937"/>
                <a:gd name="T58" fmla="*/ 2147483647 w 586"/>
                <a:gd name="T59" fmla="*/ 2147483647 h 937"/>
                <a:gd name="T60" fmla="*/ 2147483647 w 586"/>
                <a:gd name="T61" fmla="*/ 2147483647 h 937"/>
                <a:gd name="T62" fmla="*/ 2147483647 w 586"/>
                <a:gd name="T63" fmla="*/ 2147483647 h 937"/>
                <a:gd name="T64" fmla="*/ 2147483647 w 586"/>
                <a:gd name="T65" fmla="*/ 2147483647 h 937"/>
                <a:gd name="T66" fmla="*/ 0 w 586"/>
                <a:gd name="T67" fmla="*/ 2147483647 h 937"/>
                <a:gd name="T68" fmla="*/ 0 w 586"/>
                <a:gd name="T69" fmla="*/ 2147483647 h 937"/>
                <a:gd name="T70" fmla="*/ 2147483647 w 586"/>
                <a:gd name="T71" fmla="*/ 2147483647 h 937"/>
                <a:gd name="T72" fmla="*/ 2147483647 w 586"/>
                <a:gd name="T73" fmla="*/ 2147483647 h 937"/>
                <a:gd name="T74" fmla="*/ 2147483647 w 586"/>
                <a:gd name="T75" fmla="*/ 2147483647 h 937"/>
                <a:gd name="T76" fmla="*/ 2147483647 w 586"/>
                <a:gd name="T77" fmla="*/ 2147483647 h 937"/>
                <a:gd name="T78" fmla="*/ 2147483647 w 586"/>
                <a:gd name="T79" fmla="*/ 2147483647 h 937"/>
                <a:gd name="T80" fmla="*/ 2147483647 w 586"/>
                <a:gd name="T81" fmla="*/ 2147483647 h 937"/>
                <a:gd name="T82" fmla="*/ 2147483647 w 586"/>
                <a:gd name="T83" fmla="*/ 2147483647 h 937"/>
                <a:gd name="T84" fmla="*/ 2147483647 w 586"/>
                <a:gd name="T85" fmla="*/ 2147483647 h 937"/>
                <a:gd name="T86" fmla="*/ 2147483647 w 586"/>
                <a:gd name="T87" fmla="*/ 2147483647 h 937"/>
                <a:gd name="T88" fmla="*/ 2147483647 w 586"/>
                <a:gd name="T89" fmla="*/ 2147483647 h 937"/>
                <a:gd name="T90" fmla="*/ 2147483647 w 586"/>
                <a:gd name="T91" fmla="*/ 2147483647 h 937"/>
                <a:gd name="T92" fmla="*/ 2147483647 w 586"/>
                <a:gd name="T93" fmla="*/ 2147483647 h 937"/>
                <a:gd name="T94" fmla="*/ 2147483647 w 586"/>
                <a:gd name="T95" fmla="*/ 2147483647 h 937"/>
                <a:gd name="T96" fmla="*/ 2147483647 w 586"/>
                <a:gd name="T97" fmla="*/ 2147483647 h 937"/>
                <a:gd name="T98" fmla="*/ 2147483647 w 586"/>
                <a:gd name="T99" fmla="*/ 2147483647 h 937"/>
                <a:gd name="T100" fmla="*/ 2147483647 w 586"/>
                <a:gd name="T101" fmla="*/ 2147483647 h 937"/>
                <a:gd name="T102" fmla="*/ 2147483647 w 586"/>
                <a:gd name="T103" fmla="*/ 0 h 937"/>
                <a:gd name="T104" fmla="*/ 2147483647 w 586"/>
                <a:gd name="T105" fmla="*/ 0 h 937"/>
                <a:gd name="T106" fmla="*/ 2147483647 w 586"/>
                <a:gd name="T107" fmla="*/ 0 h 937"/>
                <a:gd name="T108" fmla="*/ 2147483647 w 586"/>
                <a:gd name="T109" fmla="*/ 0 h 937"/>
                <a:gd name="T110" fmla="*/ 2147483647 w 586"/>
                <a:gd name="T111" fmla="*/ 0 h 937"/>
                <a:gd name="T112" fmla="*/ 2147483647 w 586"/>
                <a:gd name="T113" fmla="*/ 0 h 937"/>
                <a:gd name="T114" fmla="*/ 2147483647 w 586"/>
                <a:gd name="T115" fmla="*/ 0 h 93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86"/>
                <a:gd name="T175" fmla="*/ 0 h 937"/>
                <a:gd name="T176" fmla="*/ 586 w 586"/>
                <a:gd name="T177" fmla="*/ 937 h 93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86" h="937">
                  <a:moveTo>
                    <a:pt x="580" y="0"/>
                  </a:moveTo>
                  <a:lnTo>
                    <a:pt x="584" y="2"/>
                  </a:lnTo>
                  <a:lnTo>
                    <a:pt x="586" y="7"/>
                  </a:lnTo>
                  <a:lnTo>
                    <a:pt x="584" y="10"/>
                  </a:lnTo>
                  <a:lnTo>
                    <a:pt x="585" y="27"/>
                  </a:lnTo>
                  <a:lnTo>
                    <a:pt x="583" y="33"/>
                  </a:lnTo>
                  <a:lnTo>
                    <a:pt x="578" y="42"/>
                  </a:lnTo>
                  <a:lnTo>
                    <a:pt x="570" y="56"/>
                  </a:lnTo>
                  <a:lnTo>
                    <a:pt x="567" y="70"/>
                  </a:lnTo>
                  <a:lnTo>
                    <a:pt x="568" y="95"/>
                  </a:lnTo>
                  <a:lnTo>
                    <a:pt x="570" y="113"/>
                  </a:lnTo>
                  <a:lnTo>
                    <a:pt x="572" y="128"/>
                  </a:lnTo>
                  <a:lnTo>
                    <a:pt x="565" y="133"/>
                  </a:lnTo>
                  <a:lnTo>
                    <a:pt x="568" y="142"/>
                  </a:lnTo>
                  <a:lnTo>
                    <a:pt x="570" y="142"/>
                  </a:lnTo>
                  <a:lnTo>
                    <a:pt x="569" y="176"/>
                  </a:lnTo>
                  <a:lnTo>
                    <a:pt x="572" y="196"/>
                  </a:lnTo>
                  <a:lnTo>
                    <a:pt x="570" y="205"/>
                  </a:lnTo>
                  <a:lnTo>
                    <a:pt x="574" y="208"/>
                  </a:lnTo>
                  <a:lnTo>
                    <a:pt x="578" y="205"/>
                  </a:lnTo>
                  <a:lnTo>
                    <a:pt x="581" y="212"/>
                  </a:lnTo>
                  <a:lnTo>
                    <a:pt x="575" y="220"/>
                  </a:lnTo>
                  <a:lnTo>
                    <a:pt x="580" y="220"/>
                  </a:lnTo>
                  <a:lnTo>
                    <a:pt x="585" y="224"/>
                  </a:lnTo>
                  <a:lnTo>
                    <a:pt x="585" y="232"/>
                  </a:lnTo>
                  <a:lnTo>
                    <a:pt x="580" y="242"/>
                  </a:lnTo>
                  <a:lnTo>
                    <a:pt x="576" y="253"/>
                  </a:lnTo>
                  <a:lnTo>
                    <a:pt x="568" y="263"/>
                  </a:lnTo>
                  <a:lnTo>
                    <a:pt x="575" y="265"/>
                  </a:lnTo>
                  <a:lnTo>
                    <a:pt x="574" y="274"/>
                  </a:lnTo>
                  <a:lnTo>
                    <a:pt x="573" y="280"/>
                  </a:lnTo>
                  <a:lnTo>
                    <a:pt x="564" y="285"/>
                  </a:lnTo>
                  <a:lnTo>
                    <a:pt x="547" y="305"/>
                  </a:lnTo>
                  <a:lnTo>
                    <a:pt x="543" y="313"/>
                  </a:lnTo>
                  <a:lnTo>
                    <a:pt x="526" y="323"/>
                  </a:lnTo>
                  <a:lnTo>
                    <a:pt x="532" y="328"/>
                  </a:lnTo>
                  <a:lnTo>
                    <a:pt x="527" y="337"/>
                  </a:lnTo>
                  <a:lnTo>
                    <a:pt x="517" y="344"/>
                  </a:lnTo>
                  <a:lnTo>
                    <a:pt x="505" y="351"/>
                  </a:lnTo>
                  <a:lnTo>
                    <a:pt x="497" y="355"/>
                  </a:lnTo>
                  <a:lnTo>
                    <a:pt x="490" y="366"/>
                  </a:lnTo>
                  <a:lnTo>
                    <a:pt x="477" y="373"/>
                  </a:lnTo>
                  <a:lnTo>
                    <a:pt x="460" y="373"/>
                  </a:lnTo>
                  <a:lnTo>
                    <a:pt x="447" y="378"/>
                  </a:lnTo>
                  <a:lnTo>
                    <a:pt x="403" y="398"/>
                  </a:lnTo>
                  <a:lnTo>
                    <a:pt x="375" y="420"/>
                  </a:lnTo>
                  <a:lnTo>
                    <a:pt x="373" y="430"/>
                  </a:lnTo>
                  <a:lnTo>
                    <a:pt x="368" y="434"/>
                  </a:lnTo>
                  <a:lnTo>
                    <a:pt x="360" y="435"/>
                  </a:lnTo>
                  <a:lnTo>
                    <a:pt x="355" y="436"/>
                  </a:lnTo>
                  <a:lnTo>
                    <a:pt x="361" y="442"/>
                  </a:lnTo>
                  <a:lnTo>
                    <a:pt x="345" y="462"/>
                  </a:lnTo>
                  <a:lnTo>
                    <a:pt x="338" y="473"/>
                  </a:lnTo>
                  <a:lnTo>
                    <a:pt x="333" y="470"/>
                  </a:lnTo>
                  <a:lnTo>
                    <a:pt x="330" y="461"/>
                  </a:lnTo>
                  <a:lnTo>
                    <a:pt x="323" y="477"/>
                  </a:lnTo>
                  <a:lnTo>
                    <a:pt x="315" y="480"/>
                  </a:lnTo>
                  <a:lnTo>
                    <a:pt x="305" y="493"/>
                  </a:lnTo>
                  <a:lnTo>
                    <a:pt x="287" y="512"/>
                  </a:lnTo>
                  <a:lnTo>
                    <a:pt x="273" y="521"/>
                  </a:lnTo>
                  <a:lnTo>
                    <a:pt x="266" y="529"/>
                  </a:lnTo>
                  <a:lnTo>
                    <a:pt x="255" y="533"/>
                  </a:lnTo>
                  <a:lnTo>
                    <a:pt x="252" y="563"/>
                  </a:lnTo>
                  <a:lnTo>
                    <a:pt x="253" y="572"/>
                  </a:lnTo>
                  <a:lnTo>
                    <a:pt x="267" y="582"/>
                  </a:lnTo>
                  <a:lnTo>
                    <a:pt x="271" y="588"/>
                  </a:lnTo>
                  <a:lnTo>
                    <a:pt x="272" y="597"/>
                  </a:lnTo>
                  <a:lnTo>
                    <a:pt x="273" y="598"/>
                  </a:lnTo>
                  <a:lnTo>
                    <a:pt x="274" y="608"/>
                  </a:lnTo>
                  <a:lnTo>
                    <a:pt x="287" y="642"/>
                  </a:lnTo>
                  <a:lnTo>
                    <a:pt x="288" y="662"/>
                  </a:lnTo>
                  <a:lnTo>
                    <a:pt x="289" y="667"/>
                  </a:lnTo>
                  <a:lnTo>
                    <a:pt x="295" y="662"/>
                  </a:lnTo>
                  <a:lnTo>
                    <a:pt x="299" y="666"/>
                  </a:lnTo>
                  <a:lnTo>
                    <a:pt x="299" y="688"/>
                  </a:lnTo>
                  <a:lnTo>
                    <a:pt x="295" y="725"/>
                  </a:lnTo>
                  <a:lnTo>
                    <a:pt x="283" y="771"/>
                  </a:lnTo>
                  <a:lnTo>
                    <a:pt x="285" y="782"/>
                  </a:lnTo>
                  <a:lnTo>
                    <a:pt x="289" y="774"/>
                  </a:lnTo>
                  <a:lnTo>
                    <a:pt x="295" y="764"/>
                  </a:lnTo>
                  <a:lnTo>
                    <a:pt x="295" y="768"/>
                  </a:lnTo>
                  <a:lnTo>
                    <a:pt x="293" y="781"/>
                  </a:lnTo>
                  <a:lnTo>
                    <a:pt x="288" y="792"/>
                  </a:lnTo>
                  <a:lnTo>
                    <a:pt x="273" y="811"/>
                  </a:lnTo>
                  <a:lnTo>
                    <a:pt x="258" y="822"/>
                  </a:lnTo>
                  <a:lnTo>
                    <a:pt x="240" y="829"/>
                  </a:lnTo>
                  <a:lnTo>
                    <a:pt x="228" y="830"/>
                  </a:lnTo>
                  <a:lnTo>
                    <a:pt x="192" y="843"/>
                  </a:lnTo>
                  <a:lnTo>
                    <a:pt x="183" y="849"/>
                  </a:lnTo>
                  <a:lnTo>
                    <a:pt x="176" y="855"/>
                  </a:lnTo>
                  <a:lnTo>
                    <a:pt x="166" y="861"/>
                  </a:lnTo>
                  <a:lnTo>
                    <a:pt x="156" y="863"/>
                  </a:lnTo>
                  <a:lnTo>
                    <a:pt x="151" y="868"/>
                  </a:lnTo>
                  <a:lnTo>
                    <a:pt x="144" y="881"/>
                  </a:lnTo>
                  <a:lnTo>
                    <a:pt x="135" y="893"/>
                  </a:lnTo>
                  <a:lnTo>
                    <a:pt x="134" y="893"/>
                  </a:lnTo>
                  <a:lnTo>
                    <a:pt x="142" y="900"/>
                  </a:lnTo>
                  <a:lnTo>
                    <a:pt x="148" y="910"/>
                  </a:lnTo>
                  <a:lnTo>
                    <a:pt x="154" y="905"/>
                  </a:lnTo>
                  <a:lnTo>
                    <a:pt x="158" y="899"/>
                  </a:lnTo>
                  <a:lnTo>
                    <a:pt x="154" y="937"/>
                  </a:lnTo>
                  <a:lnTo>
                    <a:pt x="148" y="936"/>
                  </a:lnTo>
                  <a:lnTo>
                    <a:pt x="112" y="936"/>
                  </a:lnTo>
                  <a:lnTo>
                    <a:pt x="110" y="908"/>
                  </a:lnTo>
                  <a:lnTo>
                    <a:pt x="110" y="887"/>
                  </a:lnTo>
                  <a:lnTo>
                    <a:pt x="108" y="879"/>
                  </a:lnTo>
                  <a:lnTo>
                    <a:pt x="105" y="786"/>
                  </a:lnTo>
                  <a:lnTo>
                    <a:pt x="92" y="742"/>
                  </a:lnTo>
                  <a:lnTo>
                    <a:pt x="86" y="710"/>
                  </a:lnTo>
                  <a:lnTo>
                    <a:pt x="84" y="689"/>
                  </a:lnTo>
                  <a:lnTo>
                    <a:pt x="85" y="688"/>
                  </a:lnTo>
                  <a:lnTo>
                    <a:pt x="85" y="673"/>
                  </a:lnTo>
                  <a:lnTo>
                    <a:pt x="89" y="661"/>
                  </a:lnTo>
                  <a:lnTo>
                    <a:pt x="95" y="651"/>
                  </a:lnTo>
                  <a:lnTo>
                    <a:pt x="106" y="644"/>
                  </a:lnTo>
                  <a:lnTo>
                    <a:pt x="113" y="636"/>
                  </a:lnTo>
                  <a:lnTo>
                    <a:pt x="132" y="602"/>
                  </a:lnTo>
                  <a:lnTo>
                    <a:pt x="139" y="571"/>
                  </a:lnTo>
                  <a:lnTo>
                    <a:pt x="156" y="535"/>
                  </a:lnTo>
                  <a:lnTo>
                    <a:pt x="153" y="508"/>
                  </a:lnTo>
                  <a:lnTo>
                    <a:pt x="148" y="495"/>
                  </a:lnTo>
                  <a:lnTo>
                    <a:pt x="146" y="478"/>
                  </a:lnTo>
                  <a:lnTo>
                    <a:pt x="156" y="459"/>
                  </a:lnTo>
                  <a:lnTo>
                    <a:pt x="158" y="451"/>
                  </a:lnTo>
                  <a:lnTo>
                    <a:pt x="162" y="435"/>
                  </a:lnTo>
                  <a:lnTo>
                    <a:pt x="161" y="424"/>
                  </a:lnTo>
                  <a:lnTo>
                    <a:pt x="162" y="389"/>
                  </a:lnTo>
                  <a:lnTo>
                    <a:pt x="158" y="367"/>
                  </a:lnTo>
                  <a:lnTo>
                    <a:pt x="154" y="357"/>
                  </a:lnTo>
                  <a:lnTo>
                    <a:pt x="153" y="344"/>
                  </a:lnTo>
                  <a:lnTo>
                    <a:pt x="144" y="334"/>
                  </a:lnTo>
                  <a:lnTo>
                    <a:pt x="113" y="323"/>
                  </a:lnTo>
                  <a:lnTo>
                    <a:pt x="85" y="311"/>
                  </a:lnTo>
                  <a:lnTo>
                    <a:pt x="70" y="307"/>
                  </a:lnTo>
                  <a:lnTo>
                    <a:pt x="56" y="303"/>
                  </a:lnTo>
                  <a:lnTo>
                    <a:pt x="33" y="305"/>
                  </a:lnTo>
                  <a:lnTo>
                    <a:pt x="15" y="303"/>
                  </a:lnTo>
                  <a:lnTo>
                    <a:pt x="15" y="284"/>
                  </a:lnTo>
                  <a:lnTo>
                    <a:pt x="10" y="281"/>
                  </a:lnTo>
                  <a:lnTo>
                    <a:pt x="8" y="269"/>
                  </a:lnTo>
                  <a:lnTo>
                    <a:pt x="0" y="253"/>
                  </a:lnTo>
                  <a:lnTo>
                    <a:pt x="165" y="196"/>
                  </a:lnTo>
                  <a:lnTo>
                    <a:pt x="174" y="195"/>
                  </a:lnTo>
                  <a:lnTo>
                    <a:pt x="175" y="198"/>
                  </a:lnTo>
                  <a:lnTo>
                    <a:pt x="181" y="200"/>
                  </a:lnTo>
                  <a:lnTo>
                    <a:pt x="188" y="216"/>
                  </a:lnTo>
                  <a:lnTo>
                    <a:pt x="198" y="226"/>
                  </a:lnTo>
                  <a:lnTo>
                    <a:pt x="202" y="226"/>
                  </a:lnTo>
                  <a:lnTo>
                    <a:pt x="210" y="224"/>
                  </a:lnTo>
                  <a:lnTo>
                    <a:pt x="240" y="220"/>
                  </a:lnTo>
                  <a:lnTo>
                    <a:pt x="244" y="221"/>
                  </a:lnTo>
                  <a:lnTo>
                    <a:pt x="247" y="226"/>
                  </a:lnTo>
                  <a:lnTo>
                    <a:pt x="251" y="239"/>
                  </a:lnTo>
                  <a:lnTo>
                    <a:pt x="252" y="247"/>
                  </a:lnTo>
                  <a:lnTo>
                    <a:pt x="253" y="265"/>
                  </a:lnTo>
                  <a:lnTo>
                    <a:pt x="251" y="273"/>
                  </a:lnTo>
                  <a:lnTo>
                    <a:pt x="245" y="280"/>
                  </a:lnTo>
                  <a:lnTo>
                    <a:pt x="246" y="286"/>
                  </a:lnTo>
                  <a:lnTo>
                    <a:pt x="240" y="291"/>
                  </a:lnTo>
                  <a:lnTo>
                    <a:pt x="236" y="302"/>
                  </a:lnTo>
                  <a:lnTo>
                    <a:pt x="240" y="306"/>
                  </a:lnTo>
                  <a:lnTo>
                    <a:pt x="245" y="322"/>
                  </a:lnTo>
                  <a:lnTo>
                    <a:pt x="248" y="325"/>
                  </a:lnTo>
                  <a:lnTo>
                    <a:pt x="252" y="327"/>
                  </a:lnTo>
                  <a:lnTo>
                    <a:pt x="255" y="332"/>
                  </a:lnTo>
                  <a:lnTo>
                    <a:pt x="263" y="341"/>
                  </a:lnTo>
                  <a:lnTo>
                    <a:pt x="268" y="348"/>
                  </a:lnTo>
                  <a:lnTo>
                    <a:pt x="272" y="350"/>
                  </a:lnTo>
                  <a:lnTo>
                    <a:pt x="279" y="351"/>
                  </a:lnTo>
                  <a:lnTo>
                    <a:pt x="283" y="356"/>
                  </a:lnTo>
                  <a:lnTo>
                    <a:pt x="283" y="360"/>
                  </a:lnTo>
                  <a:lnTo>
                    <a:pt x="278" y="366"/>
                  </a:lnTo>
                  <a:lnTo>
                    <a:pt x="279" y="368"/>
                  </a:lnTo>
                  <a:lnTo>
                    <a:pt x="291" y="368"/>
                  </a:lnTo>
                  <a:lnTo>
                    <a:pt x="293" y="367"/>
                  </a:lnTo>
                  <a:lnTo>
                    <a:pt x="291" y="357"/>
                  </a:lnTo>
                  <a:lnTo>
                    <a:pt x="293" y="351"/>
                  </a:lnTo>
                  <a:lnTo>
                    <a:pt x="290" y="346"/>
                  </a:lnTo>
                  <a:lnTo>
                    <a:pt x="287" y="343"/>
                  </a:lnTo>
                  <a:lnTo>
                    <a:pt x="287" y="337"/>
                  </a:lnTo>
                  <a:lnTo>
                    <a:pt x="290" y="329"/>
                  </a:lnTo>
                  <a:lnTo>
                    <a:pt x="290" y="325"/>
                  </a:lnTo>
                  <a:lnTo>
                    <a:pt x="291" y="322"/>
                  </a:lnTo>
                  <a:lnTo>
                    <a:pt x="304" y="314"/>
                  </a:lnTo>
                  <a:lnTo>
                    <a:pt x="310" y="313"/>
                  </a:lnTo>
                  <a:lnTo>
                    <a:pt x="316" y="311"/>
                  </a:lnTo>
                  <a:lnTo>
                    <a:pt x="320" y="305"/>
                  </a:lnTo>
                  <a:lnTo>
                    <a:pt x="321" y="284"/>
                  </a:lnTo>
                  <a:lnTo>
                    <a:pt x="323" y="276"/>
                  </a:lnTo>
                  <a:lnTo>
                    <a:pt x="320" y="262"/>
                  </a:lnTo>
                  <a:lnTo>
                    <a:pt x="323" y="252"/>
                  </a:lnTo>
                  <a:lnTo>
                    <a:pt x="326" y="244"/>
                  </a:lnTo>
                  <a:lnTo>
                    <a:pt x="323" y="232"/>
                  </a:lnTo>
                  <a:lnTo>
                    <a:pt x="318" y="225"/>
                  </a:lnTo>
                  <a:lnTo>
                    <a:pt x="305" y="212"/>
                  </a:lnTo>
                  <a:lnTo>
                    <a:pt x="299" y="203"/>
                  </a:lnTo>
                  <a:lnTo>
                    <a:pt x="284" y="184"/>
                  </a:lnTo>
                  <a:lnTo>
                    <a:pt x="274" y="177"/>
                  </a:lnTo>
                  <a:lnTo>
                    <a:pt x="267" y="167"/>
                  </a:lnTo>
                  <a:lnTo>
                    <a:pt x="266" y="167"/>
                  </a:lnTo>
                  <a:lnTo>
                    <a:pt x="263" y="156"/>
                  </a:lnTo>
                  <a:lnTo>
                    <a:pt x="263" y="146"/>
                  </a:lnTo>
                  <a:lnTo>
                    <a:pt x="262" y="138"/>
                  </a:lnTo>
                  <a:lnTo>
                    <a:pt x="262" y="123"/>
                  </a:lnTo>
                  <a:lnTo>
                    <a:pt x="258" y="115"/>
                  </a:lnTo>
                  <a:lnTo>
                    <a:pt x="258" y="107"/>
                  </a:lnTo>
                  <a:lnTo>
                    <a:pt x="262" y="92"/>
                  </a:lnTo>
                  <a:lnTo>
                    <a:pt x="269" y="76"/>
                  </a:lnTo>
                  <a:lnTo>
                    <a:pt x="273" y="58"/>
                  </a:lnTo>
                  <a:lnTo>
                    <a:pt x="314" y="59"/>
                  </a:lnTo>
                  <a:lnTo>
                    <a:pt x="317" y="58"/>
                  </a:lnTo>
                  <a:lnTo>
                    <a:pt x="323" y="53"/>
                  </a:lnTo>
                  <a:lnTo>
                    <a:pt x="331" y="53"/>
                  </a:lnTo>
                  <a:lnTo>
                    <a:pt x="338" y="55"/>
                  </a:lnTo>
                  <a:lnTo>
                    <a:pt x="344" y="61"/>
                  </a:lnTo>
                  <a:lnTo>
                    <a:pt x="349" y="65"/>
                  </a:lnTo>
                  <a:lnTo>
                    <a:pt x="354" y="66"/>
                  </a:lnTo>
                  <a:lnTo>
                    <a:pt x="361" y="64"/>
                  </a:lnTo>
                  <a:lnTo>
                    <a:pt x="370" y="64"/>
                  </a:lnTo>
                  <a:lnTo>
                    <a:pt x="381" y="56"/>
                  </a:lnTo>
                  <a:lnTo>
                    <a:pt x="412" y="58"/>
                  </a:lnTo>
                  <a:lnTo>
                    <a:pt x="419" y="58"/>
                  </a:lnTo>
                  <a:lnTo>
                    <a:pt x="423" y="56"/>
                  </a:lnTo>
                  <a:lnTo>
                    <a:pt x="436" y="43"/>
                  </a:lnTo>
                  <a:lnTo>
                    <a:pt x="450" y="42"/>
                  </a:lnTo>
                  <a:lnTo>
                    <a:pt x="459" y="39"/>
                  </a:lnTo>
                  <a:lnTo>
                    <a:pt x="472" y="45"/>
                  </a:lnTo>
                  <a:lnTo>
                    <a:pt x="482" y="45"/>
                  </a:lnTo>
                  <a:lnTo>
                    <a:pt x="490" y="44"/>
                  </a:lnTo>
                  <a:lnTo>
                    <a:pt x="524" y="32"/>
                  </a:lnTo>
                  <a:lnTo>
                    <a:pt x="543" y="27"/>
                  </a:lnTo>
                  <a:lnTo>
                    <a:pt x="547" y="25"/>
                  </a:lnTo>
                  <a:lnTo>
                    <a:pt x="562" y="11"/>
                  </a:lnTo>
                  <a:lnTo>
                    <a:pt x="576" y="1"/>
                  </a:lnTo>
                  <a:lnTo>
                    <a:pt x="580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1" name="Freeform 21">
              <a:extLst>
                <a:ext uri="{FF2B5EF4-FFF2-40B4-BE49-F238E27FC236}">
                  <a16:creationId xmlns:a16="http://schemas.microsoft.com/office/drawing/2014/main" id="{5F581DF3-9D99-3437-3B4E-577070140EE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673055" y="5167122"/>
              <a:ext cx="34324" cy="50299"/>
            </a:xfrm>
            <a:custGeom>
              <a:avLst/>
              <a:gdLst>
                <a:gd name="T0" fmla="*/ 2147483647 w 67"/>
                <a:gd name="T1" fmla="*/ 0 h 90"/>
                <a:gd name="T2" fmla="*/ 2147483647 w 67"/>
                <a:gd name="T3" fmla="*/ 0 h 90"/>
                <a:gd name="T4" fmla="*/ 2147483647 w 67"/>
                <a:gd name="T5" fmla="*/ 0 h 90"/>
                <a:gd name="T6" fmla="*/ 2147483647 w 67"/>
                <a:gd name="T7" fmla="*/ 0 h 90"/>
                <a:gd name="T8" fmla="*/ 0 w 67"/>
                <a:gd name="T9" fmla="*/ 0 h 90"/>
                <a:gd name="T10" fmla="*/ 0 w 67"/>
                <a:gd name="T11" fmla="*/ 0 h 90"/>
                <a:gd name="T12" fmla="*/ 0 w 67"/>
                <a:gd name="T13" fmla="*/ 0 h 90"/>
                <a:gd name="T14" fmla="*/ 0 w 67"/>
                <a:gd name="T15" fmla="*/ 0 h 90"/>
                <a:gd name="T16" fmla="*/ 0 w 67"/>
                <a:gd name="T17" fmla="*/ 0 h 90"/>
                <a:gd name="T18" fmla="*/ 0 w 67"/>
                <a:gd name="T19" fmla="*/ 0 h 90"/>
                <a:gd name="T20" fmla="*/ 0 w 67"/>
                <a:gd name="T21" fmla="*/ 0 h 90"/>
                <a:gd name="T22" fmla="*/ 0 w 67"/>
                <a:gd name="T23" fmla="*/ 2147483647 h 90"/>
                <a:gd name="T24" fmla="*/ 0 w 67"/>
                <a:gd name="T25" fmla="*/ 2147483647 h 90"/>
                <a:gd name="T26" fmla="*/ 0 w 67"/>
                <a:gd name="T27" fmla="*/ 2147483647 h 90"/>
                <a:gd name="T28" fmla="*/ 0 w 67"/>
                <a:gd name="T29" fmla="*/ 2147483647 h 90"/>
                <a:gd name="T30" fmla="*/ 0 w 67"/>
                <a:gd name="T31" fmla="*/ 0 h 90"/>
                <a:gd name="T32" fmla="*/ 2147483647 w 67"/>
                <a:gd name="T33" fmla="*/ 0 h 9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7"/>
                <a:gd name="T52" fmla="*/ 0 h 90"/>
                <a:gd name="T53" fmla="*/ 67 w 67"/>
                <a:gd name="T54" fmla="*/ 90 h 9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7" h="90">
                  <a:moveTo>
                    <a:pt x="67" y="63"/>
                  </a:moveTo>
                  <a:lnTo>
                    <a:pt x="65" y="35"/>
                  </a:lnTo>
                  <a:lnTo>
                    <a:pt x="65" y="14"/>
                  </a:lnTo>
                  <a:lnTo>
                    <a:pt x="63" y="6"/>
                  </a:lnTo>
                  <a:lnTo>
                    <a:pt x="56" y="15"/>
                  </a:lnTo>
                  <a:lnTo>
                    <a:pt x="33" y="0"/>
                  </a:lnTo>
                  <a:lnTo>
                    <a:pt x="19" y="9"/>
                  </a:lnTo>
                  <a:lnTo>
                    <a:pt x="12" y="21"/>
                  </a:lnTo>
                  <a:lnTo>
                    <a:pt x="4" y="38"/>
                  </a:lnTo>
                  <a:lnTo>
                    <a:pt x="0" y="54"/>
                  </a:lnTo>
                  <a:lnTo>
                    <a:pt x="2" y="67"/>
                  </a:lnTo>
                  <a:lnTo>
                    <a:pt x="12" y="86"/>
                  </a:lnTo>
                  <a:lnTo>
                    <a:pt x="35" y="89"/>
                  </a:lnTo>
                  <a:lnTo>
                    <a:pt x="47" y="90"/>
                  </a:lnTo>
                  <a:lnTo>
                    <a:pt x="55" y="81"/>
                  </a:lnTo>
                  <a:lnTo>
                    <a:pt x="61" y="67"/>
                  </a:lnTo>
                  <a:lnTo>
                    <a:pt x="67" y="6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2" name="Freeform 22">
              <a:extLst>
                <a:ext uri="{FF2B5EF4-FFF2-40B4-BE49-F238E27FC236}">
                  <a16:creationId xmlns:a16="http://schemas.microsoft.com/office/drawing/2014/main" id="{5F59AFFF-E4EE-42E6-6C42-E2DEE125312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252214" y="5043661"/>
              <a:ext cx="480534" cy="446596"/>
            </a:xfrm>
            <a:custGeom>
              <a:avLst/>
              <a:gdLst>
                <a:gd name="T0" fmla="*/ 2147483647 w 898"/>
                <a:gd name="T1" fmla="*/ 2147483647 h 791"/>
                <a:gd name="T2" fmla="*/ 2147483647 w 898"/>
                <a:gd name="T3" fmla="*/ 2147483647 h 791"/>
                <a:gd name="T4" fmla="*/ 2147483647 w 898"/>
                <a:gd name="T5" fmla="*/ 2147483647 h 791"/>
                <a:gd name="T6" fmla="*/ 2147483647 w 898"/>
                <a:gd name="T7" fmla="*/ 2147483647 h 791"/>
                <a:gd name="T8" fmla="*/ 0 w 898"/>
                <a:gd name="T9" fmla="*/ 2147483647 h 791"/>
                <a:gd name="T10" fmla="*/ 0 w 898"/>
                <a:gd name="T11" fmla="*/ 2147483647 h 791"/>
                <a:gd name="T12" fmla="*/ 0 w 898"/>
                <a:gd name="T13" fmla="*/ 2147483647 h 791"/>
                <a:gd name="T14" fmla="*/ 2147483647 w 898"/>
                <a:gd name="T15" fmla="*/ 2147483647 h 791"/>
                <a:gd name="T16" fmla="*/ 2147483647 w 898"/>
                <a:gd name="T17" fmla="*/ 2147483647 h 791"/>
                <a:gd name="T18" fmla="*/ 2147483647 w 898"/>
                <a:gd name="T19" fmla="*/ 2147483647 h 791"/>
                <a:gd name="T20" fmla="*/ 2147483647 w 898"/>
                <a:gd name="T21" fmla="*/ 2147483647 h 791"/>
                <a:gd name="T22" fmla="*/ 2147483647 w 898"/>
                <a:gd name="T23" fmla="*/ 2147483647 h 791"/>
                <a:gd name="T24" fmla="*/ 2147483647 w 898"/>
                <a:gd name="T25" fmla="*/ 2147483647 h 791"/>
                <a:gd name="T26" fmla="*/ 2147483647 w 898"/>
                <a:gd name="T27" fmla="*/ 2147483647 h 791"/>
                <a:gd name="T28" fmla="*/ 2147483647 w 898"/>
                <a:gd name="T29" fmla="*/ 2147483647 h 791"/>
                <a:gd name="T30" fmla="*/ 2147483647 w 898"/>
                <a:gd name="T31" fmla="*/ 2147483647 h 791"/>
                <a:gd name="T32" fmla="*/ 2147483647 w 898"/>
                <a:gd name="T33" fmla="*/ 2147483647 h 791"/>
                <a:gd name="T34" fmla="*/ 2147483647 w 898"/>
                <a:gd name="T35" fmla="*/ 2147483647 h 791"/>
                <a:gd name="T36" fmla="*/ 2147483647 w 898"/>
                <a:gd name="T37" fmla="*/ 2147483647 h 791"/>
                <a:gd name="T38" fmla="*/ 2147483647 w 898"/>
                <a:gd name="T39" fmla="*/ 2147483647 h 791"/>
                <a:gd name="T40" fmla="*/ 2147483647 w 898"/>
                <a:gd name="T41" fmla="*/ 2147483647 h 791"/>
                <a:gd name="T42" fmla="*/ 2147483647 w 898"/>
                <a:gd name="T43" fmla="*/ 2147483647 h 791"/>
                <a:gd name="T44" fmla="*/ 2147483647 w 898"/>
                <a:gd name="T45" fmla="*/ 2147483647 h 791"/>
                <a:gd name="T46" fmla="*/ 2147483647 w 898"/>
                <a:gd name="T47" fmla="*/ 2147483647 h 791"/>
                <a:gd name="T48" fmla="*/ 2147483647 w 898"/>
                <a:gd name="T49" fmla="*/ 2147483647 h 791"/>
                <a:gd name="T50" fmla="*/ 2147483647 w 898"/>
                <a:gd name="T51" fmla="*/ 2147483647 h 791"/>
                <a:gd name="T52" fmla="*/ 2147483647 w 898"/>
                <a:gd name="T53" fmla="*/ 2147483647 h 791"/>
                <a:gd name="T54" fmla="*/ 2147483647 w 898"/>
                <a:gd name="T55" fmla="*/ 2147483647 h 791"/>
                <a:gd name="T56" fmla="*/ 2147483647 w 898"/>
                <a:gd name="T57" fmla="*/ 2147483647 h 791"/>
                <a:gd name="T58" fmla="*/ 2147483647 w 898"/>
                <a:gd name="T59" fmla="*/ 2147483647 h 791"/>
                <a:gd name="T60" fmla="*/ 2147483647 w 898"/>
                <a:gd name="T61" fmla="*/ 2147483647 h 791"/>
                <a:gd name="T62" fmla="*/ 2147483647 w 898"/>
                <a:gd name="T63" fmla="*/ 2147483647 h 791"/>
                <a:gd name="T64" fmla="*/ 2147483647 w 898"/>
                <a:gd name="T65" fmla="*/ 2147483647 h 791"/>
                <a:gd name="T66" fmla="*/ 2147483647 w 898"/>
                <a:gd name="T67" fmla="*/ 2147483647 h 791"/>
                <a:gd name="T68" fmla="*/ 2147483647 w 898"/>
                <a:gd name="T69" fmla="*/ 2147483647 h 791"/>
                <a:gd name="T70" fmla="*/ 2147483647 w 898"/>
                <a:gd name="T71" fmla="*/ 2147483647 h 791"/>
                <a:gd name="T72" fmla="*/ 2147483647 w 898"/>
                <a:gd name="T73" fmla="*/ 0 h 791"/>
                <a:gd name="T74" fmla="*/ 2147483647 w 898"/>
                <a:gd name="T75" fmla="*/ 0 h 791"/>
                <a:gd name="T76" fmla="*/ 2147483647 w 898"/>
                <a:gd name="T77" fmla="*/ 0 h 791"/>
                <a:gd name="T78" fmla="*/ 2147483647 w 898"/>
                <a:gd name="T79" fmla="*/ 0 h 791"/>
                <a:gd name="T80" fmla="*/ 2147483647 w 898"/>
                <a:gd name="T81" fmla="*/ 0 h 791"/>
                <a:gd name="T82" fmla="*/ 2147483647 w 898"/>
                <a:gd name="T83" fmla="*/ 2147483647 h 791"/>
                <a:gd name="T84" fmla="*/ 2147483647 w 898"/>
                <a:gd name="T85" fmla="*/ 2147483647 h 791"/>
                <a:gd name="T86" fmla="*/ 2147483647 w 898"/>
                <a:gd name="T87" fmla="*/ 2147483647 h 791"/>
                <a:gd name="T88" fmla="*/ 2147483647 w 898"/>
                <a:gd name="T89" fmla="*/ 2147483647 h 791"/>
                <a:gd name="T90" fmla="*/ 2147483647 w 898"/>
                <a:gd name="T91" fmla="*/ 2147483647 h 791"/>
                <a:gd name="T92" fmla="*/ 2147483647 w 898"/>
                <a:gd name="T93" fmla="*/ 2147483647 h 791"/>
                <a:gd name="T94" fmla="*/ 2147483647 w 898"/>
                <a:gd name="T95" fmla="*/ 2147483647 h 791"/>
                <a:gd name="T96" fmla="*/ 2147483647 w 898"/>
                <a:gd name="T97" fmla="*/ 2147483647 h 791"/>
                <a:gd name="T98" fmla="*/ 2147483647 w 898"/>
                <a:gd name="T99" fmla="*/ 2147483647 h 79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98"/>
                <a:gd name="T151" fmla="*/ 0 h 791"/>
                <a:gd name="T152" fmla="*/ 898 w 898"/>
                <a:gd name="T153" fmla="*/ 791 h 791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98" h="791">
                  <a:moveTo>
                    <a:pt x="188" y="161"/>
                  </a:moveTo>
                  <a:lnTo>
                    <a:pt x="188" y="216"/>
                  </a:lnTo>
                  <a:lnTo>
                    <a:pt x="188" y="275"/>
                  </a:lnTo>
                  <a:lnTo>
                    <a:pt x="188" y="334"/>
                  </a:lnTo>
                  <a:lnTo>
                    <a:pt x="188" y="390"/>
                  </a:lnTo>
                  <a:lnTo>
                    <a:pt x="182" y="394"/>
                  </a:lnTo>
                  <a:lnTo>
                    <a:pt x="171" y="396"/>
                  </a:lnTo>
                  <a:lnTo>
                    <a:pt x="157" y="406"/>
                  </a:lnTo>
                  <a:lnTo>
                    <a:pt x="141" y="421"/>
                  </a:lnTo>
                  <a:lnTo>
                    <a:pt x="129" y="421"/>
                  </a:lnTo>
                  <a:lnTo>
                    <a:pt x="120" y="418"/>
                  </a:lnTo>
                  <a:lnTo>
                    <a:pt x="101" y="418"/>
                  </a:lnTo>
                  <a:lnTo>
                    <a:pt x="86" y="423"/>
                  </a:lnTo>
                  <a:lnTo>
                    <a:pt x="70" y="421"/>
                  </a:lnTo>
                  <a:lnTo>
                    <a:pt x="59" y="409"/>
                  </a:lnTo>
                  <a:lnTo>
                    <a:pt x="59" y="396"/>
                  </a:lnTo>
                  <a:lnTo>
                    <a:pt x="33" y="378"/>
                  </a:lnTo>
                  <a:lnTo>
                    <a:pt x="21" y="379"/>
                  </a:lnTo>
                  <a:lnTo>
                    <a:pt x="15" y="390"/>
                  </a:lnTo>
                  <a:lnTo>
                    <a:pt x="8" y="398"/>
                  </a:lnTo>
                  <a:lnTo>
                    <a:pt x="5" y="400"/>
                  </a:lnTo>
                  <a:lnTo>
                    <a:pt x="0" y="401"/>
                  </a:lnTo>
                  <a:lnTo>
                    <a:pt x="2" y="405"/>
                  </a:lnTo>
                  <a:lnTo>
                    <a:pt x="1" y="411"/>
                  </a:lnTo>
                  <a:lnTo>
                    <a:pt x="5" y="416"/>
                  </a:lnTo>
                  <a:lnTo>
                    <a:pt x="13" y="426"/>
                  </a:lnTo>
                  <a:lnTo>
                    <a:pt x="28" y="464"/>
                  </a:lnTo>
                  <a:lnTo>
                    <a:pt x="37" y="491"/>
                  </a:lnTo>
                  <a:lnTo>
                    <a:pt x="51" y="528"/>
                  </a:lnTo>
                  <a:lnTo>
                    <a:pt x="59" y="536"/>
                  </a:lnTo>
                  <a:lnTo>
                    <a:pt x="64" y="552"/>
                  </a:lnTo>
                  <a:lnTo>
                    <a:pt x="70" y="562"/>
                  </a:lnTo>
                  <a:lnTo>
                    <a:pt x="91" y="595"/>
                  </a:lnTo>
                  <a:lnTo>
                    <a:pt x="97" y="608"/>
                  </a:lnTo>
                  <a:lnTo>
                    <a:pt x="99" y="648"/>
                  </a:lnTo>
                  <a:lnTo>
                    <a:pt x="90" y="665"/>
                  </a:lnTo>
                  <a:lnTo>
                    <a:pt x="78" y="660"/>
                  </a:lnTo>
                  <a:lnTo>
                    <a:pt x="76" y="667"/>
                  </a:lnTo>
                  <a:lnTo>
                    <a:pt x="75" y="678"/>
                  </a:lnTo>
                  <a:lnTo>
                    <a:pt x="77" y="678"/>
                  </a:lnTo>
                  <a:lnTo>
                    <a:pt x="85" y="683"/>
                  </a:lnTo>
                  <a:lnTo>
                    <a:pt x="87" y="690"/>
                  </a:lnTo>
                  <a:lnTo>
                    <a:pt x="83" y="691"/>
                  </a:lnTo>
                  <a:lnTo>
                    <a:pt x="88" y="701"/>
                  </a:lnTo>
                  <a:lnTo>
                    <a:pt x="93" y="705"/>
                  </a:lnTo>
                  <a:lnTo>
                    <a:pt x="99" y="716"/>
                  </a:lnTo>
                  <a:lnTo>
                    <a:pt x="107" y="726"/>
                  </a:lnTo>
                  <a:lnTo>
                    <a:pt x="108" y="734"/>
                  </a:lnTo>
                  <a:lnTo>
                    <a:pt x="103" y="742"/>
                  </a:lnTo>
                  <a:lnTo>
                    <a:pt x="103" y="749"/>
                  </a:lnTo>
                  <a:lnTo>
                    <a:pt x="103" y="760"/>
                  </a:lnTo>
                  <a:lnTo>
                    <a:pt x="109" y="770"/>
                  </a:lnTo>
                  <a:lnTo>
                    <a:pt x="110" y="769"/>
                  </a:lnTo>
                  <a:lnTo>
                    <a:pt x="109" y="761"/>
                  </a:lnTo>
                  <a:lnTo>
                    <a:pt x="109" y="754"/>
                  </a:lnTo>
                  <a:lnTo>
                    <a:pt x="112" y="750"/>
                  </a:lnTo>
                  <a:lnTo>
                    <a:pt x="119" y="749"/>
                  </a:lnTo>
                  <a:lnTo>
                    <a:pt x="128" y="750"/>
                  </a:lnTo>
                  <a:lnTo>
                    <a:pt x="129" y="762"/>
                  </a:lnTo>
                  <a:lnTo>
                    <a:pt x="128" y="769"/>
                  </a:lnTo>
                  <a:lnTo>
                    <a:pt x="133" y="771"/>
                  </a:lnTo>
                  <a:lnTo>
                    <a:pt x="151" y="770"/>
                  </a:lnTo>
                  <a:lnTo>
                    <a:pt x="156" y="775"/>
                  </a:lnTo>
                  <a:lnTo>
                    <a:pt x="155" y="782"/>
                  </a:lnTo>
                  <a:lnTo>
                    <a:pt x="166" y="788"/>
                  </a:lnTo>
                  <a:lnTo>
                    <a:pt x="174" y="788"/>
                  </a:lnTo>
                  <a:lnTo>
                    <a:pt x="183" y="791"/>
                  </a:lnTo>
                  <a:lnTo>
                    <a:pt x="195" y="791"/>
                  </a:lnTo>
                  <a:lnTo>
                    <a:pt x="204" y="788"/>
                  </a:lnTo>
                  <a:lnTo>
                    <a:pt x="214" y="776"/>
                  </a:lnTo>
                  <a:lnTo>
                    <a:pt x="232" y="775"/>
                  </a:lnTo>
                  <a:lnTo>
                    <a:pt x="236" y="771"/>
                  </a:lnTo>
                  <a:lnTo>
                    <a:pt x="244" y="770"/>
                  </a:lnTo>
                  <a:lnTo>
                    <a:pt x="264" y="772"/>
                  </a:lnTo>
                  <a:lnTo>
                    <a:pt x="266" y="769"/>
                  </a:lnTo>
                  <a:lnTo>
                    <a:pt x="287" y="771"/>
                  </a:lnTo>
                  <a:lnTo>
                    <a:pt x="293" y="769"/>
                  </a:lnTo>
                  <a:lnTo>
                    <a:pt x="296" y="761"/>
                  </a:lnTo>
                  <a:lnTo>
                    <a:pt x="305" y="758"/>
                  </a:lnTo>
                  <a:lnTo>
                    <a:pt x="311" y="753"/>
                  </a:lnTo>
                  <a:lnTo>
                    <a:pt x="316" y="748"/>
                  </a:lnTo>
                  <a:lnTo>
                    <a:pt x="333" y="745"/>
                  </a:lnTo>
                  <a:lnTo>
                    <a:pt x="341" y="746"/>
                  </a:lnTo>
                  <a:lnTo>
                    <a:pt x="365" y="753"/>
                  </a:lnTo>
                  <a:lnTo>
                    <a:pt x="372" y="753"/>
                  </a:lnTo>
                  <a:lnTo>
                    <a:pt x="381" y="745"/>
                  </a:lnTo>
                  <a:lnTo>
                    <a:pt x="394" y="744"/>
                  </a:lnTo>
                  <a:lnTo>
                    <a:pt x="408" y="746"/>
                  </a:lnTo>
                  <a:lnTo>
                    <a:pt x="446" y="758"/>
                  </a:lnTo>
                  <a:lnTo>
                    <a:pt x="459" y="758"/>
                  </a:lnTo>
                  <a:lnTo>
                    <a:pt x="467" y="744"/>
                  </a:lnTo>
                  <a:lnTo>
                    <a:pt x="479" y="743"/>
                  </a:lnTo>
                  <a:lnTo>
                    <a:pt x="491" y="748"/>
                  </a:lnTo>
                  <a:lnTo>
                    <a:pt x="507" y="749"/>
                  </a:lnTo>
                  <a:lnTo>
                    <a:pt x="508" y="743"/>
                  </a:lnTo>
                  <a:lnTo>
                    <a:pt x="505" y="733"/>
                  </a:lnTo>
                  <a:lnTo>
                    <a:pt x="512" y="728"/>
                  </a:lnTo>
                  <a:lnTo>
                    <a:pt x="519" y="727"/>
                  </a:lnTo>
                  <a:lnTo>
                    <a:pt x="532" y="726"/>
                  </a:lnTo>
                  <a:lnTo>
                    <a:pt x="553" y="727"/>
                  </a:lnTo>
                  <a:lnTo>
                    <a:pt x="564" y="726"/>
                  </a:lnTo>
                  <a:lnTo>
                    <a:pt x="586" y="715"/>
                  </a:lnTo>
                  <a:lnTo>
                    <a:pt x="623" y="689"/>
                  </a:lnTo>
                  <a:lnTo>
                    <a:pt x="633" y="679"/>
                  </a:lnTo>
                  <a:lnTo>
                    <a:pt x="642" y="668"/>
                  </a:lnTo>
                  <a:lnTo>
                    <a:pt x="663" y="652"/>
                  </a:lnTo>
                  <a:lnTo>
                    <a:pt x="689" y="624"/>
                  </a:lnTo>
                  <a:lnTo>
                    <a:pt x="705" y="600"/>
                  </a:lnTo>
                  <a:lnTo>
                    <a:pt x="714" y="589"/>
                  </a:lnTo>
                  <a:lnTo>
                    <a:pt x="723" y="582"/>
                  </a:lnTo>
                  <a:lnTo>
                    <a:pt x="747" y="561"/>
                  </a:lnTo>
                  <a:lnTo>
                    <a:pt x="765" y="533"/>
                  </a:lnTo>
                  <a:lnTo>
                    <a:pt x="774" y="520"/>
                  </a:lnTo>
                  <a:lnTo>
                    <a:pt x="796" y="480"/>
                  </a:lnTo>
                  <a:lnTo>
                    <a:pt x="800" y="473"/>
                  </a:lnTo>
                  <a:lnTo>
                    <a:pt x="804" y="465"/>
                  </a:lnTo>
                  <a:lnTo>
                    <a:pt x="808" y="454"/>
                  </a:lnTo>
                  <a:lnTo>
                    <a:pt x="819" y="437"/>
                  </a:lnTo>
                  <a:lnTo>
                    <a:pt x="828" y="426"/>
                  </a:lnTo>
                  <a:lnTo>
                    <a:pt x="836" y="420"/>
                  </a:lnTo>
                  <a:lnTo>
                    <a:pt x="846" y="417"/>
                  </a:lnTo>
                  <a:lnTo>
                    <a:pt x="866" y="401"/>
                  </a:lnTo>
                  <a:lnTo>
                    <a:pt x="875" y="388"/>
                  </a:lnTo>
                  <a:lnTo>
                    <a:pt x="881" y="357"/>
                  </a:lnTo>
                  <a:lnTo>
                    <a:pt x="886" y="345"/>
                  </a:lnTo>
                  <a:lnTo>
                    <a:pt x="888" y="331"/>
                  </a:lnTo>
                  <a:lnTo>
                    <a:pt x="888" y="318"/>
                  </a:lnTo>
                  <a:lnTo>
                    <a:pt x="894" y="305"/>
                  </a:lnTo>
                  <a:lnTo>
                    <a:pt x="897" y="294"/>
                  </a:lnTo>
                  <a:lnTo>
                    <a:pt x="898" y="282"/>
                  </a:lnTo>
                  <a:lnTo>
                    <a:pt x="892" y="281"/>
                  </a:lnTo>
                  <a:lnTo>
                    <a:pt x="856" y="281"/>
                  </a:lnTo>
                  <a:lnTo>
                    <a:pt x="850" y="285"/>
                  </a:lnTo>
                  <a:lnTo>
                    <a:pt x="844" y="299"/>
                  </a:lnTo>
                  <a:lnTo>
                    <a:pt x="836" y="308"/>
                  </a:lnTo>
                  <a:lnTo>
                    <a:pt x="824" y="307"/>
                  </a:lnTo>
                  <a:lnTo>
                    <a:pt x="801" y="304"/>
                  </a:lnTo>
                  <a:lnTo>
                    <a:pt x="791" y="285"/>
                  </a:lnTo>
                  <a:lnTo>
                    <a:pt x="789" y="272"/>
                  </a:lnTo>
                  <a:lnTo>
                    <a:pt x="793" y="256"/>
                  </a:lnTo>
                  <a:lnTo>
                    <a:pt x="801" y="239"/>
                  </a:lnTo>
                  <a:lnTo>
                    <a:pt x="808" y="227"/>
                  </a:lnTo>
                  <a:lnTo>
                    <a:pt x="822" y="218"/>
                  </a:lnTo>
                  <a:lnTo>
                    <a:pt x="845" y="233"/>
                  </a:lnTo>
                  <a:lnTo>
                    <a:pt x="852" y="224"/>
                  </a:lnTo>
                  <a:lnTo>
                    <a:pt x="849" y="131"/>
                  </a:lnTo>
                  <a:lnTo>
                    <a:pt x="836" y="87"/>
                  </a:lnTo>
                  <a:lnTo>
                    <a:pt x="830" y="55"/>
                  </a:lnTo>
                  <a:lnTo>
                    <a:pt x="828" y="34"/>
                  </a:lnTo>
                  <a:lnTo>
                    <a:pt x="827" y="33"/>
                  </a:lnTo>
                  <a:lnTo>
                    <a:pt x="822" y="32"/>
                  </a:lnTo>
                  <a:lnTo>
                    <a:pt x="807" y="17"/>
                  </a:lnTo>
                  <a:lnTo>
                    <a:pt x="786" y="11"/>
                  </a:lnTo>
                  <a:lnTo>
                    <a:pt x="774" y="9"/>
                  </a:lnTo>
                  <a:lnTo>
                    <a:pt x="761" y="12"/>
                  </a:lnTo>
                  <a:lnTo>
                    <a:pt x="749" y="9"/>
                  </a:lnTo>
                  <a:lnTo>
                    <a:pt x="726" y="2"/>
                  </a:lnTo>
                  <a:lnTo>
                    <a:pt x="717" y="0"/>
                  </a:lnTo>
                  <a:lnTo>
                    <a:pt x="705" y="5"/>
                  </a:lnTo>
                  <a:lnTo>
                    <a:pt x="704" y="8"/>
                  </a:lnTo>
                  <a:lnTo>
                    <a:pt x="693" y="13"/>
                  </a:lnTo>
                  <a:lnTo>
                    <a:pt x="679" y="22"/>
                  </a:lnTo>
                  <a:lnTo>
                    <a:pt x="641" y="40"/>
                  </a:lnTo>
                  <a:lnTo>
                    <a:pt x="625" y="57"/>
                  </a:lnTo>
                  <a:lnTo>
                    <a:pt x="605" y="70"/>
                  </a:lnTo>
                  <a:lnTo>
                    <a:pt x="586" y="88"/>
                  </a:lnTo>
                  <a:lnTo>
                    <a:pt x="575" y="104"/>
                  </a:lnTo>
                  <a:lnTo>
                    <a:pt x="558" y="129"/>
                  </a:lnTo>
                  <a:lnTo>
                    <a:pt x="531" y="148"/>
                  </a:lnTo>
                  <a:lnTo>
                    <a:pt x="516" y="167"/>
                  </a:lnTo>
                  <a:lnTo>
                    <a:pt x="501" y="201"/>
                  </a:lnTo>
                  <a:lnTo>
                    <a:pt x="496" y="207"/>
                  </a:lnTo>
                  <a:lnTo>
                    <a:pt x="488" y="211"/>
                  </a:lnTo>
                  <a:lnTo>
                    <a:pt x="477" y="212"/>
                  </a:lnTo>
                  <a:lnTo>
                    <a:pt x="452" y="218"/>
                  </a:lnTo>
                  <a:lnTo>
                    <a:pt x="437" y="217"/>
                  </a:lnTo>
                  <a:lnTo>
                    <a:pt x="414" y="204"/>
                  </a:lnTo>
                  <a:lnTo>
                    <a:pt x="402" y="199"/>
                  </a:lnTo>
                  <a:lnTo>
                    <a:pt x="388" y="197"/>
                  </a:lnTo>
                  <a:lnTo>
                    <a:pt x="376" y="201"/>
                  </a:lnTo>
                  <a:lnTo>
                    <a:pt x="357" y="221"/>
                  </a:lnTo>
                  <a:lnTo>
                    <a:pt x="351" y="229"/>
                  </a:lnTo>
                  <a:lnTo>
                    <a:pt x="348" y="237"/>
                  </a:lnTo>
                  <a:lnTo>
                    <a:pt x="339" y="248"/>
                  </a:lnTo>
                  <a:lnTo>
                    <a:pt x="327" y="255"/>
                  </a:lnTo>
                  <a:lnTo>
                    <a:pt x="322" y="260"/>
                  </a:lnTo>
                  <a:lnTo>
                    <a:pt x="312" y="277"/>
                  </a:lnTo>
                  <a:lnTo>
                    <a:pt x="277" y="286"/>
                  </a:lnTo>
                  <a:lnTo>
                    <a:pt x="259" y="285"/>
                  </a:lnTo>
                  <a:lnTo>
                    <a:pt x="243" y="282"/>
                  </a:lnTo>
                  <a:lnTo>
                    <a:pt x="233" y="280"/>
                  </a:lnTo>
                  <a:lnTo>
                    <a:pt x="230" y="271"/>
                  </a:lnTo>
                  <a:lnTo>
                    <a:pt x="237" y="250"/>
                  </a:lnTo>
                  <a:lnTo>
                    <a:pt x="239" y="237"/>
                  </a:lnTo>
                  <a:lnTo>
                    <a:pt x="239" y="231"/>
                  </a:lnTo>
                  <a:lnTo>
                    <a:pt x="238" y="213"/>
                  </a:lnTo>
                  <a:lnTo>
                    <a:pt x="231" y="201"/>
                  </a:lnTo>
                  <a:lnTo>
                    <a:pt x="217" y="190"/>
                  </a:lnTo>
                  <a:lnTo>
                    <a:pt x="212" y="181"/>
                  </a:lnTo>
                  <a:lnTo>
                    <a:pt x="200" y="170"/>
                  </a:lnTo>
                  <a:lnTo>
                    <a:pt x="198" y="167"/>
                  </a:lnTo>
                  <a:lnTo>
                    <a:pt x="192" y="161"/>
                  </a:lnTo>
                  <a:lnTo>
                    <a:pt x="188" y="16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6" name="Freeform 24">
              <a:extLst>
                <a:ext uri="{FF2B5EF4-FFF2-40B4-BE49-F238E27FC236}">
                  <a16:creationId xmlns:a16="http://schemas.microsoft.com/office/drawing/2014/main" id="{23319402-D269-A30B-A6C5-3EA37CA8458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032709" y="4719002"/>
              <a:ext cx="208928" cy="443547"/>
            </a:xfrm>
            <a:custGeom>
              <a:avLst/>
              <a:gdLst>
                <a:gd name="T0" fmla="*/ 2147483647 w 391"/>
                <a:gd name="T1" fmla="*/ 2147483647 h 776"/>
                <a:gd name="T2" fmla="*/ 2147483647 w 391"/>
                <a:gd name="T3" fmla="*/ 2147483647 h 776"/>
                <a:gd name="T4" fmla="*/ 2147483647 w 391"/>
                <a:gd name="T5" fmla="*/ 2147483647 h 776"/>
                <a:gd name="T6" fmla="*/ 2147483647 w 391"/>
                <a:gd name="T7" fmla="*/ 2147483647 h 776"/>
                <a:gd name="T8" fmla="*/ 2147483647 w 391"/>
                <a:gd name="T9" fmla="*/ 2147483647 h 776"/>
                <a:gd name="T10" fmla="*/ 2147483647 w 391"/>
                <a:gd name="T11" fmla="*/ 2147483647 h 776"/>
                <a:gd name="T12" fmla="*/ 2147483647 w 391"/>
                <a:gd name="T13" fmla="*/ 2147483647 h 776"/>
                <a:gd name="T14" fmla="*/ 2147483647 w 391"/>
                <a:gd name="T15" fmla="*/ 2147483647 h 776"/>
                <a:gd name="T16" fmla="*/ 2147483647 w 391"/>
                <a:gd name="T17" fmla="*/ 2147483647 h 776"/>
                <a:gd name="T18" fmla="*/ 2147483647 w 391"/>
                <a:gd name="T19" fmla="*/ 2147483647 h 776"/>
                <a:gd name="T20" fmla="*/ 2147483647 w 391"/>
                <a:gd name="T21" fmla="*/ 2147483647 h 776"/>
                <a:gd name="T22" fmla="*/ 2147483647 w 391"/>
                <a:gd name="T23" fmla="*/ 2147483647 h 776"/>
                <a:gd name="T24" fmla="*/ 2147483647 w 391"/>
                <a:gd name="T25" fmla="*/ 2147483647 h 776"/>
                <a:gd name="T26" fmla="*/ 2147483647 w 391"/>
                <a:gd name="T27" fmla="*/ 2147483647 h 776"/>
                <a:gd name="T28" fmla="*/ 2147483647 w 391"/>
                <a:gd name="T29" fmla="*/ 2147483647 h 776"/>
                <a:gd name="T30" fmla="*/ 2147483647 w 391"/>
                <a:gd name="T31" fmla="*/ 2147483647 h 776"/>
                <a:gd name="T32" fmla="*/ 2147483647 w 391"/>
                <a:gd name="T33" fmla="*/ 2147483647 h 776"/>
                <a:gd name="T34" fmla="*/ 2147483647 w 391"/>
                <a:gd name="T35" fmla="*/ 0 h 776"/>
                <a:gd name="T36" fmla="*/ 2147483647 w 391"/>
                <a:gd name="T37" fmla="*/ 0 h 776"/>
                <a:gd name="T38" fmla="*/ 2147483647 w 391"/>
                <a:gd name="T39" fmla="*/ 0 h 776"/>
                <a:gd name="T40" fmla="*/ 2147483647 w 391"/>
                <a:gd name="T41" fmla="*/ 0 h 776"/>
                <a:gd name="T42" fmla="*/ 2147483647 w 391"/>
                <a:gd name="T43" fmla="*/ 0 h 776"/>
                <a:gd name="T44" fmla="*/ 2147483647 w 391"/>
                <a:gd name="T45" fmla="*/ 2147483647 h 776"/>
                <a:gd name="T46" fmla="*/ 2147483647 w 391"/>
                <a:gd name="T47" fmla="*/ 2147483647 h 776"/>
                <a:gd name="T48" fmla="*/ 2147483647 w 391"/>
                <a:gd name="T49" fmla="*/ 2147483647 h 776"/>
                <a:gd name="T50" fmla="*/ 2147483647 w 391"/>
                <a:gd name="T51" fmla="*/ 2147483647 h 776"/>
                <a:gd name="T52" fmla="*/ 2147483647 w 391"/>
                <a:gd name="T53" fmla="*/ 2147483647 h 776"/>
                <a:gd name="T54" fmla="*/ 2147483647 w 391"/>
                <a:gd name="T55" fmla="*/ 2147483647 h 776"/>
                <a:gd name="T56" fmla="*/ 2147483647 w 391"/>
                <a:gd name="T57" fmla="*/ 2147483647 h 776"/>
                <a:gd name="T58" fmla="*/ 2147483647 w 391"/>
                <a:gd name="T59" fmla="*/ 2147483647 h 776"/>
                <a:gd name="T60" fmla="*/ 2147483647 w 391"/>
                <a:gd name="T61" fmla="*/ 2147483647 h 776"/>
                <a:gd name="T62" fmla="*/ 2147483647 w 391"/>
                <a:gd name="T63" fmla="*/ 2147483647 h 776"/>
                <a:gd name="T64" fmla="*/ 2147483647 w 391"/>
                <a:gd name="T65" fmla="*/ 2147483647 h 776"/>
                <a:gd name="T66" fmla="*/ 2147483647 w 391"/>
                <a:gd name="T67" fmla="*/ 2147483647 h 776"/>
                <a:gd name="T68" fmla="*/ 2147483647 w 391"/>
                <a:gd name="T69" fmla="*/ 2147483647 h 776"/>
                <a:gd name="T70" fmla="*/ 2147483647 w 391"/>
                <a:gd name="T71" fmla="*/ 2147483647 h 776"/>
                <a:gd name="T72" fmla="*/ 2147483647 w 391"/>
                <a:gd name="T73" fmla="*/ 2147483647 h 776"/>
                <a:gd name="T74" fmla="*/ 2147483647 w 391"/>
                <a:gd name="T75" fmla="*/ 2147483647 h 776"/>
                <a:gd name="T76" fmla="*/ 0 w 391"/>
                <a:gd name="T77" fmla="*/ 2147483647 h 776"/>
                <a:gd name="T78" fmla="*/ 0 w 391"/>
                <a:gd name="T79" fmla="*/ 2147483647 h 776"/>
                <a:gd name="T80" fmla="*/ 0 w 391"/>
                <a:gd name="T81" fmla="*/ 2147483647 h 776"/>
                <a:gd name="T82" fmla="*/ 0 w 391"/>
                <a:gd name="T83" fmla="*/ 2147483647 h 776"/>
                <a:gd name="T84" fmla="*/ 0 w 391"/>
                <a:gd name="T85" fmla="*/ 2147483647 h 776"/>
                <a:gd name="T86" fmla="*/ 0 w 391"/>
                <a:gd name="T87" fmla="*/ 2147483647 h 776"/>
                <a:gd name="T88" fmla="*/ 2147483647 w 391"/>
                <a:gd name="T89" fmla="*/ 2147483647 h 776"/>
                <a:gd name="T90" fmla="*/ 2147483647 w 391"/>
                <a:gd name="T91" fmla="*/ 2147483647 h 776"/>
                <a:gd name="T92" fmla="*/ 2147483647 w 391"/>
                <a:gd name="T93" fmla="*/ 2147483647 h 776"/>
                <a:gd name="T94" fmla="*/ 2147483647 w 391"/>
                <a:gd name="T95" fmla="*/ 2147483647 h 77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91"/>
                <a:gd name="T145" fmla="*/ 0 h 776"/>
                <a:gd name="T146" fmla="*/ 391 w 391"/>
                <a:gd name="T147" fmla="*/ 776 h 77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91" h="776">
                  <a:moveTo>
                    <a:pt x="64" y="230"/>
                  </a:moveTo>
                  <a:lnTo>
                    <a:pt x="69" y="224"/>
                  </a:lnTo>
                  <a:lnTo>
                    <a:pt x="76" y="226"/>
                  </a:lnTo>
                  <a:lnTo>
                    <a:pt x="92" y="225"/>
                  </a:lnTo>
                  <a:lnTo>
                    <a:pt x="96" y="221"/>
                  </a:lnTo>
                  <a:lnTo>
                    <a:pt x="107" y="215"/>
                  </a:lnTo>
                  <a:lnTo>
                    <a:pt x="109" y="220"/>
                  </a:lnTo>
                  <a:lnTo>
                    <a:pt x="113" y="221"/>
                  </a:lnTo>
                  <a:lnTo>
                    <a:pt x="118" y="215"/>
                  </a:lnTo>
                  <a:lnTo>
                    <a:pt x="124" y="217"/>
                  </a:lnTo>
                  <a:lnTo>
                    <a:pt x="129" y="211"/>
                  </a:lnTo>
                  <a:lnTo>
                    <a:pt x="130" y="204"/>
                  </a:lnTo>
                  <a:lnTo>
                    <a:pt x="140" y="202"/>
                  </a:lnTo>
                  <a:lnTo>
                    <a:pt x="146" y="205"/>
                  </a:lnTo>
                  <a:lnTo>
                    <a:pt x="152" y="199"/>
                  </a:lnTo>
                  <a:lnTo>
                    <a:pt x="159" y="202"/>
                  </a:lnTo>
                  <a:lnTo>
                    <a:pt x="164" y="211"/>
                  </a:lnTo>
                  <a:lnTo>
                    <a:pt x="170" y="219"/>
                  </a:lnTo>
                  <a:lnTo>
                    <a:pt x="178" y="221"/>
                  </a:lnTo>
                  <a:lnTo>
                    <a:pt x="184" y="220"/>
                  </a:lnTo>
                  <a:lnTo>
                    <a:pt x="182" y="210"/>
                  </a:lnTo>
                  <a:lnTo>
                    <a:pt x="172" y="202"/>
                  </a:lnTo>
                  <a:lnTo>
                    <a:pt x="173" y="192"/>
                  </a:lnTo>
                  <a:lnTo>
                    <a:pt x="183" y="181"/>
                  </a:lnTo>
                  <a:lnTo>
                    <a:pt x="195" y="173"/>
                  </a:lnTo>
                  <a:lnTo>
                    <a:pt x="202" y="176"/>
                  </a:lnTo>
                  <a:lnTo>
                    <a:pt x="204" y="189"/>
                  </a:lnTo>
                  <a:lnTo>
                    <a:pt x="211" y="189"/>
                  </a:lnTo>
                  <a:lnTo>
                    <a:pt x="218" y="186"/>
                  </a:lnTo>
                  <a:lnTo>
                    <a:pt x="208" y="167"/>
                  </a:lnTo>
                  <a:lnTo>
                    <a:pt x="215" y="161"/>
                  </a:lnTo>
                  <a:lnTo>
                    <a:pt x="224" y="150"/>
                  </a:lnTo>
                  <a:lnTo>
                    <a:pt x="221" y="149"/>
                  </a:lnTo>
                  <a:lnTo>
                    <a:pt x="227" y="141"/>
                  </a:lnTo>
                  <a:lnTo>
                    <a:pt x="231" y="149"/>
                  </a:lnTo>
                  <a:lnTo>
                    <a:pt x="229" y="160"/>
                  </a:lnTo>
                  <a:lnTo>
                    <a:pt x="245" y="140"/>
                  </a:lnTo>
                  <a:lnTo>
                    <a:pt x="253" y="141"/>
                  </a:lnTo>
                  <a:lnTo>
                    <a:pt x="258" y="140"/>
                  </a:lnTo>
                  <a:lnTo>
                    <a:pt x="256" y="135"/>
                  </a:lnTo>
                  <a:lnTo>
                    <a:pt x="247" y="133"/>
                  </a:lnTo>
                  <a:lnTo>
                    <a:pt x="242" y="125"/>
                  </a:lnTo>
                  <a:lnTo>
                    <a:pt x="245" y="119"/>
                  </a:lnTo>
                  <a:lnTo>
                    <a:pt x="253" y="108"/>
                  </a:lnTo>
                  <a:lnTo>
                    <a:pt x="258" y="113"/>
                  </a:lnTo>
                  <a:lnTo>
                    <a:pt x="259" y="101"/>
                  </a:lnTo>
                  <a:lnTo>
                    <a:pt x="256" y="93"/>
                  </a:lnTo>
                  <a:lnTo>
                    <a:pt x="253" y="81"/>
                  </a:lnTo>
                  <a:lnTo>
                    <a:pt x="256" y="77"/>
                  </a:lnTo>
                  <a:lnTo>
                    <a:pt x="267" y="81"/>
                  </a:lnTo>
                  <a:lnTo>
                    <a:pt x="270" y="92"/>
                  </a:lnTo>
                  <a:lnTo>
                    <a:pt x="283" y="74"/>
                  </a:lnTo>
                  <a:lnTo>
                    <a:pt x="285" y="63"/>
                  </a:lnTo>
                  <a:lnTo>
                    <a:pt x="293" y="68"/>
                  </a:lnTo>
                  <a:lnTo>
                    <a:pt x="301" y="61"/>
                  </a:lnTo>
                  <a:lnTo>
                    <a:pt x="306" y="47"/>
                  </a:lnTo>
                  <a:lnTo>
                    <a:pt x="307" y="25"/>
                  </a:lnTo>
                  <a:lnTo>
                    <a:pt x="301" y="15"/>
                  </a:lnTo>
                  <a:lnTo>
                    <a:pt x="306" y="17"/>
                  </a:lnTo>
                  <a:lnTo>
                    <a:pt x="316" y="5"/>
                  </a:lnTo>
                  <a:lnTo>
                    <a:pt x="323" y="0"/>
                  </a:lnTo>
                  <a:lnTo>
                    <a:pt x="334" y="10"/>
                  </a:lnTo>
                  <a:lnTo>
                    <a:pt x="344" y="23"/>
                  </a:lnTo>
                  <a:lnTo>
                    <a:pt x="354" y="33"/>
                  </a:lnTo>
                  <a:lnTo>
                    <a:pt x="361" y="47"/>
                  </a:lnTo>
                  <a:lnTo>
                    <a:pt x="365" y="60"/>
                  </a:lnTo>
                  <a:lnTo>
                    <a:pt x="366" y="73"/>
                  </a:lnTo>
                  <a:lnTo>
                    <a:pt x="371" y="89"/>
                  </a:lnTo>
                  <a:lnTo>
                    <a:pt x="374" y="106"/>
                  </a:lnTo>
                  <a:lnTo>
                    <a:pt x="377" y="120"/>
                  </a:lnTo>
                  <a:lnTo>
                    <a:pt x="379" y="135"/>
                  </a:lnTo>
                  <a:lnTo>
                    <a:pt x="382" y="151"/>
                  </a:lnTo>
                  <a:lnTo>
                    <a:pt x="388" y="167"/>
                  </a:lnTo>
                  <a:lnTo>
                    <a:pt x="391" y="183"/>
                  </a:lnTo>
                  <a:lnTo>
                    <a:pt x="388" y="198"/>
                  </a:lnTo>
                  <a:lnTo>
                    <a:pt x="383" y="210"/>
                  </a:lnTo>
                  <a:lnTo>
                    <a:pt x="376" y="211"/>
                  </a:lnTo>
                  <a:lnTo>
                    <a:pt x="370" y="198"/>
                  </a:lnTo>
                  <a:lnTo>
                    <a:pt x="366" y="183"/>
                  </a:lnTo>
                  <a:lnTo>
                    <a:pt x="356" y="184"/>
                  </a:lnTo>
                  <a:lnTo>
                    <a:pt x="353" y="206"/>
                  </a:lnTo>
                  <a:lnTo>
                    <a:pt x="353" y="222"/>
                  </a:lnTo>
                  <a:lnTo>
                    <a:pt x="360" y="235"/>
                  </a:lnTo>
                  <a:lnTo>
                    <a:pt x="360" y="251"/>
                  </a:lnTo>
                  <a:lnTo>
                    <a:pt x="355" y="262"/>
                  </a:lnTo>
                  <a:lnTo>
                    <a:pt x="349" y="268"/>
                  </a:lnTo>
                  <a:lnTo>
                    <a:pt x="342" y="283"/>
                  </a:lnTo>
                  <a:lnTo>
                    <a:pt x="339" y="300"/>
                  </a:lnTo>
                  <a:lnTo>
                    <a:pt x="339" y="315"/>
                  </a:lnTo>
                  <a:lnTo>
                    <a:pt x="329" y="366"/>
                  </a:lnTo>
                  <a:lnTo>
                    <a:pt x="318" y="397"/>
                  </a:lnTo>
                  <a:lnTo>
                    <a:pt x="317" y="397"/>
                  </a:lnTo>
                  <a:lnTo>
                    <a:pt x="316" y="405"/>
                  </a:lnTo>
                  <a:lnTo>
                    <a:pt x="300" y="459"/>
                  </a:lnTo>
                  <a:lnTo>
                    <a:pt x="288" y="488"/>
                  </a:lnTo>
                  <a:lnTo>
                    <a:pt x="283" y="511"/>
                  </a:lnTo>
                  <a:lnTo>
                    <a:pt x="273" y="549"/>
                  </a:lnTo>
                  <a:lnTo>
                    <a:pt x="266" y="566"/>
                  </a:lnTo>
                  <a:lnTo>
                    <a:pt x="254" y="606"/>
                  </a:lnTo>
                  <a:lnTo>
                    <a:pt x="248" y="635"/>
                  </a:lnTo>
                  <a:lnTo>
                    <a:pt x="243" y="651"/>
                  </a:lnTo>
                  <a:lnTo>
                    <a:pt x="236" y="684"/>
                  </a:lnTo>
                  <a:lnTo>
                    <a:pt x="227" y="700"/>
                  </a:lnTo>
                  <a:lnTo>
                    <a:pt x="223" y="715"/>
                  </a:lnTo>
                  <a:lnTo>
                    <a:pt x="210" y="736"/>
                  </a:lnTo>
                  <a:lnTo>
                    <a:pt x="200" y="744"/>
                  </a:lnTo>
                  <a:lnTo>
                    <a:pt x="192" y="749"/>
                  </a:lnTo>
                  <a:lnTo>
                    <a:pt x="183" y="748"/>
                  </a:lnTo>
                  <a:lnTo>
                    <a:pt x="151" y="755"/>
                  </a:lnTo>
                  <a:lnTo>
                    <a:pt x="119" y="774"/>
                  </a:lnTo>
                  <a:lnTo>
                    <a:pt x="106" y="776"/>
                  </a:lnTo>
                  <a:lnTo>
                    <a:pt x="86" y="762"/>
                  </a:lnTo>
                  <a:lnTo>
                    <a:pt x="71" y="753"/>
                  </a:lnTo>
                  <a:lnTo>
                    <a:pt x="59" y="746"/>
                  </a:lnTo>
                  <a:lnTo>
                    <a:pt x="47" y="736"/>
                  </a:lnTo>
                  <a:lnTo>
                    <a:pt x="32" y="714"/>
                  </a:lnTo>
                  <a:lnTo>
                    <a:pt x="27" y="697"/>
                  </a:lnTo>
                  <a:lnTo>
                    <a:pt x="24" y="678"/>
                  </a:lnTo>
                  <a:lnTo>
                    <a:pt x="24" y="663"/>
                  </a:lnTo>
                  <a:lnTo>
                    <a:pt x="28" y="654"/>
                  </a:lnTo>
                  <a:lnTo>
                    <a:pt x="24" y="638"/>
                  </a:lnTo>
                  <a:lnTo>
                    <a:pt x="17" y="624"/>
                  </a:lnTo>
                  <a:lnTo>
                    <a:pt x="9" y="615"/>
                  </a:lnTo>
                  <a:lnTo>
                    <a:pt x="1" y="601"/>
                  </a:lnTo>
                  <a:lnTo>
                    <a:pt x="1" y="586"/>
                  </a:lnTo>
                  <a:lnTo>
                    <a:pt x="0" y="574"/>
                  </a:lnTo>
                  <a:lnTo>
                    <a:pt x="0" y="555"/>
                  </a:lnTo>
                  <a:lnTo>
                    <a:pt x="8" y="543"/>
                  </a:lnTo>
                  <a:lnTo>
                    <a:pt x="15" y="527"/>
                  </a:lnTo>
                  <a:lnTo>
                    <a:pt x="21" y="518"/>
                  </a:lnTo>
                  <a:lnTo>
                    <a:pt x="30" y="516"/>
                  </a:lnTo>
                  <a:lnTo>
                    <a:pt x="38" y="489"/>
                  </a:lnTo>
                  <a:lnTo>
                    <a:pt x="55" y="457"/>
                  </a:lnTo>
                  <a:lnTo>
                    <a:pt x="65" y="446"/>
                  </a:lnTo>
                  <a:lnTo>
                    <a:pt x="69" y="435"/>
                  </a:lnTo>
                  <a:lnTo>
                    <a:pt x="68" y="425"/>
                  </a:lnTo>
                  <a:lnTo>
                    <a:pt x="71" y="419"/>
                  </a:lnTo>
                  <a:lnTo>
                    <a:pt x="69" y="409"/>
                  </a:lnTo>
                  <a:lnTo>
                    <a:pt x="60" y="396"/>
                  </a:lnTo>
                  <a:lnTo>
                    <a:pt x="54" y="376"/>
                  </a:lnTo>
                  <a:lnTo>
                    <a:pt x="48" y="348"/>
                  </a:lnTo>
                  <a:lnTo>
                    <a:pt x="47" y="318"/>
                  </a:lnTo>
                  <a:lnTo>
                    <a:pt x="37" y="302"/>
                  </a:lnTo>
                  <a:lnTo>
                    <a:pt x="51" y="280"/>
                  </a:lnTo>
                  <a:lnTo>
                    <a:pt x="65" y="247"/>
                  </a:lnTo>
                  <a:lnTo>
                    <a:pt x="64" y="23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7" name="Freeform 28">
              <a:extLst>
                <a:ext uri="{FF2B5EF4-FFF2-40B4-BE49-F238E27FC236}">
                  <a16:creationId xmlns:a16="http://schemas.microsoft.com/office/drawing/2014/main" id="{D1A18B43-3CC1-9B3E-3003-B15B763F992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564114" y="5263147"/>
              <a:ext cx="67155" cy="73163"/>
            </a:xfrm>
            <a:custGeom>
              <a:avLst/>
              <a:gdLst>
                <a:gd name="T0" fmla="*/ 2147483647 w 127"/>
                <a:gd name="T1" fmla="*/ 0 h 131"/>
                <a:gd name="T2" fmla="*/ 2147483647 w 127"/>
                <a:gd name="T3" fmla="*/ 0 h 131"/>
                <a:gd name="T4" fmla="*/ 2147483647 w 127"/>
                <a:gd name="T5" fmla="*/ 0 h 131"/>
                <a:gd name="T6" fmla="*/ 2147483647 w 127"/>
                <a:gd name="T7" fmla="*/ 2147483647 h 131"/>
                <a:gd name="T8" fmla="*/ 2147483647 w 127"/>
                <a:gd name="T9" fmla="*/ 2147483647 h 131"/>
                <a:gd name="T10" fmla="*/ 2147483647 w 127"/>
                <a:gd name="T11" fmla="*/ 2147483647 h 131"/>
                <a:gd name="T12" fmla="*/ 0 w 127"/>
                <a:gd name="T13" fmla="*/ 2147483647 h 131"/>
                <a:gd name="T14" fmla="*/ 0 w 127"/>
                <a:gd name="T15" fmla="*/ 2147483647 h 131"/>
                <a:gd name="T16" fmla="*/ 0 w 127"/>
                <a:gd name="T17" fmla="*/ 2147483647 h 131"/>
                <a:gd name="T18" fmla="*/ 0 w 127"/>
                <a:gd name="T19" fmla="*/ 2147483647 h 131"/>
                <a:gd name="T20" fmla="*/ 0 w 127"/>
                <a:gd name="T21" fmla="*/ 2147483647 h 131"/>
                <a:gd name="T22" fmla="*/ 0 w 127"/>
                <a:gd name="T23" fmla="*/ 0 h 131"/>
                <a:gd name="T24" fmla="*/ 0 w 127"/>
                <a:gd name="T25" fmla="*/ 0 h 131"/>
                <a:gd name="T26" fmla="*/ 0 w 127"/>
                <a:gd name="T27" fmla="*/ 0 h 131"/>
                <a:gd name="T28" fmla="*/ 0 w 127"/>
                <a:gd name="T29" fmla="*/ 0 h 131"/>
                <a:gd name="T30" fmla="*/ 2147483647 w 127"/>
                <a:gd name="T31" fmla="*/ 0 h 131"/>
                <a:gd name="T32" fmla="*/ 2147483647 w 127"/>
                <a:gd name="T33" fmla="*/ 0 h 131"/>
                <a:gd name="T34" fmla="*/ 2147483647 w 127"/>
                <a:gd name="T35" fmla="*/ 0 h 131"/>
                <a:gd name="T36" fmla="*/ 2147483647 w 127"/>
                <a:gd name="T37" fmla="*/ 0 h 131"/>
                <a:gd name="T38" fmla="*/ 2147483647 w 127"/>
                <a:gd name="T39" fmla="*/ 0 h 131"/>
                <a:gd name="T40" fmla="*/ 2147483647 w 127"/>
                <a:gd name="T41" fmla="*/ 0 h 131"/>
                <a:gd name="T42" fmla="*/ 2147483647 w 127"/>
                <a:gd name="T43" fmla="*/ 0 h 13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27"/>
                <a:gd name="T67" fmla="*/ 0 h 131"/>
                <a:gd name="T68" fmla="*/ 127 w 127"/>
                <a:gd name="T69" fmla="*/ 131 h 131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27" h="131">
                  <a:moveTo>
                    <a:pt x="125" y="52"/>
                  </a:moveTo>
                  <a:lnTo>
                    <a:pt x="127" y="49"/>
                  </a:lnTo>
                  <a:lnTo>
                    <a:pt x="126" y="58"/>
                  </a:lnTo>
                  <a:lnTo>
                    <a:pt x="103" y="98"/>
                  </a:lnTo>
                  <a:lnTo>
                    <a:pt x="73" y="109"/>
                  </a:lnTo>
                  <a:lnTo>
                    <a:pt x="63" y="125"/>
                  </a:lnTo>
                  <a:lnTo>
                    <a:pt x="55" y="129"/>
                  </a:lnTo>
                  <a:lnTo>
                    <a:pt x="43" y="131"/>
                  </a:lnTo>
                  <a:lnTo>
                    <a:pt x="23" y="113"/>
                  </a:lnTo>
                  <a:lnTo>
                    <a:pt x="11" y="100"/>
                  </a:lnTo>
                  <a:lnTo>
                    <a:pt x="5" y="88"/>
                  </a:lnTo>
                  <a:lnTo>
                    <a:pt x="0" y="74"/>
                  </a:lnTo>
                  <a:lnTo>
                    <a:pt x="2" y="61"/>
                  </a:lnTo>
                  <a:lnTo>
                    <a:pt x="28" y="27"/>
                  </a:lnTo>
                  <a:lnTo>
                    <a:pt x="40" y="16"/>
                  </a:lnTo>
                  <a:lnTo>
                    <a:pt x="68" y="1"/>
                  </a:lnTo>
                  <a:lnTo>
                    <a:pt x="83" y="0"/>
                  </a:lnTo>
                  <a:lnTo>
                    <a:pt x="95" y="6"/>
                  </a:lnTo>
                  <a:lnTo>
                    <a:pt x="105" y="18"/>
                  </a:lnTo>
                  <a:lnTo>
                    <a:pt x="113" y="29"/>
                  </a:lnTo>
                  <a:lnTo>
                    <a:pt x="121" y="42"/>
                  </a:lnTo>
                  <a:lnTo>
                    <a:pt x="125" y="5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78DB743-278C-AD06-8A23-C6E68EAB7D8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508897" y="4830269"/>
              <a:ext cx="225344" cy="230157"/>
            </a:xfrm>
            <a:custGeom>
              <a:avLst/>
              <a:gdLst>
                <a:gd name="T0" fmla="*/ 2147483647 w 428"/>
                <a:gd name="T1" fmla="*/ 0 h 405"/>
                <a:gd name="T2" fmla="*/ 2147483647 w 428"/>
                <a:gd name="T3" fmla="*/ 0 h 405"/>
                <a:gd name="T4" fmla="*/ 2147483647 w 428"/>
                <a:gd name="T5" fmla="*/ 0 h 405"/>
                <a:gd name="T6" fmla="*/ 2147483647 w 428"/>
                <a:gd name="T7" fmla="*/ 0 h 405"/>
                <a:gd name="T8" fmla="*/ 2147483647 w 428"/>
                <a:gd name="T9" fmla="*/ 0 h 405"/>
                <a:gd name="T10" fmla="*/ 2147483647 w 428"/>
                <a:gd name="T11" fmla="*/ 0 h 405"/>
                <a:gd name="T12" fmla="*/ 2147483647 w 428"/>
                <a:gd name="T13" fmla="*/ 0 h 405"/>
                <a:gd name="T14" fmla="*/ 2147483647 w 428"/>
                <a:gd name="T15" fmla="*/ 2147483647 h 405"/>
                <a:gd name="T16" fmla="*/ 2147483647 w 428"/>
                <a:gd name="T17" fmla="*/ 2147483647 h 405"/>
                <a:gd name="T18" fmla="*/ 2147483647 w 428"/>
                <a:gd name="T19" fmla="*/ 2147483647 h 405"/>
                <a:gd name="T20" fmla="*/ 2147483647 w 428"/>
                <a:gd name="T21" fmla="*/ 2147483647 h 405"/>
                <a:gd name="T22" fmla="*/ 2147483647 w 428"/>
                <a:gd name="T23" fmla="*/ 2147483647 h 405"/>
                <a:gd name="T24" fmla="*/ 2147483647 w 428"/>
                <a:gd name="T25" fmla="*/ 2147483647 h 405"/>
                <a:gd name="T26" fmla="*/ 2147483647 w 428"/>
                <a:gd name="T27" fmla="*/ 2147483647 h 405"/>
                <a:gd name="T28" fmla="*/ 2147483647 w 428"/>
                <a:gd name="T29" fmla="*/ 2147483647 h 405"/>
                <a:gd name="T30" fmla="*/ 2147483647 w 428"/>
                <a:gd name="T31" fmla="*/ 2147483647 h 405"/>
                <a:gd name="T32" fmla="*/ 2147483647 w 428"/>
                <a:gd name="T33" fmla="*/ 2147483647 h 405"/>
                <a:gd name="T34" fmla="*/ 2147483647 w 428"/>
                <a:gd name="T35" fmla="*/ 2147483647 h 405"/>
                <a:gd name="T36" fmla="*/ 2147483647 w 428"/>
                <a:gd name="T37" fmla="*/ 2147483647 h 405"/>
                <a:gd name="T38" fmla="*/ 2147483647 w 428"/>
                <a:gd name="T39" fmla="*/ 2147483647 h 405"/>
                <a:gd name="T40" fmla="*/ 0 w 428"/>
                <a:gd name="T41" fmla="*/ 2147483647 h 405"/>
                <a:gd name="T42" fmla="*/ 0 w 428"/>
                <a:gd name="T43" fmla="*/ 2147483647 h 405"/>
                <a:gd name="T44" fmla="*/ 0 w 428"/>
                <a:gd name="T45" fmla="*/ 2147483647 h 405"/>
                <a:gd name="T46" fmla="*/ 0 w 428"/>
                <a:gd name="T47" fmla="*/ 2147483647 h 405"/>
                <a:gd name="T48" fmla="*/ 0 w 428"/>
                <a:gd name="T49" fmla="*/ 2147483647 h 405"/>
                <a:gd name="T50" fmla="*/ 0 w 428"/>
                <a:gd name="T51" fmla="*/ 2147483647 h 405"/>
                <a:gd name="T52" fmla="*/ 2147483647 w 428"/>
                <a:gd name="T53" fmla="*/ 2147483647 h 405"/>
                <a:gd name="T54" fmla="*/ 2147483647 w 428"/>
                <a:gd name="T55" fmla="*/ 2147483647 h 405"/>
                <a:gd name="T56" fmla="*/ 2147483647 w 428"/>
                <a:gd name="T57" fmla="*/ 2147483647 h 405"/>
                <a:gd name="T58" fmla="*/ 2147483647 w 428"/>
                <a:gd name="T59" fmla="*/ 2147483647 h 405"/>
                <a:gd name="T60" fmla="*/ 2147483647 w 428"/>
                <a:gd name="T61" fmla="*/ 2147483647 h 405"/>
                <a:gd name="T62" fmla="*/ 2147483647 w 428"/>
                <a:gd name="T63" fmla="*/ 2147483647 h 405"/>
                <a:gd name="T64" fmla="*/ 2147483647 w 428"/>
                <a:gd name="T65" fmla="*/ 2147483647 h 405"/>
                <a:gd name="T66" fmla="*/ 2147483647 w 428"/>
                <a:gd name="T67" fmla="*/ 2147483647 h 405"/>
                <a:gd name="T68" fmla="*/ 2147483647 w 428"/>
                <a:gd name="T69" fmla="*/ 2147483647 h 405"/>
                <a:gd name="T70" fmla="*/ 2147483647 w 428"/>
                <a:gd name="T71" fmla="*/ 2147483647 h 405"/>
                <a:gd name="T72" fmla="*/ 2147483647 w 428"/>
                <a:gd name="T73" fmla="*/ 2147483647 h 405"/>
                <a:gd name="T74" fmla="*/ 2147483647 w 428"/>
                <a:gd name="T75" fmla="*/ 2147483647 h 405"/>
                <a:gd name="T76" fmla="*/ 2147483647 w 428"/>
                <a:gd name="T77" fmla="*/ 2147483647 h 405"/>
                <a:gd name="T78" fmla="*/ 2147483647 w 428"/>
                <a:gd name="T79" fmla="*/ 2147483647 h 405"/>
                <a:gd name="T80" fmla="*/ 2147483647 w 428"/>
                <a:gd name="T81" fmla="*/ 2147483647 h 405"/>
                <a:gd name="T82" fmla="*/ 2147483647 w 428"/>
                <a:gd name="T83" fmla="*/ 2147483647 h 405"/>
                <a:gd name="T84" fmla="*/ 2147483647 w 428"/>
                <a:gd name="T85" fmla="*/ 2147483647 h 405"/>
                <a:gd name="T86" fmla="*/ 2147483647 w 428"/>
                <a:gd name="T87" fmla="*/ 2147483647 h 405"/>
                <a:gd name="T88" fmla="*/ 2147483647 w 428"/>
                <a:gd name="T89" fmla="*/ 2147483647 h 405"/>
                <a:gd name="T90" fmla="*/ 2147483647 w 428"/>
                <a:gd name="T91" fmla="*/ 2147483647 h 405"/>
                <a:gd name="T92" fmla="*/ 2147483647 w 428"/>
                <a:gd name="T93" fmla="*/ 2147483647 h 405"/>
                <a:gd name="T94" fmla="*/ 2147483647 w 428"/>
                <a:gd name="T95" fmla="*/ 2147483647 h 405"/>
                <a:gd name="T96" fmla="*/ 2147483647 w 428"/>
                <a:gd name="T97" fmla="*/ 0 h 405"/>
                <a:gd name="T98" fmla="*/ 2147483647 w 428"/>
                <a:gd name="T99" fmla="*/ 0 h 405"/>
                <a:gd name="T100" fmla="*/ 2147483647 w 428"/>
                <a:gd name="T101" fmla="*/ 0 h 405"/>
                <a:gd name="T102" fmla="*/ 2147483647 w 428"/>
                <a:gd name="T103" fmla="*/ 0 h 405"/>
                <a:gd name="T104" fmla="*/ 2147483647 w 428"/>
                <a:gd name="T105" fmla="*/ 0 h 405"/>
                <a:gd name="T106" fmla="*/ 2147483647 w 428"/>
                <a:gd name="T107" fmla="*/ 0 h 405"/>
                <a:gd name="T108" fmla="*/ 2147483647 w 428"/>
                <a:gd name="T109" fmla="*/ 0 h 405"/>
                <a:gd name="T110" fmla="*/ 2147483647 w 428"/>
                <a:gd name="T111" fmla="*/ 0 h 405"/>
                <a:gd name="T112" fmla="*/ 2147483647 w 428"/>
                <a:gd name="T113" fmla="*/ 0 h 405"/>
                <a:gd name="T114" fmla="*/ 2147483647 w 428"/>
                <a:gd name="T115" fmla="*/ 0 h 405"/>
                <a:gd name="T116" fmla="*/ 2147483647 w 428"/>
                <a:gd name="T117" fmla="*/ 0 h 405"/>
                <a:gd name="T118" fmla="*/ 2147483647 w 428"/>
                <a:gd name="T119" fmla="*/ 0 h 405"/>
                <a:gd name="T120" fmla="*/ 2147483647 w 428"/>
                <a:gd name="T121" fmla="*/ 0 h 405"/>
                <a:gd name="T122" fmla="*/ 2147483647 w 428"/>
                <a:gd name="T123" fmla="*/ 0 h 4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428"/>
                <a:gd name="T187" fmla="*/ 0 h 405"/>
                <a:gd name="T188" fmla="*/ 428 w 428"/>
                <a:gd name="T189" fmla="*/ 405 h 40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428" h="405">
                  <a:moveTo>
                    <a:pt x="190" y="54"/>
                  </a:moveTo>
                  <a:lnTo>
                    <a:pt x="202" y="60"/>
                  </a:lnTo>
                  <a:lnTo>
                    <a:pt x="202" y="64"/>
                  </a:lnTo>
                  <a:lnTo>
                    <a:pt x="198" y="66"/>
                  </a:lnTo>
                  <a:lnTo>
                    <a:pt x="195" y="70"/>
                  </a:lnTo>
                  <a:lnTo>
                    <a:pt x="193" y="70"/>
                  </a:lnTo>
                  <a:lnTo>
                    <a:pt x="184" y="66"/>
                  </a:lnTo>
                  <a:lnTo>
                    <a:pt x="179" y="66"/>
                  </a:lnTo>
                  <a:lnTo>
                    <a:pt x="177" y="67"/>
                  </a:lnTo>
                  <a:lnTo>
                    <a:pt x="175" y="71"/>
                  </a:lnTo>
                  <a:lnTo>
                    <a:pt x="172" y="72"/>
                  </a:lnTo>
                  <a:lnTo>
                    <a:pt x="169" y="70"/>
                  </a:lnTo>
                  <a:lnTo>
                    <a:pt x="167" y="70"/>
                  </a:lnTo>
                  <a:lnTo>
                    <a:pt x="164" y="72"/>
                  </a:lnTo>
                  <a:lnTo>
                    <a:pt x="159" y="75"/>
                  </a:lnTo>
                  <a:lnTo>
                    <a:pt x="156" y="78"/>
                  </a:lnTo>
                  <a:lnTo>
                    <a:pt x="155" y="81"/>
                  </a:lnTo>
                  <a:lnTo>
                    <a:pt x="156" y="83"/>
                  </a:lnTo>
                  <a:lnTo>
                    <a:pt x="155" y="84"/>
                  </a:lnTo>
                  <a:lnTo>
                    <a:pt x="153" y="86"/>
                  </a:lnTo>
                  <a:lnTo>
                    <a:pt x="151" y="83"/>
                  </a:lnTo>
                  <a:lnTo>
                    <a:pt x="143" y="87"/>
                  </a:lnTo>
                  <a:lnTo>
                    <a:pt x="140" y="91"/>
                  </a:lnTo>
                  <a:lnTo>
                    <a:pt x="140" y="93"/>
                  </a:lnTo>
                  <a:lnTo>
                    <a:pt x="135" y="96"/>
                  </a:lnTo>
                  <a:lnTo>
                    <a:pt x="130" y="100"/>
                  </a:lnTo>
                  <a:lnTo>
                    <a:pt x="126" y="107"/>
                  </a:lnTo>
                  <a:lnTo>
                    <a:pt x="121" y="110"/>
                  </a:lnTo>
                  <a:lnTo>
                    <a:pt x="121" y="113"/>
                  </a:lnTo>
                  <a:lnTo>
                    <a:pt x="115" y="115"/>
                  </a:lnTo>
                  <a:lnTo>
                    <a:pt x="110" y="123"/>
                  </a:lnTo>
                  <a:lnTo>
                    <a:pt x="103" y="129"/>
                  </a:lnTo>
                  <a:lnTo>
                    <a:pt x="98" y="127"/>
                  </a:lnTo>
                  <a:lnTo>
                    <a:pt x="92" y="135"/>
                  </a:lnTo>
                  <a:lnTo>
                    <a:pt x="87" y="135"/>
                  </a:lnTo>
                  <a:lnTo>
                    <a:pt x="80" y="138"/>
                  </a:lnTo>
                  <a:lnTo>
                    <a:pt x="75" y="137"/>
                  </a:lnTo>
                  <a:lnTo>
                    <a:pt x="73" y="132"/>
                  </a:lnTo>
                  <a:lnTo>
                    <a:pt x="69" y="130"/>
                  </a:lnTo>
                  <a:lnTo>
                    <a:pt x="61" y="131"/>
                  </a:lnTo>
                  <a:lnTo>
                    <a:pt x="56" y="130"/>
                  </a:lnTo>
                  <a:lnTo>
                    <a:pt x="39" y="132"/>
                  </a:lnTo>
                  <a:lnTo>
                    <a:pt x="26" y="127"/>
                  </a:lnTo>
                  <a:lnTo>
                    <a:pt x="7" y="129"/>
                  </a:lnTo>
                  <a:lnTo>
                    <a:pt x="2" y="129"/>
                  </a:lnTo>
                  <a:lnTo>
                    <a:pt x="0" y="125"/>
                  </a:lnTo>
                  <a:lnTo>
                    <a:pt x="0" y="134"/>
                  </a:lnTo>
                  <a:lnTo>
                    <a:pt x="3" y="140"/>
                  </a:lnTo>
                  <a:lnTo>
                    <a:pt x="16" y="162"/>
                  </a:lnTo>
                  <a:lnTo>
                    <a:pt x="27" y="172"/>
                  </a:lnTo>
                  <a:lnTo>
                    <a:pt x="28" y="183"/>
                  </a:lnTo>
                  <a:lnTo>
                    <a:pt x="35" y="197"/>
                  </a:lnTo>
                  <a:lnTo>
                    <a:pt x="48" y="216"/>
                  </a:lnTo>
                  <a:lnTo>
                    <a:pt x="77" y="247"/>
                  </a:lnTo>
                  <a:lnTo>
                    <a:pt x="94" y="250"/>
                  </a:lnTo>
                  <a:lnTo>
                    <a:pt x="107" y="260"/>
                  </a:lnTo>
                  <a:lnTo>
                    <a:pt x="116" y="274"/>
                  </a:lnTo>
                  <a:lnTo>
                    <a:pt x="129" y="279"/>
                  </a:lnTo>
                  <a:lnTo>
                    <a:pt x="140" y="287"/>
                  </a:lnTo>
                  <a:lnTo>
                    <a:pt x="140" y="308"/>
                  </a:lnTo>
                  <a:lnTo>
                    <a:pt x="143" y="328"/>
                  </a:lnTo>
                  <a:lnTo>
                    <a:pt x="150" y="341"/>
                  </a:lnTo>
                  <a:lnTo>
                    <a:pt x="158" y="350"/>
                  </a:lnTo>
                  <a:lnTo>
                    <a:pt x="167" y="355"/>
                  </a:lnTo>
                  <a:lnTo>
                    <a:pt x="180" y="357"/>
                  </a:lnTo>
                  <a:lnTo>
                    <a:pt x="193" y="357"/>
                  </a:lnTo>
                  <a:lnTo>
                    <a:pt x="206" y="363"/>
                  </a:lnTo>
                  <a:lnTo>
                    <a:pt x="216" y="367"/>
                  </a:lnTo>
                  <a:lnTo>
                    <a:pt x="227" y="376"/>
                  </a:lnTo>
                  <a:lnTo>
                    <a:pt x="239" y="371"/>
                  </a:lnTo>
                  <a:lnTo>
                    <a:pt x="248" y="373"/>
                  </a:lnTo>
                  <a:lnTo>
                    <a:pt x="271" y="380"/>
                  </a:lnTo>
                  <a:lnTo>
                    <a:pt x="283" y="383"/>
                  </a:lnTo>
                  <a:lnTo>
                    <a:pt x="296" y="380"/>
                  </a:lnTo>
                  <a:lnTo>
                    <a:pt x="308" y="382"/>
                  </a:lnTo>
                  <a:lnTo>
                    <a:pt x="329" y="388"/>
                  </a:lnTo>
                  <a:lnTo>
                    <a:pt x="344" y="403"/>
                  </a:lnTo>
                  <a:lnTo>
                    <a:pt x="349" y="404"/>
                  </a:lnTo>
                  <a:lnTo>
                    <a:pt x="350" y="405"/>
                  </a:lnTo>
                  <a:lnTo>
                    <a:pt x="351" y="404"/>
                  </a:lnTo>
                  <a:lnTo>
                    <a:pt x="351" y="389"/>
                  </a:lnTo>
                  <a:lnTo>
                    <a:pt x="355" y="377"/>
                  </a:lnTo>
                  <a:lnTo>
                    <a:pt x="361" y="367"/>
                  </a:lnTo>
                  <a:lnTo>
                    <a:pt x="372" y="360"/>
                  </a:lnTo>
                  <a:lnTo>
                    <a:pt x="379" y="352"/>
                  </a:lnTo>
                  <a:lnTo>
                    <a:pt x="398" y="318"/>
                  </a:lnTo>
                  <a:lnTo>
                    <a:pt x="405" y="287"/>
                  </a:lnTo>
                  <a:lnTo>
                    <a:pt x="422" y="251"/>
                  </a:lnTo>
                  <a:lnTo>
                    <a:pt x="419" y="224"/>
                  </a:lnTo>
                  <a:lnTo>
                    <a:pt x="414" y="211"/>
                  </a:lnTo>
                  <a:lnTo>
                    <a:pt x="412" y="194"/>
                  </a:lnTo>
                  <a:lnTo>
                    <a:pt x="422" y="175"/>
                  </a:lnTo>
                  <a:lnTo>
                    <a:pt x="424" y="167"/>
                  </a:lnTo>
                  <a:lnTo>
                    <a:pt x="428" y="151"/>
                  </a:lnTo>
                  <a:lnTo>
                    <a:pt x="427" y="140"/>
                  </a:lnTo>
                  <a:lnTo>
                    <a:pt x="428" y="105"/>
                  </a:lnTo>
                  <a:lnTo>
                    <a:pt x="424" y="83"/>
                  </a:lnTo>
                  <a:lnTo>
                    <a:pt x="420" y="73"/>
                  </a:lnTo>
                  <a:lnTo>
                    <a:pt x="419" y="60"/>
                  </a:lnTo>
                  <a:lnTo>
                    <a:pt x="410" y="50"/>
                  </a:lnTo>
                  <a:lnTo>
                    <a:pt x="379" y="39"/>
                  </a:lnTo>
                  <a:lnTo>
                    <a:pt x="351" y="27"/>
                  </a:lnTo>
                  <a:lnTo>
                    <a:pt x="336" y="23"/>
                  </a:lnTo>
                  <a:lnTo>
                    <a:pt x="322" y="19"/>
                  </a:lnTo>
                  <a:lnTo>
                    <a:pt x="299" y="21"/>
                  </a:lnTo>
                  <a:lnTo>
                    <a:pt x="281" y="19"/>
                  </a:lnTo>
                  <a:lnTo>
                    <a:pt x="281" y="0"/>
                  </a:lnTo>
                  <a:lnTo>
                    <a:pt x="280" y="2"/>
                  </a:lnTo>
                  <a:lnTo>
                    <a:pt x="272" y="1"/>
                  </a:lnTo>
                  <a:lnTo>
                    <a:pt x="264" y="3"/>
                  </a:lnTo>
                  <a:lnTo>
                    <a:pt x="258" y="2"/>
                  </a:lnTo>
                  <a:lnTo>
                    <a:pt x="252" y="0"/>
                  </a:lnTo>
                  <a:lnTo>
                    <a:pt x="248" y="0"/>
                  </a:lnTo>
                  <a:lnTo>
                    <a:pt x="236" y="6"/>
                  </a:lnTo>
                  <a:lnTo>
                    <a:pt x="220" y="7"/>
                  </a:lnTo>
                  <a:lnTo>
                    <a:pt x="213" y="11"/>
                  </a:lnTo>
                  <a:lnTo>
                    <a:pt x="206" y="18"/>
                  </a:lnTo>
                  <a:lnTo>
                    <a:pt x="200" y="18"/>
                  </a:lnTo>
                  <a:lnTo>
                    <a:pt x="194" y="21"/>
                  </a:lnTo>
                  <a:lnTo>
                    <a:pt x="193" y="28"/>
                  </a:lnTo>
                  <a:lnTo>
                    <a:pt x="193" y="37"/>
                  </a:lnTo>
                  <a:lnTo>
                    <a:pt x="194" y="41"/>
                  </a:lnTo>
                  <a:lnTo>
                    <a:pt x="193" y="45"/>
                  </a:lnTo>
                  <a:lnTo>
                    <a:pt x="191" y="50"/>
                  </a:lnTo>
                  <a:lnTo>
                    <a:pt x="190" y="5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2140B490-0D0C-9CBC-06A8-3FD686BAD3E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110442" y="4871424"/>
              <a:ext cx="392485" cy="411539"/>
            </a:xfrm>
            <a:custGeom>
              <a:avLst/>
              <a:gdLst>
                <a:gd name="T0" fmla="*/ 2147483647 w 734"/>
                <a:gd name="T1" fmla="*/ 0 h 722"/>
                <a:gd name="T2" fmla="*/ 2147483647 w 734"/>
                <a:gd name="T3" fmla="*/ 0 h 722"/>
                <a:gd name="T4" fmla="*/ 2147483647 w 734"/>
                <a:gd name="T5" fmla="*/ 0 h 722"/>
                <a:gd name="T6" fmla="*/ 2147483647 w 734"/>
                <a:gd name="T7" fmla="*/ 0 h 722"/>
                <a:gd name="T8" fmla="*/ 0 w 734"/>
                <a:gd name="T9" fmla="*/ 0 h 722"/>
                <a:gd name="T10" fmla="*/ 0 w 734"/>
                <a:gd name="T11" fmla="*/ 0 h 722"/>
                <a:gd name="T12" fmla="*/ 0 w 734"/>
                <a:gd name="T13" fmla="*/ 0 h 722"/>
                <a:gd name="T14" fmla="*/ 0 w 734"/>
                <a:gd name="T15" fmla="*/ 2147483647 h 722"/>
                <a:gd name="T16" fmla="*/ 0 w 734"/>
                <a:gd name="T17" fmla="*/ 2147483647 h 722"/>
                <a:gd name="T18" fmla="*/ 0 w 734"/>
                <a:gd name="T19" fmla="*/ 2147483647 h 722"/>
                <a:gd name="T20" fmla="*/ 2147483647 w 734"/>
                <a:gd name="T21" fmla="*/ 2147483647 h 722"/>
                <a:gd name="T22" fmla="*/ 2147483647 w 734"/>
                <a:gd name="T23" fmla="*/ 2147483647 h 722"/>
                <a:gd name="T24" fmla="*/ 2147483647 w 734"/>
                <a:gd name="T25" fmla="*/ 2147483647 h 722"/>
                <a:gd name="T26" fmla="*/ 2147483647 w 734"/>
                <a:gd name="T27" fmla="*/ 2147483647 h 722"/>
                <a:gd name="T28" fmla="*/ 2147483647 w 734"/>
                <a:gd name="T29" fmla="*/ 2147483647 h 722"/>
                <a:gd name="T30" fmla="*/ 2147483647 w 734"/>
                <a:gd name="T31" fmla="*/ 2147483647 h 722"/>
                <a:gd name="T32" fmla="*/ 2147483647 w 734"/>
                <a:gd name="T33" fmla="*/ 2147483647 h 722"/>
                <a:gd name="T34" fmla="*/ 2147483647 w 734"/>
                <a:gd name="T35" fmla="*/ 2147483647 h 722"/>
                <a:gd name="T36" fmla="*/ 2147483647 w 734"/>
                <a:gd name="T37" fmla="*/ 2147483647 h 722"/>
                <a:gd name="T38" fmla="*/ 2147483647 w 734"/>
                <a:gd name="T39" fmla="*/ 2147483647 h 722"/>
                <a:gd name="T40" fmla="*/ 2147483647 w 734"/>
                <a:gd name="T41" fmla="*/ 2147483647 h 722"/>
                <a:gd name="T42" fmla="*/ 2147483647 w 734"/>
                <a:gd name="T43" fmla="*/ 2147483647 h 722"/>
                <a:gd name="T44" fmla="*/ 2147483647 w 734"/>
                <a:gd name="T45" fmla="*/ 2147483647 h 722"/>
                <a:gd name="T46" fmla="*/ 2147483647 w 734"/>
                <a:gd name="T47" fmla="*/ 2147483647 h 722"/>
                <a:gd name="T48" fmla="*/ 2147483647 w 734"/>
                <a:gd name="T49" fmla="*/ 2147483647 h 722"/>
                <a:gd name="T50" fmla="*/ 2147483647 w 734"/>
                <a:gd name="T51" fmla="*/ 2147483647 h 722"/>
                <a:gd name="T52" fmla="*/ 2147483647 w 734"/>
                <a:gd name="T53" fmla="*/ 2147483647 h 722"/>
                <a:gd name="T54" fmla="*/ 2147483647 w 734"/>
                <a:gd name="T55" fmla="*/ 2147483647 h 722"/>
                <a:gd name="T56" fmla="*/ 2147483647 w 734"/>
                <a:gd name="T57" fmla="*/ 2147483647 h 722"/>
                <a:gd name="T58" fmla="*/ 2147483647 w 734"/>
                <a:gd name="T59" fmla="*/ 2147483647 h 722"/>
                <a:gd name="T60" fmla="*/ 2147483647 w 734"/>
                <a:gd name="T61" fmla="*/ 2147483647 h 722"/>
                <a:gd name="T62" fmla="*/ 2147483647 w 734"/>
                <a:gd name="T63" fmla="*/ 2147483647 h 722"/>
                <a:gd name="T64" fmla="*/ 2147483647 w 734"/>
                <a:gd name="T65" fmla="*/ 2147483647 h 722"/>
                <a:gd name="T66" fmla="*/ 2147483647 w 734"/>
                <a:gd name="T67" fmla="*/ 2147483647 h 722"/>
                <a:gd name="T68" fmla="*/ 2147483647 w 734"/>
                <a:gd name="T69" fmla="*/ 0 h 722"/>
                <a:gd name="T70" fmla="*/ 2147483647 w 734"/>
                <a:gd name="T71" fmla="*/ 2147483647 h 722"/>
                <a:gd name="T72" fmla="*/ 2147483647 w 734"/>
                <a:gd name="T73" fmla="*/ 2147483647 h 722"/>
                <a:gd name="T74" fmla="*/ 2147483647 w 734"/>
                <a:gd name="T75" fmla="*/ 0 h 722"/>
                <a:gd name="T76" fmla="*/ 2147483647 w 734"/>
                <a:gd name="T77" fmla="*/ 0 h 722"/>
                <a:gd name="T78" fmla="*/ 2147483647 w 734"/>
                <a:gd name="T79" fmla="*/ 0 h 722"/>
                <a:gd name="T80" fmla="*/ 2147483647 w 734"/>
                <a:gd name="T81" fmla="*/ 0 h 722"/>
                <a:gd name="T82" fmla="*/ 2147483647 w 734"/>
                <a:gd name="T83" fmla="*/ 0 h 722"/>
                <a:gd name="T84" fmla="*/ 2147483647 w 734"/>
                <a:gd name="T85" fmla="*/ 0 h 722"/>
                <a:gd name="T86" fmla="*/ 2147483647 w 734"/>
                <a:gd name="T87" fmla="*/ 0 h 722"/>
                <a:gd name="T88" fmla="*/ 2147483647 w 734"/>
                <a:gd name="T89" fmla="*/ 0 h 722"/>
                <a:gd name="T90" fmla="*/ 2147483647 w 734"/>
                <a:gd name="T91" fmla="*/ 0 h 72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34"/>
                <a:gd name="T139" fmla="*/ 0 h 722"/>
                <a:gd name="T140" fmla="*/ 734 w 734"/>
                <a:gd name="T141" fmla="*/ 722 h 72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34" h="722">
                  <a:moveTo>
                    <a:pt x="346" y="26"/>
                  </a:moveTo>
                  <a:lnTo>
                    <a:pt x="299" y="26"/>
                  </a:lnTo>
                  <a:lnTo>
                    <a:pt x="252" y="26"/>
                  </a:lnTo>
                  <a:lnTo>
                    <a:pt x="198" y="26"/>
                  </a:lnTo>
                  <a:lnTo>
                    <a:pt x="148" y="26"/>
                  </a:lnTo>
                  <a:lnTo>
                    <a:pt x="130" y="26"/>
                  </a:lnTo>
                  <a:lnTo>
                    <a:pt x="123" y="28"/>
                  </a:lnTo>
                  <a:lnTo>
                    <a:pt x="109" y="15"/>
                  </a:lnTo>
                  <a:lnTo>
                    <a:pt x="96" y="10"/>
                  </a:lnTo>
                  <a:lnTo>
                    <a:pt x="91" y="1"/>
                  </a:lnTo>
                  <a:lnTo>
                    <a:pt x="81" y="0"/>
                  </a:lnTo>
                  <a:lnTo>
                    <a:pt x="59" y="0"/>
                  </a:lnTo>
                  <a:lnTo>
                    <a:pt x="49" y="4"/>
                  </a:lnTo>
                  <a:lnTo>
                    <a:pt x="39" y="14"/>
                  </a:lnTo>
                  <a:lnTo>
                    <a:pt x="33" y="17"/>
                  </a:lnTo>
                  <a:lnTo>
                    <a:pt x="23" y="11"/>
                  </a:lnTo>
                  <a:lnTo>
                    <a:pt x="12" y="20"/>
                  </a:lnTo>
                  <a:lnTo>
                    <a:pt x="1" y="26"/>
                  </a:lnTo>
                  <a:lnTo>
                    <a:pt x="0" y="49"/>
                  </a:lnTo>
                  <a:lnTo>
                    <a:pt x="0" y="55"/>
                  </a:lnTo>
                  <a:lnTo>
                    <a:pt x="3" y="64"/>
                  </a:lnTo>
                  <a:lnTo>
                    <a:pt x="3" y="74"/>
                  </a:lnTo>
                  <a:lnTo>
                    <a:pt x="12" y="92"/>
                  </a:lnTo>
                  <a:lnTo>
                    <a:pt x="17" y="100"/>
                  </a:lnTo>
                  <a:lnTo>
                    <a:pt x="19" y="102"/>
                  </a:lnTo>
                  <a:lnTo>
                    <a:pt x="28" y="108"/>
                  </a:lnTo>
                  <a:lnTo>
                    <a:pt x="34" y="117"/>
                  </a:lnTo>
                  <a:lnTo>
                    <a:pt x="38" y="127"/>
                  </a:lnTo>
                  <a:lnTo>
                    <a:pt x="44" y="134"/>
                  </a:lnTo>
                  <a:lnTo>
                    <a:pt x="46" y="139"/>
                  </a:lnTo>
                  <a:lnTo>
                    <a:pt x="55" y="150"/>
                  </a:lnTo>
                  <a:lnTo>
                    <a:pt x="56" y="157"/>
                  </a:lnTo>
                  <a:lnTo>
                    <a:pt x="62" y="168"/>
                  </a:lnTo>
                  <a:lnTo>
                    <a:pt x="65" y="176"/>
                  </a:lnTo>
                  <a:lnTo>
                    <a:pt x="81" y="202"/>
                  </a:lnTo>
                  <a:lnTo>
                    <a:pt x="82" y="209"/>
                  </a:lnTo>
                  <a:lnTo>
                    <a:pt x="86" y="215"/>
                  </a:lnTo>
                  <a:lnTo>
                    <a:pt x="88" y="224"/>
                  </a:lnTo>
                  <a:lnTo>
                    <a:pt x="96" y="238"/>
                  </a:lnTo>
                  <a:lnTo>
                    <a:pt x="110" y="263"/>
                  </a:lnTo>
                  <a:lnTo>
                    <a:pt x="116" y="273"/>
                  </a:lnTo>
                  <a:lnTo>
                    <a:pt x="118" y="278"/>
                  </a:lnTo>
                  <a:lnTo>
                    <a:pt x="121" y="288"/>
                  </a:lnTo>
                  <a:lnTo>
                    <a:pt x="141" y="312"/>
                  </a:lnTo>
                  <a:lnTo>
                    <a:pt x="150" y="331"/>
                  </a:lnTo>
                  <a:lnTo>
                    <a:pt x="151" y="334"/>
                  </a:lnTo>
                  <a:lnTo>
                    <a:pt x="152" y="350"/>
                  </a:lnTo>
                  <a:lnTo>
                    <a:pt x="151" y="369"/>
                  </a:lnTo>
                  <a:lnTo>
                    <a:pt x="152" y="406"/>
                  </a:lnTo>
                  <a:lnTo>
                    <a:pt x="151" y="424"/>
                  </a:lnTo>
                  <a:lnTo>
                    <a:pt x="153" y="435"/>
                  </a:lnTo>
                  <a:lnTo>
                    <a:pt x="157" y="445"/>
                  </a:lnTo>
                  <a:lnTo>
                    <a:pt x="162" y="458"/>
                  </a:lnTo>
                  <a:lnTo>
                    <a:pt x="172" y="477"/>
                  </a:lnTo>
                  <a:lnTo>
                    <a:pt x="173" y="484"/>
                  </a:lnTo>
                  <a:lnTo>
                    <a:pt x="171" y="498"/>
                  </a:lnTo>
                  <a:lnTo>
                    <a:pt x="172" y="521"/>
                  </a:lnTo>
                  <a:lnTo>
                    <a:pt x="174" y="531"/>
                  </a:lnTo>
                  <a:lnTo>
                    <a:pt x="182" y="546"/>
                  </a:lnTo>
                  <a:lnTo>
                    <a:pt x="179" y="555"/>
                  </a:lnTo>
                  <a:lnTo>
                    <a:pt x="182" y="559"/>
                  </a:lnTo>
                  <a:lnTo>
                    <a:pt x="185" y="569"/>
                  </a:lnTo>
                  <a:lnTo>
                    <a:pt x="188" y="589"/>
                  </a:lnTo>
                  <a:lnTo>
                    <a:pt x="191" y="600"/>
                  </a:lnTo>
                  <a:lnTo>
                    <a:pt x="194" y="622"/>
                  </a:lnTo>
                  <a:lnTo>
                    <a:pt x="214" y="646"/>
                  </a:lnTo>
                  <a:lnTo>
                    <a:pt x="222" y="665"/>
                  </a:lnTo>
                  <a:lnTo>
                    <a:pt x="233" y="676"/>
                  </a:lnTo>
                  <a:lnTo>
                    <a:pt x="243" y="683"/>
                  </a:lnTo>
                  <a:lnTo>
                    <a:pt x="256" y="698"/>
                  </a:lnTo>
                  <a:lnTo>
                    <a:pt x="261" y="698"/>
                  </a:lnTo>
                  <a:lnTo>
                    <a:pt x="264" y="700"/>
                  </a:lnTo>
                  <a:lnTo>
                    <a:pt x="269" y="699"/>
                  </a:lnTo>
                  <a:lnTo>
                    <a:pt x="272" y="697"/>
                  </a:lnTo>
                  <a:lnTo>
                    <a:pt x="279" y="689"/>
                  </a:lnTo>
                  <a:lnTo>
                    <a:pt x="285" y="678"/>
                  </a:lnTo>
                  <a:lnTo>
                    <a:pt x="297" y="677"/>
                  </a:lnTo>
                  <a:lnTo>
                    <a:pt x="323" y="695"/>
                  </a:lnTo>
                  <a:lnTo>
                    <a:pt x="323" y="708"/>
                  </a:lnTo>
                  <a:lnTo>
                    <a:pt x="334" y="720"/>
                  </a:lnTo>
                  <a:lnTo>
                    <a:pt x="350" y="722"/>
                  </a:lnTo>
                  <a:lnTo>
                    <a:pt x="365" y="717"/>
                  </a:lnTo>
                  <a:lnTo>
                    <a:pt x="384" y="717"/>
                  </a:lnTo>
                  <a:lnTo>
                    <a:pt x="393" y="720"/>
                  </a:lnTo>
                  <a:lnTo>
                    <a:pt x="405" y="720"/>
                  </a:lnTo>
                  <a:lnTo>
                    <a:pt x="421" y="705"/>
                  </a:lnTo>
                  <a:lnTo>
                    <a:pt x="435" y="695"/>
                  </a:lnTo>
                  <a:lnTo>
                    <a:pt x="446" y="693"/>
                  </a:lnTo>
                  <a:lnTo>
                    <a:pt x="452" y="689"/>
                  </a:lnTo>
                  <a:lnTo>
                    <a:pt x="452" y="633"/>
                  </a:lnTo>
                  <a:lnTo>
                    <a:pt x="452" y="574"/>
                  </a:lnTo>
                  <a:lnTo>
                    <a:pt x="452" y="515"/>
                  </a:lnTo>
                  <a:lnTo>
                    <a:pt x="452" y="460"/>
                  </a:lnTo>
                  <a:lnTo>
                    <a:pt x="452" y="407"/>
                  </a:lnTo>
                  <a:lnTo>
                    <a:pt x="452" y="349"/>
                  </a:lnTo>
                  <a:lnTo>
                    <a:pt x="452" y="295"/>
                  </a:lnTo>
                  <a:lnTo>
                    <a:pt x="507" y="295"/>
                  </a:lnTo>
                  <a:lnTo>
                    <a:pt x="507" y="257"/>
                  </a:lnTo>
                  <a:lnTo>
                    <a:pt x="507" y="200"/>
                  </a:lnTo>
                  <a:lnTo>
                    <a:pt x="507" y="144"/>
                  </a:lnTo>
                  <a:lnTo>
                    <a:pt x="507" y="91"/>
                  </a:lnTo>
                  <a:lnTo>
                    <a:pt x="512" y="86"/>
                  </a:lnTo>
                  <a:lnTo>
                    <a:pt x="592" y="71"/>
                  </a:lnTo>
                  <a:lnTo>
                    <a:pt x="609" y="68"/>
                  </a:lnTo>
                  <a:lnTo>
                    <a:pt x="615" y="68"/>
                  </a:lnTo>
                  <a:lnTo>
                    <a:pt x="632" y="69"/>
                  </a:lnTo>
                  <a:lnTo>
                    <a:pt x="643" y="73"/>
                  </a:lnTo>
                  <a:lnTo>
                    <a:pt x="650" y="85"/>
                  </a:lnTo>
                  <a:lnTo>
                    <a:pt x="653" y="100"/>
                  </a:lnTo>
                  <a:lnTo>
                    <a:pt x="659" y="92"/>
                  </a:lnTo>
                  <a:lnTo>
                    <a:pt x="668" y="81"/>
                  </a:lnTo>
                  <a:lnTo>
                    <a:pt x="684" y="69"/>
                  </a:lnTo>
                  <a:lnTo>
                    <a:pt x="711" y="63"/>
                  </a:lnTo>
                  <a:lnTo>
                    <a:pt x="716" y="57"/>
                  </a:lnTo>
                  <a:lnTo>
                    <a:pt x="723" y="52"/>
                  </a:lnTo>
                  <a:lnTo>
                    <a:pt x="734" y="51"/>
                  </a:lnTo>
                  <a:lnTo>
                    <a:pt x="727" y="38"/>
                  </a:lnTo>
                  <a:lnTo>
                    <a:pt x="723" y="35"/>
                  </a:lnTo>
                  <a:lnTo>
                    <a:pt x="709" y="32"/>
                  </a:lnTo>
                  <a:lnTo>
                    <a:pt x="688" y="32"/>
                  </a:lnTo>
                  <a:lnTo>
                    <a:pt x="685" y="28"/>
                  </a:lnTo>
                  <a:lnTo>
                    <a:pt x="642" y="39"/>
                  </a:lnTo>
                  <a:lnTo>
                    <a:pt x="635" y="41"/>
                  </a:lnTo>
                  <a:lnTo>
                    <a:pt x="632" y="43"/>
                  </a:lnTo>
                  <a:lnTo>
                    <a:pt x="621" y="46"/>
                  </a:lnTo>
                  <a:lnTo>
                    <a:pt x="546" y="65"/>
                  </a:lnTo>
                  <a:lnTo>
                    <a:pt x="538" y="66"/>
                  </a:lnTo>
                  <a:lnTo>
                    <a:pt x="534" y="64"/>
                  </a:lnTo>
                  <a:lnTo>
                    <a:pt x="522" y="63"/>
                  </a:lnTo>
                  <a:lnTo>
                    <a:pt x="510" y="59"/>
                  </a:lnTo>
                  <a:lnTo>
                    <a:pt x="494" y="58"/>
                  </a:lnTo>
                  <a:lnTo>
                    <a:pt x="460" y="51"/>
                  </a:lnTo>
                  <a:lnTo>
                    <a:pt x="433" y="51"/>
                  </a:lnTo>
                  <a:lnTo>
                    <a:pt x="414" y="53"/>
                  </a:lnTo>
                  <a:lnTo>
                    <a:pt x="405" y="53"/>
                  </a:lnTo>
                  <a:lnTo>
                    <a:pt x="388" y="47"/>
                  </a:lnTo>
                  <a:lnTo>
                    <a:pt x="382" y="37"/>
                  </a:lnTo>
                  <a:lnTo>
                    <a:pt x="366" y="26"/>
                  </a:lnTo>
                  <a:lnTo>
                    <a:pt x="346" y="2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0" name="Freeform 3">
              <a:extLst>
                <a:ext uri="{FF2B5EF4-FFF2-40B4-BE49-F238E27FC236}">
                  <a16:creationId xmlns:a16="http://schemas.microsoft.com/office/drawing/2014/main" id="{9E0973C6-B4F3-A15D-08BB-8F242ED1990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677663" y="3991950"/>
              <a:ext cx="131326" cy="205770"/>
            </a:xfrm>
            <a:custGeom>
              <a:avLst/>
              <a:gdLst>
                <a:gd name="T0" fmla="*/ 2147483647 w 242"/>
                <a:gd name="T1" fmla="*/ 2147483647 h 356"/>
                <a:gd name="T2" fmla="*/ 2147483647 w 242"/>
                <a:gd name="T3" fmla="*/ 2147483647 h 356"/>
                <a:gd name="T4" fmla="*/ 2147483647 w 242"/>
                <a:gd name="T5" fmla="*/ 2147483647 h 356"/>
                <a:gd name="T6" fmla="*/ 2147483647 w 242"/>
                <a:gd name="T7" fmla="*/ 2147483647 h 356"/>
                <a:gd name="T8" fmla="*/ 2147483647 w 242"/>
                <a:gd name="T9" fmla="*/ 2147483647 h 356"/>
                <a:gd name="T10" fmla="*/ 2147483647 w 242"/>
                <a:gd name="T11" fmla="*/ 2147483647 h 356"/>
                <a:gd name="T12" fmla="*/ 2147483647 w 242"/>
                <a:gd name="T13" fmla="*/ 0 h 356"/>
                <a:gd name="T14" fmla="*/ 2147483647 w 242"/>
                <a:gd name="T15" fmla="*/ 0 h 356"/>
                <a:gd name="T16" fmla="*/ 2147483647 w 242"/>
                <a:gd name="T17" fmla="*/ 0 h 356"/>
                <a:gd name="T18" fmla="*/ 2147483647 w 242"/>
                <a:gd name="T19" fmla="*/ 0 h 356"/>
                <a:gd name="T20" fmla="*/ 2147483647 w 242"/>
                <a:gd name="T21" fmla="*/ 0 h 356"/>
                <a:gd name="T22" fmla="*/ 2147483647 w 242"/>
                <a:gd name="T23" fmla="*/ 0 h 356"/>
                <a:gd name="T24" fmla="*/ 2147483647 w 242"/>
                <a:gd name="T25" fmla="*/ 0 h 356"/>
                <a:gd name="T26" fmla="*/ 2147483647 w 242"/>
                <a:gd name="T27" fmla="*/ 0 h 356"/>
                <a:gd name="T28" fmla="*/ 2147483647 w 242"/>
                <a:gd name="T29" fmla="*/ 0 h 356"/>
                <a:gd name="T30" fmla="*/ 2147483647 w 242"/>
                <a:gd name="T31" fmla="*/ 0 h 356"/>
                <a:gd name="T32" fmla="*/ 2147483647 w 242"/>
                <a:gd name="T33" fmla="*/ 0 h 356"/>
                <a:gd name="T34" fmla="*/ 0 w 242"/>
                <a:gd name="T35" fmla="*/ 0 h 356"/>
                <a:gd name="T36" fmla="*/ 0 w 242"/>
                <a:gd name="T37" fmla="*/ 0 h 356"/>
                <a:gd name="T38" fmla="*/ 0 w 242"/>
                <a:gd name="T39" fmla="*/ 0 h 356"/>
                <a:gd name="T40" fmla="*/ 0 w 242"/>
                <a:gd name="T41" fmla="*/ 0 h 356"/>
                <a:gd name="T42" fmla="*/ 0 w 242"/>
                <a:gd name="T43" fmla="*/ 0 h 356"/>
                <a:gd name="T44" fmla="*/ 0 w 242"/>
                <a:gd name="T45" fmla="*/ 2147483647 h 356"/>
                <a:gd name="T46" fmla="*/ 0 w 242"/>
                <a:gd name="T47" fmla="*/ 2147483647 h 356"/>
                <a:gd name="T48" fmla="*/ 0 w 242"/>
                <a:gd name="T49" fmla="*/ 2147483647 h 356"/>
                <a:gd name="T50" fmla="*/ 0 w 242"/>
                <a:gd name="T51" fmla="*/ 2147483647 h 356"/>
                <a:gd name="T52" fmla="*/ 0 w 242"/>
                <a:gd name="T53" fmla="*/ 2147483647 h 356"/>
                <a:gd name="T54" fmla="*/ 0 w 242"/>
                <a:gd name="T55" fmla="*/ 2147483647 h 356"/>
                <a:gd name="T56" fmla="*/ 0 w 242"/>
                <a:gd name="T57" fmla="*/ 2147483647 h 356"/>
                <a:gd name="T58" fmla="*/ 0 w 242"/>
                <a:gd name="T59" fmla="*/ 2147483647 h 356"/>
                <a:gd name="T60" fmla="*/ 0 w 242"/>
                <a:gd name="T61" fmla="*/ 2147483647 h 356"/>
                <a:gd name="T62" fmla="*/ 0 w 242"/>
                <a:gd name="T63" fmla="*/ 2147483647 h 356"/>
                <a:gd name="T64" fmla="*/ 0 w 242"/>
                <a:gd name="T65" fmla="*/ 2147483647 h 356"/>
                <a:gd name="T66" fmla="*/ 0 w 242"/>
                <a:gd name="T67" fmla="*/ 2147483647 h 356"/>
                <a:gd name="T68" fmla="*/ 0 w 242"/>
                <a:gd name="T69" fmla="*/ 2147483647 h 356"/>
                <a:gd name="T70" fmla="*/ 0 w 242"/>
                <a:gd name="T71" fmla="*/ 2147483647 h 356"/>
                <a:gd name="T72" fmla="*/ 0 w 242"/>
                <a:gd name="T73" fmla="*/ 2147483647 h 356"/>
                <a:gd name="T74" fmla="*/ 0 w 242"/>
                <a:gd name="T75" fmla="*/ 2147483647 h 356"/>
                <a:gd name="T76" fmla="*/ 0 w 242"/>
                <a:gd name="T77" fmla="*/ 2147483647 h 356"/>
                <a:gd name="T78" fmla="*/ 0 w 242"/>
                <a:gd name="T79" fmla="*/ 2147483647 h 356"/>
                <a:gd name="T80" fmla="*/ 0 w 242"/>
                <a:gd name="T81" fmla="*/ 2147483647 h 356"/>
                <a:gd name="T82" fmla="*/ 2147483647 w 242"/>
                <a:gd name="T83" fmla="*/ 2147483647 h 356"/>
                <a:gd name="T84" fmla="*/ 2147483647 w 242"/>
                <a:gd name="T85" fmla="*/ 2147483647 h 356"/>
                <a:gd name="T86" fmla="*/ 2147483647 w 242"/>
                <a:gd name="T87" fmla="*/ 2147483647 h 356"/>
                <a:gd name="T88" fmla="*/ 2147483647 w 242"/>
                <a:gd name="T89" fmla="*/ 2147483647 h 356"/>
                <a:gd name="T90" fmla="*/ 2147483647 w 242"/>
                <a:gd name="T91" fmla="*/ 2147483647 h 356"/>
                <a:gd name="T92" fmla="*/ 2147483647 w 242"/>
                <a:gd name="T93" fmla="*/ 2147483647 h 356"/>
                <a:gd name="T94" fmla="*/ 2147483647 w 242"/>
                <a:gd name="T95" fmla="*/ 2147483647 h 35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42"/>
                <a:gd name="T145" fmla="*/ 0 h 356"/>
                <a:gd name="T146" fmla="*/ 242 w 242"/>
                <a:gd name="T147" fmla="*/ 356 h 35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42" h="356">
                  <a:moveTo>
                    <a:pt x="242" y="281"/>
                  </a:moveTo>
                  <a:lnTo>
                    <a:pt x="239" y="279"/>
                  </a:lnTo>
                  <a:lnTo>
                    <a:pt x="223" y="262"/>
                  </a:lnTo>
                  <a:lnTo>
                    <a:pt x="215" y="252"/>
                  </a:lnTo>
                  <a:lnTo>
                    <a:pt x="210" y="241"/>
                  </a:lnTo>
                  <a:lnTo>
                    <a:pt x="209" y="231"/>
                  </a:lnTo>
                  <a:lnTo>
                    <a:pt x="208" y="209"/>
                  </a:lnTo>
                  <a:lnTo>
                    <a:pt x="209" y="188"/>
                  </a:lnTo>
                  <a:lnTo>
                    <a:pt x="205" y="148"/>
                  </a:lnTo>
                  <a:lnTo>
                    <a:pt x="204" y="114"/>
                  </a:lnTo>
                  <a:lnTo>
                    <a:pt x="203" y="101"/>
                  </a:lnTo>
                  <a:lnTo>
                    <a:pt x="200" y="95"/>
                  </a:lnTo>
                  <a:lnTo>
                    <a:pt x="196" y="89"/>
                  </a:lnTo>
                  <a:lnTo>
                    <a:pt x="194" y="68"/>
                  </a:lnTo>
                  <a:lnTo>
                    <a:pt x="191" y="53"/>
                  </a:lnTo>
                  <a:lnTo>
                    <a:pt x="187" y="48"/>
                  </a:lnTo>
                  <a:lnTo>
                    <a:pt x="180" y="41"/>
                  </a:lnTo>
                  <a:lnTo>
                    <a:pt x="176" y="33"/>
                  </a:lnTo>
                  <a:lnTo>
                    <a:pt x="167" y="27"/>
                  </a:lnTo>
                  <a:lnTo>
                    <a:pt x="166" y="21"/>
                  </a:lnTo>
                  <a:lnTo>
                    <a:pt x="170" y="16"/>
                  </a:lnTo>
                  <a:lnTo>
                    <a:pt x="170" y="11"/>
                  </a:lnTo>
                  <a:lnTo>
                    <a:pt x="173" y="6"/>
                  </a:lnTo>
                  <a:lnTo>
                    <a:pt x="172" y="5"/>
                  </a:lnTo>
                  <a:lnTo>
                    <a:pt x="164" y="4"/>
                  </a:lnTo>
                  <a:lnTo>
                    <a:pt x="162" y="3"/>
                  </a:lnTo>
                  <a:lnTo>
                    <a:pt x="162" y="0"/>
                  </a:lnTo>
                  <a:lnTo>
                    <a:pt x="145" y="3"/>
                  </a:lnTo>
                  <a:lnTo>
                    <a:pt x="133" y="11"/>
                  </a:lnTo>
                  <a:lnTo>
                    <a:pt x="129" y="12"/>
                  </a:lnTo>
                  <a:lnTo>
                    <a:pt x="112" y="11"/>
                  </a:lnTo>
                  <a:lnTo>
                    <a:pt x="86" y="6"/>
                  </a:lnTo>
                  <a:lnTo>
                    <a:pt x="58" y="8"/>
                  </a:lnTo>
                  <a:lnTo>
                    <a:pt x="47" y="5"/>
                  </a:lnTo>
                  <a:lnTo>
                    <a:pt x="36" y="5"/>
                  </a:lnTo>
                  <a:lnTo>
                    <a:pt x="19" y="8"/>
                  </a:lnTo>
                  <a:lnTo>
                    <a:pt x="14" y="16"/>
                  </a:lnTo>
                  <a:lnTo>
                    <a:pt x="14" y="24"/>
                  </a:lnTo>
                  <a:lnTo>
                    <a:pt x="17" y="32"/>
                  </a:lnTo>
                  <a:lnTo>
                    <a:pt x="20" y="35"/>
                  </a:lnTo>
                  <a:lnTo>
                    <a:pt x="20" y="43"/>
                  </a:lnTo>
                  <a:lnTo>
                    <a:pt x="24" y="44"/>
                  </a:lnTo>
                  <a:lnTo>
                    <a:pt x="22" y="57"/>
                  </a:lnTo>
                  <a:lnTo>
                    <a:pt x="25" y="65"/>
                  </a:lnTo>
                  <a:lnTo>
                    <a:pt x="25" y="76"/>
                  </a:lnTo>
                  <a:lnTo>
                    <a:pt x="25" y="82"/>
                  </a:lnTo>
                  <a:lnTo>
                    <a:pt x="28" y="89"/>
                  </a:lnTo>
                  <a:lnTo>
                    <a:pt x="28" y="95"/>
                  </a:lnTo>
                  <a:lnTo>
                    <a:pt x="27" y="98"/>
                  </a:lnTo>
                  <a:lnTo>
                    <a:pt x="30" y="103"/>
                  </a:lnTo>
                  <a:lnTo>
                    <a:pt x="25" y="108"/>
                  </a:lnTo>
                  <a:lnTo>
                    <a:pt x="25" y="111"/>
                  </a:lnTo>
                  <a:lnTo>
                    <a:pt x="28" y="112"/>
                  </a:lnTo>
                  <a:lnTo>
                    <a:pt x="31" y="116"/>
                  </a:lnTo>
                  <a:lnTo>
                    <a:pt x="38" y="143"/>
                  </a:lnTo>
                  <a:lnTo>
                    <a:pt x="41" y="159"/>
                  </a:lnTo>
                  <a:lnTo>
                    <a:pt x="36" y="160"/>
                  </a:lnTo>
                  <a:lnTo>
                    <a:pt x="36" y="165"/>
                  </a:lnTo>
                  <a:lnTo>
                    <a:pt x="32" y="166"/>
                  </a:lnTo>
                  <a:lnTo>
                    <a:pt x="28" y="171"/>
                  </a:lnTo>
                  <a:lnTo>
                    <a:pt x="26" y="173"/>
                  </a:lnTo>
                  <a:lnTo>
                    <a:pt x="22" y="182"/>
                  </a:lnTo>
                  <a:lnTo>
                    <a:pt x="16" y="195"/>
                  </a:lnTo>
                  <a:lnTo>
                    <a:pt x="14" y="204"/>
                  </a:lnTo>
                  <a:lnTo>
                    <a:pt x="14" y="215"/>
                  </a:lnTo>
                  <a:lnTo>
                    <a:pt x="11" y="220"/>
                  </a:lnTo>
                  <a:lnTo>
                    <a:pt x="5" y="227"/>
                  </a:lnTo>
                  <a:lnTo>
                    <a:pt x="1" y="234"/>
                  </a:lnTo>
                  <a:lnTo>
                    <a:pt x="0" y="251"/>
                  </a:lnTo>
                  <a:lnTo>
                    <a:pt x="0" y="259"/>
                  </a:lnTo>
                  <a:lnTo>
                    <a:pt x="8" y="279"/>
                  </a:lnTo>
                  <a:lnTo>
                    <a:pt x="11" y="295"/>
                  </a:lnTo>
                  <a:lnTo>
                    <a:pt x="15" y="300"/>
                  </a:lnTo>
                  <a:lnTo>
                    <a:pt x="22" y="301"/>
                  </a:lnTo>
                  <a:lnTo>
                    <a:pt x="25" y="302"/>
                  </a:lnTo>
                  <a:lnTo>
                    <a:pt x="27" y="315"/>
                  </a:lnTo>
                  <a:lnTo>
                    <a:pt x="27" y="329"/>
                  </a:lnTo>
                  <a:lnTo>
                    <a:pt x="21" y="331"/>
                  </a:lnTo>
                  <a:lnTo>
                    <a:pt x="17" y="328"/>
                  </a:lnTo>
                  <a:lnTo>
                    <a:pt x="11" y="328"/>
                  </a:lnTo>
                  <a:lnTo>
                    <a:pt x="9" y="329"/>
                  </a:lnTo>
                  <a:lnTo>
                    <a:pt x="5" y="336"/>
                  </a:lnTo>
                  <a:lnTo>
                    <a:pt x="41" y="345"/>
                  </a:lnTo>
                  <a:lnTo>
                    <a:pt x="67" y="356"/>
                  </a:lnTo>
                  <a:lnTo>
                    <a:pt x="87" y="345"/>
                  </a:lnTo>
                  <a:lnTo>
                    <a:pt x="95" y="338"/>
                  </a:lnTo>
                  <a:lnTo>
                    <a:pt x="103" y="336"/>
                  </a:lnTo>
                  <a:lnTo>
                    <a:pt x="137" y="328"/>
                  </a:lnTo>
                  <a:lnTo>
                    <a:pt x="166" y="311"/>
                  </a:lnTo>
                  <a:lnTo>
                    <a:pt x="183" y="302"/>
                  </a:lnTo>
                  <a:lnTo>
                    <a:pt x="188" y="300"/>
                  </a:lnTo>
                  <a:lnTo>
                    <a:pt x="196" y="300"/>
                  </a:lnTo>
                  <a:lnTo>
                    <a:pt x="215" y="296"/>
                  </a:lnTo>
                  <a:lnTo>
                    <a:pt x="219" y="300"/>
                  </a:lnTo>
                  <a:lnTo>
                    <a:pt x="229" y="299"/>
                  </a:lnTo>
                  <a:lnTo>
                    <a:pt x="240" y="283"/>
                  </a:lnTo>
                  <a:lnTo>
                    <a:pt x="242" y="28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1" name="Freeform 4">
              <a:extLst>
                <a:ext uri="{FF2B5EF4-FFF2-40B4-BE49-F238E27FC236}">
                  <a16:creationId xmlns:a16="http://schemas.microsoft.com/office/drawing/2014/main" id="{22495665-FFFD-CAFA-B26E-E18CB9FAC92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619461" y="3870012"/>
              <a:ext cx="220867" cy="173761"/>
            </a:xfrm>
            <a:custGeom>
              <a:avLst/>
              <a:gdLst>
                <a:gd name="T0" fmla="*/ 2147483647 w 417"/>
                <a:gd name="T1" fmla="*/ 0 h 307"/>
                <a:gd name="T2" fmla="*/ 2147483647 w 417"/>
                <a:gd name="T3" fmla="*/ 0 h 307"/>
                <a:gd name="T4" fmla="*/ 2147483647 w 417"/>
                <a:gd name="T5" fmla="*/ 2147483647 h 307"/>
                <a:gd name="T6" fmla="*/ 2147483647 w 417"/>
                <a:gd name="T7" fmla="*/ 2147483647 h 307"/>
                <a:gd name="T8" fmla="*/ 2147483647 w 417"/>
                <a:gd name="T9" fmla="*/ 2147483647 h 307"/>
                <a:gd name="T10" fmla="*/ 0 w 417"/>
                <a:gd name="T11" fmla="*/ 2147483647 h 307"/>
                <a:gd name="T12" fmla="*/ 0 w 417"/>
                <a:gd name="T13" fmla="*/ 2147483647 h 307"/>
                <a:gd name="T14" fmla="*/ 0 w 417"/>
                <a:gd name="T15" fmla="*/ 2147483647 h 307"/>
                <a:gd name="T16" fmla="*/ 0 w 417"/>
                <a:gd name="T17" fmla="*/ 2147483647 h 307"/>
                <a:gd name="T18" fmla="*/ 0 w 417"/>
                <a:gd name="T19" fmla="*/ 2147483647 h 307"/>
                <a:gd name="T20" fmla="*/ 0 w 417"/>
                <a:gd name="T21" fmla="*/ 2147483647 h 307"/>
                <a:gd name="T22" fmla="*/ 0 w 417"/>
                <a:gd name="T23" fmla="*/ 2147483647 h 307"/>
                <a:gd name="T24" fmla="*/ 0 w 417"/>
                <a:gd name="T25" fmla="*/ 2147483647 h 307"/>
                <a:gd name="T26" fmla="*/ 0 w 417"/>
                <a:gd name="T27" fmla="*/ 2147483647 h 307"/>
                <a:gd name="T28" fmla="*/ 0 w 417"/>
                <a:gd name="T29" fmla="*/ 2147483647 h 307"/>
                <a:gd name="T30" fmla="*/ 2147483647 w 417"/>
                <a:gd name="T31" fmla="*/ 2147483647 h 307"/>
                <a:gd name="T32" fmla="*/ 2147483647 w 417"/>
                <a:gd name="T33" fmla="*/ 2147483647 h 307"/>
                <a:gd name="T34" fmla="*/ 2147483647 w 417"/>
                <a:gd name="T35" fmla="*/ 2147483647 h 307"/>
                <a:gd name="T36" fmla="*/ 2147483647 w 417"/>
                <a:gd name="T37" fmla="*/ 2147483647 h 307"/>
                <a:gd name="T38" fmla="*/ 2147483647 w 417"/>
                <a:gd name="T39" fmla="*/ 2147483647 h 307"/>
                <a:gd name="T40" fmla="*/ 2147483647 w 417"/>
                <a:gd name="T41" fmla="*/ 2147483647 h 307"/>
                <a:gd name="T42" fmla="*/ 2147483647 w 417"/>
                <a:gd name="T43" fmla="*/ 2147483647 h 307"/>
                <a:gd name="T44" fmla="*/ 2147483647 w 417"/>
                <a:gd name="T45" fmla="*/ 2147483647 h 307"/>
                <a:gd name="T46" fmla="*/ 2147483647 w 417"/>
                <a:gd name="T47" fmla="*/ 2147483647 h 307"/>
                <a:gd name="T48" fmla="*/ 2147483647 w 417"/>
                <a:gd name="T49" fmla="*/ 2147483647 h 307"/>
                <a:gd name="T50" fmla="*/ 2147483647 w 417"/>
                <a:gd name="T51" fmla="*/ 2147483647 h 307"/>
                <a:gd name="T52" fmla="*/ 2147483647 w 417"/>
                <a:gd name="T53" fmla="*/ 2147483647 h 307"/>
                <a:gd name="T54" fmla="*/ 2147483647 w 417"/>
                <a:gd name="T55" fmla="*/ 2147483647 h 307"/>
                <a:gd name="T56" fmla="*/ 2147483647 w 417"/>
                <a:gd name="T57" fmla="*/ 2147483647 h 307"/>
                <a:gd name="T58" fmla="*/ 2147483647 w 417"/>
                <a:gd name="T59" fmla="*/ 2147483647 h 307"/>
                <a:gd name="T60" fmla="*/ 2147483647 w 417"/>
                <a:gd name="T61" fmla="*/ 2147483647 h 307"/>
                <a:gd name="T62" fmla="*/ 2147483647 w 417"/>
                <a:gd name="T63" fmla="*/ 2147483647 h 307"/>
                <a:gd name="T64" fmla="*/ 2147483647 w 417"/>
                <a:gd name="T65" fmla="*/ 2147483647 h 307"/>
                <a:gd name="T66" fmla="*/ 2147483647 w 417"/>
                <a:gd name="T67" fmla="*/ 2147483647 h 307"/>
                <a:gd name="T68" fmla="*/ 2147483647 w 417"/>
                <a:gd name="T69" fmla="*/ 2147483647 h 307"/>
                <a:gd name="T70" fmla="*/ 2147483647 w 417"/>
                <a:gd name="T71" fmla="*/ 2147483647 h 307"/>
                <a:gd name="T72" fmla="*/ 2147483647 w 417"/>
                <a:gd name="T73" fmla="*/ 2147483647 h 307"/>
                <a:gd name="T74" fmla="*/ 2147483647 w 417"/>
                <a:gd name="T75" fmla="*/ 2147483647 h 307"/>
                <a:gd name="T76" fmla="*/ 2147483647 w 417"/>
                <a:gd name="T77" fmla="*/ 2147483647 h 307"/>
                <a:gd name="T78" fmla="*/ 2147483647 w 417"/>
                <a:gd name="T79" fmla="*/ 2147483647 h 307"/>
                <a:gd name="T80" fmla="*/ 2147483647 w 417"/>
                <a:gd name="T81" fmla="*/ 2147483647 h 307"/>
                <a:gd name="T82" fmla="*/ 2147483647 w 417"/>
                <a:gd name="T83" fmla="*/ 2147483647 h 307"/>
                <a:gd name="T84" fmla="*/ 2147483647 w 417"/>
                <a:gd name="T85" fmla="*/ 2147483647 h 307"/>
                <a:gd name="T86" fmla="*/ 2147483647 w 417"/>
                <a:gd name="T87" fmla="*/ 0 h 307"/>
                <a:gd name="T88" fmla="*/ 2147483647 w 417"/>
                <a:gd name="T89" fmla="*/ 0 h 307"/>
                <a:gd name="T90" fmla="*/ 2147483647 w 417"/>
                <a:gd name="T91" fmla="*/ 0 h 307"/>
                <a:gd name="T92" fmla="*/ 2147483647 w 417"/>
                <a:gd name="T93" fmla="*/ 0 h 30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17"/>
                <a:gd name="T142" fmla="*/ 0 h 307"/>
                <a:gd name="T143" fmla="*/ 417 w 417"/>
                <a:gd name="T144" fmla="*/ 307 h 30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17" h="307">
                  <a:moveTo>
                    <a:pt x="295" y="0"/>
                  </a:moveTo>
                  <a:lnTo>
                    <a:pt x="262" y="1"/>
                  </a:lnTo>
                  <a:lnTo>
                    <a:pt x="242" y="9"/>
                  </a:lnTo>
                  <a:lnTo>
                    <a:pt x="234" y="12"/>
                  </a:lnTo>
                  <a:lnTo>
                    <a:pt x="219" y="25"/>
                  </a:lnTo>
                  <a:lnTo>
                    <a:pt x="182" y="49"/>
                  </a:lnTo>
                  <a:lnTo>
                    <a:pt x="170" y="65"/>
                  </a:lnTo>
                  <a:lnTo>
                    <a:pt x="151" y="79"/>
                  </a:lnTo>
                  <a:lnTo>
                    <a:pt x="113" y="91"/>
                  </a:lnTo>
                  <a:lnTo>
                    <a:pt x="101" y="93"/>
                  </a:lnTo>
                  <a:lnTo>
                    <a:pt x="89" y="95"/>
                  </a:lnTo>
                  <a:lnTo>
                    <a:pt x="83" y="96"/>
                  </a:lnTo>
                  <a:lnTo>
                    <a:pt x="74" y="102"/>
                  </a:lnTo>
                  <a:lnTo>
                    <a:pt x="69" y="108"/>
                  </a:lnTo>
                  <a:lnTo>
                    <a:pt x="64" y="119"/>
                  </a:lnTo>
                  <a:lnTo>
                    <a:pt x="60" y="134"/>
                  </a:lnTo>
                  <a:lnTo>
                    <a:pt x="53" y="152"/>
                  </a:lnTo>
                  <a:lnTo>
                    <a:pt x="46" y="162"/>
                  </a:lnTo>
                  <a:lnTo>
                    <a:pt x="30" y="174"/>
                  </a:lnTo>
                  <a:lnTo>
                    <a:pt x="20" y="183"/>
                  </a:lnTo>
                  <a:lnTo>
                    <a:pt x="16" y="188"/>
                  </a:lnTo>
                  <a:lnTo>
                    <a:pt x="11" y="197"/>
                  </a:lnTo>
                  <a:lnTo>
                    <a:pt x="10" y="206"/>
                  </a:lnTo>
                  <a:lnTo>
                    <a:pt x="1" y="224"/>
                  </a:lnTo>
                  <a:lnTo>
                    <a:pt x="0" y="235"/>
                  </a:lnTo>
                  <a:lnTo>
                    <a:pt x="0" y="248"/>
                  </a:lnTo>
                  <a:lnTo>
                    <a:pt x="1" y="259"/>
                  </a:lnTo>
                  <a:lnTo>
                    <a:pt x="4" y="260"/>
                  </a:lnTo>
                  <a:lnTo>
                    <a:pt x="4" y="262"/>
                  </a:lnTo>
                  <a:lnTo>
                    <a:pt x="5" y="267"/>
                  </a:lnTo>
                  <a:lnTo>
                    <a:pt x="6" y="268"/>
                  </a:lnTo>
                  <a:lnTo>
                    <a:pt x="8" y="269"/>
                  </a:lnTo>
                  <a:lnTo>
                    <a:pt x="11" y="275"/>
                  </a:lnTo>
                  <a:lnTo>
                    <a:pt x="14" y="276"/>
                  </a:lnTo>
                  <a:lnTo>
                    <a:pt x="15" y="279"/>
                  </a:lnTo>
                  <a:lnTo>
                    <a:pt x="15" y="284"/>
                  </a:lnTo>
                  <a:lnTo>
                    <a:pt x="19" y="284"/>
                  </a:lnTo>
                  <a:lnTo>
                    <a:pt x="22" y="287"/>
                  </a:lnTo>
                  <a:lnTo>
                    <a:pt x="24" y="291"/>
                  </a:lnTo>
                  <a:lnTo>
                    <a:pt x="31" y="295"/>
                  </a:lnTo>
                  <a:lnTo>
                    <a:pt x="31" y="294"/>
                  </a:lnTo>
                  <a:lnTo>
                    <a:pt x="35" y="294"/>
                  </a:lnTo>
                  <a:lnTo>
                    <a:pt x="37" y="291"/>
                  </a:lnTo>
                  <a:lnTo>
                    <a:pt x="38" y="291"/>
                  </a:lnTo>
                  <a:lnTo>
                    <a:pt x="40" y="295"/>
                  </a:lnTo>
                  <a:lnTo>
                    <a:pt x="47" y="298"/>
                  </a:lnTo>
                  <a:lnTo>
                    <a:pt x="51" y="296"/>
                  </a:lnTo>
                  <a:lnTo>
                    <a:pt x="53" y="290"/>
                  </a:lnTo>
                  <a:lnTo>
                    <a:pt x="59" y="289"/>
                  </a:lnTo>
                  <a:lnTo>
                    <a:pt x="67" y="286"/>
                  </a:lnTo>
                  <a:lnTo>
                    <a:pt x="79" y="283"/>
                  </a:lnTo>
                  <a:lnTo>
                    <a:pt x="89" y="280"/>
                  </a:lnTo>
                  <a:lnTo>
                    <a:pt x="96" y="280"/>
                  </a:lnTo>
                  <a:lnTo>
                    <a:pt x="107" y="285"/>
                  </a:lnTo>
                  <a:lnTo>
                    <a:pt x="112" y="280"/>
                  </a:lnTo>
                  <a:lnTo>
                    <a:pt x="113" y="280"/>
                  </a:lnTo>
                  <a:lnTo>
                    <a:pt x="119" y="290"/>
                  </a:lnTo>
                  <a:lnTo>
                    <a:pt x="124" y="291"/>
                  </a:lnTo>
                  <a:lnTo>
                    <a:pt x="125" y="296"/>
                  </a:lnTo>
                  <a:lnTo>
                    <a:pt x="130" y="306"/>
                  </a:lnTo>
                  <a:lnTo>
                    <a:pt x="133" y="307"/>
                  </a:lnTo>
                  <a:lnTo>
                    <a:pt x="139" y="307"/>
                  </a:lnTo>
                  <a:lnTo>
                    <a:pt x="141" y="305"/>
                  </a:lnTo>
                  <a:lnTo>
                    <a:pt x="138" y="298"/>
                  </a:lnTo>
                  <a:lnTo>
                    <a:pt x="138" y="292"/>
                  </a:lnTo>
                  <a:lnTo>
                    <a:pt x="138" y="281"/>
                  </a:lnTo>
                  <a:lnTo>
                    <a:pt x="135" y="273"/>
                  </a:lnTo>
                  <a:lnTo>
                    <a:pt x="137" y="260"/>
                  </a:lnTo>
                  <a:lnTo>
                    <a:pt x="133" y="259"/>
                  </a:lnTo>
                  <a:lnTo>
                    <a:pt x="133" y="251"/>
                  </a:lnTo>
                  <a:lnTo>
                    <a:pt x="130" y="248"/>
                  </a:lnTo>
                  <a:lnTo>
                    <a:pt x="127" y="240"/>
                  </a:lnTo>
                  <a:lnTo>
                    <a:pt x="128" y="232"/>
                  </a:lnTo>
                  <a:lnTo>
                    <a:pt x="132" y="224"/>
                  </a:lnTo>
                  <a:lnTo>
                    <a:pt x="149" y="221"/>
                  </a:lnTo>
                  <a:lnTo>
                    <a:pt x="160" y="221"/>
                  </a:lnTo>
                  <a:lnTo>
                    <a:pt x="171" y="224"/>
                  </a:lnTo>
                  <a:lnTo>
                    <a:pt x="199" y="222"/>
                  </a:lnTo>
                  <a:lnTo>
                    <a:pt x="225" y="227"/>
                  </a:lnTo>
                  <a:lnTo>
                    <a:pt x="242" y="228"/>
                  </a:lnTo>
                  <a:lnTo>
                    <a:pt x="246" y="227"/>
                  </a:lnTo>
                  <a:lnTo>
                    <a:pt x="258" y="219"/>
                  </a:lnTo>
                  <a:lnTo>
                    <a:pt x="275" y="216"/>
                  </a:lnTo>
                  <a:lnTo>
                    <a:pt x="275" y="217"/>
                  </a:lnTo>
                  <a:lnTo>
                    <a:pt x="310" y="222"/>
                  </a:lnTo>
                  <a:lnTo>
                    <a:pt x="313" y="227"/>
                  </a:lnTo>
                  <a:lnTo>
                    <a:pt x="317" y="227"/>
                  </a:lnTo>
                  <a:lnTo>
                    <a:pt x="320" y="225"/>
                  </a:lnTo>
                  <a:lnTo>
                    <a:pt x="334" y="225"/>
                  </a:lnTo>
                  <a:lnTo>
                    <a:pt x="336" y="224"/>
                  </a:lnTo>
                  <a:lnTo>
                    <a:pt x="339" y="220"/>
                  </a:lnTo>
                  <a:lnTo>
                    <a:pt x="343" y="220"/>
                  </a:lnTo>
                  <a:lnTo>
                    <a:pt x="344" y="214"/>
                  </a:lnTo>
                  <a:lnTo>
                    <a:pt x="347" y="211"/>
                  </a:lnTo>
                  <a:lnTo>
                    <a:pt x="348" y="210"/>
                  </a:lnTo>
                  <a:lnTo>
                    <a:pt x="350" y="208"/>
                  </a:lnTo>
                  <a:lnTo>
                    <a:pt x="354" y="209"/>
                  </a:lnTo>
                  <a:lnTo>
                    <a:pt x="361" y="197"/>
                  </a:lnTo>
                  <a:lnTo>
                    <a:pt x="364" y="195"/>
                  </a:lnTo>
                  <a:lnTo>
                    <a:pt x="370" y="195"/>
                  </a:lnTo>
                  <a:lnTo>
                    <a:pt x="379" y="199"/>
                  </a:lnTo>
                  <a:lnTo>
                    <a:pt x="387" y="197"/>
                  </a:lnTo>
                  <a:lnTo>
                    <a:pt x="393" y="199"/>
                  </a:lnTo>
                  <a:lnTo>
                    <a:pt x="398" y="197"/>
                  </a:lnTo>
                  <a:lnTo>
                    <a:pt x="410" y="185"/>
                  </a:lnTo>
                  <a:lnTo>
                    <a:pt x="412" y="182"/>
                  </a:lnTo>
                  <a:lnTo>
                    <a:pt x="412" y="181"/>
                  </a:lnTo>
                  <a:lnTo>
                    <a:pt x="415" y="177"/>
                  </a:lnTo>
                  <a:lnTo>
                    <a:pt x="417" y="172"/>
                  </a:lnTo>
                  <a:lnTo>
                    <a:pt x="417" y="170"/>
                  </a:lnTo>
                  <a:lnTo>
                    <a:pt x="417" y="171"/>
                  </a:lnTo>
                  <a:lnTo>
                    <a:pt x="406" y="161"/>
                  </a:lnTo>
                  <a:lnTo>
                    <a:pt x="399" y="154"/>
                  </a:lnTo>
                  <a:lnTo>
                    <a:pt x="398" y="150"/>
                  </a:lnTo>
                  <a:lnTo>
                    <a:pt x="399" y="146"/>
                  </a:lnTo>
                  <a:lnTo>
                    <a:pt x="403" y="145"/>
                  </a:lnTo>
                  <a:lnTo>
                    <a:pt x="408" y="145"/>
                  </a:lnTo>
                  <a:lnTo>
                    <a:pt x="409" y="142"/>
                  </a:lnTo>
                  <a:lnTo>
                    <a:pt x="408" y="140"/>
                  </a:lnTo>
                  <a:lnTo>
                    <a:pt x="402" y="130"/>
                  </a:lnTo>
                  <a:lnTo>
                    <a:pt x="396" y="127"/>
                  </a:lnTo>
                  <a:lnTo>
                    <a:pt x="392" y="128"/>
                  </a:lnTo>
                  <a:lnTo>
                    <a:pt x="387" y="133"/>
                  </a:lnTo>
                  <a:lnTo>
                    <a:pt x="382" y="134"/>
                  </a:lnTo>
                  <a:lnTo>
                    <a:pt x="379" y="134"/>
                  </a:lnTo>
                  <a:lnTo>
                    <a:pt x="368" y="131"/>
                  </a:lnTo>
                  <a:lnTo>
                    <a:pt x="360" y="127"/>
                  </a:lnTo>
                  <a:lnTo>
                    <a:pt x="349" y="114"/>
                  </a:lnTo>
                  <a:lnTo>
                    <a:pt x="345" y="108"/>
                  </a:lnTo>
                  <a:lnTo>
                    <a:pt x="339" y="93"/>
                  </a:lnTo>
                  <a:lnTo>
                    <a:pt x="334" y="84"/>
                  </a:lnTo>
                  <a:lnTo>
                    <a:pt x="317" y="70"/>
                  </a:lnTo>
                  <a:lnTo>
                    <a:pt x="305" y="55"/>
                  </a:lnTo>
                  <a:lnTo>
                    <a:pt x="301" y="48"/>
                  </a:lnTo>
                  <a:lnTo>
                    <a:pt x="302" y="39"/>
                  </a:lnTo>
                  <a:lnTo>
                    <a:pt x="301" y="37"/>
                  </a:lnTo>
                  <a:lnTo>
                    <a:pt x="291" y="28"/>
                  </a:lnTo>
                  <a:lnTo>
                    <a:pt x="290" y="26"/>
                  </a:lnTo>
                  <a:lnTo>
                    <a:pt x="293" y="16"/>
                  </a:lnTo>
                  <a:lnTo>
                    <a:pt x="294" y="5"/>
                  </a:lnTo>
                  <a:lnTo>
                    <a:pt x="295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B58D7A6D-B4EF-7AB3-DEF2-B2A44AB7D4A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016424" y="3940127"/>
              <a:ext cx="223851" cy="350570"/>
            </a:xfrm>
            <a:custGeom>
              <a:avLst/>
              <a:gdLst>
                <a:gd name="T0" fmla="*/ 2147483647 w 420"/>
                <a:gd name="T1" fmla="*/ 2147483647 h 615"/>
                <a:gd name="T2" fmla="*/ 2147483647 w 420"/>
                <a:gd name="T3" fmla="*/ 2147483647 h 615"/>
                <a:gd name="T4" fmla="*/ 2147483647 w 420"/>
                <a:gd name="T5" fmla="*/ 2147483647 h 615"/>
                <a:gd name="T6" fmla="*/ 2147483647 w 420"/>
                <a:gd name="T7" fmla="*/ 2147483647 h 615"/>
                <a:gd name="T8" fmla="*/ 2147483647 w 420"/>
                <a:gd name="T9" fmla="*/ 2147483647 h 615"/>
                <a:gd name="T10" fmla="*/ 2147483647 w 420"/>
                <a:gd name="T11" fmla="*/ 2147483647 h 615"/>
                <a:gd name="T12" fmla="*/ 2147483647 w 420"/>
                <a:gd name="T13" fmla="*/ 2147483647 h 615"/>
                <a:gd name="T14" fmla="*/ 2147483647 w 420"/>
                <a:gd name="T15" fmla="*/ 2147483647 h 615"/>
                <a:gd name="T16" fmla="*/ 0 w 420"/>
                <a:gd name="T17" fmla="*/ 2147483647 h 615"/>
                <a:gd name="T18" fmla="*/ 0 w 420"/>
                <a:gd name="T19" fmla="*/ 2147483647 h 615"/>
                <a:gd name="T20" fmla="*/ 0 w 420"/>
                <a:gd name="T21" fmla="*/ 2147483647 h 615"/>
                <a:gd name="T22" fmla="*/ 0 w 420"/>
                <a:gd name="T23" fmla="*/ 2147483647 h 615"/>
                <a:gd name="T24" fmla="*/ 0 w 420"/>
                <a:gd name="T25" fmla="*/ 2147483647 h 615"/>
                <a:gd name="T26" fmla="*/ 0 w 420"/>
                <a:gd name="T27" fmla="*/ 2147483647 h 615"/>
                <a:gd name="T28" fmla="*/ 2147483647 w 420"/>
                <a:gd name="T29" fmla="*/ 2147483647 h 615"/>
                <a:gd name="T30" fmla="*/ 2147483647 w 420"/>
                <a:gd name="T31" fmla="*/ 2147483647 h 615"/>
                <a:gd name="T32" fmla="*/ 2147483647 w 420"/>
                <a:gd name="T33" fmla="*/ 2147483647 h 615"/>
                <a:gd name="T34" fmla="*/ 2147483647 w 420"/>
                <a:gd name="T35" fmla="*/ 2147483647 h 615"/>
                <a:gd name="T36" fmla="*/ 2147483647 w 420"/>
                <a:gd name="T37" fmla="*/ 2147483647 h 615"/>
                <a:gd name="T38" fmla="*/ 2147483647 w 420"/>
                <a:gd name="T39" fmla="*/ 2147483647 h 615"/>
                <a:gd name="T40" fmla="*/ 2147483647 w 420"/>
                <a:gd name="T41" fmla="*/ 2147483647 h 615"/>
                <a:gd name="T42" fmla="*/ 2147483647 w 420"/>
                <a:gd name="T43" fmla="*/ 2147483647 h 615"/>
                <a:gd name="T44" fmla="*/ 2147483647 w 420"/>
                <a:gd name="T45" fmla="*/ 2147483647 h 615"/>
                <a:gd name="T46" fmla="*/ 2147483647 w 420"/>
                <a:gd name="T47" fmla="*/ 2147483647 h 615"/>
                <a:gd name="T48" fmla="*/ 2147483647 w 420"/>
                <a:gd name="T49" fmla="*/ 2147483647 h 615"/>
                <a:gd name="T50" fmla="*/ 2147483647 w 420"/>
                <a:gd name="T51" fmla="*/ 2147483647 h 615"/>
                <a:gd name="T52" fmla="*/ 2147483647 w 420"/>
                <a:gd name="T53" fmla="*/ 0 h 615"/>
                <a:gd name="T54" fmla="*/ 2147483647 w 420"/>
                <a:gd name="T55" fmla="*/ 0 h 615"/>
                <a:gd name="T56" fmla="*/ 2147483647 w 420"/>
                <a:gd name="T57" fmla="*/ 0 h 615"/>
                <a:gd name="T58" fmla="*/ 2147483647 w 420"/>
                <a:gd name="T59" fmla="*/ 0 h 615"/>
                <a:gd name="T60" fmla="*/ 2147483647 w 420"/>
                <a:gd name="T61" fmla="*/ 0 h 615"/>
                <a:gd name="T62" fmla="*/ 2147483647 w 420"/>
                <a:gd name="T63" fmla="*/ 0 h 615"/>
                <a:gd name="T64" fmla="*/ 2147483647 w 420"/>
                <a:gd name="T65" fmla="*/ 2147483647 h 615"/>
                <a:gd name="T66" fmla="*/ 2147483647 w 420"/>
                <a:gd name="T67" fmla="*/ 2147483647 h 615"/>
                <a:gd name="T68" fmla="*/ 2147483647 w 420"/>
                <a:gd name="T69" fmla="*/ 2147483647 h 615"/>
                <a:gd name="T70" fmla="*/ 2147483647 w 420"/>
                <a:gd name="T71" fmla="*/ 2147483647 h 615"/>
                <a:gd name="T72" fmla="*/ 2147483647 w 420"/>
                <a:gd name="T73" fmla="*/ 2147483647 h 615"/>
                <a:gd name="T74" fmla="*/ 2147483647 w 420"/>
                <a:gd name="T75" fmla="*/ 2147483647 h 615"/>
                <a:gd name="T76" fmla="*/ 2147483647 w 420"/>
                <a:gd name="T77" fmla="*/ 2147483647 h 615"/>
                <a:gd name="T78" fmla="*/ 2147483647 w 420"/>
                <a:gd name="T79" fmla="*/ 2147483647 h 615"/>
                <a:gd name="T80" fmla="*/ 2147483647 w 420"/>
                <a:gd name="T81" fmla="*/ 2147483647 h 615"/>
                <a:gd name="T82" fmla="*/ 2147483647 w 420"/>
                <a:gd name="T83" fmla="*/ 2147483647 h 615"/>
                <a:gd name="T84" fmla="*/ 2147483647 w 420"/>
                <a:gd name="T85" fmla="*/ 2147483647 h 615"/>
                <a:gd name="T86" fmla="*/ 2147483647 w 420"/>
                <a:gd name="T87" fmla="*/ 2147483647 h 615"/>
                <a:gd name="T88" fmla="*/ 2147483647 w 420"/>
                <a:gd name="T89" fmla="*/ 2147483647 h 615"/>
                <a:gd name="T90" fmla="*/ 2147483647 w 420"/>
                <a:gd name="T91" fmla="*/ 2147483647 h 615"/>
                <a:gd name="T92" fmla="*/ 2147483647 w 420"/>
                <a:gd name="T93" fmla="*/ 2147483647 h 615"/>
                <a:gd name="T94" fmla="*/ 2147483647 w 420"/>
                <a:gd name="T95" fmla="*/ 2147483647 h 615"/>
                <a:gd name="T96" fmla="*/ 2147483647 w 420"/>
                <a:gd name="T97" fmla="*/ 2147483647 h 615"/>
                <a:gd name="T98" fmla="*/ 2147483647 w 420"/>
                <a:gd name="T99" fmla="*/ 2147483647 h 61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20"/>
                <a:gd name="T151" fmla="*/ 0 h 615"/>
                <a:gd name="T152" fmla="*/ 420 w 420"/>
                <a:gd name="T153" fmla="*/ 615 h 61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20" h="615">
                  <a:moveTo>
                    <a:pt x="264" y="585"/>
                  </a:moveTo>
                  <a:lnTo>
                    <a:pt x="256" y="582"/>
                  </a:lnTo>
                  <a:lnTo>
                    <a:pt x="220" y="581"/>
                  </a:lnTo>
                  <a:lnTo>
                    <a:pt x="204" y="577"/>
                  </a:lnTo>
                  <a:lnTo>
                    <a:pt x="184" y="581"/>
                  </a:lnTo>
                  <a:lnTo>
                    <a:pt x="170" y="579"/>
                  </a:lnTo>
                  <a:lnTo>
                    <a:pt x="156" y="582"/>
                  </a:lnTo>
                  <a:lnTo>
                    <a:pt x="116" y="582"/>
                  </a:lnTo>
                  <a:lnTo>
                    <a:pt x="74" y="585"/>
                  </a:lnTo>
                  <a:lnTo>
                    <a:pt x="70" y="586"/>
                  </a:lnTo>
                  <a:lnTo>
                    <a:pt x="74" y="552"/>
                  </a:lnTo>
                  <a:lnTo>
                    <a:pt x="79" y="536"/>
                  </a:lnTo>
                  <a:lnTo>
                    <a:pt x="79" y="529"/>
                  </a:lnTo>
                  <a:lnTo>
                    <a:pt x="81" y="527"/>
                  </a:lnTo>
                  <a:lnTo>
                    <a:pt x="75" y="520"/>
                  </a:lnTo>
                  <a:lnTo>
                    <a:pt x="69" y="513"/>
                  </a:lnTo>
                  <a:lnTo>
                    <a:pt x="66" y="509"/>
                  </a:lnTo>
                  <a:lnTo>
                    <a:pt x="63" y="502"/>
                  </a:lnTo>
                  <a:lnTo>
                    <a:pt x="63" y="500"/>
                  </a:lnTo>
                  <a:lnTo>
                    <a:pt x="66" y="499"/>
                  </a:lnTo>
                  <a:lnTo>
                    <a:pt x="68" y="494"/>
                  </a:lnTo>
                  <a:lnTo>
                    <a:pt x="68" y="485"/>
                  </a:lnTo>
                  <a:lnTo>
                    <a:pt x="64" y="483"/>
                  </a:lnTo>
                  <a:lnTo>
                    <a:pt x="58" y="484"/>
                  </a:lnTo>
                  <a:lnTo>
                    <a:pt x="57" y="488"/>
                  </a:lnTo>
                  <a:lnTo>
                    <a:pt x="52" y="489"/>
                  </a:lnTo>
                  <a:lnTo>
                    <a:pt x="32" y="480"/>
                  </a:lnTo>
                  <a:lnTo>
                    <a:pt x="27" y="471"/>
                  </a:lnTo>
                  <a:lnTo>
                    <a:pt x="21" y="456"/>
                  </a:lnTo>
                  <a:lnTo>
                    <a:pt x="11" y="456"/>
                  </a:lnTo>
                  <a:lnTo>
                    <a:pt x="6" y="458"/>
                  </a:lnTo>
                  <a:lnTo>
                    <a:pt x="1" y="455"/>
                  </a:lnTo>
                  <a:lnTo>
                    <a:pt x="3" y="448"/>
                  </a:lnTo>
                  <a:lnTo>
                    <a:pt x="0" y="446"/>
                  </a:lnTo>
                  <a:lnTo>
                    <a:pt x="0" y="439"/>
                  </a:lnTo>
                  <a:lnTo>
                    <a:pt x="7" y="432"/>
                  </a:lnTo>
                  <a:lnTo>
                    <a:pt x="14" y="423"/>
                  </a:lnTo>
                  <a:lnTo>
                    <a:pt x="17" y="414"/>
                  </a:lnTo>
                  <a:lnTo>
                    <a:pt x="19" y="400"/>
                  </a:lnTo>
                  <a:lnTo>
                    <a:pt x="22" y="385"/>
                  </a:lnTo>
                  <a:lnTo>
                    <a:pt x="31" y="369"/>
                  </a:lnTo>
                  <a:lnTo>
                    <a:pt x="39" y="358"/>
                  </a:lnTo>
                  <a:lnTo>
                    <a:pt x="47" y="350"/>
                  </a:lnTo>
                  <a:lnTo>
                    <a:pt x="58" y="345"/>
                  </a:lnTo>
                  <a:lnTo>
                    <a:pt x="62" y="328"/>
                  </a:lnTo>
                  <a:lnTo>
                    <a:pt x="64" y="328"/>
                  </a:lnTo>
                  <a:lnTo>
                    <a:pt x="79" y="328"/>
                  </a:lnTo>
                  <a:lnTo>
                    <a:pt x="101" y="323"/>
                  </a:lnTo>
                  <a:lnTo>
                    <a:pt x="116" y="324"/>
                  </a:lnTo>
                  <a:lnTo>
                    <a:pt x="127" y="334"/>
                  </a:lnTo>
                  <a:lnTo>
                    <a:pt x="130" y="339"/>
                  </a:lnTo>
                  <a:lnTo>
                    <a:pt x="130" y="340"/>
                  </a:lnTo>
                  <a:lnTo>
                    <a:pt x="134" y="343"/>
                  </a:lnTo>
                  <a:lnTo>
                    <a:pt x="143" y="350"/>
                  </a:lnTo>
                  <a:lnTo>
                    <a:pt x="156" y="351"/>
                  </a:lnTo>
                  <a:lnTo>
                    <a:pt x="165" y="348"/>
                  </a:lnTo>
                  <a:lnTo>
                    <a:pt x="168" y="342"/>
                  </a:lnTo>
                  <a:lnTo>
                    <a:pt x="170" y="333"/>
                  </a:lnTo>
                  <a:lnTo>
                    <a:pt x="188" y="302"/>
                  </a:lnTo>
                  <a:lnTo>
                    <a:pt x="198" y="280"/>
                  </a:lnTo>
                  <a:lnTo>
                    <a:pt x="200" y="273"/>
                  </a:lnTo>
                  <a:lnTo>
                    <a:pt x="204" y="257"/>
                  </a:lnTo>
                  <a:lnTo>
                    <a:pt x="210" y="241"/>
                  </a:lnTo>
                  <a:lnTo>
                    <a:pt x="221" y="229"/>
                  </a:lnTo>
                  <a:lnTo>
                    <a:pt x="236" y="222"/>
                  </a:lnTo>
                  <a:lnTo>
                    <a:pt x="238" y="217"/>
                  </a:lnTo>
                  <a:lnTo>
                    <a:pt x="240" y="211"/>
                  </a:lnTo>
                  <a:lnTo>
                    <a:pt x="241" y="199"/>
                  </a:lnTo>
                  <a:lnTo>
                    <a:pt x="249" y="171"/>
                  </a:lnTo>
                  <a:lnTo>
                    <a:pt x="251" y="160"/>
                  </a:lnTo>
                  <a:lnTo>
                    <a:pt x="254" y="149"/>
                  </a:lnTo>
                  <a:lnTo>
                    <a:pt x="263" y="131"/>
                  </a:lnTo>
                  <a:lnTo>
                    <a:pt x="270" y="108"/>
                  </a:lnTo>
                  <a:lnTo>
                    <a:pt x="274" y="101"/>
                  </a:lnTo>
                  <a:lnTo>
                    <a:pt x="279" y="95"/>
                  </a:lnTo>
                  <a:lnTo>
                    <a:pt x="288" y="85"/>
                  </a:lnTo>
                  <a:lnTo>
                    <a:pt x="291" y="84"/>
                  </a:lnTo>
                  <a:lnTo>
                    <a:pt x="307" y="77"/>
                  </a:lnTo>
                  <a:lnTo>
                    <a:pt x="310" y="74"/>
                  </a:lnTo>
                  <a:lnTo>
                    <a:pt x="329" y="61"/>
                  </a:lnTo>
                  <a:lnTo>
                    <a:pt x="327" y="48"/>
                  </a:lnTo>
                  <a:lnTo>
                    <a:pt x="328" y="31"/>
                  </a:lnTo>
                  <a:lnTo>
                    <a:pt x="326" y="26"/>
                  </a:lnTo>
                  <a:lnTo>
                    <a:pt x="323" y="23"/>
                  </a:lnTo>
                  <a:lnTo>
                    <a:pt x="322" y="22"/>
                  </a:lnTo>
                  <a:lnTo>
                    <a:pt x="311" y="18"/>
                  </a:lnTo>
                  <a:lnTo>
                    <a:pt x="310" y="15"/>
                  </a:lnTo>
                  <a:lnTo>
                    <a:pt x="315" y="15"/>
                  </a:lnTo>
                  <a:lnTo>
                    <a:pt x="323" y="3"/>
                  </a:lnTo>
                  <a:lnTo>
                    <a:pt x="332" y="0"/>
                  </a:lnTo>
                  <a:lnTo>
                    <a:pt x="338" y="0"/>
                  </a:lnTo>
                  <a:lnTo>
                    <a:pt x="340" y="1"/>
                  </a:lnTo>
                  <a:lnTo>
                    <a:pt x="340" y="4"/>
                  </a:lnTo>
                  <a:lnTo>
                    <a:pt x="347" y="32"/>
                  </a:lnTo>
                  <a:lnTo>
                    <a:pt x="353" y="41"/>
                  </a:lnTo>
                  <a:lnTo>
                    <a:pt x="355" y="48"/>
                  </a:lnTo>
                  <a:lnTo>
                    <a:pt x="354" y="68"/>
                  </a:lnTo>
                  <a:lnTo>
                    <a:pt x="353" y="79"/>
                  </a:lnTo>
                  <a:lnTo>
                    <a:pt x="349" y="90"/>
                  </a:lnTo>
                  <a:lnTo>
                    <a:pt x="349" y="98"/>
                  </a:lnTo>
                  <a:lnTo>
                    <a:pt x="359" y="119"/>
                  </a:lnTo>
                  <a:lnTo>
                    <a:pt x="374" y="140"/>
                  </a:lnTo>
                  <a:lnTo>
                    <a:pt x="376" y="146"/>
                  </a:lnTo>
                  <a:lnTo>
                    <a:pt x="377" y="155"/>
                  </a:lnTo>
                  <a:lnTo>
                    <a:pt x="376" y="157"/>
                  </a:lnTo>
                  <a:lnTo>
                    <a:pt x="372" y="160"/>
                  </a:lnTo>
                  <a:lnTo>
                    <a:pt x="353" y="156"/>
                  </a:lnTo>
                  <a:lnTo>
                    <a:pt x="337" y="154"/>
                  </a:lnTo>
                  <a:lnTo>
                    <a:pt x="322" y="155"/>
                  </a:lnTo>
                  <a:lnTo>
                    <a:pt x="318" y="156"/>
                  </a:lnTo>
                  <a:lnTo>
                    <a:pt x="315" y="159"/>
                  </a:lnTo>
                  <a:lnTo>
                    <a:pt x="310" y="165"/>
                  </a:lnTo>
                  <a:lnTo>
                    <a:pt x="310" y="179"/>
                  </a:lnTo>
                  <a:lnTo>
                    <a:pt x="311" y="192"/>
                  </a:lnTo>
                  <a:lnTo>
                    <a:pt x="322" y="205"/>
                  </a:lnTo>
                  <a:lnTo>
                    <a:pt x="329" y="211"/>
                  </a:lnTo>
                  <a:lnTo>
                    <a:pt x="338" y="215"/>
                  </a:lnTo>
                  <a:lnTo>
                    <a:pt x="350" y="217"/>
                  </a:lnTo>
                  <a:lnTo>
                    <a:pt x="354" y="220"/>
                  </a:lnTo>
                  <a:lnTo>
                    <a:pt x="360" y="230"/>
                  </a:lnTo>
                  <a:lnTo>
                    <a:pt x="370" y="257"/>
                  </a:lnTo>
                  <a:lnTo>
                    <a:pt x="375" y="275"/>
                  </a:lnTo>
                  <a:lnTo>
                    <a:pt x="376" y="292"/>
                  </a:lnTo>
                  <a:lnTo>
                    <a:pt x="377" y="295"/>
                  </a:lnTo>
                  <a:lnTo>
                    <a:pt x="380" y="297"/>
                  </a:lnTo>
                  <a:lnTo>
                    <a:pt x="370" y="323"/>
                  </a:lnTo>
                  <a:lnTo>
                    <a:pt x="360" y="338"/>
                  </a:lnTo>
                  <a:lnTo>
                    <a:pt x="353" y="354"/>
                  </a:lnTo>
                  <a:lnTo>
                    <a:pt x="343" y="369"/>
                  </a:lnTo>
                  <a:lnTo>
                    <a:pt x="332" y="380"/>
                  </a:lnTo>
                  <a:lnTo>
                    <a:pt x="332" y="393"/>
                  </a:lnTo>
                  <a:lnTo>
                    <a:pt x="335" y="407"/>
                  </a:lnTo>
                  <a:lnTo>
                    <a:pt x="334" y="424"/>
                  </a:lnTo>
                  <a:lnTo>
                    <a:pt x="335" y="440"/>
                  </a:lnTo>
                  <a:lnTo>
                    <a:pt x="345" y="458"/>
                  </a:lnTo>
                  <a:lnTo>
                    <a:pt x="354" y="469"/>
                  </a:lnTo>
                  <a:lnTo>
                    <a:pt x="378" y="516"/>
                  </a:lnTo>
                  <a:lnTo>
                    <a:pt x="390" y="528"/>
                  </a:lnTo>
                  <a:lnTo>
                    <a:pt x="413" y="548"/>
                  </a:lnTo>
                  <a:lnTo>
                    <a:pt x="420" y="548"/>
                  </a:lnTo>
                  <a:lnTo>
                    <a:pt x="418" y="559"/>
                  </a:lnTo>
                  <a:lnTo>
                    <a:pt x="420" y="602"/>
                  </a:lnTo>
                  <a:lnTo>
                    <a:pt x="418" y="612"/>
                  </a:lnTo>
                  <a:lnTo>
                    <a:pt x="413" y="615"/>
                  </a:lnTo>
                  <a:lnTo>
                    <a:pt x="390" y="597"/>
                  </a:lnTo>
                  <a:lnTo>
                    <a:pt x="380" y="597"/>
                  </a:lnTo>
                  <a:lnTo>
                    <a:pt x="366" y="592"/>
                  </a:lnTo>
                  <a:lnTo>
                    <a:pt x="351" y="591"/>
                  </a:lnTo>
                  <a:lnTo>
                    <a:pt x="340" y="585"/>
                  </a:lnTo>
                  <a:lnTo>
                    <a:pt x="264" y="58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00063A2F-AB0F-5096-7CFF-C51324DF803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792573" y="3950796"/>
              <a:ext cx="88049" cy="193575"/>
            </a:xfrm>
            <a:custGeom>
              <a:avLst/>
              <a:gdLst>
                <a:gd name="T0" fmla="*/ 2147483647 w 166"/>
                <a:gd name="T1" fmla="*/ 0 h 340"/>
                <a:gd name="T2" fmla="*/ 2147483647 w 166"/>
                <a:gd name="T3" fmla="*/ 0 h 340"/>
                <a:gd name="T4" fmla="*/ 2147483647 w 166"/>
                <a:gd name="T5" fmla="*/ 0 h 340"/>
                <a:gd name="T6" fmla="*/ 2147483647 w 166"/>
                <a:gd name="T7" fmla="*/ 0 h 340"/>
                <a:gd name="T8" fmla="*/ 2147483647 w 166"/>
                <a:gd name="T9" fmla="*/ 0 h 340"/>
                <a:gd name="T10" fmla="*/ 2147483647 w 166"/>
                <a:gd name="T11" fmla="*/ 0 h 340"/>
                <a:gd name="T12" fmla="*/ 2147483647 w 166"/>
                <a:gd name="T13" fmla="*/ 0 h 340"/>
                <a:gd name="T14" fmla="*/ 2147483647 w 166"/>
                <a:gd name="T15" fmla="*/ 0 h 340"/>
                <a:gd name="T16" fmla="*/ 2147483647 w 166"/>
                <a:gd name="T17" fmla="*/ 0 h 340"/>
                <a:gd name="T18" fmla="*/ 2147483647 w 166"/>
                <a:gd name="T19" fmla="*/ 0 h 340"/>
                <a:gd name="T20" fmla="*/ 2147483647 w 166"/>
                <a:gd name="T21" fmla="*/ 0 h 340"/>
                <a:gd name="T22" fmla="*/ 0 w 166"/>
                <a:gd name="T23" fmla="*/ 0 h 340"/>
                <a:gd name="T24" fmla="*/ 0 w 166"/>
                <a:gd name="T25" fmla="*/ 0 h 340"/>
                <a:gd name="T26" fmla="*/ 0 w 166"/>
                <a:gd name="T27" fmla="*/ 0 h 340"/>
                <a:gd name="T28" fmla="*/ 0 w 166"/>
                <a:gd name="T29" fmla="*/ 0 h 340"/>
                <a:gd name="T30" fmla="*/ 0 w 166"/>
                <a:gd name="T31" fmla="*/ 0 h 340"/>
                <a:gd name="T32" fmla="*/ 0 w 166"/>
                <a:gd name="T33" fmla="*/ 2147483647 h 340"/>
                <a:gd name="T34" fmla="*/ 0 w 166"/>
                <a:gd name="T35" fmla="*/ 2147483647 h 340"/>
                <a:gd name="T36" fmla="*/ 0 w 166"/>
                <a:gd name="T37" fmla="*/ 2147483647 h 340"/>
                <a:gd name="T38" fmla="*/ 0 w 166"/>
                <a:gd name="T39" fmla="*/ 2147483647 h 340"/>
                <a:gd name="T40" fmla="*/ 0 w 166"/>
                <a:gd name="T41" fmla="*/ 2147483647 h 340"/>
                <a:gd name="T42" fmla="*/ 0 w 166"/>
                <a:gd name="T43" fmla="*/ 2147483647 h 340"/>
                <a:gd name="T44" fmla="*/ 2147483647 w 166"/>
                <a:gd name="T45" fmla="*/ 2147483647 h 340"/>
                <a:gd name="T46" fmla="*/ 2147483647 w 166"/>
                <a:gd name="T47" fmla="*/ 2147483647 h 340"/>
                <a:gd name="T48" fmla="*/ 2147483647 w 166"/>
                <a:gd name="T49" fmla="*/ 2147483647 h 340"/>
                <a:gd name="T50" fmla="*/ 2147483647 w 166"/>
                <a:gd name="T51" fmla="*/ 2147483647 h 340"/>
                <a:gd name="T52" fmla="*/ 2147483647 w 166"/>
                <a:gd name="T53" fmla="*/ 2147483647 h 340"/>
                <a:gd name="T54" fmla="*/ 2147483647 w 166"/>
                <a:gd name="T55" fmla="*/ 2147483647 h 340"/>
                <a:gd name="T56" fmla="*/ 2147483647 w 166"/>
                <a:gd name="T57" fmla="*/ 2147483647 h 340"/>
                <a:gd name="T58" fmla="*/ 2147483647 w 166"/>
                <a:gd name="T59" fmla="*/ 2147483647 h 340"/>
                <a:gd name="T60" fmla="*/ 2147483647 w 166"/>
                <a:gd name="T61" fmla="*/ 2147483647 h 340"/>
                <a:gd name="T62" fmla="*/ 2147483647 w 166"/>
                <a:gd name="T63" fmla="*/ 2147483647 h 340"/>
                <a:gd name="T64" fmla="*/ 2147483647 w 166"/>
                <a:gd name="T65" fmla="*/ 2147483647 h 340"/>
                <a:gd name="T66" fmla="*/ 2147483647 w 166"/>
                <a:gd name="T67" fmla="*/ 2147483647 h 340"/>
                <a:gd name="T68" fmla="*/ 2147483647 w 166"/>
                <a:gd name="T69" fmla="*/ 2147483647 h 340"/>
                <a:gd name="T70" fmla="*/ 2147483647 w 166"/>
                <a:gd name="T71" fmla="*/ 2147483647 h 340"/>
                <a:gd name="T72" fmla="*/ 2147483647 w 166"/>
                <a:gd name="T73" fmla="*/ 2147483647 h 340"/>
                <a:gd name="T74" fmla="*/ 2147483647 w 166"/>
                <a:gd name="T75" fmla="*/ 2147483647 h 340"/>
                <a:gd name="T76" fmla="*/ 2147483647 w 166"/>
                <a:gd name="T77" fmla="*/ 2147483647 h 340"/>
                <a:gd name="T78" fmla="*/ 2147483647 w 166"/>
                <a:gd name="T79" fmla="*/ 2147483647 h 340"/>
                <a:gd name="T80" fmla="*/ 2147483647 w 166"/>
                <a:gd name="T81" fmla="*/ 0 h 340"/>
                <a:gd name="T82" fmla="*/ 2147483647 w 166"/>
                <a:gd name="T83" fmla="*/ 0 h 340"/>
                <a:gd name="T84" fmla="*/ 2147483647 w 166"/>
                <a:gd name="T85" fmla="*/ 0 h 34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66"/>
                <a:gd name="T130" fmla="*/ 0 h 340"/>
                <a:gd name="T131" fmla="*/ 166 w 166"/>
                <a:gd name="T132" fmla="*/ 340 h 34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66" h="340">
                  <a:moveTo>
                    <a:pt x="156" y="37"/>
                  </a:moveTo>
                  <a:lnTo>
                    <a:pt x="147" y="30"/>
                  </a:lnTo>
                  <a:lnTo>
                    <a:pt x="140" y="25"/>
                  </a:lnTo>
                  <a:lnTo>
                    <a:pt x="128" y="12"/>
                  </a:lnTo>
                  <a:lnTo>
                    <a:pt x="117" y="1"/>
                  </a:lnTo>
                  <a:lnTo>
                    <a:pt x="114" y="0"/>
                  </a:lnTo>
                  <a:lnTo>
                    <a:pt x="106" y="4"/>
                  </a:lnTo>
                  <a:lnTo>
                    <a:pt x="101" y="5"/>
                  </a:lnTo>
                  <a:lnTo>
                    <a:pt x="90" y="8"/>
                  </a:lnTo>
                  <a:lnTo>
                    <a:pt x="90" y="12"/>
                  </a:lnTo>
                  <a:lnTo>
                    <a:pt x="97" y="21"/>
                  </a:lnTo>
                  <a:lnTo>
                    <a:pt x="90" y="25"/>
                  </a:lnTo>
                  <a:lnTo>
                    <a:pt x="90" y="24"/>
                  </a:lnTo>
                  <a:lnTo>
                    <a:pt x="90" y="26"/>
                  </a:lnTo>
                  <a:lnTo>
                    <a:pt x="88" y="31"/>
                  </a:lnTo>
                  <a:lnTo>
                    <a:pt x="85" y="35"/>
                  </a:lnTo>
                  <a:lnTo>
                    <a:pt x="85" y="36"/>
                  </a:lnTo>
                  <a:lnTo>
                    <a:pt x="83" y="39"/>
                  </a:lnTo>
                  <a:lnTo>
                    <a:pt x="71" y="51"/>
                  </a:lnTo>
                  <a:lnTo>
                    <a:pt x="66" y="53"/>
                  </a:lnTo>
                  <a:lnTo>
                    <a:pt x="60" y="51"/>
                  </a:lnTo>
                  <a:lnTo>
                    <a:pt x="52" y="53"/>
                  </a:lnTo>
                  <a:lnTo>
                    <a:pt x="43" y="49"/>
                  </a:lnTo>
                  <a:lnTo>
                    <a:pt x="37" y="49"/>
                  </a:lnTo>
                  <a:lnTo>
                    <a:pt x="34" y="51"/>
                  </a:lnTo>
                  <a:lnTo>
                    <a:pt x="27" y="63"/>
                  </a:lnTo>
                  <a:lnTo>
                    <a:pt x="23" y="62"/>
                  </a:lnTo>
                  <a:lnTo>
                    <a:pt x="21" y="64"/>
                  </a:lnTo>
                  <a:lnTo>
                    <a:pt x="20" y="65"/>
                  </a:lnTo>
                  <a:lnTo>
                    <a:pt x="17" y="68"/>
                  </a:lnTo>
                  <a:lnTo>
                    <a:pt x="16" y="74"/>
                  </a:lnTo>
                  <a:lnTo>
                    <a:pt x="12" y="74"/>
                  </a:lnTo>
                  <a:lnTo>
                    <a:pt x="9" y="78"/>
                  </a:lnTo>
                  <a:lnTo>
                    <a:pt x="6" y="80"/>
                  </a:lnTo>
                  <a:lnTo>
                    <a:pt x="5" y="87"/>
                  </a:lnTo>
                  <a:lnTo>
                    <a:pt x="1" y="95"/>
                  </a:lnTo>
                  <a:lnTo>
                    <a:pt x="0" y="105"/>
                  </a:lnTo>
                  <a:lnTo>
                    <a:pt x="0" y="113"/>
                  </a:lnTo>
                  <a:lnTo>
                    <a:pt x="5" y="117"/>
                  </a:lnTo>
                  <a:lnTo>
                    <a:pt x="11" y="121"/>
                  </a:lnTo>
                  <a:lnTo>
                    <a:pt x="15" y="121"/>
                  </a:lnTo>
                  <a:lnTo>
                    <a:pt x="20" y="124"/>
                  </a:lnTo>
                  <a:lnTo>
                    <a:pt x="32" y="139"/>
                  </a:lnTo>
                  <a:lnTo>
                    <a:pt x="41" y="159"/>
                  </a:lnTo>
                  <a:lnTo>
                    <a:pt x="47" y="180"/>
                  </a:lnTo>
                  <a:lnTo>
                    <a:pt x="50" y="189"/>
                  </a:lnTo>
                  <a:lnTo>
                    <a:pt x="52" y="195"/>
                  </a:lnTo>
                  <a:lnTo>
                    <a:pt x="54" y="204"/>
                  </a:lnTo>
                  <a:lnTo>
                    <a:pt x="56" y="215"/>
                  </a:lnTo>
                  <a:lnTo>
                    <a:pt x="58" y="234"/>
                  </a:lnTo>
                  <a:lnTo>
                    <a:pt x="58" y="285"/>
                  </a:lnTo>
                  <a:lnTo>
                    <a:pt x="54" y="308"/>
                  </a:lnTo>
                  <a:lnTo>
                    <a:pt x="54" y="318"/>
                  </a:lnTo>
                  <a:lnTo>
                    <a:pt x="58" y="331"/>
                  </a:lnTo>
                  <a:lnTo>
                    <a:pt x="60" y="338"/>
                  </a:lnTo>
                  <a:lnTo>
                    <a:pt x="61" y="339"/>
                  </a:lnTo>
                  <a:lnTo>
                    <a:pt x="68" y="340"/>
                  </a:lnTo>
                  <a:lnTo>
                    <a:pt x="112" y="337"/>
                  </a:lnTo>
                  <a:lnTo>
                    <a:pt x="109" y="334"/>
                  </a:lnTo>
                  <a:lnTo>
                    <a:pt x="107" y="295"/>
                  </a:lnTo>
                  <a:lnTo>
                    <a:pt x="108" y="286"/>
                  </a:lnTo>
                  <a:lnTo>
                    <a:pt x="113" y="265"/>
                  </a:lnTo>
                  <a:lnTo>
                    <a:pt x="112" y="235"/>
                  </a:lnTo>
                  <a:lnTo>
                    <a:pt x="113" y="215"/>
                  </a:lnTo>
                  <a:lnTo>
                    <a:pt x="117" y="203"/>
                  </a:lnTo>
                  <a:lnTo>
                    <a:pt x="129" y="183"/>
                  </a:lnTo>
                  <a:lnTo>
                    <a:pt x="130" y="168"/>
                  </a:lnTo>
                  <a:lnTo>
                    <a:pt x="133" y="159"/>
                  </a:lnTo>
                  <a:lnTo>
                    <a:pt x="141" y="149"/>
                  </a:lnTo>
                  <a:lnTo>
                    <a:pt x="156" y="138"/>
                  </a:lnTo>
                  <a:lnTo>
                    <a:pt x="156" y="132"/>
                  </a:lnTo>
                  <a:lnTo>
                    <a:pt x="160" y="129"/>
                  </a:lnTo>
                  <a:lnTo>
                    <a:pt x="160" y="128"/>
                  </a:lnTo>
                  <a:lnTo>
                    <a:pt x="160" y="124"/>
                  </a:lnTo>
                  <a:lnTo>
                    <a:pt x="155" y="119"/>
                  </a:lnTo>
                  <a:lnTo>
                    <a:pt x="155" y="117"/>
                  </a:lnTo>
                  <a:lnTo>
                    <a:pt x="157" y="111"/>
                  </a:lnTo>
                  <a:lnTo>
                    <a:pt x="160" y="109"/>
                  </a:lnTo>
                  <a:lnTo>
                    <a:pt x="165" y="109"/>
                  </a:lnTo>
                  <a:lnTo>
                    <a:pt x="166" y="107"/>
                  </a:lnTo>
                  <a:lnTo>
                    <a:pt x="166" y="89"/>
                  </a:lnTo>
                  <a:lnTo>
                    <a:pt x="162" y="74"/>
                  </a:lnTo>
                  <a:lnTo>
                    <a:pt x="161" y="69"/>
                  </a:lnTo>
                  <a:lnTo>
                    <a:pt x="151" y="59"/>
                  </a:lnTo>
                  <a:lnTo>
                    <a:pt x="150" y="54"/>
                  </a:lnTo>
                  <a:lnTo>
                    <a:pt x="151" y="43"/>
                  </a:lnTo>
                  <a:lnTo>
                    <a:pt x="156" y="3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5D4B5F02-327A-A239-496E-0428CD7C855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161182" y="3595654"/>
              <a:ext cx="314884" cy="512137"/>
            </a:xfrm>
            <a:custGeom>
              <a:avLst/>
              <a:gdLst>
                <a:gd name="T0" fmla="*/ 2147483647 w 588"/>
                <a:gd name="T1" fmla="*/ 2147483647 h 905"/>
                <a:gd name="T2" fmla="*/ 2147483647 w 588"/>
                <a:gd name="T3" fmla="*/ 2147483647 h 905"/>
                <a:gd name="T4" fmla="*/ 2147483647 w 588"/>
                <a:gd name="T5" fmla="*/ 2147483647 h 905"/>
                <a:gd name="T6" fmla="*/ 2147483647 w 588"/>
                <a:gd name="T7" fmla="*/ 2147483647 h 905"/>
                <a:gd name="T8" fmla="*/ 0 w 588"/>
                <a:gd name="T9" fmla="*/ 2147483647 h 905"/>
                <a:gd name="T10" fmla="*/ 0 w 588"/>
                <a:gd name="T11" fmla="*/ 2147483647 h 905"/>
                <a:gd name="T12" fmla="*/ 0 w 588"/>
                <a:gd name="T13" fmla="*/ 2147483647 h 905"/>
                <a:gd name="T14" fmla="*/ 0 w 588"/>
                <a:gd name="T15" fmla="*/ 2147483647 h 905"/>
                <a:gd name="T16" fmla="*/ 2147483647 w 588"/>
                <a:gd name="T17" fmla="*/ 2147483647 h 905"/>
                <a:gd name="T18" fmla="*/ 2147483647 w 588"/>
                <a:gd name="T19" fmla="*/ 2147483647 h 905"/>
                <a:gd name="T20" fmla="*/ 2147483647 w 588"/>
                <a:gd name="T21" fmla="*/ 2147483647 h 905"/>
                <a:gd name="T22" fmla="*/ 2147483647 w 588"/>
                <a:gd name="T23" fmla="*/ 2147483647 h 905"/>
                <a:gd name="T24" fmla="*/ 2147483647 w 588"/>
                <a:gd name="T25" fmla="*/ 2147483647 h 905"/>
                <a:gd name="T26" fmla="*/ 2147483647 w 588"/>
                <a:gd name="T27" fmla="*/ 2147483647 h 905"/>
                <a:gd name="T28" fmla="*/ 2147483647 w 588"/>
                <a:gd name="T29" fmla="*/ 2147483647 h 905"/>
                <a:gd name="T30" fmla="*/ 2147483647 w 588"/>
                <a:gd name="T31" fmla="*/ 2147483647 h 905"/>
                <a:gd name="T32" fmla="*/ 2147483647 w 588"/>
                <a:gd name="T33" fmla="*/ 2147483647 h 905"/>
                <a:gd name="T34" fmla="*/ 2147483647 w 588"/>
                <a:gd name="T35" fmla="*/ 2147483647 h 905"/>
                <a:gd name="T36" fmla="*/ 0 w 588"/>
                <a:gd name="T37" fmla="*/ 2147483647 h 905"/>
                <a:gd name="T38" fmla="*/ 2147483647 w 588"/>
                <a:gd name="T39" fmla="*/ 2147483647 h 905"/>
                <a:gd name="T40" fmla="*/ 2147483647 w 588"/>
                <a:gd name="T41" fmla="*/ 2147483647 h 905"/>
                <a:gd name="T42" fmla="*/ 2147483647 w 588"/>
                <a:gd name="T43" fmla="*/ 2147483647 h 905"/>
                <a:gd name="T44" fmla="*/ 2147483647 w 588"/>
                <a:gd name="T45" fmla="*/ 2147483647 h 905"/>
                <a:gd name="T46" fmla="*/ 2147483647 w 588"/>
                <a:gd name="T47" fmla="*/ 2147483647 h 905"/>
                <a:gd name="T48" fmla="*/ 2147483647 w 588"/>
                <a:gd name="T49" fmla="*/ 2147483647 h 905"/>
                <a:gd name="T50" fmla="*/ 2147483647 w 588"/>
                <a:gd name="T51" fmla="*/ 2147483647 h 905"/>
                <a:gd name="T52" fmla="*/ 2147483647 w 588"/>
                <a:gd name="T53" fmla="*/ 2147483647 h 905"/>
                <a:gd name="T54" fmla="*/ 2147483647 w 588"/>
                <a:gd name="T55" fmla="*/ 2147483647 h 905"/>
                <a:gd name="T56" fmla="*/ 2147483647 w 588"/>
                <a:gd name="T57" fmla="*/ 2147483647 h 905"/>
                <a:gd name="T58" fmla="*/ 2147483647 w 588"/>
                <a:gd name="T59" fmla="*/ 2147483647 h 905"/>
                <a:gd name="T60" fmla="*/ 2147483647 w 588"/>
                <a:gd name="T61" fmla="*/ 2147483647 h 905"/>
                <a:gd name="T62" fmla="*/ 2147483647 w 588"/>
                <a:gd name="T63" fmla="*/ 2147483647 h 905"/>
                <a:gd name="T64" fmla="*/ 2147483647 w 588"/>
                <a:gd name="T65" fmla="*/ 2147483647 h 905"/>
                <a:gd name="T66" fmla="*/ 2147483647 w 588"/>
                <a:gd name="T67" fmla="*/ 2147483647 h 905"/>
                <a:gd name="T68" fmla="*/ 2147483647 w 588"/>
                <a:gd name="T69" fmla="*/ 2147483647 h 905"/>
                <a:gd name="T70" fmla="*/ 2147483647 w 588"/>
                <a:gd name="T71" fmla="*/ 2147483647 h 905"/>
                <a:gd name="T72" fmla="*/ 2147483647 w 588"/>
                <a:gd name="T73" fmla="*/ 2147483647 h 905"/>
                <a:gd name="T74" fmla="*/ 2147483647 w 588"/>
                <a:gd name="T75" fmla="*/ 2147483647 h 905"/>
                <a:gd name="T76" fmla="*/ 2147483647 w 588"/>
                <a:gd name="T77" fmla="*/ 2147483647 h 905"/>
                <a:gd name="T78" fmla="*/ 2147483647 w 588"/>
                <a:gd name="T79" fmla="*/ 2147483647 h 905"/>
                <a:gd name="T80" fmla="*/ 2147483647 w 588"/>
                <a:gd name="T81" fmla="*/ 2147483647 h 905"/>
                <a:gd name="T82" fmla="*/ 2147483647 w 588"/>
                <a:gd name="T83" fmla="*/ 2147483647 h 905"/>
                <a:gd name="T84" fmla="*/ 2147483647 w 588"/>
                <a:gd name="T85" fmla="*/ 2147483647 h 905"/>
                <a:gd name="T86" fmla="*/ 2147483647 w 588"/>
                <a:gd name="T87" fmla="*/ 2147483647 h 905"/>
                <a:gd name="T88" fmla="*/ 2147483647 w 588"/>
                <a:gd name="T89" fmla="*/ 2147483647 h 905"/>
                <a:gd name="T90" fmla="*/ 2147483647 w 588"/>
                <a:gd name="T91" fmla="*/ 2147483647 h 905"/>
                <a:gd name="T92" fmla="*/ 2147483647 w 588"/>
                <a:gd name="T93" fmla="*/ 2147483647 h 905"/>
                <a:gd name="T94" fmla="*/ 2147483647 w 588"/>
                <a:gd name="T95" fmla="*/ 2147483647 h 905"/>
                <a:gd name="T96" fmla="*/ 2147483647 w 588"/>
                <a:gd name="T97" fmla="*/ 2147483647 h 905"/>
                <a:gd name="T98" fmla="*/ 2147483647 w 588"/>
                <a:gd name="T99" fmla="*/ 2147483647 h 905"/>
                <a:gd name="T100" fmla="*/ 2147483647 w 588"/>
                <a:gd name="T101" fmla="*/ 2147483647 h 905"/>
                <a:gd name="T102" fmla="*/ 2147483647 w 588"/>
                <a:gd name="T103" fmla="*/ 2147483647 h 905"/>
                <a:gd name="T104" fmla="*/ 2147483647 w 588"/>
                <a:gd name="T105" fmla="*/ 2147483647 h 905"/>
                <a:gd name="T106" fmla="*/ 2147483647 w 588"/>
                <a:gd name="T107" fmla="*/ 2147483647 h 905"/>
                <a:gd name="T108" fmla="*/ 2147483647 w 588"/>
                <a:gd name="T109" fmla="*/ 2147483647 h 905"/>
                <a:gd name="T110" fmla="*/ 2147483647 w 588"/>
                <a:gd name="T111" fmla="*/ 2147483647 h 905"/>
                <a:gd name="T112" fmla="*/ 2147483647 w 588"/>
                <a:gd name="T113" fmla="*/ 2147483647 h 905"/>
                <a:gd name="T114" fmla="*/ 2147483647 w 588"/>
                <a:gd name="T115" fmla="*/ 2147483647 h 905"/>
                <a:gd name="T116" fmla="*/ 2147483647 w 588"/>
                <a:gd name="T117" fmla="*/ 2147483647 h 905"/>
                <a:gd name="T118" fmla="*/ 2147483647 w 588"/>
                <a:gd name="T119" fmla="*/ 2147483647 h 905"/>
                <a:gd name="T120" fmla="*/ 2147483647 w 588"/>
                <a:gd name="T121" fmla="*/ 0 h 905"/>
                <a:gd name="T122" fmla="*/ 2147483647 w 588"/>
                <a:gd name="T123" fmla="*/ 0 h 905"/>
                <a:gd name="T124" fmla="*/ 2147483647 w 588"/>
                <a:gd name="T125" fmla="*/ 2147483647 h 90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88"/>
                <a:gd name="T190" fmla="*/ 0 h 905"/>
                <a:gd name="T191" fmla="*/ 588 w 588"/>
                <a:gd name="T192" fmla="*/ 905 h 90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88" h="905">
                  <a:moveTo>
                    <a:pt x="91" y="106"/>
                  </a:moveTo>
                  <a:lnTo>
                    <a:pt x="94" y="112"/>
                  </a:lnTo>
                  <a:lnTo>
                    <a:pt x="99" y="122"/>
                  </a:lnTo>
                  <a:lnTo>
                    <a:pt x="99" y="124"/>
                  </a:lnTo>
                  <a:lnTo>
                    <a:pt x="102" y="131"/>
                  </a:lnTo>
                  <a:lnTo>
                    <a:pt x="106" y="143"/>
                  </a:lnTo>
                  <a:lnTo>
                    <a:pt x="110" y="149"/>
                  </a:lnTo>
                  <a:lnTo>
                    <a:pt x="116" y="155"/>
                  </a:lnTo>
                  <a:lnTo>
                    <a:pt x="122" y="160"/>
                  </a:lnTo>
                  <a:lnTo>
                    <a:pt x="145" y="173"/>
                  </a:lnTo>
                  <a:lnTo>
                    <a:pt x="132" y="197"/>
                  </a:lnTo>
                  <a:lnTo>
                    <a:pt x="117" y="276"/>
                  </a:lnTo>
                  <a:lnTo>
                    <a:pt x="111" y="375"/>
                  </a:lnTo>
                  <a:lnTo>
                    <a:pt x="107" y="380"/>
                  </a:lnTo>
                  <a:lnTo>
                    <a:pt x="19" y="479"/>
                  </a:lnTo>
                  <a:lnTo>
                    <a:pt x="19" y="490"/>
                  </a:lnTo>
                  <a:lnTo>
                    <a:pt x="13" y="493"/>
                  </a:lnTo>
                  <a:lnTo>
                    <a:pt x="13" y="502"/>
                  </a:lnTo>
                  <a:lnTo>
                    <a:pt x="5" y="504"/>
                  </a:lnTo>
                  <a:lnTo>
                    <a:pt x="0" y="509"/>
                  </a:lnTo>
                  <a:lnTo>
                    <a:pt x="3" y="520"/>
                  </a:lnTo>
                  <a:lnTo>
                    <a:pt x="19" y="525"/>
                  </a:lnTo>
                  <a:lnTo>
                    <a:pt x="22" y="531"/>
                  </a:lnTo>
                  <a:lnTo>
                    <a:pt x="30" y="534"/>
                  </a:lnTo>
                  <a:lnTo>
                    <a:pt x="36" y="543"/>
                  </a:lnTo>
                  <a:lnTo>
                    <a:pt x="40" y="564"/>
                  </a:lnTo>
                  <a:lnTo>
                    <a:pt x="57" y="568"/>
                  </a:lnTo>
                  <a:lnTo>
                    <a:pt x="69" y="565"/>
                  </a:lnTo>
                  <a:lnTo>
                    <a:pt x="75" y="569"/>
                  </a:lnTo>
                  <a:lnTo>
                    <a:pt x="83" y="571"/>
                  </a:lnTo>
                  <a:lnTo>
                    <a:pt x="90" y="569"/>
                  </a:lnTo>
                  <a:lnTo>
                    <a:pt x="97" y="582"/>
                  </a:lnTo>
                  <a:lnTo>
                    <a:pt x="95" y="587"/>
                  </a:lnTo>
                  <a:lnTo>
                    <a:pt x="94" y="596"/>
                  </a:lnTo>
                  <a:lnTo>
                    <a:pt x="84" y="603"/>
                  </a:lnTo>
                  <a:lnTo>
                    <a:pt x="68" y="608"/>
                  </a:lnTo>
                  <a:lnTo>
                    <a:pt x="70" y="609"/>
                  </a:lnTo>
                  <a:lnTo>
                    <a:pt x="70" y="612"/>
                  </a:lnTo>
                  <a:lnTo>
                    <a:pt x="77" y="640"/>
                  </a:lnTo>
                  <a:lnTo>
                    <a:pt x="83" y="649"/>
                  </a:lnTo>
                  <a:lnTo>
                    <a:pt x="85" y="656"/>
                  </a:lnTo>
                  <a:lnTo>
                    <a:pt x="84" y="676"/>
                  </a:lnTo>
                  <a:lnTo>
                    <a:pt x="83" y="687"/>
                  </a:lnTo>
                  <a:lnTo>
                    <a:pt x="79" y="698"/>
                  </a:lnTo>
                  <a:lnTo>
                    <a:pt x="79" y="706"/>
                  </a:lnTo>
                  <a:lnTo>
                    <a:pt x="89" y="727"/>
                  </a:lnTo>
                  <a:lnTo>
                    <a:pt x="104" y="748"/>
                  </a:lnTo>
                  <a:lnTo>
                    <a:pt x="106" y="754"/>
                  </a:lnTo>
                  <a:lnTo>
                    <a:pt x="107" y="763"/>
                  </a:lnTo>
                  <a:lnTo>
                    <a:pt x="106" y="765"/>
                  </a:lnTo>
                  <a:lnTo>
                    <a:pt x="102" y="768"/>
                  </a:lnTo>
                  <a:lnTo>
                    <a:pt x="83" y="764"/>
                  </a:lnTo>
                  <a:lnTo>
                    <a:pt x="67" y="762"/>
                  </a:lnTo>
                  <a:lnTo>
                    <a:pt x="52" y="763"/>
                  </a:lnTo>
                  <a:lnTo>
                    <a:pt x="48" y="764"/>
                  </a:lnTo>
                  <a:lnTo>
                    <a:pt x="45" y="767"/>
                  </a:lnTo>
                  <a:lnTo>
                    <a:pt x="40" y="773"/>
                  </a:lnTo>
                  <a:lnTo>
                    <a:pt x="40" y="787"/>
                  </a:lnTo>
                  <a:lnTo>
                    <a:pt x="41" y="800"/>
                  </a:lnTo>
                  <a:lnTo>
                    <a:pt x="52" y="813"/>
                  </a:lnTo>
                  <a:lnTo>
                    <a:pt x="59" y="819"/>
                  </a:lnTo>
                  <a:lnTo>
                    <a:pt x="68" y="823"/>
                  </a:lnTo>
                  <a:lnTo>
                    <a:pt x="80" y="825"/>
                  </a:lnTo>
                  <a:lnTo>
                    <a:pt x="84" y="828"/>
                  </a:lnTo>
                  <a:lnTo>
                    <a:pt x="90" y="838"/>
                  </a:lnTo>
                  <a:lnTo>
                    <a:pt x="100" y="865"/>
                  </a:lnTo>
                  <a:lnTo>
                    <a:pt x="105" y="883"/>
                  </a:lnTo>
                  <a:lnTo>
                    <a:pt x="106" y="900"/>
                  </a:lnTo>
                  <a:lnTo>
                    <a:pt x="107" y="903"/>
                  </a:lnTo>
                  <a:lnTo>
                    <a:pt x="110" y="905"/>
                  </a:lnTo>
                  <a:lnTo>
                    <a:pt x="113" y="903"/>
                  </a:lnTo>
                  <a:lnTo>
                    <a:pt x="122" y="902"/>
                  </a:lnTo>
                  <a:lnTo>
                    <a:pt x="128" y="900"/>
                  </a:lnTo>
                  <a:lnTo>
                    <a:pt x="133" y="900"/>
                  </a:lnTo>
                  <a:lnTo>
                    <a:pt x="139" y="903"/>
                  </a:lnTo>
                  <a:lnTo>
                    <a:pt x="144" y="902"/>
                  </a:lnTo>
                  <a:lnTo>
                    <a:pt x="154" y="894"/>
                  </a:lnTo>
                  <a:lnTo>
                    <a:pt x="167" y="892"/>
                  </a:lnTo>
                  <a:lnTo>
                    <a:pt x="170" y="884"/>
                  </a:lnTo>
                  <a:lnTo>
                    <a:pt x="174" y="884"/>
                  </a:lnTo>
                  <a:lnTo>
                    <a:pt x="175" y="882"/>
                  </a:lnTo>
                  <a:lnTo>
                    <a:pt x="178" y="882"/>
                  </a:lnTo>
                  <a:lnTo>
                    <a:pt x="181" y="883"/>
                  </a:lnTo>
                  <a:lnTo>
                    <a:pt x="185" y="889"/>
                  </a:lnTo>
                  <a:lnTo>
                    <a:pt x="187" y="892"/>
                  </a:lnTo>
                  <a:lnTo>
                    <a:pt x="194" y="898"/>
                  </a:lnTo>
                  <a:lnTo>
                    <a:pt x="198" y="897"/>
                  </a:lnTo>
                  <a:lnTo>
                    <a:pt x="201" y="893"/>
                  </a:lnTo>
                  <a:lnTo>
                    <a:pt x="209" y="892"/>
                  </a:lnTo>
                  <a:lnTo>
                    <a:pt x="215" y="888"/>
                  </a:lnTo>
                  <a:lnTo>
                    <a:pt x="219" y="886"/>
                  </a:lnTo>
                  <a:lnTo>
                    <a:pt x="223" y="882"/>
                  </a:lnTo>
                  <a:lnTo>
                    <a:pt x="245" y="875"/>
                  </a:lnTo>
                  <a:lnTo>
                    <a:pt x="251" y="875"/>
                  </a:lnTo>
                  <a:lnTo>
                    <a:pt x="260" y="875"/>
                  </a:lnTo>
                  <a:lnTo>
                    <a:pt x="267" y="871"/>
                  </a:lnTo>
                  <a:lnTo>
                    <a:pt x="291" y="871"/>
                  </a:lnTo>
                  <a:lnTo>
                    <a:pt x="293" y="870"/>
                  </a:lnTo>
                  <a:lnTo>
                    <a:pt x="294" y="864"/>
                  </a:lnTo>
                  <a:lnTo>
                    <a:pt x="296" y="861"/>
                  </a:lnTo>
                  <a:lnTo>
                    <a:pt x="301" y="860"/>
                  </a:lnTo>
                  <a:lnTo>
                    <a:pt x="306" y="857"/>
                  </a:lnTo>
                  <a:lnTo>
                    <a:pt x="309" y="849"/>
                  </a:lnTo>
                  <a:lnTo>
                    <a:pt x="314" y="845"/>
                  </a:lnTo>
                  <a:lnTo>
                    <a:pt x="316" y="841"/>
                  </a:lnTo>
                  <a:lnTo>
                    <a:pt x="314" y="834"/>
                  </a:lnTo>
                  <a:lnTo>
                    <a:pt x="307" y="829"/>
                  </a:lnTo>
                  <a:lnTo>
                    <a:pt x="307" y="827"/>
                  </a:lnTo>
                  <a:lnTo>
                    <a:pt x="309" y="823"/>
                  </a:lnTo>
                  <a:lnTo>
                    <a:pt x="311" y="822"/>
                  </a:lnTo>
                  <a:lnTo>
                    <a:pt x="321" y="818"/>
                  </a:lnTo>
                  <a:lnTo>
                    <a:pt x="332" y="817"/>
                  </a:lnTo>
                  <a:lnTo>
                    <a:pt x="352" y="817"/>
                  </a:lnTo>
                  <a:lnTo>
                    <a:pt x="354" y="814"/>
                  </a:lnTo>
                  <a:lnTo>
                    <a:pt x="364" y="813"/>
                  </a:lnTo>
                  <a:lnTo>
                    <a:pt x="371" y="811"/>
                  </a:lnTo>
                  <a:lnTo>
                    <a:pt x="379" y="811"/>
                  </a:lnTo>
                  <a:lnTo>
                    <a:pt x="384" y="813"/>
                  </a:lnTo>
                  <a:lnTo>
                    <a:pt x="391" y="810"/>
                  </a:lnTo>
                  <a:lnTo>
                    <a:pt x="393" y="807"/>
                  </a:lnTo>
                  <a:lnTo>
                    <a:pt x="398" y="800"/>
                  </a:lnTo>
                  <a:lnTo>
                    <a:pt x="404" y="798"/>
                  </a:lnTo>
                  <a:lnTo>
                    <a:pt x="417" y="792"/>
                  </a:lnTo>
                  <a:lnTo>
                    <a:pt x="420" y="789"/>
                  </a:lnTo>
                  <a:lnTo>
                    <a:pt x="424" y="779"/>
                  </a:lnTo>
                  <a:lnTo>
                    <a:pt x="440" y="763"/>
                  </a:lnTo>
                  <a:lnTo>
                    <a:pt x="445" y="762"/>
                  </a:lnTo>
                  <a:lnTo>
                    <a:pt x="449" y="759"/>
                  </a:lnTo>
                  <a:lnTo>
                    <a:pt x="455" y="749"/>
                  </a:lnTo>
                  <a:lnTo>
                    <a:pt x="462" y="747"/>
                  </a:lnTo>
                  <a:lnTo>
                    <a:pt x="462" y="731"/>
                  </a:lnTo>
                  <a:lnTo>
                    <a:pt x="467" y="720"/>
                  </a:lnTo>
                  <a:lnTo>
                    <a:pt x="473" y="715"/>
                  </a:lnTo>
                  <a:lnTo>
                    <a:pt x="479" y="712"/>
                  </a:lnTo>
                  <a:lnTo>
                    <a:pt x="495" y="711"/>
                  </a:lnTo>
                  <a:lnTo>
                    <a:pt x="504" y="708"/>
                  </a:lnTo>
                  <a:lnTo>
                    <a:pt x="515" y="705"/>
                  </a:lnTo>
                  <a:lnTo>
                    <a:pt x="524" y="701"/>
                  </a:lnTo>
                  <a:lnTo>
                    <a:pt x="524" y="693"/>
                  </a:lnTo>
                  <a:lnTo>
                    <a:pt x="521" y="684"/>
                  </a:lnTo>
                  <a:lnTo>
                    <a:pt x="518" y="679"/>
                  </a:lnTo>
                  <a:lnTo>
                    <a:pt x="511" y="676"/>
                  </a:lnTo>
                  <a:lnTo>
                    <a:pt x="510" y="674"/>
                  </a:lnTo>
                  <a:lnTo>
                    <a:pt x="498" y="640"/>
                  </a:lnTo>
                  <a:lnTo>
                    <a:pt x="493" y="624"/>
                  </a:lnTo>
                  <a:lnTo>
                    <a:pt x="494" y="608"/>
                  </a:lnTo>
                  <a:lnTo>
                    <a:pt x="478" y="612"/>
                  </a:lnTo>
                  <a:lnTo>
                    <a:pt x="473" y="613"/>
                  </a:lnTo>
                  <a:lnTo>
                    <a:pt x="470" y="613"/>
                  </a:lnTo>
                  <a:lnTo>
                    <a:pt x="470" y="597"/>
                  </a:lnTo>
                  <a:lnTo>
                    <a:pt x="471" y="592"/>
                  </a:lnTo>
                  <a:lnTo>
                    <a:pt x="477" y="581"/>
                  </a:lnTo>
                  <a:lnTo>
                    <a:pt x="479" y="572"/>
                  </a:lnTo>
                  <a:lnTo>
                    <a:pt x="479" y="558"/>
                  </a:lnTo>
                  <a:lnTo>
                    <a:pt x="481" y="548"/>
                  </a:lnTo>
                  <a:lnTo>
                    <a:pt x="484" y="544"/>
                  </a:lnTo>
                  <a:lnTo>
                    <a:pt x="492" y="539"/>
                  </a:lnTo>
                  <a:lnTo>
                    <a:pt x="493" y="538"/>
                  </a:lnTo>
                  <a:lnTo>
                    <a:pt x="494" y="533"/>
                  </a:lnTo>
                  <a:lnTo>
                    <a:pt x="493" y="525"/>
                  </a:lnTo>
                  <a:lnTo>
                    <a:pt x="493" y="512"/>
                  </a:lnTo>
                  <a:lnTo>
                    <a:pt x="509" y="494"/>
                  </a:lnTo>
                  <a:lnTo>
                    <a:pt x="521" y="477"/>
                  </a:lnTo>
                  <a:lnTo>
                    <a:pt x="525" y="466"/>
                  </a:lnTo>
                  <a:lnTo>
                    <a:pt x="526" y="455"/>
                  </a:lnTo>
                  <a:lnTo>
                    <a:pt x="529" y="446"/>
                  </a:lnTo>
                  <a:lnTo>
                    <a:pt x="530" y="445"/>
                  </a:lnTo>
                  <a:lnTo>
                    <a:pt x="542" y="443"/>
                  </a:lnTo>
                  <a:lnTo>
                    <a:pt x="551" y="442"/>
                  </a:lnTo>
                  <a:lnTo>
                    <a:pt x="580" y="442"/>
                  </a:lnTo>
                  <a:lnTo>
                    <a:pt x="586" y="441"/>
                  </a:lnTo>
                  <a:lnTo>
                    <a:pt x="588" y="392"/>
                  </a:lnTo>
                  <a:lnTo>
                    <a:pt x="588" y="337"/>
                  </a:lnTo>
                  <a:lnTo>
                    <a:pt x="588" y="283"/>
                  </a:lnTo>
                  <a:lnTo>
                    <a:pt x="588" y="227"/>
                  </a:lnTo>
                  <a:lnTo>
                    <a:pt x="579" y="226"/>
                  </a:lnTo>
                  <a:lnTo>
                    <a:pt x="532" y="202"/>
                  </a:lnTo>
                  <a:lnTo>
                    <a:pt x="486" y="178"/>
                  </a:lnTo>
                  <a:lnTo>
                    <a:pt x="438" y="154"/>
                  </a:lnTo>
                  <a:lnTo>
                    <a:pt x="391" y="129"/>
                  </a:lnTo>
                  <a:lnTo>
                    <a:pt x="344" y="104"/>
                  </a:lnTo>
                  <a:lnTo>
                    <a:pt x="298" y="79"/>
                  </a:lnTo>
                  <a:lnTo>
                    <a:pt x="251" y="54"/>
                  </a:lnTo>
                  <a:lnTo>
                    <a:pt x="204" y="30"/>
                  </a:lnTo>
                  <a:lnTo>
                    <a:pt x="158" y="5"/>
                  </a:lnTo>
                  <a:lnTo>
                    <a:pt x="147" y="0"/>
                  </a:lnTo>
                  <a:lnTo>
                    <a:pt x="97" y="17"/>
                  </a:lnTo>
                  <a:lnTo>
                    <a:pt x="91" y="20"/>
                  </a:lnTo>
                  <a:lnTo>
                    <a:pt x="91" y="10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C38E831E-AF79-F823-35ED-18A8AECA039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838705" y="3769414"/>
              <a:ext cx="192512" cy="185955"/>
            </a:xfrm>
            <a:custGeom>
              <a:avLst/>
              <a:gdLst>
                <a:gd name="T0" fmla="*/ 2147483647 w 360"/>
                <a:gd name="T1" fmla="*/ 0 h 324"/>
                <a:gd name="T2" fmla="*/ 2147483647 w 360"/>
                <a:gd name="T3" fmla="*/ 0 h 324"/>
                <a:gd name="T4" fmla="*/ 0 w 360"/>
                <a:gd name="T5" fmla="*/ 0 h 324"/>
                <a:gd name="T6" fmla="*/ 0 w 360"/>
                <a:gd name="T7" fmla="*/ 2147483647 h 324"/>
                <a:gd name="T8" fmla="*/ 0 w 360"/>
                <a:gd name="T9" fmla="*/ 2147483647 h 324"/>
                <a:gd name="T10" fmla="*/ 0 w 360"/>
                <a:gd name="T11" fmla="*/ 2147483647 h 324"/>
                <a:gd name="T12" fmla="*/ 0 w 360"/>
                <a:gd name="T13" fmla="*/ 2147483647 h 324"/>
                <a:gd name="T14" fmla="*/ 0 w 360"/>
                <a:gd name="T15" fmla="*/ 2147483647 h 324"/>
                <a:gd name="T16" fmla="*/ 0 w 360"/>
                <a:gd name="T17" fmla="*/ 2147483647 h 324"/>
                <a:gd name="T18" fmla="*/ 2147483647 w 360"/>
                <a:gd name="T19" fmla="*/ 2147483647 h 324"/>
                <a:gd name="T20" fmla="*/ 2147483647 w 360"/>
                <a:gd name="T21" fmla="*/ 2147483647 h 324"/>
                <a:gd name="T22" fmla="*/ 2147483647 w 360"/>
                <a:gd name="T23" fmla="*/ 2147483647 h 324"/>
                <a:gd name="T24" fmla="*/ 2147483647 w 360"/>
                <a:gd name="T25" fmla="*/ 2147483647 h 324"/>
                <a:gd name="T26" fmla="*/ 2147483647 w 360"/>
                <a:gd name="T27" fmla="*/ 2147483647 h 324"/>
                <a:gd name="T28" fmla="*/ 2147483647 w 360"/>
                <a:gd name="T29" fmla="*/ 2147483647 h 324"/>
                <a:gd name="T30" fmla="*/ 2147483647 w 360"/>
                <a:gd name="T31" fmla="*/ 2147483647 h 324"/>
                <a:gd name="T32" fmla="*/ 2147483647 w 360"/>
                <a:gd name="T33" fmla="*/ 2147483647 h 324"/>
                <a:gd name="T34" fmla="*/ 2147483647 w 360"/>
                <a:gd name="T35" fmla="*/ 2147483647 h 324"/>
                <a:gd name="T36" fmla="*/ 2147483647 w 360"/>
                <a:gd name="T37" fmla="*/ 2147483647 h 324"/>
                <a:gd name="T38" fmla="*/ 2147483647 w 360"/>
                <a:gd name="T39" fmla="*/ 2147483647 h 324"/>
                <a:gd name="T40" fmla="*/ 2147483647 w 360"/>
                <a:gd name="T41" fmla="*/ 2147483647 h 324"/>
                <a:gd name="T42" fmla="*/ 2147483647 w 360"/>
                <a:gd name="T43" fmla="*/ 2147483647 h 324"/>
                <a:gd name="T44" fmla="*/ 2147483647 w 360"/>
                <a:gd name="T45" fmla="*/ 2147483647 h 324"/>
                <a:gd name="T46" fmla="*/ 2147483647 w 360"/>
                <a:gd name="T47" fmla="*/ 2147483647 h 324"/>
                <a:gd name="T48" fmla="*/ 2147483647 w 360"/>
                <a:gd name="T49" fmla="*/ 2147483647 h 324"/>
                <a:gd name="T50" fmla="*/ 2147483647 w 360"/>
                <a:gd name="T51" fmla="*/ 2147483647 h 324"/>
                <a:gd name="T52" fmla="*/ 2147483647 w 360"/>
                <a:gd name="T53" fmla="*/ 2147483647 h 324"/>
                <a:gd name="T54" fmla="*/ 2147483647 w 360"/>
                <a:gd name="T55" fmla="*/ 2147483647 h 324"/>
                <a:gd name="T56" fmla="*/ 2147483647 w 360"/>
                <a:gd name="T57" fmla="*/ 2147483647 h 324"/>
                <a:gd name="T58" fmla="*/ 2147483647 w 360"/>
                <a:gd name="T59" fmla="*/ 2147483647 h 324"/>
                <a:gd name="T60" fmla="*/ 2147483647 w 360"/>
                <a:gd name="T61" fmla="*/ 2147483647 h 324"/>
                <a:gd name="T62" fmla="*/ 2147483647 w 360"/>
                <a:gd name="T63" fmla="*/ 2147483647 h 324"/>
                <a:gd name="T64" fmla="*/ 2147483647 w 360"/>
                <a:gd name="T65" fmla="*/ 2147483647 h 324"/>
                <a:gd name="T66" fmla="*/ 2147483647 w 360"/>
                <a:gd name="T67" fmla="*/ 2147483647 h 324"/>
                <a:gd name="T68" fmla="*/ 2147483647 w 360"/>
                <a:gd name="T69" fmla="*/ 2147483647 h 324"/>
                <a:gd name="T70" fmla="*/ 2147483647 w 360"/>
                <a:gd name="T71" fmla="*/ 2147483647 h 324"/>
                <a:gd name="T72" fmla="*/ 2147483647 w 360"/>
                <a:gd name="T73" fmla="*/ 2147483647 h 324"/>
                <a:gd name="T74" fmla="*/ 2147483647 w 360"/>
                <a:gd name="T75" fmla="*/ 2147483647 h 324"/>
                <a:gd name="T76" fmla="*/ 2147483647 w 360"/>
                <a:gd name="T77" fmla="*/ 2147483647 h 324"/>
                <a:gd name="T78" fmla="*/ 2147483647 w 360"/>
                <a:gd name="T79" fmla="*/ 2147483647 h 324"/>
                <a:gd name="T80" fmla="*/ 2147483647 w 360"/>
                <a:gd name="T81" fmla="*/ 2147483647 h 324"/>
                <a:gd name="T82" fmla="*/ 2147483647 w 360"/>
                <a:gd name="T83" fmla="*/ 2147483647 h 324"/>
                <a:gd name="T84" fmla="*/ 2147483647 w 360"/>
                <a:gd name="T85" fmla="*/ 2147483647 h 324"/>
                <a:gd name="T86" fmla="*/ 2147483647 w 360"/>
                <a:gd name="T87" fmla="*/ 2147483647 h 324"/>
                <a:gd name="T88" fmla="*/ 2147483647 w 360"/>
                <a:gd name="T89" fmla="*/ 2147483647 h 324"/>
                <a:gd name="T90" fmla="*/ 2147483647 w 360"/>
                <a:gd name="T91" fmla="*/ 0 h 324"/>
                <a:gd name="T92" fmla="*/ 2147483647 w 360"/>
                <a:gd name="T93" fmla="*/ 0 h 324"/>
                <a:gd name="T94" fmla="*/ 2147483647 w 360"/>
                <a:gd name="T95" fmla="*/ 0 h 324"/>
                <a:gd name="T96" fmla="*/ 2147483647 w 360"/>
                <a:gd name="T97" fmla="*/ 0 h 32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60"/>
                <a:gd name="T148" fmla="*/ 0 h 324"/>
                <a:gd name="T149" fmla="*/ 360 w 360"/>
                <a:gd name="T150" fmla="*/ 324 h 32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60" h="324">
                  <a:moveTo>
                    <a:pt x="109" y="0"/>
                  </a:moveTo>
                  <a:lnTo>
                    <a:pt x="107" y="9"/>
                  </a:lnTo>
                  <a:lnTo>
                    <a:pt x="100" y="24"/>
                  </a:lnTo>
                  <a:lnTo>
                    <a:pt x="87" y="30"/>
                  </a:lnTo>
                  <a:lnTo>
                    <a:pt x="79" y="33"/>
                  </a:lnTo>
                  <a:lnTo>
                    <a:pt x="58" y="43"/>
                  </a:lnTo>
                  <a:lnTo>
                    <a:pt x="53" y="50"/>
                  </a:lnTo>
                  <a:lnTo>
                    <a:pt x="44" y="55"/>
                  </a:lnTo>
                  <a:lnTo>
                    <a:pt x="31" y="56"/>
                  </a:lnTo>
                  <a:lnTo>
                    <a:pt x="27" y="65"/>
                  </a:lnTo>
                  <a:lnTo>
                    <a:pt x="23" y="86"/>
                  </a:lnTo>
                  <a:lnTo>
                    <a:pt x="23" y="94"/>
                  </a:lnTo>
                  <a:lnTo>
                    <a:pt x="20" y="115"/>
                  </a:lnTo>
                  <a:lnTo>
                    <a:pt x="11" y="149"/>
                  </a:lnTo>
                  <a:lnTo>
                    <a:pt x="4" y="163"/>
                  </a:lnTo>
                  <a:lnTo>
                    <a:pt x="0" y="180"/>
                  </a:lnTo>
                  <a:lnTo>
                    <a:pt x="0" y="200"/>
                  </a:lnTo>
                  <a:lnTo>
                    <a:pt x="3" y="216"/>
                  </a:lnTo>
                  <a:lnTo>
                    <a:pt x="5" y="217"/>
                  </a:lnTo>
                  <a:lnTo>
                    <a:pt x="20" y="217"/>
                  </a:lnTo>
                  <a:lnTo>
                    <a:pt x="23" y="219"/>
                  </a:lnTo>
                  <a:lnTo>
                    <a:pt x="27" y="219"/>
                  </a:lnTo>
                  <a:lnTo>
                    <a:pt x="30" y="216"/>
                  </a:lnTo>
                  <a:lnTo>
                    <a:pt x="31" y="213"/>
                  </a:lnTo>
                  <a:lnTo>
                    <a:pt x="34" y="210"/>
                  </a:lnTo>
                  <a:lnTo>
                    <a:pt x="42" y="210"/>
                  </a:lnTo>
                  <a:lnTo>
                    <a:pt x="47" y="215"/>
                  </a:lnTo>
                  <a:lnTo>
                    <a:pt x="47" y="218"/>
                  </a:lnTo>
                  <a:lnTo>
                    <a:pt x="55" y="228"/>
                  </a:lnTo>
                  <a:lnTo>
                    <a:pt x="75" y="184"/>
                  </a:lnTo>
                  <a:lnTo>
                    <a:pt x="79" y="189"/>
                  </a:lnTo>
                  <a:lnTo>
                    <a:pt x="85" y="195"/>
                  </a:lnTo>
                  <a:lnTo>
                    <a:pt x="92" y="195"/>
                  </a:lnTo>
                  <a:lnTo>
                    <a:pt x="95" y="196"/>
                  </a:lnTo>
                  <a:lnTo>
                    <a:pt x="95" y="199"/>
                  </a:lnTo>
                  <a:lnTo>
                    <a:pt x="103" y="210"/>
                  </a:lnTo>
                  <a:lnTo>
                    <a:pt x="112" y="210"/>
                  </a:lnTo>
                  <a:lnTo>
                    <a:pt x="116" y="208"/>
                  </a:lnTo>
                  <a:lnTo>
                    <a:pt x="129" y="206"/>
                  </a:lnTo>
                  <a:lnTo>
                    <a:pt x="135" y="201"/>
                  </a:lnTo>
                  <a:lnTo>
                    <a:pt x="135" y="197"/>
                  </a:lnTo>
                  <a:lnTo>
                    <a:pt x="140" y="197"/>
                  </a:lnTo>
                  <a:lnTo>
                    <a:pt x="145" y="202"/>
                  </a:lnTo>
                  <a:lnTo>
                    <a:pt x="148" y="208"/>
                  </a:lnTo>
                  <a:lnTo>
                    <a:pt x="150" y="208"/>
                  </a:lnTo>
                  <a:lnTo>
                    <a:pt x="151" y="207"/>
                  </a:lnTo>
                  <a:lnTo>
                    <a:pt x="159" y="206"/>
                  </a:lnTo>
                  <a:lnTo>
                    <a:pt x="163" y="202"/>
                  </a:lnTo>
                  <a:lnTo>
                    <a:pt x="167" y="202"/>
                  </a:lnTo>
                  <a:lnTo>
                    <a:pt x="172" y="206"/>
                  </a:lnTo>
                  <a:lnTo>
                    <a:pt x="182" y="206"/>
                  </a:lnTo>
                  <a:lnTo>
                    <a:pt x="184" y="210"/>
                  </a:lnTo>
                  <a:lnTo>
                    <a:pt x="187" y="210"/>
                  </a:lnTo>
                  <a:lnTo>
                    <a:pt x="189" y="208"/>
                  </a:lnTo>
                  <a:lnTo>
                    <a:pt x="202" y="207"/>
                  </a:lnTo>
                  <a:lnTo>
                    <a:pt x="214" y="218"/>
                  </a:lnTo>
                  <a:lnTo>
                    <a:pt x="224" y="223"/>
                  </a:lnTo>
                  <a:lnTo>
                    <a:pt x="231" y="224"/>
                  </a:lnTo>
                  <a:lnTo>
                    <a:pt x="243" y="235"/>
                  </a:lnTo>
                  <a:lnTo>
                    <a:pt x="251" y="246"/>
                  </a:lnTo>
                  <a:lnTo>
                    <a:pt x="256" y="255"/>
                  </a:lnTo>
                  <a:lnTo>
                    <a:pt x="273" y="267"/>
                  </a:lnTo>
                  <a:lnTo>
                    <a:pt x="285" y="277"/>
                  </a:lnTo>
                  <a:lnTo>
                    <a:pt x="291" y="283"/>
                  </a:lnTo>
                  <a:lnTo>
                    <a:pt x="294" y="292"/>
                  </a:lnTo>
                  <a:lnTo>
                    <a:pt x="297" y="299"/>
                  </a:lnTo>
                  <a:lnTo>
                    <a:pt x="306" y="303"/>
                  </a:lnTo>
                  <a:lnTo>
                    <a:pt x="313" y="309"/>
                  </a:lnTo>
                  <a:lnTo>
                    <a:pt x="317" y="316"/>
                  </a:lnTo>
                  <a:lnTo>
                    <a:pt x="323" y="324"/>
                  </a:lnTo>
                  <a:lnTo>
                    <a:pt x="328" y="318"/>
                  </a:lnTo>
                  <a:lnTo>
                    <a:pt x="343" y="310"/>
                  </a:lnTo>
                  <a:lnTo>
                    <a:pt x="360" y="299"/>
                  </a:lnTo>
                  <a:lnTo>
                    <a:pt x="356" y="293"/>
                  </a:lnTo>
                  <a:lnTo>
                    <a:pt x="350" y="296"/>
                  </a:lnTo>
                  <a:lnTo>
                    <a:pt x="344" y="292"/>
                  </a:lnTo>
                  <a:lnTo>
                    <a:pt x="342" y="289"/>
                  </a:lnTo>
                  <a:lnTo>
                    <a:pt x="340" y="282"/>
                  </a:lnTo>
                  <a:lnTo>
                    <a:pt x="339" y="281"/>
                  </a:lnTo>
                  <a:lnTo>
                    <a:pt x="331" y="280"/>
                  </a:lnTo>
                  <a:lnTo>
                    <a:pt x="326" y="277"/>
                  </a:lnTo>
                  <a:lnTo>
                    <a:pt x="324" y="274"/>
                  </a:lnTo>
                  <a:lnTo>
                    <a:pt x="322" y="264"/>
                  </a:lnTo>
                  <a:lnTo>
                    <a:pt x="318" y="261"/>
                  </a:lnTo>
                  <a:lnTo>
                    <a:pt x="317" y="256"/>
                  </a:lnTo>
                  <a:lnTo>
                    <a:pt x="311" y="255"/>
                  </a:lnTo>
                  <a:lnTo>
                    <a:pt x="307" y="253"/>
                  </a:lnTo>
                  <a:lnTo>
                    <a:pt x="302" y="243"/>
                  </a:lnTo>
                  <a:lnTo>
                    <a:pt x="301" y="240"/>
                  </a:lnTo>
                  <a:lnTo>
                    <a:pt x="296" y="242"/>
                  </a:lnTo>
                  <a:lnTo>
                    <a:pt x="291" y="239"/>
                  </a:lnTo>
                  <a:lnTo>
                    <a:pt x="289" y="239"/>
                  </a:lnTo>
                  <a:lnTo>
                    <a:pt x="286" y="237"/>
                  </a:lnTo>
                  <a:lnTo>
                    <a:pt x="286" y="232"/>
                  </a:lnTo>
                  <a:lnTo>
                    <a:pt x="279" y="223"/>
                  </a:lnTo>
                  <a:lnTo>
                    <a:pt x="264" y="201"/>
                  </a:lnTo>
                  <a:lnTo>
                    <a:pt x="256" y="196"/>
                  </a:lnTo>
                  <a:lnTo>
                    <a:pt x="246" y="196"/>
                  </a:lnTo>
                  <a:lnTo>
                    <a:pt x="240" y="192"/>
                  </a:lnTo>
                  <a:lnTo>
                    <a:pt x="236" y="192"/>
                  </a:lnTo>
                  <a:lnTo>
                    <a:pt x="232" y="189"/>
                  </a:lnTo>
                  <a:lnTo>
                    <a:pt x="229" y="181"/>
                  </a:lnTo>
                  <a:lnTo>
                    <a:pt x="226" y="179"/>
                  </a:lnTo>
                  <a:lnTo>
                    <a:pt x="221" y="176"/>
                  </a:lnTo>
                  <a:lnTo>
                    <a:pt x="215" y="176"/>
                  </a:lnTo>
                  <a:lnTo>
                    <a:pt x="213" y="180"/>
                  </a:lnTo>
                  <a:lnTo>
                    <a:pt x="209" y="181"/>
                  </a:lnTo>
                  <a:lnTo>
                    <a:pt x="205" y="179"/>
                  </a:lnTo>
                  <a:lnTo>
                    <a:pt x="199" y="170"/>
                  </a:lnTo>
                  <a:lnTo>
                    <a:pt x="195" y="165"/>
                  </a:lnTo>
                  <a:lnTo>
                    <a:pt x="194" y="162"/>
                  </a:lnTo>
                  <a:lnTo>
                    <a:pt x="197" y="157"/>
                  </a:lnTo>
                  <a:lnTo>
                    <a:pt x="195" y="154"/>
                  </a:lnTo>
                  <a:lnTo>
                    <a:pt x="192" y="153"/>
                  </a:lnTo>
                  <a:lnTo>
                    <a:pt x="188" y="149"/>
                  </a:lnTo>
                  <a:lnTo>
                    <a:pt x="184" y="151"/>
                  </a:lnTo>
                  <a:lnTo>
                    <a:pt x="182" y="153"/>
                  </a:lnTo>
                  <a:lnTo>
                    <a:pt x="182" y="158"/>
                  </a:lnTo>
                  <a:lnTo>
                    <a:pt x="186" y="162"/>
                  </a:lnTo>
                  <a:lnTo>
                    <a:pt x="184" y="168"/>
                  </a:lnTo>
                  <a:lnTo>
                    <a:pt x="182" y="168"/>
                  </a:lnTo>
                  <a:lnTo>
                    <a:pt x="177" y="165"/>
                  </a:lnTo>
                  <a:lnTo>
                    <a:pt x="176" y="163"/>
                  </a:lnTo>
                  <a:lnTo>
                    <a:pt x="176" y="158"/>
                  </a:lnTo>
                  <a:lnTo>
                    <a:pt x="173" y="156"/>
                  </a:lnTo>
                  <a:lnTo>
                    <a:pt x="171" y="145"/>
                  </a:lnTo>
                  <a:lnTo>
                    <a:pt x="170" y="143"/>
                  </a:lnTo>
                  <a:lnTo>
                    <a:pt x="165" y="142"/>
                  </a:lnTo>
                  <a:lnTo>
                    <a:pt x="162" y="141"/>
                  </a:lnTo>
                  <a:lnTo>
                    <a:pt x="162" y="137"/>
                  </a:lnTo>
                  <a:lnTo>
                    <a:pt x="160" y="136"/>
                  </a:lnTo>
                  <a:lnTo>
                    <a:pt x="160" y="129"/>
                  </a:lnTo>
                  <a:lnTo>
                    <a:pt x="154" y="125"/>
                  </a:lnTo>
                  <a:lnTo>
                    <a:pt x="150" y="120"/>
                  </a:lnTo>
                  <a:lnTo>
                    <a:pt x="145" y="104"/>
                  </a:lnTo>
                  <a:lnTo>
                    <a:pt x="144" y="94"/>
                  </a:lnTo>
                  <a:lnTo>
                    <a:pt x="141" y="84"/>
                  </a:lnTo>
                  <a:lnTo>
                    <a:pt x="139" y="68"/>
                  </a:lnTo>
                  <a:lnTo>
                    <a:pt x="138" y="63"/>
                  </a:lnTo>
                  <a:lnTo>
                    <a:pt x="134" y="49"/>
                  </a:lnTo>
                  <a:lnTo>
                    <a:pt x="132" y="38"/>
                  </a:lnTo>
                  <a:lnTo>
                    <a:pt x="130" y="30"/>
                  </a:lnTo>
                  <a:lnTo>
                    <a:pt x="125" y="20"/>
                  </a:lnTo>
                  <a:lnTo>
                    <a:pt x="120" y="16"/>
                  </a:lnTo>
                  <a:lnTo>
                    <a:pt x="118" y="8"/>
                  </a:lnTo>
                  <a:lnTo>
                    <a:pt x="114" y="1"/>
                  </a:lnTo>
                  <a:lnTo>
                    <a:pt x="113" y="0"/>
                  </a:lnTo>
                  <a:lnTo>
                    <a:pt x="109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51F64AED-AEB5-03F8-89A5-00489313A9C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417995" y="3539258"/>
              <a:ext cx="473072" cy="483177"/>
            </a:xfrm>
            <a:custGeom>
              <a:avLst/>
              <a:gdLst>
                <a:gd name="T0" fmla="*/ 2147483647 w 891"/>
                <a:gd name="T1" fmla="*/ 2147483647 h 851"/>
                <a:gd name="T2" fmla="*/ 2147483647 w 891"/>
                <a:gd name="T3" fmla="*/ 2147483647 h 851"/>
                <a:gd name="T4" fmla="*/ 2147483647 w 891"/>
                <a:gd name="T5" fmla="*/ 2147483647 h 851"/>
                <a:gd name="T6" fmla="*/ 2147483647 w 891"/>
                <a:gd name="T7" fmla="*/ 2147483647 h 851"/>
                <a:gd name="T8" fmla="*/ 2147483647 w 891"/>
                <a:gd name="T9" fmla="*/ 2147483647 h 851"/>
                <a:gd name="T10" fmla="*/ 2147483647 w 891"/>
                <a:gd name="T11" fmla="*/ 2147483647 h 851"/>
                <a:gd name="T12" fmla="*/ 2147483647 w 891"/>
                <a:gd name="T13" fmla="*/ 2147483647 h 851"/>
                <a:gd name="T14" fmla="*/ 2147483647 w 891"/>
                <a:gd name="T15" fmla="*/ 2147483647 h 851"/>
                <a:gd name="T16" fmla="*/ 2147483647 w 891"/>
                <a:gd name="T17" fmla="*/ 2147483647 h 851"/>
                <a:gd name="T18" fmla="*/ 2147483647 w 891"/>
                <a:gd name="T19" fmla="*/ 2147483647 h 851"/>
                <a:gd name="T20" fmla="*/ 2147483647 w 891"/>
                <a:gd name="T21" fmla="*/ 2147483647 h 851"/>
                <a:gd name="T22" fmla="*/ 2147483647 w 891"/>
                <a:gd name="T23" fmla="*/ 2147483647 h 851"/>
                <a:gd name="T24" fmla="*/ 2147483647 w 891"/>
                <a:gd name="T25" fmla="*/ 2147483647 h 851"/>
                <a:gd name="T26" fmla="*/ 2147483647 w 891"/>
                <a:gd name="T27" fmla="*/ 2147483647 h 851"/>
                <a:gd name="T28" fmla="*/ 2147483647 w 891"/>
                <a:gd name="T29" fmla="*/ 2147483647 h 851"/>
                <a:gd name="T30" fmla="*/ 2147483647 w 891"/>
                <a:gd name="T31" fmla="*/ 2147483647 h 851"/>
                <a:gd name="T32" fmla="*/ 2147483647 w 891"/>
                <a:gd name="T33" fmla="*/ 2147483647 h 851"/>
                <a:gd name="T34" fmla="*/ 2147483647 w 891"/>
                <a:gd name="T35" fmla="*/ 2147483647 h 851"/>
                <a:gd name="T36" fmla="*/ 2147483647 w 891"/>
                <a:gd name="T37" fmla="*/ 2147483647 h 851"/>
                <a:gd name="T38" fmla="*/ 2147483647 w 891"/>
                <a:gd name="T39" fmla="*/ 2147483647 h 851"/>
                <a:gd name="T40" fmla="*/ 2147483647 w 891"/>
                <a:gd name="T41" fmla="*/ 2147483647 h 851"/>
                <a:gd name="T42" fmla="*/ 2147483647 w 891"/>
                <a:gd name="T43" fmla="*/ 2147483647 h 851"/>
                <a:gd name="T44" fmla="*/ 2147483647 w 891"/>
                <a:gd name="T45" fmla="*/ 2147483647 h 851"/>
                <a:gd name="T46" fmla="*/ 2147483647 w 891"/>
                <a:gd name="T47" fmla="*/ 2147483647 h 851"/>
                <a:gd name="T48" fmla="*/ 2147483647 w 891"/>
                <a:gd name="T49" fmla="*/ 2147483647 h 851"/>
                <a:gd name="T50" fmla="*/ 2147483647 w 891"/>
                <a:gd name="T51" fmla="*/ 2147483647 h 851"/>
                <a:gd name="T52" fmla="*/ 2147483647 w 891"/>
                <a:gd name="T53" fmla="*/ 2147483647 h 851"/>
                <a:gd name="T54" fmla="*/ 2147483647 w 891"/>
                <a:gd name="T55" fmla="*/ 2147483647 h 851"/>
                <a:gd name="T56" fmla="*/ 2147483647 w 891"/>
                <a:gd name="T57" fmla="*/ 2147483647 h 851"/>
                <a:gd name="T58" fmla="*/ 2147483647 w 891"/>
                <a:gd name="T59" fmla="*/ 2147483647 h 851"/>
                <a:gd name="T60" fmla="*/ 2147483647 w 891"/>
                <a:gd name="T61" fmla="*/ 2147483647 h 851"/>
                <a:gd name="T62" fmla="*/ 2147483647 w 891"/>
                <a:gd name="T63" fmla="*/ 2147483647 h 851"/>
                <a:gd name="T64" fmla="*/ 2147483647 w 891"/>
                <a:gd name="T65" fmla="*/ 2147483647 h 851"/>
                <a:gd name="T66" fmla="*/ 2147483647 w 891"/>
                <a:gd name="T67" fmla="*/ 2147483647 h 851"/>
                <a:gd name="T68" fmla="*/ 2147483647 w 891"/>
                <a:gd name="T69" fmla="*/ 2147483647 h 851"/>
                <a:gd name="T70" fmla="*/ 2147483647 w 891"/>
                <a:gd name="T71" fmla="*/ 2147483647 h 851"/>
                <a:gd name="T72" fmla="*/ 2147483647 w 891"/>
                <a:gd name="T73" fmla="*/ 2147483647 h 851"/>
                <a:gd name="T74" fmla="*/ 2147483647 w 891"/>
                <a:gd name="T75" fmla="*/ 2147483647 h 851"/>
                <a:gd name="T76" fmla="*/ 2147483647 w 891"/>
                <a:gd name="T77" fmla="*/ 2147483647 h 851"/>
                <a:gd name="T78" fmla="*/ 2147483647 w 891"/>
                <a:gd name="T79" fmla="*/ 2147483647 h 851"/>
                <a:gd name="T80" fmla="*/ 0 w 891"/>
                <a:gd name="T81" fmla="*/ 2147483647 h 851"/>
                <a:gd name="T82" fmla="*/ 0 w 891"/>
                <a:gd name="T83" fmla="*/ 2147483647 h 851"/>
                <a:gd name="T84" fmla="*/ 0 w 891"/>
                <a:gd name="T85" fmla="*/ 2147483647 h 851"/>
                <a:gd name="T86" fmla="*/ 0 w 891"/>
                <a:gd name="T87" fmla="*/ 2147483647 h 851"/>
                <a:gd name="T88" fmla="*/ 0 w 891"/>
                <a:gd name="T89" fmla="*/ 2147483647 h 851"/>
                <a:gd name="T90" fmla="*/ 0 w 891"/>
                <a:gd name="T91" fmla="*/ 2147483647 h 851"/>
                <a:gd name="T92" fmla="*/ 0 w 891"/>
                <a:gd name="T93" fmla="*/ 2147483647 h 851"/>
                <a:gd name="T94" fmla="*/ 0 w 891"/>
                <a:gd name="T95" fmla="*/ 2147483647 h 851"/>
                <a:gd name="T96" fmla="*/ 0 w 891"/>
                <a:gd name="T97" fmla="*/ 2147483647 h 851"/>
                <a:gd name="T98" fmla="*/ 0 w 891"/>
                <a:gd name="T99" fmla="*/ 2147483647 h 851"/>
                <a:gd name="T100" fmla="*/ 2147483647 w 891"/>
                <a:gd name="T101" fmla="*/ 2147483647 h 851"/>
                <a:gd name="T102" fmla="*/ 2147483647 w 891"/>
                <a:gd name="T103" fmla="*/ 2147483647 h 851"/>
                <a:gd name="T104" fmla="*/ 2147483647 w 891"/>
                <a:gd name="T105" fmla="*/ 2147483647 h 851"/>
                <a:gd name="T106" fmla="*/ 2147483647 w 891"/>
                <a:gd name="T107" fmla="*/ 2147483647 h 85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91"/>
                <a:gd name="T163" fmla="*/ 0 h 851"/>
                <a:gd name="T164" fmla="*/ 891 w 891"/>
                <a:gd name="T165" fmla="*/ 851 h 851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91" h="851">
                  <a:moveTo>
                    <a:pt x="462" y="44"/>
                  </a:moveTo>
                  <a:lnTo>
                    <a:pt x="724" y="226"/>
                  </a:lnTo>
                  <a:lnTo>
                    <a:pt x="724" y="231"/>
                  </a:lnTo>
                  <a:lnTo>
                    <a:pt x="728" y="234"/>
                  </a:lnTo>
                  <a:lnTo>
                    <a:pt x="727" y="243"/>
                  </a:lnTo>
                  <a:lnTo>
                    <a:pt x="728" y="247"/>
                  </a:lnTo>
                  <a:lnTo>
                    <a:pt x="734" y="250"/>
                  </a:lnTo>
                  <a:lnTo>
                    <a:pt x="742" y="252"/>
                  </a:lnTo>
                  <a:lnTo>
                    <a:pt x="753" y="258"/>
                  </a:lnTo>
                  <a:lnTo>
                    <a:pt x="755" y="259"/>
                  </a:lnTo>
                  <a:lnTo>
                    <a:pt x="756" y="265"/>
                  </a:lnTo>
                  <a:lnTo>
                    <a:pt x="758" y="270"/>
                  </a:lnTo>
                  <a:lnTo>
                    <a:pt x="765" y="276"/>
                  </a:lnTo>
                  <a:lnTo>
                    <a:pt x="770" y="279"/>
                  </a:lnTo>
                  <a:lnTo>
                    <a:pt x="780" y="281"/>
                  </a:lnTo>
                  <a:lnTo>
                    <a:pt x="788" y="280"/>
                  </a:lnTo>
                  <a:lnTo>
                    <a:pt x="791" y="281"/>
                  </a:lnTo>
                  <a:lnTo>
                    <a:pt x="794" y="288"/>
                  </a:lnTo>
                  <a:lnTo>
                    <a:pt x="798" y="291"/>
                  </a:lnTo>
                  <a:lnTo>
                    <a:pt x="809" y="291"/>
                  </a:lnTo>
                  <a:lnTo>
                    <a:pt x="813" y="293"/>
                  </a:lnTo>
                  <a:lnTo>
                    <a:pt x="818" y="293"/>
                  </a:lnTo>
                  <a:lnTo>
                    <a:pt x="826" y="298"/>
                  </a:lnTo>
                  <a:lnTo>
                    <a:pt x="835" y="301"/>
                  </a:lnTo>
                  <a:lnTo>
                    <a:pt x="839" y="303"/>
                  </a:lnTo>
                  <a:lnTo>
                    <a:pt x="840" y="307"/>
                  </a:lnTo>
                  <a:lnTo>
                    <a:pt x="841" y="307"/>
                  </a:lnTo>
                  <a:lnTo>
                    <a:pt x="842" y="313"/>
                  </a:lnTo>
                  <a:lnTo>
                    <a:pt x="841" y="315"/>
                  </a:lnTo>
                  <a:lnTo>
                    <a:pt x="841" y="319"/>
                  </a:lnTo>
                  <a:lnTo>
                    <a:pt x="844" y="324"/>
                  </a:lnTo>
                  <a:lnTo>
                    <a:pt x="844" y="325"/>
                  </a:lnTo>
                  <a:lnTo>
                    <a:pt x="840" y="328"/>
                  </a:lnTo>
                  <a:lnTo>
                    <a:pt x="839" y="330"/>
                  </a:lnTo>
                  <a:lnTo>
                    <a:pt x="840" y="336"/>
                  </a:lnTo>
                  <a:lnTo>
                    <a:pt x="837" y="341"/>
                  </a:lnTo>
                  <a:lnTo>
                    <a:pt x="837" y="346"/>
                  </a:lnTo>
                  <a:lnTo>
                    <a:pt x="845" y="355"/>
                  </a:lnTo>
                  <a:lnTo>
                    <a:pt x="851" y="356"/>
                  </a:lnTo>
                  <a:lnTo>
                    <a:pt x="858" y="356"/>
                  </a:lnTo>
                  <a:lnTo>
                    <a:pt x="867" y="351"/>
                  </a:lnTo>
                  <a:lnTo>
                    <a:pt x="875" y="351"/>
                  </a:lnTo>
                  <a:lnTo>
                    <a:pt x="885" y="346"/>
                  </a:lnTo>
                  <a:lnTo>
                    <a:pt x="890" y="344"/>
                  </a:lnTo>
                  <a:lnTo>
                    <a:pt x="890" y="346"/>
                  </a:lnTo>
                  <a:lnTo>
                    <a:pt x="891" y="347"/>
                  </a:lnTo>
                  <a:lnTo>
                    <a:pt x="891" y="358"/>
                  </a:lnTo>
                  <a:lnTo>
                    <a:pt x="891" y="414"/>
                  </a:lnTo>
                  <a:lnTo>
                    <a:pt x="891" y="468"/>
                  </a:lnTo>
                  <a:lnTo>
                    <a:pt x="891" y="522"/>
                  </a:lnTo>
                  <a:lnTo>
                    <a:pt x="888" y="523"/>
                  </a:lnTo>
                  <a:lnTo>
                    <a:pt x="878" y="529"/>
                  </a:lnTo>
                  <a:lnTo>
                    <a:pt x="874" y="535"/>
                  </a:lnTo>
                  <a:lnTo>
                    <a:pt x="873" y="543"/>
                  </a:lnTo>
                  <a:lnTo>
                    <a:pt x="861" y="550"/>
                  </a:lnTo>
                  <a:lnTo>
                    <a:pt x="857" y="553"/>
                  </a:lnTo>
                  <a:lnTo>
                    <a:pt x="855" y="556"/>
                  </a:lnTo>
                  <a:lnTo>
                    <a:pt x="855" y="561"/>
                  </a:lnTo>
                  <a:lnTo>
                    <a:pt x="842" y="560"/>
                  </a:lnTo>
                  <a:lnTo>
                    <a:pt x="829" y="559"/>
                  </a:lnTo>
                  <a:lnTo>
                    <a:pt x="829" y="562"/>
                  </a:lnTo>
                  <a:lnTo>
                    <a:pt x="824" y="561"/>
                  </a:lnTo>
                  <a:lnTo>
                    <a:pt x="735" y="562"/>
                  </a:lnTo>
                  <a:lnTo>
                    <a:pt x="711" y="582"/>
                  </a:lnTo>
                  <a:lnTo>
                    <a:pt x="674" y="582"/>
                  </a:lnTo>
                  <a:lnTo>
                    <a:pt x="641" y="583"/>
                  </a:lnTo>
                  <a:lnTo>
                    <a:pt x="621" y="591"/>
                  </a:lnTo>
                  <a:lnTo>
                    <a:pt x="613" y="594"/>
                  </a:lnTo>
                  <a:lnTo>
                    <a:pt x="598" y="607"/>
                  </a:lnTo>
                  <a:lnTo>
                    <a:pt x="561" y="631"/>
                  </a:lnTo>
                  <a:lnTo>
                    <a:pt x="549" y="647"/>
                  </a:lnTo>
                  <a:lnTo>
                    <a:pt x="530" y="661"/>
                  </a:lnTo>
                  <a:lnTo>
                    <a:pt x="492" y="673"/>
                  </a:lnTo>
                  <a:lnTo>
                    <a:pt x="480" y="675"/>
                  </a:lnTo>
                  <a:lnTo>
                    <a:pt x="468" y="677"/>
                  </a:lnTo>
                  <a:lnTo>
                    <a:pt x="462" y="678"/>
                  </a:lnTo>
                  <a:lnTo>
                    <a:pt x="453" y="684"/>
                  </a:lnTo>
                  <a:lnTo>
                    <a:pt x="448" y="690"/>
                  </a:lnTo>
                  <a:lnTo>
                    <a:pt x="443" y="701"/>
                  </a:lnTo>
                  <a:lnTo>
                    <a:pt x="439" y="716"/>
                  </a:lnTo>
                  <a:lnTo>
                    <a:pt x="432" y="734"/>
                  </a:lnTo>
                  <a:lnTo>
                    <a:pt x="425" y="744"/>
                  </a:lnTo>
                  <a:lnTo>
                    <a:pt x="409" y="756"/>
                  </a:lnTo>
                  <a:lnTo>
                    <a:pt x="399" y="765"/>
                  </a:lnTo>
                  <a:lnTo>
                    <a:pt x="395" y="770"/>
                  </a:lnTo>
                  <a:lnTo>
                    <a:pt x="390" y="779"/>
                  </a:lnTo>
                  <a:lnTo>
                    <a:pt x="389" y="788"/>
                  </a:lnTo>
                  <a:lnTo>
                    <a:pt x="380" y="806"/>
                  </a:lnTo>
                  <a:lnTo>
                    <a:pt x="379" y="817"/>
                  </a:lnTo>
                  <a:lnTo>
                    <a:pt x="379" y="830"/>
                  </a:lnTo>
                  <a:lnTo>
                    <a:pt x="380" y="841"/>
                  </a:lnTo>
                  <a:lnTo>
                    <a:pt x="369" y="844"/>
                  </a:lnTo>
                  <a:lnTo>
                    <a:pt x="367" y="842"/>
                  </a:lnTo>
                  <a:lnTo>
                    <a:pt x="363" y="836"/>
                  </a:lnTo>
                  <a:lnTo>
                    <a:pt x="361" y="835"/>
                  </a:lnTo>
                  <a:lnTo>
                    <a:pt x="350" y="835"/>
                  </a:lnTo>
                  <a:lnTo>
                    <a:pt x="346" y="836"/>
                  </a:lnTo>
                  <a:lnTo>
                    <a:pt x="344" y="842"/>
                  </a:lnTo>
                  <a:lnTo>
                    <a:pt x="340" y="842"/>
                  </a:lnTo>
                  <a:lnTo>
                    <a:pt x="336" y="846"/>
                  </a:lnTo>
                  <a:lnTo>
                    <a:pt x="326" y="846"/>
                  </a:lnTo>
                  <a:lnTo>
                    <a:pt x="328" y="844"/>
                  </a:lnTo>
                  <a:lnTo>
                    <a:pt x="326" y="833"/>
                  </a:lnTo>
                  <a:lnTo>
                    <a:pt x="325" y="829"/>
                  </a:lnTo>
                  <a:lnTo>
                    <a:pt x="325" y="828"/>
                  </a:lnTo>
                  <a:lnTo>
                    <a:pt x="325" y="823"/>
                  </a:lnTo>
                  <a:lnTo>
                    <a:pt x="323" y="819"/>
                  </a:lnTo>
                  <a:lnTo>
                    <a:pt x="320" y="820"/>
                  </a:lnTo>
                  <a:lnTo>
                    <a:pt x="314" y="820"/>
                  </a:lnTo>
                  <a:lnTo>
                    <a:pt x="312" y="828"/>
                  </a:lnTo>
                  <a:lnTo>
                    <a:pt x="310" y="828"/>
                  </a:lnTo>
                  <a:lnTo>
                    <a:pt x="304" y="824"/>
                  </a:lnTo>
                  <a:lnTo>
                    <a:pt x="302" y="824"/>
                  </a:lnTo>
                  <a:lnTo>
                    <a:pt x="299" y="828"/>
                  </a:lnTo>
                  <a:lnTo>
                    <a:pt x="299" y="831"/>
                  </a:lnTo>
                  <a:lnTo>
                    <a:pt x="301" y="837"/>
                  </a:lnTo>
                  <a:lnTo>
                    <a:pt x="299" y="840"/>
                  </a:lnTo>
                  <a:lnTo>
                    <a:pt x="288" y="840"/>
                  </a:lnTo>
                  <a:lnTo>
                    <a:pt x="282" y="842"/>
                  </a:lnTo>
                  <a:lnTo>
                    <a:pt x="282" y="846"/>
                  </a:lnTo>
                  <a:lnTo>
                    <a:pt x="280" y="851"/>
                  </a:lnTo>
                  <a:lnTo>
                    <a:pt x="276" y="851"/>
                  </a:lnTo>
                  <a:lnTo>
                    <a:pt x="272" y="849"/>
                  </a:lnTo>
                  <a:lnTo>
                    <a:pt x="269" y="844"/>
                  </a:lnTo>
                  <a:lnTo>
                    <a:pt x="266" y="844"/>
                  </a:lnTo>
                  <a:lnTo>
                    <a:pt x="264" y="845"/>
                  </a:lnTo>
                  <a:lnTo>
                    <a:pt x="262" y="846"/>
                  </a:lnTo>
                  <a:lnTo>
                    <a:pt x="261" y="846"/>
                  </a:lnTo>
                  <a:lnTo>
                    <a:pt x="260" y="840"/>
                  </a:lnTo>
                  <a:lnTo>
                    <a:pt x="256" y="835"/>
                  </a:lnTo>
                  <a:lnTo>
                    <a:pt x="253" y="834"/>
                  </a:lnTo>
                  <a:lnTo>
                    <a:pt x="249" y="837"/>
                  </a:lnTo>
                  <a:lnTo>
                    <a:pt x="244" y="836"/>
                  </a:lnTo>
                  <a:lnTo>
                    <a:pt x="242" y="837"/>
                  </a:lnTo>
                  <a:lnTo>
                    <a:pt x="239" y="840"/>
                  </a:lnTo>
                  <a:lnTo>
                    <a:pt x="238" y="844"/>
                  </a:lnTo>
                  <a:lnTo>
                    <a:pt x="235" y="847"/>
                  </a:lnTo>
                  <a:lnTo>
                    <a:pt x="229" y="849"/>
                  </a:lnTo>
                  <a:lnTo>
                    <a:pt x="229" y="846"/>
                  </a:lnTo>
                  <a:lnTo>
                    <a:pt x="227" y="842"/>
                  </a:lnTo>
                  <a:lnTo>
                    <a:pt x="222" y="840"/>
                  </a:lnTo>
                  <a:lnTo>
                    <a:pt x="220" y="835"/>
                  </a:lnTo>
                  <a:lnTo>
                    <a:pt x="215" y="835"/>
                  </a:lnTo>
                  <a:lnTo>
                    <a:pt x="211" y="829"/>
                  </a:lnTo>
                  <a:lnTo>
                    <a:pt x="210" y="806"/>
                  </a:lnTo>
                  <a:lnTo>
                    <a:pt x="210" y="802"/>
                  </a:lnTo>
                  <a:lnTo>
                    <a:pt x="205" y="801"/>
                  </a:lnTo>
                  <a:lnTo>
                    <a:pt x="200" y="801"/>
                  </a:lnTo>
                  <a:lnTo>
                    <a:pt x="194" y="808"/>
                  </a:lnTo>
                  <a:lnTo>
                    <a:pt x="191" y="808"/>
                  </a:lnTo>
                  <a:lnTo>
                    <a:pt x="191" y="801"/>
                  </a:lnTo>
                  <a:lnTo>
                    <a:pt x="192" y="798"/>
                  </a:lnTo>
                  <a:lnTo>
                    <a:pt x="197" y="797"/>
                  </a:lnTo>
                  <a:lnTo>
                    <a:pt x="197" y="792"/>
                  </a:lnTo>
                  <a:lnTo>
                    <a:pt x="201" y="792"/>
                  </a:lnTo>
                  <a:lnTo>
                    <a:pt x="204" y="788"/>
                  </a:lnTo>
                  <a:lnTo>
                    <a:pt x="207" y="788"/>
                  </a:lnTo>
                  <a:lnTo>
                    <a:pt x="207" y="782"/>
                  </a:lnTo>
                  <a:lnTo>
                    <a:pt x="206" y="782"/>
                  </a:lnTo>
                  <a:lnTo>
                    <a:pt x="201" y="782"/>
                  </a:lnTo>
                  <a:lnTo>
                    <a:pt x="197" y="779"/>
                  </a:lnTo>
                  <a:lnTo>
                    <a:pt x="194" y="776"/>
                  </a:lnTo>
                  <a:lnTo>
                    <a:pt x="189" y="766"/>
                  </a:lnTo>
                  <a:lnTo>
                    <a:pt x="184" y="769"/>
                  </a:lnTo>
                  <a:lnTo>
                    <a:pt x="183" y="767"/>
                  </a:lnTo>
                  <a:lnTo>
                    <a:pt x="183" y="750"/>
                  </a:lnTo>
                  <a:lnTo>
                    <a:pt x="181" y="745"/>
                  </a:lnTo>
                  <a:lnTo>
                    <a:pt x="179" y="745"/>
                  </a:lnTo>
                  <a:lnTo>
                    <a:pt x="179" y="739"/>
                  </a:lnTo>
                  <a:lnTo>
                    <a:pt x="178" y="737"/>
                  </a:lnTo>
                  <a:lnTo>
                    <a:pt x="174" y="737"/>
                  </a:lnTo>
                  <a:lnTo>
                    <a:pt x="173" y="737"/>
                  </a:lnTo>
                  <a:lnTo>
                    <a:pt x="174" y="724"/>
                  </a:lnTo>
                  <a:lnTo>
                    <a:pt x="174" y="723"/>
                  </a:lnTo>
                  <a:lnTo>
                    <a:pt x="170" y="721"/>
                  </a:lnTo>
                  <a:lnTo>
                    <a:pt x="168" y="721"/>
                  </a:lnTo>
                  <a:lnTo>
                    <a:pt x="164" y="724"/>
                  </a:lnTo>
                  <a:lnTo>
                    <a:pt x="163" y="724"/>
                  </a:lnTo>
                  <a:lnTo>
                    <a:pt x="156" y="720"/>
                  </a:lnTo>
                  <a:lnTo>
                    <a:pt x="153" y="720"/>
                  </a:lnTo>
                  <a:lnTo>
                    <a:pt x="152" y="721"/>
                  </a:lnTo>
                  <a:lnTo>
                    <a:pt x="152" y="729"/>
                  </a:lnTo>
                  <a:lnTo>
                    <a:pt x="149" y="733"/>
                  </a:lnTo>
                  <a:lnTo>
                    <a:pt x="136" y="737"/>
                  </a:lnTo>
                  <a:lnTo>
                    <a:pt x="136" y="743"/>
                  </a:lnTo>
                  <a:lnTo>
                    <a:pt x="134" y="747"/>
                  </a:lnTo>
                  <a:lnTo>
                    <a:pt x="120" y="743"/>
                  </a:lnTo>
                  <a:lnTo>
                    <a:pt x="110" y="737"/>
                  </a:lnTo>
                  <a:lnTo>
                    <a:pt x="102" y="736"/>
                  </a:lnTo>
                  <a:lnTo>
                    <a:pt x="99" y="736"/>
                  </a:lnTo>
                  <a:lnTo>
                    <a:pt x="95" y="742"/>
                  </a:lnTo>
                  <a:lnTo>
                    <a:pt x="89" y="743"/>
                  </a:lnTo>
                  <a:lnTo>
                    <a:pt x="87" y="749"/>
                  </a:lnTo>
                  <a:lnTo>
                    <a:pt x="83" y="753"/>
                  </a:lnTo>
                  <a:lnTo>
                    <a:pt x="78" y="750"/>
                  </a:lnTo>
                  <a:lnTo>
                    <a:pt x="70" y="739"/>
                  </a:lnTo>
                  <a:lnTo>
                    <a:pt x="67" y="737"/>
                  </a:lnTo>
                  <a:lnTo>
                    <a:pt x="62" y="737"/>
                  </a:lnTo>
                  <a:lnTo>
                    <a:pt x="56" y="743"/>
                  </a:lnTo>
                  <a:lnTo>
                    <a:pt x="52" y="747"/>
                  </a:lnTo>
                  <a:lnTo>
                    <a:pt x="48" y="748"/>
                  </a:lnTo>
                  <a:lnTo>
                    <a:pt x="43" y="744"/>
                  </a:lnTo>
                  <a:lnTo>
                    <a:pt x="38" y="740"/>
                  </a:lnTo>
                  <a:lnTo>
                    <a:pt x="39" y="737"/>
                  </a:lnTo>
                  <a:lnTo>
                    <a:pt x="43" y="732"/>
                  </a:lnTo>
                  <a:lnTo>
                    <a:pt x="43" y="728"/>
                  </a:lnTo>
                  <a:lnTo>
                    <a:pt x="46" y="724"/>
                  </a:lnTo>
                  <a:lnTo>
                    <a:pt x="48" y="723"/>
                  </a:lnTo>
                  <a:lnTo>
                    <a:pt x="48" y="721"/>
                  </a:lnTo>
                  <a:lnTo>
                    <a:pt x="44" y="717"/>
                  </a:lnTo>
                  <a:lnTo>
                    <a:pt x="44" y="710"/>
                  </a:lnTo>
                  <a:lnTo>
                    <a:pt x="46" y="706"/>
                  </a:lnTo>
                  <a:lnTo>
                    <a:pt x="46" y="702"/>
                  </a:lnTo>
                  <a:lnTo>
                    <a:pt x="45" y="699"/>
                  </a:lnTo>
                  <a:lnTo>
                    <a:pt x="45" y="697"/>
                  </a:lnTo>
                  <a:lnTo>
                    <a:pt x="46" y="697"/>
                  </a:lnTo>
                  <a:lnTo>
                    <a:pt x="45" y="694"/>
                  </a:lnTo>
                  <a:lnTo>
                    <a:pt x="41" y="689"/>
                  </a:lnTo>
                  <a:lnTo>
                    <a:pt x="39" y="684"/>
                  </a:lnTo>
                  <a:lnTo>
                    <a:pt x="36" y="682"/>
                  </a:lnTo>
                  <a:lnTo>
                    <a:pt x="35" y="678"/>
                  </a:lnTo>
                  <a:lnTo>
                    <a:pt x="32" y="674"/>
                  </a:lnTo>
                  <a:lnTo>
                    <a:pt x="32" y="670"/>
                  </a:lnTo>
                  <a:lnTo>
                    <a:pt x="27" y="670"/>
                  </a:lnTo>
                  <a:lnTo>
                    <a:pt x="24" y="673"/>
                  </a:lnTo>
                  <a:lnTo>
                    <a:pt x="20" y="673"/>
                  </a:lnTo>
                  <a:lnTo>
                    <a:pt x="19" y="672"/>
                  </a:lnTo>
                  <a:lnTo>
                    <a:pt x="17" y="666"/>
                  </a:lnTo>
                  <a:lnTo>
                    <a:pt x="9" y="654"/>
                  </a:lnTo>
                  <a:lnTo>
                    <a:pt x="9" y="652"/>
                  </a:lnTo>
                  <a:lnTo>
                    <a:pt x="14" y="646"/>
                  </a:lnTo>
                  <a:lnTo>
                    <a:pt x="13" y="641"/>
                  </a:lnTo>
                  <a:lnTo>
                    <a:pt x="11" y="635"/>
                  </a:lnTo>
                  <a:lnTo>
                    <a:pt x="11" y="629"/>
                  </a:lnTo>
                  <a:lnTo>
                    <a:pt x="9" y="621"/>
                  </a:lnTo>
                  <a:lnTo>
                    <a:pt x="6" y="618"/>
                  </a:lnTo>
                  <a:lnTo>
                    <a:pt x="5" y="618"/>
                  </a:lnTo>
                  <a:lnTo>
                    <a:pt x="3" y="614"/>
                  </a:lnTo>
                  <a:lnTo>
                    <a:pt x="1" y="614"/>
                  </a:lnTo>
                  <a:lnTo>
                    <a:pt x="1" y="608"/>
                  </a:lnTo>
                  <a:lnTo>
                    <a:pt x="3" y="600"/>
                  </a:lnTo>
                  <a:lnTo>
                    <a:pt x="2" y="597"/>
                  </a:lnTo>
                  <a:lnTo>
                    <a:pt x="0" y="594"/>
                  </a:lnTo>
                  <a:lnTo>
                    <a:pt x="23" y="572"/>
                  </a:lnTo>
                  <a:lnTo>
                    <a:pt x="30" y="554"/>
                  </a:lnTo>
                  <a:lnTo>
                    <a:pt x="34" y="543"/>
                  </a:lnTo>
                  <a:lnTo>
                    <a:pt x="39" y="532"/>
                  </a:lnTo>
                  <a:lnTo>
                    <a:pt x="41" y="530"/>
                  </a:lnTo>
                  <a:lnTo>
                    <a:pt x="45" y="532"/>
                  </a:lnTo>
                  <a:lnTo>
                    <a:pt x="45" y="533"/>
                  </a:lnTo>
                  <a:lnTo>
                    <a:pt x="51" y="534"/>
                  </a:lnTo>
                  <a:lnTo>
                    <a:pt x="55" y="537"/>
                  </a:lnTo>
                  <a:lnTo>
                    <a:pt x="60" y="550"/>
                  </a:lnTo>
                  <a:lnTo>
                    <a:pt x="70" y="568"/>
                  </a:lnTo>
                  <a:lnTo>
                    <a:pt x="84" y="572"/>
                  </a:lnTo>
                  <a:lnTo>
                    <a:pt x="87" y="572"/>
                  </a:lnTo>
                  <a:lnTo>
                    <a:pt x="113" y="550"/>
                  </a:lnTo>
                  <a:lnTo>
                    <a:pt x="200" y="553"/>
                  </a:lnTo>
                  <a:lnTo>
                    <a:pt x="271" y="554"/>
                  </a:lnTo>
                  <a:lnTo>
                    <a:pt x="344" y="555"/>
                  </a:lnTo>
                  <a:lnTo>
                    <a:pt x="362" y="555"/>
                  </a:lnTo>
                  <a:lnTo>
                    <a:pt x="374" y="508"/>
                  </a:lnTo>
                  <a:lnTo>
                    <a:pt x="352" y="501"/>
                  </a:lnTo>
                  <a:lnTo>
                    <a:pt x="346" y="444"/>
                  </a:lnTo>
                  <a:lnTo>
                    <a:pt x="341" y="389"/>
                  </a:lnTo>
                  <a:lnTo>
                    <a:pt x="335" y="335"/>
                  </a:lnTo>
                  <a:lnTo>
                    <a:pt x="329" y="281"/>
                  </a:lnTo>
                  <a:lnTo>
                    <a:pt x="324" y="226"/>
                  </a:lnTo>
                  <a:lnTo>
                    <a:pt x="318" y="169"/>
                  </a:lnTo>
                  <a:lnTo>
                    <a:pt x="313" y="114"/>
                  </a:lnTo>
                  <a:lnTo>
                    <a:pt x="307" y="58"/>
                  </a:lnTo>
                  <a:lnTo>
                    <a:pt x="301" y="0"/>
                  </a:lnTo>
                  <a:lnTo>
                    <a:pt x="398" y="0"/>
                  </a:lnTo>
                  <a:lnTo>
                    <a:pt x="462" y="4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C5A623AD-6ED5-F17C-490E-D6870780D3D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985085" y="3089613"/>
              <a:ext cx="117895" cy="265214"/>
            </a:xfrm>
            <a:custGeom>
              <a:avLst/>
              <a:gdLst>
                <a:gd name="T0" fmla="*/ 2147483647 w 218"/>
                <a:gd name="T1" fmla="*/ 2147483647 h 462"/>
                <a:gd name="T2" fmla="*/ 2147483647 w 218"/>
                <a:gd name="T3" fmla="*/ 2147483647 h 462"/>
                <a:gd name="T4" fmla="*/ 2147483647 w 218"/>
                <a:gd name="T5" fmla="*/ 2147483647 h 462"/>
                <a:gd name="T6" fmla="*/ 2147483647 w 218"/>
                <a:gd name="T7" fmla="*/ 2147483647 h 462"/>
                <a:gd name="T8" fmla="*/ 2147483647 w 218"/>
                <a:gd name="T9" fmla="*/ 2147483647 h 462"/>
                <a:gd name="T10" fmla="*/ 2147483647 w 218"/>
                <a:gd name="T11" fmla="*/ 2147483647 h 462"/>
                <a:gd name="T12" fmla="*/ 2147483647 w 218"/>
                <a:gd name="T13" fmla="*/ 2147483647 h 462"/>
                <a:gd name="T14" fmla="*/ 2147483647 w 218"/>
                <a:gd name="T15" fmla="*/ 2147483647 h 462"/>
                <a:gd name="T16" fmla="*/ 2147483647 w 218"/>
                <a:gd name="T17" fmla="*/ 2147483647 h 462"/>
                <a:gd name="T18" fmla="*/ 2147483647 w 218"/>
                <a:gd name="T19" fmla="*/ 2147483647 h 462"/>
                <a:gd name="T20" fmla="*/ 2147483647 w 218"/>
                <a:gd name="T21" fmla="*/ 2147483647 h 462"/>
                <a:gd name="T22" fmla="*/ 2147483647 w 218"/>
                <a:gd name="T23" fmla="*/ 2147483647 h 462"/>
                <a:gd name="T24" fmla="*/ 2147483647 w 218"/>
                <a:gd name="T25" fmla="*/ 2147483647 h 462"/>
                <a:gd name="T26" fmla="*/ 2147483647 w 218"/>
                <a:gd name="T27" fmla="*/ 2147483647 h 462"/>
                <a:gd name="T28" fmla="*/ 2147483647 w 218"/>
                <a:gd name="T29" fmla="*/ 2147483647 h 462"/>
                <a:gd name="T30" fmla="*/ 2147483647 w 218"/>
                <a:gd name="T31" fmla="*/ 2147483647 h 462"/>
                <a:gd name="T32" fmla="*/ 2147483647 w 218"/>
                <a:gd name="T33" fmla="*/ 2147483647 h 462"/>
                <a:gd name="T34" fmla="*/ 2147483647 w 218"/>
                <a:gd name="T35" fmla="*/ 2147483647 h 462"/>
                <a:gd name="T36" fmla="*/ 2147483647 w 218"/>
                <a:gd name="T37" fmla="*/ 2147483647 h 462"/>
                <a:gd name="T38" fmla="*/ 2147483647 w 218"/>
                <a:gd name="T39" fmla="*/ 2147483647 h 462"/>
                <a:gd name="T40" fmla="*/ 2147483647 w 218"/>
                <a:gd name="T41" fmla="*/ 2147483647 h 462"/>
                <a:gd name="T42" fmla="*/ 2147483647 w 218"/>
                <a:gd name="T43" fmla="*/ 2147483647 h 462"/>
                <a:gd name="T44" fmla="*/ 2147483647 w 218"/>
                <a:gd name="T45" fmla="*/ 2147483647 h 462"/>
                <a:gd name="T46" fmla="*/ 2147483647 w 218"/>
                <a:gd name="T47" fmla="*/ 2147483647 h 462"/>
                <a:gd name="T48" fmla="*/ 2147483647 w 218"/>
                <a:gd name="T49" fmla="*/ 2147483647 h 462"/>
                <a:gd name="T50" fmla="*/ 2147483647 w 218"/>
                <a:gd name="T51" fmla="*/ 0 h 462"/>
                <a:gd name="T52" fmla="*/ 2147483647 w 218"/>
                <a:gd name="T53" fmla="*/ 0 h 462"/>
                <a:gd name="T54" fmla="*/ 2147483647 w 218"/>
                <a:gd name="T55" fmla="*/ 0 h 462"/>
                <a:gd name="T56" fmla="*/ 2147483647 w 218"/>
                <a:gd name="T57" fmla="*/ 0 h 462"/>
                <a:gd name="T58" fmla="*/ 2147483647 w 218"/>
                <a:gd name="T59" fmla="*/ 0 h 462"/>
                <a:gd name="T60" fmla="*/ 2147483647 w 218"/>
                <a:gd name="T61" fmla="*/ 0 h 462"/>
                <a:gd name="T62" fmla="*/ 2147483647 w 218"/>
                <a:gd name="T63" fmla="*/ 0 h 462"/>
                <a:gd name="T64" fmla="*/ 2147483647 w 218"/>
                <a:gd name="T65" fmla="*/ 0 h 462"/>
                <a:gd name="T66" fmla="*/ 2147483647 w 218"/>
                <a:gd name="T67" fmla="*/ 0 h 462"/>
                <a:gd name="T68" fmla="*/ 2147483647 w 218"/>
                <a:gd name="T69" fmla="*/ 0 h 462"/>
                <a:gd name="T70" fmla="*/ 2147483647 w 218"/>
                <a:gd name="T71" fmla="*/ 0 h 462"/>
                <a:gd name="T72" fmla="*/ 2147483647 w 218"/>
                <a:gd name="T73" fmla="*/ 0 h 462"/>
                <a:gd name="T74" fmla="*/ 2147483647 w 218"/>
                <a:gd name="T75" fmla="*/ 0 h 462"/>
                <a:gd name="T76" fmla="*/ 2147483647 w 218"/>
                <a:gd name="T77" fmla="*/ 0 h 462"/>
                <a:gd name="T78" fmla="*/ 2147483647 w 218"/>
                <a:gd name="T79" fmla="*/ 0 h 462"/>
                <a:gd name="T80" fmla="*/ 2147483647 w 218"/>
                <a:gd name="T81" fmla="*/ 2147483647 h 462"/>
                <a:gd name="T82" fmla="*/ 2147483647 w 218"/>
                <a:gd name="T83" fmla="*/ 2147483647 h 462"/>
                <a:gd name="T84" fmla="*/ 2147483647 w 218"/>
                <a:gd name="T85" fmla="*/ 2147483647 h 462"/>
                <a:gd name="T86" fmla="*/ 2147483647 w 218"/>
                <a:gd name="T87" fmla="*/ 2147483647 h 462"/>
                <a:gd name="T88" fmla="*/ 0 w 218"/>
                <a:gd name="T89" fmla="*/ 2147483647 h 462"/>
                <a:gd name="T90" fmla="*/ 0 w 218"/>
                <a:gd name="T91" fmla="*/ 2147483647 h 462"/>
                <a:gd name="T92" fmla="*/ 0 w 218"/>
                <a:gd name="T93" fmla="*/ 2147483647 h 462"/>
                <a:gd name="T94" fmla="*/ 0 w 218"/>
                <a:gd name="T95" fmla="*/ 2147483647 h 462"/>
                <a:gd name="T96" fmla="*/ 0 w 218"/>
                <a:gd name="T97" fmla="*/ 2147483647 h 462"/>
                <a:gd name="T98" fmla="*/ 0 w 218"/>
                <a:gd name="T99" fmla="*/ 2147483647 h 462"/>
                <a:gd name="T100" fmla="*/ 0 w 218"/>
                <a:gd name="T101" fmla="*/ 2147483647 h 462"/>
                <a:gd name="T102" fmla="*/ 2147483647 w 218"/>
                <a:gd name="T103" fmla="*/ 2147483647 h 462"/>
                <a:gd name="T104" fmla="*/ 2147483647 w 218"/>
                <a:gd name="T105" fmla="*/ 2147483647 h 462"/>
                <a:gd name="T106" fmla="*/ 2147483647 w 218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18"/>
                <a:gd name="T163" fmla="*/ 0 h 462"/>
                <a:gd name="T164" fmla="*/ 218 w 218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18" h="462">
                  <a:moveTo>
                    <a:pt x="111" y="462"/>
                  </a:moveTo>
                  <a:lnTo>
                    <a:pt x="123" y="461"/>
                  </a:lnTo>
                  <a:lnTo>
                    <a:pt x="135" y="452"/>
                  </a:lnTo>
                  <a:lnTo>
                    <a:pt x="145" y="444"/>
                  </a:lnTo>
                  <a:lnTo>
                    <a:pt x="151" y="434"/>
                  </a:lnTo>
                  <a:lnTo>
                    <a:pt x="151" y="424"/>
                  </a:lnTo>
                  <a:lnTo>
                    <a:pt x="145" y="396"/>
                  </a:lnTo>
                  <a:lnTo>
                    <a:pt x="147" y="387"/>
                  </a:lnTo>
                  <a:lnTo>
                    <a:pt x="151" y="379"/>
                  </a:lnTo>
                  <a:lnTo>
                    <a:pt x="164" y="373"/>
                  </a:lnTo>
                  <a:lnTo>
                    <a:pt x="174" y="365"/>
                  </a:lnTo>
                  <a:lnTo>
                    <a:pt x="178" y="355"/>
                  </a:lnTo>
                  <a:lnTo>
                    <a:pt x="207" y="336"/>
                  </a:lnTo>
                  <a:lnTo>
                    <a:pt x="213" y="331"/>
                  </a:lnTo>
                  <a:lnTo>
                    <a:pt x="218" y="320"/>
                  </a:lnTo>
                  <a:lnTo>
                    <a:pt x="217" y="284"/>
                  </a:lnTo>
                  <a:lnTo>
                    <a:pt x="218" y="281"/>
                  </a:lnTo>
                  <a:lnTo>
                    <a:pt x="212" y="277"/>
                  </a:lnTo>
                  <a:lnTo>
                    <a:pt x="208" y="278"/>
                  </a:lnTo>
                  <a:lnTo>
                    <a:pt x="202" y="278"/>
                  </a:lnTo>
                  <a:lnTo>
                    <a:pt x="198" y="273"/>
                  </a:lnTo>
                  <a:lnTo>
                    <a:pt x="198" y="269"/>
                  </a:lnTo>
                  <a:lnTo>
                    <a:pt x="191" y="251"/>
                  </a:lnTo>
                  <a:lnTo>
                    <a:pt x="186" y="251"/>
                  </a:lnTo>
                  <a:lnTo>
                    <a:pt x="177" y="257"/>
                  </a:lnTo>
                  <a:lnTo>
                    <a:pt x="172" y="252"/>
                  </a:lnTo>
                  <a:lnTo>
                    <a:pt x="170" y="246"/>
                  </a:lnTo>
                  <a:lnTo>
                    <a:pt x="164" y="249"/>
                  </a:lnTo>
                  <a:lnTo>
                    <a:pt x="159" y="249"/>
                  </a:lnTo>
                  <a:lnTo>
                    <a:pt x="153" y="246"/>
                  </a:lnTo>
                  <a:lnTo>
                    <a:pt x="142" y="239"/>
                  </a:lnTo>
                  <a:lnTo>
                    <a:pt x="138" y="226"/>
                  </a:lnTo>
                  <a:lnTo>
                    <a:pt x="138" y="215"/>
                  </a:lnTo>
                  <a:lnTo>
                    <a:pt x="150" y="219"/>
                  </a:lnTo>
                  <a:lnTo>
                    <a:pt x="150" y="210"/>
                  </a:lnTo>
                  <a:lnTo>
                    <a:pt x="153" y="203"/>
                  </a:lnTo>
                  <a:lnTo>
                    <a:pt x="160" y="201"/>
                  </a:lnTo>
                  <a:lnTo>
                    <a:pt x="166" y="195"/>
                  </a:lnTo>
                  <a:lnTo>
                    <a:pt x="172" y="192"/>
                  </a:lnTo>
                  <a:lnTo>
                    <a:pt x="185" y="181"/>
                  </a:lnTo>
                  <a:lnTo>
                    <a:pt x="192" y="174"/>
                  </a:lnTo>
                  <a:lnTo>
                    <a:pt x="198" y="163"/>
                  </a:lnTo>
                  <a:lnTo>
                    <a:pt x="207" y="140"/>
                  </a:lnTo>
                  <a:lnTo>
                    <a:pt x="204" y="132"/>
                  </a:lnTo>
                  <a:lnTo>
                    <a:pt x="202" y="116"/>
                  </a:lnTo>
                  <a:lnTo>
                    <a:pt x="194" y="111"/>
                  </a:lnTo>
                  <a:lnTo>
                    <a:pt x="191" y="104"/>
                  </a:lnTo>
                  <a:lnTo>
                    <a:pt x="181" y="101"/>
                  </a:lnTo>
                  <a:lnTo>
                    <a:pt x="176" y="95"/>
                  </a:lnTo>
                  <a:lnTo>
                    <a:pt x="172" y="79"/>
                  </a:lnTo>
                  <a:lnTo>
                    <a:pt x="175" y="66"/>
                  </a:lnTo>
                  <a:lnTo>
                    <a:pt x="183" y="59"/>
                  </a:lnTo>
                  <a:lnTo>
                    <a:pt x="194" y="55"/>
                  </a:lnTo>
                  <a:lnTo>
                    <a:pt x="207" y="31"/>
                  </a:lnTo>
                  <a:lnTo>
                    <a:pt x="201" y="19"/>
                  </a:lnTo>
                  <a:lnTo>
                    <a:pt x="194" y="19"/>
                  </a:lnTo>
                  <a:lnTo>
                    <a:pt x="188" y="27"/>
                  </a:lnTo>
                  <a:lnTo>
                    <a:pt x="182" y="32"/>
                  </a:lnTo>
                  <a:lnTo>
                    <a:pt x="175" y="35"/>
                  </a:lnTo>
                  <a:lnTo>
                    <a:pt x="171" y="39"/>
                  </a:lnTo>
                  <a:lnTo>
                    <a:pt x="160" y="35"/>
                  </a:lnTo>
                  <a:lnTo>
                    <a:pt x="161" y="24"/>
                  </a:lnTo>
                  <a:lnTo>
                    <a:pt x="156" y="15"/>
                  </a:lnTo>
                  <a:lnTo>
                    <a:pt x="155" y="9"/>
                  </a:lnTo>
                  <a:lnTo>
                    <a:pt x="156" y="7"/>
                  </a:lnTo>
                  <a:lnTo>
                    <a:pt x="138" y="0"/>
                  </a:lnTo>
                  <a:lnTo>
                    <a:pt x="128" y="0"/>
                  </a:lnTo>
                  <a:lnTo>
                    <a:pt x="115" y="2"/>
                  </a:lnTo>
                  <a:lnTo>
                    <a:pt x="104" y="7"/>
                  </a:lnTo>
                  <a:lnTo>
                    <a:pt x="91" y="13"/>
                  </a:lnTo>
                  <a:lnTo>
                    <a:pt x="83" y="19"/>
                  </a:lnTo>
                  <a:lnTo>
                    <a:pt x="79" y="24"/>
                  </a:lnTo>
                  <a:lnTo>
                    <a:pt x="75" y="25"/>
                  </a:lnTo>
                  <a:lnTo>
                    <a:pt x="73" y="31"/>
                  </a:lnTo>
                  <a:lnTo>
                    <a:pt x="68" y="35"/>
                  </a:lnTo>
                  <a:lnTo>
                    <a:pt x="62" y="41"/>
                  </a:lnTo>
                  <a:lnTo>
                    <a:pt x="53" y="50"/>
                  </a:lnTo>
                  <a:lnTo>
                    <a:pt x="51" y="55"/>
                  </a:lnTo>
                  <a:lnTo>
                    <a:pt x="57" y="57"/>
                  </a:lnTo>
                  <a:lnTo>
                    <a:pt x="58" y="61"/>
                  </a:lnTo>
                  <a:lnTo>
                    <a:pt x="53" y="93"/>
                  </a:lnTo>
                  <a:lnTo>
                    <a:pt x="52" y="101"/>
                  </a:lnTo>
                  <a:lnTo>
                    <a:pt x="54" y="111"/>
                  </a:lnTo>
                  <a:lnTo>
                    <a:pt x="56" y="134"/>
                  </a:lnTo>
                  <a:lnTo>
                    <a:pt x="59" y="140"/>
                  </a:lnTo>
                  <a:lnTo>
                    <a:pt x="59" y="147"/>
                  </a:lnTo>
                  <a:lnTo>
                    <a:pt x="53" y="171"/>
                  </a:lnTo>
                  <a:lnTo>
                    <a:pt x="49" y="185"/>
                  </a:lnTo>
                  <a:lnTo>
                    <a:pt x="30" y="197"/>
                  </a:lnTo>
                  <a:lnTo>
                    <a:pt x="27" y="208"/>
                  </a:lnTo>
                  <a:lnTo>
                    <a:pt x="19" y="212"/>
                  </a:lnTo>
                  <a:lnTo>
                    <a:pt x="14" y="217"/>
                  </a:lnTo>
                  <a:lnTo>
                    <a:pt x="13" y="220"/>
                  </a:lnTo>
                  <a:lnTo>
                    <a:pt x="3" y="226"/>
                  </a:lnTo>
                  <a:lnTo>
                    <a:pt x="0" y="226"/>
                  </a:lnTo>
                  <a:lnTo>
                    <a:pt x="3" y="234"/>
                  </a:lnTo>
                  <a:lnTo>
                    <a:pt x="8" y="246"/>
                  </a:lnTo>
                  <a:lnTo>
                    <a:pt x="14" y="272"/>
                  </a:lnTo>
                  <a:lnTo>
                    <a:pt x="32" y="279"/>
                  </a:lnTo>
                  <a:lnTo>
                    <a:pt x="37" y="285"/>
                  </a:lnTo>
                  <a:lnTo>
                    <a:pt x="46" y="305"/>
                  </a:lnTo>
                  <a:lnTo>
                    <a:pt x="46" y="323"/>
                  </a:lnTo>
                  <a:lnTo>
                    <a:pt x="64" y="336"/>
                  </a:lnTo>
                  <a:lnTo>
                    <a:pt x="89" y="348"/>
                  </a:lnTo>
                  <a:lnTo>
                    <a:pt x="91" y="348"/>
                  </a:lnTo>
                  <a:lnTo>
                    <a:pt x="91" y="349"/>
                  </a:lnTo>
                  <a:lnTo>
                    <a:pt x="105" y="422"/>
                  </a:lnTo>
                  <a:lnTo>
                    <a:pt x="110" y="459"/>
                  </a:lnTo>
                  <a:lnTo>
                    <a:pt x="111" y="46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9D5ABFED-350C-2CE3-12D6-D66C9A6CE98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489497" y="3307576"/>
              <a:ext cx="328315" cy="341424"/>
            </a:xfrm>
            <a:custGeom>
              <a:avLst/>
              <a:gdLst>
                <a:gd name="T0" fmla="*/ 0 w 612"/>
                <a:gd name="T1" fmla="*/ 2147483647 h 605"/>
                <a:gd name="T2" fmla="*/ 0 w 612"/>
                <a:gd name="T3" fmla="*/ 2147483647 h 605"/>
                <a:gd name="T4" fmla="*/ 0 w 612"/>
                <a:gd name="T5" fmla="*/ 2147483647 h 605"/>
                <a:gd name="T6" fmla="*/ 0 w 612"/>
                <a:gd name="T7" fmla="*/ 2147483647 h 605"/>
                <a:gd name="T8" fmla="*/ 0 w 612"/>
                <a:gd name="T9" fmla="*/ 2147483647 h 605"/>
                <a:gd name="T10" fmla="*/ 0 w 612"/>
                <a:gd name="T11" fmla="*/ 0 h 605"/>
                <a:gd name="T12" fmla="*/ 0 w 612"/>
                <a:gd name="T13" fmla="*/ 0 h 605"/>
                <a:gd name="T14" fmla="*/ 0 w 612"/>
                <a:gd name="T15" fmla="*/ 0 h 605"/>
                <a:gd name="T16" fmla="*/ 0 w 612"/>
                <a:gd name="T17" fmla="*/ 0 h 605"/>
                <a:gd name="T18" fmla="*/ 2147483647 w 612"/>
                <a:gd name="T19" fmla="*/ 0 h 605"/>
                <a:gd name="T20" fmla="*/ 2147483647 w 612"/>
                <a:gd name="T21" fmla="*/ 0 h 605"/>
                <a:gd name="T22" fmla="*/ 2147483647 w 612"/>
                <a:gd name="T23" fmla="*/ 0 h 605"/>
                <a:gd name="T24" fmla="*/ 2147483647 w 612"/>
                <a:gd name="T25" fmla="*/ 0 h 605"/>
                <a:gd name="T26" fmla="*/ 2147483647 w 612"/>
                <a:gd name="T27" fmla="*/ 0 h 605"/>
                <a:gd name="T28" fmla="*/ 2147483647 w 612"/>
                <a:gd name="T29" fmla="*/ 0 h 605"/>
                <a:gd name="T30" fmla="*/ 2147483647 w 612"/>
                <a:gd name="T31" fmla="*/ 0 h 605"/>
                <a:gd name="T32" fmla="*/ 2147483647 w 612"/>
                <a:gd name="T33" fmla="*/ 0 h 605"/>
                <a:gd name="T34" fmla="*/ 2147483647 w 612"/>
                <a:gd name="T35" fmla="*/ 0 h 605"/>
                <a:gd name="T36" fmla="*/ 2147483647 w 612"/>
                <a:gd name="T37" fmla="*/ 0 h 605"/>
                <a:gd name="T38" fmla="*/ 2147483647 w 612"/>
                <a:gd name="T39" fmla="*/ 0 h 605"/>
                <a:gd name="T40" fmla="*/ 2147483647 w 612"/>
                <a:gd name="T41" fmla="*/ 0 h 605"/>
                <a:gd name="T42" fmla="*/ 2147483647 w 612"/>
                <a:gd name="T43" fmla="*/ 0 h 605"/>
                <a:gd name="T44" fmla="*/ 2147483647 w 612"/>
                <a:gd name="T45" fmla="*/ 0 h 605"/>
                <a:gd name="T46" fmla="*/ 2147483647 w 612"/>
                <a:gd name="T47" fmla="*/ 0 h 605"/>
                <a:gd name="T48" fmla="*/ 2147483647 w 612"/>
                <a:gd name="T49" fmla="*/ 0 h 605"/>
                <a:gd name="T50" fmla="*/ 2147483647 w 612"/>
                <a:gd name="T51" fmla="*/ 0 h 605"/>
                <a:gd name="T52" fmla="*/ 2147483647 w 612"/>
                <a:gd name="T53" fmla="*/ 2147483647 h 605"/>
                <a:gd name="T54" fmla="*/ 2147483647 w 612"/>
                <a:gd name="T55" fmla="*/ 2147483647 h 605"/>
                <a:gd name="T56" fmla="*/ 2147483647 w 612"/>
                <a:gd name="T57" fmla="*/ 2147483647 h 605"/>
                <a:gd name="T58" fmla="*/ 2147483647 w 612"/>
                <a:gd name="T59" fmla="*/ 2147483647 h 605"/>
                <a:gd name="T60" fmla="*/ 2147483647 w 612"/>
                <a:gd name="T61" fmla="*/ 2147483647 h 605"/>
                <a:gd name="T62" fmla="*/ 2147483647 w 612"/>
                <a:gd name="T63" fmla="*/ 2147483647 h 605"/>
                <a:gd name="T64" fmla="*/ 2147483647 w 612"/>
                <a:gd name="T65" fmla="*/ 2147483647 h 605"/>
                <a:gd name="T66" fmla="*/ 2147483647 w 612"/>
                <a:gd name="T67" fmla="*/ 2147483647 h 605"/>
                <a:gd name="T68" fmla="*/ 2147483647 w 612"/>
                <a:gd name="T69" fmla="*/ 2147483647 h 605"/>
                <a:gd name="T70" fmla="*/ 2147483647 w 612"/>
                <a:gd name="T71" fmla="*/ 2147483647 h 605"/>
                <a:gd name="T72" fmla="*/ 2147483647 w 612"/>
                <a:gd name="T73" fmla="*/ 2147483647 h 605"/>
                <a:gd name="T74" fmla="*/ 2147483647 w 612"/>
                <a:gd name="T75" fmla="*/ 2147483647 h 605"/>
                <a:gd name="T76" fmla="*/ 2147483647 w 612"/>
                <a:gd name="T77" fmla="*/ 2147483647 h 605"/>
                <a:gd name="T78" fmla="*/ 2147483647 w 612"/>
                <a:gd name="T79" fmla="*/ 2147483647 h 605"/>
                <a:gd name="T80" fmla="*/ 2147483647 w 612"/>
                <a:gd name="T81" fmla="*/ 2147483647 h 605"/>
                <a:gd name="T82" fmla="*/ 2147483647 w 612"/>
                <a:gd name="T83" fmla="*/ 2147483647 h 605"/>
                <a:gd name="T84" fmla="*/ 2147483647 w 612"/>
                <a:gd name="T85" fmla="*/ 2147483647 h 605"/>
                <a:gd name="T86" fmla="*/ 2147483647 w 612"/>
                <a:gd name="T87" fmla="*/ 2147483647 h 605"/>
                <a:gd name="T88" fmla="*/ 2147483647 w 612"/>
                <a:gd name="T89" fmla="*/ 2147483647 h 605"/>
                <a:gd name="T90" fmla="*/ 2147483647 w 612"/>
                <a:gd name="T91" fmla="*/ 2147483647 h 605"/>
                <a:gd name="T92" fmla="*/ 2147483647 w 612"/>
                <a:gd name="T93" fmla="*/ 2147483647 h 605"/>
                <a:gd name="T94" fmla="*/ 2147483647 w 612"/>
                <a:gd name="T95" fmla="*/ 2147483647 h 605"/>
                <a:gd name="T96" fmla="*/ 2147483647 w 612"/>
                <a:gd name="T97" fmla="*/ 2147483647 h 605"/>
                <a:gd name="T98" fmla="*/ 2147483647 w 612"/>
                <a:gd name="T99" fmla="*/ 2147483647 h 605"/>
                <a:gd name="T100" fmla="*/ 2147483647 w 612"/>
                <a:gd name="T101" fmla="*/ 2147483647 h 605"/>
                <a:gd name="T102" fmla="*/ 2147483647 w 612"/>
                <a:gd name="T103" fmla="*/ 2147483647 h 605"/>
                <a:gd name="T104" fmla="*/ 2147483647 w 612"/>
                <a:gd name="T105" fmla="*/ 2147483647 h 605"/>
                <a:gd name="T106" fmla="*/ 2147483647 w 612"/>
                <a:gd name="T107" fmla="*/ 2147483647 h 60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12"/>
                <a:gd name="T163" fmla="*/ 0 h 605"/>
                <a:gd name="T164" fmla="*/ 612 w 612"/>
                <a:gd name="T165" fmla="*/ 605 h 60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12" h="605">
                  <a:moveTo>
                    <a:pt x="24" y="552"/>
                  </a:moveTo>
                  <a:lnTo>
                    <a:pt x="24" y="496"/>
                  </a:lnTo>
                  <a:lnTo>
                    <a:pt x="24" y="438"/>
                  </a:lnTo>
                  <a:lnTo>
                    <a:pt x="24" y="382"/>
                  </a:lnTo>
                  <a:lnTo>
                    <a:pt x="24" y="324"/>
                  </a:lnTo>
                  <a:lnTo>
                    <a:pt x="24" y="265"/>
                  </a:lnTo>
                  <a:lnTo>
                    <a:pt x="24" y="207"/>
                  </a:lnTo>
                  <a:lnTo>
                    <a:pt x="24" y="164"/>
                  </a:lnTo>
                  <a:lnTo>
                    <a:pt x="7" y="146"/>
                  </a:lnTo>
                  <a:lnTo>
                    <a:pt x="10" y="133"/>
                  </a:lnTo>
                  <a:lnTo>
                    <a:pt x="8" y="130"/>
                  </a:lnTo>
                  <a:lnTo>
                    <a:pt x="1" y="120"/>
                  </a:lnTo>
                  <a:lnTo>
                    <a:pt x="0" y="99"/>
                  </a:lnTo>
                  <a:lnTo>
                    <a:pt x="0" y="95"/>
                  </a:lnTo>
                  <a:lnTo>
                    <a:pt x="3" y="90"/>
                  </a:lnTo>
                  <a:lnTo>
                    <a:pt x="13" y="86"/>
                  </a:lnTo>
                  <a:lnTo>
                    <a:pt x="13" y="83"/>
                  </a:lnTo>
                  <a:lnTo>
                    <a:pt x="15" y="74"/>
                  </a:lnTo>
                  <a:lnTo>
                    <a:pt x="12" y="57"/>
                  </a:lnTo>
                  <a:lnTo>
                    <a:pt x="11" y="30"/>
                  </a:lnTo>
                  <a:lnTo>
                    <a:pt x="7" y="22"/>
                  </a:lnTo>
                  <a:lnTo>
                    <a:pt x="7" y="19"/>
                  </a:lnTo>
                  <a:lnTo>
                    <a:pt x="15" y="11"/>
                  </a:lnTo>
                  <a:lnTo>
                    <a:pt x="18" y="2"/>
                  </a:lnTo>
                  <a:lnTo>
                    <a:pt x="26" y="0"/>
                  </a:lnTo>
                  <a:lnTo>
                    <a:pt x="28" y="6"/>
                  </a:lnTo>
                  <a:lnTo>
                    <a:pt x="35" y="8"/>
                  </a:lnTo>
                  <a:lnTo>
                    <a:pt x="54" y="3"/>
                  </a:lnTo>
                  <a:lnTo>
                    <a:pt x="67" y="3"/>
                  </a:lnTo>
                  <a:lnTo>
                    <a:pt x="91" y="7"/>
                  </a:lnTo>
                  <a:lnTo>
                    <a:pt x="123" y="12"/>
                  </a:lnTo>
                  <a:lnTo>
                    <a:pt x="142" y="19"/>
                  </a:lnTo>
                  <a:lnTo>
                    <a:pt x="153" y="27"/>
                  </a:lnTo>
                  <a:lnTo>
                    <a:pt x="169" y="29"/>
                  </a:lnTo>
                  <a:lnTo>
                    <a:pt x="177" y="31"/>
                  </a:lnTo>
                  <a:lnTo>
                    <a:pt x="185" y="38"/>
                  </a:lnTo>
                  <a:lnTo>
                    <a:pt x="201" y="38"/>
                  </a:lnTo>
                  <a:lnTo>
                    <a:pt x="214" y="39"/>
                  </a:lnTo>
                  <a:lnTo>
                    <a:pt x="228" y="45"/>
                  </a:lnTo>
                  <a:lnTo>
                    <a:pt x="239" y="52"/>
                  </a:lnTo>
                  <a:lnTo>
                    <a:pt x="255" y="47"/>
                  </a:lnTo>
                  <a:lnTo>
                    <a:pt x="269" y="40"/>
                  </a:lnTo>
                  <a:lnTo>
                    <a:pt x="285" y="28"/>
                  </a:lnTo>
                  <a:lnTo>
                    <a:pt x="301" y="20"/>
                  </a:lnTo>
                  <a:lnTo>
                    <a:pt x="311" y="13"/>
                  </a:lnTo>
                  <a:lnTo>
                    <a:pt x="324" y="12"/>
                  </a:lnTo>
                  <a:lnTo>
                    <a:pt x="334" y="8"/>
                  </a:lnTo>
                  <a:lnTo>
                    <a:pt x="336" y="8"/>
                  </a:lnTo>
                  <a:lnTo>
                    <a:pt x="336" y="11"/>
                  </a:lnTo>
                  <a:lnTo>
                    <a:pt x="324" y="16"/>
                  </a:lnTo>
                  <a:lnTo>
                    <a:pt x="322" y="20"/>
                  </a:lnTo>
                  <a:lnTo>
                    <a:pt x="324" y="20"/>
                  </a:lnTo>
                  <a:lnTo>
                    <a:pt x="344" y="17"/>
                  </a:lnTo>
                  <a:lnTo>
                    <a:pt x="349" y="13"/>
                  </a:lnTo>
                  <a:lnTo>
                    <a:pt x="354" y="7"/>
                  </a:lnTo>
                  <a:lnTo>
                    <a:pt x="361" y="11"/>
                  </a:lnTo>
                  <a:lnTo>
                    <a:pt x="365" y="11"/>
                  </a:lnTo>
                  <a:lnTo>
                    <a:pt x="388" y="11"/>
                  </a:lnTo>
                  <a:lnTo>
                    <a:pt x="390" y="11"/>
                  </a:lnTo>
                  <a:lnTo>
                    <a:pt x="400" y="6"/>
                  </a:lnTo>
                  <a:lnTo>
                    <a:pt x="401" y="8"/>
                  </a:lnTo>
                  <a:lnTo>
                    <a:pt x="405" y="14"/>
                  </a:lnTo>
                  <a:lnTo>
                    <a:pt x="408" y="16"/>
                  </a:lnTo>
                  <a:lnTo>
                    <a:pt x="411" y="20"/>
                  </a:lnTo>
                  <a:lnTo>
                    <a:pt x="416" y="24"/>
                  </a:lnTo>
                  <a:lnTo>
                    <a:pt x="426" y="28"/>
                  </a:lnTo>
                  <a:lnTo>
                    <a:pt x="431" y="35"/>
                  </a:lnTo>
                  <a:lnTo>
                    <a:pt x="435" y="40"/>
                  </a:lnTo>
                  <a:lnTo>
                    <a:pt x="447" y="40"/>
                  </a:lnTo>
                  <a:lnTo>
                    <a:pt x="456" y="39"/>
                  </a:lnTo>
                  <a:lnTo>
                    <a:pt x="459" y="35"/>
                  </a:lnTo>
                  <a:lnTo>
                    <a:pt x="463" y="34"/>
                  </a:lnTo>
                  <a:lnTo>
                    <a:pt x="468" y="40"/>
                  </a:lnTo>
                  <a:lnTo>
                    <a:pt x="491" y="38"/>
                  </a:lnTo>
                  <a:lnTo>
                    <a:pt x="510" y="29"/>
                  </a:lnTo>
                  <a:lnTo>
                    <a:pt x="521" y="20"/>
                  </a:lnTo>
                  <a:lnTo>
                    <a:pt x="523" y="30"/>
                  </a:lnTo>
                  <a:lnTo>
                    <a:pt x="523" y="35"/>
                  </a:lnTo>
                  <a:lnTo>
                    <a:pt x="527" y="41"/>
                  </a:lnTo>
                  <a:lnTo>
                    <a:pt x="545" y="99"/>
                  </a:lnTo>
                  <a:lnTo>
                    <a:pt x="561" y="144"/>
                  </a:lnTo>
                  <a:lnTo>
                    <a:pt x="554" y="164"/>
                  </a:lnTo>
                  <a:lnTo>
                    <a:pt x="549" y="187"/>
                  </a:lnTo>
                  <a:lnTo>
                    <a:pt x="539" y="211"/>
                  </a:lnTo>
                  <a:lnTo>
                    <a:pt x="539" y="221"/>
                  </a:lnTo>
                  <a:lnTo>
                    <a:pt x="539" y="228"/>
                  </a:lnTo>
                  <a:lnTo>
                    <a:pt x="538" y="234"/>
                  </a:lnTo>
                  <a:lnTo>
                    <a:pt x="534" y="238"/>
                  </a:lnTo>
                  <a:lnTo>
                    <a:pt x="527" y="242"/>
                  </a:lnTo>
                  <a:lnTo>
                    <a:pt x="518" y="242"/>
                  </a:lnTo>
                  <a:lnTo>
                    <a:pt x="510" y="235"/>
                  </a:lnTo>
                  <a:lnTo>
                    <a:pt x="499" y="219"/>
                  </a:lnTo>
                  <a:lnTo>
                    <a:pt x="486" y="207"/>
                  </a:lnTo>
                  <a:lnTo>
                    <a:pt x="476" y="192"/>
                  </a:lnTo>
                  <a:lnTo>
                    <a:pt x="474" y="189"/>
                  </a:lnTo>
                  <a:lnTo>
                    <a:pt x="473" y="175"/>
                  </a:lnTo>
                  <a:lnTo>
                    <a:pt x="469" y="165"/>
                  </a:lnTo>
                  <a:lnTo>
                    <a:pt x="458" y="154"/>
                  </a:lnTo>
                  <a:lnTo>
                    <a:pt x="454" y="144"/>
                  </a:lnTo>
                  <a:lnTo>
                    <a:pt x="447" y="135"/>
                  </a:lnTo>
                  <a:lnTo>
                    <a:pt x="442" y="115"/>
                  </a:lnTo>
                  <a:lnTo>
                    <a:pt x="440" y="109"/>
                  </a:lnTo>
                  <a:lnTo>
                    <a:pt x="438" y="105"/>
                  </a:lnTo>
                  <a:lnTo>
                    <a:pt x="436" y="104"/>
                  </a:lnTo>
                  <a:lnTo>
                    <a:pt x="432" y="108"/>
                  </a:lnTo>
                  <a:lnTo>
                    <a:pt x="433" y="113"/>
                  </a:lnTo>
                  <a:lnTo>
                    <a:pt x="429" y="119"/>
                  </a:lnTo>
                  <a:lnTo>
                    <a:pt x="427" y="131"/>
                  </a:lnTo>
                  <a:lnTo>
                    <a:pt x="429" y="135"/>
                  </a:lnTo>
                  <a:lnTo>
                    <a:pt x="437" y="143"/>
                  </a:lnTo>
                  <a:lnTo>
                    <a:pt x="440" y="148"/>
                  </a:lnTo>
                  <a:lnTo>
                    <a:pt x="442" y="154"/>
                  </a:lnTo>
                  <a:lnTo>
                    <a:pt x="441" y="167"/>
                  </a:lnTo>
                  <a:lnTo>
                    <a:pt x="443" y="174"/>
                  </a:lnTo>
                  <a:lnTo>
                    <a:pt x="458" y="203"/>
                  </a:lnTo>
                  <a:lnTo>
                    <a:pt x="475" y="223"/>
                  </a:lnTo>
                  <a:lnTo>
                    <a:pt x="483" y="230"/>
                  </a:lnTo>
                  <a:lnTo>
                    <a:pt x="487" y="232"/>
                  </a:lnTo>
                  <a:lnTo>
                    <a:pt x="490" y="256"/>
                  </a:lnTo>
                  <a:lnTo>
                    <a:pt x="495" y="265"/>
                  </a:lnTo>
                  <a:lnTo>
                    <a:pt x="506" y="278"/>
                  </a:lnTo>
                  <a:lnTo>
                    <a:pt x="512" y="304"/>
                  </a:lnTo>
                  <a:lnTo>
                    <a:pt x="515" y="314"/>
                  </a:lnTo>
                  <a:lnTo>
                    <a:pt x="517" y="323"/>
                  </a:lnTo>
                  <a:lnTo>
                    <a:pt x="530" y="346"/>
                  </a:lnTo>
                  <a:lnTo>
                    <a:pt x="535" y="362"/>
                  </a:lnTo>
                  <a:lnTo>
                    <a:pt x="545" y="374"/>
                  </a:lnTo>
                  <a:lnTo>
                    <a:pt x="558" y="401"/>
                  </a:lnTo>
                  <a:lnTo>
                    <a:pt x="562" y="412"/>
                  </a:lnTo>
                  <a:lnTo>
                    <a:pt x="567" y="418"/>
                  </a:lnTo>
                  <a:lnTo>
                    <a:pt x="578" y="444"/>
                  </a:lnTo>
                  <a:lnTo>
                    <a:pt x="588" y="455"/>
                  </a:lnTo>
                  <a:lnTo>
                    <a:pt x="604" y="469"/>
                  </a:lnTo>
                  <a:lnTo>
                    <a:pt x="608" y="471"/>
                  </a:lnTo>
                  <a:lnTo>
                    <a:pt x="612" y="476"/>
                  </a:lnTo>
                  <a:lnTo>
                    <a:pt x="612" y="479"/>
                  </a:lnTo>
                  <a:lnTo>
                    <a:pt x="598" y="476"/>
                  </a:lnTo>
                  <a:lnTo>
                    <a:pt x="596" y="476"/>
                  </a:lnTo>
                  <a:lnTo>
                    <a:pt x="594" y="479"/>
                  </a:lnTo>
                  <a:lnTo>
                    <a:pt x="598" y="488"/>
                  </a:lnTo>
                  <a:lnTo>
                    <a:pt x="599" y="513"/>
                  </a:lnTo>
                  <a:lnTo>
                    <a:pt x="603" y="525"/>
                  </a:lnTo>
                  <a:lnTo>
                    <a:pt x="581" y="545"/>
                  </a:lnTo>
                  <a:lnTo>
                    <a:pt x="567" y="540"/>
                  </a:lnTo>
                  <a:lnTo>
                    <a:pt x="555" y="571"/>
                  </a:lnTo>
                  <a:lnTo>
                    <a:pt x="526" y="578"/>
                  </a:lnTo>
                  <a:lnTo>
                    <a:pt x="518" y="603"/>
                  </a:lnTo>
                  <a:lnTo>
                    <a:pt x="491" y="605"/>
                  </a:lnTo>
                  <a:lnTo>
                    <a:pt x="473" y="592"/>
                  </a:lnTo>
                  <a:lnTo>
                    <a:pt x="376" y="590"/>
                  </a:lnTo>
                  <a:lnTo>
                    <a:pt x="381" y="579"/>
                  </a:lnTo>
                  <a:lnTo>
                    <a:pt x="378" y="579"/>
                  </a:lnTo>
                  <a:lnTo>
                    <a:pt x="376" y="578"/>
                  </a:lnTo>
                  <a:lnTo>
                    <a:pt x="373" y="578"/>
                  </a:lnTo>
                  <a:lnTo>
                    <a:pt x="366" y="590"/>
                  </a:lnTo>
                  <a:lnTo>
                    <a:pt x="338" y="590"/>
                  </a:lnTo>
                  <a:lnTo>
                    <a:pt x="285" y="590"/>
                  </a:lnTo>
                  <a:lnTo>
                    <a:pt x="233" y="590"/>
                  </a:lnTo>
                  <a:lnTo>
                    <a:pt x="180" y="590"/>
                  </a:lnTo>
                  <a:lnTo>
                    <a:pt x="129" y="590"/>
                  </a:lnTo>
                  <a:lnTo>
                    <a:pt x="77" y="590"/>
                  </a:lnTo>
                  <a:lnTo>
                    <a:pt x="24" y="590"/>
                  </a:lnTo>
                  <a:lnTo>
                    <a:pt x="24" y="55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9" name="Freeform 12">
              <a:extLst>
                <a:ext uri="{FF2B5EF4-FFF2-40B4-BE49-F238E27FC236}">
                  <a16:creationId xmlns:a16="http://schemas.microsoft.com/office/drawing/2014/main" id="{92E05711-1AEF-4DED-7F4C-4DAAC748C8D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520967" y="3100283"/>
              <a:ext cx="592460" cy="641695"/>
            </a:xfrm>
            <a:custGeom>
              <a:avLst/>
              <a:gdLst>
                <a:gd name="T0" fmla="*/ 0 w 1112"/>
                <a:gd name="T1" fmla="*/ 2147483647 h 1129"/>
                <a:gd name="T2" fmla="*/ 2147483647 w 1112"/>
                <a:gd name="T3" fmla="*/ 2147483647 h 1129"/>
                <a:gd name="T4" fmla="*/ 2147483647 w 1112"/>
                <a:gd name="T5" fmla="*/ 2147483647 h 1129"/>
                <a:gd name="T6" fmla="*/ 2147483647 w 1112"/>
                <a:gd name="T7" fmla="*/ 2147483647 h 1129"/>
                <a:gd name="T8" fmla="*/ 2147483647 w 1112"/>
                <a:gd name="T9" fmla="*/ 2147483647 h 1129"/>
                <a:gd name="T10" fmla="*/ 2147483647 w 1112"/>
                <a:gd name="T11" fmla="*/ 2147483647 h 1129"/>
                <a:gd name="T12" fmla="*/ 2147483647 w 1112"/>
                <a:gd name="T13" fmla="*/ 2147483647 h 1129"/>
                <a:gd name="T14" fmla="*/ 2147483647 w 1112"/>
                <a:gd name="T15" fmla="*/ 2147483647 h 1129"/>
                <a:gd name="T16" fmla="*/ 2147483647 w 1112"/>
                <a:gd name="T17" fmla="*/ 2147483647 h 1129"/>
                <a:gd name="T18" fmla="*/ 2147483647 w 1112"/>
                <a:gd name="T19" fmla="*/ 2147483647 h 1129"/>
                <a:gd name="T20" fmla="*/ 2147483647 w 1112"/>
                <a:gd name="T21" fmla="*/ 2147483647 h 1129"/>
                <a:gd name="T22" fmla="*/ 2147483647 w 1112"/>
                <a:gd name="T23" fmla="*/ 2147483647 h 1129"/>
                <a:gd name="T24" fmla="*/ 2147483647 w 1112"/>
                <a:gd name="T25" fmla="*/ 2147483647 h 1129"/>
                <a:gd name="T26" fmla="*/ 2147483647 w 1112"/>
                <a:gd name="T27" fmla="*/ 2147483647 h 1129"/>
                <a:gd name="T28" fmla="*/ 2147483647 w 1112"/>
                <a:gd name="T29" fmla="*/ 2147483647 h 1129"/>
                <a:gd name="T30" fmla="*/ 2147483647 w 1112"/>
                <a:gd name="T31" fmla="*/ 2147483647 h 1129"/>
                <a:gd name="T32" fmla="*/ 2147483647 w 1112"/>
                <a:gd name="T33" fmla="*/ 2147483647 h 1129"/>
                <a:gd name="T34" fmla="*/ 2147483647 w 1112"/>
                <a:gd name="T35" fmla="*/ 2147483647 h 1129"/>
                <a:gd name="T36" fmla="*/ 2147483647 w 1112"/>
                <a:gd name="T37" fmla="*/ 2147483647 h 1129"/>
                <a:gd name="T38" fmla="*/ 2147483647 w 1112"/>
                <a:gd name="T39" fmla="*/ 2147483647 h 1129"/>
                <a:gd name="T40" fmla="*/ 2147483647 w 1112"/>
                <a:gd name="T41" fmla="*/ 2147483647 h 1129"/>
                <a:gd name="T42" fmla="*/ 2147483647 w 1112"/>
                <a:gd name="T43" fmla="*/ 2147483647 h 1129"/>
                <a:gd name="T44" fmla="*/ 2147483647 w 1112"/>
                <a:gd name="T45" fmla="*/ 0 h 1129"/>
                <a:gd name="T46" fmla="*/ 2147483647 w 1112"/>
                <a:gd name="T47" fmla="*/ 0 h 1129"/>
                <a:gd name="T48" fmla="*/ 2147483647 w 1112"/>
                <a:gd name="T49" fmla="*/ 0 h 1129"/>
                <a:gd name="T50" fmla="*/ 2147483647 w 1112"/>
                <a:gd name="T51" fmla="*/ 0 h 1129"/>
                <a:gd name="T52" fmla="*/ 2147483647 w 1112"/>
                <a:gd name="T53" fmla="*/ 0 h 1129"/>
                <a:gd name="T54" fmla="*/ 2147483647 w 1112"/>
                <a:gd name="T55" fmla="*/ 0 h 1129"/>
                <a:gd name="T56" fmla="*/ 2147483647 w 1112"/>
                <a:gd name="T57" fmla="*/ 0 h 1129"/>
                <a:gd name="T58" fmla="*/ 2147483647 w 1112"/>
                <a:gd name="T59" fmla="*/ 0 h 1129"/>
                <a:gd name="T60" fmla="*/ 2147483647 w 1112"/>
                <a:gd name="T61" fmla="*/ 0 h 1129"/>
                <a:gd name="T62" fmla="*/ 2147483647 w 1112"/>
                <a:gd name="T63" fmla="*/ 2147483647 h 1129"/>
                <a:gd name="T64" fmla="*/ 2147483647 w 1112"/>
                <a:gd name="T65" fmla="*/ 2147483647 h 1129"/>
                <a:gd name="T66" fmla="*/ 2147483647 w 1112"/>
                <a:gd name="T67" fmla="*/ 2147483647 h 1129"/>
                <a:gd name="T68" fmla="*/ 2147483647 w 1112"/>
                <a:gd name="T69" fmla="*/ 2147483647 h 1129"/>
                <a:gd name="T70" fmla="*/ 2147483647 w 1112"/>
                <a:gd name="T71" fmla="*/ 2147483647 h 1129"/>
                <a:gd name="T72" fmla="*/ 2147483647 w 1112"/>
                <a:gd name="T73" fmla="*/ 2147483647 h 1129"/>
                <a:gd name="T74" fmla="*/ 2147483647 w 1112"/>
                <a:gd name="T75" fmla="*/ 2147483647 h 1129"/>
                <a:gd name="T76" fmla="*/ 2147483647 w 1112"/>
                <a:gd name="T77" fmla="*/ 2147483647 h 1129"/>
                <a:gd name="T78" fmla="*/ 2147483647 w 1112"/>
                <a:gd name="T79" fmla="*/ 2147483647 h 1129"/>
                <a:gd name="T80" fmla="*/ 2147483647 w 1112"/>
                <a:gd name="T81" fmla="*/ 2147483647 h 1129"/>
                <a:gd name="T82" fmla="*/ 2147483647 w 1112"/>
                <a:gd name="T83" fmla="*/ 2147483647 h 1129"/>
                <a:gd name="T84" fmla="*/ 2147483647 w 1112"/>
                <a:gd name="T85" fmla="*/ 2147483647 h 1129"/>
                <a:gd name="T86" fmla="*/ 2147483647 w 1112"/>
                <a:gd name="T87" fmla="*/ 2147483647 h 1129"/>
                <a:gd name="T88" fmla="*/ 2147483647 w 1112"/>
                <a:gd name="T89" fmla="*/ 2147483647 h 1129"/>
                <a:gd name="T90" fmla="*/ 2147483647 w 1112"/>
                <a:gd name="T91" fmla="*/ 2147483647 h 1129"/>
                <a:gd name="T92" fmla="*/ 2147483647 w 1112"/>
                <a:gd name="T93" fmla="*/ 2147483647 h 1129"/>
                <a:gd name="T94" fmla="*/ 2147483647 w 1112"/>
                <a:gd name="T95" fmla="*/ 2147483647 h 1129"/>
                <a:gd name="T96" fmla="*/ 2147483647 w 1112"/>
                <a:gd name="T97" fmla="*/ 2147483647 h 1129"/>
                <a:gd name="T98" fmla="*/ 2147483647 w 1112"/>
                <a:gd name="T99" fmla="*/ 2147483647 h 1129"/>
                <a:gd name="T100" fmla="*/ 2147483647 w 1112"/>
                <a:gd name="T101" fmla="*/ 2147483647 h 1129"/>
                <a:gd name="T102" fmla="*/ 2147483647 w 1112"/>
                <a:gd name="T103" fmla="*/ 2147483647 h 1129"/>
                <a:gd name="T104" fmla="*/ 2147483647 w 1112"/>
                <a:gd name="T105" fmla="*/ 2147483647 h 1129"/>
                <a:gd name="T106" fmla="*/ 2147483647 w 1112"/>
                <a:gd name="T107" fmla="*/ 2147483647 h 112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12"/>
                <a:gd name="T163" fmla="*/ 0 h 1129"/>
                <a:gd name="T164" fmla="*/ 1112 w 1112"/>
                <a:gd name="T165" fmla="*/ 1129 h 112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12" h="1129">
                  <a:moveTo>
                    <a:pt x="203" y="773"/>
                  </a:moveTo>
                  <a:lnTo>
                    <a:pt x="126" y="722"/>
                  </a:lnTo>
                  <a:lnTo>
                    <a:pt x="67" y="684"/>
                  </a:lnTo>
                  <a:lnTo>
                    <a:pt x="0" y="640"/>
                  </a:lnTo>
                  <a:lnTo>
                    <a:pt x="0" y="608"/>
                  </a:lnTo>
                  <a:lnTo>
                    <a:pt x="0" y="539"/>
                  </a:lnTo>
                  <a:lnTo>
                    <a:pt x="26" y="519"/>
                  </a:lnTo>
                  <a:lnTo>
                    <a:pt x="47" y="505"/>
                  </a:lnTo>
                  <a:lnTo>
                    <a:pt x="59" y="505"/>
                  </a:lnTo>
                  <a:lnTo>
                    <a:pt x="66" y="499"/>
                  </a:lnTo>
                  <a:lnTo>
                    <a:pt x="72" y="495"/>
                  </a:lnTo>
                  <a:lnTo>
                    <a:pt x="79" y="489"/>
                  </a:lnTo>
                  <a:lnTo>
                    <a:pt x="83" y="485"/>
                  </a:lnTo>
                  <a:lnTo>
                    <a:pt x="90" y="487"/>
                  </a:lnTo>
                  <a:lnTo>
                    <a:pt x="97" y="485"/>
                  </a:lnTo>
                  <a:lnTo>
                    <a:pt x="102" y="488"/>
                  </a:lnTo>
                  <a:lnTo>
                    <a:pt x="110" y="488"/>
                  </a:lnTo>
                  <a:lnTo>
                    <a:pt x="113" y="487"/>
                  </a:lnTo>
                  <a:lnTo>
                    <a:pt x="113" y="478"/>
                  </a:lnTo>
                  <a:lnTo>
                    <a:pt x="114" y="474"/>
                  </a:lnTo>
                  <a:lnTo>
                    <a:pt x="131" y="476"/>
                  </a:lnTo>
                  <a:lnTo>
                    <a:pt x="136" y="473"/>
                  </a:lnTo>
                  <a:lnTo>
                    <a:pt x="145" y="473"/>
                  </a:lnTo>
                  <a:lnTo>
                    <a:pt x="161" y="471"/>
                  </a:lnTo>
                  <a:lnTo>
                    <a:pt x="178" y="463"/>
                  </a:lnTo>
                  <a:lnTo>
                    <a:pt x="184" y="458"/>
                  </a:lnTo>
                  <a:lnTo>
                    <a:pt x="190" y="453"/>
                  </a:lnTo>
                  <a:lnTo>
                    <a:pt x="193" y="447"/>
                  </a:lnTo>
                  <a:lnTo>
                    <a:pt x="193" y="445"/>
                  </a:lnTo>
                  <a:lnTo>
                    <a:pt x="196" y="437"/>
                  </a:lnTo>
                  <a:lnTo>
                    <a:pt x="206" y="430"/>
                  </a:lnTo>
                  <a:lnTo>
                    <a:pt x="221" y="424"/>
                  </a:lnTo>
                  <a:lnTo>
                    <a:pt x="227" y="424"/>
                  </a:lnTo>
                  <a:lnTo>
                    <a:pt x="253" y="407"/>
                  </a:lnTo>
                  <a:lnTo>
                    <a:pt x="274" y="403"/>
                  </a:lnTo>
                  <a:lnTo>
                    <a:pt x="276" y="399"/>
                  </a:lnTo>
                  <a:lnTo>
                    <a:pt x="275" y="396"/>
                  </a:lnTo>
                  <a:lnTo>
                    <a:pt x="270" y="392"/>
                  </a:lnTo>
                  <a:lnTo>
                    <a:pt x="269" y="390"/>
                  </a:lnTo>
                  <a:lnTo>
                    <a:pt x="267" y="390"/>
                  </a:lnTo>
                  <a:lnTo>
                    <a:pt x="264" y="391"/>
                  </a:lnTo>
                  <a:lnTo>
                    <a:pt x="263" y="391"/>
                  </a:lnTo>
                  <a:lnTo>
                    <a:pt x="264" y="380"/>
                  </a:lnTo>
                  <a:lnTo>
                    <a:pt x="269" y="375"/>
                  </a:lnTo>
                  <a:lnTo>
                    <a:pt x="268" y="372"/>
                  </a:lnTo>
                  <a:lnTo>
                    <a:pt x="263" y="372"/>
                  </a:lnTo>
                  <a:lnTo>
                    <a:pt x="262" y="370"/>
                  </a:lnTo>
                  <a:lnTo>
                    <a:pt x="262" y="364"/>
                  </a:lnTo>
                  <a:lnTo>
                    <a:pt x="263" y="359"/>
                  </a:lnTo>
                  <a:lnTo>
                    <a:pt x="268" y="355"/>
                  </a:lnTo>
                  <a:lnTo>
                    <a:pt x="273" y="355"/>
                  </a:lnTo>
                  <a:lnTo>
                    <a:pt x="280" y="356"/>
                  </a:lnTo>
                  <a:lnTo>
                    <a:pt x="287" y="355"/>
                  </a:lnTo>
                  <a:lnTo>
                    <a:pt x="295" y="354"/>
                  </a:lnTo>
                  <a:lnTo>
                    <a:pt x="308" y="348"/>
                  </a:lnTo>
                  <a:lnTo>
                    <a:pt x="311" y="345"/>
                  </a:lnTo>
                  <a:lnTo>
                    <a:pt x="312" y="339"/>
                  </a:lnTo>
                  <a:lnTo>
                    <a:pt x="311" y="334"/>
                  </a:lnTo>
                  <a:lnTo>
                    <a:pt x="313" y="329"/>
                  </a:lnTo>
                  <a:lnTo>
                    <a:pt x="316" y="328"/>
                  </a:lnTo>
                  <a:lnTo>
                    <a:pt x="323" y="331"/>
                  </a:lnTo>
                  <a:lnTo>
                    <a:pt x="327" y="329"/>
                  </a:lnTo>
                  <a:lnTo>
                    <a:pt x="330" y="327"/>
                  </a:lnTo>
                  <a:lnTo>
                    <a:pt x="340" y="324"/>
                  </a:lnTo>
                  <a:lnTo>
                    <a:pt x="371" y="324"/>
                  </a:lnTo>
                  <a:lnTo>
                    <a:pt x="376" y="323"/>
                  </a:lnTo>
                  <a:lnTo>
                    <a:pt x="387" y="324"/>
                  </a:lnTo>
                  <a:lnTo>
                    <a:pt x="399" y="324"/>
                  </a:lnTo>
                  <a:lnTo>
                    <a:pt x="407" y="328"/>
                  </a:lnTo>
                  <a:lnTo>
                    <a:pt x="409" y="327"/>
                  </a:lnTo>
                  <a:lnTo>
                    <a:pt x="409" y="324"/>
                  </a:lnTo>
                  <a:lnTo>
                    <a:pt x="407" y="320"/>
                  </a:lnTo>
                  <a:lnTo>
                    <a:pt x="408" y="313"/>
                  </a:lnTo>
                  <a:lnTo>
                    <a:pt x="411" y="306"/>
                  </a:lnTo>
                  <a:lnTo>
                    <a:pt x="416" y="304"/>
                  </a:lnTo>
                  <a:lnTo>
                    <a:pt x="416" y="302"/>
                  </a:lnTo>
                  <a:lnTo>
                    <a:pt x="409" y="297"/>
                  </a:lnTo>
                  <a:lnTo>
                    <a:pt x="400" y="289"/>
                  </a:lnTo>
                  <a:lnTo>
                    <a:pt x="393" y="274"/>
                  </a:lnTo>
                  <a:lnTo>
                    <a:pt x="393" y="268"/>
                  </a:lnTo>
                  <a:lnTo>
                    <a:pt x="391" y="261"/>
                  </a:lnTo>
                  <a:lnTo>
                    <a:pt x="388" y="253"/>
                  </a:lnTo>
                  <a:lnTo>
                    <a:pt x="389" y="248"/>
                  </a:lnTo>
                  <a:lnTo>
                    <a:pt x="391" y="242"/>
                  </a:lnTo>
                  <a:lnTo>
                    <a:pt x="391" y="238"/>
                  </a:lnTo>
                  <a:lnTo>
                    <a:pt x="391" y="234"/>
                  </a:lnTo>
                  <a:lnTo>
                    <a:pt x="383" y="226"/>
                  </a:lnTo>
                  <a:lnTo>
                    <a:pt x="386" y="223"/>
                  </a:lnTo>
                  <a:lnTo>
                    <a:pt x="386" y="213"/>
                  </a:lnTo>
                  <a:lnTo>
                    <a:pt x="387" y="204"/>
                  </a:lnTo>
                  <a:lnTo>
                    <a:pt x="384" y="193"/>
                  </a:lnTo>
                  <a:lnTo>
                    <a:pt x="382" y="186"/>
                  </a:lnTo>
                  <a:lnTo>
                    <a:pt x="386" y="178"/>
                  </a:lnTo>
                  <a:lnTo>
                    <a:pt x="380" y="170"/>
                  </a:lnTo>
                  <a:lnTo>
                    <a:pt x="381" y="167"/>
                  </a:lnTo>
                  <a:lnTo>
                    <a:pt x="382" y="167"/>
                  </a:lnTo>
                  <a:lnTo>
                    <a:pt x="383" y="165"/>
                  </a:lnTo>
                  <a:lnTo>
                    <a:pt x="381" y="161"/>
                  </a:lnTo>
                  <a:lnTo>
                    <a:pt x="377" y="160"/>
                  </a:lnTo>
                  <a:lnTo>
                    <a:pt x="373" y="155"/>
                  </a:lnTo>
                  <a:lnTo>
                    <a:pt x="372" y="153"/>
                  </a:lnTo>
                  <a:lnTo>
                    <a:pt x="366" y="148"/>
                  </a:lnTo>
                  <a:lnTo>
                    <a:pt x="364" y="143"/>
                  </a:lnTo>
                  <a:lnTo>
                    <a:pt x="364" y="138"/>
                  </a:lnTo>
                  <a:lnTo>
                    <a:pt x="371" y="137"/>
                  </a:lnTo>
                  <a:lnTo>
                    <a:pt x="384" y="132"/>
                  </a:lnTo>
                  <a:lnTo>
                    <a:pt x="399" y="123"/>
                  </a:lnTo>
                  <a:lnTo>
                    <a:pt x="418" y="100"/>
                  </a:lnTo>
                  <a:lnTo>
                    <a:pt x="429" y="92"/>
                  </a:lnTo>
                  <a:lnTo>
                    <a:pt x="438" y="91"/>
                  </a:lnTo>
                  <a:lnTo>
                    <a:pt x="445" y="92"/>
                  </a:lnTo>
                  <a:lnTo>
                    <a:pt x="456" y="82"/>
                  </a:lnTo>
                  <a:lnTo>
                    <a:pt x="467" y="87"/>
                  </a:lnTo>
                  <a:lnTo>
                    <a:pt x="478" y="82"/>
                  </a:lnTo>
                  <a:lnTo>
                    <a:pt x="484" y="73"/>
                  </a:lnTo>
                  <a:lnTo>
                    <a:pt x="491" y="65"/>
                  </a:lnTo>
                  <a:lnTo>
                    <a:pt x="497" y="62"/>
                  </a:lnTo>
                  <a:lnTo>
                    <a:pt x="505" y="59"/>
                  </a:lnTo>
                  <a:lnTo>
                    <a:pt x="516" y="51"/>
                  </a:lnTo>
                  <a:lnTo>
                    <a:pt x="543" y="41"/>
                  </a:lnTo>
                  <a:lnTo>
                    <a:pt x="555" y="37"/>
                  </a:lnTo>
                  <a:lnTo>
                    <a:pt x="608" y="33"/>
                  </a:lnTo>
                  <a:lnTo>
                    <a:pt x="620" y="33"/>
                  </a:lnTo>
                  <a:lnTo>
                    <a:pt x="630" y="28"/>
                  </a:lnTo>
                  <a:lnTo>
                    <a:pt x="640" y="20"/>
                  </a:lnTo>
                  <a:lnTo>
                    <a:pt x="646" y="22"/>
                  </a:lnTo>
                  <a:lnTo>
                    <a:pt x="658" y="21"/>
                  </a:lnTo>
                  <a:lnTo>
                    <a:pt x="663" y="24"/>
                  </a:lnTo>
                  <a:lnTo>
                    <a:pt x="673" y="21"/>
                  </a:lnTo>
                  <a:lnTo>
                    <a:pt x="689" y="14"/>
                  </a:lnTo>
                  <a:lnTo>
                    <a:pt x="705" y="14"/>
                  </a:lnTo>
                  <a:lnTo>
                    <a:pt x="720" y="12"/>
                  </a:lnTo>
                  <a:lnTo>
                    <a:pt x="744" y="15"/>
                  </a:lnTo>
                  <a:lnTo>
                    <a:pt x="753" y="24"/>
                  </a:lnTo>
                  <a:lnTo>
                    <a:pt x="764" y="27"/>
                  </a:lnTo>
                  <a:lnTo>
                    <a:pt x="775" y="25"/>
                  </a:lnTo>
                  <a:lnTo>
                    <a:pt x="784" y="20"/>
                  </a:lnTo>
                  <a:lnTo>
                    <a:pt x="801" y="16"/>
                  </a:lnTo>
                  <a:lnTo>
                    <a:pt x="812" y="12"/>
                  </a:lnTo>
                  <a:lnTo>
                    <a:pt x="819" y="0"/>
                  </a:lnTo>
                  <a:lnTo>
                    <a:pt x="832" y="4"/>
                  </a:lnTo>
                  <a:lnTo>
                    <a:pt x="840" y="10"/>
                  </a:lnTo>
                  <a:lnTo>
                    <a:pt x="846" y="10"/>
                  </a:lnTo>
                  <a:lnTo>
                    <a:pt x="855" y="14"/>
                  </a:lnTo>
                  <a:lnTo>
                    <a:pt x="866" y="9"/>
                  </a:lnTo>
                  <a:lnTo>
                    <a:pt x="872" y="1"/>
                  </a:lnTo>
                  <a:lnTo>
                    <a:pt x="892" y="9"/>
                  </a:lnTo>
                  <a:lnTo>
                    <a:pt x="900" y="15"/>
                  </a:lnTo>
                  <a:lnTo>
                    <a:pt x="913" y="14"/>
                  </a:lnTo>
                  <a:lnTo>
                    <a:pt x="921" y="10"/>
                  </a:lnTo>
                  <a:lnTo>
                    <a:pt x="935" y="12"/>
                  </a:lnTo>
                  <a:lnTo>
                    <a:pt x="948" y="10"/>
                  </a:lnTo>
                  <a:lnTo>
                    <a:pt x="946" y="16"/>
                  </a:lnTo>
                  <a:lnTo>
                    <a:pt x="941" y="20"/>
                  </a:lnTo>
                  <a:lnTo>
                    <a:pt x="935" y="26"/>
                  </a:lnTo>
                  <a:lnTo>
                    <a:pt x="926" y="35"/>
                  </a:lnTo>
                  <a:lnTo>
                    <a:pt x="924" y="40"/>
                  </a:lnTo>
                  <a:lnTo>
                    <a:pt x="930" y="42"/>
                  </a:lnTo>
                  <a:lnTo>
                    <a:pt x="931" y="46"/>
                  </a:lnTo>
                  <a:lnTo>
                    <a:pt x="926" y="78"/>
                  </a:lnTo>
                  <a:lnTo>
                    <a:pt x="925" y="86"/>
                  </a:lnTo>
                  <a:lnTo>
                    <a:pt x="927" y="96"/>
                  </a:lnTo>
                  <a:lnTo>
                    <a:pt x="929" y="119"/>
                  </a:lnTo>
                  <a:lnTo>
                    <a:pt x="932" y="125"/>
                  </a:lnTo>
                  <a:lnTo>
                    <a:pt x="932" y="132"/>
                  </a:lnTo>
                  <a:lnTo>
                    <a:pt x="926" y="156"/>
                  </a:lnTo>
                  <a:lnTo>
                    <a:pt x="922" y="170"/>
                  </a:lnTo>
                  <a:lnTo>
                    <a:pt x="903" y="182"/>
                  </a:lnTo>
                  <a:lnTo>
                    <a:pt x="900" y="193"/>
                  </a:lnTo>
                  <a:lnTo>
                    <a:pt x="892" y="197"/>
                  </a:lnTo>
                  <a:lnTo>
                    <a:pt x="887" y="202"/>
                  </a:lnTo>
                  <a:lnTo>
                    <a:pt x="886" y="205"/>
                  </a:lnTo>
                  <a:lnTo>
                    <a:pt x="876" y="211"/>
                  </a:lnTo>
                  <a:lnTo>
                    <a:pt x="873" y="211"/>
                  </a:lnTo>
                  <a:lnTo>
                    <a:pt x="876" y="219"/>
                  </a:lnTo>
                  <a:lnTo>
                    <a:pt x="881" y="231"/>
                  </a:lnTo>
                  <a:lnTo>
                    <a:pt x="887" y="257"/>
                  </a:lnTo>
                  <a:lnTo>
                    <a:pt x="905" y="264"/>
                  </a:lnTo>
                  <a:lnTo>
                    <a:pt x="910" y="270"/>
                  </a:lnTo>
                  <a:lnTo>
                    <a:pt x="919" y="290"/>
                  </a:lnTo>
                  <a:lnTo>
                    <a:pt x="919" y="308"/>
                  </a:lnTo>
                  <a:lnTo>
                    <a:pt x="937" y="321"/>
                  </a:lnTo>
                  <a:lnTo>
                    <a:pt x="962" y="333"/>
                  </a:lnTo>
                  <a:lnTo>
                    <a:pt x="964" y="333"/>
                  </a:lnTo>
                  <a:lnTo>
                    <a:pt x="964" y="334"/>
                  </a:lnTo>
                  <a:lnTo>
                    <a:pt x="978" y="407"/>
                  </a:lnTo>
                  <a:lnTo>
                    <a:pt x="983" y="444"/>
                  </a:lnTo>
                  <a:lnTo>
                    <a:pt x="984" y="447"/>
                  </a:lnTo>
                  <a:lnTo>
                    <a:pt x="983" y="450"/>
                  </a:lnTo>
                  <a:lnTo>
                    <a:pt x="973" y="457"/>
                  </a:lnTo>
                  <a:lnTo>
                    <a:pt x="972" y="473"/>
                  </a:lnTo>
                  <a:lnTo>
                    <a:pt x="983" y="487"/>
                  </a:lnTo>
                  <a:lnTo>
                    <a:pt x="995" y="509"/>
                  </a:lnTo>
                  <a:lnTo>
                    <a:pt x="1000" y="532"/>
                  </a:lnTo>
                  <a:lnTo>
                    <a:pt x="1001" y="554"/>
                  </a:lnTo>
                  <a:lnTo>
                    <a:pt x="1001" y="585"/>
                  </a:lnTo>
                  <a:lnTo>
                    <a:pt x="1004" y="593"/>
                  </a:lnTo>
                  <a:lnTo>
                    <a:pt x="1004" y="606"/>
                  </a:lnTo>
                  <a:lnTo>
                    <a:pt x="1000" y="628"/>
                  </a:lnTo>
                  <a:lnTo>
                    <a:pt x="999" y="684"/>
                  </a:lnTo>
                  <a:lnTo>
                    <a:pt x="990" y="691"/>
                  </a:lnTo>
                  <a:lnTo>
                    <a:pt x="979" y="693"/>
                  </a:lnTo>
                  <a:lnTo>
                    <a:pt x="978" y="702"/>
                  </a:lnTo>
                  <a:lnTo>
                    <a:pt x="983" y="715"/>
                  </a:lnTo>
                  <a:lnTo>
                    <a:pt x="1001" y="737"/>
                  </a:lnTo>
                  <a:lnTo>
                    <a:pt x="1011" y="753"/>
                  </a:lnTo>
                  <a:lnTo>
                    <a:pt x="1012" y="773"/>
                  </a:lnTo>
                  <a:lnTo>
                    <a:pt x="1015" y="785"/>
                  </a:lnTo>
                  <a:lnTo>
                    <a:pt x="1029" y="800"/>
                  </a:lnTo>
                  <a:lnTo>
                    <a:pt x="1048" y="801"/>
                  </a:lnTo>
                  <a:lnTo>
                    <a:pt x="1059" y="801"/>
                  </a:lnTo>
                  <a:lnTo>
                    <a:pt x="1088" y="815"/>
                  </a:lnTo>
                  <a:lnTo>
                    <a:pt x="1106" y="844"/>
                  </a:lnTo>
                  <a:lnTo>
                    <a:pt x="1110" y="858"/>
                  </a:lnTo>
                  <a:lnTo>
                    <a:pt x="1112" y="864"/>
                  </a:lnTo>
                  <a:lnTo>
                    <a:pt x="1086" y="882"/>
                  </a:lnTo>
                  <a:lnTo>
                    <a:pt x="1042" y="913"/>
                  </a:lnTo>
                  <a:lnTo>
                    <a:pt x="999" y="944"/>
                  </a:lnTo>
                  <a:lnTo>
                    <a:pt x="956" y="974"/>
                  </a:lnTo>
                  <a:lnTo>
                    <a:pt x="911" y="1005"/>
                  </a:lnTo>
                  <a:lnTo>
                    <a:pt x="867" y="1036"/>
                  </a:lnTo>
                  <a:lnTo>
                    <a:pt x="824" y="1066"/>
                  </a:lnTo>
                  <a:lnTo>
                    <a:pt x="781" y="1096"/>
                  </a:lnTo>
                  <a:lnTo>
                    <a:pt x="766" y="1101"/>
                  </a:lnTo>
                  <a:lnTo>
                    <a:pt x="704" y="1115"/>
                  </a:lnTo>
                  <a:lnTo>
                    <a:pt x="695" y="1117"/>
                  </a:lnTo>
                  <a:lnTo>
                    <a:pt x="690" y="1119"/>
                  </a:lnTo>
                  <a:lnTo>
                    <a:pt x="680" y="1124"/>
                  </a:lnTo>
                  <a:lnTo>
                    <a:pt x="672" y="1124"/>
                  </a:lnTo>
                  <a:lnTo>
                    <a:pt x="663" y="1129"/>
                  </a:lnTo>
                  <a:lnTo>
                    <a:pt x="656" y="1129"/>
                  </a:lnTo>
                  <a:lnTo>
                    <a:pt x="650" y="1128"/>
                  </a:lnTo>
                  <a:lnTo>
                    <a:pt x="642" y="1119"/>
                  </a:lnTo>
                  <a:lnTo>
                    <a:pt x="642" y="1114"/>
                  </a:lnTo>
                  <a:lnTo>
                    <a:pt x="645" y="1109"/>
                  </a:lnTo>
                  <a:lnTo>
                    <a:pt x="644" y="1103"/>
                  </a:lnTo>
                  <a:lnTo>
                    <a:pt x="645" y="1101"/>
                  </a:lnTo>
                  <a:lnTo>
                    <a:pt x="649" y="1098"/>
                  </a:lnTo>
                  <a:lnTo>
                    <a:pt x="649" y="1096"/>
                  </a:lnTo>
                  <a:lnTo>
                    <a:pt x="646" y="1092"/>
                  </a:lnTo>
                  <a:lnTo>
                    <a:pt x="646" y="1088"/>
                  </a:lnTo>
                  <a:lnTo>
                    <a:pt x="647" y="1086"/>
                  </a:lnTo>
                  <a:lnTo>
                    <a:pt x="646" y="1080"/>
                  </a:lnTo>
                  <a:lnTo>
                    <a:pt x="645" y="1080"/>
                  </a:lnTo>
                  <a:lnTo>
                    <a:pt x="644" y="1076"/>
                  </a:lnTo>
                  <a:lnTo>
                    <a:pt x="640" y="1074"/>
                  </a:lnTo>
                  <a:lnTo>
                    <a:pt x="631" y="1071"/>
                  </a:lnTo>
                  <a:lnTo>
                    <a:pt x="623" y="1066"/>
                  </a:lnTo>
                  <a:lnTo>
                    <a:pt x="618" y="1066"/>
                  </a:lnTo>
                  <a:lnTo>
                    <a:pt x="614" y="1064"/>
                  </a:lnTo>
                  <a:lnTo>
                    <a:pt x="603" y="1064"/>
                  </a:lnTo>
                  <a:lnTo>
                    <a:pt x="599" y="1061"/>
                  </a:lnTo>
                  <a:lnTo>
                    <a:pt x="596" y="1054"/>
                  </a:lnTo>
                  <a:lnTo>
                    <a:pt x="593" y="1053"/>
                  </a:lnTo>
                  <a:lnTo>
                    <a:pt x="585" y="1054"/>
                  </a:lnTo>
                  <a:lnTo>
                    <a:pt x="575" y="1052"/>
                  </a:lnTo>
                  <a:lnTo>
                    <a:pt x="570" y="1049"/>
                  </a:lnTo>
                  <a:lnTo>
                    <a:pt x="563" y="1043"/>
                  </a:lnTo>
                  <a:lnTo>
                    <a:pt x="561" y="1038"/>
                  </a:lnTo>
                  <a:lnTo>
                    <a:pt x="560" y="1032"/>
                  </a:lnTo>
                  <a:lnTo>
                    <a:pt x="558" y="1031"/>
                  </a:lnTo>
                  <a:lnTo>
                    <a:pt x="547" y="1025"/>
                  </a:lnTo>
                  <a:lnTo>
                    <a:pt x="539" y="1023"/>
                  </a:lnTo>
                  <a:lnTo>
                    <a:pt x="533" y="1020"/>
                  </a:lnTo>
                  <a:lnTo>
                    <a:pt x="532" y="1016"/>
                  </a:lnTo>
                  <a:lnTo>
                    <a:pt x="533" y="1007"/>
                  </a:lnTo>
                  <a:lnTo>
                    <a:pt x="529" y="1004"/>
                  </a:lnTo>
                  <a:lnTo>
                    <a:pt x="529" y="999"/>
                  </a:lnTo>
                  <a:lnTo>
                    <a:pt x="267" y="817"/>
                  </a:lnTo>
                  <a:lnTo>
                    <a:pt x="203" y="77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0" name="Freeform 13">
              <a:extLst>
                <a:ext uri="{FF2B5EF4-FFF2-40B4-BE49-F238E27FC236}">
                  <a16:creationId xmlns:a16="http://schemas.microsoft.com/office/drawing/2014/main" id="{A8474763-DEC4-5F99-02CF-78643773FCE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276223" y="3461522"/>
              <a:ext cx="350701" cy="416112"/>
            </a:xfrm>
            <a:custGeom>
              <a:avLst/>
              <a:gdLst>
                <a:gd name="T0" fmla="*/ 2147483647 w 661"/>
                <a:gd name="T1" fmla="*/ 2147483647 h 727"/>
                <a:gd name="T2" fmla="*/ 0 w 661"/>
                <a:gd name="T3" fmla="*/ 2147483647 h 727"/>
                <a:gd name="T4" fmla="*/ 0 w 661"/>
                <a:gd name="T5" fmla="*/ 2147483647 h 727"/>
                <a:gd name="T6" fmla="*/ 0 w 661"/>
                <a:gd name="T7" fmla="*/ 2147483647 h 727"/>
                <a:gd name="T8" fmla="*/ 0 w 661"/>
                <a:gd name="T9" fmla="*/ 2147483647 h 727"/>
                <a:gd name="T10" fmla="*/ 0 w 661"/>
                <a:gd name="T11" fmla="*/ 2147483647 h 727"/>
                <a:gd name="T12" fmla="*/ 0 w 661"/>
                <a:gd name="T13" fmla="*/ 2147483647 h 727"/>
                <a:gd name="T14" fmla="*/ 0 w 661"/>
                <a:gd name="T15" fmla="*/ 2147483647 h 727"/>
                <a:gd name="T16" fmla="*/ 2147483647 w 661"/>
                <a:gd name="T17" fmla="*/ 2147483647 h 727"/>
                <a:gd name="T18" fmla="*/ 2147483647 w 661"/>
                <a:gd name="T19" fmla="*/ 2147483647 h 727"/>
                <a:gd name="T20" fmla="*/ 0 w 661"/>
                <a:gd name="T21" fmla="*/ 2147483647 h 727"/>
                <a:gd name="T22" fmla="*/ 0 w 661"/>
                <a:gd name="T23" fmla="*/ 2147483647 h 727"/>
                <a:gd name="T24" fmla="*/ 0 w 661"/>
                <a:gd name="T25" fmla="*/ 2147483647 h 727"/>
                <a:gd name="T26" fmla="*/ 2147483647 w 661"/>
                <a:gd name="T27" fmla="*/ 2147483647 h 727"/>
                <a:gd name="T28" fmla="*/ 2147483647 w 661"/>
                <a:gd name="T29" fmla="*/ 2147483647 h 727"/>
                <a:gd name="T30" fmla="*/ 2147483647 w 661"/>
                <a:gd name="T31" fmla="*/ 2147483647 h 727"/>
                <a:gd name="T32" fmla="*/ 2147483647 w 661"/>
                <a:gd name="T33" fmla="*/ 2147483647 h 727"/>
                <a:gd name="T34" fmla="*/ 2147483647 w 661"/>
                <a:gd name="T35" fmla="*/ 2147483647 h 727"/>
                <a:gd name="T36" fmla="*/ 2147483647 w 661"/>
                <a:gd name="T37" fmla="*/ 2147483647 h 727"/>
                <a:gd name="T38" fmla="*/ 2147483647 w 661"/>
                <a:gd name="T39" fmla="*/ 2147483647 h 727"/>
                <a:gd name="T40" fmla="*/ 2147483647 w 661"/>
                <a:gd name="T41" fmla="*/ 2147483647 h 727"/>
                <a:gd name="T42" fmla="*/ 2147483647 w 661"/>
                <a:gd name="T43" fmla="*/ 2147483647 h 727"/>
                <a:gd name="T44" fmla="*/ 2147483647 w 661"/>
                <a:gd name="T45" fmla="*/ 2147483647 h 727"/>
                <a:gd name="T46" fmla="*/ 2147483647 w 661"/>
                <a:gd name="T47" fmla="*/ 2147483647 h 727"/>
                <a:gd name="T48" fmla="*/ 2147483647 w 661"/>
                <a:gd name="T49" fmla="*/ 2147483647 h 727"/>
                <a:gd name="T50" fmla="*/ 2147483647 w 661"/>
                <a:gd name="T51" fmla="*/ 2147483647 h 727"/>
                <a:gd name="T52" fmla="*/ 2147483647 w 661"/>
                <a:gd name="T53" fmla="*/ 2147483647 h 727"/>
                <a:gd name="T54" fmla="*/ 2147483647 w 661"/>
                <a:gd name="T55" fmla="*/ 2147483647 h 727"/>
                <a:gd name="T56" fmla="*/ 2147483647 w 661"/>
                <a:gd name="T57" fmla="*/ 2147483647 h 727"/>
                <a:gd name="T58" fmla="*/ 2147483647 w 661"/>
                <a:gd name="T59" fmla="*/ 2147483647 h 727"/>
                <a:gd name="T60" fmla="*/ 2147483647 w 661"/>
                <a:gd name="T61" fmla="*/ 2147483647 h 727"/>
                <a:gd name="T62" fmla="*/ 2147483647 w 661"/>
                <a:gd name="T63" fmla="*/ 2147483647 h 727"/>
                <a:gd name="T64" fmla="*/ 2147483647 w 661"/>
                <a:gd name="T65" fmla="*/ 2147483647 h 727"/>
                <a:gd name="T66" fmla="*/ 2147483647 w 661"/>
                <a:gd name="T67" fmla="*/ 2147483647 h 727"/>
                <a:gd name="T68" fmla="*/ 2147483647 w 661"/>
                <a:gd name="T69" fmla="*/ 2147483647 h 727"/>
                <a:gd name="T70" fmla="*/ 2147483647 w 661"/>
                <a:gd name="T71" fmla="*/ 2147483647 h 727"/>
                <a:gd name="T72" fmla="*/ 2147483647 w 661"/>
                <a:gd name="T73" fmla="*/ 2147483647 h 727"/>
                <a:gd name="T74" fmla="*/ 2147483647 w 661"/>
                <a:gd name="T75" fmla="*/ 2147483647 h 727"/>
                <a:gd name="T76" fmla="*/ 2147483647 w 661"/>
                <a:gd name="T77" fmla="*/ 2147483647 h 727"/>
                <a:gd name="T78" fmla="*/ 2147483647 w 661"/>
                <a:gd name="T79" fmla="*/ 2147483647 h 727"/>
                <a:gd name="T80" fmla="*/ 2147483647 w 661"/>
                <a:gd name="T81" fmla="*/ 2147483647 h 727"/>
                <a:gd name="T82" fmla="*/ 2147483647 w 661"/>
                <a:gd name="T83" fmla="*/ 0 h 727"/>
                <a:gd name="T84" fmla="*/ 2147483647 w 661"/>
                <a:gd name="T85" fmla="*/ 0 h 727"/>
                <a:gd name="T86" fmla="*/ 2147483647 w 661"/>
                <a:gd name="T87" fmla="*/ 2147483647 h 727"/>
                <a:gd name="T88" fmla="*/ 2147483647 w 661"/>
                <a:gd name="T89" fmla="*/ 2147483647 h 727"/>
                <a:gd name="T90" fmla="*/ 2147483647 w 661"/>
                <a:gd name="T91" fmla="*/ 2147483647 h 727"/>
                <a:gd name="T92" fmla="*/ 2147483647 w 661"/>
                <a:gd name="T93" fmla="*/ 2147483647 h 727"/>
                <a:gd name="T94" fmla="*/ 2147483647 w 661"/>
                <a:gd name="T95" fmla="*/ 2147483647 h 7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661"/>
                <a:gd name="T145" fmla="*/ 0 h 727"/>
                <a:gd name="T146" fmla="*/ 661 w 661"/>
                <a:gd name="T147" fmla="*/ 727 h 72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661" h="727">
                  <a:moveTo>
                    <a:pt x="196" y="347"/>
                  </a:moveTo>
                  <a:lnTo>
                    <a:pt x="148" y="347"/>
                  </a:lnTo>
                  <a:lnTo>
                    <a:pt x="96" y="347"/>
                  </a:lnTo>
                  <a:lnTo>
                    <a:pt x="45" y="347"/>
                  </a:lnTo>
                  <a:lnTo>
                    <a:pt x="16" y="347"/>
                  </a:lnTo>
                  <a:lnTo>
                    <a:pt x="14" y="353"/>
                  </a:lnTo>
                  <a:lnTo>
                    <a:pt x="6" y="360"/>
                  </a:lnTo>
                  <a:lnTo>
                    <a:pt x="2" y="365"/>
                  </a:lnTo>
                  <a:lnTo>
                    <a:pt x="5" y="364"/>
                  </a:lnTo>
                  <a:lnTo>
                    <a:pt x="0" y="369"/>
                  </a:lnTo>
                  <a:lnTo>
                    <a:pt x="0" y="371"/>
                  </a:lnTo>
                  <a:lnTo>
                    <a:pt x="0" y="369"/>
                  </a:lnTo>
                  <a:lnTo>
                    <a:pt x="10" y="365"/>
                  </a:lnTo>
                  <a:lnTo>
                    <a:pt x="12" y="369"/>
                  </a:lnTo>
                  <a:lnTo>
                    <a:pt x="22" y="391"/>
                  </a:lnTo>
                  <a:lnTo>
                    <a:pt x="23" y="393"/>
                  </a:lnTo>
                  <a:lnTo>
                    <a:pt x="30" y="391"/>
                  </a:lnTo>
                  <a:lnTo>
                    <a:pt x="40" y="409"/>
                  </a:lnTo>
                  <a:lnTo>
                    <a:pt x="41" y="414"/>
                  </a:lnTo>
                  <a:lnTo>
                    <a:pt x="41" y="429"/>
                  </a:lnTo>
                  <a:lnTo>
                    <a:pt x="41" y="437"/>
                  </a:lnTo>
                  <a:lnTo>
                    <a:pt x="35" y="455"/>
                  </a:lnTo>
                  <a:lnTo>
                    <a:pt x="33" y="458"/>
                  </a:lnTo>
                  <a:lnTo>
                    <a:pt x="28" y="460"/>
                  </a:lnTo>
                  <a:lnTo>
                    <a:pt x="27" y="463"/>
                  </a:lnTo>
                  <a:lnTo>
                    <a:pt x="45" y="488"/>
                  </a:lnTo>
                  <a:lnTo>
                    <a:pt x="49" y="501"/>
                  </a:lnTo>
                  <a:lnTo>
                    <a:pt x="50" y="515"/>
                  </a:lnTo>
                  <a:lnTo>
                    <a:pt x="51" y="527"/>
                  </a:lnTo>
                  <a:lnTo>
                    <a:pt x="50" y="563"/>
                  </a:lnTo>
                  <a:lnTo>
                    <a:pt x="46" y="577"/>
                  </a:lnTo>
                  <a:lnTo>
                    <a:pt x="32" y="614"/>
                  </a:lnTo>
                  <a:lnTo>
                    <a:pt x="30" y="623"/>
                  </a:lnTo>
                  <a:lnTo>
                    <a:pt x="24" y="639"/>
                  </a:lnTo>
                  <a:lnTo>
                    <a:pt x="23" y="651"/>
                  </a:lnTo>
                  <a:lnTo>
                    <a:pt x="24" y="650"/>
                  </a:lnTo>
                  <a:lnTo>
                    <a:pt x="28" y="647"/>
                  </a:lnTo>
                  <a:lnTo>
                    <a:pt x="32" y="640"/>
                  </a:lnTo>
                  <a:lnTo>
                    <a:pt x="37" y="627"/>
                  </a:lnTo>
                  <a:lnTo>
                    <a:pt x="40" y="627"/>
                  </a:lnTo>
                  <a:lnTo>
                    <a:pt x="43" y="625"/>
                  </a:lnTo>
                  <a:lnTo>
                    <a:pt x="50" y="627"/>
                  </a:lnTo>
                  <a:lnTo>
                    <a:pt x="59" y="627"/>
                  </a:lnTo>
                  <a:lnTo>
                    <a:pt x="69" y="629"/>
                  </a:lnTo>
                  <a:lnTo>
                    <a:pt x="76" y="628"/>
                  </a:lnTo>
                  <a:lnTo>
                    <a:pt x="78" y="625"/>
                  </a:lnTo>
                  <a:lnTo>
                    <a:pt x="89" y="623"/>
                  </a:lnTo>
                  <a:lnTo>
                    <a:pt x="98" y="624"/>
                  </a:lnTo>
                  <a:lnTo>
                    <a:pt x="100" y="623"/>
                  </a:lnTo>
                  <a:lnTo>
                    <a:pt x="100" y="619"/>
                  </a:lnTo>
                  <a:lnTo>
                    <a:pt x="102" y="619"/>
                  </a:lnTo>
                  <a:lnTo>
                    <a:pt x="108" y="619"/>
                  </a:lnTo>
                  <a:lnTo>
                    <a:pt x="113" y="618"/>
                  </a:lnTo>
                  <a:lnTo>
                    <a:pt x="119" y="620"/>
                  </a:lnTo>
                  <a:lnTo>
                    <a:pt x="135" y="620"/>
                  </a:lnTo>
                  <a:lnTo>
                    <a:pt x="136" y="622"/>
                  </a:lnTo>
                  <a:lnTo>
                    <a:pt x="141" y="620"/>
                  </a:lnTo>
                  <a:lnTo>
                    <a:pt x="143" y="625"/>
                  </a:lnTo>
                  <a:lnTo>
                    <a:pt x="150" y="627"/>
                  </a:lnTo>
                  <a:lnTo>
                    <a:pt x="161" y="635"/>
                  </a:lnTo>
                  <a:lnTo>
                    <a:pt x="162" y="641"/>
                  </a:lnTo>
                  <a:lnTo>
                    <a:pt x="169" y="649"/>
                  </a:lnTo>
                  <a:lnTo>
                    <a:pt x="173" y="647"/>
                  </a:lnTo>
                  <a:lnTo>
                    <a:pt x="179" y="646"/>
                  </a:lnTo>
                  <a:lnTo>
                    <a:pt x="179" y="650"/>
                  </a:lnTo>
                  <a:lnTo>
                    <a:pt x="183" y="651"/>
                  </a:lnTo>
                  <a:lnTo>
                    <a:pt x="188" y="647"/>
                  </a:lnTo>
                  <a:lnTo>
                    <a:pt x="190" y="647"/>
                  </a:lnTo>
                  <a:lnTo>
                    <a:pt x="200" y="662"/>
                  </a:lnTo>
                  <a:lnTo>
                    <a:pt x="205" y="672"/>
                  </a:lnTo>
                  <a:lnTo>
                    <a:pt x="205" y="676"/>
                  </a:lnTo>
                  <a:lnTo>
                    <a:pt x="209" y="677"/>
                  </a:lnTo>
                  <a:lnTo>
                    <a:pt x="212" y="682"/>
                  </a:lnTo>
                  <a:lnTo>
                    <a:pt x="212" y="684"/>
                  </a:lnTo>
                  <a:lnTo>
                    <a:pt x="215" y="686"/>
                  </a:lnTo>
                  <a:lnTo>
                    <a:pt x="218" y="684"/>
                  </a:lnTo>
                  <a:lnTo>
                    <a:pt x="220" y="684"/>
                  </a:lnTo>
                  <a:lnTo>
                    <a:pt x="222" y="692"/>
                  </a:lnTo>
                  <a:lnTo>
                    <a:pt x="225" y="693"/>
                  </a:lnTo>
                  <a:lnTo>
                    <a:pt x="227" y="697"/>
                  </a:lnTo>
                  <a:lnTo>
                    <a:pt x="223" y="698"/>
                  </a:lnTo>
                  <a:lnTo>
                    <a:pt x="223" y="699"/>
                  </a:lnTo>
                  <a:lnTo>
                    <a:pt x="228" y="700"/>
                  </a:lnTo>
                  <a:lnTo>
                    <a:pt x="231" y="704"/>
                  </a:lnTo>
                  <a:lnTo>
                    <a:pt x="234" y="706"/>
                  </a:lnTo>
                  <a:lnTo>
                    <a:pt x="238" y="706"/>
                  </a:lnTo>
                  <a:lnTo>
                    <a:pt x="244" y="709"/>
                  </a:lnTo>
                  <a:lnTo>
                    <a:pt x="247" y="713"/>
                  </a:lnTo>
                  <a:lnTo>
                    <a:pt x="248" y="717"/>
                  </a:lnTo>
                  <a:lnTo>
                    <a:pt x="250" y="719"/>
                  </a:lnTo>
                  <a:lnTo>
                    <a:pt x="256" y="721"/>
                  </a:lnTo>
                  <a:lnTo>
                    <a:pt x="263" y="727"/>
                  </a:lnTo>
                  <a:lnTo>
                    <a:pt x="286" y="705"/>
                  </a:lnTo>
                  <a:lnTo>
                    <a:pt x="293" y="687"/>
                  </a:lnTo>
                  <a:lnTo>
                    <a:pt x="297" y="676"/>
                  </a:lnTo>
                  <a:lnTo>
                    <a:pt x="302" y="665"/>
                  </a:lnTo>
                  <a:lnTo>
                    <a:pt x="304" y="663"/>
                  </a:lnTo>
                  <a:lnTo>
                    <a:pt x="307" y="665"/>
                  </a:lnTo>
                  <a:lnTo>
                    <a:pt x="308" y="666"/>
                  </a:lnTo>
                  <a:lnTo>
                    <a:pt x="314" y="667"/>
                  </a:lnTo>
                  <a:lnTo>
                    <a:pt x="318" y="670"/>
                  </a:lnTo>
                  <a:lnTo>
                    <a:pt x="323" y="683"/>
                  </a:lnTo>
                  <a:lnTo>
                    <a:pt x="333" y="701"/>
                  </a:lnTo>
                  <a:lnTo>
                    <a:pt x="347" y="705"/>
                  </a:lnTo>
                  <a:lnTo>
                    <a:pt x="350" y="705"/>
                  </a:lnTo>
                  <a:lnTo>
                    <a:pt x="376" y="683"/>
                  </a:lnTo>
                  <a:lnTo>
                    <a:pt x="463" y="686"/>
                  </a:lnTo>
                  <a:lnTo>
                    <a:pt x="534" y="687"/>
                  </a:lnTo>
                  <a:lnTo>
                    <a:pt x="607" y="688"/>
                  </a:lnTo>
                  <a:lnTo>
                    <a:pt x="625" y="688"/>
                  </a:lnTo>
                  <a:lnTo>
                    <a:pt x="637" y="641"/>
                  </a:lnTo>
                  <a:lnTo>
                    <a:pt x="615" y="634"/>
                  </a:lnTo>
                  <a:lnTo>
                    <a:pt x="609" y="577"/>
                  </a:lnTo>
                  <a:lnTo>
                    <a:pt x="604" y="522"/>
                  </a:lnTo>
                  <a:lnTo>
                    <a:pt x="598" y="468"/>
                  </a:lnTo>
                  <a:lnTo>
                    <a:pt x="592" y="414"/>
                  </a:lnTo>
                  <a:lnTo>
                    <a:pt x="587" y="359"/>
                  </a:lnTo>
                  <a:lnTo>
                    <a:pt x="581" y="302"/>
                  </a:lnTo>
                  <a:lnTo>
                    <a:pt x="576" y="247"/>
                  </a:lnTo>
                  <a:lnTo>
                    <a:pt x="570" y="191"/>
                  </a:lnTo>
                  <a:lnTo>
                    <a:pt x="564" y="133"/>
                  </a:lnTo>
                  <a:lnTo>
                    <a:pt x="661" y="133"/>
                  </a:lnTo>
                  <a:lnTo>
                    <a:pt x="584" y="82"/>
                  </a:lnTo>
                  <a:lnTo>
                    <a:pt x="525" y="44"/>
                  </a:lnTo>
                  <a:lnTo>
                    <a:pt x="458" y="0"/>
                  </a:lnTo>
                  <a:lnTo>
                    <a:pt x="458" y="70"/>
                  </a:lnTo>
                  <a:lnTo>
                    <a:pt x="405" y="70"/>
                  </a:lnTo>
                  <a:lnTo>
                    <a:pt x="352" y="70"/>
                  </a:lnTo>
                  <a:lnTo>
                    <a:pt x="299" y="70"/>
                  </a:lnTo>
                  <a:lnTo>
                    <a:pt x="281" y="70"/>
                  </a:lnTo>
                  <a:lnTo>
                    <a:pt x="281" y="128"/>
                  </a:lnTo>
                  <a:lnTo>
                    <a:pt x="281" y="187"/>
                  </a:lnTo>
                  <a:lnTo>
                    <a:pt x="281" y="222"/>
                  </a:lnTo>
                  <a:lnTo>
                    <a:pt x="261" y="229"/>
                  </a:lnTo>
                  <a:lnTo>
                    <a:pt x="244" y="231"/>
                  </a:lnTo>
                  <a:lnTo>
                    <a:pt x="228" y="236"/>
                  </a:lnTo>
                  <a:lnTo>
                    <a:pt x="223" y="240"/>
                  </a:lnTo>
                  <a:lnTo>
                    <a:pt x="220" y="245"/>
                  </a:lnTo>
                  <a:lnTo>
                    <a:pt x="215" y="256"/>
                  </a:lnTo>
                  <a:lnTo>
                    <a:pt x="213" y="264"/>
                  </a:lnTo>
                  <a:lnTo>
                    <a:pt x="215" y="290"/>
                  </a:lnTo>
                  <a:lnTo>
                    <a:pt x="218" y="310"/>
                  </a:lnTo>
                  <a:lnTo>
                    <a:pt x="218" y="331"/>
                  </a:lnTo>
                  <a:lnTo>
                    <a:pt x="222" y="347"/>
                  </a:lnTo>
                  <a:lnTo>
                    <a:pt x="196" y="34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1" name="Freeform 14">
              <a:extLst>
                <a:ext uri="{FF2B5EF4-FFF2-40B4-BE49-F238E27FC236}">
                  <a16:creationId xmlns:a16="http://schemas.microsoft.com/office/drawing/2014/main" id="{A30F728B-C683-C694-21B5-12D1E1953C2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392625" y="3149058"/>
              <a:ext cx="349208" cy="295698"/>
            </a:xfrm>
            <a:custGeom>
              <a:avLst/>
              <a:gdLst>
                <a:gd name="T0" fmla="*/ 2147483647 w 656"/>
                <a:gd name="T1" fmla="*/ 2147483647 h 526"/>
                <a:gd name="T2" fmla="*/ 2147483647 w 656"/>
                <a:gd name="T3" fmla="*/ 2147483647 h 526"/>
                <a:gd name="T4" fmla="*/ 0 w 656"/>
                <a:gd name="T5" fmla="*/ 2147483647 h 526"/>
                <a:gd name="T6" fmla="*/ 0 w 656"/>
                <a:gd name="T7" fmla="*/ 2147483647 h 526"/>
                <a:gd name="T8" fmla="*/ 2147483647 w 656"/>
                <a:gd name="T9" fmla="*/ 2147483647 h 526"/>
                <a:gd name="T10" fmla="*/ 2147483647 w 656"/>
                <a:gd name="T11" fmla="*/ 2147483647 h 526"/>
                <a:gd name="T12" fmla="*/ 2147483647 w 656"/>
                <a:gd name="T13" fmla="*/ 2147483647 h 526"/>
                <a:gd name="T14" fmla="*/ 2147483647 w 656"/>
                <a:gd name="T15" fmla="*/ 2147483647 h 526"/>
                <a:gd name="T16" fmla="*/ 2147483647 w 656"/>
                <a:gd name="T17" fmla="*/ 2147483647 h 526"/>
                <a:gd name="T18" fmla="*/ 2147483647 w 656"/>
                <a:gd name="T19" fmla="*/ 2147483647 h 526"/>
                <a:gd name="T20" fmla="*/ 2147483647 w 656"/>
                <a:gd name="T21" fmla="*/ 2147483647 h 526"/>
                <a:gd name="T22" fmla="*/ 2147483647 w 656"/>
                <a:gd name="T23" fmla="*/ 2147483647 h 526"/>
                <a:gd name="T24" fmla="*/ 2147483647 w 656"/>
                <a:gd name="T25" fmla="*/ 2147483647 h 526"/>
                <a:gd name="T26" fmla="*/ 2147483647 w 656"/>
                <a:gd name="T27" fmla="*/ 2147483647 h 526"/>
                <a:gd name="T28" fmla="*/ 2147483647 w 656"/>
                <a:gd name="T29" fmla="*/ 2147483647 h 526"/>
                <a:gd name="T30" fmla="*/ 2147483647 w 656"/>
                <a:gd name="T31" fmla="*/ 0 h 526"/>
                <a:gd name="T32" fmla="*/ 2147483647 w 656"/>
                <a:gd name="T33" fmla="*/ 0 h 526"/>
                <a:gd name="T34" fmla="*/ 2147483647 w 656"/>
                <a:gd name="T35" fmla="*/ 0 h 526"/>
                <a:gd name="T36" fmla="*/ 2147483647 w 656"/>
                <a:gd name="T37" fmla="*/ 0 h 526"/>
                <a:gd name="T38" fmla="*/ 2147483647 w 656"/>
                <a:gd name="T39" fmla="*/ 0 h 526"/>
                <a:gd name="T40" fmla="*/ 2147483647 w 656"/>
                <a:gd name="T41" fmla="*/ 0 h 526"/>
                <a:gd name="T42" fmla="*/ 2147483647 w 656"/>
                <a:gd name="T43" fmla="*/ 0 h 526"/>
                <a:gd name="T44" fmla="*/ 2147483647 w 656"/>
                <a:gd name="T45" fmla="*/ 0 h 526"/>
                <a:gd name="T46" fmla="*/ 2147483647 w 656"/>
                <a:gd name="T47" fmla="*/ 2147483647 h 526"/>
                <a:gd name="T48" fmla="*/ 2147483647 w 656"/>
                <a:gd name="T49" fmla="*/ 2147483647 h 526"/>
                <a:gd name="T50" fmla="*/ 2147483647 w 656"/>
                <a:gd name="T51" fmla="*/ 2147483647 h 526"/>
                <a:gd name="T52" fmla="*/ 2147483647 w 656"/>
                <a:gd name="T53" fmla="*/ 2147483647 h 526"/>
                <a:gd name="T54" fmla="*/ 2147483647 w 656"/>
                <a:gd name="T55" fmla="*/ 2147483647 h 526"/>
                <a:gd name="T56" fmla="*/ 2147483647 w 656"/>
                <a:gd name="T57" fmla="*/ 2147483647 h 526"/>
                <a:gd name="T58" fmla="*/ 2147483647 w 656"/>
                <a:gd name="T59" fmla="*/ 2147483647 h 526"/>
                <a:gd name="T60" fmla="*/ 2147483647 w 656"/>
                <a:gd name="T61" fmla="*/ 2147483647 h 526"/>
                <a:gd name="T62" fmla="*/ 2147483647 w 656"/>
                <a:gd name="T63" fmla="*/ 2147483647 h 526"/>
                <a:gd name="T64" fmla="*/ 2147483647 w 656"/>
                <a:gd name="T65" fmla="*/ 2147483647 h 526"/>
                <a:gd name="T66" fmla="*/ 2147483647 w 656"/>
                <a:gd name="T67" fmla="*/ 2147483647 h 526"/>
                <a:gd name="T68" fmla="*/ 2147483647 w 656"/>
                <a:gd name="T69" fmla="*/ 2147483647 h 526"/>
                <a:gd name="T70" fmla="*/ 2147483647 w 656"/>
                <a:gd name="T71" fmla="*/ 2147483647 h 526"/>
                <a:gd name="T72" fmla="*/ 2147483647 w 656"/>
                <a:gd name="T73" fmla="*/ 2147483647 h 526"/>
                <a:gd name="T74" fmla="*/ 2147483647 w 656"/>
                <a:gd name="T75" fmla="*/ 2147483647 h 526"/>
                <a:gd name="T76" fmla="*/ 2147483647 w 656"/>
                <a:gd name="T77" fmla="*/ 2147483647 h 526"/>
                <a:gd name="T78" fmla="*/ 2147483647 w 656"/>
                <a:gd name="T79" fmla="*/ 2147483647 h 526"/>
                <a:gd name="T80" fmla="*/ 2147483647 w 656"/>
                <a:gd name="T81" fmla="*/ 2147483647 h 526"/>
                <a:gd name="T82" fmla="*/ 2147483647 w 656"/>
                <a:gd name="T83" fmla="*/ 2147483647 h 526"/>
                <a:gd name="T84" fmla="*/ 2147483647 w 656"/>
                <a:gd name="T85" fmla="*/ 2147483647 h 526"/>
                <a:gd name="T86" fmla="*/ 2147483647 w 656"/>
                <a:gd name="T87" fmla="*/ 2147483647 h 526"/>
                <a:gd name="T88" fmla="*/ 2147483647 w 656"/>
                <a:gd name="T89" fmla="*/ 2147483647 h 526"/>
                <a:gd name="T90" fmla="*/ 2147483647 w 656"/>
                <a:gd name="T91" fmla="*/ 2147483647 h 526"/>
                <a:gd name="T92" fmla="*/ 2147483647 w 656"/>
                <a:gd name="T93" fmla="*/ 2147483647 h 526"/>
                <a:gd name="T94" fmla="*/ 2147483647 w 656"/>
                <a:gd name="T95" fmla="*/ 2147483647 h 526"/>
                <a:gd name="T96" fmla="*/ 2147483647 w 656"/>
                <a:gd name="T97" fmla="*/ 2147483647 h 526"/>
                <a:gd name="T98" fmla="*/ 2147483647 w 656"/>
                <a:gd name="T99" fmla="*/ 2147483647 h 526"/>
                <a:gd name="T100" fmla="*/ 2147483647 w 656"/>
                <a:gd name="T101" fmla="*/ 2147483647 h 526"/>
                <a:gd name="T102" fmla="*/ 2147483647 w 656"/>
                <a:gd name="T103" fmla="*/ 2147483647 h 526"/>
                <a:gd name="T104" fmla="*/ 2147483647 w 656"/>
                <a:gd name="T105" fmla="*/ 2147483647 h 526"/>
                <a:gd name="T106" fmla="*/ 2147483647 w 656"/>
                <a:gd name="T107" fmla="*/ 2147483647 h 52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56"/>
                <a:gd name="T163" fmla="*/ 0 h 526"/>
                <a:gd name="T164" fmla="*/ 656 w 656"/>
                <a:gd name="T165" fmla="*/ 526 h 52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56" h="526">
                  <a:moveTo>
                    <a:pt x="240" y="457"/>
                  </a:moveTo>
                  <a:lnTo>
                    <a:pt x="240" y="526"/>
                  </a:lnTo>
                  <a:lnTo>
                    <a:pt x="204" y="526"/>
                  </a:lnTo>
                  <a:lnTo>
                    <a:pt x="161" y="526"/>
                  </a:lnTo>
                  <a:lnTo>
                    <a:pt x="120" y="526"/>
                  </a:lnTo>
                  <a:lnTo>
                    <a:pt x="79" y="526"/>
                  </a:lnTo>
                  <a:lnTo>
                    <a:pt x="43" y="526"/>
                  </a:lnTo>
                  <a:lnTo>
                    <a:pt x="9" y="526"/>
                  </a:lnTo>
                  <a:lnTo>
                    <a:pt x="0" y="526"/>
                  </a:lnTo>
                  <a:lnTo>
                    <a:pt x="5" y="515"/>
                  </a:lnTo>
                  <a:lnTo>
                    <a:pt x="14" y="511"/>
                  </a:lnTo>
                  <a:lnTo>
                    <a:pt x="27" y="511"/>
                  </a:lnTo>
                  <a:lnTo>
                    <a:pt x="46" y="507"/>
                  </a:lnTo>
                  <a:lnTo>
                    <a:pt x="77" y="495"/>
                  </a:lnTo>
                  <a:lnTo>
                    <a:pt x="86" y="487"/>
                  </a:lnTo>
                  <a:lnTo>
                    <a:pt x="97" y="475"/>
                  </a:lnTo>
                  <a:lnTo>
                    <a:pt x="101" y="472"/>
                  </a:lnTo>
                  <a:lnTo>
                    <a:pt x="112" y="464"/>
                  </a:lnTo>
                  <a:lnTo>
                    <a:pt x="129" y="456"/>
                  </a:lnTo>
                  <a:lnTo>
                    <a:pt x="140" y="445"/>
                  </a:lnTo>
                  <a:lnTo>
                    <a:pt x="144" y="439"/>
                  </a:lnTo>
                  <a:lnTo>
                    <a:pt x="149" y="437"/>
                  </a:lnTo>
                  <a:lnTo>
                    <a:pt x="154" y="433"/>
                  </a:lnTo>
                  <a:lnTo>
                    <a:pt x="166" y="411"/>
                  </a:lnTo>
                  <a:lnTo>
                    <a:pt x="182" y="384"/>
                  </a:lnTo>
                  <a:lnTo>
                    <a:pt x="183" y="379"/>
                  </a:lnTo>
                  <a:lnTo>
                    <a:pt x="182" y="362"/>
                  </a:lnTo>
                  <a:lnTo>
                    <a:pt x="172" y="343"/>
                  </a:lnTo>
                  <a:lnTo>
                    <a:pt x="175" y="332"/>
                  </a:lnTo>
                  <a:lnTo>
                    <a:pt x="175" y="305"/>
                  </a:lnTo>
                  <a:lnTo>
                    <a:pt x="177" y="297"/>
                  </a:lnTo>
                  <a:lnTo>
                    <a:pt x="194" y="267"/>
                  </a:lnTo>
                  <a:lnTo>
                    <a:pt x="194" y="263"/>
                  </a:lnTo>
                  <a:lnTo>
                    <a:pt x="207" y="256"/>
                  </a:lnTo>
                  <a:lnTo>
                    <a:pt x="204" y="258"/>
                  </a:lnTo>
                  <a:lnTo>
                    <a:pt x="214" y="235"/>
                  </a:lnTo>
                  <a:lnTo>
                    <a:pt x="213" y="224"/>
                  </a:lnTo>
                  <a:lnTo>
                    <a:pt x="235" y="198"/>
                  </a:lnTo>
                  <a:lnTo>
                    <a:pt x="244" y="184"/>
                  </a:lnTo>
                  <a:lnTo>
                    <a:pt x="253" y="175"/>
                  </a:lnTo>
                  <a:lnTo>
                    <a:pt x="271" y="166"/>
                  </a:lnTo>
                  <a:lnTo>
                    <a:pt x="299" y="155"/>
                  </a:lnTo>
                  <a:lnTo>
                    <a:pt x="314" y="148"/>
                  </a:lnTo>
                  <a:lnTo>
                    <a:pt x="337" y="132"/>
                  </a:lnTo>
                  <a:lnTo>
                    <a:pt x="348" y="120"/>
                  </a:lnTo>
                  <a:lnTo>
                    <a:pt x="354" y="102"/>
                  </a:lnTo>
                  <a:lnTo>
                    <a:pt x="365" y="89"/>
                  </a:lnTo>
                  <a:lnTo>
                    <a:pt x="376" y="56"/>
                  </a:lnTo>
                  <a:lnTo>
                    <a:pt x="392" y="12"/>
                  </a:lnTo>
                  <a:lnTo>
                    <a:pt x="398" y="7"/>
                  </a:lnTo>
                  <a:lnTo>
                    <a:pt x="419" y="0"/>
                  </a:lnTo>
                  <a:lnTo>
                    <a:pt x="429" y="18"/>
                  </a:lnTo>
                  <a:lnTo>
                    <a:pt x="443" y="32"/>
                  </a:lnTo>
                  <a:lnTo>
                    <a:pt x="465" y="48"/>
                  </a:lnTo>
                  <a:lnTo>
                    <a:pt x="475" y="51"/>
                  </a:lnTo>
                  <a:lnTo>
                    <a:pt x="499" y="42"/>
                  </a:lnTo>
                  <a:lnTo>
                    <a:pt x="507" y="45"/>
                  </a:lnTo>
                  <a:lnTo>
                    <a:pt x="525" y="45"/>
                  </a:lnTo>
                  <a:lnTo>
                    <a:pt x="541" y="43"/>
                  </a:lnTo>
                  <a:lnTo>
                    <a:pt x="548" y="40"/>
                  </a:lnTo>
                  <a:lnTo>
                    <a:pt x="557" y="45"/>
                  </a:lnTo>
                  <a:lnTo>
                    <a:pt x="564" y="51"/>
                  </a:lnTo>
                  <a:lnTo>
                    <a:pt x="574" y="53"/>
                  </a:lnTo>
                  <a:lnTo>
                    <a:pt x="580" y="53"/>
                  </a:lnTo>
                  <a:lnTo>
                    <a:pt x="585" y="52"/>
                  </a:lnTo>
                  <a:lnTo>
                    <a:pt x="604" y="56"/>
                  </a:lnTo>
                  <a:lnTo>
                    <a:pt x="604" y="61"/>
                  </a:lnTo>
                  <a:lnTo>
                    <a:pt x="606" y="66"/>
                  </a:lnTo>
                  <a:lnTo>
                    <a:pt x="612" y="71"/>
                  </a:lnTo>
                  <a:lnTo>
                    <a:pt x="613" y="73"/>
                  </a:lnTo>
                  <a:lnTo>
                    <a:pt x="617" y="78"/>
                  </a:lnTo>
                  <a:lnTo>
                    <a:pt x="621" y="79"/>
                  </a:lnTo>
                  <a:lnTo>
                    <a:pt x="623" y="83"/>
                  </a:lnTo>
                  <a:lnTo>
                    <a:pt x="622" y="85"/>
                  </a:lnTo>
                  <a:lnTo>
                    <a:pt x="621" y="85"/>
                  </a:lnTo>
                  <a:lnTo>
                    <a:pt x="620" y="88"/>
                  </a:lnTo>
                  <a:lnTo>
                    <a:pt x="626" y="96"/>
                  </a:lnTo>
                  <a:lnTo>
                    <a:pt x="622" y="104"/>
                  </a:lnTo>
                  <a:lnTo>
                    <a:pt x="624" y="111"/>
                  </a:lnTo>
                  <a:lnTo>
                    <a:pt x="627" y="122"/>
                  </a:lnTo>
                  <a:lnTo>
                    <a:pt x="626" y="131"/>
                  </a:lnTo>
                  <a:lnTo>
                    <a:pt x="626" y="141"/>
                  </a:lnTo>
                  <a:lnTo>
                    <a:pt x="623" y="144"/>
                  </a:lnTo>
                  <a:lnTo>
                    <a:pt x="631" y="152"/>
                  </a:lnTo>
                  <a:lnTo>
                    <a:pt x="631" y="156"/>
                  </a:lnTo>
                  <a:lnTo>
                    <a:pt x="631" y="160"/>
                  </a:lnTo>
                  <a:lnTo>
                    <a:pt x="629" y="166"/>
                  </a:lnTo>
                  <a:lnTo>
                    <a:pt x="628" y="171"/>
                  </a:lnTo>
                  <a:lnTo>
                    <a:pt x="631" y="179"/>
                  </a:lnTo>
                  <a:lnTo>
                    <a:pt x="633" y="186"/>
                  </a:lnTo>
                  <a:lnTo>
                    <a:pt x="633" y="192"/>
                  </a:lnTo>
                  <a:lnTo>
                    <a:pt x="640" y="207"/>
                  </a:lnTo>
                  <a:lnTo>
                    <a:pt x="649" y="215"/>
                  </a:lnTo>
                  <a:lnTo>
                    <a:pt x="656" y="220"/>
                  </a:lnTo>
                  <a:lnTo>
                    <a:pt x="656" y="222"/>
                  </a:lnTo>
                  <a:lnTo>
                    <a:pt x="651" y="224"/>
                  </a:lnTo>
                  <a:lnTo>
                    <a:pt x="648" y="231"/>
                  </a:lnTo>
                  <a:lnTo>
                    <a:pt x="647" y="238"/>
                  </a:lnTo>
                  <a:lnTo>
                    <a:pt x="649" y="242"/>
                  </a:lnTo>
                  <a:lnTo>
                    <a:pt x="649" y="245"/>
                  </a:lnTo>
                  <a:lnTo>
                    <a:pt x="647" y="246"/>
                  </a:lnTo>
                  <a:lnTo>
                    <a:pt x="639" y="242"/>
                  </a:lnTo>
                  <a:lnTo>
                    <a:pt x="627" y="242"/>
                  </a:lnTo>
                  <a:lnTo>
                    <a:pt x="616" y="241"/>
                  </a:lnTo>
                  <a:lnTo>
                    <a:pt x="611" y="242"/>
                  </a:lnTo>
                  <a:lnTo>
                    <a:pt x="580" y="242"/>
                  </a:lnTo>
                  <a:lnTo>
                    <a:pt x="570" y="245"/>
                  </a:lnTo>
                  <a:lnTo>
                    <a:pt x="567" y="247"/>
                  </a:lnTo>
                  <a:lnTo>
                    <a:pt x="563" y="249"/>
                  </a:lnTo>
                  <a:lnTo>
                    <a:pt x="556" y="246"/>
                  </a:lnTo>
                  <a:lnTo>
                    <a:pt x="553" y="247"/>
                  </a:lnTo>
                  <a:lnTo>
                    <a:pt x="551" y="252"/>
                  </a:lnTo>
                  <a:lnTo>
                    <a:pt x="552" y="257"/>
                  </a:lnTo>
                  <a:lnTo>
                    <a:pt x="551" y="263"/>
                  </a:lnTo>
                  <a:lnTo>
                    <a:pt x="548" y="266"/>
                  </a:lnTo>
                  <a:lnTo>
                    <a:pt x="535" y="272"/>
                  </a:lnTo>
                  <a:lnTo>
                    <a:pt x="527" y="273"/>
                  </a:lnTo>
                  <a:lnTo>
                    <a:pt x="520" y="274"/>
                  </a:lnTo>
                  <a:lnTo>
                    <a:pt x="513" y="273"/>
                  </a:lnTo>
                  <a:lnTo>
                    <a:pt x="508" y="273"/>
                  </a:lnTo>
                  <a:lnTo>
                    <a:pt x="503" y="277"/>
                  </a:lnTo>
                  <a:lnTo>
                    <a:pt x="502" y="282"/>
                  </a:lnTo>
                  <a:lnTo>
                    <a:pt x="502" y="288"/>
                  </a:lnTo>
                  <a:lnTo>
                    <a:pt x="503" y="290"/>
                  </a:lnTo>
                  <a:lnTo>
                    <a:pt x="508" y="290"/>
                  </a:lnTo>
                  <a:lnTo>
                    <a:pt x="509" y="293"/>
                  </a:lnTo>
                  <a:lnTo>
                    <a:pt x="504" y="298"/>
                  </a:lnTo>
                  <a:lnTo>
                    <a:pt x="503" y="309"/>
                  </a:lnTo>
                  <a:lnTo>
                    <a:pt x="504" y="309"/>
                  </a:lnTo>
                  <a:lnTo>
                    <a:pt x="507" y="308"/>
                  </a:lnTo>
                  <a:lnTo>
                    <a:pt x="509" y="308"/>
                  </a:lnTo>
                  <a:lnTo>
                    <a:pt x="510" y="310"/>
                  </a:lnTo>
                  <a:lnTo>
                    <a:pt x="515" y="314"/>
                  </a:lnTo>
                  <a:lnTo>
                    <a:pt x="516" y="317"/>
                  </a:lnTo>
                  <a:lnTo>
                    <a:pt x="514" y="321"/>
                  </a:lnTo>
                  <a:lnTo>
                    <a:pt x="493" y="325"/>
                  </a:lnTo>
                  <a:lnTo>
                    <a:pt x="467" y="342"/>
                  </a:lnTo>
                  <a:lnTo>
                    <a:pt x="461" y="342"/>
                  </a:lnTo>
                  <a:lnTo>
                    <a:pt x="446" y="348"/>
                  </a:lnTo>
                  <a:lnTo>
                    <a:pt x="436" y="355"/>
                  </a:lnTo>
                  <a:lnTo>
                    <a:pt x="433" y="363"/>
                  </a:lnTo>
                  <a:lnTo>
                    <a:pt x="433" y="365"/>
                  </a:lnTo>
                  <a:lnTo>
                    <a:pt x="430" y="371"/>
                  </a:lnTo>
                  <a:lnTo>
                    <a:pt x="424" y="376"/>
                  </a:lnTo>
                  <a:lnTo>
                    <a:pt x="418" y="381"/>
                  </a:lnTo>
                  <a:lnTo>
                    <a:pt x="401" y="389"/>
                  </a:lnTo>
                  <a:lnTo>
                    <a:pt x="385" y="391"/>
                  </a:lnTo>
                  <a:lnTo>
                    <a:pt x="376" y="391"/>
                  </a:lnTo>
                  <a:lnTo>
                    <a:pt x="371" y="394"/>
                  </a:lnTo>
                  <a:lnTo>
                    <a:pt x="354" y="392"/>
                  </a:lnTo>
                  <a:lnTo>
                    <a:pt x="353" y="396"/>
                  </a:lnTo>
                  <a:lnTo>
                    <a:pt x="353" y="405"/>
                  </a:lnTo>
                  <a:lnTo>
                    <a:pt x="350" y="406"/>
                  </a:lnTo>
                  <a:lnTo>
                    <a:pt x="342" y="406"/>
                  </a:lnTo>
                  <a:lnTo>
                    <a:pt x="337" y="403"/>
                  </a:lnTo>
                  <a:lnTo>
                    <a:pt x="330" y="405"/>
                  </a:lnTo>
                  <a:lnTo>
                    <a:pt x="323" y="403"/>
                  </a:lnTo>
                  <a:lnTo>
                    <a:pt x="319" y="407"/>
                  </a:lnTo>
                  <a:lnTo>
                    <a:pt x="312" y="413"/>
                  </a:lnTo>
                  <a:lnTo>
                    <a:pt x="306" y="417"/>
                  </a:lnTo>
                  <a:lnTo>
                    <a:pt x="299" y="423"/>
                  </a:lnTo>
                  <a:lnTo>
                    <a:pt x="287" y="423"/>
                  </a:lnTo>
                  <a:lnTo>
                    <a:pt x="266" y="437"/>
                  </a:lnTo>
                  <a:lnTo>
                    <a:pt x="240" y="45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2" name="Freeform 15">
              <a:extLst>
                <a:ext uri="{FF2B5EF4-FFF2-40B4-BE49-F238E27FC236}">
                  <a16:creationId xmlns:a16="http://schemas.microsoft.com/office/drawing/2014/main" id="{4F93F652-97C5-E593-EEC9-9364A8E7FF8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971523" y="3969087"/>
              <a:ext cx="299961" cy="422208"/>
            </a:xfrm>
            <a:custGeom>
              <a:avLst/>
              <a:gdLst>
                <a:gd name="T0" fmla="*/ 0 w 561"/>
                <a:gd name="T1" fmla="*/ 2147483647 h 740"/>
                <a:gd name="T2" fmla="*/ 0 w 561"/>
                <a:gd name="T3" fmla="*/ 2147483647 h 740"/>
                <a:gd name="T4" fmla="*/ 0 w 561"/>
                <a:gd name="T5" fmla="*/ 2147483647 h 740"/>
                <a:gd name="T6" fmla="*/ 2147483647 w 561"/>
                <a:gd name="T7" fmla="*/ 2147483647 h 740"/>
                <a:gd name="T8" fmla="*/ 2147483647 w 561"/>
                <a:gd name="T9" fmla="*/ 2147483647 h 740"/>
                <a:gd name="T10" fmla="*/ 2147483647 w 561"/>
                <a:gd name="T11" fmla="*/ 2147483647 h 740"/>
                <a:gd name="T12" fmla="*/ 2147483647 w 561"/>
                <a:gd name="T13" fmla="*/ 2147483647 h 740"/>
                <a:gd name="T14" fmla="*/ 2147483647 w 561"/>
                <a:gd name="T15" fmla="*/ 2147483647 h 740"/>
                <a:gd name="T16" fmla="*/ 2147483647 w 561"/>
                <a:gd name="T17" fmla="*/ 2147483647 h 740"/>
                <a:gd name="T18" fmla="*/ 2147483647 w 561"/>
                <a:gd name="T19" fmla="*/ 2147483647 h 740"/>
                <a:gd name="T20" fmla="*/ 2147483647 w 561"/>
                <a:gd name="T21" fmla="*/ 2147483647 h 740"/>
                <a:gd name="T22" fmla="*/ 2147483647 w 561"/>
                <a:gd name="T23" fmla="*/ 2147483647 h 740"/>
                <a:gd name="T24" fmla="*/ 2147483647 w 561"/>
                <a:gd name="T25" fmla="*/ 0 h 740"/>
                <a:gd name="T26" fmla="*/ 2147483647 w 561"/>
                <a:gd name="T27" fmla="*/ 0 h 740"/>
                <a:gd name="T28" fmla="*/ 2147483647 w 561"/>
                <a:gd name="T29" fmla="*/ 0 h 740"/>
                <a:gd name="T30" fmla="*/ 2147483647 w 561"/>
                <a:gd name="T31" fmla="*/ 0 h 740"/>
                <a:gd name="T32" fmla="*/ 2147483647 w 561"/>
                <a:gd name="T33" fmla="*/ 2147483647 h 740"/>
                <a:gd name="T34" fmla="*/ 2147483647 w 561"/>
                <a:gd name="T35" fmla="*/ 2147483647 h 740"/>
                <a:gd name="T36" fmla="*/ 2147483647 w 561"/>
                <a:gd name="T37" fmla="*/ 0 h 740"/>
                <a:gd name="T38" fmla="*/ 2147483647 w 561"/>
                <a:gd name="T39" fmla="*/ 0 h 740"/>
                <a:gd name="T40" fmla="*/ 2147483647 w 561"/>
                <a:gd name="T41" fmla="*/ 0 h 740"/>
                <a:gd name="T42" fmla="*/ 2147483647 w 561"/>
                <a:gd name="T43" fmla="*/ 0 h 740"/>
                <a:gd name="T44" fmla="*/ 2147483647 w 561"/>
                <a:gd name="T45" fmla="*/ 0 h 740"/>
                <a:gd name="T46" fmla="*/ 2147483647 w 561"/>
                <a:gd name="T47" fmla="*/ 0 h 740"/>
                <a:gd name="T48" fmla="*/ 2147483647 w 561"/>
                <a:gd name="T49" fmla="*/ 0 h 740"/>
                <a:gd name="T50" fmla="*/ 2147483647 w 561"/>
                <a:gd name="T51" fmla="*/ 0 h 740"/>
                <a:gd name="T52" fmla="*/ 2147483647 w 561"/>
                <a:gd name="T53" fmla="*/ 0 h 740"/>
                <a:gd name="T54" fmla="*/ 2147483647 w 561"/>
                <a:gd name="T55" fmla="*/ 0 h 740"/>
                <a:gd name="T56" fmla="*/ 2147483647 w 561"/>
                <a:gd name="T57" fmla="*/ 0 h 740"/>
                <a:gd name="T58" fmla="*/ 2147483647 w 561"/>
                <a:gd name="T59" fmla="*/ 0 h 740"/>
                <a:gd name="T60" fmla="*/ 2147483647 w 561"/>
                <a:gd name="T61" fmla="*/ 0 h 740"/>
                <a:gd name="T62" fmla="*/ 2147483647 w 561"/>
                <a:gd name="T63" fmla="*/ 0 h 740"/>
                <a:gd name="T64" fmla="*/ 2147483647 w 561"/>
                <a:gd name="T65" fmla="*/ 0 h 740"/>
                <a:gd name="T66" fmla="*/ 2147483647 w 561"/>
                <a:gd name="T67" fmla="*/ 0 h 740"/>
                <a:gd name="T68" fmla="*/ 2147483647 w 561"/>
                <a:gd name="T69" fmla="*/ 0 h 740"/>
                <a:gd name="T70" fmla="*/ 2147483647 w 561"/>
                <a:gd name="T71" fmla="*/ 2147483647 h 740"/>
                <a:gd name="T72" fmla="*/ 2147483647 w 561"/>
                <a:gd name="T73" fmla="*/ 2147483647 h 740"/>
                <a:gd name="T74" fmla="*/ 2147483647 w 561"/>
                <a:gd name="T75" fmla="*/ 2147483647 h 740"/>
                <a:gd name="T76" fmla="*/ 2147483647 w 561"/>
                <a:gd name="T77" fmla="*/ 2147483647 h 740"/>
                <a:gd name="T78" fmla="*/ 2147483647 w 561"/>
                <a:gd name="T79" fmla="*/ 2147483647 h 740"/>
                <a:gd name="T80" fmla="*/ 2147483647 w 561"/>
                <a:gd name="T81" fmla="*/ 2147483647 h 740"/>
                <a:gd name="T82" fmla="*/ 2147483647 w 561"/>
                <a:gd name="T83" fmla="*/ 2147483647 h 740"/>
                <a:gd name="T84" fmla="*/ 2147483647 w 561"/>
                <a:gd name="T85" fmla="*/ 2147483647 h 740"/>
                <a:gd name="T86" fmla="*/ 2147483647 w 561"/>
                <a:gd name="T87" fmla="*/ 2147483647 h 740"/>
                <a:gd name="T88" fmla="*/ 2147483647 w 561"/>
                <a:gd name="T89" fmla="*/ 2147483647 h 740"/>
                <a:gd name="T90" fmla="*/ 2147483647 w 561"/>
                <a:gd name="T91" fmla="*/ 2147483647 h 740"/>
                <a:gd name="T92" fmla="*/ 2147483647 w 561"/>
                <a:gd name="T93" fmla="*/ 2147483647 h 740"/>
                <a:gd name="T94" fmla="*/ 2147483647 w 561"/>
                <a:gd name="T95" fmla="*/ 2147483647 h 740"/>
                <a:gd name="T96" fmla="*/ 2147483647 w 561"/>
                <a:gd name="T97" fmla="*/ 2147483647 h 740"/>
                <a:gd name="T98" fmla="*/ 2147483647 w 561"/>
                <a:gd name="T99" fmla="*/ 2147483647 h 740"/>
                <a:gd name="T100" fmla="*/ 2147483647 w 561"/>
                <a:gd name="T101" fmla="*/ 2147483647 h 740"/>
                <a:gd name="T102" fmla="*/ 2147483647 w 561"/>
                <a:gd name="T103" fmla="*/ 2147483647 h 740"/>
                <a:gd name="T104" fmla="*/ 2147483647 w 561"/>
                <a:gd name="T105" fmla="*/ 2147483647 h 740"/>
                <a:gd name="T106" fmla="*/ 2147483647 w 561"/>
                <a:gd name="T107" fmla="*/ 2147483647 h 740"/>
                <a:gd name="T108" fmla="*/ 2147483647 w 561"/>
                <a:gd name="T109" fmla="*/ 2147483647 h 740"/>
                <a:gd name="T110" fmla="*/ 2147483647 w 561"/>
                <a:gd name="T111" fmla="*/ 2147483647 h 740"/>
                <a:gd name="T112" fmla="*/ 2147483647 w 561"/>
                <a:gd name="T113" fmla="*/ 2147483647 h 740"/>
                <a:gd name="T114" fmla="*/ 2147483647 w 561"/>
                <a:gd name="T115" fmla="*/ 2147483647 h 740"/>
                <a:gd name="T116" fmla="*/ 2147483647 w 561"/>
                <a:gd name="T117" fmla="*/ 2147483647 h 740"/>
                <a:gd name="T118" fmla="*/ 2147483647 w 561"/>
                <a:gd name="T119" fmla="*/ 2147483647 h 740"/>
                <a:gd name="T120" fmla="*/ 2147483647 w 561"/>
                <a:gd name="T121" fmla="*/ 2147483647 h 740"/>
                <a:gd name="T122" fmla="*/ 2147483647 w 561"/>
                <a:gd name="T123" fmla="*/ 2147483647 h 740"/>
                <a:gd name="T124" fmla="*/ 0 w 561"/>
                <a:gd name="T125" fmla="*/ 2147483647 h 7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61"/>
                <a:gd name="T190" fmla="*/ 0 h 740"/>
                <a:gd name="T191" fmla="*/ 561 w 561"/>
                <a:gd name="T192" fmla="*/ 740 h 7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61" h="740">
                  <a:moveTo>
                    <a:pt x="30" y="740"/>
                  </a:moveTo>
                  <a:lnTo>
                    <a:pt x="29" y="737"/>
                  </a:lnTo>
                  <a:lnTo>
                    <a:pt x="6" y="708"/>
                  </a:lnTo>
                  <a:lnTo>
                    <a:pt x="0" y="700"/>
                  </a:lnTo>
                  <a:lnTo>
                    <a:pt x="0" y="657"/>
                  </a:lnTo>
                  <a:lnTo>
                    <a:pt x="0" y="604"/>
                  </a:lnTo>
                  <a:lnTo>
                    <a:pt x="0" y="551"/>
                  </a:lnTo>
                  <a:lnTo>
                    <a:pt x="0" y="498"/>
                  </a:lnTo>
                  <a:lnTo>
                    <a:pt x="3" y="496"/>
                  </a:lnTo>
                  <a:lnTo>
                    <a:pt x="25" y="474"/>
                  </a:lnTo>
                  <a:lnTo>
                    <a:pt x="46" y="442"/>
                  </a:lnTo>
                  <a:lnTo>
                    <a:pt x="48" y="437"/>
                  </a:lnTo>
                  <a:lnTo>
                    <a:pt x="51" y="433"/>
                  </a:lnTo>
                  <a:lnTo>
                    <a:pt x="66" y="426"/>
                  </a:lnTo>
                  <a:lnTo>
                    <a:pt x="102" y="414"/>
                  </a:lnTo>
                  <a:lnTo>
                    <a:pt x="114" y="401"/>
                  </a:lnTo>
                  <a:lnTo>
                    <a:pt x="127" y="393"/>
                  </a:lnTo>
                  <a:lnTo>
                    <a:pt x="148" y="384"/>
                  </a:lnTo>
                  <a:lnTo>
                    <a:pt x="157" y="379"/>
                  </a:lnTo>
                  <a:lnTo>
                    <a:pt x="221" y="379"/>
                  </a:lnTo>
                  <a:lnTo>
                    <a:pt x="302" y="297"/>
                  </a:lnTo>
                  <a:lnTo>
                    <a:pt x="373" y="227"/>
                  </a:lnTo>
                  <a:lnTo>
                    <a:pt x="383" y="215"/>
                  </a:lnTo>
                  <a:lnTo>
                    <a:pt x="384" y="212"/>
                  </a:lnTo>
                  <a:lnTo>
                    <a:pt x="331" y="213"/>
                  </a:lnTo>
                  <a:lnTo>
                    <a:pt x="244" y="181"/>
                  </a:lnTo>
                  <a:lnTo>
                    <a:pt x="166" y="154"/>
                  </a:lnTo>
                  <a:lnTo>
                    <a:pt x="159" y="147"/>
                  </a:lnTo>
                  <a:lnTo>
                    <a:pt x="140" y="132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4" y="110"/>
                  </a:lnTo>
                  <a:lnTo>
                    <a:pt x="119" y="107"/>
                  </a:lnTo>
                  <a:lnTo>
                    <a:pt x="113" y="100"/>
                  </a:lnTo>
                  <a:lnTo>
                    <a:pt x="110" y="95"/>
                  </a:lnTo>
                  <a:lnTo>
                    <a:pt x="103" y="88"/>
                  </a:lnTo>
                  <a:lnTo>
                    <a:pt x="98" y="65"/>
                  </a:lnTo>
                  <a:lnTo>
                    <a:pt x="99" y="60"/>
                  </a:lnTo>
                  <a:lnTo>
                    <a:pt x="103" y="55"/>
                  </a:lnTo>
                  <a:lnTo>
                    <a:pt x="105" y="49"/>
                  </a:lnTo>
                  <a:lnTo>
                    <a:pt x="115" y="37"/>
                  </a:lnTo>
                  <a:lnTo>
                    <a:pt x="120" y="25"/>
                  </a:lnTo>
                  <a:lnTo>
                    <a:pt x="123" y="23"/>
                  </a:lnTo>
                  <a:lnTo>
                    <a:pt x="125" y="27"/>
                  </a:lnTo>
                  <a:lnTo>
                    <a:pt x="130" y="29"/>
                  </a:lnTo>
                  <a:lnTo>
                    <a:pt x="135" y="38"/>
                  </a:lnTo>
                  <a:lnTo>
                    <a:pt x="140" y="41"/>
                  </a:lnTo>
                  <a:lnTo>
                    <a:pt x="151" y="57"/>
                  </a:lnTo>
                  <a:lnTo>
                    <a:pt x="167" y="73"/>
                  </a:lnTo>
                  <a:lnTo>
                    <a:pt x="179" y="82"/>
                  </a:lnTo>
                  <a:lnTo>
                    <a:pt x="186" y="84"/>
                  </a:lnTo>
                  <a:lnTo>
                    <a:pt x="193" y="82"/>
                  </a:lnTo>
                  <a:lnTo>
                    <a:pt x="215" y="83"/>
                  </a:lnTo>
                  <a:lnTo>
                    <a:pt x="222" y="77"/>
                  </a:lnTo>
                  <a:lnTo>
                    <a:pt x="231" y="72"/>
                  </a:lnTo>
                  <a:lnTo>
                    <a:pt x="238" y="70"/>
                  </a:lnTo>
                  <a:lnTo>
                    <a:pt x="248" y="64"/>
                  </a:lnTo>
                  <a:lnTo>
                    <a:pt x="253" y="62"/>
                  </a:lnTo>
                  <a:lnTo>
                    <a:pt x="255" y="60"/>
                  </a:lnTo>
                  <a:lnTo>
                    <a:pt x="258" y="57"/>
                  </a:lnTo>
                  <a:lnTo>
                    <a:pt x="260" y="57"/>
                  </a:lnTo>
                  <a:lnTo>
                    <a:pt x="265" y="61"/>
                  </a:lnTo>
                  <a:lnTo>
                    <a:pt x="269" y="61"/>
                  </a:lnTo>
                  <a:lnTo>
                    <a:pt x="271" y="62"/>
                  </a:lnTo>
                  <a:lnTo>
                    <a:pt x="283" y="61"/>
                  </a:lnTo>
                  <a:lnTo>
                    <a:pt x="291" y="67"/>
                  </a:lnTo>
                  <a:lnTo>
                    <a:pt x="302" y="67"/>
                  </a:lnTo>
                  <a:lnTo>
                    <a:pt x="312" y="65"/>
                  </a:lnTo>
                  <a:lnTo>
                    <a:pt x="317" y="61"/>
                  </a:lnTo>
                  <a:lnTo>
                    <a:pt x="322" y="56"/>
                  </a:lnTo>
                  <a:lnTo>
                    <a:pt x="331" y="54"/>
                  </a:lnTo>
                  <a:lnTo>
                    <a:pt x="336" y="48"/>
                  </a:lnTo>
                  <a:lnTo>
                    <a:pt x="342" y="44"/>
                  </a:lnTo>
                  <a:lnTo>
                    <a:pt x="353" y="41"/>
                  </a:lnTo>
                  <a:lnTo>
                    <a:pt x="365" y="46"/>
                  </a:lnTo>
                  <a:lnTo>
                    <a:pt x="372" y="45"/>
                  </a:lnTo>
                  <a:lnTo>
                    <a:pt x="382" y="44"/>
                  </a:lnTo>
                  <a:lnTo>
                    <a:pt x="393" y="43"/>
                  </a:lnTo>
                  <a:lnTo>
                    <a:pt x="398" y="41"/>
                  </a:lnTo>
                  <a:lnTo>
                    <a:pt x="411" y="33"/>
                  </a:lnTo>
                  <a:lnTo>
                    <a:pt x="417" y="33"/>
                  </a:lnTo>
                  <a:lnTo>
                    <a:pt x="430" y="37"/>
                  </a:lnTo>
                  <a:lnTo>
                    <a:pt x="447" y="29"/>
                  </a:lnTo>
                  <a:lnTo>
                    <a:pt x="451" y="28"/>
                  </a:lnTo>
                  <a:lnTo>
                    <a:pt x="458" y="29"/>
                  </a:lnTo>
                  <a:lnTo>
                    <a:pt x="462" y="24"/>
                  </a:lnTo>
                  <a:lnTo>
                    <a:pt x="473" y="25"/>
                  </a:lnTo>
                  <a:lnTo>
                    <a:pt x="481" y="24"/>
                  </a:lnTo>
                  <a:lnTo>
                    <a:pt x="496" y="21"/>
                  </a:lnTo>
                  <a:lnTo>
                    <a:pt x="501" y="17"/>
                  </a:lnTo>
                  <a:lnTo>
                    <a:pt x="514" y="12"/>
                  </a:lnTo>
                  <a:lnTo>
                    <a:pt x="518" y="2"/>
                  </a:lnTo>
                  <a:lnTo>
                    <a:pt x="527" y="0"/>
                  </a:lnTo>
                  <a:lnTo>
                    <a:pt x="535" y="0"/>
                  </a:lnTo>
                  <a:lnTo>
                    <a:pt x="546" y="7"/>
                  </a:lnTo>
                  <a:lnTo>
                    <a:pt x="555" y="7"/>
                  </a:lnTo>
                  <a:lnTo>
                    <a:pt x="556" y="8"/>
                  </a:lnTo>
                  <a:lnTo>
                    <a:pt x="555" y="14"/>
                  </a:lnTo>
                  <a:lnTo>
                    <a:pt x="555" y="19"/>
                  </a:lnTo>
                  <a:lnTo>
                    <a:pt x="549" y="27"/>
                  </a:lnTo>
                  <a:lnTo>
                    <a:pt x="548" y="33"/>
                  </a:lnTo>
                  <a:lnTo>
                    <a:pt x="548" y="41"/>
                  </a:lnTo>
                  <a:lnTo>
                    <a:pt x="554" y="46"/>
                  </a:lnTo>
                  <a:lnTo>
                    <a:pt x="551" y="52"/>
                  </a:lnTo>
                  <a:lnTo>
                    <a:pt x="552" y="59"/>
                  </a:lnTo>
                  <a:lnTo>
                    <a:pt x="551" y="66"/>
                  </a:lnTo>
                  <a:lnTo>
                    <a:pt x="552" y="75"/>
                  </a:lnTo>
                  <a:lnTo>
                    <a:pt x="551" y="78"/>
                  </a:lnTo>
                  <a:lnTo>
                    <a:pt x="544" y="83"/>
                  </a:lnTo>
                  <a:lnTo>
                    <a:pt x="545" y="86"/>
                  </a:lnTo>
                  <a:lnTo>
                    <a:pt x="551" y="84"/>
                  </a:lnTo>
                  <a:lnTo>
                    <a:pt x="552" y="82"/>
                  </a:lnTo>
                  <a:lnTo>
                    <a:pt x="554" y="82"/>
                  </a:lnTo>
                  <a:lnTo>
                    <a:pt x="556" y="84"/>
                  </a:lnTo>
                  <a:lnTo>
                    <a:pt x="561" y="86"/>
                  </a:lnTo>
                  <a:lnTo>
                    <a:pt x="561" y="89"/>
                  </a:lnTo>
                  <a:lnTo>
                    <a:pt x="560" y="91"/>
                  </a:lnTo>
                  <a:lnTo>
                    <a:pt x="559" y="91"/>
                  </a:lnTo>
                  <a:lnTo>
                    <a:pt x="552" y="88"/>
                  </a:lnTo>
                  <a:lnTo>
                    <a:pt x="545" y="88"/>
                  </a:lnTo>
                  <a:lnTo>
                    <a:pt x="540" y="91"/>
                  </a:lnTo>
                  <a:lnTo>
                    <a:pt x="539" y="92"/>
                  </a:lnTo>
                  <a:lnTo>
                    <a:pt x="539" y="99"/>
                  </a:lnTo>
                  <a:lnTo>
                    <a:pt x="533" y="125"/>
                  </a:lnTo>
                  <a:lnTo>
                    <a:pt x="533" y="141"/>
                  </a:lnTo>
                  <a:lnTo>
                    <a:pt x="530" y="145"/>
                  </a:lnTo>
                  <a:lnTo>
                    <a:pt x="528" y="156"/>
                  </a:lnTo>
                  <a:lnTo>
                    <a:pt x="524" y="159"/>
                  </a:lnTo>
                  <a:lnTo>
                    <a:pt x="518" y="164"/>
                  </a:lnTo>
                  <a:lnTo>
                    <a:pt x="511" y="181"/>
                  </a:lnTo>
                  <a:lnTo>
                    <a:pt x="502" y="190"/>
                  </a:lnTo>
                  <a:lnTo>
                    <a:pt x="497" y="202"/>
                  </a:lnTo>
                  <a:lnTo>
                    <a:pt x="497" y="204"/>
                  </a:lnTo>
                  <a:lnTo>
                    <a:pt x="492" y="207"/>
                  </a:lnTo>
                  <a:lnTo>
                    <a:pt x="485" y="215"/>
                  </a:lnTo>
                  <a:lnTo>
                    <a:pt x="482" y="220"/>
                  </a:lnTo>
                  <a:lnTo>
                    <a:pt x="480" y="226"/>
                  </a:lnTo>
                  <a:lnTo>
                    <a:pt x="479" y="237"/>
                  </a:lnTo>
                  <a:lnTo>
                    <a:pt x="462" y="271"/>
                  </a:lnTo>
                  <a:lnTo>
                    <a:pt x="447" y="296"/>
                  </a:lnTo>
                  <a:lnTo>
                    <a:pt x="444" y="303"/>
                  </a:lnTo>
                  <a:lnTo>
                    <a:pt x="438" y="325"/>
                  </a:lnTo>
                  <a:lnTo>
                    <a:pt x="431" y="344"/>
                  </a:lnTo>
                  <a:lnTo>
                    <a:pt x="422" y="351"/>
                  </a:lnTo>
                  <a:lnTo>
                    <a:pt x="419" y="353"/>
                  </a:lnTo>
                  <a:lnTo>
                    <a:pt x="416" y="357"/>
                  </a:lnTo>
                  <a:lnTo>
                    <a:pt x="414" y="358"/>
                  </a:lnTo>
                  <a:lnTo>
                    <a:pt x="409" y="363"/>
                  </a:lnTo>
                  <a:lnTo>
                    <a:pt x="394" y="378"/>
                  </a:lnTo>
                  <a:lnTo>
                    <a:pt x="389" y="389"/>
                  </a:lnTo>
                  <a:lnTo>
                    <a:pt x="389" y="390"/>
                  </a:lnTo>
                  <a:lnTo>
                    <a:pt x="388" y="395"/>
                  </a:lnTo>
                  <a:lnTo>
                    <a:pt x="382" y="405"/>
                  </a:lnTo>
                  <a:lnTo>
                    <a:pt x="373" y="420"/>
                  </a:lnTo>
                  <a:lnTo>
                    <a:pt x="362" y="432"/>
                  </a:lnTo>
                  <a:lnTo>
                    <a:pt x="363" y="432"/>
                  </a:lnTo>
                  <a:lnTo>
                    <a:pt x="352" y="442"/>
                  </a:lnTo>
                  <a:lnTo>
                    <a:pt x="340" y="453"/>
                  </a:lnTo>
                  <a:lnTo>
                    <a:pt x="334" y="461"/>
                  </a:lnTo>
                  <a:lnTo>
                    <a:pt x="323" y="474"/>
                  </a:lnTo>
                  <a:lnTo>
                    <a:pt x="306" y="486"/>
                  </a:lnTo>
                  <a:lnTo>
                    <a:pt x="297" y="492"/>
                  </a:lnTo>
                  <a:lnTo>
                    <a:pt x="297" y="495"/>
                  </a:lnTo>
                  <a:lnTo>
                    <a:pt x="290" y="506"/>
                  </a:lnTo>
                  <a:lnTo>
                    <a:pt x="277" y="520"/>
                  </a:lnTo>
                  <a:lnTo>
                    <a:pt x="264" y="532"/>
                  </a:lnTo>
                  <a:lnTo>
                    <a:pt x="249" y="541"/>
                  </a:lnTo>
                  <a:lnTo>
                    <a:pt x="243" y="545"/>
                  </a:lnTo>
                  <a:lnTo>
                    <a:pt x="231" y="549"/>
                  </a:lnTo>
                  <a:lnTo>
                    <a:pt x="223" y="550"/>
                  </a:lnTo>
                  <a:lnTo>
                    <a:pt x="216" y="554"/>
                  </a:lnTo>
                  <a:lnTo>
                    <a:pt x="193" y="572"/>
                  </a:lnTo>
                  <a:lnTo>
                    <a:pt x="139" y="620"/>
                  </a:lnTo>
                  <a:lnTo>
                    <a:pt x="120" y="640"/>
                  </a:lnTo>
                  <a:lnTo>
                    <a:pt x="113" y="648"/>
                  </a:lnTo>
                  <a:lnTo>
                    <a:pt x="103" y="659"/>
                  </a:lnTo>
                  <a:lnTo>
                    <a:pt x="91" y="663"/>
                  </a:lnTo>
                  <a:lnTo>
                    <a:pt x="87" y="660"/>
                  </a:lnTo>
                  <a:lnTo>
                    <a:pt x="84" y="665"/>
                  </a:lnTo>
                  <a:lnTo>
                    <a:pt x="87" y="665"/>
                  </a:lnTo>
                  <a:lnTo>
                    <a:pt x="88" y="669"/>
                  </a:lnTo>
                  <a:lnTo>
                    <a:pt x="87" y="672"/>
                  </a:lnTo>
                  <a:lnTo>
                    <a:pt x="83" y="674"/>
                  </a:lnTo>
                  <a:lnTo>
                    <a:pt x="81" y="681"/>
                  </a:lnTo>
                  <a:lnTo>
                    <a:pt x="75" y="691"/>
                  </a:lnTo>
                  <a:lnTo>
                    <a:pt x="61" y="705"/>
                  </a:lnTo>
                  <a:lnTo>
                    <a:pt x="50" y="718"/>
                  </a:lnTo>
                  <a:lnTo>
                    <a:pt x="37" y="730"/>
                  </a:lnTo>
                  <a:lnTo>
                    <a:pt x="32" y="739"/>
                  </a:lnTo>
                  <a:lnTo>
                    <a:pt x="30" y="74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3" name="Freeform 16">
              <a:extLst>
                <a:ext uri="{FF2B5EF4-FFF2-40B4-BE49-F238E27FC236}">
                  <a16:creationId xmlns:a16="http://schemas.microsoft.com/office/drawing/2014/main" id="{B9176D25-3699-85BA-EF1C-28C23AA445C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411895" y="3604798"/>
              <a:ext cx="483519" cy="623405"/>
            </a:xfrm>
            <a:custGeom>
              <a:avLst/>
              <a:gdLst>
                <a:gd name="T0" fmla="*/ 2147483647 w 907"/>
                <a:gd name="T1" fmla="*/ 2147483647 h 1097"/>
                <a:gd name="T2" fmla="*/ 2147483647 w 907"/>
                <a:gd name="T3" fmla="*/ 2147483647 h 1097"/>
                <a:gd name="T4" fmla="*/ 2147483647 w 907"/>
                <a:gd name="T5" fmla="*/ 2147483647 h 1097"/>
                <a:gd name="T6" fmla="*/ 0 w 907"/>
                <a:gd name="T7" fmla="*/ 2147483647 h 1097"/>
                <a:gd name="T8" fmla="*/ 0 w 907"/>
                <a:gd name="T9" fmla="*/ 2147483647 h 1097"/>
                <a:gd name="T10" fmla="*/ 0 w 907"/>
                <a:gd name="T11" fmla="*/ 2147483647 h 1097"/>
                <a:gd name="T12" fmla="*/ 0 w 907"/>
                <a:gd name="T13" fmla="*/ 2147483647 h 1097"/>
                <a:gd name="T14" fmla="*/ 0 w 907"/>
                <a:gd name="T15" fmla="*/ 2147483647 h 1097"/>
                <a:gd name="T16" fmla="*/ 2147483647 w 907"/>
                <a:gd name="T17" fmla="*/ 2147483647 h 1097"/>
                <a:gd name="T18" fmla="*/ 2147483647 w 907"/>
                <a:gd name="T19" fmla="*/ 2147483647 h 1097"/>
                <a:gd name="T20" fmla="*/ 2147483647 w 907"/>
                <a:gd name="T21" fmla="*/ 2147483647 h 1097"/>
                <a:gd name="T22" fmla="*/ 2147483647 w 907"/>
                <a:gd name="T23" fmla="*/ 2147483647 h 1097"/>
                <a:gd name="T24" fmla="*/ 2147483647 w 907"/>
                <a:gd name="T25" fmla="*/ 2147483647 h 1097"/>
                <a:gd name="T26" fmla="*/ 2147483647 w 907"/>
                <a:gd name="T27" fmla="*/ 2147483647 h 1097"/>
                <a:gd name="T28" fmla="*/ 2147483647 w 907"/>
                <a:gd name="T29" fmla="*/ 2147483647 h 1097"/>
                <a:gd name="T30" fmla="*/ 2147483647 w 907"/>
                <a:gd name="T31" fmla="*/ 2147483647 h 1097"/>
                <a:gd name="T32" fmla="*/ 2147483647 w 907"/>
                <a:gd name="T33" fmla="*/ 2147483647 h 1097"/>
                <a:gd name="T34" fmla="*/ 2147483647 w 907"/>
                <a:gd name="T35" fmla="*/ 2147483647 h 1097"/>
                <a:gd name="T36" fmla="*/ 2147483647 w 907"/>
                <a:gd name="T37" fmla="*/ 2147483647 h 1097"/>
                <a:gd name="T38" fmla="*/ 2147483647 w 907"/>
                <a:gd name="T39" fmla="*/ 2147483647 h 1097"/>
                <a:gd name="T40" fmla="*/ 2147483647 w 907"/>
                <a:gd name="T41" fmla="*/ 2147483647 h 1097"/>
                <a:gd name="T42" fmla="*/ 2147483647 w 907"/>
                <a:gd name="T43" fmla="*/ 2147483647 h 1097"/>
                <a:gd name="T44" fmla="*/ 2147483647 w 907"/>
                <a:gd name="T45" fmla="*/ 2147483647 h 1097"/>
                <a:gd name="T46" fmla="*/ 2147483647 w 907"/>
                <a:gd name="T47" fmla="*/ 2147483647 h 1097"/>
                <a:gd name="T48" fmla="*/ 2147483647 w 907"/>
                <a:gd name="T49" fmla="*/ 2147483647 h 1097"/>
                <a:gd name="T50" fmla="*/ 2147483647 w 907"/>
                <a:gd name="T51" fmla="*/ 2147483647 h 1097"/>
                <a:gd name="T52" fmla="*/ 2147483647 w 907"/>
                <a:gd name="T53" fmla="*/ 2147483647 h 1097"/>
                <a:gd name="T54" fmla="*/ 2147483647 w 907"/>
                <a:gd name="T55" fmla="*/ 2147483647 h 1097"/>
                <a:gd name="T56" fmla="*/ 2147483647 w 907"/>
                <a:gd name="T57" fmla="*/ 2147483647 h 1097"/>
                <a:gd name="T58" fmla="*/ 2147483647 w 907"/>
                <a:gd name="T59" fmla="*/ 2147483647 h 1097"/>
                <a:gd name="T60" fmla="*/ 2147483647 w 907"/>
                <a:gd name="T61" fmla="*/ 2147483647 h 1097"/>
                <a:gd name="T62" fmla="*/ 2147483647 w 907"/>
                <a:gd name="T63" fmla="*/ 2147483647 h 1097"/>
                <a:gd name="T64" fmla="*/ 2147483647 w 907"/>
                <a:gd name="T65" fmla="*/ 2147483647 h 1097"/>
                <a:gd name="T66" fmla="*/ 2147483647 w 907"/>
                <a:gd name="T67" fmla="*/ 2147483647 h 1097"/>
                <a:gd name="T68" fmla="*/ 2147483647 w 907"/>
                <a:gd name="T69" fmla="*/ 2147483647 h 1097"/>
                <a:gd name="T70" fmla="*/ 2147483647 w 907"/>
                <a:gd name="T71" fmla="*/ 2147483647 h 1097"/>
                <a:gd name="T72" fmla="*/ 2147483647 w 907"/>
                <a:gd name="T73" fmla="*/ 2147483647 h 1097"/>
                <a:gd name="T74" fmla="*/ 2147483647 w 907"/>
                <a:gd name="T75" fmla="*/ 2147483647 h 1097"/>
                <a:gd name="T76" fmla="*/ 2147483647 w 907"/>
                <a:gd name="T77" fmla="*/ 2147483647 h 1097"/>
                <a:gd name="T78" fmla="*/ 2147483647 w 907"/>
                <a:gd name="T79" fmla="*/ 2147483647 h 1097"/>
                <a:gd name="T80" fmla="*/ 2147483647 w 907"/>
                <a:gd name="T81" fmla="*/ 2147483647 h 1097"/>
                <a:gd name="T82" fmla="*/ 2147483647 w 907"/>
                <a:gd name="T83" fmla="*/ 2147483647 h 1097"/>
                <a:gd name="T84" fmla="*/ 2147483647 w 907"/>
                <a:gd name="T85" fmla="*/ 2147483647 h 1097"/>
                <a:gd name="T86" fmla="*/ 2147483647 w 907"/>
                <a:gd name="T87" fmla="*/ 2147483647 h 1097"/>
                <a:gd name="T88" fmla="*/ 2147483647 w 907"/>
                <a:gd name="T89" fmla="*/ 2147483647 h 1097"/>
                <a:gd name="T90" fmla="*/ 2147483647 w 907"/>
                <a:gd name="T91" fmla="*/ 2147483647 h 1097"/>
                <a:gd name="T92" fmla="*/ 2147483647 w 907"/>
                <a:gd name="T93" fmla="*/ 2147483647 h 1097"/>
                <a:gd name="T94" fmla="*/ 2147483647 w 907"/>
                <a:gd name="T95" fmla="*/ 0 h 1097"/>
                <a:gd name="T96" fmla="*/ 2147483647 w 907"/>
                <a:gd name="T97" fmla="*/ 0 h 1097"/>
                <a:gd name="T98" fmla="*/ 2147483647 w 907"/>
                <a:gd name="T99" fmla="*/ 0 h 1097"/>
                <a:gd name="T100" fmla="*/ 2147483647 w 907"/>
                <a:gd name="T101" fmla="*/ 0 h 1097"/>
                <a:gd name="T102" fmla="*/ 2147483647 w 907"/>
                <a:gd name="T103" fmla="*/ 0 h 1097"/>
                <a:gd name="T104" fmla="*/ 2147483647 w 907"/>
                <a:gd name="T105" fmla="*/ 0 h 1097"/>
                <a:gd name="T106" fmla="*/ 2147483647 w 907"/>
                <a:gd name="T107" fmla="*/ 0 h 1097"/>
                <a:gd name="T108" fmla="*/ 2147483647 w 907"/>
                <a:gd name="T109" fmla="*/ 2147483647 h 1097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7"/>
                <a:gd name="T166" fmla="*/ 0 h 1097"/>
                <a:gd name="T167" fmla="*/ 907 w 907"/>
                <a:gd name="T168" fmla="*/ 1097 h 1097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7" h="1097">
                  <a:moveTo>
                    <a:pt x="118" y="210"/>
                  </a:moveTo>
                  <a:lnTo>
                    <a:pt x="118" y="266"/>
                  </a:lnTo>
                  <a:lnTo>
                    <a:pt x="118" y="320"/>
                  </a:lnTo>
                  <a:lnTo>
                    <a:pt x="118" y="375"/>
                  </a:lnTo>
                  <a:lnTo>
                    <a:pt x="116" y="424"/>
                  </a:lnTo>
                  <a:lnTo>
                    <a:pt x="110" y="425"/>
                  </a:lnTo>
                  <a:lnTo>
                    <a:pt x="81" y="425"/>
                  </a:lnTo>
                  <a:lnTo>
                    <a:pt x="72" y="426"/>
                  </a:lnTo>
                  <a:lnTo>
                    <a:pt x="60" y="428"/>
                  </a:lnTo>
                  <a:lnTo>
                    <a:pt x="59" y="429"/>
                  </a:lnTo>
                  <a:lnTo>
                    <a:pt x="56" y="438"/>
                  </a:lnTo>
                  <a:lnTo>
                    <a:pt x="55" y="449"/>
                  </a:lnTo>
                  <a:lnTo>
                    <a:pt x="51" y="460"/>
                  </a:lnTo>
                  <a:lnTo>
                    <a:pt x="39" y="477"/>
                  </a:lnTo>
                  <a:lnTo>
                    <a:pt x="23" y="495"/>
                  </a:lnTo>
                  <a:lnTo>
                    <a:pt x="23" y="508"/>
                  </a:lnTo>
                  <a:lnTo>
                    <a:pt x="24" y="516"/>
                  </a:lnTo>
                  <a:lnTo>
                    <a:pt x="23" y="521"/>
                  </a:lnTo>
                  <a:lnTo>
                    <a:pt x="22" y="522"/>
                  </a:lnTo>
                  <a:lnTo>
                    <a:pt x="14" y="527"/>
                  </a:lnTo>
                  <a:lnTo>
                    <a:pt x="11" y="531"/>
                  </a:lnTo>
                  <a:lnTo>
                    <a:pt x="9" y="541"/>
                  </a:lnTo>
                  <a:lnTo>
                    <a:pt x="9" y="555"/>
                  </a:lnTo>
                  <a:lnTo>
                    <a:pt x="7" y="564"/>
                  </a:lnTo>
                  <a:lnTo>
                    <a:pt x="1" y="575"/>
                  </a:lnTo>
                  <a:lnTo>
                    <a:pt x="0" y="580"/>
                  </a:lnTo>
                  <a:lnTo>
                    <a:pt x="0" y="596"/>
                  </a:lnTo>
                  <a:lnTo>
                    <a:pt x="3" y="596"/>
                  </a:lnTo>
                  <a:lnTo>
                    <a:pt x="8" y="595"/>
                  </a:lnTo>
                  <a:lnTo>
                    <a:pt x="24" y="591"/>
                  </a:lnTo>
                  <a:lnTo>
                    <a:pt x="23" y="607"/>
                  </a:lnTo>
                  <a:lnTo>
                    <a:pt x="28" y="623"/>
                  </a:lnTo>
                  <a:lnTo>
                    <a:pt x="40" y="657"/>
                  </a:lnTo>
                  <a:lnTo>
                    <a:pt x="41" y="659"/>
                  </a:lnTo>
                  <a:lnTo>
                    <a:pt x="48" y="662"/>
                  </a:lnTo>
                  <a:lnTo>
                    <a:pt x="51" y="667"/>
                  </a:lnTo>
                  <a:lnTo>
                    <a:pt x="54" y="676"/>
                  </a:lnTo>
                  <a:lnTo>
                    <a:pt x="54" y="684"/>
                  </a:lnTo>
                  <a:lnTo>
                    <a:pt x="45" y="688"/>
                  </a:lnTo>
                  <a:lnTo>
                    <a:pt x="55" y="703"/>
                  </a:lnTo>
                  <a:lnTo>
                    <a:pt x="72" y="722"/>
                  </a:lnTo>
                  <a:lnTo>
                    <a:pt x="88" y="743"/>
                  </a:lnTo>
                  <a:lnTo>
                    <a:pt x="93" y="759"/>
                  </a:lnTo>
                  <a:lnTo>
                    <a:pt x="88" y="777"/>
                  </a:lnTo>
                  <a:lnTo>
                    <a:pt x="86" y="793"/>
                  </a:lnTo>
                  <a:lnTo>
                    <a:pt x="88" y="806"/>
                  </a:lnTo>
                  <a:lnTo>
                    <a:pt x="98" y="816"/>
                  </a:lnTo>
                  <a:lnTo>
                    <a:pt x="109" y="817"/>
                  </a:lnTo>
                  <a:lnTo>
                    <a:pt x="122" y="821"/>
                  </a:lnTo>
                  <a:lnTo>
                    <a:pt x="127" y="836"/>
                  </a:lnTo>
                  <a:lnTo>
                    <a:pt x="138" y="840"/>
                  </a:lnTo>
                  <a:lnTo>
                    <a:pt x="161" y="840"/>
                  </a:lnTo>
                  <a:lnTo>
                    <a:pt x="169" y="847"/>
                  </a:lnTo>
                  <a:lnTo>
                    <a:pt x="179" y="854"/>
                  </a:lnTo>
                  <a:lnTo>
                    <a:pt x="180" y="859"/>
                  </a:lnTo>
                  <a:lnTo>
                    <a:pt x="179" y="869"/>
                  </a:lnTo>
                  <a:lnTo>
                    <a:pt x="185" y="880"/>
                  </a:lnTo>
                  <a:lnTo>
                    <a:pt x="204" y="892"/>
                  </a:lnTo>
                  <a:lnTo>
                    <a:pt x="222" y="904"/>
                  </a:lnTo>
                  <a:lnTo>
                    <a:pt x="229" y="914"/>
                  </a:lnTo>
                  <a:lnTo>
                    <a:pt x="240" y="920"/>
                  </a:lnTo>
                  <a:lnTo>
                    <a:pt x="245" y="930"/>
                  </a:lnTo>
                  <a:lnTo>
                    <a:pt x="249" y="941"/>
                  </a:lnTo>
                  <a:lnTo>
                    <a:pt x="256" y="950"/>
                  </a:lnTo>
                  <a:lnTo>
                    <a:pt x="258" y="961"/>
                  </a:lnTo>
                  <a:lnTo>
                    <a:pt x="267" y="964"/>
                  </a:lnTo>
                  <a:lnTo>
                    <a:pt x="297" y="984"/>
                  </a:lnTo>
                  <a:lnTo>
                    <a:pt x="303" y="993"/>
                  </a:lnTo>
                  <a:lnTo>
                    <a:pt x="304" y="1004"/>
                  </a:lnTo>
                  <a:lnTo>
                    <a:pt x="310" y="1011"/>
                  </a:lnTo>
                  <a:lnTo>
                    <a:pt x="317" y="1022"/>
                  </a:lnTo>
                  <a:lnTo>
                    <a:pt x="329" y="1031"/>
                  </a:lnTo>
                  <a:lnTo>
                    <a:pt x="335" y="1039"/>
                  </a:lnTo>
                  <a:lnTo>
                    <a:pt x="340" y="1049"/>
                  </a:lnTo>
                  <a:lnTo>
                    <a:pt x="363" y="1058"/>
                  </a:lnTo>
                  <a:lnTo>
                    <a:pt x="369" y="1055"/>
                  </a:lnTo>
                  <a:lnTo>
                    <a:pt x="376" y="1047"/>
                  </a:lnTo>
                  <a:lnTo>
                    <a:pt x="403" y="1053"/>
                  </a:lnTo>
                  <a:lnTo>
                    <a:pt x="414" y="1052"/>
                  </a:lnTo>
                  <a:lnTo>
                    <a:pt x="426" y="1042"/>
                  </a:lnTo>
                  <a:lnTo>
                    <a:pt x="437" y="1048"/>
                  </a:lnTo>
                  <a:lnTo>
                    <a:pt x="461" y="1074"/>
                  </a:lnTo>
                  <a:lnTo>
                    <a:pt x="475" y="1082"/>
                  </a:lnTo>
                  <a:lnTo>
                    <a:pt x="484" y="1091"/>
                  </a:lnTo>
                  <a:lnTo>
                    <a:pt x="490" y="1096"/>
                  </a:lnTo>
                  <a:lnTo>
                    <a:pt x="496" y="1096"/>
                  </a:lnTo>
                  <a:lnTo>
                    <a:pt x="503" y="1091"/>
                  </a:lnTo>
                  <a:lnTo>
                    <a:pt x="517" y="1090"/>
                  </a:lnTo>
                  <a:lnTo>
                    <a:pt x="528" y="1093"/>
                  </a:lnTo>
                  <a:lnTo>
                    <a:pt x="538" y="1091"/>
                  </a:lnTo>
                  <a:lnTo>
                    <a:pt x="550" y="1090"/>
                  </a:lnTo>
                  <a:lnTo>
                    <a:pt x="556" y="1097"/>
                  </a:lnTo>
                  <a:lnTo>
                    <a:pt x="573" y="1093"/>
                  </a:lnTo>
                  <a:lnTo>
                    <a:pt x="587" y="1092"/>
                  </a:lnTo>
                  <a:lnTo>
                    <a:pt x="600" y="1087"/>
                  </a:lnTo>
                  <a:lnTo>
                    <a:pt x="616" y="1089"/>
                  </a:lnTo>
                  <a:lnTo>
                    <a:pt x="635" y="1089"/>
                  </a:lnTo>
                  <a:lnTo>
                    <a:pt x="662" y="1071"/>
                  </a:lnTo>
                  <a:lnTo>
                    <a:pt x="662" y="1068"/>
                  </a:lnTo>
                  <a:lnTo>
                    <a:pt x="662" y="1071"/>
                  </a:lnTo>
                  <a:lnTo>
                    <a:pt x="678" y="1052"/>
                  </a:lnTo>
                  <a:lnTo>
                    <a:pt x="690" y="1044"/>
                  </a:lnTo>
                  <a:lnTo>
                    <a:pt x="701" y="1043"/>
                  </a:lnTo>
                  <a:lnTo>
                    <a:pt x="731" y="1046"/>
                  </a:lnTo>
                  <a:lnTo>
                    <a:pt x="744" y="1046"/>
                  </a:lnTo>
                  <a:lnTo>
                    <a:pt x="765" y="1043"/>
                  </a:lnTo>
                  <a:lnTo>
                    <a:pt x="766" y="1021"/>
                  </a:lnTo>
                  <a:lnTo>
                    <a:pt x="767" y="1011"/>
                  </a:lnTo>
                  <a:lnTo>
                    <a:pt x="766" y="1004"/>
                  </a:lnTo>
                  <a:lnTo>
                    <a:pt x="759" y="999"/>
                  </a:lnTo>
                  <a:lnTo>
                    <a:pt x="735" y="994"/>
                  </a:lnTo>
                  <a:lnTo>
                    <a:pt x="727" y="988"/>
                  </a:lnTo>
                  <a:lnTo>
                    <a:pt x="722" y="979"/>
                  </a:lnTo>
                  <a:lnTo>
                    <a:pt x="712" y="952"/>
                  </a:lnTo>
                  <a:lnTo>
                    <a:pt x="707" y="940"/>
                  </a:lnTo>
                  <a:lnTo>
                    <a:pt x="702" y="930"/>
                  </a:lnTo>
                  <a:lnTo>
                    <a:pt x="680" y="917"/>
                  </a:lnTo>
                  <a:lnTo>
                    <a:pt x="673" y="909"/>
                  </a:lnTo>
                  <a:lnTo>
                    <a:pt x="667" y="901"/>
                  </a:lnTo>
                  <a:lnTo>
                    <a:pt x="665" y="891"/>
                  </a:lnTo>
                  <a:lnTo>
                    <a:pt x="657" y="881"/>
                  </a:lnTo>
                  <a:lnTo>
                    <a:pt x="648" y="876"/>
                  </a:lnTo>
                  <a:lnTo>
                    <a:pt x="637" y="872"/>
                  </a:lnTo>
                  <a:lnTo>
                    <a:pt x="629" y="874"/>
                  </a:lnTo>
                  <a:lnTo>
                    <a:pt x="621" y="867"/>
                  </a:lnTo>
                  <a:lnTo>
                    <a:pt x="615" y="867"/>
                  </a:lnTo>
                  <a:lnTo>
                    <a:pt x="609" y="863"/>
                  </a:lnTo>
                  <a:lnTo>
                    <a:pt x="614" y="855"/>
                  </a:lnTo>
                  <a:lnTo>
                    <a:pt x="620" y="850"/>
                  </a:lnTo>
                  <a:lnTo>
                    <a:pt x="620" y="836"/>
                  </a:lnTo>
                  <a:lnTo>
                    <a:pt x="630" y="832"/>
                  </a:lnTo>
                  <a:lnTo>
                    <a:pt x="652" y="834"/>
                  </a:lnTo>
                  <a:lnTo>
                    <a:pt x="663" y="829"/>
                  </a:lnTo>
                  <a:lnTo>
                    <a:pt x="670" y="823"/>
                  </a:lnTo>
                  <a:lnTo>
                    <a:pt x="672" y="808"/>
                  </a:lnTo>
                  <a:lnTo>
                    <a:pt x="672" y="763"/>
                  </a:lnTo>
                  <a:lnTo>
                    <a:pt x="676" y="747"/>
                  </a:lnTo>
                  <a:lnTo>
                    <a:pt x="678" y="736"/>
                  </a:lnTo>
                  <a:lnTo>
                    <a:pt x="676" y="730"/>
                  </a:lnTo>
                  <a:lnTo>
                    <a:pt x="676" y="719"/>
                  </a:lnTo>
                  <a:lnTo>
                    <a:pt x="680" y="721"/>
                  </a:lnTo>
                  <a:lnTo>
                    <a:pt x="683" y="714"/>
                  </a:lnTo>
                  <a:lnTo>
                    <a:pt x="690" y="702"/>
                  </a:lnTo>
                  <a:lnTo>
                    <a:pt x="697" y="697"/>
                  </a:lnTo>
                  <a:lnTo>
                    <a:pt x="708" y="697"/>
                  </a:lnTo>
                  <a:lnTo>
                    <a:pt x="713" y="692"/>
                  </a:lnTo>
                  <a:lnTo>
                    <a:pt x="718" y="665"/>
                  </a:lnTo>
                  <a:lnTo>
                    <a:pt x="723" y="651"/>
                  </a:lnTo>
                  <a:lnTo>
                    <a:pt x="758" y="602"/>
                  </a:lnTo>
                  <a:lnTo>
                    <a:pt x="767" y="592"/>
                  </a:lnTo>
                  <a:lnTo>
                    <a:pt x="776" y="590"/>
                  </a:lnTo>
                  <a:lnTo>
                    <a:pt x="783" y="582"/>
                  </a:lnTo>
                  <a:lnTo>
                    <a:pt x="801" y="525"/>
                  </a:lnTo>
                  <a:lnTo>
                    <a:pt x="801" y="509"/>
                  </a:lnTo>
                  <a:lnTo>
                    <a:pt x="798" y="493"/>
                  </a:lnTo>
                  <a:lnTo>
                    <a:pt x="798" y="473"/>
                  </a:lnTo>
                  <a:lnTo>
                    <a:pt x="802" y="456"/>
                  </a:lnTo>
                  <a:lnTo>
                    <a:pt x="809" y="442"/>
                  </a:lnTo>
                  <a:lnTo>
                    <a:pt x="818" y="408"/>
                  </a:lnTo>
                  <a:lnTo>
                    <a:pt x="821" y="387"/>
                  </a:lnTo>
                  <a:lnTo>
                    <a:pt x="821" y="379"/>
                  </a:lnTo>
                  <a:lnTo>
                    <a:pt x="825" y="358"/>
                  </a:lnTo>
                  <a:lnTo>
                    <a:pt x="829" y="349"/>
                  </a:lnTo>
                  <a:lnTo>
                    <a:pt x="842" y="348"/>
                  </a:lnTo>
                  <a:lnTo>
                    <a:pt x="851" y="343"/>
                  </a:lnTo>
                  <a:lnTo>
                    <a:pt x="856" y="336"/>
                  </a:lnTo>
                  <a:lnTo>
                    <a:pt x="877" y="326"/>
                  </a:lnTo>
                  <a:lnTo>
                    <a:pt x="885" y="323"/>
                  </a:lnTo>
                  <a:lnTo>
                    <a:pt x="898" y="317"/>
                  </a:lnTo>
                  <a:lnTo>
                    <a:pt x="905" y="302"/>
                  </a:lnTo>
                  <a:lnTo>
                    <a:pt x="907" y="293"/>
                  </a:lnTo>
                  <a:lnTo>
                    <a:pt x="904" y="284"/>
                  </a:lnTo>
                  <a:lnTo>
                    <a:pt x="899" y="284"/>
                  </a:lnTo>
                  <a:lnTo>
                    <a:pt x="896" y="280"/>
                  </a:lnTo>
                  <a:lnTo>
                    <a:pt x="891" y="282"/>
                  </a:lnTo>
                  <a:lnTo>
                    <a:pt x="887" y="270"/>
                  </a:lnTo>
                  <a:lnTo>
                    <a:pt x="880" y="264"/>
                  </a:lnTo>
                  <a:lnTo>
                    <a:pt x="873" y="263"/>
                  </a:lnTo>
                  <a:lnTo>
                    <a:pt x="858" y="257"/>
                  </a:lnTo>
                  <a:lnTo>
                    <a:pt x="852" y="252"/>
                  </a:lnTo>
                  <a:lnTo>
                    <a:pt x="847" y="245"/>
                  </a:lnTo>
                  <a:lnTo>
                    <a:pt x="840" y="214"/>
                  </a:lnTo>
                  <a:lnTo>
                    <a:pt x="837" y="191"/>
                  </a:lnTo>
                  <a:lnTo>
                    <a:pt x="837" y="157"/>
                  </a:lnTo>
                  <a:lnTo>
                    <a:pt x="836" y="117"/>
                  </a:lnTo>
                  <a:lnTo>
                    <a:pt x="839" y="118"/>
                  </a:lnTo>
                  <a:lnTo>
                    <a:pt x="836" y="111"/>
                  </a:lnTo>
                  <a:lnTo>
                    <a:pt x="821" y="94"/>
                  </a:lnTo>
                  <a:lnTo>
                    <a:pt x="820" y="81"/>
                  </a:lnTo>
                  <a:lnTo>
                    <a:pt x="819" y="65"/>
                  </a:lnTo>
                  <a:lnTo>
                    <a:pt x="808" y="49"/>
                  </a:lnTo>
                  <a:lnTo>
                    <a:pt x="798" y="44"/>
                  </a:lnTo>
                  <a:lnTo>
                    <a:pt x="787" y="31"/>
                  </a:lnTo>
                  <a:lnTo>
                    <a:pt x="776" y="25"/>
                  </a:lnTo>
                  <a:lnTo>
                    <a:pt x="761" y="19"/>
                  </a:lnTo>
                  <a:lnTo>
                    <a:pt x="749" y="0"/>
                  </a:lnTo>
                  <a:lnTo>
                    <a:pt x="727" y="20"/>
                  </a:lnTo>
                  <a:lnTo>
                    <a:pt x="713" y="15"/>
                  </a:lnTo>
                  <a:lnTo>
                    <a:pt x="701" y="46"/>
                  </a:lnTo>
                  <a:lnTo>
                    <a:pt x="672" y="53"/>
                  </a:lnTo>
                  <a:lnTo>
                    <a:pt x="664" y="78"/>
                  </a:lnTo>
                  <a:lnTo>
                    <a:pt x="637" y="80"/>
                  </a:lnTo>
                  <a:lnTo>
                    <a:pt x="619" y="67"/>
                  </a:lnTo>
                  <a:lnTo>
                    <a:pt x="522" y="65"/>
                  </a:lnTo>
                  <a:lnTo>
                    <a:pt x="527" y="54"/>
                  </a:lnTo>
                  <a:lnTo>
                    <a:pt x="524" y="54"/>
                  </a:lnTo>
                  <a:lnTo>
                    <a:pt x="522" y="53"/>
                  </a:lnTo>
                  <a:lnTo>
                    <a:pt x="519" y="53"/>
                  </a:lnTo>
                  <a:lnTo>
                    <a:pt x="512" y="65"/>
                  </a:lnTo>
                  <a:lnTo>
                    <a:pt x="484" y="65"/>
                  </a:lnTo>
                  <a:lnTo>
                    <a:pt x="431" y="65"/>
                  </a:lnTo>
                  <a:lnTo>
                    <a:pt x="379" y="65"/>
                  </a:lnTo>
                  <a:lnTo>
                    <a:pt x="326" y="65"/>
                  </a:lnTo>
                  <a:lnTo>
                    <a:pt x="275" y="65"/>
                  </a:lnTo>
                  <a:lnTo>
                    <a:pt x="223" y="65"/>
                  </a:lnTo>
                  <a:lnTo>
                    <a:pt x="170" y="65"/>
                  </a:lnTo>
                  <a:lnTo>
                    <a:pt x="170" y="118"/>
                  </a:lnTo>
                  <a:lnTo>
                    <a:pt x="170" y="177"/>
                  </a:lnTo>
                  <a:lnTo>
                    <a:pt x="118" y="177"/>
                  </a:lnTo>
                  <a:lnTo>
                    <a:pt x="118" y="21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4" name="Freeform 17">
              <a:extLst>
                <a:ext uri="{FF2B5EF4-FFF2-40B4-BE49-F238E27FC236}">
                  <a16:creationId xmlns:a16="http://schemas.microsoft.com/office/drawing/2014/main" id="{1AD7A36B-7360-DCFA-9D2E-7C1C92CDDD3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774665" y="3588032"/>
              <a:ext cx="464119" cy="387152"/>
            </a:xfrm>
            <a:custGeom>
              <a:avLst/>
              <a:gdLst>
                <a:gd name="T0" fmla="*/ 2147483647 w 872"/>
                <a:gd name="T1" fmla="*/ 2147483647 h 678"/>
                <a:gd name="T2" fmla="*/ 2147483647 w 872"/>
                <a:gd name="T3" fmla="*/ 2147483647 h 678"/>
                <a:gd name="T4" fmla="*/ 2147483647 w 872"/>
                <a:gd name="T5" fmla="*/ 2147483647 h 678"/>
                <a:gd name="T6" fmla="*/ 2147483647 w 872"/>
                <a:gd name="T7" fmla="*/ 2147483647 h 678"/>
                <a:gd name="T8" fmla="*/ 2147483647 w 872"/>
                <a:gd name="T9" fmla="*/ 2147483647 h 678"/>
                <a:gd name="T10" fmla="*/ 0 w 872"/>
                <a:gd name="T11" fmla="*/ 2147483647 h 678"/>
                <a:gd name="T12" fmla="*/ 0 w 872"/>
                <a:gd name="T13" fmla="*/ 2147483647 h 678"/>
                <a:gd name="T14" fmla="*/ 0 w 872"/>
                <a:gd name="T15" fmla="*/ 2147483647 h 678"/>
                <a:gd name="T16" fmla="*/ 0 w 872"/>
                <a:gd name="T17" fmla="*/ 2147483647 h 678"/>
                <a:gd name="T18" fmla="*/ 2147483647 w 872"/>
                <a:gd name="T19" fmla="*/ 2147483647 h 678"/>
                <a:gd name="T20" fmla="*/ 2147483647 w 872"/>
                <a:gd name="T21" fmla="*/ 2147483647 h 678"/>
                <a:gd name="T22" fmla="*/ 2147483647 w 872"/>
                <a:gd name="T23" fmla="*/ 2147483647 h 678"/>
                <a:gd name="T24" fmla="*/ 2147483647 w 872"/>
                <a:gd name="T25" fmla="*/ 2147483647 h 678"/>
                <a:gd name="T26" fmla="*/ 2147483647 w 872"/>
                <a:gd name="T27" fmla="*/ 2147483647 h 678"/>
                <a:gd name="T28" fmla="*/ 2147483647 w 872"/>
                <a:gd name="T29" fmla="*/ 2147483647 h 678"/>
                <a:gd name="T30" fmla="*/ 2147483647 w 872"/>
                <a:gd name="T31" fmla="*/ 2147483647 h 678"/>
                <a:gd name="T32" fmla="*/ 2147483647 w 872"/>
                <a:gd name="T33" fmla="*/ 2147483647 h 678"/>
                <a:gd name="T34" fmla="*/ 2147483647 w 872"/>
                <a:gd name="T35" fmla="*/ 2147483647 h 678"/>
                <a:gd name="T36" fmla="*/ 2147483647 w 872"/>
                <a:gd name="T37" fmla="*/ 2147483647 h 678"/>
                <a:gd name="T38" fmla="*/ 2147483647 w 872"/>
                <a:gd name="T39" fmla="*/ 2147483647 h 678"/>
                <a:gd name="T40" fmla="*/ 2147483647 w 872"/>
                <a:gd name="T41" fmla="*/ 2147483647 h 678"/>
                <a:gd name="T42" fmla="*/ 2147483647 w 872"/>
                <a:gd name="T43" fmla="*/ 2147483647 h 678"/>
                <a:gd name="T44" fmla="*/ 2147483647 w 872"/>
                <a:gd name="T45" fmla="*/ 2147483647 h 678"/>
                <a:gd name="T46" fmla="*/ 2147483647 w 872"/>
                <a:gd name="T47" fmla="*/ 2147483647 h 678"/>
                <a:gd name="T48" fmla="*/ 2147483647 w 872"/>
                <a:gd name="T49" fmla="*/ 2147483647 h 678"/>
                <a:gd name="T50" fmla="*/ 2147483647 w 872"/>
                <a:gd name="T51" fmla="*/ 2147483647 h 678"/>
                <a:gd name="T52" fmla="*/ 2147483647 w 872"/>
                <a:gd name="T53" fmla="*/ 2147483647 h 678"/>
                <a:gd name="T54" fmla="*/ 2147483647 w 872"/>
                <a:gd name="T55" fmla="*/ 2147483647 h 678"/>
                <a:gd name="T56" fmla="*/ 2147483647 w 872"/>
                <a:gd name="T57" fmla="*/ 2147483647 h 678"/>
                <a:gd name="T58" fmla="*/ 2147483647 w 872"/>
                <a:gd name="T59" fmla="*/ 2147483647 h 678"/>
                <a:gd name="T60" fmla="*/ 2147483647 w 872"/>
                <a:gd name="T61" fmla="*/ 2147483647 h 678"/>
                <a:gd name="T62" fmla="*/ 2147483647 w 872"/>
                <a:gd name="T63" fmla="*/ 2147483647 h 678"/>
                <a:gd name="T64" fmla="*/ 2147483647 w 872"/>
                <a:gd name="T65" fmla="*/ 2147483647 h 678"/>
                <a:gd name="T66" fmla="*/ 2147483647 w 872"/>
                <a:gd name="T67" fmla="*/ 2147483647 h 678"/>
                <a:gd name="T68" fmla="*/ 2147483647 w 872"/>
                <a:gd name="T69" fmla="*/ 2147483647 h 678"/>
                <a:gd name="T70" fmla="*/ 2147483647 w 872"/>
                <a:gd name="T71" fmla="*/ 2147483647 h 678"/>
                <a:gd name="T72" fmla="*/ 2147483647 w 872"/>
                <a:gd name="T73" fmla="*/ 2147483647 h 678"/>
                <a:gd name="T74" fmla="*/ 2147483647 w 872"/>
                <a:gd name="T75" fmla="*/ 2147483647 h 678"/>
                <a:gd name="T76" fmla="*/ 2147483647 w 872"/>
                <a:gd name="T77" fmla="*/ 2147483647 h 678"/>
                <a:gd name="T78" fmla="*/ 2147483647 w 872"/>
                <a:gd name="T79" fmla="*/ 2147483647 h 678"/>
                <a:gd name="T80" fmla="*/ 2147483647 w 872"/>
                <a:gd name="T81" fmla="*/ 2147483647 h 678"/>
                <a:gd name="T82" fmla="*/ 2147483647 w 872"/>
                <a:gd name="T83" fmla="*/ 2147483647 h 678"/>
                <a:gd name="T84" fmla="*/ 2147483647 w 872"/>
                <a:gd name="T85" fmla="*/ 2147483647 h 678"/>
                <a:gd name="T86" fmla="*/ 2147483647 w 872"/>
                <a:gd name="T87" fmla="*/ 2147483647 h 678"/>
                <a:gd name="T88" fmla="*/ 2147483647 w 872"/>
                <a:gd name="T89" fmla="*/ 2147483647 h 678"/>
                <a:gd name="T90" fmla="*/ 2147483647 w 872"/>
                <a:gd name="T91" fmla="*/ 2147483647 h 678"/>
                <a:gd name="T92" fmla="*/ 2147483647 w 872"/>
                <a:gd name="T93" fmla="*/ 0 h 678"/>
                <a:gd name="T94" fmla="*/ 2147483647 w 872"/>
                <a:gd name="T95" fmla="*/ 0 h 678"/>
                <a:gd name="T96" fmla="*/ 2147483647 w 872"/>
                <a:gd name="T97" fmla="*/ 0 h 678"/>
                <a:gd name="T98" fmla="*/ 2147483647 w 872"/>
                <a:gd name="T99" fmla="*/ 0 h 678"/>
                <a:gd name="T100" fmla="*/ 2147483647 w 872"/>
                <a:gd name="T101" fmla="*/ 0 h 678"/>
                <a:gd name="T102" fmla="*/ 2147483647 w 872"/>
                <a:gd name="T103" fmla="*/ 2147483647 h 678"/>
                <a:gd name="T104" fmla="*/ 2147483647 w 872"/>
                <a:gd name="T105" fmla="*/ 2147483647 h 678"/>
                <a:gd name="T106" fmla="*/ 2147483647 w 872"/>
                <a:gd name="T107" fmla="*/ 2147483647 h 678"/>
                <a:gd name="T108" fmla="*/ 2147483647 w 872"/>
                <a:gd name="T109" fmla="*/ 2147483647 h 67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2"/>
                <a:gd name="T166" fmla="*/ 0 h 678"/>
                <a:gd name="T167" fmla="*/ 872 w 872"/>
                <a:gd name="T168" fmla="*/ 678 h 67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2" h="678">
                  <a:moveTo>
                    <a:pt x="222" y="271"/>
                  </a:moveTo>
                  <a:lnTo>
                    <a:pt x="222" y="327"/>
                  </a:lnTo>
                  <a:lnTo>
                    <a:pt x="222" y="381"/>
                  </a:lnTo>
                  <a:lnTo>
                    <a:pt x="222" y="435"/>
                  </a:lnTo>
                  <a:lnTo>
                    <a:pt x="219" y="436"/>
                  </a:lnTo>
                  <a:lnTo>
                    <a:pt x="209" y="442"/>
                  </a:lnTo>
                  <a:lnTo>
                    <a:pt x="205" y="448"/>
                  </a:lnTo>
                  <a:lnTo>
                    <a:pt x="204" y="456"/>
                  </a:lnTo>
                  <a:lnTo>
                    <a:pt x="192" y="463"/>
                  </a:lnTo>
                  <a:lnTo>
                    <a:pt x="188" y="466"/>
                  </a:lnTo>
                  <a:lnTo>
                    <a:pt x="186" y="469"/>
                  </a:lnTo>
                  <a:lnTo>
                    <a:pt x="186" y="474"/>
                  </a:lnTo>
                  <a:lnTo>
                    <a:pt x="173" y="473"/>
                  </a:lnTo>
                  <a:lnTo>
                    <a:pt x="160" y="472"/>
                  </a:lnTo>
                  <a:lnTo>
                    <a:pt x="160" y="475"/>
                  </a:lnTo>
                  <a:lnTo>
                    <a:pt x="155" y="474"/>
                  </a:lnTo>
                  <a:lnTo>
                    <a:pt x="66" y="475"/>
                  </a:lnTo>
                  <a:lnTo>
                    <a:pt x="42" y="495"/>
                  </a:lnTo>
                  <a:lnTo>
                    <a:pt x="5" y="495"/>
                  </a:lnTo>
                  <a:lnTo>
                    <a:pt x="4" y="499"/>
                  </a:lnTo>
                  <a:lnTo>
                    <a:pt x="3" y="511"/>
                  </a:lnTo>
                  <a:lnTo>
                    <a:pt x="0" y="521"/>
                  </a:lnTo>
                  <a:lnTo>
                    <a:pt x="1" y="523"/>
                  </a:lnTo>
                  <a:lnTo>
                    <a:pt x="11" y="532"/>
                  </a:lnTo>
                  <a:lnTo>
                    <a:pt x="12" y="534"/>
                  </a:lnTo>
                  <a:lnTo>
                    <a:pt x="11" y="543"/>
                  </a:lnTo>
                  <a:lnTo>
                    <a:pt x="15" y="550"/>
                  </a:lnTo>
                  <a:lnTo>
                    <a:pt x="27" y="565"/>
                  </a:lnTo>
                  <a:lnTo>
                    <a:pt x="44" y="579"/>
                  </a:lnTo>
                  <a:lnTo>
                    <a:pt x="49" y="588"/>
                  </a:lnTo>
                  <a:lnTo>
                    <a:pt x="55" y="603"/>
                  </a:lnTo>
                  <a:lnTo>
                    <a:pt x="59" y="609"/>
                  </a:lnTo>
                  <a:lnTo>
                    <a:pt x="70" y="622"/>
                  </a:lnTo>
                  <a:lnTo>
                    <a:pt x="78" y="626"/>
                  </a:lnTo>
                  <a:lnTo>
                    <a:pt x="89" y="629"/>
                  </a:lnTo>
                  <a:lnTo>
                    <a:pt x="92" y="629"/>
                  </a:lnTo>
                  <a:lnTo>
                    <a:pt x="97" y="628"/>
                  </a:lnTo>
                  <a:lnTo>
                    <a:pt x="102" y="623"/>
                  </a:lnTo>
                  <a:lnTo>
                    <a:pt x="106" y="622"/>
                  </a:lnTo>
                  <a:lnTo>
                    <a:pt x="112" y="625"/>
                  </a:lnTo>
                  <a:lnTo>
                    <a:pt x="118" y="635"/>
                  </a:lnTo>
                  <a:lnTo>
                    <a:pt x="119" y="637"/>
                  </a:lnTo>
                  <a:lnTo>
                    <a:pt x="118" y="640"/>
                  </a:lnTo>
                  <a:lnTo>
                    <a:pt x="113" y="640"/>
                  </a:lnTo>
                  <a:lnTo>
                    <a:pt x="109" y="641"/>
                  </a:lnTo>
                  <a:lnTo>
                    <a:pt x="108" y="645"/>
                  </a:lnTo>
                  <a:lnTo>
                    <a:pt x="109" y="649"/>
                  </a:lnTo>
                  <a:lnTo>
                    <a:pt x="116" y="656"/>
                  </a:lnTo>
                  <a:lnTo>
                    <a:pt x="127" y="666"/>
                  </a:lnTo>
                  <a:lnTo>
                    <a:pt x="134" y="662"/>
                  </a:lnTo>
                  <a:lnTo>
                    <a:pt x="127" y="653"/>
                  </a:lnTo>
                  <a:lnTo>
                    <a:pt x="127" y="649"/>
                  </a:lnTo>
                  <a:lnTo>
                    <a:pt x="138" y="646"/>
                  </a:lnTo>
                  <a:lnTo>
                    <a:pt x="143" y="645"/>
                  </a:lnTo>
                  <a:lnTo>
                    <a:pt x="151" y="641"/>
                  </a:lnTo>
                  <a:lnTo>
                    <a:pt x="154" y="642"/>
                  </a:lnTo>
                  <a:lnTo>
                    <a:pt x="165" y="653"/>
                  </a:lnTo>
                  <a:lnTo>
                    <a:pt x="177" y="666"/>
                  </a:lnTo>
                  <a:lnTo>
                    <a:pt x="184" y="671"/>
                  </a:lnTo>
                  <a:lnTo>
                    <a:pt x="193" y="678"/>
                  </a:lnTo>
                  <a:lnTo>
                    <a:pt x="194" y="671"/>
                  </a:lnTo>
                  <a:lnTo>
                    <a:pt x="192" y="646"/>
                  </a:lnTo>
                  <a:lnTo>
                    <a:pt x="193" y="637"/>
                  </a:lnTo>
                  <a:lnTo>
                    <a:pt x="195" y="633"/>
                  </a:lnTo>
                  <a:lnTo>
                    <a:pt x="199" y="628"/>
                  </a:lnTo>
                  <a:lnTo>
                    <a:pt x="206" y="624"/>
                  </a:lnTo>
                  <a:lnTo>
                    <a:pt x="211" y="618"/>
                  </a:lnTo>
                  <a:lnTo>
                    <a:pt x="219" y="604"/>
                  </a:lnTo>
                  <a:lnTo>
                    <a:pt x="221" y="586"/>
                  </a:lnTo>
                  <a:lnTo>
                    <a:pt x="222" y="582"/>
                  </a:lnTo>
                  <a:lnTo>
                    <a:pt x="240" y="570"/>
                  </a:lnTo>
                  <a:lnTo>
                    <a:pt x="259" y="565"/>
                  </a:lnTo>
                  <a:lnTo>
                    <a:pt x="277" y="565"/>
                  </a:lnTo>
                  <a:lnTo>
                    <a:pt x="283" y="564"/>
                  </a:lnTo>
                  <a:lnTo>
                    <a:pt x="291" y="561"/>
                  </a:lnTo>
                  <a:lnTo>
                    <a:pt x="306" y="563"/>
                  </a:lnTo>
                  <a:lnTo>
                    <a:pt x="343" y="581"/>
                  </a:lnTo>
                  <a:lnTo>
                    <a:pt x="365" y="602"/>
                  </a:lnTo>
                  <a:lnTo>
                    <a:pt x="372" y="607"/>
                  </a:lnTo>
                  <a:lnTo>
                    <a:pt x="377" y="609"/>
                  </a:lnTo>
                  <a:lnTo>
                    <a:pt x="386" y="609"/>
                  </a:lnTo>
                  <a:lnTo>
                    <a:pt x="392" y="599"/>
                  </a:lnTo>
                  <a:lnTo>
                    <a:pt x="408" y="591"/>
                  </a:lnTo>
                  <a:lnTo>
                    <a:pt x="418" y="588"/>
                  </a:lnTo>
                  <a:lnTo>
                    <a:pt x="430" y="588"/>
                  </a:lnTo>
                  <a:lnTo>
                    <a:pt x="447" y="598"/>
                  </a:lnTo>
                  <a:lnTo>
                    <a:pt x="471" y="613"/>
                  </a:lnTo>
                  <a:lnTo>
                    <a:pt x="483" y="617"/>
                  </a:lnTo>
                  <a:lnTo>
                    <a:pt x="506" y="619"/>
                  </a:lnTo>
                  <a:lnTo>
                    <a:pt x="519" y="618"/>
                  </a:lnTo>
                  <a:lnTo>
                    <a:pt x="533" y="608"/>
                  </a:lnTo>
                  <a:lnTo>
                    <a:pt x="550" y="593"/>
                  </a:lnTo>
                  <a:lnTo>
                    <a:pt x="559" y="588"/>
                  </a:lnTo>
                  <a:lnTo>
                    <a:pt x="585" y="588"/>
                  </a:lnTo>
                  <a:lnTo>
                    <a:pt x="603" y="591"/>
                  </a:lnTo>
                  <a:lnTo>
                    <a:pt x="613" y="587"/>
                  </a:lnTo>
                  <a:lnTo>
                    <a:pt x="633" y="585"/>
                  </a:lnTo>
                  <a:lnTo>
                    <a:pt x="640" y="587"/>
                  </a:lnTo>
                  <a:lnTo>
                    <a:pt x="647" y="591"/>
                  </a:lnTo>
                  <a:lnTo>
                    <a:pt x="655" y="593"/>
                  </a:lnTo>
                  <a:lnTo>
                    <a:pt x="661" y="597"/>
                  </a:lnTo>
                  <a:lnTo>
                    <a:pt x="672" y="597"/>
                  </a:lnTo>
                  <a:lnTo>
                    <a:pt x="678" y="593"/>
                  </a:lnTo>
                  <a:lnTo>
                    <a:pt x="688" y="583"/>
                  </a:lnTo>
                  <a:lnTo>
                    <a:pt x="688" y="582"/>
                  </a:lnTo>
                  <a:lnTo>
                    <a:pt x="694" y="577"/>
                  </a:lnTo>
                  <a:lnTo>
                    <a:pt x="702" y="576"/>
                  </a:lnTo>
                  <a:lnTo>
                    <a:pt x="708" y="576"/>
                  </a:lnTo>
                  <a:lnTo>
                    <a:pt x="714" y="564"/>
                  </a:lnTo>
                  <a:lnTo>
                    <a:pt x="715" y="564"/>
                  </a:lnTo>
                  <a:lnTo>
                    <a:pt x="718" y="561"/>
                  </a:lnTo>
                  <a:lnTo>
                    <a:pt x="713" y="556"/>
                  </a:lnTo>
                  <a:lnTo>
                    <a:pt x="709" y="550"/>
                  </a:lnTo>
                  <a:lnTo>
                    <a:pt x="709" y="545"/>
                  </a:lnTo>
                  <a:lnTo>
                    <a:pt x="714" y="538"/>
                  </a:lnTo>
                  <a:lnTo>
                    <a:pt x="720" y="534"/>
                  </a:lnTo>
                  <a:lnTo>
                    <a:pt x="725" y="533"/>
                  </a:lnTo>
                  <a:lnTo>
                    <a:pt x="730" y="531"/>
                  </a:lnTo>
                  <a:lnTo>
                    <a:pt x="727" y="520"/>
                  </a:lnTo>
                  <a:lnTo>
                    <a:pt x="732" y="515"/>
                  </a:lnTo>
                  <a:lnTo>
                    <a:pt x="740" y="513"/>
                  </a:lnTo>
                  <a:lnTo>
                    <a:pt x="740" y="504"/>
                  </a:lnTo>
                  <a:lnTo>
                    <a:pt x="746" y="501"/>
                  </a:lnTo>
                  <a:lnTo>
                    <a:pt x="746" y="490"/>
                  </a:lnTo>
                  <a:lnTo>
                    <a:pt x="834" y="391"/>
                  </a:lnTo>
                  <a:lnTo>
                    <a:pt x="838" y="386"/>
                  </a:lnTo>
                  <a:lnTo>
                    <a:pt x="844" y="287"/>
                  </a:lnTo>
                  <a:lnTo>
                    <a:pt x="859" y="208"/>
                  </a:lnTo>
                  <a:lnTo>
                    <a:pt x="872" y="184"/>
                  </a:lnTo>
                  <a:lnTo>
                    <a:pt x="849" y="171"/>
                  </a:lnTo>
                  <a:lnTo>
                    <a:pt x="843" y="166"/>
                  </a:lnTo>
                  <a:lnTo>
                    <a:pt x="837" y="160"/>
                  </a:lnTo>
                  <a:lnTo>
                    <a:pt x="833" y="154"/>
                  </a:lnTo>
                  <a:lnTo>
                    <a:pt x="829" y="142"/>
                  </a:lnTo>
                  <a:lnTo>
                    <a:pt x="826" y="135"/>
                  </a:lnTo>
                  <a:lnTo>
                    <a:pt x="826" y="133"/>
                  </a:lnTo>
                  <a:lnTo>
                    <a:pt x="821" y="123"/>
                  </a:lnTo>
                  <a:lnTo>
                    <a:pt x="818" y="117"/>
                  </a:lnTo>
                  <a:lnTo>
                    <a:pt x="818" y="31"/>
                  </a:lnTo>
                  <a:lnTo>
                    <a:pt x="801" y="36"/>
                  </a:lnTo>
                  <a:lnTo>
                    <a:pt x="795" y="26"/>
                  </a:lnTo>
                  <a:lnTo>
                    <a:pt x="791" y="22"/>
                  </a:lnTo>
                  <a:lnTo>
                    <a:pt x="776" y="15"/>
                  </a:lnTo>
                  <a:lnTo>
                    <a:pt x="773" y="11"/>
                  </a:lnTo>
                  <a:lnTo>
                    <a:pt x="768" y="7"/>
                  </a:lnTo>
                  <a:lnTo>
                    <a:pt x="759" y="5"/>
                  </a:lnTo>
                  <a:lnTo>
                    <a:pt x="720" y="1"/>
                  </a:lnTo>
                  <a:lnTo>
                    <a:pt x="677" y="2"/>
                  </a:lnTo>
                  <a:lnTo>
                    <a:pt x="646" y="0"/>
                  </a:lnTo>
                  <a:lnTo>
                    <a:pt x="643" y="1"/>
                  </a:lnTo>
                  <a:lnTo>
                    <a:pt x="638" y="4"/>
                  </a:lnTo>
                  <a:lnTo>
                    <a:pt x="612" y="22"/>
                  </a:lnTo>
                  <a:lnTo>
                    <a:pt x="568" y="53"/>
                  </a:lnTo>
                  <a:lnTo>
                    <a:pt x="525" y="84"/>
                  </a:lnTo>
                  <a:lnTo>
                    <a:pt x="482" y="114"/>
                  </a:lnTo>
                  <a:lnTo>
                    <a:pt x="437" y="145"/>
                  </a:lnTo>
                  <a:lnTo>
                    <a:pt x="393" y="176"/>
                  </a:lnTo>
                  <a:lnTo>
                    <a:pt x="350" y="206"/>
                  </a:lnTo>
                  <a:lnTo>
                    <a:pt x="307" y="236"/>
                  </a:lnTo>
                  <a:lnTo>
                    <a:pt x="292" y="241"/>
                  </a:lnTo>
                  <a:lnTo>
                    <a:pt x="230" y="255"/>
                  </a:lnTo>
                  <a:lnTo>
                    <a:pt x="221" y="257"/>
                  </a:lnTo>
                  <a:lnTo>
                    <a:pt x="221" y="259"/>
                  </a:lnTo>
                  <a:lnTo>
                    <a:pt x="222" y="260"/>
                  </a:lnTo>
                  <a:lnTo>
                    <a:pt x="222" y="27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5" name="Freeform 18">
              <a:extLst>
                <a:ext uri="{FF2B5EF4-FFF2-40B4-BE49-F238E27FC236}">
                  <a16:creationId xmlns:a16="http://schemas.microsoft.com/office/drawing/2014/main" id="{B0BC75DA-4E1D-5A7F-A409-12B965F0FFD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737226" y="3876110"/>
              <a:ext cx="441733" cy="353619"/>
            </a:xfrm>
            <a:custGeom>
              <a:avLst/>
              <a:gdLst>
                <a:gd name="T0" fmla="*/ 2147483647 w 824"/>
                <a:gd name="T1" fmla="*/ 2147483647 h 626"/>
                <a:gd name="T2" fmla="*/ 2147483647 w 824"/>
                <a:gd name="T3" fmla="*/ 2147483647 h 626"/>
                <a:gd name="T4" fmla="*/ 2147483647 w 824"/>
                <a:gd name="T5" fmla="*/ 2147483647 h 626"/>
                <a:gd name="T6" fmla="*/ 2147483647 w 824"/>
                <a:gd name="T7" fmla="*/ 2147483647 h 626"/>
                <a:gd name="T8" fmla="*/ 2147483647 w 824"/>
                <a:gd name="T9" fmla="*/ 2147483647 h 626"/>
                <a:gd name="T10" fmla="*/ 2147483647 w 824"/>
                <a:gd name="T11" fmla="*/ 2147483647 h 626"/>
                <a:gd name="T12" fmla="*/ 2147483647 w 824"/>
                <a:gd name="T13" fmla="*/ 2147483647 h 626"/>
                <a:gd name="T14" fmla="*/ 0 w 824"/>
                <a:gd name="T15" fmla="*/ 2147483647 h 626"/>
                <a:gd name="T16" fmla="*/ 0 w 824"/>
                <a:gd name="T17" fmla="*/ 2147483647 h 626"/>
                <a:gd name="T18" fmla="*/ 0 w 824"/>
                <a:gd name="T19" fmla="*/ 2147483647 h 626"/>
                <a:gd name="T20" fmla="*/ 0 w 824"/>
                <a:gd name="T21" fmla="*/ 2147483647 h 626"/>
                <a:gd name="T22" fmla="*/ 2147483647 w 824"/>
                <a:gd name="T23" fmla="*/ 2147483647 h 626"/>
                <a:gd name="T24" fmla="*/ 2147483647 w 824"/>
                <a:gd name="T25" fmla="*/ 2147483647 h 626"/>
                <a:gd name="T26" fmla="*/ 2147483647 w 824"/>
                <a:gd name="T27" fmla="*/ 2147483647 h 626"/>
                <a:gd name="T28" fmla="*/ 2147483647 w 824"/>
                <a:gd name="T29" fmla="*/ 2147483647 h 626"/>
                <a:gd name="T30" fmla="*/ 2147483647 w 824"/>
                <a:gd name="T31" fmla="*/ 2147483647 h 626"/>
                <a:gd name="T32" fmla="*/ 2147483647 w 824"/>
                <a:gd name="T33" fmla="*/ 2147483647 h 626"/>
                <a:gd name="T34" fmla="*/ 2147483647 w 824"/>
                <a:gd name="T35" fmla="*/ 2147483647 h 626"/>
                <a:gd name="T36" fmla="*/ 2147483647 w 824"/>
                <a:gd name="T37" fmla="*/ 2147483647 h 626"/>
                <a:gd name="T38" fmla="*/ 2147483647 w 824"/>
                <a:gd name="T39" fmla="*/ 2147483647 h 626"/>
                <a:gd name="T40" fmla="*/ 2147483647 w 824"/>
                <a:gd name="T41" fmla="*/ 2147483647 h 626"/>
                <a:gd name="T42" fmla="*/ 2147483647 w 824"/>
                <a:gd name="T43" fmla="*/ 2147483647 h 626"/>
                <a:gd name="T44" fmla="*/ 2147483647 w 824"/>
                <a:gd name="T45" fmla="*/ 2147483647 h 626"/>
                <a:gd name="T46" fmla="*/ 2147483647 w 824"/>
                <a:gd name="T47" fmla="*/ 2147483647 h 626"/>
                <a:gd name="T48" fmla="*/ 2147483647 w 824"/>
                <a:gd name="T49" fmla="*/ 2147483647 h 626"/>
                <a:gd name="T50" fmla="*/ 2147483647 w 824"/>
                <a:gd name="T51" fmla="*/ 2147483647 h 626"/>
                <a:gd name="T52" fmla="*/ 2147483647 w 824"/>
                <a:gd name="T53" fmla="*/ 2147483647 h 626"/>
                <a:gd name="T54" fmla="*/ 2147483647 w 824"/>
                <a:gd name="T55" fmla="*/ 2147483647 h 626"/>
                <a:gd name="T56" fmla="*/ 2147483647 w 824"/>
                <a:gd name="T57" fmla="*/ 2147483647 h 626"/>
                <a:gd name="T58" fmla="*/ 2147483647 w 824"/>
                <a:gd name="T59" fmla="*/ 2147483647 h 626"/>
                <a:gd name="T60" fmla="*/ 2147483647 w 824"/>
                <a:gd name="T61" fmla="*/ 2147483647 h 626"/>
                <a:gd name="T62" fmla="*/ 2147483647 w 824"/>
                <a:gd name="T63" fmla="*/ 2147483647 h 626"/>
                <a:gd name="T64" fmla="*/ 2147483647 w 824"/>
                <a:gd name="T65" fmla="*/ 2147483647 h 626"/>
                <a:gd name="T66" fmla="*/ 2147483647 w 824"/>
                <a:gd name="T67" fmla="*/ 2147483647 h 626"/>
                <a:gd name="T68" fmla="*/ 2147483647 w 824"/>
                <a:gd name="T69" fmla="*/ 2147483647 h 626"/>
                <a:gd name="T70" fmla="*/ 2147483647 w 824"/>
                <a:gd name="T71" fmla="*/ 2147483647 h 626"/>
                <a:gd name="T72" fmla="*/ 2147483647 w 824"/>
                <a:gd name="T73" fmla="*/ 2147483647 h 626"/>
                <a:gd name="T74" fmla="*/ 2147483647 w 824"/>
                <a:gd name="T75" fmla="*/ 2147483647 h 626"/>
                <a:gd name="T76" fmla="*/ 2147483647 w 824"/>
                <a:gd name="T77" fmla="*/ 2147483647 h 626"/>
                <a:gd name="T78" fmla="*/ 2147483647 w 824"/>
                <a:gd name="T79" fmla="*/ 0 h 626"/>
                <a:gd name="T80" fmla="*/ 2147483647 w 824"/>
                <a:gd name="T81" fmla="*/ 0 h 626"/>
                <a:gd name="T82" fmla="*/ 2147483647 w 824"/>
                <a:gd name="T83" fmla="*/ 0 h 626"/>
                <a:gd name="T84" fmla="*/ 2147483647 w 824"/>
                <a:gd name="T85" fmla="*/ 0 h 626"/>
                <a:gd name="T86" fmla="*/ 2147483647 w 824"/>
                <a:gd name="T87" fmla="*/ 0 h 626"/>
                <a:gd name="T88" fmla="*/ 2147483647 w 824"/>
                <a:gd name="T89" fmla="*/ 0 h 626"/>
                <a:gd name="T90" fmla="*/ 2147483647 w 824"/>
                <a:gd name="T91" fmla="*/ 0 h 626"/>
                <a:gd name="T92" fmla="*/ 2147483647 w 824"/>
                <a:gd name="T93" fmla="*/ 0 h 626"/>
                <a:gd name="T94" fmla="*/ 2147483647 w 824"/>
                <a:gd name="T95" fmla="*/ 0 h 626"/>
                <a:gd name="T96" fmla="*/ 2147483647 w 824"/>
                <a:gd name="T97" fmla="*/ 0 h 626"/>
                <a:gd name="T98" fmla="*/ 2147483647 w 824"/>
                <a:gd name="T99" fmla="*/ 0 h 626"/>
                <a:gd name="T100" fmla="*/ 2147483647 w 824"/>
                <a:gd name="T101" fmla="*/ 0 h 626"/>
                <a:gd name="T102" fmla="*/ 2147483647 w 824"/>
                <a:gd name="T103" fmla="*/ 0 h 626"/>
                <a:gd name="T104" fmla="*/ 2147483647 w 824"/>
                <a:gd name="T105" fmla="*/ 0 h 626"/>
                <a:gd name="T106" fmla="*/ 2147483647 w 824"/>
                <a:gd name="T107" fmla="*/ 0 h 62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24"/>
                <a:gd name="T163" fmla="*/ 0 h 626"/>
                <a:gd name="T164" fmla="*/ 824 w 824"/>
                <a:gd name="T165" fmla="*/ 626 h 62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24" h="626">
                  <a:moveTo>
                    <a:pt x="192" y="32"/>
                  </a:moveTo>
                  <a:lnTo>
                    <a:pt x="192" y="48"/>
                  </a:lnTo>
                  <a:lnTo>
                    <a:pt x="174" y="105"/>
                  </a:lnTo>
                  <a:lnTo>
                    <a:pt x="167" y="113"/>
                  </a:lnTo>
                  <a:lnTo>
                    <a:pt x="158" y="115"/>
                  </a:lnTo>
                  <a:lnTo>
                    <a:pt x="149" y="125"/>
                  </a:lnTo>
                  <a:lnTo>
                    <a:pt x="114" y="174"/>
                  </a:lnTo>
                  <a:lnTo>
                    <a:pt x="109" y="188"/>
                  </a:lnTo>
                  <a:lnTo>
                    <a:pt x="104" y="215"/>
                  </a:lnTo>
                  <a:lnTo>
                    <a:pt x="99" y="220"/>
                  </a:lnTo>
                  <a:lnTo>
                    <a:pt x="88" y="220"/>
                  </a:lnTo>
                  <a:lnTo>
                    <a:pt x="81" y="225"/>
                  </a:lnTo>
                  <a:lnTo>
                    <a:pt x="74" y="237"/>
                  </a:lnTo>
                  <a:lnTo>
                    <a:pt x="71" y="244"/>
                  </a:lnTo>
                  <a:lnTo>
                    <a:pt x="67" y="242"/>
                  </a:lnTo>
                  <a:lnTo>
                    <a:pt x="67" y="253"/>
                  </a:lnTo>
                  <a:lnTo>
                    <a:pt x="69" y="259"/>
                  </a:lnTo>
                  <a:lnTo>
                    <a:pt x="67" y="270"/>
                  </a:lnTo>
                  <a:lnTo>
                    <a:pt x="63" y="286"/>
                  </a:lnTo>
                  <a:lnTo>
                    <a:pt x="63" y="331"/>
                  </a:lnTo>
                  <a:lnTo>
                    <a:pt x="61" y="346"/>
                  </a:lnTo>
                  <a:lnTo>
                    <a:pt x="54" y="352"/>
                  </a:lnTo>
                  <a:lnTo>
                    <a:pt x="43" y="357"/>
                  </a:lnTo>
                  <a:lnTo>
                    <a:pt x="21" y="355"/>
                  </a:lnTo>
                  <a:lnTo>
                    <a:pt x="11" y="359"/>
                  </a:lnTo>
                  <a:lnTo>
                    <a:pt x="11" y="373"/>
                  </a:lnTo>
                  <a:lnTo>
                    <a:pt x="5" y="378"/>
                  </a:lnTo>
                  <a:lnTo>
                    <a:pt x="0" y="386"/>
                  </a:lnTo>
                  <a:lnTo>
                    <a:pt x="6" y="390"/>
                  </a:lnTo>
                  <a:lnTo>
                    <a:pt x="12" y="390"/>
                  </a:lnTo>
                  <a:lnTo>
                    <a:pt x="20" y="397"/>
                  </a:lnTo>
                  <a:lnTo>
                    <a:pt x="28" y="395"/>
                  </a:lnTo>
                  <a:lnTo>
                    <a:pt x="39" y="399"/>
                  </a:lnTo>
                  <a:lnTo>
                    <a:pt x="48" y="404"/>
                  </a:lnTo>
                  <a:lnTo>
                    <a:pt x="56" y="414"/>
                  </a:lnTo>
                  <a:lnTo>
                    <a:pt x="58" y="424"/>
                  </a:lnTo>
                  <a:lnTo>
                    <a:pt x="64" y="432"/>
                  </a:lnTo>
                  <a:lnTo>
                    <a:pt x="71" y="440"/>
                  </a:lnTo>
                  <a:lnTo>
                    <a:pt x="93" y="453"/>
                  </a:lnTo>
                  <a:lnTo>
                    <a:pt x="98" y="463"/>
                  </a:lnTo>
                  <a:lnTo>
                    <a:pt x="103" y="475"/>
                  </a:lnTo>
                  <a:lnTo>
                    <a:pt x="113" y="502"/>
                  </a:lnTo>
                  <a:lnTo>
                    <a:pt x="118" y="511"/>
                  </a:lnTo>
                  <a:lnTo>
                    <a:pt x="126" y="517"/>
                  </a:lnTo>
                  <a:lnTo>
                    <a:pt x="150" y="522"/>
                  </a:lnTo>
                  <a:lnTo>
                    <a:pt x="157" y="527"/>
                  </a:lnTo>
                  <a:lnTo>
                    <a:pt x="158" y="534"/>
                  </a:lnTo>
                  <a:lnTo>
                    <a:pt x="157" y="544"/>
                  </a:lnTo>
                  <a:lnTo>
                    <a:pt x="156" y="566"/>
                  </a:lnTo>
                  <a:lnTo>
                    <a:pt x="169" y="571"/>
                  </a:lnTo>
                  <a:lnTo>
                    <a:pt x="185" y="569"/>
                  </a:lnTo>
                  <a:lnTo>
                    <a:pt x="200" y="570"/>
                  </a:lnTo>
                  <a:lnTo>
                    <a:pt x="217" y="578"/>
                  </a:lnTo>
                  <a:lnTo>
                    <a:pt x="255" y="600"/>
                  </a:lnTo>
                  <a:lnTo>
                    <a:pt x="266" y="613"/>
                  </a:lnTo>
                  <a:lnTo>
                    <a:pt x="286" y="619"/>
                  </a:lnTo>
                  <a:lnTo>
                    <a:pt x="303" y="619"/>
                  </a:lnTo>
                  <a:lnTo>
                    <a:pt x="325" y="625"/>
                  </a:lnTo>
                  <a:lnTo>
                    <a:pt x="350" y="626"/>
                  </a:lnTo>
                  <a:lnTo>
                    <a:pt x="373" y="614"/>
                  </a:lnTo>
                  <a:lnTo>
                    <a:pt x="389" y="598"/>
                  </a:lnTo>
                  <a:lnTo>
                    <a:pt x="408" y="592"/>
                  </a:lnTo>
                  <a:lnTo>
                    <a:pt x="427" y="588"/>
                  </a:lnTo>
                  <a:lnTo>
                    <a:pt x="461" y="604"/>
                  </a:lnTo>
                  <a:lnTo>
                    <a:pt x="474" y="603"/>
                  </a:lnTo>
                  <a:lnTo>
                    <a:pt x="483" y="604"/>
                  </a:lnTo>
                  <a:lnTo>
                    <a:pt x="488" y="603"/>
                  </a:lnTo>
                  <a:lnTo>
                    <a:pt x="491" y="599"/>
                  </a:lnTo>
                  <a:lnTo>
                    <a:pt x="506" y="592"/>
                  </a:lnTo>
                  <a:lnTo>
                    <a:pt x="542" y="580"/>
                  </a:lnTo>
                  <a:lnTo>
                    <a:pt x="554" y="567"/>
                  </a:lnTo>
                  <a:lnTo>
                    <a:pt x="567" y="559"/>
                  </a:lnTo>
                  <a:lnTo>
                    <a:pt x="588" y="550"/>
                  </a:lnTo>
                  <a:lnTo>
                    <a:pt x="596" y="545"/>
                  </a:lnTo>
                  <a:lnTo>
                    <a:pt x="661" y="545"/>
                  </a:lnTo>
                  <a:lnTo>
                    <a:pt x="742" y="463"/>
                  </a:lnTo>
                  <a:lnTo>
                    <a:pt x="813" y="393"/>
                  </a:lnTo>
                  <a:lnTo>
                    <a:pt x="823" y="381"/>
                  </a:lnTo>
                  <a:lnTo>
                    <a:pt x="824" y="378"/>
                  </a:lnTo>
                  <a:lnTo>
                    <a:pt x="771" y="379"/>
                  </a:lnTo>
                  <a:lnTo>
                    <a:pt x="684" y="347"/>
                  </a:lnTo>
                  <a:lnTo>
                    <a:pt x="606" y="320"/>
                  </a:lnTo>
                  <a:lnTo>
                    <a:pt x="599" y="313"/>
                  </a:lnTo>
                  <a:lnTo>
                    <a:pt x="579" y="298"/>
                  </a:lnTo>
                  <a:lnTo>
                    <a:pt x="572" y="288"/>
                  </a:lnTo>
                  <a:lnTo>
                    <a:pt x="566" y="282"/>
                  </a:lnTo>
                  <a:lnTo>
                    <a:pt x="564" y="276"/>
                  </a:lnTo>
                  <a:lnTo>
                    <a:pt x="559" y="273"/>
                  </a:lnTo>
                  <a:lnTo>
                    <a:pt x="553" y="266"/>
                  </a:lnTo>
                  <a:lnTo>
                    <a:pt x="550" y="261"/>
                  </a:lnTo>
                  <a:lnTo>
                    <a:pt x="543" y="254"/>
                  </a:lnTo>
                  <a:lnTo>
                    <a:pt x="538" y="231"/>
                  </a:lnTo>
                  <a:lnTo>
                    <a:pt x="539" y="226"/>
                  </a:lnTo>
                  <a:lnTo>
                    <a:pt x="543" y="221"/>
                  </a:lnTo>
                  <a:lnTo>
                    <a:pt x="543" y="220"/>
                  </a:lnTo>
                  <a:lnTo>
                    <a:pt x="534" y="212"/>
                  </a:lnTo>
                  <a:lnTo>
                    <a:pt x="529" y="211"/>
                  </a:lnTo>
                  <a:lnTo>
                    <a:pt x="517" y="216"/>
                  </a:lnTo>
                  <a:lnTo>
                    <a:pt x="516" y="218"/>
                  </a:lnTo>
                  <a:lnTo>
                    <a:pt x="515" y="220"/>
                  </a:lnTo>
                  <a:lnTo>
                    <a:pt x="508" y="217"/>
                  </a:lnTo>
                  <a:lnTo>
                    <a:pt x="504" y="220"/>
                  </a:lnTo>
                  <a:lnTo>
                    <a:pt x="491" y="218"/>
                  </a:lnTo>
                  <a:lnTo>
                    <a:pt x="485" y="212"/>
                  </a:lnTo>
                  <a:lnTo>
                    <a:pt x="484" y="203"/>
                  </a:lnTo>
                  <a:lnTo>
                    <a:pt x="484" y="200"/>
                  </a:lnTo>
                  <a:lnTo>
                    <a:pt x="493" y="190"/>
                  </a:lnTo>
                  <a:lnTo>
                    <a:pt x="499" y="177"/>
                  </a:lnTo>
                  <a:lnTo>
                    <a:pt x="501" y="166"/>
                  </a:lnTo>
                  <a:lnTo>
                    <a:pt x="506" y="144"/>
                  </a:lnTo>
                  <a:lnTo>
                    <a:pt x="512" y="140"/>
                  </a:lnTo>
                  <a:lnTo>
                    <a:pt x="506" y="132"/>
                  </a:lnTo>
                  <a:lnTo>
                    <a:pt x="502" y="125"/>
                  </a:lnTo>
                  <a:lnTo>
                    <a:pt x="495" y="119"/>
                  </a:lnTo>
                  <a:lnTo>
                    <a:pt x="486" y="115"/>
                  </a:lnTo>
                  <a:lnTo>
                    <a:pt x="483" y="109"/>
                  </a:lnTo>
                  <a:lnTo>
                    <a:pt x="480" y="99"/>
                  </a:lnTo>
                  <a:lnTo>
                    <a:pt x="474" y="93"/>
                  </a:lnTo>
                  <a:lnTo>
                    <a:pt x="462" y="83"/>
                  </a:lnTo>
                  <a:lnTo>
                    <a:pt x="445" y="71"/>
                  </a:lnTo>
                  <a:lnTo>
                    <a:pt x="440" y="62"/>
                  </a:lnTo>
                  <a:lnTo>
                    <a:pt x="432" y="51"/>
                  </a:lnTo>
                  <a:lnTo>
                    <a:pt x="420" y="40"/>
                  </a:lnTo>
                  <a:lnTo>
                    <a:pt x="413" y="39"/>
                  </a:lnTo>
                  <a:lnTo>
                    <a:pt x="403" y="34"/>
                  </a:lnTo>
                  <a:lnTo>
                    <a:pt x="389" y="23"/>
                  </a:lnTo>
                  <a:lnTo>
                    <a:pt x="378" y="24"/>
                  </a:lnTo>
                  <a:lnTo>
                    <a:pt x="376" y="26"/>
                  </a:lnTo>
                  <a:lnTo>
                    <a:pt x="372" y="26"/>
                  </a:lnTo>
                  <a:lnTo>
                    <a:pt x="371" y="22"/>
                  </a:lnTo>
                  <a:lnTo>
                    <a:pt x="361" y="22"/>
                  </a:lnTo>
                  <a:lnTo>
                    <a:pt x="356" y="18"/>
                  </a:lnTo>
                  <a:lnTo>
                    <a:pt x="352" y="18"/>
                  </a:lnTo>
                  <a:lnTo>
                    <a:pt x="348" y="22"/>
                  </a:lnTo>
                  <a:lnTo>
                    <a:pt x="340" y="23"/>
                  </a:lnTo>
                  <a:lnTo>
                    <a:pt x="339" y="24"/>
                  </a:lnTo>
                  <a:lnTo>
                    <a:pt x="337" y="24"/>
                  </a:lnTo>
                  <a:lnTo>
                    <a:pt x="334" y="18"/>
                  </a:lnTo>
                  <a:lnTo>
                    <a:pt x="329" y="13"/>
                  </a:lnTo>
                  <a:lnTo>
                    <a:pt x="324" y="13"/>
                  </a:lnTo>
                  <a:lnTo>
                    <a:pt x="324" y="17"/>
                  </a:lnTo>
                  <a:lnTo>
                    <a:pt x="318" y="22"/>
                  </a:lnTo>
                  <a:lnTo>
                    <a:pt x="305" y="24"/>
                  </a:lnTo>
                  <a:lnTo>
                    <a:pt x="301" y="26"/>
                  </a:lnTo>
                  <a:lnTo>
                    <a:pt x="292" y="26"/>
                  </a:lnTo>
                  <a:lnTo>
                    <a:pt x="284" y="15"/>
                  </a:lnTo>
                  <a:lnTo>
                    <a:pt x="284" y="12"/>
                  </a:lnTo>
                  <a:lnTo>
                    <a:pt x="281" y="11"/>
                  </a:lnTo>
                  <a:lnTo>
                    <a:pt x="274" y="11"/>
                  </a:lnTo>
                  <a:lnTo>
                    <a:pt x="268" y="5"/>
                  </a:lnTo>
                  <a:lnTo>
                    <a:pt x="264" y="0"/>
                  </a:lnTo>
                  <a:lnTo>
                    <a:pt x="244" y="44"/>
                  </a:lnTo>
                  <a:lnTo>
                    <a:pt x="236" y="34"/>
                  </a:lnTo>
                  <a:lnTo>
                    <a:pt x="236" y="31"/>
                  </a:lnTo>
                  <a:lnTo>
                    <a:pt x="231" y="26"/>
                  </a:lnTo>
                  <a:lnTo>
                    <a:pt x="223" y="26"/>
                  </a:lnTo>
                  <a:lnTo>
                    <a:pt x="220" y="29"/>
                  </a:lnTo>
                  <a:lnTo>
                    <a:pt x="219" y="33"/>
                  </a:lnTo>
                  <a:lnTo>
                    <a:pt x="216" y="35"/>
                  </a:lnTo>
                  <a:lnTo>
                    <a:pt x="212" y="35"/>
                  </a:lnTo>
                  <a:lnTo>
                    <a:pt x="208" y="33"/>
                  </a:lnTo>
                  <a:lnTo>
                    <a:pt x="194" y="33"/>
                  </a:lnTo>
                  <a:lnTo>
                    <a:pt x="192" y="3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6" name="Freeform 19">
              <a:extLst>
                <a:ext uri="{FF2B5EF4-FFF2-40B4-BE49-F238E27FC236}">
                  <a16:creationId xmlns:a16="http://schemas.microsoft.com/office/drawing/2014/main" id="{EE7CCEE4-67FB-58A6-C1DF-5C7ED68B805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038810" y="3249657"/>
              <a:ext cx="464118" cy="475556"/>
            </a:xfrm>
            <a:custGeom>
              <a:avLst/>
              <a:gdLst>
                <a:gd name="T0" fmla="*/ 2147483647 w 871"/>
                <a:gd name="T1" fmla="*/ 2147483647 h 832"/>
                <a:gd name="T2" fmla="*/ 2147483647 w 871"/>
                <a:gd name="T3" fmla="*/ 2147483647 h 832"/>
                <a:gd name="T4" fmla="*/ 0 w 871"/>
                <a:gd name="T5" fmla="*/ 2147483647 h 832"/>
                <a:gd name="T6" fmla="*/ 0 w 871"/>
                <a:gd name="T7" fmla="*/ 2147483647 h 832"/>
                <a:gd name="T8" fmla="*/ 0 w 871"/>
                <a:gd name="T9" fmla="*/ 2147483647 h 832"/>
                <a:gd name="T10" fmla="*/ 0 w 871"/>
                <a:gd name="T11" fmla="*/ 2147483647 h 832"/>
                <a:gd name="T12" fmla="*/ 0 w 871"/>
                <a:gd name="T13" fmla="*/ 2147483647 h 832"/>
                <a:gd name="T14" fmla="*/ 0 w 871"/>
                <a:gd name="T15" fmla="*/ 2147483647 h 832"/>
                <a:gd name="T16" fmla="*/ 0 w 871"/>
                <a:gd name="T17" fmla="*/ 2147483647 h 832"/>
                <a:gd name="T18" fmla="*/ 0 w 871"/>
                <a:gd name="T19" fmla="*/ 2147483647 h 832"/>
                <a:gd name="T20" fmla="*/ 2147483647 w 871"/>
                <a:gd name="T21" fmla="*/ 2147483647 h 832"/>
                <a:gd name="T22" fmla="*/ 2147483647 w 871"/>
                <a:gd name="T23" fmla="*/ 2147483647 h 832"/>
                <a:gd name="T24" fmla="*/ 2147483647 w 871"/>
                <a:gd name="T25" fmla="*/ 0 h 832"/>
                <a:gd name="T26" fmla="*/ 2147483647 w 871"/>
                <a:gd name="T27" fmla="*/ 0 h 832"/>
                <a:gd name="T28" fmla="*/ 2147483647 w 871"/>
                <a:gd name="T29" fmla="*/ 0 h 832"/>
                <a:gd name="T30" fmla="*/ 2147483647 w 871"/>
                <a:gd name="T31" fmla="*/ 0 h 832"/>
                <a:gd name="T32" fmla="*/ 2147483647 w 871"/>
                <a:gd name="T33" fmla="*/ 0 h 832"/>
                <a:gd name="T34" fmla="*/ 2147483647 w 871"/>
                <a:gd name="T35" fmla="*/ 0 h 832"/>
                <a:gd name="T36" fmla="*/ 2147483647 w 871"/>
                <a:gd name="T37" fmla="*/ 0 h 832"/>
                <a:gd name="T38" fmla="*/ 2147483647 w 871"/>
                <a:gd name="T39" fmla="*/ 2147483647 h 832"/>
                <a:gd name="T40" fmla="*/ 2147483647 w 871"/>
                <a:gd name="T41" fmla="*/ 2147483647 h 832"/>
                <a:gd name="T42" fmla="*/ 2147483647 w 871"/>
                <a:gd name="T43" fmla="*/ 2147483647 h 832"/>
                <a:gd name="T44" fmla="*/ 2147483647 w 871"/>
                <a:gd name="T45" fmla="*/ 2147483647 h 832"/>
                <a:gd name="T46" fmla="*/ 2147483647 w 871"/>
                <a:gd name="T47" fmla="*/ 2147483647 h 832"/>
                <a:gd name="T48" fmla="*/ 2147483647 w 871"/>
                <a:gd name="T49" fmla="*/ 2147483647 h 832"/>
                <a:gd name="T50" fmla="*/ 2147483647 w 871"/>
                <a:gd name="T51" fmla="*/ 2147483647 h 832"/>
                <a:gd name="T52" fmla="*/ 2147483647 w 871"/>
                <a:gd name="T53" fmla="*/ 2147483647 h 832"/>
                <a:gd name="T54" fmla="*/ 2147483647 w 871"/>
                <a:gd name="T55" fmla="*/ 2147483647 h 832"/>
                <a:gd name="T56" fmla="*/ 2147483647 w 871"/>
                <a:gd name="T57" fmla="*/ 0 h 832"/>
                <a:gd name="T58" fmla="*/ 2147483647 w 871"/>
                <a:gd name="T59" fmla="*/ 0 h 832"/>
                <a:gd name="T60" fmla="*/ 2147483647 w 871"/>
                <a:gd name="T61" fmla="*/ 0 h 832"/>
                <a:gd name="T62" fmla="*/ 2147483647 w 871"/>
                <a:gd name="T63" fmla="*/ 0 h 832"/>
                <a:gd name="T64" fmla="*/ 2147483647 w 871"/>
                <a:gd name="T65" fmla="*/ 0 h 832"/>
                <a:gd name="T66" fmla="*/ 2147483647 w 871"/>
                <a:gd name="T67" fmla="*/ 0 h 832"/>
                <a:gd name="T68" fmla="*/ 2147483647 w 871"/>
                <a:gd name="T69" fmla="*/ 0 h 832"/>
                <a:gd name="T70" fmla="*/ 2147483647 w 871"/>
                <a:gd name="T71" fmla="*/ 2147483647 h 832"/>
                <a:gd name="T72" fmla="*/ 2147483647 w 871"/>
                <a:gd name="T73" fmla="*/ 2147483647 h 832"/>
                <a:gd name="T74" fmla="*/ 2147483647 w 871"/>
                <a:gd name="T75" fmla="*/ 2147483647 h 832"/>
                <a:gd name="T76" fmla="*/ 2147483647 w 871"/>
                <a:gd name="T77" fmla="*/ 2147483647 h 832"/>
                <a:gd name="T78" fmla="*/ 2147483647 w 871"/>
                <a:gd name="T79" fmla="*/ 2147483647 h 832"/>
                <a:gd name="T80" fmla="*/ 2147483647 w 871"/>
                <a:gd name="T81" fmla="*/ 2147483647 h 832"/>
                <a:gd name="T82" fmla="*/ 2147483647 w 871"/>
                <a:gd name="T83" fmla="*/ 2147483647 h 832"/>
                <a:gd name="T84" fmla="*/ 2147483647 w 871"/>
                <a:gd name="T85" fmla="*/ 2147483647 h 832"/>
                <a:gd name="T86" fmla="*/ 2147483647 w 871"/>
                <a:gd name="T87" fmla="*/ 2147483647 h 832"/>
                <a:gd name="T88" fmla="*/ 2147483647 w 871"/>
                <a:gd name="T89" fmla="*/ 2147483647 h 832"/>
                <a:gd name="T90" fmla="*/ 2147483647 w 871"/>
                <a:gd name="T91" fmla="*/ 2147483647 h 832"/>
                <a:gd name="T92" fmla="*/ 2147483647 w 871"/>
                <a:gd name="T93" fmla="*/ 2147483647 h 832"/>
                <a:gd name="T94" fmla="*/ 2147483647 w 871"/>
                <a:gd name="T95" fmla="*/ 2147483647 h 832"/>
                <a:gd name="T96" fmla="*/ 2147483647 w 871"/>
                <a:gd name="T97" fmla="*/ 2147483647 h 832"/>
                <a:gd name="T98" fmla="*/ 2147483647 w 871"/>
                <a:gd name="T99" fmla="*/ 2147483647 h 832"/>
                <a:gd name="T100" fmla="*/ 2147483647 w 871"/>
                <a:gd name="T101" fmla="*/ 2147483647 h 832"/>
                <a:gd name="T102" fmla="*/ 2147483647 w 871"/>
                <a:gd name="T103" fmla="*/ 2147483647 h 832"/>
                <a:gd name="T104" fmla="*/ 2147483647 w 871"/>
                <a:gd name="T105" fmla="*/ 2147483647 h 832"/>
                <a:gd name="T106" fmla="*/ 2147483647 w 871"/>
                <a:gd name="T107" fmla="*/ 2147483647 h 832"/>
                <a:gd name="T108" fmla="*/ 2147483647 w 871"/>
                <a:gd name="T109" fmla="*/ 2147483647 h 83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1"/>
                <a:gd name="T166" fmla="*/ 0 h 832"/>
                <a:gd name="T167" fmla="*/ 871 w 871"/>
                <a:gd name="T168" fmla="*/ 832 h 83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1" h="832">
                  <a:moveTo>
                    <a:pt x="140" y="598"/>
                  </a:moveTo>
                  <a:lnTo>
                    <a:pt x="138" y="592"/>
                  </a:lnTo>
                  <a:lnTo>
                    <a:pt x="134" y="578"/>
                  </a:lnTo>
                  <a:lnTo>
                    <a:pt x="116" y="549"/>
                  </a:lnTo>
                  <a:lnTo>
                    <a:pt x="87" y="535"/>
                  </a:lnTo>
                  <a:lnTo>
                    <a:pt x="76" y="535"/>
                  </a:lnTo>
                  <a:lnTo>
                    <a:pt x="57" y="534"/>
                  </a:lnTo>
                  <a:lnTo>
                    <a:pt x="43" y="519"/>
                  </a:lnTo>
                  <a:lnTo>
                    <a:pt x="40" y="507"/>
                  </a:lnTo>
                  <a:lnTo>
                    <a:pt x="39" y="487"/>
                  </a:lnTo>
                  <a:lnTo>
                    <a:pt x="29" y="471"/>
                  </a:lnTo>
                  <a:lnTo>
                    <a:pt x="11" y="449"/>
                  </a:lnTo>
                  <a:lnTo>
                    <a:pt x="6" y="436"/>
                  </a:lnTo>
                  <a:lnTo>
                    <a:pt x="7" y="428"/>
                  </a:lnTo>
                  <a:lnTo>
                    <a:pt x="18" y="425"/>
                  </a:lnTo>
                  <a:lnTo>
                    <a:pt x="27" y="418"/>
                  </a:lnTo>
                  <a:lnTo>
                    <a:pt x="28" y="362"/>
                  </a:lnTo>
                  <a:lnTo>
                    <a:pt x="32" y="340"/>
                  </a:lnTo>
                  <a:lnTo>
                    <a:pt x="32" y="327"/>
                  </a:lnTo>
                  <a:lnTo>
                    <a:pt x="29" y="319"/>
                  </a:lnTo>
                  <a:lnTo>
                    <a:pt x="29" y="288"/>
                  </a:lnTo>
                  <a:lnTo>
                    <a:pt x="28" y="266"/>
                  </a:lnTo>
                  <a:lnTo>
                    <a:pt x="23" y="243"/>
                  </a:lnTo>
                  <a:lnTo>
                    <a:pt x="11" y="222"/>
                  </a:lnTo>
                  <a:lnTo>
                    <a:pt x="0" y="207"/>
                  </a:lnTo>
                  <a:lnTo>
                    <a:pt x="1" y="191"/>
                  </a:lnTo>
                  <a:lnTo>
                    <a:pt x="11" y="184"/>
                  </a:lnTo>
                  <a:lnTo>
                    <a:pt x="12" y="181"/>
                  </a:lnTo>
                  <a:lnTo>
                    <a:pt x="24" y="180"/>
                  </a:lnTo>
                  <a:lnTo>
                    <a:pt x="36" y="171"/>
                  </a:lnTo>
                  <a:lnTo>
                    <a:pt x="46" y="163"/>
                  </a:lnTo>
                  <a:lnTo>
                    <a:pt x="52" y="153"/>
                  </a:lnTo>
                  <a:lnTo>
                    <a:pt x="52" y="143"/>
                  </a:lnTo>
                  <a:lnTo>
                    <a:pt x="46" y="115"/>
                  </a:lnTo>
                  <a:lnTo>
                    <a:pt x="48" y="106"/>
                  </a:lnTo>
                  <a:lnTo>
                    <a:pt x="52" y="98"/>
                  </a:lnTo>
                  <a:lnTo>
                    <a:pt x="65" y="92"/>
                  </a:lnTo>
                  <a:lnTo>
                    <a:pt x="75" y="85"/>
                  </a:lnTo>
                  <a:lnTo>
                    <a:pt x="79" y="74"/>
                  </a:lnTo>
                  <a:lnTo>
                    <a:pt x="108" y="55"/>
                  </a:lnTo>
                  <a:lnTo>
                    <a:pt x="114" y="50"/>
                  </a:lnTo>
                  <a:lnTo>
                    <a:pt x="119" y="39"/>
                  </a:lnTo>
                  <a:lnTo>
                    <a:pt x="118" y="3"/>
                  </a:lnTo>
                  <a:lnTo>
                    <a:pt x="119" y="0"/>
                  </a:lnTo>
                  <a:lnTo>
                    <a:pt x="130" y="2"/>
                  </a:lnTo>
                  <a:lnTo>
                    <a:pt x="142" y="9"/>
                  </a:lnTo>
                  <a:lnTo>
                    <a:pt x="169" y="20"/>
                  </a:lnTo>
                  <a:lnTo>
                    <a:pt x="190" y="22"/>
                  </a:lnTo>
                  <a:lnTo>
                    <a:pt x="211" y="17"/>
                  </a:lnTo>
                  <a:lnTo>
                    <a:pt x="226" y="18"/>
                  </a:lnTo>
                  <a:lnTo>
                    <a:pt x="237" y="23"/>
                  </a:lnTo>
                  <a:lnTo>
                    <a:pt x="250" y="24"/>
                  </a:lnTo>
                  <a:lnTo>
                    <a:pt x="267" y="29"/>
                  </a:lnTo>
                  <a:lnTo>
                    <a:pt x="276" y="35"/>
                  </a:lnTo>
                  <a:lnTo>
                    <a:pt x="297" y="45"/>
                  </a:lnTo>
                  <a:lnTo>
                    <a:pt x="309" y="47"/>
                  </a:lnTo>
                  <a:lnTo>
                    <a:pt x="323" y="52"/>
                  </a:lnTo>
                  <a:lnTo>
                    <a:pt x="329" y="58"/>
                  </a:lnTo>
                  <a:lnTo>
                    <a:pt x="333" y="71"/>
                  </a:lnTo>
                  <a:lnTo>
                    <a:pt x="333" y="84"/>
                  </a:lnTo>
                  <a:lnTo>
                    <a:pt x="342" y="99"/>
                  </a:lnTo>
                  <a:lnTo>
                    <a:pt x="358" y="115"/>
                  </a:lnTo>
                  <a:lnTo>
                    <a:pt x="371" y="121"/>
                  </a:lnTo>
                  <a:lnTo>
                    <a:pt x="379" y="124"/>
                  </a:lnTo>
                  <a:lnTo>
                    <a:pt x="415" y="125"/>
                  </a:lnTo>
                  <a:lnTo>
                    <a:pt x="431" y="130"/>
                  </a:lnTo>
                  <a:lnTo>
                    <a:pt x="459" y="140"/>
                  </a:lnTo>
                  <a:lnTo>
                    <a:pt x="474" y="149"/>
                  </a:lnTo>
                  <a:lnTo>
                    <a:pt x="482" y="151"/>
                  </a:lnTo>
                  <a:lnTo>
                    <a:pt x="490" y="154"/>
                  </a:lnTo>
                  <a:lnTo>
                    <a:pt x="496" y="162"/>
                  </a:lnTo>
                  <a:lnTo>
                    <a:pt x="514" y="178"/>
                  </a:lnTo>
                  <a:lnTo>
                    <a:pt x="529" y="184"/>
                  </a:lnTo>
                  <a:lnTo>
                    <a:pt x="543" y="184"/>
                  </a:lnTo>
                  <a:lnTo>
                    <a:pt x="561" y="176"/>
                  </a:lnTo>
                  <a:lnTo>
                    <a:pt x="571" y="170"/>
                  </a:lnTo>
                  <a:lnTo>
                    <a:pt x="581" y="159"/>
                  </a:lnTo>
                  <a:lnTo>
                    <a:pt x="587" y="148"/>
                  </a:lnTo>
                  <a:lnTo>
                    <a:pt x="593" y="138"/>
                  </a:lnTo>
                  <a:lnTo>
                    <a:pt x="594" y="130"/>
                  </a:lnTo>
                  <a:lnTo>
                    <a:pt x="589" y="117"/>
                  </a:lnTo>
                  <a:lnTo>
                    <a:pt x="588" y="108"/>
                  </a:lnTo>
                  <a:lnTo>
                    <a:pt x="582" y="98"/>
                  </a:lnTo>
                  <a:lnTo>
                    <a:pt x="582" y="83"/>
                  </a:lnTo>
                  <a:lnTo>
                    <a:pt x="586" y="70"/>
                  </a:lnTo>
                  <a:lnTo>
                    <a:pt x="598" y="55"/>
                  </a:lnTo>
                  <a:lnTo>
                    <a:pt x="606" y="47"/>
                  </a:lnTo>
                  <a:lnTo>
                    <a:pt x="625" y="33"/>
                  </a:lnTo>
                  <a:lnTo>
                    <a:pt x="641" y="24"/>
                  </a:lnTo>
                  <a:lnTo>
                    <a:pt x="658" y="22"/>
                  </a:lnTo>
                  <a:lnTo>
                    <a:pt x="670" y="17"/>
                  </a:lnTo>
                  <a:lnTo>
                    <a:pt x="701" y="15"/>
                  </a:lnTo>
                  <a:lnTo>
                    <a:pt x="729" y="25"/>
                  </a:lnTo>
                  <a:lnTo>
                    <a:pt x="737" y="29"/>
                  </a:lnTo>
                  <a:lnTo>
                    <a:pt x="745" y="30"/>
                  </a:lnTo>
                  <a:lnTo>
                    <a:pt x="754" y="35"/>
                  </a:lnTo>
                  <a:lnTo>
                    <a:pt x="755" y="45"/>
                  </a:lnTo>
                  <a:lnTo>
                    <a:pt x="754" y="47"/>
                  </a:lnTo>
                  <a:lnTo>
                    <a:pt x="751" y="46"/>
                  </a:lnTo>
                  <a:lnTo>
                    <a:pt x="753" y="54"/>
                  </a:lnTo>
                  <a:lnTo>
                    <a:pt x="762" y="61"/>
                  </a:lnTo>
                  <a:lnTo>
                    <a:pt x="767" y="63"/>
                  </a:lnTo>
                  <a:lnTo>
                    <a:pt x="772" y="62"/>
                  </a:lnTo>
                  <a:lnTo>
                    <a:pt x="787" y="65"/>
                  </a:lnTo>
                  <a:lnTo>
                    <a:pt x="797" y="67"/>
                  </a:lnTo>
                  <a:lnTo>
                    <a:pt x="801" y="68"/>
                  </a:lnTo>
                  <a:lnTo>
                    <a:pt x="815" y="74"/>
                  </a:lnTo>
                  <a:lnTo>
                    <a:pt x="831" y="77"/>
                  </a:lnTo>
                  <a:lnTo>
                    <a:pt x="856" y="78"/>
                  </a:lnTo>
                  <a:lnTo>
                    <a:pt x="864" y="83"/>
                  </a:lnTo>
                  <a:lnTo>
                    <a:pt x="868" y="95"/>
                  </a:lnTo>
                  <a:lnTo>
                    <a:pt x="871" y="97"/>
                  </a:lnTo>
                  <a:lnTo>
                    <a:pt x="863" y="99"/>
                  </a:lnTo>
                  <a:lnTo>
                    <a:pt x="860" y="108"/>
                  </a:lnTo>
                  <a:lnTo>
                    <a:pt x="852" y="116"/>
                  </a:lnTo>
                  <a:lnTo>
                    <a:pt x="852" y="119"/>
                  </a:lnTo>
                  <a:lnTo>
                    <a:pt x="856" y="127"/>
                  </a:lnTo>
                  <a:lnTo>
                    <a:pt x="857" y="154"/>
                  </a:lnTo>
                  <a:lnTo>
                    <a:pt x="860" y="171"/>
                  </a:lnTo>
                  <a:lnTo>
                    <a:pt x="858" y="180"/>
                  </a:lnTo>
                  <a:lnTo>
                    <a:pt x="858" y="183"/>
                  </a:lnTo>
                  <a:lnTo>
                    <a:pt x="848" y="187"/>
                  </a:lnTo>
                  <a:lnTo>
                    <a:pt x="845" y="192"/>
                  </a:lnTo>
                  <a:lnTo>
                    <a:pt x="845" y="196"/>
                  </a:lnTo>
                  <a:lnTo>
                    <a:pt x="846" y="217"/>
                  </a:lnTo>
                  <a:lnTo>
                    <a:pt x="853" y="227"/>
                  </a:lnTo>
                  <a:lnTo>
                    <a:pt x="855" y="230"/>
                  </a:lnTo>
                  <a:lnTo>
                    <a:pt x="852" y="243"/>
                  </a:lnTo>
                  <a:lnTo>
                    <a:pt x="869" y="261"/>
                  </a:lnTo>
                  <a:lnTo>
                    <a:pt x="869" y="304"/>
                  </a:lnTo>
                  <a:lnTo>
                    <a:pt x="869" y="362"/>
                  </a:lnTo>
                  <a:lnTo>
                    <a:pt x="869" y="421"/>
                  </a:lnTo>
                  <a:lnTo>
                    <a:pt x="869" y="479"/>
                  </a:lnTo>
                  <a:lnTo>
                    <a:pt x="869" y="535"/>
                  </a:lnTo>
                  <a:lnTo>
                    <a:pt x="869" y="593"/>
                  </a:lnTo>
                  <a:lnTo>
                    <a:pt x="869" y="649"/>
                  </a:lnTo>
                  <a:lnTo>
                    <a:pt x="869" y="687"/>
                  </a:lnTo>
                  <a:lnTo>
                    <a:pt x="869" y="740"/>
                  </a:lnTo>
                  <a:lnTo>
                    <a:pt x="869" y="799"/>
                  </a:lnTo>
                  <a:lnTo>
                    <a:pt x="817" y="799"/>
                  </a:lnTo>
                  <a:lnTo>
                    <a:pt x="817" y="832"/>
                  </a:lnTo>
                  <a:lnTo>
                    <a:pt x="808" y="831"/>
                  </a:lnTo>
                  <a:lnTo>
                    <a:pt x="761" y="807"/>
                  </a:lnTo>
                  <a:lnTo>
                    <a:pt x="715" y="783"/>
                  </a:lnTo>
                  <a:lnTo>
                    <a:pt x="667" y="759"/>
                  </a:lnTo>
                  <a:lnTo>
                    <a:pt x="620" y="734"/>
                  </a:lnTo>
                  <a:lnTo>
                    <a:pt x="573" y="709"/>
                  </a:lnTo>
                  <a:lnTo>
                    <a:pt x="527" y="685"/>
                  </a:lnTo>
                  <a:lnTo>
                    <a:pt x="480" y="659"/>
                  </a:lnTo>
                  <a:lnTo>
                    <a:pt x="433" y="635"/>
                  </a:lnTo>
                  <a:lnTo>
                    <a:pt x="387" y="610"/>
                  </a:lnTo>
                  <a:lnTo>
                    <a:pt x="376" y="605"/>
                  </a:lnTo>
                  <a:lnTo>
                    <a:pt x="326" y="622"/>
                  </a:lnTo>
                  <a:lnTo>
                    <a:pt x="320" y="625"/>
                  </a:lnTo>
                  <a:lnTo>
                    <a:pt x="303" y="630"/>
                  </a:lnTo>
                  <a:lnTo>
                    <a:pt x="297" y="620"/>
                  </a:lnTo>
                  <a:lnTo>
                    <a:pt x="293" y="616"/>
                  </a:lnTo>
                  <a:lnTo>
                    <a:pt x="278" y="609"/>
                  </a:lnTo>
                  <a:lnTo>
                    <a:pt x="275" y="605"/>
                  </a:lnTo>
                  <a:lnTo>
                    <a:pt x="270" y="601"/>
                  </a:lnTo>
                  <a:lnTo>
                    <a:pt x="261" y="599"/>
                  </a:lnTo>
                  <a:lnTo>
                    <a:pt x="222" y="595"/>
                  </a:lnTo>
                  <a:lnTo>
                    <a:pt x="179" y="596"/>
                  </a:lnTo>
                  <a:lnTo>
                    <a:pt x="148" y="594"/>
                  </a:lnTo>
                  <a:lnTo>
                    <a:pt x="145" y="595"/>
                  </a:lnTo>
                  <a:lnTo>
                    <a:pt x="140" y="59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7" name="Freeform 20">
              <a:extLst>
                <a:ext uri="{FF2B5EF4-FFF2-40B4-BE49-F238E27FC236}">
                  <a16:creationId xmlns:a16="http://schemas.microsoft.com/office/drawing/2014/main" id="{29329213-75A7-F8DE-11E3-C4E65A25D46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276223" y="3444756"/>
              <a:ext cx="244744" cy="228632"/>
            </a:xfrm>
            <a:custGeom>
              <a:avLst/>
              <a:gdLst>
                <a:gd name="T0" fmla="*/ 2147483647 w 459"/>
                <a:gd name="T1" fmla="*/ 2147483647 h 401"/>
                <a:gd name="T2" fmla="*/ 2147483647 w 459"/>
                <a:gd name="T3" fmla="*/ 2147483647 h 401"/>
                <a:gd name="T4" fmla="*/ 2147483647 w 459"/>
                <a:gd name="T5" fmla="*/ 2147483647 h 401"/>
                <a:gd name="T6" fmla="*/ 0 w 459"/>
                <a:gd name="T7" fmla="*/ 2147483647 h 401"/>
                <a:gd name="T8" fmla="*/ 0 w 459"/>
                <a:gd name="T9" fmla="*/ 2147483647 h 401"/>
                <a:gd name="T10" fmla="*/ 0 w 459"/>
                <a:gd name="T11" fmla="*/ 2147483647 h 401"/>
                <a:gd name="T12" fmla="*/ 0 w 459"/>
                <a:gd name="T13" fmla="*/ 2147483647 h 401"/>
                <a:gd name="T14" fmla="*/ 0 w 459"/>
                <a:gd name="T15" fmla="*/ 2147483647 h 401"/>
                <a:gd name="T16" fmla="*/ 0 w 459"/>
                <a:gd name="T17" fmla="*/ 2147483647 h 401"/>
                <a:gd name="T18" fmla="*/ 0 w 459"/>
                <a:gd name="T19" fmla="*/ 2147483647 h 401"/>
                <a:gd name="T20" fmla="*/ 0 w 459"/>
                <a:gd name="T21" fmla="*/ 2147483647 h 401"/>
                <a:gd name="T22" fmla="*/ 0 w 459"/>
                <a:gd name="T23" fmla="*/ 2147483647 h 401"/>
                <a:gd name="T24" fmla="*/ 0 w 459"/>
                <a:gd name="T25" fmla="*/ 2147483647 h 401"/>
                <a:gd name="T26" fmla="*/ 0 w 459"/>
                <a:gd name="T27" fmla="*/ 2147483647 h 401"/>
                <a:gd name="T28" fmla="*/ 0 w 459"/>
                <a:gd name="T29" fmla="*/ 2147483647 h 401"/>
                <a:gd name="T30" fmla="*/ 2147483647 w 459"/>
                <a:gd name="T31" fmla="*/ 2147483647 h 401"/>
                <a:gd name="T32" fmla="*/ 0 w 459"/>
                <a:gd name="T33" fmla="*/ 2147483647 h 401"/>
                <a:gd name="T34" fmla="*/ 2147483647 w 459"/>
                <a:gd name="T35" fmla="*/ 2147483647 h 401"/>
                <a:gd name="T36" fmla="*/ 2147483647 w 459"/>
                <a:gd name="T37" fmla="*/ 2147483647 h 401"/>
                <a:gd name="T38" fmla="*/ 2147483647 w 459"/>
                <a:gd name="T39" fmla="*/ 2147483647 h 401"/>
                <a:gd name="T40" fmla="*/ 2147483647 w 459"/>
                <a:gd name="T41" fmla="*/ 2147483647 h 401"/>
                <a:gd name="T42" fmla="*/ 2147483647 w 459"/>
                <a:gd name="T43" fmla="*/ 2147483647 h 401"/>
                <a:gd name="T44" fmla="*/ 2147483647 w 459"/>
                <a:gd name="T45" fmla="*/ 2147483647 h 401"/>
                <a:gd name="T46" fmla="*/ 2147483647 w 459"/>
                <a:gd name="T47" fmla="*/ 2147483647 h 401"/>
                <a:gd name="T48" fmla="*/ 2147483647 w 459"/>
                <a:gd name="T49" fmla="*/ 2147483647 h 401"/>
                <a:gd name="T50" fmla="*/ 2147483647 w 459"/>
                <a:gd name="T51" fmla="*/ 2147483647 h 401"/>
                <a:gd name="T52" fmla="*/ 2147483647 w 459"/>
                <a:gd name="T53" fmla="*/ 2147483647 h 401"/>
                <a:gd name="T54" fmla="*/ 2147483647 w 459"/>
                <a:gd name="T55" fmla="*/ 0 h 401"/>
                <a:gd name="T56" fmla="*/ 2147483647 w 459"/>
                <a:gd name="T57" fmla="*/ 0 h 401"/>
                <a:gd name="T58" fmla="*/ 2147483647 w 459"/>
                <a:gd name="T59" fmla="*/ 0 h 401"/>
                <a:gd name="T60" fmla="*/ 2147483647 w 459"/>
                <a:gd name="T61" fmla="*/ 0 h 401"/>
                <a:gd name="T62" fmla="*/ 2147483647 w 459"/>
                <a:gd name="T63" fmla="*/ 0 h 401"/>
                <a:gd name="T64" fmla="*/ 2147483647 w 459"/>
                <a:gd name="T65" fmla="*/ 0 h 401"/>
                <a:gd name="T66" fmla="*/ 2147483647 w 459"/>
                <a:gd name="T67" fmla="*/ 0 h 401"/>
                <a:gd name="T68" fmla="*/ 2147483647 w 459"/>
                <a:gd name="T69" fmla="*/ 0 h 401"/>
                <a:gd name="T70" fmla="*/ 2147483647 w 459"/>
                <a:gd name="T71" fmla="*/ 0 h 401"/>
                <a:gd name="T72" fmla="*/ 2147483647 w 459"/>
                <a:gd name="T73" fmla="*/ 0 h 401"/>
                <a:gd name="T74" fmla="*/ 2147483647 w 459"/>
                <a:gd name="T75" fmla="*/ 0 h 401"/>
                <a:gd name="T76" fmla="*/ 2147483647 w 459"/>
                <a:gd name="T77" fmla="*/ 0 h 401"/>
                <a:gd name="T78" fmla="*/ 2147483647 w 459"/>
                <a:gd name="T79" fmla="*/ 0 h 401"/>
                <a:gd name="T80" fmla="*/ 2147483647 w 459"/>
                <a:gd name="T81" fmla="*/ 0 h 401"/>
                <a:gd name="T82" fmla="*/ 2147483647 w 459"/>
                <a:gd name="T83" fmla="*/ 0 h 401"/>
                <a:gd name="T84" fmla="*/ 2147483647 w 459"/>
                <a:gd name="T85" fmla="*/ 2147483647 h 401"/>
                <a:gd name="T86" fmla="*/ 2147483647 w 459"/>
                <a:gd name="T87" fmla="*/ 2147483647 h 401"/>
                <a:gd name="T88" fmla="*/ 2147483647 w 459"/>
                <a:gd name="T89" fmla="*/ 2147483647 h 401"/>
                <a:gd name="T90" fmla="*/ 2147483647 w 459"/>
                <a:gd name="T91" fmla="*/ 2147483647 h 401"/>
                <a:gd name="T92" fmla="*/ 2147483647 w 459"/>
                <a:gd name="T93" fmla="*/ 2147483647 h 401"/>
                <a:gd name="T94" fmla="*/ 2147483647 w 459"/>
                <a:gd name="T95" fmla="*/ 2147483647 h 401"/>
                <a:gd name="T96" fmla="*/ 2147483647 w 459"/>
                <a:gd name="T97" fmla="*/ 2147483647 h 401"/>
                <a:gd name="T98" fmla="*/ 2147483647 w 459"/>
                <a:gd name="T99" fmla="*/ 2147483647 h 401"/>
                <a:gd name="T100" fmla="*/ 2147483647 w 459"/>
                <a:gd name="T101" fmla="*/ 2147483647 h 401"/>
                <a:gd name="T102" fmla="*/ 2147483647 w 459"/>
                <a:gd name="T103" fmla="*/ 2147483647 h 401"/>
                <a:gd name="T104" fmla="*/ 2147483647 w 459"/>
                <a:gd name="T105" fmla="*/ 2147483647 h 401"/>
                <a:gd name="T106" fmla="*/ 2147483647 w 459"/>
                <a:gd name="T107" fmla="*/ 2147483647 h 401"/>
                <a:gd name="T108" fmla="*/ 2147483647 w 459"/>
                <a:gd name="T109" fmla="*/ 2147483647 h 401"/>
                <a:gd name="T110" fmla="*/ 2147483647 w 459"/>
                <a:gd name="T111" fmla="*/ 2147483647 h 401"/>
                <a:gd name="T112" fmla="*/ 2147483647 w 459"/>
                <a:gd name="T113" fmla="*/ 2147483647 h 401"/>
                <a:gd name="T114" fmla="*/ 2147483647 w 459"/>
                <a:gd name="T115" fmla="*/ 2147483647 h 401"/>
                <a:gd name="T116" fmla="*/ 2147483647 w 459"/>
                <a:gd name="T117" fmla="*/ 2147483647 h 401"/>
                <a:gd name="T118" fmla="*/ 2147483647 w 459"/>
                <a:gd name="T119" fmla="*/ 2147483647 h 401"/>
                <a:gd name="T120" fmla="*/ 2147483647 w 459"/>
                <a:gd name="T121" fmla="*/ 2147483647 h 401"/>
                <a:gd name="T122" fmla="*/ 2147483647 w 459"/>
                <a:gd name="T123" fmla="*/ 2147483647 h 40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459"/>
                <a:gd name="T187" fmla="*/ 0 h 401"/>
                <a:gd name="T188" fmla="*/ 459 w 459"/>
                <a:gd name="T189" fmla="*/ 401 h 401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459" h="401">
                  <a:moveTo>
                    <a:pt x="196" y="379"/>
                  </a:moveTo>
                  <a:lnTo>
                    <a:pt x="148" y="379"/>
                  </a:lnTo>
                  <a:lnTo>
                    <a:pt x="96" y="379"/>
                  </a:lnTo>
                  <a:lnTo>
                    <a:pt x="45" y="379"/>
                  </a:lnTo>
                  <a:lnTo>
                    <a:pt x="16" y="379"/>
                  </a:lnTo>
                  <a:lnTo>
                    <a:pt x="14" y="385"/>
                  </a:lnTo>
                  <a:lnTo>
                    <a:pt x="6" y="392"/>
                  </a:lnTo>
                  <a:lnTo>
                    <a:pt x="2" y="397"/>
                  </a:lnTo>
                  <a:lnTo>
                    <a:pt x="5" y="396"/>
                  </a:lnTo>
                  <a:lnTo>
                    <a:pt x="0" y="401"/>
                  </a:lnTo>
                  <a:lnTo>
                    <a:pt x="0" y="392"/>
                  </a:lnTo>
                  <a:lnTo>
                    <a:pt x="5" y="355"/>
                  </a:lnTo>
                  <a:lnTo>
                    <a:pt x="16" y="329"/>
                  </a:lnTo>
                  <a:lnTo>
                    <a:pt x="28" y="323"/>
                  </a:lnTo>
                  <a:lnTo>
                    <a:pt x="40" y="296"/>
                  </a:lnTo>
                  <a:lnTo>
                    <a:pt x="48" y="284"/>
                  </a:lnTo>
                  <a:lnTo>
                    <a:pt x="45" y="275"/>
                  </a:lnTo>
                  <a:lnTo>
                    <a:pt x="65" y="246"/>
                  </a:lnTo>
                  <a:lnTo>
                    <a:pt x="69" y="240"/>
                  </a:lnTo>
                  <a:lnTo>
                    <a:pt x="71" y="229"/>
                  </a:lnTo>
                  <a:lnTo>
                    <a:pt x="76" y="221"/>
                  </a:lnTo>
                  <a:lnTo>
                    <a:pt x="105" y="188"/>
                  </a:lnTo>
                  <a:lnTo>
                    <a:pt x="120" y="164"/>
                  </a:lnTo>
                  <a:lnTo>
                    <a:pt x="123" y="145"/>
                  </a:lnTo>
                  <a:lnTo>
                    <a:pt x="132" y="122"/>
                  </a:lnTo>
                  <a:lnTo>
                    <a:pt x="139" y="100"/>
                  </a:lnTo>
                  <a:lnTo>
                    <a:pt x="155" y="80"/>
                  </a:lnTo>
                  <a:lnTo>
                    <a:pt x="174" y="70"/>
                  </a:lnTo>
                  <a:lnTo>
                    <a:pt x="190" y="57"/>
                  </a:lnTo>
                  <a:lnTo>
                    <a:pt x="196" y="38"/>
                  </a:lnTo>
                  <a:lnTo>
                    <a:pt x="199" y="33"/>
                  </a:lnTo>
                  <a:lnTo>
                    <a:pt x="204" y="22"/>
                  </a:lnTo>
                  <a:lnTo>
                    <a:pt x="213" y="6"/>
                  </a:lnTo>
                  <a:lnTo>
                    <a:pt x="218" y="0"/>
                  </a:lnTo>
                  <a:lnTo>
                    <a:pt x="227" y="0"/>
                  </a:lnTo>
                  <a:lnTo>
                    <a:pt x="261" y="0"/>
                  </a:lnTo>
                  <a:lnTo>
                    <a:pt x="297" y="0"/>
                  </a:lnTo>
                  <a:lnTo>
                    <a:pt x="338" y="0"/>
                  </a:lnTo>
                  <a:lnTo>
                    <a:pt x="379" y="0"/>
                  </a:lnTo>
                  <a:lnTo>
                    <a:pt x="422" y="0"/>
                  </a:lnTo>
                  <a:lnTo>
                    <a:pt x="459" y="0"/>
                  </a:lnTo>
                  <a:lnTo>
                    <a:pt x="459" y="32"/>
                  </a:lnTo>
                  <a:lnTo>
                    <a:pt x="459" y="102"/>
                  </a:lnTo>
                  <a:lnTo>
                    <a:pt x="405" y="102"/>
                  </a:lnTo>
                  <a:lnTo>
                    <a:pt x="352" y="102"/>
                  </a:lnTo>
                  <a:lnTo>
                    <a:pt x="299" y="102"/>
                  </a:lnTo>
                  <a:lnTo>
                    <a:pt x="281" y="102"/>
                  </a:lnTo>
                  <a:lnTo>
                    <a:pt x="281" y="160"/>
                  </a:lnTo>
                  <a:lnTo>
                    <a:pt x="281" y="219"/>
                  </a:lnTo>
                  <a:lnTo>
                    <a:pt x="281" y="254"/>
                  </a:lnTo>
                  <a:lnTo>
                    <a:pt x="261" y="261"/>
                  </a:lnTo>
                  <a:lnTo>
                    <a:pt x="244" y="263"/>
                  </a:lnTo>
                  <a:lnTo>
                    <a:pt x="228" y="268"/>
                  </a:lnTo>
                  <a:lnTo>
                    <a:pt x="223" y="272"/>
                  </a:lnTo>
                  <a:lnTo>
                    <a:pt x="220" y="277"/>
                  </a:lnTo>
                  <a:lnTo>
                    <a:pt x="215" y="288"/>
                  </a:lnTo>
                  <a:lnTo>
                    <a:pt x="213" y="296"/>
                  </a:lnTo>
                  <a:lnTo>
                    <a:pt x="215" y="322"/>
                  </a:lnTo>
                  <a:lnTo>
                    <a:pt x="218" y="342"/>
                  </a:lnTo>
                  <a:lnTo>
                    <a:pt x="218" y="363"/>
                  </a:lnTo>
                  <a:lnTo>
                    <a:pt x="222" y="379"/>
                  </a:lnTo>
                  <a:lnTo>
                    <a:pt x="196" y="37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8" name="Freeform 27">
              <a:extLst>
                <a:ext uri="{FF2B5EF4-FFF2-40B4-BE49-F238E27FC236}">
                  <a16:creationId xmlns:a16="http://schemas.microsoft.com/office/drawing/2014/main" id="{89273B56-35A2-3B0C-3655-1A02EAE5FED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120888" y="4478176"/>
              <a:ext cx="29847" cy="45726"/>
            </a:xfrm>
            <a:custGeom>
              <a:avLst/>
              <a:gdLst>
                <a:gd name="T0" fmla="*/ 0 w 56"/>
                <a:gd name="T1" fmla="*/ 0 h 78"/>
                <a:gd name="T2" fmla="*/ 0 w 56"/>
                <a:gd name="T3" fmla="*/ 0 h 78"/>
                <a:gd name="T4" fmla="*/ 0 w 56"/>
                <a:gd name="T5" fmla="*/ 0 h 78"/>
                <a:gd name="T6" fmla="*/ 0 w 56"/>
                <a:gd name="T7" fmla="*/ 0 h 78"/>
                <a:gd name="T8" fmla="*/ 0 w 56"/>
                <a:gd name="T9" fmla="*/ 0 h 78"/>
                <a:gd name="T10" fmla="*/ 0 w 56"/>
                <a:gd name="T11" fmla="*/ 0 h 78"/>
                <a:gd name="T12" fmla="*/ 0 w 56"/>
                <a:gd name="T13" fmla="*/ 0 h 78"/>
                <a:gd name="T14" fmla="*/ 0 w 56"/>
                <a:gd name="T15" fmla="*/ 0 h 78"/>
                <a:gd name="T16" fmla="*/ 0 w 56"/>
                <a:gd name="T17" fmla="*/ 0 h 78"/>
                <a:gd name="T18" fmla="*/ 0 w 56"/>
                <a:gd name="T19" fmla="*/ 0 h 78"/>
                <a:gd name="T20" fmla="*/ 0 w 56"/>
                <a:gd name="T21" fmla="*/ 0 h 78"/>
                <a:gd name="T22" fmla="*/ 0 w 56"/>
                <a:gd name="T23" fmla="*/ 0 h 78"/>
                <a:gd name="T24" fmla="*/ 0 w 56"/>
                <a:gd name="T25" fmla="*/ 0 h 78"/>
                <a:gd name="T26" fmla="*/ 0 w 56"/>
                <a:gd name="T27" fmla="*/ 0 h 78"/>
                <a:gd name="T28" fmla="*/ 0 w 56"/>
                <a:gd name="T29" fmla="*/ 0 h 78"/>
                <a:gd name="T30" fmla="*/ 0 w 56"/>
                <a:gd name="T31" fmla="*/ 0 h 78"/>
                <a:gd name="T32" fmla="*/ 0 w 56"/>
                <a:gd name="T33" fmla="*/ 0 h 78"/>
                <a:gd name="T34" fmla="*/ 0 w 56"/>
                <a:gd name="T35" fmla="*/ 0 h 78"/>
                <a:gd name="T36" fmla="*/ 0 w 56"/>
                <a:gd name="T37" fmla="*/ 0 h 7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6"/>
                <a:gd name="T58" fmla="*/ 0 h 78"/>
                <a:gd name="T59" fmla="*/ 56 w 56"/>
                <a:gd name="T60" fmla="*/ 78 h 7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6" h="78">
                  <a:moveTo>
                    <a:pt x="56" y="14"/>
                  </a:moveTo>
                  <a:lnTo>
                    <a:pt x="51" y="3"/>
                  </a:lnTo>
                  <a:lnTo>
                    <a:pt x="41" y="0"/>
                  </a:lnTo>
                  <a:lnTo>
                    <a:pt x="31" y="5"/>
                  </a:lnTo>
                  <a:lnTo>
                    <a:pt x="24" y="19"/>
                  </a:lnTo>
                  <a:lnTo>
                    <a:pt x="14" y="25"/>
                  </a:lnTo>
                  <a:lnTo>
                    <a:pt x="0" y="35"/>
                  </a:lnTo>
                  <a:lnTo>
                    <a:pt x="5" y="40"/>
                  </a:lnTo>
                  <a:lnTo>
                    <a:pt x="8" y="55"/>
                  </a:lnTo>
                  <a:lnTo>
                    <a:pt x="8" y="64"/>
                  </a:lnTo>
                  <a:lnTo>
                    <a:pt x="9" y="71"/>
                  </a:lnTo>
                  <a:lnTo>
                    <a:pt x="18" y="78"/>
                  </a:lnTo>
                  <a:lnTo>
                    <a:pt x="26" y="73"/>
                  </a:lnTo>
                  <a:lnTo>
                    <a:pt x="27" y="61"/>
                  </a:lnTo>
                  <a:lnTo>
                    <a:pt x="30" y="46"/>
                  </a:lnTo>
                  <a:lnTo>
                    <a:pt x="34" y="30"/>
                  </a:lnTo>
                  <a:lnTo>
                    <a:pt x="43" y="22"/>
                  </a:lnTo>
                  <a:lnTo>
                    <a:pt x="52" y="16"/>
                  </a:lnTo>
                  <a:lnTo>
                    <a:pt x="56" y="1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9" name="Freeform 34">
              <a:extLst>
                <a:ext uri="{FF2B5EF4-FFF2-40B4-BE49-F238E27FC236}">
                  <a16:creationId xmlns:a16="http://schemas.microsoft.com/office/drawing/2014/main" id="{2B292449-6606-4BCD-B249-3B7DC7463AF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331440" y="3941651"/>
              <a:ext cx="214897" cy="176809"/>
            </a:xfrm>
            <a:custGeom>
              <a:avLst/>
              <a:gdLst>
                <a:gd name="T0" fmla="*/ 2147483647 w 404"/>
                <a:gd name="T1" fmla="*/ 0 h 307"/>
                <a:gd name="T2" fmla="*/ 2147483647 w 404"/>
                <a:gd name="T3" fmla="*/ 0 h 307"/>
                <a:gd name="T4" fmla="*/ 2147483647 w 404"/>
                <a:gd name="T5" fmla="*/ 0 h 307"/>
                <a:gd name="T6" fmla="*/ 2147483647 w 404"/>
                <a:gd name="T7" fmla="*/ 0 h 307"/>
                <a:gd name="T8" fmla="*/ 2147483647 w 404"/>
                <a:gd name="T9" fmla="*/ 0 h 307"/>
                <a:gd name="T10" fmla="*/ 2147483647 w 404"/>
                <a:gd name="T11" fmla="*/ 0 h 307"/>
                <a:gd name="T12" fmla="*/ 2147483647 w 404"/>
                <a:gd name="T13" fmla="*/ 0 h 307"/>
                <a:gd name="T14" fmla="*/ 0 w 404"/>
                <a:gd name="T15" fmla="*/ 2147483647 h 307"/>
                <a:gd name="T16" fmla="*/ 0 w 404"/>
                <a:gd name="T17" fmla="*/ 2147483647 h 307"/>
                <a:gd name="T18" fmla="*/ 0 w 404"/>
                <a:gd name="T19" fmla="*/ 2147483647 h 307"/>
                <a:gd name="T20" fmla="*/ 0 w 404"/>
                <a:gd name="T21" fmla="*/ 2147483647 h 307"/>
                <a:gd name="T22" fmla="*/ 2147483647 w 404"/>
                <a:gd name="T23" fmla="*/ 2147483647 h 307"/>
                <a:gd name="T24" fmla="*/ 2147483647 w 404"/>
                <a:gd name="T25" fmla="*/ 2147483647 h 307"/>
                <a:gd name="T26" fmla="*/ 2147483647 w 404"/>
                <a:gd name="T27" fmla="*/ 2147483647 h 307"/>
                <a:gd name="T28" fmla="*/ 2147483647 w 404"/>
                <a:gd name="T29" fmla="*/ 2147483647 h 307"/>
                <a:gd name="T30" fmla="*/ 2147483647 w 404"/>
                <a:gd name="T31" fmla="*/ 2147483647 h 307"/>
                <a:gd name="T32" fmla="*/ 2147483647 w 404"/>
                <a:gd name="T33" fmla="*/ 2147483647 h 307"/>
                <a:gd name="T34" fmla="*/ 2147483647 w 404"/>
                <a:gd name="T35" fmla="*/ 2147483647 h 307"/>
                <a:gd name="T36" fmla="*/ 2147483647 w 404"/>
                <a:gd name="T37" fmla="*/ 2147483647 h 307"/>
                <a:gd name="T38" fmla="*/ 2147483647 w 404"/>
                <a:gd name="T39" fmla="*/ 2147483647 h 307"/>
                <a:gd name="T40" fmla="*/ 2147483647 w 404"/>
                <a:gd name="T41" fmla="*/ 2147483647 h 307"/>
                <a:gd name="T42" fmla="*/ 2147483647 w 404"/>
                <a:gd name="T43" fmla="*/ 2147483647 h 307"/>
                <a:gd name="T44" fmla="*/ 2147483647 w 404"/>
                <a:gd name="T45" fmla="*/ 2147483647 h 307"/>
                <a:gd name="T46" fmla="*/ 2147483647 w 404"/>
                <a:gd name="T47" fmla="*/ 2147483647 h 307"/>
                <a:gd name="T48" fmla="*/ 2147483647 w 404"/>
                <a:gd name="T49" fmla="*/ 2147483647 h 307"/>
                <a:gd name="T50" fmla="*/ 2147483647 w 404"/>
                <a:gd name="T51" fmla="*/ 2147483647 h 307"/>
                <a:gd name="T52" fmla="*/ 2147483647 w 404"/>
                <a:gd name="T53" fmla="*/ 2147483647 h 307"/>
                <a:gd name="T54" fmla="*/ 2147483647 w 404"/>
                <a:gd name="T55" fmla="*/ 2147483647 h 307"/>
                <a:gd name="T56" fmla="*/ 2147483647 w 404"/>
                <a:gd name="T57" fmla="*/ 2147483647 h 307"/>
                <a:gd name="T58" fmla="*/ 2147483647 w 404"/>
                <a:gd name="T59" fmla="*/ 2147483647 h 307"/>
                <a:gd name="T60" fmla="*/ 2147483647 w 404"/>
                <a:gd name="T61" fmla="*/ 2147483647 h 307"/>
                <a:gd name="T62" fmla="*/ 2147483647 w 404"/>
                <a:gd name="T63" fmla="*/ 2147483647 h 307"/>
                <a:gd name="T64" fmla="*/ 2147483647 w 404"/>
                <a:gd name="T65" fmla="*/ 2147483647 h 307"/>
                <a:gd name="T66" fmla="*/ 2147483647 w 404"/>
                <a:gd name="T67" fmla="*/ 2147483647 h 307"/>
                <a:gd name="T68" fmla="*/ 2147483647 w 404"/>
                <a:gd name="T69" fmla="*/ 2147483647 h 307"/>
                <a:gd name="T70" fmla="*/ 2147483647 w 404"/>
                <a:gd name="T71" fmla="*/ 2147483647 h 307"/>
                <a:gd name="T72" fmla="*/ 2147483647 w 404"/>
                <a:gd name="T73" fmla="*/ 2147483647 h 307"/>
                <a:gd name="T74" fmla="*/ 2147483647 w 404"/>
                <a:gd name="T75" fmla="*/ 2147483647 h 307"/>
                <a:gd name="T76" fmla="*/ 2147483647 w 404"/>
                <a:gd name="T77" fmla="*/ 2147483647 h 307"/>
                <a:gd name="T78" fmla="*/ 2147483647 w 404"/>
                <a:gd name="T79" fmla="*/ 2147483647 h 307"/>
                <a:gd name="T80" fmla="*/ 2147483647 w 404"/>
                <a:gd name="T81" fmla="*/ 2147483647 h 307"/>
                <a:gd name="T82" fmla="*/ 2147483647 w 404"/>
                <a:gd name="T83" fmla="*/ 2147483647 h 307"/>
                <a:gd name="T84" fmla="*/ 2147483647 w 404"/>
                <a:gd name="T85" fmla="*/ 2147483647 h 307"/>
                <a:gd name="T86" fmla="*/ 2147483647 w 404"/>
                <a:gd name="T87" fmla="*/ 2147483647 h 307"/>
                <a:gd name="T88" fmla="*/ 2147483647 w 404"/>
                <a:gd name="T89" fmla="*/ 0 h 307"/>
                <a:gd name="T90" fmla="*/ 2147483647 w 404"/>
                <a:gd name="T91" fmla="*/ 0 h 307"/>
                <a:gd name="T92" fmla="*/ 2147483647 w 404"/>
                <a:gd name="T93" fmla="*/ 0 h 307"/>
                <a:gd name="T94" fmla="*/ 2147483647 w 404"/>
                <a:gd name="T95" fmla="*/ 0 h 307"/>
                <a:gd name="T96" fmla="*/ 2147483647 w 404"/>
                <a:gd name="T97" fmla="*/ 0 h 307"/>
                <a:gd name="T98" fmla="*/ 2147483647 w 404"/>
                <a:gd name="T99" fmla="*/ 0 h 307"/>
                <a:gd name="T100" fmla="*/ 2147483647 w 404"/>
                <a:gd name="T101" fmla="*/ 0 h 307"/>
                <a:gd name="T102" fmla="*/ 2147483647 w 404"/>
                <a:gd name="T103" fmla="*/ 0 h 307"/>
                <a:gd name="T104" fmla="*/ 2147483647 w 404"/>
                <a:gd name="T105" fmla="*/ 0 h 307"/>
                <a:gd name="T106" fmla="*/ 2147483647 w 404"/>
                <a:gd name="T107" fmla="*/ 0 h 30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404"/>
                <a:gd name="T163" fmla="*/ 0 h 307"/>
                <a:gd name="T164" fmla="*/ 404 w 404"/>
                <a:gd name="T165" fmla="*/ 307 h 30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404" h="307">
                  <a:moveTo>
                    <a:pt x="205" y="15"/>
                  </a:moveTo>
                  <a:lnTo>
                    <a:pt x="195" y="15"/>
                  </a:lnTo>
                  <a:lnTo>
                    <a:pt x="189" y="18"/>
                  </a:lnTo>
                  <a:lnTo>
                    <a:pt x="185" y="18"/>
                  </a:lnTo>
                  <a:lnTo>
                    <a:pt x="174" y="17"/>
                  </a:lnTo>
                  <a:lnTo>
                    <a:pt x="172" y="18"/>
                  </a:lnTo>
                  <a:lnTo>
                    <a:pt x="165" y="18"/>
                  </a:lnTo>
                  <a:lnTo>
                    <a:pt x="157" y="20"/>
                  </a:lnTo>
                  <a:lnTo>
                    <a:pt x="151" y="20"/>
                  </a:lnTo>
                  <a:lnTo>
                    <a:pt x="146" y="18"/>
                  </a:lnTo>
                  <a:lnTo>
                    <a:pt x="142" y="18"/>
                  </a:lnTo>
                  <a:lnTo>
                    <a:pt x="135" y="15"/>
                  </a:lnTo>
                  <a:lnTo>
                    <a:pt x="128" y="15"/>
                  </a:lnTo>
                  <a:lnTo>
                    <a:pt x="122" y="9"/>
                  </a:lnTo>
                  <a:lnTo>
                    <a:pt x="119" y="11"/>
                  </a:lnTo>
                  <a:lnTo>
                    <a:pt x="119" y="14"/>
                  </a:lnTo>
                  <a:lnTo>
                    <a:pt x="112" y="13"/>
                  </a:lnTo>
                  <a:lnTo>
                    <a:pt x="112" y="7"/>
                  </a:lnTo>
                  <a:lnTo>
                    <a:pt x="109" y="4"/>
                  </a:lnTo>
                  <a:lnTo>
                    <a:pt x="101" y="3"/>
                  </a:lnTo>
                  <a:lnTo>
                    <a:pt x="95" y="4"/>
                  </a:lnTo>
                  <a:lnTo>
                    <a:pt x="90" y="1"/>
                  </a:lnTo>
                  <a:lnTo>
                    <a:pt x="76" y="0"/>
                  </a:lnTo>
                  <a:lnTo>
                    <a:pt x="76" y="7"/>
                  </a:lnTo>
                  <a:lnTo>
                    <a:pt x="80" y="14"/>
                  </a:lnTo>
                  <a:lnTo>
                    <a:pt x="80" y="18"/>
                  </a:lnTo>
                  <a:lnTo>
                    <a:pt x="77" y="24"/>
                  </a:lnTo>
                  <a:lnTo>
                    <a:pt x="75" y="25"/>
                  </a:lnTo>
                  <a:lnTo>
                    <a:pt x="69" y="25"/>
                  </a:lnTo>
                  <a:lnTo>
                    <a:pt x="67" y="27"/>
                  </a:lnTo>
                  <a:lnTo>
                    <a:pt x="65" y="30"/>
                  </a:lnTo>
                  <a:lnTo>
                    <a:pt x="71" y="34"/>
                  </a:lnTo>
                  <a:lnTo>
                    <a:pt x="74" y="39"/>
                  </a:lnTo>
                  <a:lnTo>
                    <a:pt x="75" y="57"/>
                  </a:lnTo>
                  <a:lnTo>
                    <a:pt x="69" y="57"/>
                  </a:lnTo>
                  <a:lnTo>
                    <a:pt x="65" y="60"/>
                  </a:lnTo>
                  <a:lnTo>
                    <a:pt x="45" y="60"/>
                  </a:lnTo>
                  <a:lnTo>
                    <a:pt x="28" y="67"/>
                  </a:lnTo>
                  <a:lnTo>
                    <a:pt x="21" y="73"/>
                  </a:lnTo>
                  <a:lnTo>
                    <a:pt x="17" y="81"/>
                  </a:lnTo>
                  <a:lnTo>
                    <a:pt x="13" y="89"/>
                  </a:lnTo>
                  <a:lnTo>
                    <a:pt x="11" y="93"/>
                  </a:lnTo>
                  <a:lnTo>
                    <a:pt x="6" y="97"/>
                  </a:lnTo>
                  <a:lnTo>
                    <a:pt x="0" y="99"/>
                  </a:lnTo>
                  <a:lnTo>
                    <a:pt x="1" y="109"/>
                  </a:lnTo>
                  <a:lnTo>
                    <a:pt x="5" y="110"/>
                  </a:lnTo>
                  <a:lnTo>
                    <a:pt x="7" y="110"/>
                  </a:lnTo>
                  <a:lnTo>
                    <a:pt x="10" y="109"/>
                  </a:lnTo>
                  <a:lnTo>
                    <a:pt x="13" y="101"/>
                  </a:lnTo>
                  <a:lnTo>
                    <a:pt x="17" y="100"/>
                  </a:lnTo>
                  <a:lnTo>
                    <a:pt x="21" y="114"/>
                  </a:lnTo>
                  <a:lnTo>
                    <a:pt x="29" y="115"/>
                  </a:lnTo>
                  <a:lnTo>
                    <a:pt x="31" y="116"/>
                  </a:lnTo>
                  <a:lnTo>
                    <a:pt x="31" y="128"/>
                  </a:lnTo>
                  <a:lnTo>
                    <a:pt x="36" y="141"/>
                  </a:lnTo>
                  <a:lnTo>
                    <a:pt x="39" y="146"/>
                  </a:lnTo>
                  <a:lnTo>
                    <a:pt x="47" y="148"/>
                  </a:lnTo>
                  <a:lnTo>
                    <a:pt x="55" y="154"/>
                  </a:lnTo>
                  <a:lnTo>
                    <a:pt x="66" y="159"/>
                  </a:lnTo>
                  <a:lnTo>
                    <a:pt x="74" y="168"/>
                  </a:lnTo>
                  <a:lnTo>
                    <a:pt x="75" y="179"/>
                  </a:lnTo>
                  <a:lnTo>
                    <a:pt x="83" y="183"/>
                  </a:lnTo>
                  <a:lnTo>
                    <a:pt x="86" y="187"/>
                  </a:lnTo>
                  <a:lnTo>
                    <a:pt x="88" y="190"/>
                  </a:lnTo>
                  <a:lnTo>
                    <a:pt x="88" y="192"/>
                  </a:lnTo>
                  <a:lnTo>
                    <a:pt x="93" y="195"/>
                  </a:lnTo>
                  <a:lnTo>
                    <a:pt x="97" y="200"/>
                  </a:lnTo>
                  <a:lnTo>
                    <a:pt x="98" y="201"/>
                  </a:lnTo>
                  <a:lnTo>
                    <a:pt x="104" y="203"/>
                  </a:lnTo>
                  <a:lnTo>
                    <a:pt x="110" y="203"/>
                  </a:lnTo>
                  <a:lnTo>
                    <a:pt x="113" y="202"/>
                  </a:lnTo>
                  <a:lnTo>
                    <a:pt x="115" y="201"/>
                  </a:lnTo>
                  <a:lnTo>
                    <a:pt x="119" y="191"/>
                  </a:lnTo>
                  <a:lnTo>
                    <a:pt x="124" y="191"/>
                  </a:lnTo>
                  <a:lnTo>
                    <a:pt x="128" y="189"/>
                  </a:lnTo>
                  <a:lnTo>
                    <a:pt x="128" y="184"/>
                  </a:lnTo>
                  <a:lnTo>
                    <a:pt x="133" y="183"/>
                  </a:lnTo>
                  <a:lnTo>
                    <a:pt x="139" y="175"/>
                  </a:lnTo>
                  <a:lnTo>
                    <a:pt x="142" y="168"/>
                  </a:lnTo>
                  <a:lnTo>
                    <a:pt x="141" y="159"/>
                  </a:lnTo>
                  <a:lnTo>
                    <a:pt x="145" y="158"/>
                  </a:lnTo>
                  <a:lnTo>
                    <a:pt x="153" y="157"/>
                  </a:lnTo>
                  <a:lnTo>
                    <a:pt x="157" y="159"/>
                  </a:lnTo>
                  <a:lnTo>
                    <a:pt x="161" y="159"/>
                  </a:lnTo>
                  <a:lnTo>
                    <a:pt x="166" y="157"/>
                  </a:lnTo>
                  <a:lnTo>
                    <a:pt x="172" y="157"/>
                  </a:lnTo>
                  <a:lnTo>
                    <a:pt x="172" y="152"/>
                  </a:lnTo>
                  <a:lnTo>
                    <a:pt x="198" y="152"/>
                  </a:lnTo>
                  <a:lnTo>
                    <a:pt x="211" y="153"/>
                  </a:lnTo>
                  <a:lnTo>
                    <a:pt x="215" y="160"/>
                  </a:lnTo>
                  <a:lnTo>
                    <a:pt x="221" y="164"/>
                  </a:lnTo>
                  <a:lnTo>
                    <a:pt x="225" y="169"/>
                  </a:lnTo>
                  <a:lnTo>
                    <a:pt x="230" y="173"/>
                  </a:lnTo>
                  <a:lnTo>
                    <a:pt x="230" y="175"/>
                  </a:lnTo>
                  <a:lnTo>
                    <a:pt x="232" y="179"/>
                  </a:lnTo>
                  <a:lnTo>
                    <a:pt x="231" y="181"/>
                  </a:lnTo>
                  <a:lnTo>
                    <a:pt x="231" y="184"/>
                  </a:lnTo>
                  <a:lnTo>
                    <a:pt x="238" y="186"/>
                  </a:lnTo>
                  <a:lnTo>
                    <a:pt x="241" y="187"/>
                  </a:lnTo>
                  <a:lnTo>
                    <a:pt x="241" y="190"/>
                  </a:lnTo>
                  <a:lnTo>
                    <a:pt x="239" y="192"/>
                  </a:lnTo>
                  <a:lnTo>
                    <a:pt x="241" y="197"/>
                  </a:lnTo>
                  <a:lnTo>
                    <a:pt x="239" y="197"/>
                  </a:lnTo>
                  <a:lnTo>
                    <a:pt x="241" y="202"/>
                  </a:lnTo>
                  <a:lnTo>
                    <a:pt x="242" y="205"/>
                  </a:lnTo>
                  <a:lnTo>
                    <a:pt x="247" y="208"/>
                  </a:lnTo>
                  <a:lnTo>
                    <a:pt x="248" y="212"/>
                  </a:lnTo>
                  <a:lnTo>
                    <a:pt x="251" y="222"/>
                  </a:lnTo>
                  <a:lnTo>
                    <a:pt x="249" y="223"/>
                  </a:lnTo>
                  <a:lnTo>
                    <a:pt x="244" y="226"/>
                  </a:lnTo>
                  <a:lnTo>
                    <a:pt x="242" y="237"/>
                  </a:lnTo>
                  <a:lnTo>
                    <a:pt x="239" y="242"/>
                  </a:lnTo>
                  <a:lnTo>
                    <a:pt x="239" y="244"/>
                  </a:lnTo>
                  <a:lnTo>
                    <a:pt x="252" y="239"/>
                  </a:lnTo>
                  <a:lnTo>
                    <a:pt x="258" y="234"/>
                  </a:lnTo>
                  <a:lnTo>
                    <a:pt x="259" y="234"/>
                  </a:lnTo>
                  <a:lnTo>
                    <a:pt x="260" y="237"/>
                  </a:lnTo>
                  <a:lnTo>
                    <a:pt x="260" y="240"/>
                  </a:lnTo>
                  <a:lnTo>
                    <a:pt x="264" y="240"/>
                  </a:lnTo>
                  <a:lnTo>
                    <a:pt x="266" y="234"/>
                  </a:lnTo>
                  <a:lnTo>
                    <a:pt x="270" y="232"/>
                  </a:lnTo>
                  <a:lnTo>
                    <a:pt x="274" y="233"/>
                  </a:lnTo>
                  <a:lnTo>
                    <a:pt x="280" y="238"/>
                  </a:lnTo>
                  <a:lnTo>
                    <a:pt x="281" y="238"/>
                  </a:lnTo>
                  <a:lnTo>
                    <a:pt x="284" y="235"/>
                  </a:lnTo>
                  <a:lnTo>
                    <a:pt x="292" y="233"/>
                  </a:lnTo>
                  <a:lnTo>
                    <a:pt x="295" y="234"/>
                  </a:lnTo>
                  <a:lnTo>
                    <a:pt x="295" y="235"/>
                  </a:lnTo>
                  <a:lnTo>
                    <a:pt x="297" y="239"/>
                  </a:lnTo>
                  <a:lnTo>
                    <a:pt x="305" y="244"/>
                  </a:lnTo>
                  <a:lnTo>
                    <a:pt x="305" y="251"/>
                  </a:lnTo>
                  <a:lnTo>
                    <a:pt x="309" y="257"/>
                  </a:lnTo>
                  <a:lnTo>
                    <a:pt x="311" y="271"/>
                  </a:lnTo>
                  <a:lnTo>
                    <a:pt x="313" y="273"/>
                  </a:lnTo>
                  <a:lnTo>
                    <a:pt x="312" y="288"/>
                  </a:lnTo>
                  <a:lnTo>
                    <a:pt x="309" y="292"/>
                  </a:lnTo>
                  <a:lnTo>
                    <a:pt x="306" y="294"/>
                  </a:lnTo>
                  <a:lnTo>
                    <a:pt x="305" y="297"/>
                  </a:lnTo>
                  <a:lnTo>
                    <a:pt x="306" y="298"/>
                  </a:lnTo>
                  <a:lnTo>
                    <a:pt x="311" y="298"/>
                  </a:lnTo>
                  <a:lnTo>
                    <a:pt x="314" y="294"/>
                  </a:lnTo>
                  <a:lnTo>
                    <a:pt x="317" y="296"/>
                  </a:lnTo>
                  <a:lnTo>
                    <a:pt x="322" y="299"/>
                  </a:lnTo>
                  <a:lnTo>
                    <a:pt x="327" y="307"/>
                  </a:lnTo>
                  <a:lnTo>
                    <a:pt x="332" y="305"/>
                  </a:lnTo>
                  <a:lnTo>
                    <a:pt x="334" y="303"/>
                  </a:lnTo>
                  <a:lnTo>
                    <a:pt x="341" y="302"/>
                  </a:lnTo>
                  <a:lnTo>
                    <a:pt x="343" y="298"/>
                  </a:lnTo>
                  <a:lnTo>
                    <a:pt x="348" y="292"/>
                  </a:lnTo>
                  <a:lnTo>
                    <a:pt x="348" y="283"/>
                  </a:lnTo>
                  <a:lnTo>
                    <a:pt x="351" y="281"/>
                  </a:lnTo>
                  <a:lnTo>
                    <a:pt x="357" y="282"/>
                  </a:lnTo>
                  <a:lnTo>
                    <a:pt x="361" y="288"/>
                  </a:lnTo>
                  <a:lnTo>
                    <a:pt x="365" y="286"/>
                  </a:lnTo>
                  <a:lnTo>
                    <a:pt x="378" y="287"/>
                  </a:lnTo>
                  <a:lnTo>
                    <a:pt x="378" y="282"/>
                  </a:lnTo>
                  <a:lnTo>
                    <a:pt x="383" y="276"/>
                  </a:lnTo>
                  <a:lnTo>
                    <a:pt x="383" y="267"/>
                  </a:lnTo>
                  <a:lnTo>
                    <a:pt x="384" y="262"/>
                  </a:lnTo>
                  <a:lnTo>
                    <a:pt x="389" y="260"/>
                  </a:lnTo>
                  <a:lnTo>
                    <a:pt x="388" y="257"/>
                  </a:lnTo>
                  <a:lnTo>
                    <a:pt x="386" y="257"/>
                  </a:lnTo>
                  <a:lnTo>
                    <a:pt x="387" y="255"/>
                  </a:lnTo>
                  <a:lnTo>
                    <a:pt x="386" y="251"/>
                  </a:lnTo>
                  <a:lnTo>
                    <a:pt x="382" y="251"/>
                  </a:lnTo>
                  <a:lnTo>
                    <a:pt x="376" y="251"/>
                  </a:lnTo>
                  <a:lnTo>
                    <a:pt x="373" y="249"/>
                  </a:lnTo>
                  <a:lnTo>
                    <a:pt x="376" y="244"/>
                  </a:lnTo>
                  <a:lnTo>
                    <a:pt x="375" y="239"/>
                  </a:lnTo>
                  <a:lnTo>
                    <a:pt x="373" y="239"/>
                  </a:lnTo>
                  <a:lnTo>
                    <a:pt x="373" y="238"/>
                  </a:lnTo>
                  <a:lnTo>
                    <a:pt x="382" y="234"/>
                  </a:lnTo>
                  <a:lnTo>
                    <a:pt x="391" y="235"/>
                  </a:lnTo>
                  <a:lnTo>
                    <a:pt x="394" y="239"/>
                  </a:lnTo>
                  <a:lnTo>
                    <a:pt x="397" y="239"/>
                  </a:lnTo>
                  <a:lnTo>
                    <a:pt x="400" y="238"/>
                  </a:lnTo>
                  <a:lnTo>
                    <a:pt x="403" y="244"/>
                  </a:lnTo>
                  <a:lnTo>
                    <a:pt x="404" y="244"/>
                  </a:lnTo>
                  <a:lnTo>
                    <a:pt x="403" y="235"/>
                  </a:lnTo>
                  <a:lnTo>
                    <a:pt x="403" y="230"/>
                  </a:lnTo>
                  <a:lnTo>
                    <a:pt x="400" y="227"/>
                  </a:lnTo>
                  <a:lnTo>
                    <a:pt x="400" y="221"/>
                  </a:lnTo>
                  <a:lnTo>
                    <a:pt x="397" y="221"/>
                  </a:lnTo>
                  <a:lnTo>
                    <a:pt x="393" y="219"/>
                  </a:lnTo>
                  <a:lnTo>
                    <a:pt x="391" y="219"/>
                  </a:lnTo>
                  <a:lnTo>
                    <a:pt x="394" y="211"/>
                  </a:lnTo>
                  <a:lnTo>
                    <a:pt x="398" y="207"/>
                  </a:lnTo>
                  <a:lnTo>
                    <a:pt x="400" y="206"/>
                  </a:lnTo>
                  <a:lnTo>
                    <a:pt x="400" y="203"/>
                  </a:lnTo>
                  <a:lnTo>
                    <a:pt x="397" y="199"/>
                  </a:lnTo>
                  <a:lnTo>
                    <a:pt x="393" y="200"/>
                  </a:lnTo>
                  <a:lnTo>
                    <a:pt x="394" y="186"/>
                  </a:lnTo>
                  <a:lnTo>
                    <a:pt x="387" y="186"/>
                  </a:lnTo>
                  <a:lnTo>
                    <a:pt x="380" y="183"/>
                  </a:lnTo>
                  <a:lnTo>
                    <a:pt x="380" y="180"/>
                  </a:lnTo>
                  <a:lnTo>
                    <a:pt x="380" y="163"/>
                  </a:lnTo>
                  <a:lnTo>
                    <a:pt x="378" y="154"/>
                  </a:lnTo>
                  <a:lnTo>
                    <a:pt x="381" y="152"/>
                  </a:lnTo>
                  <a:lnTo>
                    <a:pt x="382" y="149"/>
                  </a:lnTo>
                  <a:lnTo>
                    <a:pt x="388" y="142"/>
                  </a:lnTo>
                  <a:lnTo>
                    <a:pt x="389" y="140"/>
                  </a:lnTo>
                  <a:lnTo>
                    <a:pt x="389" y="137"/>
                  </a:lnTo>
                  <a:lnTo>
                    <a:pt x="387" y="133"/>
                  </a:lnTo>
                  <a:lnTo>
                    <a:pt x="382" y="131"/>
                  </a:lnTo>
                  <a:lnTo>
                    <a:pt x="380" y="126"/>
                  </a:lnTo>
                  <a:lnTo>
                    <a:pt x="375" y="126"/>
                  </a:lnTo>
                  <a:lnTo>
                    <a:pt x="371" y="120"/>
                  </a:lnTo>
                  <a:lnTo>
                    <a:pt x="370" y="97"/>
                  </a:lnTo>
                  <a:lnTo>
                    <a:pt x="370" y="93"/>
                  </a:lnTo>
                  <a:lnTo>
                    <a:pt x="365" y="92"/>
                  </a:lnTo>
                  <a:lnTo>
                    <a:pt x="360" y="92"/>
                  </a:lnTo>
                  <a:lnTo>
                    <a:pt x="354" y="99"/>
                  </a:lnTo>
                  <a:lnTo>
                    <a:pt x="351" y="99"/>
                  </a:lnTo>
                  <a:lnTo>
                    <a:pt x="351" y="92"/>
                  </a:lnTo>
                  <a:lnTo>
                    <a:pt x="352" y="89"/>
                  </a:lnTo>
                  <a:lnTo>
                    <a:pt x="357" y="88"/>
                  </a:lnTo>
                  <a:lnTo>
                    <a:pt x="357" y="83"/>
                  </a:lnTo>
                  <a:lnTo>
                    <a:pt x="361" y="83"/>
                  </a:lnTo>
                  <a:lnTo>
                    <a:pt x="364" y="79"/>
                  </a:lnTo>
                  <a:lnTo>
                    <a:pt x="367" y="79"/>
                  </a:lnTo>
                  <a:lnTo>
                    <a:pt x="367" y="73"/>
                  </a:lnTo>
                  <a:lnTo>
                    <a:pt x="366" y="72"/>
                  </a:lnTo>
                  <a:lnTo>
                    <a:pt x="361" y="72"/>
                  </a:lnTo>
                  <a:lnTo>
                    <a:pt x="357" y="70"/>
                  </a:lnTo>
                  <a:lnTo>
                    <a:pt x="354" y="67"/>
                  </a:lnTo>
                  <a:lnTo>
                    <a:pt x="349" y="57"/>
                  </a:lnTo>
                  <a:lnTo>
                    <a:pt x="344" y="60"/>
                  </a:lnTo>
                  <a:lnTo>
                    <a:pt x="343" y="58"/>
                  </a:lnTo>
                  <a:lnTo>
                    <a:pt x="343" y="41"/>
                  </a:lnTo>
                  <a:lnTo>
                    <a:pt x="341" y="36"/>
                  </a:lnTo>
                  <a:lnTo>
                    <a:pt x="339" y="36"/>
                  </a:lnTo>
                  <a:lnTo>
                    <a:pt x="339" y="30"/>
                  </a:lnTo>
                  <a:lnTo>
                    <a:pt x="338" y="28"/>
                  </a:lnTo>
                  <a:lnTo>
                    <a:pt x="334" y="28"/>
                  </a:lnTo>
                  <a:lnTo>
                    <a:pt x="333" y="28"/>
                  </a:lnTo>
                  <a:lnTo>
                    <a:pt x="334" y="15"/>
                  </a:lnTo>
                  <a:lnTo>
                    <a:pt x="334" y="14"/>
                  </a:lnTo>
                  <a:lnTo>
                    <a:pt x="330" y="12"/>
                  </a:lnTo>
                  <a:lnTo>
                    <a:pt x="328" y="12"/>
                  </a:lnTo>
                  <a:lnTo>
                    <a:pt x="324" y="15"/>
                  </a:lnTo>
                  <a:lnTo>
                    <a:pt x="323" y="15"/>
                  </a:lnTo>
                  <a:lnTo>
                    <a:pt x="316" y="11"/>
                  </a:lnTo>
                  <a:lnTo>
                    <a:pt x="313" y="11"/>
                  </a:lnTo>
                  <a:lnTo>
                    <a:pt x="312" y="12"/>
                  </a:lnTo>
                  <a:lnTo>
                    <a:pt x="312" y="20"/>
                  </a:lnTo>
                  <a:lnTo>
                    <a:pt x="309" y="24"/>
                  </a:lnTo>
                  <a:lnTo>
                    <a:pt x="296" y="28"/>
                  </a:lnTo>
                  <a:lnTo>
                    <a:pt x="296" y="34"/>
                  </a:lnTo>
                  <a:lnTo>
                    <a:pt x="294" y="38"/>
                  </a:lnTo>
                  <a:lnTo>
                    <a:pt x="280" y="34"/>
                  </a:lnTo>
                  <a:lnTo>
                    <a:pt x="270" y="28"/>
                  </a:lnTo>
                  <a:lnTo>
                    <a:pt x="262" y="27"/>
                  </a:lnTo>
                  <a:lnTo>
                    <a:pt x="259" y="27"/>
                  </a:lnTo>
                  <a:lnTo>
                    <a:pt x="255" y="33"/>
                  </a:lnTo>
                  <a:lnTo>
                    <a:pt x="249" y="34"/>
                  </a:lnTo>
                  <a:lnTo>
                    <a:pt x="247" y="40"/>
                  </a:lnTo>
                  <a:lnTo>
                    <a:pt x="243" y="44"/>
                  </a:lnTo>
                  <a:lnTo>
                    <a:pt x="238" y="41"/>
                  </a:lnTo>
                  <a:lnTo>
                    <a:pt x="230" y="30"/>
                  </a:lnTo>
                  <a:lnTo>
                    <a:pt x="227" y="28"/>
                  </a:lnTo>
                  <a:lnTo>
                    <a:pt x="222" y="28"/>
                  </a:lnTo>
                  <a:lnTo>
                    <a:pt x="216" y="34"/>
                  </a:lnTo>
                  <a:lnTo>
                    <a:pt x="212" y="38"/>
                  </a:lnTo>
                  <a:lnTo>
                    <a:pt x="208" y="39"/>
                  </a:lnTo>
                  <a:lnTo>
                    <a:pt x="203" y="35"/>
                  </a:lnTo>
                  <a:lnTo>
                    <a:pt x="198" y="31"/>
                  </a:lnTo>
                  <a:lnTo>
                    <a:pt x="199" y="28"/>
                  </a:lnTo>
                  <a:lnTo>
                    <a:pt x="203" y="23"/>
                  </a:lnTo>
                  <a:lnTo>
                    <a:pt x="203" y="19"/>
                  </a:lnTo>
                  <a:lnTo>
                    <a:pt x="205" y="1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40" name="Freeform 35">
              <a:extLst>
                <a:ext uri="{FF2B5EF4-FFF2-40B4-BE49-F238E27FC236}">
                  <a16:creationId xmlns:a16="http://schemas.microsoft.com/office/drawing/2014/main" id="{CFED2725-5A9F-171C-DA37-83F9F31C38D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194013" y="3993475"/>
              <a:ext cx="383531" cy="260641"/>
            </a:xfrm>
            <a:custGeom>
              <a:avLst/>
              <a:gdLst>
                <a:gd name="T0" fmla="*/ 2147483647 w 718"/>
                <a:gd name="T1" fmla="*/ 0 h 451"/>
                <a:gd name="T2" fmla="*/ 2147483647 w 718"/>
                <a:gd name="T3" fmla="*/ 0 h 451"/>
                <a:gd name="T4" fmla="*/ 2147483647 w 718"/>
                <a:gd name="T5" fmla="*/ 0 h 451"/>
                <a:gd name="T6" fmla="*/ 2147483647 w 718"/>
                <a:gd name="T7" fmla="*/ 0 h 451"/>
                <a:gd name="T8" fmla="*/ 2147483647 w 718"/>
                <a:gd name="T9" fmla="*/ 2147483647 h 451"/>
                <a:gd name="T10" fmla="*/ 2147483647 w 718"/>
                <a:gd name="T11" fmla="*/ 2147483647 h 451"/>
                <a:gd name="T12" fmla="*/ 2147483647 w 718"/>
                <a:gd name="T13" fmla="*/ 2147483647 h 451"/>
                <a:gd name="T14" fmla="*/ 2147483647 w 718"/>
                <a:gd name="T15" fmla="*/ 2147483647 h 451"/>
                <a:gd name="T16" fmla="*/ 2147483647 w 718"/>
                <a:gd name="T17" fmla="*/ 2147483647 h 451"/>
                <a:gd name="T18" fmla="*/ 2147483647 w 718"/>
                <a:gd name="T19" fmla="*/ 2147483647 h 451"/>
                <a:gd name="T20" fmla="*/ 2147483647 w 718"/>
                <a:gd name="T21" fmla="*/ 2147483647 h 451"/>
                <a:gd name="T22" fmla="*/ 2147483647 w 718"/>
                <a:gd name="T23" fmla="*/ 2147483647 h 451"/>
                <a:gd name="T24" fmla="*/ 2147483647 w 718"/>
                <a:gd name="T25" fmla="*/ 2147483647 h 451"/>
                <a:gd name="T26" fmla="*/ 2147483647 w 718"/>
                <a:gd name="T27" fmla="*/ 2147483647 h 451"/>
                <a:gd name="T28" fmla="*/ 2147483647 w 718"/>
                <a:gd name="T29" fmla="*/ 2147483647 h 451"/>
                <a:gd name="T30" fmla="*/ 2147483647 w 718"/>
                <a:gd name="T31" fmla="*/ 2147483647 h 451"/>
                <a:gd name="T32" fmla="*/ 2147483647 w 718"/>
                <a:gd name="T33" fmla="*/ 2147483647 h 451"/>
                <a:gd name="T34" fmla="*/ 2147483647 w 718"/>
                <a:gd name="T35" fmla="*/ 2147483647 h 451"/>
                <a:gd name="T36" fmla="*/ 2147483647 w 718"/>
                <a:gd name="T37" fmla="*/ 2147483647 h 451"/>
                <a:gd name="T38" fmla="*/ 2147483647 w 718"/>
                <a:gd name="T39" fmla="*/ 2147483647 h 451"/>
                <a:gd name="T40" fmla="*/ 2147483647 w 718"/>
                <a:gd name="T41" fmla="*/ 2147483647 h 451"/>
                <a:gd name="T42" fmla="*/ 2147483647 w 718"/>
                <a:gd name="T43" fmla="*/ 2147483647 h 451"/>
                <a:gd name="T44" fmla="*/ 0 w 718"/>
                <a:gd name="T45" fmla="*/ 2147483647 h 451"/>
                <a:gd name="T46" fmla="*/ 0 w 718"/>
                <a:gd name="T47" fmla="*/ 2147483647 h 451"/>
                <a:gd name="T48" fmla="*/ 0 w 718"/>
                <a:gd name="T49" fmla="*/ 2147483647 h 451"/>
                <a:gd name="T50" fmla="*/ 0 w 718"/>
                <a:gd name="T51" fmla="*/ 2147483647 h 451"/>
                <a:gd name="T52" fmla="*/ 2147483647 w 718"/>
                <a:gd name="T53" fmla="*/ 2147483647 h 451"/>
                <a:gd name="T54" fmla="*/ 2147483647 w 718"/>
                <a:gd name="T55" fmla="*/ 2147483647 h 451"/>
                <a:gd name="T56" fmla="*/ 2147483647 w 718"/>
                <a:gd name="T57" fmla="*/ 2147483647 h 451"/>
                <a:gd name="T58" fmla="*/ 2147483647 w 718"/>
                <a:gd name="T59" fmla="*/ 2147483647 h 451"/>
                <a:gd name="T60" fmla="*/ 2147483647 w 718"/>
                <a:gd name="T61" fmla="*/ 2147483647 h 451"/>
                <a:gd name="T62" fmla="*/ 2147483647 w 718"/>
                <a:gd name="T63" fmla="*/ 2147483647 h 451"/>
                <a:gd name="T64" fmla="*/ 2147483647 w 718"/>
                <a:gd name="T65" fmla="*/ 2147483647 h 451"/>
                <a:gd name="T66" fmla="*/ 2147483647 w 718"/>
                <a:gd name="T67" fmla="*/ 2147483647 h 451"/>
                <a:gd name="T68" fmla="*/ 2147483647 w 718"/>
                <a:gd name="T69" fmla="*/ 2147483647 h 451"/>
                <a:gd name="T70" fmla="*/ 2147483647 w 718"/>
                <a:gd name="T71" fmla="*/ 2147483647 h 451"/>
                <a:gd name="T72" fmla="*/ 2147483647 w 718"/>
                <a:gd name="T73" fmla="*/ 2147483647 h 451"/>
                <a:gd name="T74" fmla="*/ 2147483647 w 718"/>
                <a:gd name="T75" fmla="*/ 2147483647 h 451"/>
                <a:gd name="T76" fmla="*/ 2147483647 w 718"/>
                <a:gd name="T77" fmla="*/ 2147483647 h 451"/>
                <a:gd name="T78" fmla="*/ 2147483647 w 718"/>
                <a:gd name="T79" fmla="*/ 2147483647 h 451"/>
                <a:gd name="T80" fmla="*/ 2147483647 w 718"/>
                <a:gd name="T81" fmla="*/ 2147483647 h 451"/>
                <a:gd name="T82" fmla="*/ 2147483647 w 718"/>
                <a:gd name="T83" fmla="*/ 2147483647 h 451"/>
                <a:gd name="T84" fmla="*/ 2147483647 w 718"/>
                <a:gd name="T85" fmla="*/ 2147483647 h 451"/>
                <a:gd name="T86" fmla="*/ 2147483647 w 718"/>
                <a:gd name="T87" fmla="*/ 2147483647 h 451"/>
                <a:gd name="T88" fmla="*/ 2147483647 w 718"/>
                <a:gd name="T89" fmla="*/ 2147483647 h 451"/>
                <a:gd name="T90" fmla="*/ 2147483647 w 718"/>
                <a:gd name="T91" fmla="*/ 2147483647 h 451"/>
                <a:gd name="T92" fmla="*/ 2147483647 w 718"/>
                <a:gd name="T93" fmla="*/ 2147483647 h 451"/>
                <a:gd name="T94" fmla="*/ 2147483647 w 718"/>
                <a:gd name="T95" fmla="*/ 2147483647 h 451"/>
                <a:gd name="T96" fmla="*/ 2147483647 w 718"/>
                <a:gd name="T97" fmla="*/ 2147483647 h 451"/>
                <a:gd name="T98" fmla="*/ 2147483647 w 718"/>
                <a:gd name="T99" fmla="*/ 2147483647 h 451"/>
                <a:gd name="T100" fmla="*/ 2147483647 w 718"/>
                <a:gd name="T101" fmla="*/ 2147483647 h 451"/>
                <a:gd name="T102" fmla="*/ 2147483647 w 718"/>
                <a:gd name="T103" fmla="*/ 2147483647 h 451"/>
                <a:gd name="T104" fmla="*/ 2147483647 w 718"/>
                <a:gd name="T105" fmla="*/ 2147483647 h 451"/>
                <a:gd name="T106" fmla="*/ 2147483647 w 718"/>
                <a:gd name="T107" fmla="*/ 0 h 451"/>
                <a:gd name="T108" fmla="*/ 2147483647 w 718"/>
                <a:gd name="T109" fmla="*/ 0 h 45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18"/>
                <a:gd name="T166" fmla="*/ 0 h 451"/>
                <a:gd name="T167" fmla="*/ 718 w 718"/>
                <a:gd name="T168" fmla="*/ 451 h 45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18" h="451">
                  <a:moveTo>
                    <a:pt x="453" y="0"/>
                  </a:moveTo>
                  <a:lnTo>
                    <a:pt x="442" y="3"/>
                  </a:lnTo>
                  <a:lnTo>
                    <a:pt x="433" y="6"/>
                  </a:lnTo>
                  <a:lnTo>
                    <a:pt x="417" y="7"/>
                  </a:lnTo>
                  <a:lnTo>
                    <a:pt x="411" y="10"/>
                  </a:lnTo>
                  <a:lnTo>
                    <a:pt x="405" y="15"/>
                  </a:lnTo>
                  <a:lnTo>
                    <a:pt x="400" y="26"/>
                  </a:lnTo>
                  <a:lnTo>
                    <a:pt x="400" y="42"/>
                  </a:lnTo>
                  <a:lnTo>
                    <a:pt x="393" y="44"/>
                  </a:lnTo>
                  <a:lnTo>
                    <a:pt x="387" y="54"/>
                  </a:lnTo>
                  <a:lnTo>
                    <a:pt x="383" y="57"/>
                  </a:lnTo>
                  <a:lnTo>
                    <a:pt x="378" y="58"/>
                  </a:lnTo>
                  <a:lnTo>
                    <a:pt x="362" y="74"/>
                  </a:lnTo>
                  <a:lnTo>
                    <a:pt x="358" y="84"/>
                  </a:lnTo>
                  <a:lnTo>
                    <a:pt x="355" y="87"/>
                  </a:lnTo>
                  <a:lnTo>
                    <a:pt x="342" y="93"/>
                  </a:lnTo>
                  <a:lnTo>
                    <a:pt x="336" y="95"/>
                  </a:lnTo>
                  <a:lnTo>
                    <a:pt x="331" y="102"/>
                  </a:lnTo>
                  <a:lnTo>
                    <a:pt x="329" y="105"/>
                  </a:lnTo>
                  <a:lnTo>
                    <a:pt x="322" y="108"/>
                  </a:lnTo>
                  <a:lnTo>
                    <a:pt x="317" y="106"/>
                  </a:lnTo>
                  <a:lnTo>
                    <a:pt x="309" y="106"/>
                  </a:lnTo>
                  <a:lnTo>
                    <a:pt x="302" y="108"/>
                  </a:lnTo>
                  <a:lnTo>
                    <a:pt x="292" y="109"/>
                  </a:lnTo>
                  <a:lnTo>
                    <a:pt x="290" y="112"/>
                  </a:lnTo>
                  <a:lnTo>
                    <a:pt x="270" y="112"/>
                  </a:lnTo>
                  <a:lnTo>
                    <a:pt x="259" y="113"/>
                  </a:lnTo>
                  <a:lnTo>
                    <a:pt x="249" y="117"/>
                  </a:lnTo>
                  <a:lnTo>
                    <a:pt x="247" y="118"/>
                  </a:lnTo>
                  <a:lnTo>
                    <a:pt x="245" y="122"/>
                  </a:lnTo>
                  <a:lnTo>
                    <a:pt x="245" y="124"/>
                  </a:lnTo>
                  <a:lnTo>
                    <a:pt x="252" y="129"/>
                  </a:lnTo>
                  <a:lnTo>
                    <a:pt x="254" y="136"/>
                  </a:lnTo>
                  <a:lnTo>
                    <a:pt x="252" y="140"/>
                  </a:lnTo>
                  <a:lnTo>
                    <a:pt x="247" y="144"/>
                  </a:lnTo>
                  <a:lnTo>
                    <a:pt x="244" y="152"/>
                  </a:lnTo>
                  <a:lnTo>
                    <a:pt x="239" y="155"/>
                  </a:lnTo>
                  <a:lnTo>
                    <a:pt x="234" y="156"/>
                  </a:lnTo>
                  <a:lnTo>
                    <a:pt x="232" y="159"/>
                  </a:lnTo>
                  <a:lnTo>
                    <a:pt x="231" y="165"/>
                  </a:lnTo>
                  <a:lnTo>
                    <a:pt x="229" y="166"/>
                  </a:lnTo>
                  <a:lnTo>
                    <a:pt x="205" y="166"/>
                  </a:lnTo>
                  <a:lnTo>
                    <a:pt x="198" y="170"/>
                  </a:lnTo>
                  <a:lnTo>
                    <a:pt x="189" y="170"/>
                  </a:lnTo>
                  <a:lnTo>
                    <a:pt x="183" y="170"/>
                  </a:lnTo>
                  <a:lnTo>
                    <a:pt x="161" y="177"/>
                  </a:lnTo>
                  <a:lnTo>
                    <a:pt x="157" y="181"/>
                  </a:lnTo>
                  <a:lnTo>
                    <a:pt x="153" y="183"/>
                  </a:lnTo>
                  <a:lnTo>
                    <a:pt x="147" y="187"/>
                  </a:lnTo>
                  <a:lnTo>
                    <a:pt x="139" y="188"/>
                  </a:lnTo>
                  <a:lnTo>
                    <a:pt x="136" y="192"/>
                  </a:lnTo>
                  <a:lnTo>
                    <a:pt x="132" y="193"/>
                  </a:lnTo>
                  <a:lnTo>
                    <a:pt x="125" y="187"/>
                  </a:lnTo>
                  <a:lnTo>
                    <a:pt x="123" y="184"/>
                  </a:lnTo>
                  <a:lnTo>
                    <a:pt x="119" y="178"/>
                  </a:lnTo>
                  <a:lnTo>
                    <a:pt x="116" y="177"/>
                  </a:lnTo>
                  <a:lnTo>
                    <a:pt x="113" y="177"/>
                  </a:lnTo>
                  <a:lnTo>
                    <a:pt x="112" y="179"/>
                  </a:lnTo>
                  <a:lnTo>
                    <a:pt x="108" y="179"/>
                  </a:lnTo>
                  <a:lnTo>
                    <a:pt x="105" y="187"/>
                  </a:lnTo>
                  <a:lnTo>
                    <a:pt x="92" y="189"/>
                  </a:lnTo>
                  <a:lnTo>
                    <a:pt x="82" y="197"/>
                  </a:lnTo>
                  <a:lnTo>
                    <a:pt x="77" y="198"/>
                  </a:lnTo>
                  <a:lnTo>
                    <a:pt x="71" y="195"/>
                  </a:lnTo>
                  <a:lnTo>
                    <a:pt x="66" y="195"/>
                  </a:lnTo>
                  <a:lnTo>
                    <a:pt x="60" y="197"/>
                  </a:lnTo>
                  <a:lnTo>
                    <a:pt x="51" y="198"/>
                  </a:lnTo>
                  <a:lnTo>
                    <a:pt x="48" y="200"/>
                  </a:lnTo>
                  <a:lnTo>
                    <a:pt x="38" y="226"/>
                  </a:lnTo>
                  <a:lnTo>
                    <a:pt x="28" y="241"/>
                  </a:lnTo>
                  <a:lnTo>
                    <a:pt x="21" y="257"/>
                  </a:lnTo>
                  <a:lnTo>
                    <a:pt x="11" y="272"/>
                  </a:lnTo>
                  <a:lnTo>
                    <a:pt x="0" y="283"/>
                  </a:lnTo>
                  <a:lnTo>
                    <a:pt x="0" y="296"/>
                  </a:lnTo>
                  <a:lnTo>
                    <a:pt x="3" y="310"/>
                  </a:lnTo>
                  <a:lnTo>
                    <a:pt x="2" y="327"/>
                  </a:lnTo>
                  <a:lnTo>
                    <a:pt x="3" y="343"/>
                  </a:lnTo>
                  <a:lnTo>
                    <a:pt x="13" y="361"/>
                  </a:lnTo>
                  <a:lnTo>
                    <a:pt x="22" y="372"/>
                  </a:lnTo>
                  <a:lnTo>
                    <a:pt x="46" y="419"/>
                  </a:lnTo>
                  <a:lnTo>
                    <a:pt x="58" y="431"/>
                  </a:lnTo>
                  <a:lnTo>
                    <a:pt x="81" y="451"/>
                  </a:lnTo>
                  <a:lnTo>
                    <a:pt x="88" y="451"/>
                  </a:lnTo>
                  <a:lnTo>
                    <a:pt x="97" y="437"/>
                  </a:lnTo>
                  <a:lnTo>
                    <a:pt x="114" y="421"/>
                  </a:lnTo>
                  <a:lnTo>
                    <a:pt x="137" y="407"/>
                  </a:lnTo>
                  <a:lnTo>
                    <a:pt x="157" y="404"/>
                  </a:lnTo>
                  <a:lnTo>
                    <a:pt x="174" y="414"/>
                  </a:lnTo>
                  <a:lnTo>
                    <a:pt x="191" y="420"/>
                  </a:lnTo>
                  <a:lnTo>
                    <a:pt x="207" y="416"/>
                  </a:lnTo>
                  <a:lnTo>
                    <a:pt x="222" y="409"/>
                  </a:lnTo>
                  <a:lnTo>
                    <a:pt x="228" y="404"/>
                  </a:lnTo>
                  <a:lnTo>
                    <a:pt x="241" y="402"/>
                  </a:lnTo>
                  <a:lnTo>
                    <a:pt x="238" y="393"/>
                  </a:lnTo>
                  <a:lnTo>
                    <a:pt x="239" y="374"/>
                  </a:lnTo>
                  <a:lnTo>
                    <a:pt x="242" y="360"/>
                  </a:lnTo>
                  <a:lnTo>
                    <a:pt x="250" y="355"/>
                  </a:lnTo>
                  <a:lnTo>
                    <a:pt x="257" y="340"/>
                  </a:lnTo>
                  <a:lnTo>
                    <a:pt x="263" y="334"/>
                  </a:lnTo>
                  <a:lnTo>
                    <a:pt x="276" y="323"/>
                  </a:lnTo>
                  <a:lnTo>
                    <a:pt x="290" y="323"/>
                  </a:lnTo>
                  <a:lnTo>
                    <a:pt x="306" y="324"/>
                  </a:lnTo>
                  <a:lnTo>
                    <a:pt x="313" y="334"/>
                  </a:lnTo>
                  <a:lnTo>
                    <a:pt x="315" y="343"/>
                  </a:lnTo>
                  <a:lnTo>
                    <a:pt x="336" y="361"/>
                  </a:lnTo>
                  <a:lnTo>
                    <a:pt x="344" y="364"/>
                  </a:lnTo>
                  <a:lnTo>
                    <a:pt x="351" y="355"/>
                  </a:lnTo>
                  <a:lnTo>
                    <a:pt x="365" y="365"/>
                  </a:lnTo>
                  <a:lnTo>
                    <a:pt x="388" y="371"/>
                  </a:lnTo>
                  <a:lnTo>
                    <a:pt x="438" y="371"/>
                  </a:lnTo>
                  <a:lnTo>
                    <a:pt x="446" y="367"/>
                  </a:lnTo>
                  <a:lnTo>
                    <a:pt x="448" y="350"/>
                  </a:lnTo>
                  <a:lnTo>
                    <a:pt x="462" y="342"/>
                  </a:lnTo>
                  <a:lnTo>
                    <a:pt x="480" y="345"/>
                  </a:lnTo>
                  <a:lnTo>
                    <a:pt x="489" y="350"/>
                  </a:lnTo>
                  <a:lnTo>
                    <a:pt x="507" y="345"/>
                  </a:lnTo>
                  <a:lnTo>
                    <a:pt x="518" y="339"/>
                  </a:lnTo>
                  <a:lnTo>
                    <a:pt x="544" y="334"/>
                  </a:lnTo>
                  <a:lnTo>
                    <a:pt x="555" y="328"/>
                  </a:lnTo>
                  <a:lnTo>
                    <a:pt x="561" y="328"/>
                  </a:lnTo>
                  <a:lnTo>
                    <a:pt x="562" y="334"/>
                  </a:lnTo>
                  <a:lnTo>
                    <a:pt x="561" y="334"/>
                  </a:lnTo>
                  <a:lnTo>
                    <a:pt x="569" y="337"/>
                  </a:lnTo>
                  <a:lnTo>
                    <a:pt x="576" y="334"/>
                  </a:lnTo>
                  <a:lnTo>
                    <a:pt x="588" y="334"/>
                  </a:lnTo>
                  <a:lnTo>
                    <a:pt x="592" y="322"/>
                  </a:lnTo>
                  <a:lnTo>
                    <a:pt x="612" y="327"/>
                  </a:lnTo>
                  <a:lnTo>
                    <a:pt x="635" y="323"/>
                  </a:lnTo>
                  <a:lnTo>
                    <a:pt x="650" y="318"/>
                  </a:lnTo>
                  <a:lnTo>
                    <a:pt x="663" y="334"/>
                  </a:lnTo>
                  <a:lnTo>
                    <a:pt x="670" y="327"/>
                  </a:lnTo>
                  <a:lnTo>
                    <a:pt x="682" y="334"/>
                  </a:lnTo>
                  <a:lnTo>
                    <a:pt x="690" y="323"/>
                  </a:lnTo>
                  <a:lnTo>
                    <a:pt x="718" y="323"/>
                  </a:lnTo>
                  <a:lnTo>
                    <a:pt x="712" y="316"/>
                  </a:lnTo>
                  <a:lnTo>
                    <a:pt x="711" y="305"/>
                  </a:lnTo>
                  <a:lnTo>
                    <a:pt x="705" y="296"/>
                  </a:lnTo>
                  <a:lnTo>
                    <a:pt x="675" y="276"/>
                  </a:lnTo>
                  <a:lnTo>
                    <a:pt x="666" y="273"/>
                  </a:lnTo>
                  <a:lnTo>
                    <a:pt x="664" y="262"/>
                  </a:lnTo>
                  <a:lnTo>
                    <a:pt x="657" y="253"/>
                  </a:lnTo>
                  <a:lnTo>
                    <a:pt x="653" y="242"/>
                  </a:lnTo>
                  <a:lnTo>
                    <a:pt x="648" y="232"/>
                  </a:lnTo>
                  <a:lnTo>
                    <a:pt x="637" y="226"/>
                  </a:lnTo>
                  <a:lnTo>
                    <a:pt x="630" y="216"/>
                  </a:lnTo>
                  <a:lnTo>
                    <a:pt x="612" y="204"/>
                  </a:lnTo>
                  <a:lnTo>
                    <a:pt x="593" y="192"/>
                  </a:lnTo>
                  <a:lnTo>
                    <a:pt x="587" y="181"/>
                  </a:lnTo>
                  <a:lnTo>
                    <a:pt x="588" y="171"/>
                  </a:lnTo>
                  <a:lnTo>
                    <a:pt x="587" y="166"/>
                  </a:lnTo>
                  <a:lnTo>
                    <a:pt x="577" y="159"/>
                  </a:lnTo>
                  <a:lnTo>
                    <a:pt x="569" y="152"/>
                  </a:lnTo>
                  <a:lnTo>
                    <a:pt x="546" y="152"/>
                  </a:lnTo>
                  <a:lnTo>
                    <a:pt x="535" y="148"/>
                  </a:lnTo>
                  <a:lnTo>
                    <a:pt x="530" y="133"/>
                  </a:lnTo>
                  <a:lnTo>
                    <a:pt x="517" y="129"/>
                  </a:lnTo>
                  <a:lnTo>
                    <a:pt x="506" y="128"/>
                  </a:lnTo>
                  <a:lnTo>
                    <a:pt x="496" y="118"/>
                  </a:lnTo>
                  <a:lnTo>
                    <a:pt x="494" y="105"/>
                  </a:lnTo>
                  <a:lnTo>
                    <a:pt x="496" y="89"/>
                  </a:lnTo>
                  <a:lnTo>
                    <a:pt x="501" y="71"/>
                  </a:lnTo>
                  <a:lnTo>
                    <a:pt x="496" y="55"/>
                  </a:lnTo>
                  <a:lnTo>
                    <a:pt x="480" y="34"/>
                  </a:lnTo>
                  <a:lnTo>
                    <a:pt x="463" y="15"/>
                  </a:lnTo>
                  <a:lnTo>
                    <a:pt x="453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41" name="Freeform 36">
              <a:extLst>
                <a:ext uri="{FF2B5EF4-FFF2-40B4-BE49-F238E27FC236}">
                  <a16:creationId xmlns:a16="http://schemas.microsoft.com/office/drawing/2014/main" id="{D09D3937-A778-8802-57FF-2BFAE4CB2D1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028363" y="4266309"/>
              <a:ext cx="162666" cy="198148"/>
            </a:xfrm>
            <a:custGeom>
              <a:avLst/>
              <a:gdLst>
                <a:gd name="T0" fmla="*/ 2147483647 w 304"/>
                <a:gd name="T1" fmla="*/ 2147483647 h 343"/>
                <a:gd name="T2" fmla="*/ 2147483647 w 304"/>
                <a:gd name="T3" fmla="*/ 2147483647 h 343"/>
                <a:gd name="T4" fmla="*/ 2147483647 w 304"/>
                <a:gd name="T5" fmla="*/ 2147483647 h 343"/>
                <a:gd name="T6" fmla="*/ 0 w 304"/>
                <a:gd name="T7" fmla="*/ 2147483647 h 343"/>
                <a:gd name="T8" fmla="*/ 0 w 304"/>
                <a:gd name="T9" fmla="*/ 2147483647 h 343"/>
                <a:gd name="T10" fmla="*/ 0 w 304"/>
                <a:gd name="T11" fmla="*/ 2147483647 h 343"/>
                <a:gd name="T12" fmla="*/ 0 w 304"/>
                <a:gd name="T13" fmla="*/ 2147483647 h 343"/>
                <a:gd name="T14" fmla="*/ 0 w 304"/>
                <a:gd name="T15" fmla="*/ 2147483647 h 343"/>
                <a:gd name="T16" fmla="*/ 0 w 304"/>
                <a:gd name="T17" fmla="*/ 2147483647 h 343"/>
                <a:gd name="T18" fmla="*/ 0 w 304"/>
                <a:gd name="T19" fmla="*/ 2147483647 h 343"/>
                <a:gd name="T20" fmla="*/ 0 w 304"/>
                <a:gd name="T21" fmla="*/ 2147483647 h 343"/>
                <a:gd name="T22" fmla="*/ 2147483647 w 304"/>
                <a:gd name="T23" fmla="*/ 2147483647 h 343"/>
                <a:gd name="T24" fmla="*/ 0 w 304"/>
                <a:gd name="T25" fmla="*/ 2147483647 h 343"/>
                <a:gd name="T26" fmla="*/ 0 w 304"/>
                <a:gd name="T27" fmla="*/ 2147483647 h 343"/>
                <a:gd name="T28" fmla="*/ 0 w 304"/>
                <a:gd name="T29" fmla="*/ 2147483647 h 343"/>
                <a:gd name="T30" fmla="*/ 0 w 304"/>
                <a:gd name="T31" fmla="*/ 2147483647 h 343"/>
                <a:gd name="T32" fmla="*/ 2147483647 w 304"/>
                <a:gd name="T33" fmla="*/ 0 h 343"/>
                <a:gd name="T34" fmla="*/ 2147483647 w 304"/>
                <a:gd name="T35" fmla="*/ 0 h 343"/>
                <a:gd name="T36" fmla="*/ 2147483647 w 304"/>
                <a:gd name="T37" fmla="*/ 0 h 343"/>
                <a:gd name="T38" fmla="*/ 2147483647 w 304"/>
                <a:gd name="T39" fmla="*/ 0 h 343"/>
                <a:gd name="T40" fmla="*/ 2147483647 w 304"/>
                <a:gd name="T41" fmla="*/ 0 h 343"/>
                <a:gd name="T42" fmla="*/ 2147483647 w 304"/>
                <a:gd name="T43" fmla="*/ 0 h 343"/>
                <a:gd name="T44" fmla="*/ 2147483647 w 304"/>
                <a:gd name="T45" fmla="*/ 0 h 343"/>
                <a:gd name="T46" fmla="*/ 2147483647 w 304"/>
                <a:gd name="T47" fmla="*/ 0 h 343"/>
                <a:gd name="T48" fmla="*/ 2147483647 w 304"/>
                <a:gd name="T49" fmla="*/ 0 h 343"/>
                <a:gd name="T50" fmla="*/ 2147483647 w 304"/>
                <a:gd name="T51" fmla="*/ 0 h 343"/>
                <a:gd name="T52" fmla="*/ 2147483647 w 304"/>
                <a:gd name="T53" fmla="*/ 2147483647 h 343"/>
                <a:gd name="T54" fmla="*/ 2147483647 w 304"/>
                <a:gd name="T55" fmla="*/ 2147483647 h 343"/>
                <a:gd name="T56" fmla="*/ 2147483647 w 304"/>
                <a:gd name="T57" fmla="*/ 2147483647 h 343"/>
                <a:gd name="T58" fmla="*/ 2147483647 w 304"/>
                <a:gd name="T59" fmla="*/ 2147483647 h 343"/>
                <a:gd name="T60" fmla="*/ 2147483647 w 304"/>
                <a:gd name="T61" fmla="*/ 2147483647 h 343"/>
                <a:gd name="T62" fmla="*/ 2147483647 w 304"/>
                <a:gd name="T63" fmla="*/ 2147483647 h 343"/>
                <a:gd name="T64" fmla="*/ 2147483647 w 304"/>
                <a:gd name="T65" fmla="*/ 2147483647 h 343"/>
                <a:gd name="T66" fmla="*/ 2147483647 w 304"/>
                <a:gd name="T67" fmla="*/ 2147483647 h 343"/>
                <a:gd name="T68" fmla="*/ 2147483647 w 304"/>
                <a:gd name="T69" fmla="*/ 2147483647 h 343"/>
                <a:gd name="T70" fmla="*/ 2147483647 w 304"/>
                <a:gd name="T71" fmla="*/ 2147483647 h 343"/>
                <a:gd name="T72" fmla="*/ 2147483647 w 304"/>
                <a:gd name="T73" fmla="*/ 2147483647 h 343"/>
                <a:gd name="T74" fmla="*/ 2147483647 w 304"/>
                <a:gd name="T75" fmla="*/ 2147483647 h 343"/>
                <a:gd name="T76" fmla="*/ 2147483647 w 304"/>
                <a:gd name="T77" fmla="*/ 2147483647 h 34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04"/>
                <a:gd name="T118" fmla="*/ 0 h 343"/>
                <a:gd name="T119" fmla="*/ 304 w 304"/>
                <a:gd name="T120" fmla="*/ 343 h 34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04" h="343">
                  <a:moveTo>
                    <a:pt x="127" y="343"/>
                  </a:moveTo>
                  <a:lnTo>
                    <a:pt x="120" y="330"/>
                  </a:lnTo>
                  <a:lnTo>
                    <a:pt x="110" y="320"/>
                  </a:lnTo>
                  <a:lnTo>
                    <a:pt x="97" y="305"/>
                  </a:lnTo>
                  <a:lnTo>
                    <a:pt x="61" y="274"/>
                  </a:lnTo>
                  <a:lnTo>
                    <a:pt x="54" y="262"/>
                  </a:lnTo>
                  <a:lnTo>
                    <a:pt x="45" y="251"/>
                  </a:lnTo>
                  <a:lnTo>
                    <a:pt x="34" y="237"/>
                  </a:lnTo>
                  <a:lnTo>
                    <a:pt x="27" y="231"/>
                  </a:lnTo>
                  <a:lnTo>
                    <a:pt x="17" y="208"/>
                  </a:lnTo>
                  <a:lnTo>
                    <a:pt x="13" y="194"/>
                  </a:lnTo>
                  <a:lnTo>
                    <a:pt x="4" y="177"/>
                  </a:lnTo>
                  <a:lnTo>
                    <a:pt x="0" y="169"/>
                  </a:lnTo>
                  <a:lnTo>
                    <a:pt x="4" y="167"/>
                  </a:lnTo>
                  <a:lnTo>
                    <a:pt x="12" y="165"/>
                  </a:lnTo>
                  <a:lnTo>
                    <a:pt x="17" y="156"/>
                  </a:lnTo>
                  <a:lnTo>
                    <a:pt x="24" y="150"/>
                  </a:lnTo>
                  <a:lnTo>
                    <a:pt x="27" y="138"/>
                  </a:lnTo>
                  <a:lnTo>
                    <a:pt x="28" y="113"/>
                  </a:lnTo>
                  <a:lnTo>
                    <a:pt x="31" y="113"/>
                  </a:lnTo>
                  <a:lnTo>
                    <a:pt x="36" y="118"/>
                  </a:lnTo>
                  <a:lnTo>
                    <a:pt x="45" y="122"/>
                  </a:lnTo>
                  <a:lnTo>
                    <a:pt x="57" y="122"/>
                  </a:lnTo>
                  <a:lnTo>
                    <a:pt x="60" y="120"/>
                  </a:lnTo>
                  <a:lnTo>
                    <a:pt x="56" y="117"/>
                  </a:lnTo>
                  <a:lnTo>
                    <a:pt x="47" y="115"/>
                  </a:lnTo>
                  <a:lnTo>
                    <a:pt x="40" y="110"/>
                  </a:lnTo>
                  <a:lnTo>
                    <a:pt x="34" y="105"/>
                  </a:lnTo>
                  <a:lnTo>
                    <a:pt x="30" y="99"/>
                  </a:lnTo>
                  <a:lnTo>
                    <a:pt x="33" y="94"/>
                  </a:lnTo>
                  <a:lnTo>
                    <a:pt x="40" y="94"/>
                  </a:lnTo>
                  <a:lnTo>
                    <a:pt x="43" y="89"/>
                  </a:lnTo>
                  <a:lnTo>
                    <a:pt x="43" y="73"/>
                  </a:lnTo>
                  <a:lnTo>
                    <a:pt x="66" y="68"/>
                  </a:lnTo>
                  <a:lnTo>
                    <a:pt x="137" y="65"/>
                  </a:lnTo>
                  <a:lnTo>
                    <a:pt x="135" y="63"/>
                  </a:lnTo>
                  <a:lnTo>
                    <a:pt x="132" y="43"/>
                  </a:lnTo>
                  <a:lnTo>
                    <a:pt x="131" y="20"/>
                  </a:lnTo>
                  <a:lnTo>
                    <a:pt x="137" y="5"/>
                  </a:lnTo>
                  <a:lnTo>
                    <a:pt x="151" y="2"/>
                  </a:lnTo>
                  <a:lnTo>
                    <a:pt x="165" y="4"/>
                  </a:lnTo>
                  <a:lnTo>
                    <a:pt x="185" y="0"/>
                  </a:lnTo>
                  <a:lnTo>
                    <a:pt x="201" y="4"/>
                  </a:lnTo>
                  <a:lnTo>
                    <a:pt x="237" y="5"/>
                  </a:lnTo>
                  <a:lnTo>
                    <a:pt x="245" y="8"/>
                  </a:lnTo>
                  <a:lnTo>
                    <a:pt x="239" y="22"/>
                  </a:lnTo>
                  <a:lnTo>
                    <a:pt x="238" y="41"/>
                  </a:lnTo>
                  <a:lnTo>
                    <a:pt x="239" y="59"/>
                  </a:lnTo>
                  <a:lnTo>
                    <a:pt x="248" y="64"/>
                  </a:lnTo>
                  <a:lnTo>
                    <a:pt x="264" y="41"/>
                  </a:lnTo>
                  <a:lnTo>
                    <a:pt x="293" y="48"/>
                  </a:lnTo>
                  <a:lnTo>
                    <a:pt x="303" y="61"/>
                  </a:lnTo>
                  <a:lnTo>
                    <a:pt x="304" y="81"/>
                  </a:lnTo>
                  <a:lnTo>
                    <a:pt x="286" y="111"/>
                  </a:lnTo>
                  <a:lnTo>
                    <a:pt x="285" y="128"/>
                  </a:lnTo>
                  <a:lnTo>
                    <a:pt x="289" y="142"/>
                  </a:lnTo>
                  <a:lnTo>
                    <a:pt x="300" y="170"/>
                  </a:lnTo>
                  <a:lnTo>
                    <a:pt x="299" y="186"/>
                  </a:lnTo>
                  <a:lnTo>
                    <a:pt x="296" y="199"/>
                  </a:lnTo>
                  <a:lnTo>
                    <a:pt x="293" y="236"/>
                  </a:lnTo>
                  <a:lnTo>
                    <a:pt x="288" y="253"/>
                  </a:lnTo>
                  <a:lnTo>
                    <a:pt x="272" y="258"/>
                  </a:lnTo>
                  <a:lnTo>
                    <a:pt x="254" y="242"/>
                  </a:lnTo>
                  <a:lnTo>
                    <a:pt x="229" y="245"/>
                  </a:lnTo>
                  <a:lnTo>
                    <a:pt x="219" y="234"/>
                  </a:lnTo>
                  <a:lnTo>
                    <a:pt x="212" y="229"/>
                  </a:lnTo>
                  <a:lnTo>
                    <a:pt x="201" y="237"/>
                  </a:lnTo>
                  <a:lnTo>
                    <a:pt x="192" y="248"/>
                  </a:lnTo>
                  <a:lnTo>
                    <a:pt x="169" y="257"/>
                  </a:lnTo>
                  <a:lnTo>
                    <a:pt x="159" y="266"/>
                  </a:lnTo>
                  <a:lnTo>
                    <a:pt x="154" y="274"/>
                  </a:lnTo>
                  <a:lnTo>
                    <a:pt x="153" y="287"/>
                  </a:lnTo>
                  <a:lnTo>
                    <a:pt x="158" y="299"/>
                  </a:lnTo>
                  <a:lnTo>
                    <a:pt x="160" y="314"/>
                  </a:lnTo>
                  <a:lnTo>
                    <a:pt x="158" y="318"/>
                  </a:lnTo>
                  <a:lnTo>
                    <a:pt x="146" y="318"/>
                  </a:lnTo>
                  <a:lnTo>
                    <a:pt x="135" y="321"/>
                  </a:lnTo>
                  <a:lnTo>
                    <a:pt x="129" y="328"/>
                  </a:lnTo>
                  <a:lnTo>
                    <a:pt x="127" y="34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42" name="Freeform 37">
              <a:extLst>
                <a:ext uri="{FF2B5EF4-FFF2-40B4-BE49-F238E27FC236}">
                  <a16:creationId xmlns:a16="http://schemas.microsoft.com/office/drawing/2014/main" id="{A09067E3-792C-59BF-01DB-A197C57B2D3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277715" y="3906594"/>
              <a:ext cx="91032" cy="25912"/>
            </a:xfrm>
            <a:custGeom>
              <a:avLst/>
              <a:gdLst>
                <a:gd name="T0" fmla="*/ 0 w 168"/>
                <a:gd name="T1" fmla="*/ 0 h 45"/>
                <a:gd name="T2" fmla="*/ 0 w 168"/>
                <a:gd name="T3" fmla="*/ 0 h 45"/>
                <a:gd name="T4" fmla="*/ 2147483647 w 168"/>
                <a:gd name="T5" fmla="*/ 0 h 45"/>
                <a:gd name="T6" fmla="*/ 2147483647 w 168"/>
                <a:gd name="T7" fmla="*/ 0 h 45"/>
                <a:gd name="T8" fmla="*/ 2147483647 w 168"/>
                <a:gd name="T9" fmla="*/ 0 h 45"/>
                <a:gd name="T10" fmla="*/ 2147483647 w 168"/>
                <a:gd name="T11" fmla="*/ 0 h 45"/>
                <a:gd name="T12" fmla="*/ 2147483647 w 168"/>
                <a:gd name="T13" fmla="*/ 0 h 45"/>
                <a:gd name="T14" fmla="*/ 2147483647 w 168"/>
                <a:gd name="T15" fmla="*/ 0 h 45"/>
                <a:gd name="T16" fmla="*/ 2147483647 w 168"/>
                <a:gd name="T17" fmla="*/ 0 h 45"/>
                <a:gd name="T18" fmla="*/ 2147483647 w 168"/>
                <a:gd name="T19" fmla="*/ 0 h 45"/>
                <a:gd name="T20" fmla="*/ 2147483647 w 168"/>
                <a:gd name="T21" fmla="*/ 0 h 45"/>
                <a:gd name="T22" fmla="*/ 2147483647 w 168"/>
                <a:gd name="T23" fmla="*/ 0 h 45"/>
                <a:gd name="T24" fmla="*/ 2147483647 w 168"/>
                <a:gd name="T25" fmla="*/ 0 h 45"/>
                <a:gd name="T26" fmla="*/ 2147483647 w 168"/>
                <a:gd name="T27" fmla="*/ 0 h 45"/>
                <a:gd name="T28" fmla="*/ 2147483647 w 168"/>
                <a:gd name="T29" fmla="*/ 0 h 45"/>
                <a:gd name="T30" fmla="*/ 2147483647 w 168"/>
                <a:gd name="T31" fmla="*/ 0 h 45"/>
                <a:gd name="T32" fmla="*/ 2147483647 w 168"/>
                <a:gd name="T33" fmla="*/ 0 h 45"/>
                <a:gd name="T34" fmla="*/ 2147483647 w 168"/>
                <a:gd name="T35" fmla="*/ 0 h 45"/>
                <a:gd name="T36" fmla="*/ 2147483647 w 168"/>
                <a:gd name="T37" fmla="*/ 0 h 45"/>
                <a:gd name="T38" fmla="*/ 2147483647 w 168"/>
                <a:gd name="T39" fmla="*/ 0 h 45"/>
                <a:gd name="T40" fmla="*/ 2147483647 w 168"/>
                <a:gd name="T41" fmla="*/ 0 h 45"/>
                <a:gd name="T42" fmla="*/ 2147483647 w 168"/>
                <a:gd name="T43" fmla="*/ 0 h 45"/>
                <a:gd name="T44" fmla="*/ 2147483647 w 168"/>
                <a:gd name="T45" fmla="*/ 0 h 45"/>
                <a:gd name="T46" fmla="*/ 2147483647 w 168"/>
                <a:gd name="T47" fmla="*/ 0 h 45"/>
                <a:gd name="T48" fmla="*/ 2147483647 w 168"/>
                <a:gd name="T49" fmla="*/ 0 h 45"/>
                <a:gd name="T50" fmla="*/ 2147483647 w 168"/>
                <a:gd name="T51" fmla="*/ 0 h 45"/>
                <a:gd name="T52" fmla="*/ 2147483647 w 168"/>
                <a:gd name="T53" fmla="*/ 0 h 45"/>
                <a:gd name="T54" fmla="*/ 2147483647 w 168"/>
                <a:gd name="T55" fmla="*/ 0 h 45"/>
                <a:gd name="T56" fmla="*/ 2147483647 w 168"/>
                <a:gd name="T57" fmla="*/ 0 h 45"/>
                <a:gd name="T58" fmla="*/ 2147483647 w 168"/>
                <a:gd name="T59" fmla="*/ 0 h 45"/>
                <a:gd name="T60" fmla="*/ 2147483647 w 168"/>
                <a:gd name="T61" fmla="*/ 0 h 45"/>
                <a:gd name="T62" fmla="*/ 2147483647 w 168"/>
                <a:gd name="T63" fmla="*/ 0 h 45"/>
                <a:gd name="T64" fmla="*/ 2147483647 w 168"/>
                <a:gd name="T65" fmla="*/ 0 h 45"/>
                <a:gd name="T66" fmla="*/ 2147483647 w 168"/>
                <a:gd name="T67" fmla="*/ 0 h 45"/>
                <a:gd name="T68" fmla="*/ 2147483647 w 168"/>
                <a:gd name="T69" fmla="*/ 0 h 45"/>
                <a:gd name="T70" fmla="*/ 2147483647 w 168"/>
                <a:gd name="T71" fmla="*/ 0 h 45"/>
                <a:gd name="T72" fmla="*/ 2147483647 w 168"/>
                <a:gd name="T73" fmla="*/ 0 h 45"/>
                <a:gd name="T74" fmla="*/ 2147483647 w 168"/>
                <a:gd name="T75" fmla="*/ 0 h 45"/>
                <a:gd name="T76" fmla="*/ 2147483647 w 168"/>
                <a:gd name="T77" fmla="*/ 0 h 45"/>
                <a:gd name="T78" fmla="*/ 2147483647 w 168"/>
                <a:gd name="T79" fmla="*/ 0 h 45"/>
                <a:gd name="T80" fmla="*/ 2147483647 w 168"/>
                <a:gd name="T81" fmla="*/ 0 h 45"/>
                <a:gd name="T82" fmla="*/ 2147483647 w 168"/>
                <a:gd name="T83" fmla="*/ 0 h 45"/>
                <a:gd name="T84" fmla="*/ 2147483647 w 168"/>
                <a:gd name="T85" fmla="*/ 0 h 45"/>
                <a:gd name="T86" fmla="*/ 2147483647 w 168"/>
                <a:gd name="T87" fmla="*/ 0 h 45"/>
                <a:gd name="T88" fmla="*/ 0 w 168"/>
                <a:gd name="T89" fmla="*/ 0 h 45"/>
                <a:gd name="T90" fmla="*/ 0 w 168"/>
                <a:gd name="T91" fmla="*/ 0 h 45"/>
                <a:gd name="T92" fmla="*/ 0 w 168"/>
                <a:gd name="T93" fmla="*/ 0 h 45"/>
                <a:gd name="T94" fmla="*/ 0 w 168"/>
                <a:gd name="T95" fmla="*/ 0 h 45"/>
                <a:gd name="T96" fmla="*/ 0 w 168"/>
                <a:gd name="T97" fmla="*/ 0 h 45"/>
                <a:gd name="T98" fmla="*/ 0 w 168"/>
                <a:gd name="T99" fmla="*/ 0 h 45"/>
                <a:gd name="T100" fmla="*/ 0 w 168"/>
                <a:gd name="T101" fmla="*/ 0 h 45"/>
                <a:gd name="T102" fmla="*/ 0 w 168"/>
                <a:gd name="T103" fmla="*/ 0 h 45"/>
                <a:gd name="T104" fmla="*/ 0 w 168"/>
                <a:gd name="T105" fmla="*/ 0 h 45"/>
                <a:gd name="T106" fmla="*/ 0 w 168"/>
                <a:gd name="T107" fmla="*/ 0 h 45"/>
                <a:gd name="T108" fmla="*/ 0 w 168"/>
                <a:gd name="T109" fmla="*/ 0 h 45"/>
                <a:gd name="T110" fmla="*/ 0 w 168"/>
                <a:gd name="T111" fmla="*/ 0 h 4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68"/>
                <a:gd name="T169" fmla="*/ 0 h 45"/>
                <a:gd name="T170" fmla="*/ 168 w 168"/>
                <a:gd name="T171" fmla="*/ 45 h 4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68" h="45">
                  <a:moveTo>
                    <a:pt x="4" y="44"/>
                  </a:moveTo>
                  <a:lnTo>
                    <a:pt x="8" y="38"/>
                  </a:lnTo>
                  <a:lnTo>
                    <a:pt x="47" y="34"/>
                  </a:lnTo>
                  <a:lnTo>
                    <a:pt x="55" y="34"/>
                  </a:lnTo>
                  <a:lnTo>
                    <a:pt x="56" y="34"/>
                  </a:lnTo>
                  <a:lnTo>
                    <a:pt x="59" y="27"/>
                  </a:lnTo>
                  <a:lnTo>
                    <a:pt x="64" y="26"/>
                  </a:lnTo>
                  <a:lnTo>
                    <a:pt x="67" y="27"/>
                  </a:lnTo>
                  <a:lnTo>
                    <a:pt x="80" y="26"/>
                  </a:lnTo>
                  <a:lnTo>
                    <a:pt x="88" y="22"/>
                  </a:lnTo>
                  <a:lnTo>
                    <a:pt x="92" y="17"/>
                  </a:lnTo>
                  <a:lnTo>
                    <a:pt x="94" y="16"/>
                  </a:lnTo>
                  <a:lnTo>
                    <a:pt x="101" y="17"/>
                  </a:lnTo>
                  <a:lnTo>
                    <a:pt x="104" y="21"/>
                  </a:lnTo>
                  <a:lnTo>
                    <a:pt x="112" y="23"/>
                  </a:lnTo>
                  <a:lnTo>
                    <a:pt x="120" y="28"/>
                  </a:lnTo>
                  <a:lnTo>
                    <a:pt x="128" y="29"/>
                  </a:lnTo>
                  <a:lnTo>
                    <a:pt x="136" y="33"/>
                  </a:lnTo>
                  <a:lnTo>
                    <a:pt x="144" y="33"/>
                  </a:lnTo>
                  <a:lnTo>
                    <a:pt x="146" y="34"/>
                  </a:lnTo>
                  <a:lnTo>
                    <a:pt x="152" y="31"/>
                  </a:lnTo>
                  <a:lnTo>
                    <a:pt x="164" y="28"/>
                  </a:lnTo>
                  <a:lnTo>
                    <a:pt x="168" y="24"/>
                  </a:lnTo>
                  <a:lnTo>
                    <a:pt x="168" y="21"/>
                  </a:lnTo>
                  <a:lnTo>
                    <a:pt x="168" y="16"/>
                  </a:lnTo>
                  <a:lnTo>
                    <a:pt x="167" y="16"/>
                  </a:lnTo>
                  <a:lnTo>
                    <a:pt x="164" y="16"/>
                  </a:lnTo>
                  <a:lnTo>
                    <a:pt x="161" y="15"/>
                  </a:lnTo>
                  <a:lnTo>
                    <a:pt x="156" y="15"/>
                  </a:lnTo>
                  <a:lnTo>
                    <a:pt x="152" y="16"/>
                  </a:lnTo>
                  <a:lnTo>
                    <a:pt x="141" y="21"/>
                  </a:lnTo>
                  <a:lnTo>
                    <a:pt x="136" y="20"/>
                  </a:lnTo>
                  <a:lnTo>
                    <a:pt x="130" y="17"/>
                  </a:lnTo>
                  <a:lnTo>
                    <a:pt x="126" y="11"/>
                  </a:lnTo>
                  <a:lnTo>
                    <a:pt x="125" y="10"/>
                  </a:lnTo>
                  <a:lnTo>
                    <a:pt x="113" y="10"/>
                  </a:lnTo>
                  <a:lnTo>
                    <a:pt x="107" y="2"/>
                  </a:lnTo>
                  <a:lnTo>
                    <a:pt x="101" y="1"/>
                  </a:lnTo>
                  <a:lnTo>
                    <a:pt x="98" y="0"/>
                  </a:lnTo>
                  <a:lnTo>
                    <a:pt x="92" y="1"/>
                  </a:lnTo>
                  <a:lnTo>
                    <a:pt x="87" y="4"/>
                  </a:lnTo>
                  <a:lnTo>
                    <a:pt x="81" y="2"/>
                  </a:lnTo>
                  <a:lnTo>
                    <a:pt x="76" y="7"/>
                  </a:lnTo>
                  <a:lnTo>
                    <a:pt x="72" y="13"/>
                  </a:lnTo>
                  <a:lnTo>
                    <a:pt x="16" y="13"/>
                  </a:lnTo>
                  <a:lnTo>
                    <a:pt x="15" y="13"/>
                  </a:lnTo>
                  <a:lnTo>
                    <a:pt x="13" y="17"/>
                  </a:lnTo>
                  <a:lnTo>
                    <a:pt x="15" y="21"/>
                  </a:lnTo>
                  <a:lnTo>
                    <a:pt x="8" y="20"/>
                  </a:lnTo>
                  <a:lnTo>
                    <a:pt x="6" y="21"/>
                  </a:lnTo>
                  <a:lnTo>
                    <a:pt x="4" y="26"/>
                  </a:lnTo>
                  <a:lnTo>
                    <a:pt x="1" y="28"/>
                  </a:lnTo>
                  <a:lnTo>
                    <a:pt x="0" y="34"/>
                  </a:lnTo>
                  <a:lnTo>
                    <a:pt x="1" y="44"/>
                  </a:lnTo>
                  <a:lnTo>
                    <a:pt x="2" y="45"/>
                  </a:lnTo>
                  <a:lnTo>
                    <a:pt x="4" y="4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43" name="Freeform 38">
              <a:extLst>
                <a:ext uri="{FF2B5EF4-FFF2-40B4-BE49-F238E27FC236}">
                  <a16:creationId xmlns:a16="http://schemas.microsoft.com/office/drawing/2014/main" id="{8185C850-3EF8-F8DF-150D-14C5815CE5E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280700" y="3941651"/>
              <a:ext cx="92525" cy="56396"/>
            </a:xfrm>
            <a:custGeom>
              <a:avLst/>
              <a:gdLst>
                <a:gd name="T0" fmla="*/ 2147483647 w 173"/>
                <a:gd name="T1" fmla="*/ 0 h 99"/>
                <a:gd name="T2" fmla="*/ 2147483647 w 173"/>
                <a:gd name="T3" fmla="*/ 0 h 99"/>
                <a:gd name="T4" fmla="*/ 2147483647 w 173"/>
                <a:gd name="T5" fmla="*/ 0 h 99"/>
                <a:gd name="T6" fmla="*/ 2147483647 w 173"/>
                <a:gd name="T7" fmla="*/ 0 h 99"/>
                <a:gd name="T8" fmla="*/ 2147483647 w 173"/>
                <a:gd name="T9" fmla="*/ 0 h 99"/>
                <a:gd name="T10" fmla="*/ 2147483647 w 173"/>
                <a:gd name="T11" fmla="*/ 0 h 99"/>
                <a:gd name="T12" fmla="*/ 2147483647 w 173"/>
                <a:gd name="T13" fmla="*/ 0 h 99"/>
                <a:gd name="T14" fmla="*/ 2147483647 w 173"/>
                <a:gd name="T15" fmla="*/ 0 h 99"/>
                <a:gd name="T16" fmla="*/ 2147483647 w 173"/>
                <a:gd name="T17" fmla="*/ 0 h 99"/>
                <a:gd name="T18" fmla="*/ 2147483647 w 173"/>
                <a:gd name="T19" fmla="*/ 0 h 99"/>
                <a:gd name="T20" fmla="*/ 2147483647 w 173"/>
                <a:gd name="T21" fmla="*/ 0 h 99"/>
                <a:gd name="T22" fmla="*/ 2147483647 w 173"/>
                <a:gd name="T23" fmla="*/ 0 h 99"/>
                <a:gd name="T24" fmla="*/ 2147483647 w 173"/>
                <a:gd name="T25" fmla="*/ 0 h 99"/>
                <a:gd name="T26" fmla="*/ 2147483647 w 173"/>
                <a:gd name="T27" fmla="*/ 0 h 99"/>
                <a:gd name="T28" fmla="*/ 2147483647 w 173"/>
                <a:gd name="T29" fmla="*/ 0 h 99"/>
                <a:gd name="T30" fmla="*/ 2147483647 w 173"/>
                <a:gd name="T31" fmla="*/ 0 h 99"/>
                <a:gd name="T32" fmla="*/ 2147483647 w 173"/>
                <a:gd name="T33" fmla="*/ 0 h 99"/>
                <a:gd name="T34" fmla="*/ 2147483647 w 173"/>
                <a:gd name="T35" fmla="*/ 2147483647 h 99"/>
                <a:gd name="T36" fmla="*/ 2147483647 w 173"/>
                <a:gd name="T37" fmla="*/ 2147483647 h 99"/>
                <a:gd name="T38" fmla="*/ 2147483647 w 173"/>
                <a:gd name="T39" fmla="*/ 2147483647 h 99"/>
                <a:gd name="T40" fmla="*/ 2147483647 w 173"/>
                <a:gd name="T41" fmla="*/ 2147483647 h 99"/>
                <a:gd name="T42" fmla="*/ 2147483647 w 173"/>
                <a:gd name="T43" fmla="*/ 2147483647 h 99"/>
                <a:gd name="T44" fmla="*/ 2147483647 w 173"/>
                <a:gd name="T45" fmla="*/ 2147483647 h 99"/>
                <a:gd name="T46" fmla="*/ 2147483647 w 173"/>
                <a:gd name="T47" fmla="*/ 2147483647 h 99"/>
                <a:gd name="T48" fmla="*/ 2147483647 w 173"/>
                <a:gd name="T49" fmla="*/ 2147483647 h 99"/>
                <a:gd name="T50" fmla="*/ 2147483647 w 173"/>
                <a:gd name="T51" fmla="*/ 2147483647 h 99"/>
                <a:gd name="T52" fmla="*/ 2147483647 w 173"/>
                <a:gd name="T53" fmla="*/ 2147483647 h 99"/>
                <a:gd name="T54" fmla="*/ 2147483647 w 173"/>
                <a:gd name="T55" fmla="*/ 2147483647 h 99"/>
                <a:gd name="T56" fmla="*/ 2147483647 w 173"/>
                <a:gd name="T57" fmla="*/ 0 h 99"/>
                <a:gd name="T58" fmla="*/ 2147483647 w 173"/>
                <a:gd name="T59" fmla="*/ 0 h 99"/>
                <a:gd name="T60" fmla="*/ 2147483647 w 173"/>
                <a:gd name="T61" fmla="*/ 0 h 99"/>
                <a:gd name="T62" fmla="*/ 2147483647 w 173"/>
                <a:gd name="T63" fmla="*/ 0 h 99"/>
                <a:gd name="T64" fmla="*/ 2147483647 w 173"/>
                <a:gd name="T65" fmla="*/ 0 h 99"/>
                <a:gd name="T66" fmla="*/ 2147483647 w 173"/>
                <a:gd name="T67" fmla="*/ 0 h 99"/>
                <a:gd name="T68" fmla="*/ 2147483647 w 173"/>
                <a:gd name="T69" fmla="*/ 0 h 99"/>
                <a:gd name="T70" fmla="*/ 2147483647 w 173"/>
                <a:gd name="T71" fmla="*/ 0 h 99"/>
                <a:gd name="T72" fmla="*/ 2147483647 w 173"/>
                <a:gd name="T73" fmla="*/ 0 h 99"/>
                <a:gd name="T74" fmla="*/ 2147483647 w 173"/>
                <a:gd name="T75" fmla="*/ 0 h 99"/>
                <a:gd name="T76" fmla="*/ 0 w 173"/>
                <a:gd name="T77" fmla="*/ 0 h 99"/>
                <a:gd name="T78" fmla="*/ 0 w 173"/>
                <a:gd name="T79" fmla="*/ 0 h 99"/>
                <a:gd name="T80" fmla="*/ 0 w 173"/>
                <a:gd name="T81" fmla="*/ 0 h 99"/>
                <a:gd name="T82" fmla="*/ 0 w 173"/>
                <a:gd name="T83" fmla="*/ 0 h 99"/>
                <a:gd name="T84" fmla="*/ 0 w 173"/>
                <a:gd name="T85" fmla="*/ 0 h 99"/>
                <a:gd name="T86" fmla="*/ 0 w 173"/>
                <a:gd name="T87" fmla="*/ 0 h 99"/>
                <a:gd name="T88" fmla="*/ 0 w 173"/>
                <a:gd name="T89" fmla="*/ 0 h 99"/>
                <a:gd name="T90" fmla="*/ 0 w 173"/>
                <a:gd name="T91" fmla="*/ 0 h 99"/>
                <a:gd name="T92" fmla="*/ 0 w 173"/>
                <a:gd name="T93" fmla="*/ 0 h 99"/>
                <a:gd name="T94" fmla="*/ 0 w 173"/>
                <a:gd name="T95" fmla="*/ 0 h 99"/>
                <a:gd name="T96" fmla="*/ 0 w 173"/>
                <a:gd name="T97" fmla="*/ 0 h 99"/>
                <a:gd name="T98" fmla="*/ 0 w 173"/>
                <a:gd name="T99" fmla="*/ 0 h 99"/>
                <a:gd name="T100" fmla="*/ 0 w 173"/>
                <a:gd name="T101" fmla="*/ 0 h 99"/>
                <a:gd name="T102" fmla="*/ 0 w 173"/>
                <a:gd name="T103" fmla="*/ 0 h 99"/>
                <a:gd name="T104" fmla="*/ 2147483647 w 173"/>
                <a:gd name="T105" fmla="*/ 0 h 99"/>
                <a:gd name="T106" fmla="*/ 2147483647 w 173"/>
                <a:gd name="T107" fmla="*/ 0 h 99"/>
                <a:gd name="T108" fmla="*/ 2147483647 w 173"/>
                <a:gd name="T109" fmla="*/ 0 h 99"/>
                <a:gd name="T110" fmla="*/ 2147483647 w 173"/>
                <a:gd name="T111" fmla="*/ 0 h 99"/>
                <a:gd name="T112" fmla="*/ 2147483647 w 173"/>
                <a:gd name="T113" fmla="*/ 0 h 99"/>
                <a:gd name="T114" fmla="*/ 2147483647 w 173"/>
                <a:gd name="T115" fmla="*/ 0 h 99"/>
                <a:gd name="T116" fmla="*/ 2147483647 w 173"/>
                <a:gd name="T117" fmla="*/ 0 h 9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73"/>
                <a:gd name="T178" fmla="*/ 0 h 99"/>
                <a:gd name="T179" fmla="*/ 173 w 173"/>
                <a:gd name="T180" fmla="*/ 99 h 9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73" h="99">
                  <a:moveTo>
                    <a:pt x="169" y="0"/>
                  </a:moveTo>
                  <a:lnTo>
                    <a:pt x="169" y="7"/>
                  </a:lnTo>
                  <a:lnTo>
                    <a:pt x="173" y="14"/>
                  </a:lnTo>
                  <a:lnTo>
                    <a:pt x="173" y="18"/>
                  </a:lnTo>
                  <a:lnTo>
                    <a:pt x="170" y="24"/>
                  </a:lnTo>
                  <a:lnTo>
                    <a:pt x="168" y="25"/>
                  </a:lnTo>
                  <a:lnTo>
                    <a:pt x="162" y="25"/>
                  </a:lnTo>
                  <a:lnTo>
                    <a:pt x="160" y="27"/>
                  </a:lnTo>
                  <a:lnTo>
                    <a:pt x="158" y="30"/>
                  </a:lnTo>
                  <a:lnTo>
                    <a:pt x="164" y="34"/>
                  </a:lnTo>
                  <a:lnTo>
                    <a:pt x="167" y="39"/>
                  </a:lnTo>
                  <a:lnTo>
                    <a:pt x="168" y="57"/>
                  </a:lnTo>
                  <a:lnTo>
                    <a:pt x="162" y="57"/>
                  </a:lnTo>
                  <a:lnTo>
                    <a:pt x="158" y="60"/>
                  </a:lnTo>
                  <a:lnTo>
                    <a:pt x="138" y="60"/>
                  </a:lnTo>
                  <a:lnTo>
                    <a:pt x="121" y="67"/>
                  </a:lnTo>
                  <a:lnTo>
                    <a:pt x="114" y="73"/>
                  </a:lnTo>
                  <a:lnTo>
                    <a:pt x="110" y="81"/>
                  </a:lnTo>
                  <a:lnTo>
                    <a:pt x="106" y="89"/>
                  </a:lnTo>
                  <a:lnTo>
                    <a:pt x="104" y="93"/>
                  </a:lnTo>
                  <a:lnTo>
                    <a:pt x="99" y="97"/>
                  </a:lnTo>
                  <a:lnTo>
                    <a:pt x="93" y="99"/>
                  </a:lnTo>
                  <a:lnTo>
                    <a:pt x="93" y="95"/>
                  </a:lnTo>
                  <a:lnTo>
                    <a:pt x="94" y="93"/>
                  </a:lnTo>
                  <a:lnTo>
                    <a:pt x="86" y="94"/>
                  </a:lnTo>
                  <a:lnTo>
                    <a:pt x="81" y="93"/>
                  </a:lnTo>
                  <a:lnTo>
                    <a:pt x="76" y="87"/>
                  </a:lnTo>
                  <a:lnTo>
                    <a:pt x="74" y="79"/>
                  </a:lnTo>
                  <a:lnTo>
                    <a:pt x="77" y="70"/>
                  </a:lnTo>
                  <a:lnTo>
                    <a:pt x="72" y="58"/>
                  </a:lnTo>
                  <a:lnTo>
                    <a:pt x="79" y="54"/>
                  </a:lnTo>
                  <a:lnTo>
                    <a:pt x="84" y="51"/>
                  </a:lnTo>
                  <a:lnTo>
                    <a:pt x="103" y="50"/>
                  </a:lnTo>
                  <a:lnTo>
                    <a:pt x="104" y="45"/>
                  </a:lnTo>
                  <a:lnTo>
                    <a:pt x="81" y="47"/>
                  </a:lnTo>
                  <a:lnTo>
                    <a:pt x="72" y="50"/>
                  </a:lnTo>
                  <a:lnTo>
                    <a:pt x="59" y="57"/>
                  </a:lnTo>
                  <a:lnTo>
                    <a:pt x="51" y="58"/>
                  </a:lnTo>
                  <a:lnTo>
                    <a:pt x="47" y="57"/>
                  </a:lnTo>
                  <a:lnTo>
                    <a:pt x="46" y="49"/>
                  </a:lnTo>
                  <a:lnTo>
                    <a:pt x="40" y="50"/>
                  </a:lnTo>
                  <a:lnTo>
                    <a:pt x="30" y="47"/>
                  </a:lnTo>
                  <a:lnTo>
                    <a:pt x="27" y="43"/>
                  </a:lnTo>
                  <a:lnTo>
                    <a:pt x="25" y="34"/>
                  </a:lnTo>
                  <a:lnTo>
                    <a:pt x="4" y="28"/>
                  </a:lnTo>
                  <a:lnTo>
                    <a:pt x="0" y="20"/>
                  </a:lnTo>
                  <a:lnTo>
                    <a:pt x="2" y="17"/>
                  </a:lnTo>
                  <a:lnTo>
                    <a:pt x="3" y="19"/>
                  </a:lnTo>
                  <a:lnTo>
                    <a:pt x="7" y="20"/>
                  </a:lnTo>
                  <a:lnTo>
                    <a:pt x="14" y="20"/>
                  </a:lnTo>
                  <a:lnTo>
                    <a:pt x="25" y="15"/>
                  </a:lnTo>
                  <a:lnTo>
                    <a:pt x="29" y="13"/>
                  </a:lnTo>
                  <a:lnTo>
                    <a:pt x="59" y="14"/>
                  </a:lnTo>
                  <a:lnTo>
                    <a:pt x="68" y="12"/>
                  </a:lnTo>
                  <a:lnTo>
                    <a:pt x="79" y="7"/>
                  </a:lnTo>
                  <a:lnTo>
                    <a:pt x="92" y="1"/>
                  </a:lnTo>
                  <a:lnTo>
                    <a:pt x="116" y="1"/>
                  </a:lnTo>
                  <a:lnTo>
                    <a:pt x="119" y="0"/>
                  </a:lnTo>
                  <a:lnTo>
                    <a:pt x="169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44" name="Freeform 39">
              <a:extLst>
                <a:ext uri="{FF2B5EF4-FFF2-40B4-BE49-F238E27FC236}">
                  <a16:creationId xmlns:a16="http://schemas.microsoft.com/office/drawing/2014/main" id="{A3ADEF05-4187-CFCA-6828-D1EB39C26A7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434411" y="4075783"/>
              <a:ext cx="120880" cy="129558"/>
            </a:xfrm>
            <a:custGeom>
              <a:avLst/>
              <a:gdLst>
                <a:gd name="T0" fmla="*/ 0 w 227"/>
                <a:gd name="T1" fmla="*/ 2147483647 h 228"/>
                <a:gd name="T2" fmla="*/ 0 w 227"/>
                <a:gd name="T3" fmla="*/ 2147483647 h 228"/>
                <a:gd name="T4" fmla="*/ 0 w 227"/>
                <a:gd name="T5" fmla="*/ 0 h 228"/>
                <a:gd name="T6" fmla="*/ 0 w 227"/>
                <a:gd name="T7" fmla="*/ 0 h 228"/>
                <a:gd name="T8" fmla="*/ 0 w 227"/>
                <a:gd name="T9" fmla="*/ 0 h 228"/>
                <a:gd name="T10" fmla="*/ 0 w 227"/>
                <a:gd name="T11" fmla="*/ 0 h 228"/>
                <a:gd name="T12" fmla="*/ 0 w 227"/>
                <a:gd name="T13" fmla="*/ 0 h 228"/>
                <a:gd name="T14" fmla="*/ 2147483647 w 227"/>
                <a:gd name="T15" fmla="*/ 0 h 228"/>
                <a:gd name="T16" fmla="*/ 2147483647 w 227"/>
                <a:gd name="T17" fmla="*/ 0 h 228"/>
                <a:gd name="T18" fmla="*/ 2147483647 w 227"/>
                <a:gd name="T19" fmla="*/ 0 h 228"/>
                <a:gd name="T20" fmla="*/ 2147483647 w 227"/>
                <a:gd name="T21" fmla="*/ 0 h 228"/>
                <a:gd name="T22" fmla="*/ 2147483647 w 227"/>
                <a:gd name="T23" fmla="*/ 0 h 228"/>
                <a:gd name="T24" fmla="*/ 2147483647 w 227"/>
                <a:gd name="T25" fmla="*/ 0 h 228"/>
                <a:gd name="T26" fmla="*/ 2147483647 w 227"/>
                <a:gd name="T27" fmla="*/ 0 h 228"/>
                <a:gd name="T28" fmla="*/ 2147483647 w 227"/>
                <a:gd name="T29" fmla="*/ 0 h 228"/>
                <a:gd name="T30" fmla="*/ 2147483647 w 227"/>
                <a:gd name="T31" fmla="*/ 0 h 228"/>
                <a:gd name="T32" fmla="*/ 2147483647 w 227"/>
                <a:gd name="T33" fmla="*/ 0 h 228"/>
                <a:gd name="T34" fmla="*/ 2147483647 w 227"/>
                <a:gd name="T35" fmla="*/ 0 h 228"/>
                <a:gd name="T36" fmla="*/ 2147483647 w 227"/>
                <a:gd name="T37" fmla="*/ 0 h 228"/>
                <a:gd name="T38" fmla="*/ 2147483647 w 227"/>
                <a:gd name="T39" fmla="*/ 0 h 228"/>
                <a:gd name="T40" fmla="*/ 2147483647 w 227"/>
                <a:gd name="T41" fmla="*/ 0 h 228"/>
                <a:gd name="T42" fmla="*/ 2147483647 w 227"/>
                <a:gd name="T43" fmla="*/ 0 h 228"/>
                <a:gd name="T44" fmla="*/ 2147483647 w 227"/>
                <a:gd name="T45" fmla="*/ 0 h 228"/>
                <a:gd name="T46" fmla="*/ 2147483647 w 227"/>
                <a:gd name="T47" fmla="*/ 0 h 228"/>
                <a:gd name="T48" fmla="*/ 2147483647 w 227"/>
                <a:gd name="T49" fmla="*/ 0 h 228"/>
                <a:gd name="T50" fmla="*/ 2147483647 w 227"/>
                <a:gd name="T51" fmla="*/ 0 h 228"/>
                <a:gd name="T52" fmla="*/ 2147483647 w 227"/>
                <a:gd name="T53" fmla="*/ 0 h 228"/>
                <a:gd name="T54" fmla="*/ 2147483647 w 227"/>
                <a:gd name="T55" fmla="*/ 0 h 228"/>
                <a:gd name="T56" fmla="*/ 2147483647 w 227"/>
                <a:gd name="T57" fmla="*/ 0 h 228"/>
                <a:gd name="T58" fmla="*/ 2147483647 w 227"/>
                <a:gd name="T59" fmla="*/ 0 h 228"/>
                <a:gd name="T60" fmla="*/ 2147483647 w 227"/>
                <a:gd name="T61" fmla="*/ 0 h 228"/>
                <a:gd name="T62" fmla="*/ 2147483647 w 227"/>
                <a:gd name="T63" fmla="*/ 2147483647 h 228"/>
                <a:gd name="T64" fmla="*/ 2147483647 w 227"/>
                <a:gd name="T65" fmla="*/ 2147483647 h 228"/>
                <a:gd name="T66" fmla="*/ 2147483647 w 227"/>
                <a:gd name="T67" fmla="*/ 2147483647 h 228"/>
                <a:gd name="T68" fmla="*/ 2147483647 w 227"/>
                <a:gd name="T69" fmla="*/ 2147483647 h 228"/>
                <a:gd name="T70" fmla="*/ 2147483647 w 227"/>
                <a:gd name="T71" fmla="*/ 2147483647 h 228"/>
                <a:gd name="T72" fmla="*/ 2147483647 w 227"/>
                <a:gd name="T73" fmla="*/ 2147483647 h 228"/>
                <a:gd name="T74" fmla="*/ 2147483647 w 227"/>
                <a:gd name="T75" fmla="*/ 2147483647 h 228"/>
                <a:gd name="T76" fmla="*/ 2147483647 w 227"/>
                <a:gd name="T77" fmla="*/ 2147483647 h 228"/>
                <a:gd name="T78" fmla="*/ 2147483647 w 227"/>
                <a:gd name="T79" fmla="*/ 2147483647 h 228"/>
                <a:gd name="T80" fmla="*/ 2147483647 w 227"/>
                <a:gd name="T81" fmla="*/ 2147483647 h 228"/>
                <a:gd name="T82" fmla="*/ 2147483647 w 227"/>
                <a:gd name="T83" fmla="*/ 2147483647 h 228"/>
                <a:gd name="T84" fmla="*/ 2147483647 w 227"/>
                <a:gd name="T85" fmla="*/ 2147483647 h 228"/>
                <a:gd name="T86" fmla="*/ 2147483647 w 227"/>
                <a:gd name="T87" fmla="*/ 2147483647 h 228"/>
                <a:gd name="T88" fmla="*/ 2147483647 w 227"/>
                <a:gd name="T89" fmla="*/ 2147483647 h 228"/>
                <a:gd name="T90" fmla="*/ 2147483647 w 227"/>
                <a:gd name="T91" fmla="*/ 2147483647 h 228"/>
                <a:gd name="T92" fmla="*/ 2147483647 w 227"/>
                <a:gd name="T93" fmla="*/ 2147483647 h 228"/>
                <a:gd name="T94" fmla="*/ 2147483647 w 227"/>
                <a:gd name="T95" fmla="*/ 2147483647 h 228"/>
                <a:gd name="T96" fmla="*/ 2147483647 w 227"/>
                <a:gd name="T97" fmla="*/ 2147483647 h 228"/>
                <a:gd name="T98" fmla="*/ 2147483647 w 227"/>
                <a:gd name="T99" fmla="*/ 2147483647 h 228"/>
                <a:gd name="T100" fmla="*/ 2147483647 w 227"/>
                <a:gd name="T101" fmla="*/ 2147483647 h 228"/>
                <a:gd name="T102" fmla="*/ 2147483647 w 227"/>
                <a:gd name="T103" fmla="*/ 2147483647 h 228"/>
                <a:gd name="T104" fmla="*/ 2147483647 w 227"/>
                <a:gd name="T105" fmla="*/ 2147483647 h 228"/>
                <a:gd name="T106" fmla="*/ 2147483647 w 227"/>
                <a:gd name="T107" fmla="*/ 2147483647 h 228"/>
                <a:gd name="T108" fmla="*/ 2147483647 w 227"/>
                <a:gd name="T109" fmla="*/ 2147483647 h 228"/>
                <a:gd name="T110" fmla="*/ 2147483647 w 227"/>
                <a:gd name="T111" fmla="*/ 2147483647 h 228"/>
                <a:gd name="T112" fmla="*/ 2147483647 w 227"/>
                <a:gd name="T113" fmla="*/ 2147483647 h 228"/>
                <a:gd name="T114" fmla="*/ 0 w 227"/>
                <a:gd name="T115" fmla="*/ 2147483647 h 228"/>
                <a:gd name="T116" fmla="*/ 0 w 227"/>
                <a:gd name="T117" fmla="*/ 2147483647 h 228"/>
                <a:gd name="T118" fmla="*/ 0 w 227"/>
                <a:gd name="T119" fmla="*/ 2147483647 h 228"/>
                <a:gd name="T120" fmla="*/ 0 w 227"/>
                <a:gd name="T121" fmla="*/ 2147483647 h 228"/>
                <a:gd name="T122" fmla="*/ 0 w 227"/>
                <a:gd name="T123" fmla="*/ 2147483647 h 22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27"/>
                <a:gd name="T187" fmla="*/ 0 h 228"/>
                <a:gd name="T188" fmla="*/ 227 w 227"/>
                <a:gd name="T189" fmla="*/ 228 h 22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27" h="228">
                  <a:moveTo>
                    <a:pt x="3" y="86"/>
                  </a:moveTo>
                  <a:lnTo>
                    <a:pt x="4" y="86"/>
                  </a:lnTo>
                  <a:lnTo>
                    <a:pt x="9" y="83"/>
                  </a:lnTo>
                  <a:lnTo>
                    <a:pt x="10" y="77"/>
                  </a:lnTo>
                  <a:lnTo>
                    <a:pt x="13" y="76"/>
                  </a:lnTo>
                  <a:lnTo>
                    <a:pt x="13" y="71"/>
                  </a:lnTo>
                  <a:lnTo>
                    <a:pt x="14" y="68"/>
                  </a:lnTo>
                  <a:lnTo>
                    <a:pt x="19" y="68"/>
                  </a:lnTo>
                  <a:lnTo>
                    <a:pt x="22" y="66"/>
                  </a:lnTo>
                  <a:lnTo>
                    <a:pt x="31" y="57"/>
                  </a:lnTo>
                  <a:lnTo>
                    <a:pt x="37" y="56"/>
                  </a:lnTo>
                  <a:lnTo>
                    <a:pt x="41" y="49"/>
                  </a:lnTo>
                  <a:lnTo>
                    <a:pt x="44" y="49"/>
                  </a:lnTo>
                  <a:lnTo>
                    <a:pt x="47" y="44"/>
                  </a:lnTo>
                  <a:lnTo>
                    <a:pt x="51" y="43"/>
                  </a:lnTo>
                  <a:lnTo>
                    <a:pt x="51" y="27"/>
                  </a:lnTo>
                  <a:lnTo>
                    <a:pt x="53" y="25"/>
                  </a:lnTo>
                  <a:lnTo>
                    <a:pt x="58" y="19"/>
                  </a:lnTo>
                  <a:lnTo>
                    <a:pt x="68" y="18"/>
                  </a:lnTo>
                  <a:lnTo>
                    <a:pt x="68" y="17"/>
                  </a:lnTo>
                  <a:lnTo>
                    <a:pt x="64" y="13"/>
                  </a:lnTo>
                  <a:lnTo>
                    <a:pt x="65" y="8"/>
                  </a:lnTo>
                  <a:lnTo>
                    <a:pt x="69" y="8"/>
                  </a:lnTo>
                  <a:lnTo>
                    <a:pt x="71" y="2"/>
                  </a:lnTo>
                  <a:lnTo>
                    <a:pt x="75" y="0"/>
                  </a:lnTo>
                  <a:lnTo>
                    <a:pt x="79" y="1"/>
                  </a:lnTo>
                  <a:lnTo>
                    <a:pt x="85" y="6"/>
                  </a:lnTo>
                  <a:lnTo>
                    <a:pt x="86" y="6"/>
                  </a:lnTo>
                  <a:lnTo>
                    <a:pt x="89" y="3"/>
                  </a:lnTo>
                  <a:lnTo>
                    <a:pt x="97" y="1"/>
                  </a:lnTo>
                  <a:lnTo>
                    <a:pt x="100" y="2"/>
                  </a:lnTo>
                  <a:lnTo>
                    <a:pt x="100" y="3"/>
                  </a:lnTo>
                  <a:lnTo>
                    <a:pt x="102" y="7"/>
                  </a:lnTo>
                  <a:lnTo>
                    <a:pt x="110" y="12"/>
                  </a:lnTo>
                  <a:lnTo>
                    <a:pt x="110" y="19"/>
                  </a:lnTo>
                  <a:lnTo>
                    <a:pt x="114" y="25"/>
                  </a:lnTo>
                  <a:lnTo>
                    <a:pt x="116" y="39"/>
                  </a:lnTo>
                  <a:lnTo>
                    <a:pt x="118" y="41"/>
                  </a:lnTo>
                  <a:lnTo>
                    <a:pt x="117" y="56"/>
                  </a:lnTo>
                  <a:lnTo>
                    <a:pt x="114" y="60"/>
                  </a:lnTo>
                  <a:lnTo>
                    <a:pt x="111" y="62"/>
                  </a:lnTo>
                  <a:lnTo>
                    <a:pt x="110" y="65"/>
                  </a:lnTo>
                  <a:lnTo>
                    <a:pt x="111" y="66"/>
                  </a:lnTo>
                  <a:lnTo>
                    <a:pt x="116" y="66"/>
                  </a:lnTo>
                  <a:lnTo>
                    <a:pt x="119" y="62"/>
                  </a:lnTo>
                  <a:lnTo>
                    <a:pt x="122" y="64"/>
                  </a:lnTo>
                  <a:lnTo>
                    <a:pt x="127" y="67"/>
                  </a:lnTo>
                  <a:lnTo>
                    <a:pt x="132" y="75"/>
                  </a:lnTo>
                  <a:lnTo>
                    <a:pt x="137" y="73"/>
                  </a:lnTo>
                  <a:lnTo>
                    <a:pt x="139" y="71"/>
                  </a:lnTo>
                  <a:lnTo>
                    <a:pt x="146" y="70"/>
                  </a:lnTo>
                  <a:lnTo>
                    <a:pt x="148" y="66"/>
                  </a:lnTo>
                  <a:lnTo>
                    <a:pt x="153" y="60"/>
                  </a:lnTo>
                  <a:lnTo>
                    <a:pt x="153" y="51"/>
                  </a:lnTo>
                  <a:lnTo>
                    <a:pt x="156" y="49"/>
                  </a:lnTo>
                  <a:lnTo>
                    <a:pt x="162" y="50"/>
                  </a:lnTo>
                  <a:lnTo>
                    <a:pt x="166" y="56"/>
                  </a:lnTo>
                  <a:lnTo>
                    <a:pt x="167" y="61"/>
                  </a:lnTo>
                  <a:lnTo>
                    <a:pt x="169" y="70"/>
                  </a:lnTo>
                  <a:lnTo>
                    <a:pt x="171" y="71"/>
                  </a:lnTo>
                  <a:lnTo>
                    <a:pt x="173" y="75"/>
                  </a:lnTo>
                  <a:lnTo>
                    <a:pt x="173" y="76"/>
                  </a:lnTo>
                  <a:lnTo>
                    <a:pt x="178" y="80"/>
                  </a:lnTo>
                  <a:lnTo>
                    <a:pt x="175" y="95"/>
                  </a:lnTo>
                  <a:lnTo>
                    <a:pt x="173" y="98"/>
                  </a:lnTo>
                  <a:lnTo>
                    <a:pt x="165" y="105"/>
                  </a:lnTo>
                  <a:lnTo>
                    <a:pt x="161" y="111"/>
                  </a:lnTo>
                  <a:lnTo>
                    <a:pt x="161" y="113"/>
                  </a:lnTo>
                  <a:lnTo>
                    <a:pt x="164" y="113"/>
                  </a:lnTo>
                  <a:lnTo>
                    <a:pt x="165" y="115"/>
                  </a:lnTo>
                  <a:lnTo>
                    <a:pt x="169" y="114"/>
                  </a:lnTo>
                  <a:lnTo>
                    <a:pt x="170" y="116"/>
                  </a:lnTo>
                  <a:lnTo>
                    <a:pt x="172" y="118"/>
                  </a:lnTo>
                  <a:lnTo>
                    <a:pt x="176" y="118"/>
                  </a:lnTo>
                  <a:lnTo>
                    <a:pt x="183" y="123"/>
                  </a:lnTo>
                  <a:lnTo>
                    <a:pt x="193" y="123"/>
                  </a:lnTo>
                  <a:lnTo>
                    <a:pt x="196" y="123"/>
                  </a:lnTo>
                  <a:lnTo>
                    <a:pt x="199" y="130"/>
                  </a:lnTo>
                  <a:lnTo>
                    <a:pt x="199" y="134"/>
                  </a:lnTo>
                  <a:lnTo>
                    <a:pt x="202" y="135"/>
                  </a:lnTo>
                  <a:lnTo>
                    <a:pt x="205" y="140"/>
                  </a:lnTo>
                  <a:lnTo>
                    <a:pt x="207" y="143"/>
                  </a:lnTo>
                  <a:lnTo>
                    <a:pt x="213" y="145"/>
                  </a:lnTo>
                  <a:lnTo>
                    <a:pt x="218" y="150"/>
                  </a:lnTo>
                  <a:lnTo>
                    <a:pt x="224" y="148"/>
                  </a:lnTo>
                  <a:lnTo>
                    <a:pt x="224" y="153"/>
                  </a:lnTo>
                  <a:lnTo>
                    <a:pt x="226" y="158"/>
                  </a:lnTo>
                  <a:lnTo>
                    <a:pt x="227" y="164"/>
                  </a:lnTo>
                  <a:lnTo>
                    <a:pt x="225" y="172"/>
                  </a:lnTo>
                  <a:lnTo>
                    <a:pt x="227" y="177"/>
                  </a:lnTo>
                  <a:lnTo>
                    <a:pt x="227" y="178"/>
                  </a:lnTo>
                  <a:lnTo>
                    <a:pt x="223" y="178"/>
                  </a:lnTo>
                  <a:lnTo>
                    <a:pt x="221" y="181"/>
                  </a:lnTo>
                  <a:lnTo>
                    <a:pt x="221" y="189"/>
                  </a:lnTo>
                  <a:lnTo>
                    <a:pt x="218" y="189"/>
                  </a:lnTo>
                  <a:lnTo>
                    <a:pt x="218" y="191"/>
                  </a:lnTo>
                  <a:lnTo>
                    <a:pt x="218" y="196"/>
                  </a:lnTo>
                  <a:lnTo>
                    <a:pt x="216" y="201"/>
                  </a:lnTo>
                  <a:lnTo>
                    <a:pt x="218" y="228"/>
                  </a:lnTo>
                  <a:lnTo>
                    <a:pt x="196" y="224"/>
                  </a:lnTo>
                  <a:lnTo>
                    <a:pt x="189" y="220"/>
                  </a:lnTo>
                  <a:lnTo>
                    <a:pt x="186" y="217"/>
                  </a:lnTo>
                  <a:lnTo>
                    <a:pt x="180" y="217"/>
                  </a:lnTo>
                  <a:lnTo>
                    <a:pt x="169" y="215"/>
                  </a:lnTo>
                  <a:lnTo>
                    <a:pt x="160" y="210"/>
                  </a:lnTo>
                  <a:lnTo>
                    <a:pt x="154" y="206"/>
                  </a:lnTo>
                  <a:lnTo>
                    <a:pt x="144" y="201"/>
                  </a:lnTo>
                  <a:lnTo>
                    <a:pt x="133" y="193"/>
                  </a:lnTo>
                  <a:lnTo>
                    <a:pt x="119" y="188"/>
                  </a:lnTo>
                  <a:lnTo>
                    <a:pt x="105" y="169"/>
                  </a:lnTo>
                  <a:lnTo>
                    <a:pt x="69" y="141"/>
                  </a:lnTo>
                  <a:lnTo>
                    <a:pt x="64" y="135"/>
                  </a:lnTo>
                  <a:lnTo>
                    <a:pt x="59" y="131"/>
                  </a:lnTo>
                  <a:lnTo>
                    <a:pt x="49" y="129"/>
                  </a:lnTo>
                  <a:lnTo>
                    <a:pt x="36" y="123"/>
                  </a:lnTo>
                  <a:lnTo>
                    <a:pt x="28" y="109"/>
                  </a:lnTo>
                  <a:lnTo>
                    <a:pt x="19" y="105"/>
                  </a:lnTo>
                  <a:lnTo>
                    <a:pt x="16" y="103"/>
                  </a:lnTo>
                  <a:lnTo>
                    <a:pt x="16" y="98"/>
                  </a:lnTo>
                  <a:lnTo>
                    <a:pt x="15" y="95"/>
                  </a:lnTo>
                  <a:lnTo>
                    <a:pt x="4" y="92"/>
                  </a:lnTo>
                  <a:lnTo>
                    <a:pt x="3" y="88"/>
                  </a:lnTo>
                  <a:lnTo>
                    <a:pt x="0" y="88"/>
                  </a:lnTo>
                  <a:lnTo>
                    <a:pt x="3" y="87"/>
                  </a:lnTo>
                  <a:lnTo>
                    <a:pt x="3" y="8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45" name="Freeform 40">
              <a:extLst>
                <a:ext uri="{FF2B5EF4-FFF2-40B4-BE49-F238E27FC236}">
                  <a16:creationId xmlns:a16="http://schemas.microsoft.com/office/drawing/2014/main" id="{5BDB0716-1892-54FD-8D4B-EAD8960E75B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849282" y="3906594"/>
              <a:ext cx="344731" cy="304844"/>
            </a:xfrm>
            <a:custGeom>
              <a:avLst/>
              <a:gdLst>
                <a:gd name="T0" fmla="*/ 2147483647 w 642"/>
                <a:gd name="T1" fmla="*/ 2147483647 h 532"/>
                <a:gd name="T2" fmla="*/ 2147483647 w 642"/>
                <a:gd name="T3" fmla="*/ 0 h 532"/>
                <a:gd name="T4" fmla="*/ 2147483647 w 642"/>
                <a:gd name="T5" fmla="*/ 0 h 532"/>
                <a:gd name="T6" fmla="*/ 2147483647 w 642"/>
                <a:gd name="T7" fmla="*/ 0 h 532"/>
                <a:gd name="T8" fmla="*/ 2147483647 w 642"/>
                <a:gd name="T9" fmla="*/ 0 h 532"/>
                <a:gd name="T10" fmla="*/ 2147483647 w 642"/>
                <a:gd name="T11" fmla="*/ 0 h 532"/>
                <a:gd name="T12" fmla="*/ 2147483647 w 642"/>
                <a:gd name="T13" fmla="*/ 0 h 532"/>
                <a:gd name="T14" fmla="*/ 2147483647 w 642"/>
                <a:gd name="T15" fmla="*/ 0 h 532"/>
                <a:gd name="T16" fmla="*/ 2147483647 w 642"/>
                <a:gd name="T17" fmla="*/ 0 h 532"/>
                <a:gd name="T18" fmla="*/ 2147483647 w 642"/>
                <a:gd name="T19" fmla="*/ 0 h 532"/>
                <a:gd name="T20" fmla="*/ 2147483647 w 642"/>
                <a:gd name="T21" fmla="*/ 0 h 532"/>
                <a:gd name="T22" fmla="*/ 2147483647 w 642"/>
                <a:gd name="T23" fmla="*/ 0 h 532"/>
                <a:gd name="T24" fmla="*/ 2147483647 w 642"/>
                <a:gd name="T25" fmla="*/ 0 h 532"/>
                <a:gd name="T26" fmla="*/ 2147483647 w 642"/>
                <a:gd name="T27" fmla="*/ 0 h 532"/>
                <a:gd name="T28" fmla="*/ 2147483647 w 642"/>
                <a:gd name="T29" fmla="*/ 0 h 532"/>
                <a:gd name="T30" fmla="*/ 2147483647 w 642"/>
                <a:gd name="T31" fmla="*/ 0 h 532"/>
                <a:gd name="T32" fmla="*/ 2147483647 w 642"/>
                <a:gd name="T33" fmla="*/ 0 h 532"/>
                <a:gd name="T34" fmla="*/ 2147483647 w 642"/>
                <a:gd name="T35" fmla="*/ 0 h 532"/>
                <a:gd name="T36" fmla="*/ 2147483647 w 642"/>
                <a:gd name="T37" fmla="*/ 0 h 532"/>
                <a:gd name="T38" fmla="*/ 2147483647 w 642"/>
                <a:gd name="T39" fmla="*/ 0 h 532"/>
                <a:gd name="T40" fmla="*/ 2147483647 w 642"/>
                <a:gd name="T41" fmla="*/ 2147483647 h 532"/>
                <a:gd name="T42" fmla="*/ 2147483647 w 642"/>
                <a:gd name="T43" fmla="*/ 2147483647 h 532"/>
                <a:gd name="T44" fmla="*/ 2147483647 w 642"/>
                <a:gd name="T45" fmla="*/ 2147483647 h 532"/>
                <a:gd name="T46" fmla="*/ 2147483647 w 642"/>
                <a:gd name="T47" fmla="*/ 2147483647 h 532"/>
                <a:gd name="T48" fmla="*/ 2147483647 w 642"/>
                <a:gd name="T49" fmla="*/ 2147483647 h 532"/>
                <a:gd name="T50" fmla="*/ 2147483647 w 642"/>
                <a:gd name="T51" fmla="*/ 2147483647 h 532"/>
                <a:gd name="T52" fmla="*/ 2147483647 w 642"/>
                <a:gd name="T53" fmla="*/ 2147483647 h 532"/>
                <a:gd name="T54" fmla="*/ 2147483647 w 642"/>
                <a:gd name="T55" fmla="*/ 2147483647 h 532"/>
                <a:gd name="T56" fmla="*/ 2147483647 w 642"/>
                <a:gd name="T57" fmla="*/ 2147483647 h 532"/>
                <a:gd name="T58" fmla="*/ 2147483647 w 642"/>
                <a:gd name="T59" fmla="*/ 2147483647 h 532"/>
                <a:gd name="T60" fmla="*/ 2147483647 w 642"/>
                <a:gd name="T61" fmla="*/ 2147483647 h 532"/>
                <a:gd name="T62" fmla="*/ 2147483647 w 642"/>
                <a:gd name="T63" fmla="*/ 2147483647 h 532"/>
                <a:gd name="T64" fmla="*/ 2147483647 w 642"/>
                <a:gd name="T65" fmla="*/ 2147483647 h 532"/>
                <a:gd name="T66" fmla="*/ 2147483647 w 642"/>
                <a:gd name="T67" fmla="*/ 2147483647 h 532"/>
                <a:gd name="T68" fmla="*/ 2147483647 w 642"/>
                <a:gd name="T69" fmla="*/ 2147483647 h 532"/>
                <a:gd name="T70" fmla="*/ 2147483647 w 642"/>
                <a:gd name="T71" fmla="*/ 2147483647 h 532"/>
                <a:gd name="T72" fmla="*/ 2147483647 w 642"/>
                <a:gd name="T73" fmla="*/ 2147483647 h 532"/>
                <a:gd name="T74" fmla="*/ 2147483647 w 642"/>
                <a:gd name="T75" fmla="*/ 2147483647 h 532"/>
                <a:gd name="T76" fmla="*/ 2147483647 w 642"/>
                <a:gd name="T77" fmla="*/ 2147483647 h 532"/>
                <a:gd name="T78" fmla="*/ 2147483647 w 642"/>
                <a:gd name="T79" fmla="*/ 2147483647 h 532"/>
                <a:gd name="T80" fmla="*/ 2147483647 w 642"/>
                <a:gd name="T81" fmla="*/ 2147483647 h 532"/>
                <a:gd name="T82" fmla="*/ 2147483647 w 642"/>
                <a:gd name="T83" fmla="*/ 2147483647 h 532"/>
                <a:gd name="T84" fmla="*/ 2147483647 w 642"/>
                <a:gd name="T85" fmla="*/ 2147483647 h 532"/>
                <a:gd name="T86" fmla="*/ 2147483647 w 642"/>
                <a:gd name="T87" fmla="*/ 2147483647 h 532"/>
                <a:gd name="T88" fmla="*/ 2147483647 w 642"/>
                <a:gd name="T89" fmla="*/ 2147483647 h 532"/>
                <a:gd name="T90" fmla="*/ 2147483647 w 642"/>
                <a:gd name="T91" fmla="*/ 2147483647 h 532"/>
                <a:gd name="T92" fmla="*/ 2147483647 w 642"/>
                <a:gd name="T93" fmla="*/ 2147483647 h 532"/>
                <a:gd name="T94" fmla="*/ 2147483647 w 642"/>
                <a:gd name="T95" fmla="*/ 2147483647 h 532"/>
                <a:gd name="T96" fmla="*/ 2147483647 w 642"/>
                <a:gd name="T97" fmla="*/ 2147483647 h 532"/>
                <a:gd name="T98" fmla="*/ 0 w 642"/>
                <a:gd name="T99" fmla="*/ 2147483647 h 532"/>
                <a:gd name="T100" fmla="*/ 0 w 642"/>
                <a:gd name="T101" fmla="*/ 2147483647 h 532"/>
                <a:gd name="T102" fmla="*/ 0 w 642"/>
                <a:gd name="T103" fmla="*/ 2147483647 h 532"/>
                <a:gd name="T104" fmla="*/ 0 w 642"/>
                <a:gd name="T105" fmla="*/ 2147483647 h 532"/>
                <a:gd name="T106" fmla="*/ 2147483647 w 642"/>
                <a:gd name="T107" fmla="*/ 2147483647 h 532"/>
                <a:gd name="T108" fmla="*/ 2147483647 w 642"/>
                <a:gd name="T109" fmla="*/ 2147483647 h 532"/>
                <a:gd name="T110" fmla="*/ 2147483647 w 642"/>
                <a:gd name="T111" fmla="*/ 2147483647 h 532"/>
                <a:gd name="T112" fmla="*/ 2147483647 w 642"/>
                <a:gd name="T113" fmla="*/ 2147483647 h 532"/>
                <a:gd name="T114" fmla="*/ 2147483647 w 642"/>
                <a:gd name="T115" fmla="*/ 2147483647 h 532"/>
                <a:gd name="T116" fmla="*/ 0 w 642"/>
                <a:gd name="T117" fmla="*/ 2147483647 h 53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42"/>
                <a:gd name="T178" fmla="*/ 0 h 532"/>
                <a:gd name="T179" fmla="*/ 642 w 642"/>
                <a:gd name="T180" fmla="*/ 532 h 53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42" h="532">
                  <a:moveTo>
                    <a:pt x="49" y="117"/>
                  </a:moveTo>
                  <a:lnTo>
                    <a:pt x="50" y="110"/>
                  </a:lnTo>
                  <a:lnTo>
                    <a:pt x="48" y="85"/>
                  </a:lnTo>
                  <a:lnTo>
                    <a:pt x="49" y="76"/>
                  </a:lnTo>
                  <a:lnTo>
                    <a:pt x="51" y="72"/>
                  </a:lnTo>
                  <a:lnTo>
                    <a:pt x="55" y="67"/>
                  </a:lnTo>
                  <a:lnTo>
                    <a:pt x="62" y="63"/>
                  </a:lnTo>
                  <a:lnTo>
                    <a:pt x="67" y="57"/>
                  </a:lnTo>
                  <a:lnTo>
                    <a:pt x="75" y="43"/>
                  </a:lnTo>
                  <a:lnTo>
                    <a:pt x="77" y="25"/>
                  </a:lnTo>
                  <a:lnTo>
                    <a:pt x="78" y="21"/>
                  </a:lnTo>
                  <a:lnTo>
                    <a:pt x="96" y="9"/>
                  </a:lnTo>
                  <a:lnTo>
                    <a:pt x="115" y="4"/>
                  </a:lnTo>
                  <a:lnTo>
                    <a:pt x="133" y="4"/>
                  </a:lnTo>
                  <a:lnTo>
                    <a:pt x="139" y="3"/>
                  </a:lnTo>
                  <a:lnTo>
                    <a:pt x="147" y="0"/>
                  </a:lnTo>
                  <a:lnTo>
                    <a:pt x="162" y="2"/>
                  </a:lnTo>
                  <a:lnTo>
                    <a:pt x="199" y="20"/>
                  </a:lnTo>
                  <a:lnTo>
                    <a:pt x="221" y="41"/>
                  </a:lnTo>
                  <a:lnTo>
                    <a:pt x="228" y="46"/>
                  </a:lnTo>
                  <a:lnTo>
                    <a:pt x="233" y="48"/>
                  </a:lnTo>
                  <a:lnTo>
                    <a:pt x="242" y="48"/>
                  </a:lnTo>
                  <a:lnTo>
                    <a:pt x="248" y="38"/>
                  </a:lnTo>
                  <a:lnTo>
                    <a:pt x="264" y="30"/>
                  </a:lnTo>
                  <a:lnTo>
                    <a:pt x="274" y="27"/>
                  </a:lnTo>
                  <a:lnTo>
                    <a:pt x="286" y="27"/>
                  </a:lnTo>
                  <a:lnTo>
                    <a:pt x="303" y="37"/>
                  </a:lnTo>
                  <a:lnTo>
                    <a:pt x="327" y="52"/>
                  </a:lnTo>
                  <a:lnTo>
                    <a:pt x="339" y="56"/>
                  </a:lnTo>
                  <a:lnTo>
                    <a:pt x="362" y="58"/>
                  </a:lnTo>
                  <a:lnTo>
                    <a:pt x="375" y="57"/>
                  </a:lnTo>
                  <a:lnTo>
                    <a:pt x="389" y="47"/>
                  </a:lnTo>
                  <a:lnTo>
                    <a:pt x="406" y="32"/>
                  </a:lnTo>
                  <a:lnTo>
                    <a:pt x="415" y="27"/>
                  </a:lnTo>
                  <a:lnTo>
                    <a:pt x="441" y="27"/>
                  </a:lnTo>
                  <a:lnTo>
                    <a:pt x="459" y="30"/>
                  </a:lnTo>
                  <a:lnTo>
                    <a:pt x="469" y="26"/>
                  </a:lnTo>
                  <a:lnTo>
                    <a:pt x="489" y="24"/>
                  </a:lnTo>
                  <a:lnTo>
                    <a:pt x="496" y="26"/>
                  </a:lnTo>
                  <a:lnTo>
                    <a:pt x="503" y="30"/>
                  </a:lnTo>
                  <a:lnTo>
                    <a:pt x="511" y="32"/>
                  </a:lnTo>
                  <a:lnTo>
                    <a:pt x="517" y="36"/>
                  </a:lnTo>
                  <a:lnTo>
                    <a:pt x="528" y="36"/>
                  </a:lnTo>
                  <a:lnTo>
                    <a:pt x="534" y="32"/>
                  </a:lnTo>
                  <a:lnTo>
                    <a:pt x="544" y="22"/>
                  </a:lnTo>
                  <a:lnTo>
                    <a:pt x="544" y="21"/>
                  </a:lnTo>
                  <a:lnTo>
                    <a:pt x="550" y="16"/>
                  </a:lnTo>
                  <a:lnTo>
                    <a:pt x="558" y="15"/>
                  </a:lnTo>
                  <a:lnTo>
                    <a:pt x="564" y="15"/>
                  </a:lnTo>
                  <a:lnTo>
                    <a:pt x="570" y="3"/>
                  </a:lnTo>
                  <a:lnTo>
                    <a:pt x="571" y="3"/>
                  </a:lnTo>
                  <a:lnTo>
                    <a:pt x="574" y="0"/>
                  </a:lnTo>
                  <a:lnTo>
                    <a:pt x="577" y="11"/>
                  </a:lnTo>
                  <a:lnTo>
                    <a:pt x="581" y="20"/>
                  </a:lnTo>
                  <a:lnTo>
                    <a:pt x="588" y="30"/>
                  </a:lnTo>
                  <a:lnTo>
                    <a:pt x="599" y="36"/>
                  </a:lnTo>
                  <a:lnTo>
                    <a:pt x="604" y="43"/>
                  </a:lnTo>
                  <a:lnTo>
                    <a:pt x="613" y="65"/>
                  </a:lnTo>
                  <a:lnTo>
                    <a:pt x="623" y="73"/>
                  </a:lnTo>
                  <a:lnTo>
                    <a:pt x="624" y="76"/>
                  </a:lnTo>
                  <a:lnTo>
                    <a:pt x="635" y="80"/>
                  </a:lnTo>
                  <a:lnTo>
                    <a:pt x="636" y="81"/>
                  </a:lnTo>
                  <a:lnTo>
                    <a:pt x="639" y="84"/>
                  </a:lnTo>
                  <a:lnTo>
                    <a:pt x="641" y="89"/>
                  </a:lnTo>
                  <a:lnTo>
                    <a:pt x="640" y="106"/>
                  </a:lnTo>
                  <a:lnTo>
                    <a:pt x="642" y="119"/>
                  </a:lnTo>
                  <a:lnTo>
                    <a:pt x="623" y="132"/>
                  </a:lnTo>
                  <a:lnTo>
                    <a:pt x="620" y="135"/>
                  </a:lnTo>
                  <a:lnTo>
                    <a:pt x="604" y="142"/>
                  </a:lnTo>
                  <a:lnTo>
                    <a:pt x="601" y="143"/>
                  </a:lnTo>
                  <a:lnTo>
                    <a:pt x="592" y="153"/>
                  </a:lnTo>
                  <a:lnTo>
                    <a:pt x="587" y="159"/>
                  </a:lnTo>
                  <a:lnTo>
                    <a:pt x="583" y="166"/>
                  </a:lnTo>
                  <a:lnTo>
                    <a:pt x="576" y="189"/>
                  </a:lnTo>
                  <a:lnTo>
                    <a:pt x="567" y="207"/>
                  </a:lnTo>
                  <a:lnTo>
                    <a:pt x="564" y="218"/>
                  </a:lnTo>
                  <a:lnTo>
                    <a:pt x="562" y="229"/>
                  </a:lnTo>
                  <a:lnTo>
                    <a:pt x="554" y="257"/>
                  </a:lnTo>
                  <a:lnTo>
                    <a:pt x="553" y="269"/>
                  </a:lnTo>
                  <a:lnTo>
                    <a:pt x="551" y="275"/>
                  </a:lnTo>
                  <a:lnTo>
                    <a:pt x="549" y="280"/>
                  </a:lnTo>
                  <a:lnTo>
                    <a:pt x="534" y="287"/>
                  </a:lnTo>
                  <a:lnTo>
                    <a:pt x="523" y="299"/>
                  </a:lnTo>
                  <a:lnTo>
                    <a:pt x="517" y="315"/>
                  </a:lnTo>
                  <a:lnTo>
                    <a:pt x="513" y="331"/>
                  </a:lnTo>
                  <a:lnTo>
                    <a:pt x="511" y="338"/>
                  </a:lnTo>
                  <a:lnTo>
                    <a:pt x="501" y="360"/>
                  </a:lnTo>
                  <a:lnTo>
                    <a:pt x="483" y="391"/>
                  </a:lnTo>
                  <a:lnTo>
                    <a:pt x="481" y="400"/>
                  </a:lnTo>
                  <a:lnTo>
                    <a:pt x="478" y="406"/>
                  </a:lnTo>
                  <a:lnTo>
                    <a:pt x="469" y="409"/>
                  </a:lnTo>
                  <a:lnTo>
                    <a:pt x="456" y="408"/>
                  </a:lnTo>
                  <a:lnTo>
                    <a:pt x="447" y="401"/>
                  </a:lnTo>
                  <a:lnTo>
                    <a:pt x="443" y="398"/>
                  </a:lnTo>
                  <a:lnTo>
                    <a:pt x="443" y="397"/>
                  </a:lnTo>
                  <a:lnTo>
                    <a:pt x="440" y="392"/>
                  </a:lnTo>
                  <a:lnTo>
                    <a:pt x="429" y="382"/>
                  </a:lnTo>
                  <a:lnTo>
                    <a:pt x="414" y="381"/>
                  </a:lnTo>
                  <a:lnTo>
                    <a:pt x="392" y="386"/>
                  </a:lnTo>
                  <a:lnTo>
                    <a:pt x="377" y="386"/>
                  </a:lnTo>
                  <a:lnTo>
                    <a:pt x="375" y="386"/>
                  </a:lnTo>
                  <a:lnTo>
                    <a:pt x="371" y="403"/>
                  </a:lnTo>
                  <a:lnTo>
                    <a:pt x="360" y="408"/>
                  </a:lnTo>
                  <a:lnTo>
                    <a:pt x="352" y="416"/>
                  </a:lnTo>
                  <a:lnTo>
                    <a:pt x="344" y="427"/>
                  </a:lnTo>
                  <a:lnTo>
                    <a:pt x="335" y="443"/>
                  </a:lnTo>
                  <a:lnTo>
                    <a:pt x="332" y="458"/>
                  </a:lnTo>
                  <a:lnTo>
                    <a:pt x="330" y="472"/>
                  </a:lnTo>
                  <a:lnTo>
                    <a:pt x="327" y="481"/>
                  </a:lnTo>
                  <a:lnTo>
                    <a:pt x="320" y="490"/>
                  </a:lnTo>
                  <a:lnTo>
                    <a:pt x="313" y="497"/>
                  </a:lnTo>
                  <a:lnTo>
                    <a:pt x="313" y="504"/>
                  </a:lnTo>
                  <a:lnTo>
                    <a:pt x="309" y="498"/>
                  </a:lnTo>
                  <a:lnTo>
                    <a:pt x="304" y="497"/>
                  </a:lnTo>
                  <a:lnTo>
                    <a:pt x="301" y="505"/>
                  </a:lnTo>
                  <a:lnTo>
                    <a:pt x="300" y="517"/>
                  </a:lnTo>
                  <a:lnTo>
                    <a:pt x="276" y="516"/>
                  </a:lnTo>
                  <a:lnTo>
                    <a:pt x="265" y="517"/>
                  </a:lnTo>
                  <a:lnTo>
                    <a:pt x="242" y="508"/>
                  </a:lnTo>
                  <a:lnTo>
                    <a:pt x="237" y="515"/>
                  </a:lnTo>
                  <a:lnTo>
                    <a:pt x="234" y="516"/>
                  </a:lnTo>
                  <a:lnTo>
                    <a:pt x="231" y="521"/>
                  </a:lnTo>
                  <a:lnTo>
                    <a:pt x="227" y="524"/>
                  </a:lnTo>
                  <a:lnTo>
                    <a:pt x="225" y="524"/>
                  </a:lnTo>
                  <a:lnTo>
                    <a:pt x="221" y="525"/>
                  </a:lnTo>
                  <a:lnTo>
                    <a:pt x="216" y="522"/>
                  </a:lnTo>
                  <a:lnTo>
                    <a:pt x="212" y="525"/>
                  </a:lnTo>
                  <a:lnTo>
                    <a:pt x="210" y="524"/>
                  </a:lnTo>
                  <a:lnTo>
                    <a:pt x="193" y="532"/>
                  </a:lnTo>
                  <a:lnTo>
                    <a:pt x="190" y="524"/>
                  </a:lnTo>
                  <a:lnTo>
                    <a:pt x="182" y="524"/>
                  </a:lnTo>
                  <a:lnTo>
                    <a:pt x="180" y="524"/>
                  </a:lnTo>
                  <a:lnTo>
                    <a:pt x="168" y="521"/>
                  </a:lnTo>
                  <a:lnTo>
                    <a:pt x="163" y="513"/>
                  </a:lnTo>
                  <a:lnTo>
                    <a:pt x="151" y="500"/>
                  </a:lnTo>
                  <a:lnTo>
                    <a:pt x="146" y="482"/>
                  </a:lnTo>
                  <a:lnTo>
                    <a:pt x="146" y="471"/>
                  </a:lnTo>
                  <a:lnTo>
                    <a:pt x="151" y="467"/>
                  </a:lnTo>
                  <a:lnTo>
                    <a:pt x="147" y="467"/>
                  </a:lnTo>
                  <a:lnTo>
                    <a:pt x="140" y="465"/>
                  </a:lnTo>
                  <a:lnTo>
                    <a:pt x="136" y="454"/>
                  </a:lnTo>
                  <a:lnTo>
                    <a:pt x="133" y="451"/>
                  </a:lnTo>
                  <a:lnTo>
                    <a:pt x="130" y="445"/>
                  </a:lnTo>
                  <a:lnTo>
                    <a:pt x="126" y="444"/>
                  </a:lnTo>
                  <a:lnTo>
                    <a:pt x="124" y="439"/>
                  </a:lnTo>
                  <a:lnTo>
                    <a:pt x="117" y="429"/>
                  </a:lnTo>
                  <a:lnTo>
                    <a:pt x="96" y="417"/>
                  </a:lnTo>
                  <a:lnTo>
                    <a:pt x="86" y="416"/>
                  </a:lnTo>
                  <a:lnTo>
                    <a:pt x="64" y="413"/>
                  </a:lnTo>
                  <a:lnTo>
                    <a:pt x="5" y="417"/>
                  </a:lnTo>
                  <a:lnTo>
                    <a:pt x="2" y="414"/>
                  </a:lnTo>
                  <a:lnTo>
                    <a:pt x="0" y="375"/>
                  </a:lnTo>
                  <a:lnTo>
                    <a:pt x="1" y="366"/>
                  </a:lnTo>
                  <a:lnTo>
                    <a:pt x="6" y="345"/>
                  </a:lnTo>
                  <a:lnTo>
                    <a:pt x="5" y="315"/>
                  </a:lnTo>
                  <a:lnTo>
                    <a:pt x="6" y="295"/>
                  </a:lnTo>
                  <a:lnTo>
                    <a:pt x="10" y="283"/>
                  </a:lnTo>
                  <a:lnTo>
                    <a:pt x="22" y="263"/>
                  </a:lnTo>
                  <a:lnTo>
                    <a:pt x="23" y="248"/>
                  </a:lnTo>
                  <a:lnTo>
                    <a:pt x="26" y="239"/>
                  </a:lnTo>
                  <a:lnTo>
                    <a:pt x="34" y="229"/>
                  </a:lnTo>
                  <a:lnTo>
                    <a:pt x="49" y="218"/>
                  </a:lnTo>
                  <a:lnTo>
                    <a:pt x="49" y="212"/>
                  </a:lnTo>
                  <a:lnTo>
                    <a:pt x="53" y="209"/>
                  </a:lnTo>
                  <a:lnTo>
                    <a:pt x="53" y="208"/>
                  </a:lnTo>
                  <a:lnTo>
                    <a:pt x="53" y="204"/>
                  </a:lnTo>
                  <a:lnTo>
                    <a:pt x="48" y="199"/>
                  </a:lnTo>
                  <a:lnTo>
                    <a:pt x="48" y="197"/>
                  </a:lnTo>
                  <a:lnTo>
                    <a:pt x="50" y="191"/>
                  </a:lnTo>
                  <a:lnTo>
                    <a:pt x="53" y="189"/>
                  </a:lnTo>
                  <a:lnTo>
                    <a:pt x="58" y="189"/>
                  </a:lnTo>
                  <a:lnTo>
                    <a:pt x="59" y="187"/>
                  </a:lnTo>
                  <a:lnTo>
                    <a:pt x="59" y="169"/>
                  </a:lnTo>
                  <a:lnTo>
                    <a:pt x="55" y="154"/>
                  </a:lnTo>
                  <a:lnTo>
                    <a:pt x="54" y="149"/>
                  </a:lnTo>
                  <a:lnTo>
                    <a:pt x="44" y="139"/>
                  </a:lnTo>
                  <a:lnTo>
                    <a:pt x="43" y="134"/>
                  </a:lnTo>
                  <a:lnTo>
                    <a:pt x="44" y="123"/>
                  </a:lnTo>
                  <a:lnTo>
                    <a:pt x="49" y="11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46" name="Freeform 41">
              <a:extLst>
                <a:ext uri="{FF2B5EF4-FFF2-40B4-BE49-F238E27FC236}">
                  <a16:creationId xmlns:a16="http://schemas.microsoft.com/office/drawing/2014/main" id="{AC45B1DB-EC4B-D803-D16A-A3F78BD3BEE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094026" y="4223631"/>
              <a:ext cx="223851" cy="272836"/>
            </a:xfrm>
            <a:custGeom>
              <a:avLst/>
              <a:gdLst>
                <a:gd name="T0" fmla="*/ 2147483647 w 417"/>
                <a:gd name="T1" fmla="*/ 0 h 479"/>
                <a:gd name="T2" fmla="*/ 2147483647 w 417"/>
                <a:gd name="T3" fmla="*/ 0 h 479"/>
                <a:gd name="T4" fmla="*/ 2147483647 w 417"/>
                <a:gd name="T5" fmla="*/ 0 h 479"/>
                <a:gd name="T6" fmla="*/ 2147483647 w 417"/>
                <a:gd name="T7" fmla="*/ 0 h 479"/>
                <a:gd name="T8" fmla="*/ 2147483647 w 417"/>
                <a:gd name="T9" fmla="*/ 0 h 479"/>
                <a:gd name="T10" fmla="*/ 2147483647 w 417"/>
                <a:gd name="T11" fmla="*/ 2147483647 h 479"/>
                <a:gd name="T12" fmla="*/ 2147483647 w 417"/>
                <a:gd name="T13" fmla="*/ 2147483647 h 479"/>
                <a:gd name="T14" fmla="*/ 2147483647 w 417"/>
                <a:gd name="T15" fmla="*/ 2147483647 h 479"/>
                <a:gd name="T16" fmla="*/ 2147483647 w 417"/>
                <a:gd name="T17" fmla="*/ 2147483647 h 479"/>
                <a:gd name="T18" fmla="*/ 2147483647 w 417"/>
                <a:gd name="T19" fmla="*/ 2147483647 h 479"/>
                <a:gd name="T20" fmla="*/ 2147483647 w 417"/>
                <a:gd name="T21" fmla="*/ 2147483647 h 479"/>
                <a:gd name="T22" fmla="*/ 2147483647 w 417"/>
                <a:gd name="T23" fmla="*/ 2147483647 h 479"/>
                <a:gd name="T24" fmla="*/ 2147483647 w 417"/>
                <a:gd name="T25" fmla="*/ 2147483647 h 479"/>
                <a:gd name="T26" fmla="*/ 2147483647 w 417"/>
                <a:gd name="T27" fmla="*/ 2147483647 h 479"/>
                <a:gd name="T28" fmla="*/ 2147483647 w 417"/>
                <a:gd name="T29" fmla="*/ 2147483647 h 479"/>
                <a:gd name="T30" fmla="*/ 2147483647 w 417"/>
                <a:gd name="T31" fmla="*/ 2147483647 h 479"/>
                <a:gd name="T32" fmla="*/ 2147483647 w 417"/>
                <a:gd name="T33" fmla="*/ 2147483647 h 479"/>
                <a:gd name="T34" fmla="*/ 2147483647 w 417"/>
                <a:gd name="T35" fmla="*/ 2147483647 h 479"/>
                <a:gd name="T36" fmla="*/ 2147483647 w 417"/>
                <a:gd name="T37" fmla="*/ 2147483647 h 479"/>
                <a:gd name="T38" fmla="*/ 2147483647 w 417"/>
                <a:gd name="T39" fmla="*/ 2147483647 h 479"/>
                <a:gd name="T40" fmla="*/ 2147483647 w 417"/>
                <a:gd name="T41" fmla="*/ 2147483647 h 479"/>
                <a:gd name="T42" fmla="*/ 0 w 417"/>
                <a:gd name="T43" fmla="*/ 2147483647 h 479"/>
                <a:gd name="T44" fmla="*/ 0 w 417"/>
                <a:gd name="T45" fmla="*/ 2147483647 h 479"/>
                <a:gd name="T46" fmla="*/ 0 w 417"/>
                <a:gd name="T47" fmla="*/ 2147483647 h 479"/>
                <a:gd name="T48" fmla="*/ 0 w 417"/>
                <a:gd name="T49" fmla="*/ 2147483647 h 479"/>
                <a:gd name="T50" fmla="*/ 0 w 417"/>
                <a:gd name="T51" fmla="*/ 2147483647 h 479"/>
                <a:gd name="T52" fmla="*/ 0 w 417"/>
                <a:gd name="T53" fmla="*/ 2147483647 h 479"/>
                <a:gd name="T54" fmla="*/ 0 w 417"/>
                <a:gd name="T55" fmla="*/ 2147483647 h 479"/>
                <a:gd name="T56" fmla="*/ 0 w 417"/>
                <a:gd name="T57" fmla="*/ 2147483647 h 479"/>
                <a:gd name="T58" fmla="*/ 2147483647 w 417"/>
                <a:gd name="T59" fmla="*/ 2147483647 h 479"/>
                <a:gd name="T60" fmla="*/ 2147483647 w 417"/>
                <a:gd name="T61" fmla="*/ 2147483647 h 479"/>
                <a:gd name="T62" fmla="*/ 2147483647 w 417"/>
                <a:gd name="T63" fmla="*/ 2147483647 h 479"/>
                <a:gd name="T64" fmla="*/ 2147483647 w 417"/>
                <a:gd name="T65" fmla="*/ 2147483647 h 479"/>
                <a:gd name="T66" fmla="*/ 2147483647 w 417"/>
                <a:gd name="T67" fmla="*/ 2147483647 h 479"/>
                <a:gd name="T68" fmla="*/ 2147483647 w 417"/>
                <a:gd name="T69" fmla="*/ 2147483647 h 479"/>
                <a:gd name="T70" fmla="*/ 2147483647 w 417"/>
                <a:gd name="T71" fmla="*/ 2147483647 h 479"/>
                <a:gd name="T72" fmla="*/ 2147483647 w 417"/>
                <a:gd name="T73" fmla="*/ 2147483647 h 479"/>
                <a:gd name="T74" fmla="*/ 2147483647 w 417"/>
                <a:gd name="T75" fmla="*/ 2147483647 h 479"/>
                <a:gd name="T76" fmla="*/ 2147483647 w 417"/>
                <a:gd name="T77" fmla="*/ 2147483647 h 479"/>
                <a:gd name="T78" fmla="*/ 2147483647 w 417"/>
                <a:gd name="T79" fmla="*/ 2147483647 h 479"/>
                <a:gd name="T80" fmla="*/ 2147483647 w 417"/>
                <a:gd name="T81" fmla="*/ 2147483647 h 479"/>
                <a:gd name="T82" fmla="*/ 2147483647 w 417"/>
                <a:gd name="T83" fmla="*/ 2147483647 h 479"/>
                <a:gd name="T84" fmla="*/ 2147483647 w 417"/>
                <a:gd name="T85" fmla="*/ 2147483647 h 479"/>
                <a:gd name="T86" fmla="*/ 2147483647 w 417"/>
                <a:gd name="T87" fmla="*/ 2147483647 h 479"/>
                <a:gd name="T88" fmla="*/ 2147483647 w 417"/>
                <a:gd name="T89" fmla="*/ 2147483647 h 479"/>
                <a:gd name="T90" fmla="*/ 2147483647 w 417"/>
                <a:gd name="T91" fmla="*/ 0 h 479"/>
                <a:gd name="T92" fmla="*/ 2147483647 w 417"/>
                <a:gd name="T93" fmla="*/ 0 h 479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17"/>
                <a:gd name="T142" fmla="*/ 0 h 479"/>
                <a:gd name="T143" fmla="*/ 417 w 417"/>
                <a:gd name="T144" fmla="*/ 479 h 479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17" h="479">
                  <a:moveTo>
                    <a:pt x="414" y="0"/>
                  </a:moveTo>
                  <a:lnTo>
                    <a:pt x="408" y="5"/>
                  </a:lnTo>
                  <a:lnTo>
                    <a:pt x="393" y="12"/>
                  </a:lnTo>
                  <a:lnTo>
                    <a:pt x="377" y="16"/>
                  </a:lnTo>
                  <a:lnTo>
                    <a:pt x="360" y="10"/>
                  </a:lnTo>
                  <a:lnTo>
                    <a:pt x="343" y="0"/>
                  </a:lnTo>
                  <a:lnTo>
                    <a:pt x="323" y="3"/>
                  </a:lnTo>
                  <a:lnTo>
                    <a:pt x="300" y="17"/>
                  </a:lnTo>
                  <a:lnTo>
                    <a:pt x="283" y="33"/>
                  </a:lnTo>
                  <a:lnTo>
                    <a:pt x="274" y="47"/>
                  </a:lnTo>
                  <a:lnTo>
                    <a:pt x="272" y="58"/>
                  </a:lnTo>
                  <a:lnTo>
                    <a:pt x="274" y="101"/>
                  </a:lnTo>
                  <a:lnTo>
                    <a:pt x="272" y="111"/>
                  </a:lnTo>
                  <a:lnTo>
                    <a:pt x="267" y="114"/>
                  </a:lnTo>
                  <a:lnTo>
                    <a:pt x="244" y="96"/>
                  </a:lnTo>
                  <a:lnTo>
                    <a:pt x="234" y="96"/>
                  </a:lnTo>
                  <a:lnTo>
                    <a:pt x="220" y="91"/>
                  </a:lnTo>
                  <a:lnTo>
                    <a:pt x="205" y="90"/>
                  </a:lnTo>
                  <a:lnTo>
                    <a:pt x="194" y="84"/>
                  </a:lnTo>
                  <a:lnTo>
                    <a:pt x="118" y="84"/>
                  </a:lnTo>
                  <a:lnTo>
                    <a:pt x="112" y="98"/>
                  </a:lnTo>
                  <a:lnTo>
                    <a:pt x="111" y="117"/>
                  </a:lnTo>
                  <a:lnTo>
                    <a:pt x="112" y="135"/>
                  </a:lnTo>
                  <a:lnTo>
                    <a:pt x="121" y="140"/>
                  </a:lnTo>
                  <a:lnTo>
                    <a:pt x="137" y="117"/>
                  </a:lnTo>
                  <a:lnTo>
                    <a:pt x="166" y="124"/>
                  </a:lnTo>
                  <a:lnTo>
                    <a:pt x="176" y="137"/>
                  </a:lnTo>
                  <a:lnTo>
                    <a:pt x="177" y="157"/>
                  </a:lnTo>
                  <a:lnTo>
                    <a:pt x="159" y="187"/>
                  </a:lnTo>
                  <a:lnTo>
                    <a:pt x="158" y="204"/>
                  </a:lnTo>
                  <a:lnTo>
                    <a:pt x="162" y="218"/>
                  </a:lnTo>
                  <a:lnTo>
                    <a:pt x="173" y="246"/>
                  </a:lnTo>
                  <a:lnTo>
                    <a:pt x="172" y="262"/>
                  </a:lnTo>
                  <a:lnTo>
                    <a:pt x="169" y="275"/>
                  </a:lnTo>
                  <a:lnTo>
                    <a:pt x="166" y="312"/>
                  </a:lnTo>
                  <a:lnTo>
                    <a:pt x="161" y="329"/>
                  </a:lnTo>
                  <a:lnTo>
                    <a:pt x="145" y="334"/>
                  </a:lnTo>
                  <a:lnTo>
                    <a:pt x="127" y="318"/>
                  </a:lnTo>
                  <a:lnTo>
                    <a:pt x="102" y="321"/>
                  </a:lnTo>
                  <a:lnTo>
                    <a:pt x="92" y="310"/>
                  </a:lnTo>
                  <a:lnTo>
                    <a:pt x="85" y="305"/>
                  </a:lnTo>
                  <a:lnTo>
                    <a:pt x="74" y="313"/>
                  </a:lnTo>
                  <a:lnTo>
                    <a:pt x="65" y="324"/>
                  </a:lnTo>
                  <a:lnTo>
                    <a:pt x="42" y="333"/>
                  </a:lnTo>
                  <a:lnTo>
                    <a:pt x="32" y="342"/>
                  </a:lnTo>
                  <a:lnTo>
                    <a:pt x="27" y="350"/>
                  </a:lnTo>
                  <a:lnTo>
                    <a:pt x="26" y="363"/>
                  </a:lnTo>
                  <a:lnTo>
                    <a:pt x="31" y="375"/>
                  </a:lnTo>
                  <a:lnTo>
                    <a:pt x="33" y="390"/>
                  </a:lnTo>
                  <a:lnTo>
                    <a:pt x="31" y="394"/>
                  </a:lnTo>
                  <a:lnTo>
                    <a:pt x="19" y="394"/>
                  </a:lnTo>
                  <a:lnTo>
                    <a:pt x="8" y="397"/>
                  </a:lnTo>
                  <a:lnTo>
                    <a:pt x="2" y="404"/>
                  </a:lnTo>
                  <a:lnTo>
                    <a:pt x="0" y="419"/>
                  </a:lnTo>
                  <a:lnTo>
                    <a:pt x="13" y="425"/>
                  </a:lnTo>
                  <a:lnTo>
                    <a:pt x="19" y="434"/>
                  </a:lnTo>
                  <a:lnTo>
                    <a:pt x="33" y="449"/>
                  </a:lnTo>
                  <a:lnTo>
                    <a:pt x="40" y="456"/>
                  </a:lnTo>
                  <a:lnTo>
                    <a:pt x="49" y="479"/>
                  </a:lnTo>
                  <a:lnTo>
                    <a:pt x="63" y="469"/>
                  </a:lnTo>
                  <a:lnTo>
                    <a:pt x="73" y="463"/>
                  </a:lnTo>
                  <a:lnTo>
                    <a:pt x="80" y="449"/>
                  </a:lnTo>
                  <a:lnTo>
                    <a:pt x="90" y="444"/>
                  </a:lnTo>
                  <a:lnTo>
                    <a:pt x="100" y="447"/>
                  </a:lnTo>
                  <a:lnTo>
                    <a:pt x="105" y="458"/>
                  </a:lnTo>
                  <a:lnTo>
                    <a:pt x="121" y="468"/>
                  </a:lnTo>
                  <a:lnTo>
                    <a:pt x="133" y="465"/>
                  </a:lnTo>
                  <a:lnTo>
                    <a:pt x="140" y="452"/>
                  </a:lnTo>
                  <a:lnTo>
                    <a:pt x="148" y="446"/>
                  </a:lnTo>
                  <a:lnTo>
                    <a:pt x="161" y="444"/>
                  </a:lnTo>
                  <a:lnTo>
                    <a:pt x="175" y="440"/>
                  </a:lnTo>
                  <a:lnTo>
                    <a:pt x="177" y="445"/>
                  </a:lnTo>
                  <a:lnTo>
                    <a:pt x="178" y="463"/>
                  </a:lnTo>
                  <a:lnTo>
                    <a:pt x="188" y="466"/>
                  </a:lnTo>
                  <a:lnTo>
                    <a:pt x="209" y="458"/>
                  </a:lnTo>
                  <a:lnTo>
                    <a:pt x="232" y="437"/>
                  </a:lnTo>
                  <a:lnTo>
                    <a:pt x="246" y="430"/>
                  </a:lnTo>
                  <a:lnTo>
                    <a:pt x="261" y="415"/>
                  </a:lnTo>
                  <a:lnTo>
                    <a:pt x="274" y="394"/>
                  </a:lnTo>
                  <a:lnTo>
                    <a:pt x="278" y="376"/>
                  </a:lnTo>
                  <a:lnTo>
                    <a:pt x="278" y="358"/>
                  </a:lnTo>
                  <a:lnTo>
                    <a:pt x="282" y="337"/>
                  </a:lnTo>
                  <a:lnTo>
                    <a:pt x="289" y="316"/>
                  </a:lnTo>
                  <a:lnTo>
                    <a:pt x="312" y="280"/>
                  </a:lnTo>
                  <a:lnTo>
                    <a:pt x="329" y="264"/>
                  </a:lnTo>
                  <a:lnTo>
                    <a:pt x="348" y="254"/>
                  </a:lnTo>
                  <a:lnTo>
                    <a:pt x="363" y="241"/>
                  </a:lnTo>
                  <a:lnTo>
                    <a:pt x="364" y="237"/>
                  </a:lnTo>
                  <a:lnTo>
                    <a:pt x="371" y="207"/>
                  </a:lnTo>
                  <a:lnTo>
                    <a:pt x="372" y="141"/>
                  </a:lnTo>
                  <a:lnTo>
                    <a:pt x="381" y="97"/>
                  </a:lnTo>
                  <a:lnTo>
                    <a:pt x="391" y="73"/>
                  </a:lnTo>
                  <a:lnTo>
                    <a:pt x="412" y="36"/>
                  </a:lnTo>
                  <a:lnTo>
                    <a:pt x="417" y="17"/>
                  </a:lnTo>
                  <a:lnTo>
                    <a:pt x="414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47" name="Freeform 42">
              <a:extLst>
                <a:ext uri="{FF2B5EF4-FFF2-40B4-BE49-F238E27FC236}">
                  <a16:creationId xmlns:a16="http://schemas.microsoft.com/office/drawing/2014/main" id="{94B608D2-EA2E-1AFC-1CEE-6D38DF53AFD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043286" y="4270882"/>
              <a:ext cx="56709" cy="38105"/>
            </a:xfrm>
            <a:custGeom>
              <a:avLst/>
              <a:gdLst>
                <a:gd name="T0" fmla="*/ 2147483647 w 107"/>
                <a:gd name="T1" fmla="*/ 0 h 69"/>
                <a:gd name="T2" fmla="*/ 2147483647 w 107"/>
                <a:gd name="T3" fmla="*/ 0 h 69"/>
                <a:gd name="T4" fmla="*/ 0 w 107"/>
                <a:gd name="T5" fmla="*/ 0 h 69"/>
                <a:gd name="T6" fmla="*/ 0 w 107"/>
                <a:gd name="T7" fmla="*/ 0 h 69"/>
                <a:gd name="T8" fmla="*/ 0 w 107"/>
                <a:gd name="T9" fmla="*/ 0 h 69"/>
                <a:gd name="T10" fmla="*/ 0 w 107"/>
                <a:gd name="T11" fmla="*/ 0 h 69"/>
                <a:gd name="T12" fmla="*/ 0 w 107"/>
                <a:gd name="T13" fmla="*/ 0 h 69"/>
                <a:gd name="T14" fmla="*/ 0 w 107"/>
                <a:gd name="T15" fmla="*/ 0 h 69"/>
                <a:gd name="T16" fmla="*/ 0 w 107"/>
                <a:gd name="T17" fmla="*/ 0 h 69"/>
                <a:gd name="T18" fmla="*/ 0 w 107"/>
                <a:gd name="T19" fmla="*/ 0 h 69"/>
                <a:gd name="T20" fmla="*/ 0 w 107"/>
                <a:gd name="T21" fmla="*/ 0 h 69"/>
                <a:gd name="T22" fmla="*/ 0 w 107"/>
                <a:gd name="T23" fmla="*/ 0 h 69"/>
                <a:gd name="T24" fmla="*/ 0 w 107"/>
                <a:gd name="T25" fmla="*/ 0 h 69"/>
                <a:gd name="T26" fmla="*/ 2147483647 w 107"/>
                <a:gd name="T27" fmla="*/ 0 h 69"/>
                <a:gd name="T28" fmla="*/ 2147483647 w 107"/>
                <a:gd name="T29" fmla="*/ 0 h 69"/>
                <a:gd name="T30" fmla="*/ 2147483647 w 107"/>
                <a:gd name="T31" fmla="*/ 0 h 69"/>
                <a:gd name="T32" fmla="*/ 2147483647 w 107"/>
                <a:gd name="T33" fmla="*/ 0 h 69"/>
                <a:gd name="T34" fmla="*/ 2147483647 w 107"/>
                <a:gd name="T35" fmla="*/ 0 h 6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07"/>
                <a:gd name="T55" fmla="*/ 0 h 69"/>
                <a:gd name="T56" fmla="*/ 107 w 107"/>
                <a:gd name="T57" fmla="*/ 69 h 6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07" h="69">
                  <a:moveTo>
                    <a:pt x="107" y="0"/>
                  </a:moveTo>
                  <a:lnTo>
                    <a:pt x="67" y="0"/>
                  </a:lnTo>
                  <a:lnTo>
                    <a:pt x="25" y="3"/>
                  </a:lnTo>
                  <a:lnTo>
                    <a:pt x="21" y="4"/>
                  </a:lnTo>
                  <a:lnTo>
                    <a:pt x="21" y="14"/>
                  </a:lnTo>
                  <a:lnTo>
                    <a:pt x="14" y="26"/>
                  </a:lnTo>
                  <a:lnTo>
                    <a:pt x="11" y="37"/>
                  </a:lnTo>
                  <a:lnTo>
                    <a:pt x="0" y="56"/>
                  </a:lnTo>
                  <a:lnTo>
                    <a:pt x="15" y="63"/>
                  </a:lnTo>
                  <a:lnTo>
                    <a:pt x="15" y="65"/>
                  </a:lnTo>
                  <a:lnTo>
                    <a:pt x="13" y="69"/>
                  </a:lnTo>
                  <a:lnTo>
                    <a:pt x="13" y="68"/>
                  </a:lnTo>
                  <a:lnTo>
                    <a:pt x="36" y="63"/>
                  </a:lnTo>
                  <a:lnTo>
                    <a:pt x="107" y="60"/>
                  </a:lnTo>
                  <a:lnTo>
                    <a:pt x="105" y="58"/>
                  </a:lnTo>
                  <a:lnTo>
                    <a:pt x="102" y="38"/>
                  </a:lnTo>
                  <a:lnTo>
                    <a:pt x="101" y="15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48" name="Freeform 43">
              <a:extLst>
                <a:ext uri="{FF2B5EF4-FFF2-40B4-BE49-F238E27FC236}">
                  <a16:creationId xmlns:a16="http://schemas.microsoft.com/office/drawing/2014/main" id="{0A0E60B3-320B-D909-4AEC-29633CF5DCF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625300" y="4412634"/>
              <a:ext cx="47755" cy="64017"/>
            </a:xfrm>
            <a:custGeom>
              <a:avLst/>
              <a:gdLst>
                <a:gd name="T0" fmla="*/ 2147483647 w 93"/>
                <a:gd name="T1" fmla="*/ 0 h 114"/>
                <a:gd name="T2" fmla="*/ 2147483647 w 93"/>
                <a:gd name="T3" fmla="*/ 0 h 114"/>
                <a:gd name="T4" fmla="*/ 2147483647 w 93"/>
                <a:gd name="T5" fmla="*/ 0 h 114"/>
                <a:gd name="T6" fmla="*/ 2147483647 w 93"/>
                <a:gd name="T7" fmla="*/ 0 h 114"/>
                <a:gd name="T8" fmla="*/ 2147483647 w 93"/>
                <a:gd name="T9" fmla="*/ 0 h 114"/>
                <a:gd name="T10" fmla="*/ 0 w 93"/>
                <a:gd name="T11" fmla="*/ 0 h 114"/>
                <a:gd name="T12" fmla="*/ 0 w 93"/>
                <a:gd name="T13" fmla="*/ 0 h 114"/>
                <a:gd name="T14" fmla="*/ 0 w 93"/>
                <a:gd name="T15" fmla="*/ 0 h 114"/>
                <a:gd name="T16" fmla="*/ 0 w 93"/>
                <a:gd name="T17" fmla="*/ 0 h 114"/>
                <a:gd name="T18" fmla="*/ 0 w 93"/>
                <a:gd name="T19" fmla="*/ 0 h 114"/>
                <a:gd name="T20" fmla="*/ 0 w 93"/>
                <a:gd name="T21" fmla="*/ 0 h 114"/>
                <a:gd name="T22" fmla="*/ 0 w 93"/>
                <a:gd name="T23" fmla="*/ 0 h 114"/>
                <a:gd name="T24" fmla="*/ 0 w 93"/>
                <a:gd name="T25" fmla="*/ 0 h 114"/>
                <a:gd name="T26" fmla="*/ 0 w 93"/>
                <a:gd name="T27" fmla="*/ 0 h 114"/>
                <a:gd name="T28" fmla="*/ 0 w 93"/>
                <a:gd name="T29" fmla="*/ 0 h 114"/>
                <a:gd name="T30" fmla="*/ 0 w 93"/>
                <a:gd name="T31" fmla="*/ 0 h 114"/>
                <a:gd name="T32" fmla="*/ 0 w 93"/>
                <a:gd name="T33" fmla="*/ 0 h 114"/>
                <a:gd name="T34" fmla="*/ 0 w 93"/>
                <a:gd name="T35" fmla="*/ 0 h 114"/>
                <a:gd name="T36" fmla="*/ 0 w 93"/>
                <a:gd name="T37" fmla="*/ 0 h 114"/>
                <a:gd name="T38" fmla="*/ 0 w 93"/>
                <a:gd name="T39" fmla="*/ 0 h 114"/>
                <a:gd name="T40" fmla="*/ 0 w 93"/>
                <a:gd name="T41" fmla="*/ 0 h 114"/>
                <a:gd name="T42" fmla="*/ 0 w 93"/>
                <a:gd name="T43" fmla="*/ 0 h 114"/>
                <a:gd name="T44" fmla="*/ 0 w 93"/>
                <a:gd name="T45" fmla="*/ 0 h 114"/>
                <a:gd name="T46" fmla="*/ 0 w 93"/>
                <a:gd name="T47" fmla="*/ 0 h 114"/>
                <a:gd name="T48" fmla="*/ 0 w 93"/>
                <a:gd name="T49" fmla="*/ 0 h 114"/>
                <a:gd name="T50" fmla="*/ 0 w 93"/>
                <a:gd name="T51" fmla="*/ 0 h 114"/>
                <a:gd name="T52" fmla="*/ 0 w 93"/>
                <a:gd name="T53" fmla="*/ 0 h 114"/>
                <a:gd name="T54" fmla="*/ 0 w 93"/>
                <a:gd name="T55" fmla="*/ 2147483647 h 114"/>
                <a:gd name="T56" fmla="*/ 0 w 93"/>
                <a:gd name="T57" fmla="*/ 2147483647 h 114"/>
                <a:gd name="T58" fmla="*/ 0 w 93"/>
                <a:gd name="T59" fmla="*/ 2147483647 h 114"/>
                <a:gd name="T60" fmla="*/ 0 w 93"/>
                <a:gd name="T61" fmla="*/ 2147483647 h 114"/>
                <a:gd name="T62" fmla="*/ 0 w 93"/>
                <a:gd name="T63" fmla="*/ 2147483647 h 114"/>
                <a:gd name="T64" fmla="*/ 0 w 93"/>
                <a:gd name="T65" fmla="*/ 2147483647 h 114"/>
                <a:gd name="T66" fmla="*/ 0 w 93"/>
                <a:gd name="T67" fmla="*/ 2147483647 h 114"/>
                <a:gd name="T68" fmla="*/ 0 w 93"/>
                <a:gd name="T69" fmla="*/ 2147483647 h 114"/>
                <a:gd name="T70" fmla="*/ 2147483647 w 93"/>
                <a:gd name="T71" fmla="*/ 2147483647 h 114"/>
                <a:gd name="T72" fmla="*/ 2147483647 w 93"/>
                <a:gd name="T73" fmla="*/ 2147483647 h 114"/>
                <a:gd name="T74" fmla="*/ 2147483647 w 93"/>
                <a:gd name="T75" fmla="*/ 0 h 114"/>
                <a:gd name="T76" fmla="*/ 2147483647 w 93"/>
                <a:gd name="T77" fmla="*/ 0 h 114"/>
                <a:gd name="T78" fmla="*/ 2147483647 w 93"/>
                <a:gd name="T79" fmla="*/ 0 h 114"/>
                <a:gd name="T80" fmla="*/ 2147483647 w 93"/>
                <a:gd name="T81" fmla="*/ 0 h 114"/>
                <a:gd name="T82" fmla="*/ 2147483647 w 93"/>
                <a:gd name="T83" fmla="*/ 0 h 114"/>
                <a:gd name="T84" fmla="*/ 2147483647 w 93"/>
                <a:gd name="T85" fmla="*/ 0 h 114"/>
                <a:gd name="T86" fmla="*/ 2147483647 w 93"/>
                <a:gd name="T87" fmla="*/ 0 h 114"/>
                <a:gd name="T88" fmla="*/ 2147483647 w 93"/>
                <a:gd name="T89" fmla="*/ 0 h 114"/>
                <a:gd name="T90" fmla="*/ 2147483647 w 93"/>
                <a:gd name="T91" fmla="*/ 0 h 114"/>
                <a:gd name="T92" fmla="*/ 2147483647 w 93"/>
                <a:gd name="T93" fmla="*/ 0 h 114"/>
                <a:gd name="T94" fmla="*/ 2147483647 w 93"/>
                <a:gd name="T95" fmla="*/ 0 h 114"/>
                <a:gd name="T96" fmla="*/ 2147483647 w 93"/>
                <a:gd name="T97" fmla="*/ 0 h 1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93"/>
                <a:gd name="T148" fmla="*/ 0 h 114"/>
                <a:gd name="T149" fmla="*/ 93 w 93"/>
                <a:gd name="T150" fmla="*/ 114 h 1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93" h="114">
                  <a:moveTo>
                    <a:pt x="83" y="5"/>
                  </a:moveTo>
                  <a:lnTo>
                    <a:pt x="81" y="1"/>
                  </a:lnTo>
                  <a:lnTo>
                    <a:pt x="76" y="1"/>
                  </a:lnTo>
                  <a:lnTo>
                    <a:pt x="76" y="0"/>
                  </a:lnTo>
                  <a:lnTo>
                    <a:pt x="71" y="0"/>
                  </a:lnTo>
                  <a:lnTo>
                    <a:pt x="59" y="4"/>
                  </a:lnTo>
                  <a:lnTo>
                    <a:pt x="49" y="4"/>
                  </a:lnTo>
                  <a:lnTo>
                    <a:pt x="46" y="6"/>
                  </a:lnTo>
                  <a:lnTo>
                    <a:pt x="45" y="9"/>
                  </a:lnTo>
                  <a:lnTo>
                    <a:pt x="45" y="17"/>
                  </a:lnTo>
                  <a:lnTo>
                    <a:pt x="41" y="22"/>
                  </a:lnTo>
                  <a:lnTo>
                    <a:pt x="33" y="22"/>
                  </a:lnTo>
                  <a:lnTo>
                    <a:pt x="28" y="25"/>
                  </a:lnTo>
                  <a:lnTo>
                    <a:pt x="22" y="26"/>
                  </a:lnTo>
                  <a:lnTo>
                    <a:pt x="19" y="25"/>
                  </a:lnTo>
                  <a:lnTo>
                    <a:pt x="16" y="16"/>
                  </a:lnTo>
                  <a:lnTo>
                    <a:pt x="13" y="11"/>
                  </a:lnTo>
                  <a:lnTo>
                    <a:pt x="11" y="10"/>
                  </a:lnTo>
                  <a:lnTo>
                    <a:pt x="6" y="10"/>
                  </a:lnTo>
                  <a:lnTo>
                    <a:pt x="1" y="13"/>
                  </a:lnTo>
                  <a:lnTo>
                    <a:pt x="1" y="22"/>
                  </a:lnTo>
                  <a:lnTo>
                    <a:pt x="0" y="22"/>
                  </a:lnTo>
                  <a:lnTo>
                    <a:pt x="6" y="28"/>
                  </a:lnTo>
                  <a:lnTo>
                    <a:pt x="8" y="34"/>
                  </a:lnTo>
                  <a:lnTo>
                    <a:pt x="11" y="58"/>
                  </a:lnTo>
                  <a:lnTo>
                    <a:pt x="13" y="61"/>
                  </a:lnTo>
                  <a:lnTo>
                    <a:pt x="16" y="69"/>
                  </a:lnTo>
                  <a:lnTo>
                    <a:pt x="17" y="79"/>
                  </a:lnTo>
                  <a:lnTo>
                    <a:pt x="17" y="91"/>
                  </a:lnTo>
                  <a:lnTo>
                    <a:pt x="18" y="101"/>
                  </a:lnTo>
                  <a:lnTo>
                    <a:pt x="23" y="108"/>
                  </a:lnTo>
                  <a:lnTo>
                    <a:pt x="29" y="114"/>
                  </a:lnTo>
                  <a:lnTo>
                    <a:pt x="32" y="113"/>
                  </a:lnTo>
                  <a:lnTo>
                    <a:pt x="43" y="110"/>
                  </a:lnTo>
                  <a:lnTo>
                    <a:pt x="57" y="106"/>
                  </a:lnTo>
                  <a:lnTo>
                    <a:pt x="68" y="86"/>
                  </a:lnTo>
                  <a:lnTo>
                    <a:pt x="73" y="80"/>
                  </a:lnTo>
                  <a:lnTo>
                    <a:pt x="79" y="66"/>
                  </a:lnTo>
                  <a:lnTo>
                    <a:pt x="89" y="54"/>
                  </a:lnTo>
                  <a:lnTo>
                    <a:pt x="93" y="48"/>
                  </a:lnTo>
                  <a:lnTo>
                    <a:pt x="93" y="40"/>
                  </a:lnTo>
                  <a:lnTo>
                    <a:pt x="91" y="34"/>
                  </a:lnTo>
                  <a:lnTo>
                    <a:pt x="87" y="31"/>
                  </a:lnTo>
                  <a:lnTo>
                    <a:pt x="81" y="29"/>
                  </a:lnTo>
                  <a:lnTo>
                    <a:pt x="77" y="26"/>
                  </a:lnTo>
                  <a:lnTo>
                    <a:pt x="77" y="22"/>
                  </a:lnTo>
                  <a:lnTo>
                    <a:pt x="77" y="16"/>
                  </a:lnTo>
                  <a:lnTo>
                    <a:pt x="78" y="10"/>
                  </a:lnTo>
                  <a:lnTo>
                    <a:pt x="83" y="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49" name="Freeform 44">
              <a:extLst>
                <a:ext uri="{FF2B5EF4-FFF2-40B4-BE49-F238E27FC236}">
                  <a16:creationId xmlns:a16="http://schemas.microsoft.com/office/drawing/2014/main" id="{08A2C7B3-B55C-A57A-91F8-3E90BCA90D4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641716" y="4211438"/>
              <a:ext cx="155204" cy="173761"/>
            </a:xfrm>
            <a:custGeom>
              <a:avLst/>
              <a:gdLst>
                <a:gd name="T0" fmla="*/ 2147483647 w 289"/>
                <a:gd name="T1" fmla="*/ 0 h 302"/>
                <a:gd name="T2" fmla="*/ 2147483647 w 289"/>
                <a:gd name="T3" fmla="*/ 0 h 302"/>
                <a:gd name="T4" fmla="*/ 2147483647 w 289"/>
                <a:gd name="T5" fmla="*/ 0 h 302"/>
                <a:gd name="T6" fmla="*/ 2147483647 w 289"/>
                <a:gd name="T7" fmla="*/ 0 h 302"/>
                <a:gd name="T8" fmla="*/ 2147483647 w 289"/>
                <a:gd name="T9" fmla="*/ 0 h 302"/>
                <a:gd name="T10" fmla="*/ 2147483647 w 289"/>
                <a:gd name="T11" fmla="*/ 0 h 302"/>
                <a:gd name="T12" fmla="*/ 2147483647 w 289"/>
                <a:gd name="T13" fmla="*/ 0 h 302"/>
                <a:gd name="T14" fmla="*/ 2147483647 w 289"/>
                <a:gd name="T15" fmla="*/ 0 h 302"/>
                <a:gd name="T16" fmla="*/ 2147483647 w 289"/>
                <a:gd name="T17" fmla="*/ 0 h 302"/>
                <a:gd name="T18" fmla="*/ 2147483647 w 289"/>
                <a:gd name="T19" fmla="*/ 2147483647 h 302"/>
                <a:gd name="T20" fmla="*/ 2147483647 w 289"/>
                <a:gd name="T21" fmla="*/ 2147483647 h 302"/>
                <a:gd name="T22" fmla="*/ 2147483647 w 289"/>
                <a:gd name="T23" fmla="*/ 2147483647 h 302"/>
                <a:gd name="T24" fmla="*/ 2147483647 w 289"/>
                <a:gd name="T25" fmla="*/ 2147483647 h 302"/>
                <a:gd name="T26" fmla="*/ 2147483647 w 289"/>
                <a:gd name="T27" fmla="*/ 2147483647 h 302"/>
                <a:gd name="T28" fmla="*/ 2147483647 w 289"/>
                <a:gd name="T29" fmla="*/ 2147483647 h 302"/>
                <a:gd name="T30" fmla="*/ 0 w 289"/>
                <a:gd name="T31" fmla="*/ 2147483647 h 302"/>
                <a:gd name="T32" fmla="*/ 0 w 289"/>
                <a:gd name="T33" fmla="*/ 2147483647 h 302"/>
                <a:gd name="T34" fmla="*/ 0 w 289"/>
                <a:gd name="T35" fmla="*/ 2147483647 h 302"/>
                <a:gd name="T36" fmla="*/ 0 w 289"/>
                <a:gd name="T37" fmla="*/ 2147483647 h 302"/>
                <a:gd name="T38" fmla="*/ 0 w 289"/>
                <a:gd name="T39" fmla="*/ 2147483647 h 302"/>
                <a:gd name="T40" fmla="*/ 0 w 289"/>
                <a:gd name="T41" fmla="*/ 2147483647 h 302"/>
                <a:gd name="T42" fmla="*/ 0 w 289"/>
                <a:gd name="T43" fmla="*/ 2147483647 h 302"/>
                <a:gd name="T44" fmla="*/ 0 w 289"/>
                <a:gd name="T45" fmla="*/ 2147483647 h 302"/>
                <a:gd name="T46" fmla="*/ 2147483647 w 289"/>
                <a:gd name="T47" fmla="*/ 2147483647 h 302"/>
                <a:gd name="T48" fmla="*/ 2147483647 w 289"/>
                <a:gd name="T49" fmla="*/ 2147483647 h 302"/>
                <a:gd name="T50" fmla="*/ 2147483647 w 289"/>
                <a:gd name="T51" fmla="*/ 2147483647 h 302"/>
                <a:gd name="T52" fmla="*/ 2147483647 w 289"/>
                <a:gd name="T53" fmla="*/ 2147483647 h 302"/>
                <a:gd name="T54" fmla="*/ 2147483647 w 289"/>
                <a:gd name="T55" fmla="*/ 2147483647 h 302"/>
                <a:gd name="T56" fmla="*/ 2147483647 w 289"/>
                <a:gd name="T57" fmla="*/ 2147483647 h 302"/>
                <a:gd name="T58" fmla="*/ 2147483647 w 289"/>
                <a:gd name="T59" fmla="*/ 2147483647 h 302"/>
                <a:gd name="T60" fmla="*/ 2147483647 w 289"/>
                <a:gd name="T61" fmla="*/ 2147483647 h 302"/>
                <a:gd name="T62" fmla="*/ 2147483647 w 289"/>
                <a:gd name="T63" fmla="*/ 2147483647 h 302"/>
                <a:gd name="T64" fmla="*/ 2147483647 w 289"/>
                <a:gd name="T65" fmla="*/ 2147483647 h 302"/>
                <a:gd name="T66" fmla="*/ 2147483647 w 289"/>
                <a:gd name="T67" fmla="*/ 2147483647 h 302"/>
                <a:gd name="T68" fmla="*/ 2147483647 w 289"/>
                <a:gd name="T69" fmla="*/ 2147483647 h 302"/>
                <a:gd name="T70" fmla="*/ 2147483647 w 289"/>
                <a:gd name="T71" fmla="*/ 2147483647 h 302"/>
                <a:gd name="T72" fmla="*/ 2147483647 w 289"/>
                <a:gd name="T73" fmla="*/ 2147483647 h 302"/>
                <a:gd name="T74" fmla="*/ 2147483647 w 289"/>
                <a:gd name="T75" fmla="*/ 2147483647 h 302"/>
                <a:gd name="T76" fmla="*/ 2147483647 w 289"/>
                <a:gd name="T77" fmla="*/ 2147483647 h 302"/>
                <a:gd name="T78" fmla="*/ 2147483647 w 289"/>
                <a:gd name="T79" fmla="*/ 2147483647 h 302"/>
                <a:gd name="T80" fmla="*/ 2147483647 w 289"/>
                <a:gd name="T81" fmla="*/ 0 h 302"/>
                <a:gd name="T82" fmla="*/ 2147483647 w 289"/>
                <a:gd name="T83" fmla="*/ 0 h 302"/>
                <a:gd name="T84" fmla="*/ 2147483647 w 289"/>
                <a:gd name="T85" fmla="*/ 0 h 302"/>
                <a:gd name="T86" fmla="*/ 2147483647 w 289"/>
                <a:gd name="T87" fmla="*/ 0 h 302"/>
                <a:gd name="T88" fmla="*/ 2147483647 w 289"/>
                <a:gd name="T89" fmla="*/ 0 h 302"/>
                <a:gd name="T90" fmla="*/ 2147483647 w 289"/>
                <a:gd name="T91" fmla="*/ 0 h 302"/>
                <a:gd name="T92" fmla="*/ 2147483647 w 289"/>
                <a:gd name="T93" fmla="*/ 0 h 30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89"/>
                <a:gd name="T142" fmla="*/ 0 h 302"/>
                <a:gd name="T143" fmla="*/ 289 w 289"/>
                <a:gd name="T144" fmla="*/ 302 h 30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89" h="302">
                  <a:moveTo>
                    <a:pt x="232" y="3"/>
                  </a:moveTo>
                  <a:lnTo>
                    <a:pt x="232" y="0"/>
                  </a:lnTo>
                  <a:lnTo>
                    <a:pt x="232" y="3"/>
                  </a:lnTo>
                  <a:lnTo>
                    <a:pt x="205" y="21"/>
                  </a:lnTo>
                  <a:lnTo>
                    <a:pt x="186" y="21"/>
                  </a:lnTo>
                  <a:lnTo>
                    <a:pt x="170" y="19"/>
                  </a:lnTo>
                  <a:lnTo>
                    <a:pt x="157" y="24"/>
                  </a:lnTo>
                  <a:lnTo>
                    <a:pt x="143" y="25"/>
                  </a:lnTo>
                  <a:lnTo>
                    <a:pt x="126" y="29"/>
                  </a:lnTo>
                  <a:lnTo>
                    <a:pt x="120" y="22"/>
                  </a:lnTo>
                  <a:lnTo>
                    <a:pt x="108" y="23"/>
                  </a:lnTo>
                  <a:lnTo>
                    <a:pt x="98" y="25"/>
                  </a:lnTo>
                  <a:lnTo>
                    <a:pt x="87" y="22"/>
                  </a:lnTo>
                  <a:lnTo>
                    <a:pt x="73" y="23"/>
                  </a:lnTo>
                  <a:lnTo>
                    <a:pt x="66" y="28"/>
                  </a:lnTo>
                  <a:lnTo>
                    <a:pt x="66" y="32"/>
                  </a:lnTo>
                  <a:lnTo>
                    <a:pt x="63" y="41"/>
                  </a:lnTo>
                  <a:lnTo>
                    <a:pt x="60" y="59"/>
                  </a:lnTo>
                  <a:lnTo>
                    <a:pt x="61" y="81"/>
                  </a:lnTo>
                  <a:lnTo>
                    <a:pt x="63" y="89"/>
                  </a:lnTo>
                  <a:lnTo>
                    <a:pt x="68" y="94"/>
                  </a:lnTo>
                  <a:lnTo>
                    <a:pt x="73" y="98"/>
                  </a:lnTo>
                  <a:lnTo>
                    <a:pt x="82" y="100"/>
                  </a:lnTo>
                  <a:lnTo>
                    <a:pt x="84" y="105"/>
                  </a:lnTo>
                  <a:lnTo>
                    <a:pt x="86" y="113"/>
                  </a:lnTo>
                  <a:lnTo>
                    <a:pt x="82" y="121"/>
                  </a:lnTo>
                  <a:lnTo>
                    <a:pt x="73" y="130"/>
                  </a:lnTo>
                  <a:lnTo>
                    <a:pt x="67" y="135"/>
                  </a:lnTo>
                  <a:lnTo>
                    <a:pt x="56" y="140"/>
                  </a:lnTo>
                  <a:lnTo>
                    <a:pt x="52" y="147"/>
                  </a:lnTo>
                  <a:lnTo>
                    <a:pt x="50" y="153"/>
                  </a:lnTo>
                  <a:lnTo>
                    <a:pt x="44" y="159"/>
                  </a:lnTo>
                  <a:lnTo>
                    <a:pt x="33" y="172"/>
                  </a:lnTo>
                  <a:lnTo>
                    <a:pt x="20" y="186"/>
                  </a:lnTo>
                  <a:lnTo>
                    <a:pt x="17" y="191"/>
                  </a:lnTo>
                  <a:lnTo>
                    <a:pt x="11" y="202"/>
                  </a:lnTo>
                  <a:lnTo>
                    <a:pt x="3" y="233"/>
                  </a:lnTo>
                  <a:lnTo>
                    <a:pt x="3" y="247"/>
                  </a:lnTo>
                  <a:lnTo>
                    <a:pt x="1" y="275"/>
                  </a:lnTo>
                  <a:lnTo>
                    <a:pt x="0" y="296"/>
                  </a:lnTo>
                  <a:lnTo>
                    <a:pt x="4" y="299"/>
                  </a:lnTo>
                  <a:lnTo>
                    <a:pt x="11" y="302"/>
                  </a:lnTo>
                  <a:lnTo>
                    <a:pt x="19" y="301"/>
                  </a:lnTo>
                  <a:lnTo>
                    <a:pt x="25" y="290"/>
                  </a:lnTo>
                  <a:lnTo>
                    <a:pt x="29" y="286"/>
                  </a:lnTo>
                  <a:lnTo>
                    <a:pt x="36" y="285"/>
                  </a:lnTo>
                  <a:lnTo>
                    <a:pt x="41" y="281"/>
                  </a:lnTo>
                  <a:lnTo>
                    <a:pt x="63" y="283"/>
                  </a:lnTo>
                  <a:lnTo>
                    <a:pt x="70" y="280"/>
                  </a:lnTo>
                  <a:lnTo>
                    <a:pt x="70" y="278"/>
                  </a:lnTo>
                  <a:lnTo>
                    <a:pt x="115" y="278"/>
                  </a:lnTo>
                  <a:lnTo>
                    <a:pt x="110" y="274"/>
                  </a:lnTo>
                  <a:lnTo>
                    <a:pt x="122" y="247"/>
                  </a:lnTo>
                  <a:lnTo>
                    <a:pt x="120" y="240"/>
                  </a:lnTo>
                  <a:lnTo>
                    <a:pt x="121" y="234"/>
                  </a:lnTo>
                  <a:lnTo>
                    <a:pt x="132" y="232"/>
                  </a:lnTo>
                  <a:lnTo>
                    <a:pt x="142" y="228"/>
                  </a:lnTo>
                  <a:lnTo>
                    <a:pt x="147" y="221"/>
                  </a:lnTo>
                  <a:lnTo>
                    <a:pt x="153" y="223"/>
                  </a:lnTo>
                  <a:lnTo>
                    <a:pt x="157" y="222"/>
                  </a:lnTo>
                  <a:lnTo>
                    <a:pt x="159" y="216"/>
                  </a:lnTo>
                  <a:lnTo>
                    <a:pt x="164" y="218"/>
                  </a:lnTo>
                  <a:lnTo>
                    <a:pt x="175" y="220"/>
                  </a:lnTo>
                  <a:lnTo>
                    <a:pt x="183" y="223"/>
                  </a:lnTo>
                  <a:lnTo>
                    <a:pt x="195" y="207"/>
                  </a:lnTo>
                  <a:lnTo>
                    <a:pt x="201" y="211"/>
                  </a:lnTo>
                  <a:lnTo>
                    <a:pt x="215" y="216"/>
                  </a:lnTo>
                  <a:lnTo>
                    <a:pt x="223" y="213"/>
                  </a:lnTo>
                  <a:lnTo>
                    <a:pt x="232" y="216"/>
                  </a:lnTo>
                  <a:lnTo>
                    <a:pt x="234" y="213"/>
                  </a:lnTo>
                  <a:lnTo>
                    <a:pt x="240" y="208"/>
                  </a:lnTo>
                  <a:lnTo>
                    <a:pt x="258" y="181"/>
                  </a:lnTo>
                  <a:lnTo>
                    <a:pt x="267" y="170"/>
                  </a:lnTo>
                  <a:lnTo>
                    <a:pt x="270" y="167"/>
                  </a:lnTo>
                  <a:lnTo>
                    <a:pt x="278" y="156"/>
                  </a:lnTo>
                  <a:lnTo>
                    <a:pt x="286" y="143"/>
                  </a:lnTo>
                  <a:lnTo>
                    <a:pt x="288" y="130"/>
                  </a:lnTo>
                  <a:lnTo>
                    <a:pt x="289" y="110"/>
                  </a:lnTo>
                  <a:lnTo>
                    <a:pt x="287" y="100"/>
                  </a:lnTo>
                  <a:lnTo>
                    <a:pt x="287" y="82"/>
                  </a:lnTo>
                  <a:lnTo>
                    <a:pt x="286" y="76"/>
                  </a:lnTo>
                  <a:lnTo>
                    <a:pt x="278" y="67"/>
                  </a:lnTo>
                  <a:lnTo>
                    <a:pt x="274" y="65"/>
                  </a:lnTo>
                  <a:lnTo>
                    <a:pt x="267" y="61"/>
                  </a:lnTo>
                  <a:lnTo>
                    <a:pt x="262" y="56"/>
                  </a:lnTo>
                  <a:lnTo>
                    <a:pt x="260" y="50"/>
                  </a:lnTo>
                  <a:lnTo>
                    <a:pt x="255" y="23"/>
                  </a:lnTo>
                  <a:lnTo>
                    <a:pt x="253" y="21"/>
                  </a:lnTo>
                  <a:lnTo>
                    <a:pt x="251" y="18"/>
                  </a:lnTo>
                  <a:lnTo>
                    <a:pt x="251" y="11"/>
                  </a:lnTo>
                  <a:lnTo>
                    <a:pt x="249" y="9"/>
                  </a:lnTo>
                  <a:lnTo>
                    <a:pt x="237" y="7"/>
                  </a:lnTo>
                  <a:lnTo>
                    <a:pt x="234" y="5"/>
                  </a:lnTo>
                  <a:lnTo>
                    <a:pt x="232" y="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50" name="Freeform 45">
              <a:extLst>
                <a:ext uri="{FF2B5EF4-FFF2-40B4-BE49-F238E27FC236}">
                  <a16:creationId xmlns:a16="http://schemas.microsoft.com/office/drawing/2014/main" id="{1D5C735A-4D87-8B52-79D9-3564DFCBFA1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620823" y="4373004"/>
              <a:ext cx="55216" cy="54872"/>
            </a:xfrm>
            <a:custGeom>
              <a:avLst/>
              <a:gdLst>
                <a:gd name="T0" fmla="*/ 0 w 104"/>
                <a:gd name="T1" fmla="*/ 2147483647 h 96"/>
                <a:gd name="T2" fmla="*/ 0 w 104"/>
                <a:gd name="T3" fmla="*/ 2147483647 h 96"/>
                <a:gd name="T4" fmla="*/ 0 w 104"/>
                <a:gd name="T5" fmla="*/ 2147483647 h 96"/>
                <a:gd name="T6" fmla="*/ 0 w 104"/>
                <a:gd name="T7" fmla="*/ 0 h 96"/>
                <a:gd name="T8" fmla="*/ 0 w 104"/>
                <a:gd name="T9" fmla="*/ 0 h 96"/>
                <a:gd name="T10" fmla="*/ 0 w 104"/>
                <a:gd name="T11" fmla="*/ 0 h 96"/>
                <a:gd name="T12" fmla="*/ 0 w 104"/>
                <a:gd name="T13" fmla="*/ 2147483647 h 96"/>
                <a:gd name="T14" fmla="*/ 0 w 104"/>
                <a:gd name="T15" fmla="*/ 2147483647 h 96"/>
                <a:gd name="T16" fmla="*/ 0 w 104"/>
                <a:gd name="T17" fmla="*/ 2147483647 h 96"/>
                <a:gd name="T18" fmla="*/ 0 w 104"/>
                <a:gd name="T19" fmla="*/ 2147483647 h 96"/>
                <a:gd name="T20" fmla="*/ 0 w 104"/>
                <a:gd name="T21" fmla="*/ 2147483647 h 96"/>
                <a:gd name="T22" fmla="*/ 2147483647 w 104"/>
                <a:gd name="T23" fmla="*/ 2147483647 h 96"/>
                <a:gd name="T24" fmla="*/ 2147483647 w 104"/>
                <a:gd name="T25" fmla="*/ 2147483647 h 96"/>
                <a:gd name="T26" fmla="*/ 2147483647 w 104"/>
                <a:gd name="T27" fmla="*/ 0 h 96"/>
                <a:gd name="T28" fmla="*/ 2147483647 w 104"/>
                <a:gd name="T29" fmla="*/ 0 h 96"/>
                <a:gd name="T30" fmla="*/ 2147483647 w 104"/>
                <a:gd name="T31" fmla="*/ 0 h 96"/>
                <a:gd name="T32" fmla="*/ 2147483647 w 104"/>
                <a:gd name="T33" fmla="*/ 0 h 96"/>
                <a:gd name="T34" fmla="*/ 2147483647 w 104"/>
                <a:gd name="T35" fmla="*/ 0 h 96"/>
                <a:gd name="T36" fmla="*/ 2147483647 w 104"/>
                <a:gd name="T37" fmla="*/ 0 h 96"/>
                <a:gd name="T38" fmla="*/ 2147483647 w 104"/>
                <a:gd name="T39" fmla="*/ 0 h 96"/>
                <a:gd name="T40" fmla="*/ 2147483647 w 104"/>
                <a:gd name="T41" fmla="*/ 0 h 96"/>
                <a:gd name="T42" fmla="*/ 2147483647 w 104"/>
                <a:gd name="T43" fmla="*/ 0 h 96"/>
                <a:gd name="T44" fmla="*/ 2147483647 w 104"/>
                <a:gd name="T45" fmla="*/ 0 h 96"/>
                <a:gd name="T46" fmla="*/ 2147483647 w 104"/>
                <a:gd name="T47" fmla="*/ 0 h 96"/>
                <a:gd name="T48" fmla="*/ 2147483647 w 104"/>
                <a:gd name="T49" fmla="*/ 0 h 96"/>
                <a:gd name="T50" fmla="*/ 2147483647 w 104"/>
                <a:gd name="T51" fmla="*/ 0 h 96"/>
                <a:gd name="T52" fmla="*/ 2147483647 w 104"/>
                <a:gd name="T53" fmla="*/ 0 h 96"/>
                <a:gd name="T54" fmla="*/ 2147483647 w 104"/>
                <a:gd name="T55" fmla="*/ 0 h 96"/>
                <a:gd name="T56" fmla="*/ 2147483647 w 104"/>
                <a:gd name="T57" fmla="*/ 0 h 96"/>
                <a:gd name="T58" fmla="*/ 2147483647 w 104"/>
                <a:gd name="T59" fmla="*/ 0 h 96"/>
                <a:gd name="T60" fmla="*/ 2147483647 w 104"/>
                <a:gd name="T61" fmla="*/ 0 h 96"/>
                <a:gd name="T62" fmla="*/ 2147483647 w 104"/>
                <a:gd name="T63" fmla="*/ 0 h 96"/>
                <a:gd name="T64" fmla="*/ 2147483647 w 104"/>
                <a:gd name="T65" fmla="*/ 0 h 96"/>
                <a:gd name="T66" fmla="*/ 0 w 104"/>
                <a:gd name="T67" fmla="*/ 0 h 96"/>
                <a:gd name="T68" fmla="*/ 0 w 104"/>
                <a:gd name="T69" fmla="*/ 0 h 96"/>
                <a:gd name="T70" fmla="*/ 0 w 104"/>
                <a:gd name="T71" fmla="*/ 0 h 96"/>
                <a:gd name="T72" fmla="*/ 0 w 104"/>
                <a:gd name="T73" fmla="*/ 0 h 96"/>
                <a:gd name="T74" fmla="*/ 0 w 104"/>
                <a:gd name="T75" fmla="*/ 0 h 96"/>
                <a:gd name="T76" fmla="*/ 0 w 104"/>
                <a:gd name="T77" fmla="*/ 0 h 96"/>
                <a:gd name="T78" fmla="*/ 0 w 104"/>
                <a:gd name="T79" fmla="*/ 0 h 96"/>
                <a:gd name="T80" fmla="*/ 0 w 104"/>
                <a:gd name="T81" fmla="*/ 0 h 96"/>
                <a:gd name="T82" fmla="*/ 0 w 104"/>
                <a:gd name="T83" fmla="*/ 0 h 96"/>
                <a:gd name="T84" fmla="*/ 0 w 104"/>
                <a:gd name="T85" fmla="*/ 2147483647 h 96"/>
                <a:gd name="T86" fmla="*/ 0 w 104"/>
                <a:gd name="T87" fmla="*/ 2147483647 h 9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04"/>
                <a:gd name="T133" fmla="*/ 0 h 96"/>
                <a:gd name="T134" fmla="*/ 104 w 104"/>
                <a:gd name="T135" fmla="*/ 96 h 9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04" h="96">
                  <a:moveTo>
                    <a:pt x="7" y="92"/>
                  </a:moveTo>
                  <a:lnTo>
                    <a:pt x="8" y="92"/>
                  </a:lnTo>
                  <a:lnTo>
                    <a:pt x="8" y="83"/>
                  </a:lnTo>
                  <a:lnTo>
                    <a:pt x="13" y="80"/>
                  </a:lnTo>
                  <a:lnTo>
                    <a:pt x="18" y="80"/>
                  </a:lnTo>
                  <a:lnTo>
                    <a:pt x="20" y="81"/>
                  </a:lnTo>
                  <a:lnTo>
                    <a:pt x="23" y="86"/>
                  </a:lnTo>
                  <a:lnTo>
                    <a:pt x="26" y="95"/>
                  </a:lnTo>
                  <a:lnTo>
                    <a:pt x="29" y="96"/>
                  </a:lnTo>
                  <a:lnTo>
                    <a:pt x="35" y="95"/>
                  </a:lnTo>
                  <a:lnTo>
                    <a:pt x="40" y="92"/>
                  </a:lnTo>
                  <a:lnTo>
                    <a:pt x="48" y="92"/>
                  </a:lnTo>
                  <a:lnTo>
                    <a:pt x="52" y="87"/>
                  </a:lnTo>
                  <a:lnTo>
                    <a:pt x="52" y="79"/>
                  </a:lnTo>
                  <a:lnTo>
                    <a:pt x="53" y="76"/>
                  </a:lnTo>
                  <a:lnTo>
                    <a:pt x="56" y="74"/>
                  </a:lnTo>
                  <a:lnTo>
                    <a:pt x="66" y="74"/>
                  </a:lnTo>
                  <a:lnTo>
                    <a:pt x="78" y="70"/>
                  </a:lnTo>
                  <a:lnTo>
                    <a:pt x="83" y="70"/>
                  </a:lnTo>
                  <a:lnTo>
                    <a:pt x="83" y="71"/>
                  </a:lnTo>
                  <a:lnTo>
                    <a:pt x="88" y="71"/>
                  </a:lnTo>
                  <a:lnTo>
                    <a:pt x="90" y="75"/>
                  </a:lnTo>
                  <a:lnTo>
                    <a:pt x="101" y="60"/>
                  </a:lnTo>
                  <a:lnTo>
                    <a:pt x="104" y="50"/>
                  </a:lnTo>
                  <a:lnTo>
                    <a:pt x="102" y="43"/>
                  </a:lnTo>
                  <a:lnTo>
                    <a:pt x="98" y="28"/>
                  </a:lnTo>
                  <a:lnTo>
                    <a:pt x="85" y="7"/>
                  </a:lnTo>
                  <a:lnTo>
                    <a:pt x="80" y="0"/>
                  </a:lnTo>
                  <a:lnTo>
                    <a:pt x="75" y="4"/>
                  </a:lnTo>
                  <a:lnTo>
                    <a:pt x="68" y="5"/>
                  </a:lnTo>
                  <a:lnTo>
                    <a:pt x="64" y="9"/>
                  </a:lnTo>
                  <a:lnTo>
                    <a:pt x="58" y="20"/>
                  </a:lnTo>
                  <a:lnTo>
                    <a:pt x="50" y="21"/>
                  </a:lnTo>
                  <a:lnTo>
                    <a:pt x="43" y="18"/>
                  </a:lnTo>
                  <a:lnTo>
                    <a:pt x="39" y="15"/>
                  </a:lnTo>
                  <a:lnTo>
                    <a:pt x="36" y="17"/>
                  </a:lnTo>
                  <a:lnTo>
                    <a:pt x="29" y="24"/>
                  </a:lnTo>
                  <a:lnTo>
                    <a:pt x="21" y="36"/>
                  </a:lnTo>
                  <a:lnTo>
                    <a:pt x="14" y="49"/>
                  </a:lnTo>
                  <a:lnTo>
                    <a:pt x="10" y="60"/>
                  </a:lnTo>
                  <a:lnTo>
                    <a:pt x="0" y="74"/>
                  </a:lnTo>
                  <a:lnTo>
                    <a:pt x="0" y="81"/>
                  </a:lnTo>
                  <a:lnTo>
                    <a:pt x="2" y="85"/>
                  </a:lnTo>
                  <a:lnTo>
                    <a:pt x="7" y="9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51" name="Freeform 46">
              <a:extLst>
                <a:ext uri="{FF2B5EF4-FFF2-40B4-BE49-F238E27FC236}">
                  <a16:creationId xmlns:a16="http://schemas.microsoft.com/office/drawing/2014/main" id="{D0D9E2F6-082D-E55A-7FFA-50D6EA17941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764088" y="4197720"/>
              <a:ext cx="232805" cy="288077"/>
            </a:xfrm>
            <a:custGeom>
              <a:avLst/>
              <a:gdLst>
                <a:gd name="T0" fmla="*/ 2147483647 w 435"/>
                <a:gd name="T1" fmla="*/ 2147483647 h 504"/>
                <a:gd name="T2" fmla="*/ 2147483647 w 435"/>
                <a:gd name="T3" fmla="*/ 2147483647 h 504"/>
                <a:gd name="T4" fmla="*/ 2147483647 w 435"/>
                <a:gd name="T5" fmla="*/ 0 h 504"/>
                <a:gd name="T6" fmla="*/ 2147483647 w 435"/>
                <a:gd name="T7" fmla="*/ 0 h 504"/>
                <a:gd name="T8" fmla="*/ 2147483647 w 435"/>
                <a:gd name="T9" fmla="*/ 0 h 504"/>
                <a:gd name="T10" fmla="*/ 2147483647 w 435"/>
                <a:gd name="T11" fmla="*/ 0 h 504"/>
                <a:gd name="T12" fmla="*/ 2147483647 w 435"/>
                <a:gd name="T13" fmla="*/ 0 h 504"/>
                <a:gd name="T14" fmla="*/ 2147483647 w 435"/>
                <a:gd name="T15" fmla="*/ 0 h 504"/>
                <a:gd name="T16" fmla="*/ 2147483647 w 435"/>
                <a:gd name="T17" fmla="*/ 0 h 504"/>
                <a:gd name="T18" fmla="*/ 2147483647 w 435"/>
                <a:gd name="T19" fmla="*/ 0 h 504"/>
                <a:gd name="T20" fmla="*/ 2147483647 w 435"/>
                <a:gd name="T21" fmla="*/ 0 h 504"/>
                <a:gd name="T22" fmla="*/ 2147483647 w 435"/>
                <a:gd name="T23" fmla="*/ 0 h 504"/>
                <a:gd name="T24" fmla="*/ 2147483647 w 435"/>
                <a:gd name="T25" fmla="*/ 0 h 504"/>
                <a:gd name="T26" fmla="*/ 2147483647 w 435"/>
                <a:gd name="T27" fmla="*/ 0 h 504"/>
                <a:gd name="T28" fmla="*/ 0 w 435"/>
                <a:gd name="T29" fmla="*/ 0 h 504"/>
                <a:gd name="T30" fmla="*/ 0 w 435"/>
                <a:gd name="T31" fmla="*/ 0 h 504"/>
                <a:gd name="T32" fmla="*/ 0 w 435"/>
                <a:gd name="T33" fmla="*/ 0 h 504"/>
                <a:gd name="T34" fmla="*/ 0 w 435"/>
                <a:gd name="T35" fmla="*/ 0 h 504"/>
                <a:gd name="T36" fmla="*/ 0 w 435"/>
                <a:gd name="T37" fmla="*/ 0 h 504"/>
                <a:gd name="T38" fmla="*/ 0 w 435"/>
                <a:gd name="T39" fmla="*/ 0 h 504"/>
                <a:gd name="T40" fmla="*/ 0 w 435"/>
                <a:gd name="T41" fmla="*/ 2147483647 h 504"/>
                <a:gd name="T42" fmla="*/ 0 w 435"/>
                <a:gd name="T43" fmla="*/ 2147483647 h 504"/>
                <a:gd name="T44" fmla="*/ 2147483647 w 435"/>
                <a:gd name="T45" fmla="*/ 2147483647 h 504"/>
                <a:gd name="T46" fmla="*/ 2147483647 w 435"/>
                <a:gd name="T47" fmla="*/ 2147483647 h 504"/>
                <a:gd name="T48" fmla="*/ 2147483647 w 435"/>
                <a:gd name="T49" fmla="*/ 2147483647 h 504"/>
                <a:gd name="T50" fmla="*/ 0 w 435"/>
                <a:gd name="T51" fmla="*/ 2147483647 h 504"/>
                <a:gd name="T52" fmla="*/ 0 w 435"/>
                <a:gd name="T53" fmla="*/ 2147483647 h 504"/>
                <a:gd name="T54" fmla="*/ 0 w 435"/>
                <a:gd name="T55" fmla="*/ 2147483647 h 504"/>
                <a:gd name="T56" fmla="*/ 0 w 435"/>
                <a:gd name="T57" fmla="*/ 2147483647 h 504"/>
                <a:gd name="T58" fmla="*/ 0 w 435"/>
                <a:gd name="T59" fmla="*/ 2147483647 h 504"/>
                <a:gd name="T60" fmla="*/ 0 w 435"/>
                <a:gd name="T61" fmla="*/ 2147483647 h 504"/>
                <a:gd name="T62" fmla="*/ 0 w 435"/>
                <a:gd name="T63" fmla="*/ 2147483647 h 504"/>
                <a:gd name="T64" fmla="*/ 0 w 435"/>
                <a:gd name="T65" fmla="*/ 2147483647 h 504"/>
                <a:gd name="T66" fmla="*/ 0 w 435"/>
                <a:gd name="T67" fmla="*/ 2147483647 h 504"/>
                <a:gd name="T68" fmla="*/ 2147483647 w 435"/>
                <a:gd name="T69" fmla="*/ 2147483647 h 504"/>
                <a:gd name="T70" fmla="*/ 2147483647 w 435"/>
                <a:gd name="T71" fmla="*/ 2147483647 h 504"/>
                <a:gd name="T72" fmla="*/ 2147483647 w 435"/>
                <a:gd name="T73" fmla="*/ 2147483647 h 504"/>
                <a:gd name="T74" fmla="*/ 2147483647 w 435"/>
                <a:gd name="T75" fmla="*/ 2147483647 h 504"/>
                <a:gd name="T76" fmla="*/ 2147483647 w 435"/>
                <a:gd name="T77" fmla="*/ 2147483647 h 504"/>
                <a:gd name="T78" fmla="*/ 2147483647 w 435"/>
                <a:gd name="T79" fmla="*/ 2147483647 h 504"/>
                <a:gd name="T80" fmla="*/ 2147483647 w 435"/>
                <a:gd name="T81" fmla="*/ 2147483647 h 504"/>
                <a:gd name="T82" fmla="*/ 2147483647 w 435"/>
                <a:gd name="T83" fmla="*/ 2147483647 h 504"/>
                <a:gd name="T84" fmla="*/ 2147483647 w 435"/>
                <a:gd name="T85" fmla="*/ 2147483647 h 504"/>
                <a:gd name="T86" fmla="*/ 2147483647 w 435"/>
                <a:gd name="T87" fmla="*/ 2147483647 h 504"/>
                <a:gd name="T88" fmla="*/ 2147483647 w 435"/>
                <a:gd name="T89" fmla="*/ 2147483647 h 504"/>
                <a:gd name="T90" fmla="*/ 2147483647 w 435"/>
                <a:gd name="T91" fmla="*/ 2147483647 h 504"/>
                <a:gd name="T92" fmla="*/ 2147483647 w 435"/>
                <a:gd name="T93" fmla="*/ 2147483647 h 504"/>
                <a:gd name="T94" fmla="*/ 2147483647 w 435"/>
                <a:gd name="T95" fmla="*/ 2147483647 h 504"/>
                <a:gd name="T96" fmla="*/ 2147483647 w 435"/>
                <a:gd name="T97" fmla="*/ 2147483647 h 5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35"/>
                <a:gd name="T148" fmla="*/ 0 h 504"/>
                <a:gd name="T149" fmla="*/ 435 w 435"/>
                <a:gd name="T150" fmla="*/ 504 h 50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35" h="504">
                  <a:moveTo>
                    <a:pt x="387" y="257"/>
                  </a:moveTo>
                  <a:lnTo>
                    <a:pt x="387" y="204"/>
                  </a:lnTo>
                  <a:lnTo>
                    <a:pt x="387" y="151"/>
                  </a:lnTo>
                  <a:lnTo>
                    <a:pt x="387" y="98"/>
                  </a:lnTo>
                  <a:lnTo>
                    <a:pt x="390" y="96"/>
                  </a:lnTo>
                  <a:lnTo>
                    <a:pt x="412" y="74"/>
                  </a:lnTo>
                  <a:lnTo>
                    <a:pt x="433" y="42"/>
                  </a:lnTo>
                  <a:lnTo>
                    <a:pt x="435" y="37"/>
                  </a:lnTo>
                  <a:lnTo>
                    <a:pt x="430" y="38"/>
                  </a:lnTo>
                  <a:lnTo>
                    <a:pt x="421" y="37"/>
                  </a:lnTo>
                  <a:lnTo>
                    <a:pt x="408" y="38"/>
                  </a:lnTo>
                  <a:lnTo>
                    <a:pt x="374" y="22"/>
                  </a:lnTo>
                  <a:lnTo>
                    <a:pt x="355" y="26"/>
                  </a:lnTo>
                  <a:lnTo>
                    <a:pt x="336" y="32"/>
                  </a:lnTo>
                  <a:lnTo>
                    <a:pt x="320" y="48"/>
                  </a:lnTo>
                  <a:lnTo>
                    <a:pt x="297" y="60"/>
                  </a:lnTo>
                  <a:lnTo>
                    <a:pt x="272" y="59"/>
                  </a:lnTo>
                  <a:lnTo>
                    <a:pt x="250" y="53"/>
                  </a:lnTo>
                  <a:lnTo>
                    <a:pt x="233" y="53"/>
                  </a:lnTo>
                  <a:lnTo>
                    <a:pt x="213" y="47"/>
                  </a:lnTo>
                  <a:lnTo>
                    <a:pt x="202" y="34"/>
                  </a:lnTo>
                  <a:lnTo>
                    <a:pt x="164" y="12"/>
                  </a:lnTo>
                  <a:lnTo>
                    <a:pt x="147" y="4"/>
                  </a:lnTo>
                  <a:lnTo>
                    <a:pt x="132" y="3"/>
                  </a:lnTo>
                  <a:lnTo>
                    <a:pt x="116" y="5"/>
                  </a:lnTo>
                  <a:lnTo>
                    <a:pt x="103" y="0"/>
                  </a:lnTo>
                  <a:lnTo>
                    <a:pt x="82" y="3"/>
                  </a:lnTo>
                  <a:lnTo>
                    <a:pt x="69" y="3"/>
                  </a:lnTo>
                  <a:lnTo>
                    <a:pt x="39" y="0"/>
                  </a:lnTo>
                  <a:lnTo>
                    <a:pt x="28" y="1"/>
                  </a:lnTo>
                  <a:lnTo>
                    <a:pt x="16" y="9"/>
                  </a:lnTo>
                  <a:lnTo>
                    <a:pt x="0" y="28"/>
                  </a:lnTo>
                  <a:lnTo>
                    <a:pt x="2" y="30"/>
                  </a:lnTo>
                  <a:lnTo>
                    <a:pt x="5" y="32"/>
                  </a:lnTo>
                  <a:lnTo>
                    <a:pt x="17" y="34"/>
                  </a:lnTo>
                  <a:lnTo>
                    <a:pt x="19" y="36"/>
                  </a:lnTo>
                  <a:lnTo>
                    <a:pt x="19" y="43"/>
                  </a:lnTo>
                  <a:lnTo>
                    <a:pt x="21" y="46"/>
                  </a:lnTo>
                  <a:lnTo>
                    <a:pt x="23" y="48"/>
                  </a:lnTo>
                  <a:lnTo>
                    <a:pt x="28" y="75"/>
                  </a:lnTo>
                  <a:lnTo>
                    <a:pt x="30" y="81"/>
                  </a:lnTo>
                  <a:lnTo>
                    <a:pt x="35" y="86"/>
                  </a:lnTo>
                  <a:lnTo>
                    <a:pt x="42" y="90"/>
                  </a:lnTo>
                  <a:lnTo>
                    <a:pt x="46" y="92"/>
                  </a:lnTo>
                  <a:lnTo>
                    <a:pt x="54" y="101"/>
                  </a:lnTo>
                  <a:lnTo>
                    <a:pt x="55" y="107"/>
                  </a:lnTo>
                  <a:lnTo>
                    <a:pt x="55" y="125"/>
                  </a:lnTo>
                  <a:lnTo>
                    <a:pt x="57" y="135"/>
                  </a:lnTo>
                  <a:lnTo>
                    <a:pt x="56" y="155"/>
                  </a:lnTo>
                  <a:lnTo>
                    <a:pt x="54" y="168"/>
                  </a:lnTo>
                  <a:lnTo>
                    <a:pt x="46" y="181"/>
                  </a:lnTo>
                  <a:lnTo>
                    <a:pt x="38" y="192"/>
                  </a:lnTo>
                  <a:lnTo>
                    <a:pt x="35" y="195"/>
                  </a:lnTo>
                  <a:lnTo>
                    <a:pt x="26" y="206"/>
                  </a:lnTo>
                  <a:lnTo>
                    <a:pt x="8" y="233"/>
                  </a:lnTo>
                  <a:lnTo>
                    <a:pt x="2" y="238"/>
                  </a:lnTo>
                  <a:lnTo>
                    <a:pt x="1" y="253"/>
                  </a:lnTo>
                  <a:lnTo>
                    <a:pt x="8" y="263"/>
                  </a:lnTo>
                  <a:lnTo>
                    <a:pt x="12" y="272"/>
                  </a:lnTo>
                  <a:lnTo>
                    <a:pt x="18" y="270"/>
                  </a:lnTo>
                  <a:lnTo>
                    <a:pt x="26" y="267"/>
                  </a:lnTo>
                  <a:lnTo>
                    <a:pt x="35" y="265"/>
                  </a:lnTo>
                  <a:lnTo>
                    <a:pt x="45" y="265"/>
                  </a:lnTo>
                  <a:lnTo>
                    <a:pt x="45" y="270"/>
                  </a:lnTo>
                  <a:lnTo>
                    <a:pt x="34" y="274"/>
                  </a:lnTo>
                  <a:lnTo>
                    <a:pt x="26" y="281"/>
                  </a:lnTo>
                  <a:lnTo>
                    <a:pt x="14" y="281"/>
                  </a:lnTo>
                  <a:lnTo>
                    <a:pt x="7" y="295"/>
                  </a:lnTo>
                  <a:lnTo>
                    <a:pt x="16" y="303"/>
                  </a:lnTo>
                  <a:lnTo>
                    <a:pt x="207" y="415"/>
                  </a:lnTo>
                  <a:lnTo>
                    <a:pt x="210" y="420"/>
                  </a:lnTo>
                  <a:lnTo>
                    <a:pt x="210" y="428"/>
                  </a:lnTo>
                  <a:lnTo>
                    <a:pt x="215" y="447"/>
                  </a:lnTo>
                  <a:lnTo>
                    <a:pt x="218" y="458"/>
                  </a:lnTo>
                  <a:lnTo>
                    <a:pt x="296" y="504"/>
                  </a:lnTo>
                  <a:lnTo>
                    <a:pt x="306" y="499"/>
                  </a:lnTo>
                  <a:lnTo>
                    <a:pt x="309" y="495"/>
                  </a:lnTo>
                  <a:lnTo>
                    <a:pt x="314" y="488"/>
                  </a:lnTo>
                  <a:lnTo>
                    <a:pt x="318" y="479"/>
                  </a:lnTo>
                  <a:lnTo>
                    <a:pt x="324" y="463"/>
                  </a:lnTo>
                  <a:lnTo>
                    <a:pt x="333" y="450"/>
                  </a:lnTo>
                  <a:lnTo>
                    <a:pt x="342" y="429"/>
                  </a:lnTo>
                  <a:lnTo>
                    <a:pt x="346" y="413"/>
                  </a:lnTo>
                  <a:lnTo>
                    <a:pt x="352" y="399"/>
                  </a:lnTo>
                  <a:lnTo>
                    <a:pt x="357" y="392"/>
                  </a:lnTo>
                  <a:lnTo>
                    <a:pt x="360" y="391"/>
                  </a:lnTo>
                  <a:lnTo>
                    <a:pt x="378" y="382"/>
                  </a:lnTo>
                  <a:lnTo>
                    <a:pt x="379" y="376"/>
                  </a:lnTo>
                  <a:lnTo>
                    <a:pt x="382" y="370"/>
                  </a:lnTo>
                  <a:lnTo>
                    <a:pt x="388" y="361"/>
                  </a:lnTo>
                  <a:lnTo>
                    <a:pt x="394" y="358"/>
                  </a:lnTo>
                  <a:lnTo>
                    <a:pt x="403" y="358"/>
                  </a:lnTo>
                  <a:lnTo>
                    <a:pt x="414" y="346"/>
                  </a:lnTo>
                  <a:lnTo>
                    <a:pt x="417" y="340"/>
                  </a:lnTo>
                  <a:lnTo>
                    <a:pt x="416" y="337"/>
                  </a:lnTo>
                  <a:lnTo>
                    <a:pt x="393" y="308"/>
                  </a:lnTo>
                  <a:lnTo>
                    <a:pt x="387" y="300"/>
                  </a:lnTo>
                  <a:lnTo>
                    <a:pt x="387" y="25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52" name="Freeform 47">
              <a:extLst>
                <a:ext uri="{FF2B5EF4-FFF2-40B4-BE49-F238E27FC236}">
                  <a16:creationId xmlns:a16="http://schemas.microsoft.com/office/drawing/2014/main" id="{146F5472-B941-ECA5-53B0-ED7A89179BE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259807" y="3816666"/>
              <a:ext cx="180573" cy="138704"/>
            </a:xfrm>
            <a:custGeom>
              <a:avLst/>
              <a:gdLst>
                <a:gd name="T0" fmla="*/ 0 w 344"/>
                <a:gd name="T1" fmla="*/ 2147483647 h 244"/>
                <a:gd name="T2" fmla="*/ 0 w 344"/>
                <a:gd name="T3" fmla="*/ 2147483647 h 244"/>
                <a:gd name="T4" fmla="*/ 0 w 344"/>
                <a:gd name="T5" fmla="*/ 2147483647 h 244"/>
                <a:gd name="T6" fmla="*/ 0 w 344"/>
                <a:gd name="T7" fmla="*/ 2147483647 h 244"/>
                <a:gd name="T8" fmla="*/ 0 w 344"/>
                <a:gd name="T9" fmla="*/ 2147483647 h 244"/>
                <a:gd name="T10" fmla="*/ 0 w 344"/>
                <a:gd name="T11" fmla="*/ 0 h 244"/>
                <a:gd name="T12" fmla="*/ 2147483647 w 344"/>
                <a:gd name="T13" fmla="*/ 0 h 244"/>
                <a:gd name="T14" fmla="*/ 2147483647 w 344"/>
                <a:gd name="T15" fmla="*/ 0 h 244"/>
                <a:gd name="T16" fmla="*/ 2147483647 w 344"/>
                <a:gd name="T17" fmla="*/ 0 h 244"/>
                <a:gd name="T18" fmla="*/ 2147483647 w 344"/>
                <a:gd name="T19" fmla="*/ 0 h 244"/>
                <a:gd name="T20" fmla="*/ 2147483647 w 344"/>
                <a:gd name="T21" fmla="*/ 0 h 244"/>
                <a:gd name="T22" fmla="*/ 2147483647 w 344"/>
                <a:gd name="T23" fmla="*/ 0 h 244"/>
                <a:gd name="T24" fmla="*/ 2147483647 w 344"/>
                <a:gd name="T25" fmla="*/ 0 h 244"/>
                <a:gd name="T26" fmla="*/ 2147483647 w 344"/>
                <a:gd name="T27" fmla="*/ 0 h 244"/>
                <a:gd name="T28" fmla="*/ 2147483647 w 344"/>
                <a:gd name="T29" fmla="*/ 0 h 244"/>
                <a:gd name="T30" fmla="*/ 2147483647 w 344"/>
                <a:gd name="T31" fmla="*/ 0 h 244"/>
                <a:gd name="T32" fmla="*/ 2147483647 w 344"/>
                <a:gd name="T33" fmla="*/ 0 h 244"/>
                <a:gd name="T34" fmla="*/ 2147483647 w 344"/>
                <a:gd name="T35" fmla="*/ 2147483647 h 244"/>
                <a:gd name="T36" fmla="*/ 2147483647 w 344"/>
                <a:gd name="T37" fmla="*/ 2147483647 h 244"/>
                <a:gd name="T38" fmla="*/ 2147483647 w 344"/>
                <a:gd name="T39" fmla="*/ 2147483647 h 244"/>
                <a:gd name="T40" fmla="*/ 2147483647 w 344"/>
                <a:gd name="T41" fmla="*/ 2147483647 h 244"/>
                <a:gd name="T42" fmla="*/ 2147483647 w 344"/>
                <a:gd name="T43" fmla="*/ 2147483647 h 244"/>
                <a:gd name="T44" fmla="*/ 2147483647 w 344"/>
                <a:gd name="T45" fmla="*/ 2147483647 h 244"/>
                <a:gd name="T46" fmla="*/ 2147483647 w 344"/>
                <a:gd name="T47" fmla="*/ 2147483647 h 244"/>
                <a:gd name="T48" fmla="*/ 2147483647 w 344"/>
                <a:gd name="T49" fmla="*/ 2147483647 h 244"/>
                <a:gd name="T50" fmla="*/ 2147483647 w 344"/>
                <a:gd name="T51" fmla="*/ 2147483647 h 244"/>
                <a:gd name="T52" fmla="*/ 2147483647 w 344"/>
                <a:gd name="T53" fmla="*/ 2147483647 h 244"/>
                <a:gd name="T54" fmla="*/ 2147483647 w 344"/>
                <a:gd name="T55" fmla="*/ 2147483647 h 244"/>
                <a:gd name="T56" fmla="*/ 2147483647 w 344"/>
                <a:gd name="T57" fmla="*/ 2147483647 h 244"/>
                <a:gd name="T58" fmla="*/ 2147483647 w 344"/>
                <a:gd name="T59" fmla="*/ 2147483647 h 244"/>
                <a:gd name="T60" fmla="*/ 2147483647 w 344"/>
                <a:gd name="T61" fmla="*/ 2147483647 h 244"/>
                <a:gd name="T62" fmla="*/ 2147483647 w 344"/>
                <a:gd name="T63" fmla="*/ 2147483647 h 244"/>
                <a:gd name="T64" fmla="*/ 2147483647 w 344"/>
                <a:gd name="T65" fmla="*/ 2147483647 h 244"/>
                <a:gd name="T66" fmla="*/ 2147483647 w 344"/>
                <a:gd name="T67" fmla="*/ 2147483647 h 244"/>
                <a:gd name="T68" fmla="*/ 2147483647 w 344"/>
                <a:gd name="T69" fmla="*/ 2147483647 h 244"/>
                <a:gd name="T70" fmla="*/ 2147483647 w 344"/>
                <a:gd name="T71" fmla="*/ 2147483647 h 244"/>
                <a:gd name="T72" fmla="*/ 0 w 344"/>
                <a:gd name="T73" fmla="*/ 2147483647 h 244"/>
                <a:gd name="T74" fmla="*/ 0 w 344"/>
                <a:gd name="T75" fmla="*/ 2147483647 h 244"/>
                <a:gd name="T76" fmla="*/ 0 w 344"/>
                <a:gd name="T77" fmla="*/ 2147483647 h 244"/>
                <a:gd name="T78" fmla="*/ 2147483647 w 344"/>
                <a:gd name="T79" fmla="*/ 2147483647 h 244"/>
                <a:gd name="T80" fmla="*/ 2147483647 w 344"/>
                <a:gd name="T81" fmla="*/ 2147483647 h 244"/>
                <a:gd name="T82" fmla="*/ 2147483647 w 344"/>
                <a:gd name="T83" fmla="*/ 2147483647 h 244"/>
                <a:gd name="T84" fmla="*/ 2147483647 w 344"/>
                <a:gd name="T85" fmla="*/ 2147483647 h 244"/>
                <a:gd name="T86" fmla="*/ 2147483647 w 344"/>
                <a:gd name="T87" fmla="*/ 2147483647 h 244"/>
                <a:gd name="T88" fmla="*/ 2147483647 w 344"/>
                <a:gd name="T89" fmla="*/ 2147483647 h 244"/>
                <a:gd name="T90" fmla="*/ 2147483647 w 344"/>
                <a:gd name="T91" fmla="*/ 2147483647 h 244"/>
                <a:gd name="T92" fmla="*/ 2147483647 w 344"/>
                <a:gd name="T93" fmla="*/ 2147483647 h 244"/>
                <a:gd name="T94" fmla="*/ 2147483647 w 344"/>
                <a:gd name="T95" fmla="*/ 2147483647 h 244"/>
                <a:gd name="T96" fmla="*/ 2147483647 w 344"/>
                <a:gd name="T97" fmla="*/ 2147483647 h 24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44"/>
                <a:gd name="T148" fmla="*/ 0 h 244"/>
                <a:gd name="T149" fmla="*/ 344 w 344"/>
                <a:gd name="T150" fmla="*/ 244 h 24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44" h="244">
                  <a:moveTo>
                    <a:pt x="55" y="174"/>
                  </a:moveTo>
                  <a:lnTo>
                    <a:pt x="54" y="174"/>
                  </a:lnTo>
                  <a:lnTo>
                    <a:pt x="50" y="168"/>
                  </a:lnTo>
                  <a:lnTo>
                    <a:pt x="43" y="160"/>
                  </a:lnTo>
                  <a:lnTo>
                    <a:pt x="41" y="147"/>
                  </a:lnTo>
                  <a:lnTo>
                    <a:pt x="39" y="144"/>
                  </a:lnTo>
                  <a:lnTo>
                    <a:pt x="33" y="138"/>
                  </a:lnTo>
                  <a:lnTo>
                    <a:pt x="28" y="129"/>
                  </a:lnTo>
                  <a:lnTo>
                    <a:pt x="18" y="119"/>
                  </a:lnTo>
                  <a:lnTo>
                    <a:pt x="14" y="112"/>
                  </a:lnTo>
                  <a:lnTo>
                    <a:pt x="9" y="112"/>
                  </a:lnTo>
                  <a:lnTo>
                    <a:pt x="7" y="113"/>
                  </a:lnTo>
                  <a:lnTo>
                    <a:pt x="4" y="117"/>
                  </a:lnTo>
                  <a:lnTo>
                    <a:pt x="1" y="112"/>
                  </a:lnTo>
                  <a:lnTo>
                    <a:pt x="0" y="109"/>
                  </a:lnTo>
                  <a:lnTo>
                    <a:pt x="1" y="107"/>
                  </a:lnTo>
                  <a:lnTo>
                    <a:pt x="6" y="107"/>
                  </a:lnTo>
                  <a:lnTo>
                    <a:pt x="17" y="103"/>
                  </a:lnTo>
                  <a:lnTo>
                    <a:pt x="31" y="91"/>
                  </a:lnTo>
                  <a:lnTo>
                    <a:pt x="35" y="86"/>
                  </a:lnTo>
                  <a:lnTo>
                    <a:pt x="40" y="77"/>
                  </a:lnTo>
                  <a:lnTo>
                    <a:pt x="55" y="56"/>
                  </a:lnTo>
                  <a:lnTo>
                    <a:pt x="56" y="50"/>
                  </a:lnTo>
                  <a:lnTo>
                    <a:pt x="56" y="33"/>
                  </a:lnTo>
                  <a:lnTo>
                    <a:pt x="57" y="32"/>
                  </a:lnTo>
                  <a:lnTo>
                    <a:pt x="61" y="29"/>
                  </a:lnTo>
                  <a:lnTo>
                    <a:pt x="65" y="22"/>
                  </a:lnTo>
                  <a:lnTo>
                    <a:pt x="70" y="9"/>
                  </a:lnTo>
                  <a:lnTo>
                    <a:pt x="73" y="9"/>
                  </a:lnTo>
                  <a:lnTo>
                    <a:pt x="76" y="7"/>
                  </a:lnTo>
                  <a:lnTo>
                    <a:pt x="83" y="9"/>
                  </a:lnTo>
                  <a:lnTo>
                    <a:pt x="92" y="9"/>
                  </a:lnTo>
                  <a:lnTo>
                    <a:pt x="102" y="11"/>
                  </a:lnTo>
                  <a:lnTo>
                    <a:pt x="109" y="10"/>
                  </a:lnTo>
                  <a:lnTo>
                    <a:pt x="111" y="7"/>
                  </a:lnTo>
                  <a:lnTo>
                    <a:pt x="122" y="5"/>
                  </a:lnTo>
                  <a:lnTo>
                    <a:pt x="131" y="6"/>
                  </a:lnTo>
                  <a:lnTo>
                    <a:pt x="133" y="5"/>
                  </a:lnTo>
                  <a:lnTo>
                    <a:pt x="133" y="1"/>
                  </a:lnTo>
                  <a:lnTo>
                    <a:pt x="135" y="1"/>
                  </a:lnTo>
                  <a:lnTo>
                    <a:pt x="141" y="1"/>
                  </a:lnTo>
                  <a:lnTo>
                    <a:pt x="146" y="0"/>
                  </a:lnTo>
                  <a:lnTo>
                    <a:pt x="152" y="2"/>
                  </a:lnTo>
                  <a:lnTo>
                    <a:pt x="168" y="2"/>
                  </a:lnTo>
                  <a:lnTo>
                    <a:pt x="169" y="4"/>
                  </a:lnTo>
                  <a:lnTo>
                    <a:pt x="174" y="2"/>
                  </a:lnTo>
                  <a:lnTo>
                    <a:pt x="176" y="7"/>
                  </a:lnTo>
                  <a:lnTo>
                    <a:pt x="183" y="9"/>
                  </a:lnTo>
                  <a:lnTo>
                    <a:pt x="194" y="17"/>
                  </a:lnTo>
                  <a:lnTo>
                    <a:pt x="195" y="23"/>
                  </a:lnTo>
                  <a:lnTo>
                    <a:pt x="202" y="31"/>
                  </a:lnTo>
                  <a:lnTo>
                    <a:pt x="206" y="29"/>
                  </a:lnTo>
                  <a:lnTo>
                    <a:pt x="212" y="28"/>
                  </a:lnTo>
                  <a:lnTo>
                    <a:pt x="212" y="32"/>
                  </a:lnTo>
                  <a:lnTo>
                    <a:pt x="216" y="33"/>
                  </a:lnTo>
                  <a:lnTo>
                    <a:pt x="221" y="29"/>
                  </a:lnTo>
                  <a:lnTo>
                    <a:pt x="223" y="29"/>
                  </a:lnTo>
                  <a:lnTo>
                    <a:pt x="233" y="44"/>
                  </a:lnTo>
                  <a:lnTo>
                    <a:pt x="238" y="54"/>
                  </a:lnTo>
                  <a:lnTo>
                    <a:pt x="238" y="58"/>
                  </a:lnTo>
                  <a:lnTo>
                    <a:pt x="242" y="59"/>
                  </a:lnTo>
                  <a:lnTo>
                    <a:pt x="245" y="64"/>
                  </a:lnTo>
                  <a:lnTo>
                    <a:pt x="245" y="66"/>
                  </a:lnTo>
                  <a:lnTo>
                    <a:pt x="248" y="68"/>
                  </a:lnTo>
                  <a:lnTo>
                    <a:pt x="251" y="66"/>
                  </a:lnTo>
                  <a:lnTo>
                    <a:pt x="253" y="66"/>
                  </a:lnTo>
                  <a:lnTo>
                    <a:pt x="255" y="74"/>
                  </a:lnTo>
                  <a:lnTo>
                    <a:pt x="258" y="75"/>
                  </a:lnTo>
                  <a:lnTo>
                    <a:pt x="260" y="79"/>
                  </a:lnTo>
                  <a:lnTo>
                    <a:pt x="256" y="80"/>
                  </a:lnTo>
                  <a:lnTo>
                    <a:pt x="256" y="81"/>
                  </a:lnTo>
                  <a:lnTo>
                    <a:pt x="261" y="82"/>
                  </a:lnTo>
                  <a:lnTo>
                    <a:pt x="264" y="86"/>
                  </a:lnTo>
                  <a:lnTo>
                    <a:pt x="267" y="88"/>
                  </a:lnTo>
                  <a:lnTo>
                    <a:pt x="271" y="88"/>
                  </a:lnTo>
                  <a:lnTo>
                    <a:pt x="277" y="91"/>
                  </a:lnTo>
                  <a:lnTo>
                    <a:pt x="280" y="95"/>
                  </a:lnTo>
                  <a:lnTo>
                    <a:pt x="281" y="99"/>
                  </a:lnTo>
                  <a:lnTo>
                    <a:pt x="283" y="101"/>
                  </a:lnTo>
                  <a:lnTo>
                    <a:pt x="289" y="103"/>
                  </a:lnTo>
                  <a:lnTo>
                    <a:pt x="296" y="109"/>
                  </a:lnTo>
                  <a:lnTo>
                    <a:pt x="298" y="112"/>
                  </a:lnTo>
                  <a:lnTo>
                    <a:pt x="299" y="115"/>
                  </a:lnTo>
                  <a:lnTo>
                    <a:pt x="297" y="123"/>
                  </a:lnTo>
                  <a:lnTo>
                    <a:pt x="297" y="129"/>
                  </a:lnTo>
                  <a:lnTo>
                    <a:pt x="299" y="129"/>
                  </a:lnTo>
                  <a:lnTo>
                    <a:pt x="301" y="133"/>
                  </a:lnTo>
                  <a:lnTo>
                    <a:pt x="302" y="133"/>
                  </a:lnTo>
                  <a:lnTo>
                    <a:pt x="305" y="136"/>
                  </a:lnTo>
                  <a:lnTo>
                    <a:pt x="307" y="144"/>
                  </a:lnTo>
                  <a:lnTo>
                    <a:pt x="307" y="150"/>
                  </a:lnTo>
                  <a:lnTo>
                    <a:pt x="309" y="156"/>
                  </a:lnTo>
                  <a:lnTo>
                    <a:pt x="310" y="160"/>
                  </a:lnTo>
                  <a:lnTo>
                    <a:pt x="305" y="167"/>
                  </a:lnTo>
                  <a:lnTo>
                    <a:pt x="305" y="169"/>
                  </a:lnTo>
                  <a:lnTo>
                    <a:pt x="313" y="181"/>
                  </a:lnTo>
                  <a:lnTo>
                    <a:pt x="315" y="187"/>
                  </a:lnTo>
                  <a:lnTo>
                    <a:pt x="316" y="188"/>
                  </a:lnTo>
                  <a:lnTo>
                    <a:pt x="320" y="188"/>
                  </a:lnTo>
                  <a:lnTo>
                    <a:pt x="323" y="185"/>
                  </a:lnTo>
                  <a:lnTo>
                    <a:pt x="328" y="185"/>
                  </a:lnTo>
                  <a:lnTo>
                    <a:pt x="328" y="189"/>
                  </a:lnTo>
                  <a:lnTo>
                    <a:pt x="331" y="193"/>
                  </a:lnTo>
                  <a:lnTo>
                    <a:pt x="332" y="197"/>
                  </a:lnTo>
                  <a:lnTo>
                    <a:pt x="335" y="199"/>
                  </a:lnTo>
                  <a:lnTo>
                    <a:pt x="337" y="204"/>
                  </a:lnTo>
                  <a:lnTo>
                    <a:pt x="341" y="209"/>
                  </a:lnTo>
                  <a:lnTo>
                    <a:pt x="342" y="212"/>
                  </a:lnTo>
                  <a:lnTo>
                    <a:pt x="341" y="212"/>
                  </a:lnTo>
                  <a:lnTo>
                    <a:pt x="340" y="214"/>
                  </a:lnTo>
                  <a:lnTo>
                    <a:pt x="342" y="217"/>
                  </a:lnTo>
                  <a:lnTo>
                    <a:pt x="342" y="221"/>
                  </a:lnTo>
                  <a:lnTo>
                    <a:pt x="339" y="225"/>
                  </a:lnTo>
                  <a:lnTo>
                    <a:pt x="340" y="232"/>
                  </a:lnTo>
                  <a:lnTo>
                    <a:pt x="344" y="236"/>
                  </a:lnTo>
                  <a:lnTo>
                    <a:pt x="344" y="238"/>
                  </a:lnTo>
                  <a:lnTo>
                    <a:pt x="341" y="239"/>
                  </a:lnTo>
                  <a:lnTo>
                    <a:pt x="331" y="239"/>
                  </a:lnTo>
                  <a:lnTo>
                    <a:pt x="325" y="242"/>
                  </a:lnTo>
                  <a:lnTo>
                    <a:pt x="321" y="242"/>
                  </a:lnTo>
                  <a:lnTo>
                    <a:pt x="310" y="241"/>
                  </a:lnTo>
                  <a:lnTo>
                    <a:pt x="308" y="242"/>
                  </a:lnTo>
                  <a:lnTo>
                    <a:pt x="301" y="242"/>
                  </a:lnTo>
                  <a:lnTo>
                    <a:pt x="293" y="244"/>
                  </a:lnTo>
                  <a:lnTo>
                    <a:pt x="287" y="244"/>
                  </a:lnTo>
                  <a:lnTo>
                    <a:pt x="282" y="242"/>
                  </a:lnTo>
                  <a:lnTo>
                    <a:pt x="278" y="242"/>
                  </a:lnTo>
                  <a:lnTo>
                    <a:pt x="271" y="239"/>
                  </a:lnTo>
                  <a:lnTo>
                    <a:pt x="264" y="239"/>
                  </a:lnTo>
                  <a:lnTo>
                    <a:pt x="258" y="233"/>
                  </a:lnTo>
                  <a:lnTo>
                    <a:pt x="255" y="235"/>
                  </a:lnTo>
                  <a:lnTo>
                    <a:pt x="255" y="238"/>
                  </a:lnTo>
                  <a:lnTo>
                    <a:pt x="248" y="237"/>
                  </a:lnTo>
                  <a:lnTo>
                    <a:pt x="248" y="231"/>
                  </a:lnTo>
                  <a:lnTo>
                    <a:pt x="245" y="228"/>
                  </a:lnTo>
                  <a:lnTo>
                    <a:pt x="237" y="227"/>
                  </a:lnTo>
                  <a:lnTo>
                    <a:pt x="231" y="228"/>
                  </a:lnTo>
                  <a:lnTo>
                    <a:pt x="226" y="225"/>
                  </a:lnTo>
                  <a:lnTo>
                    <a:pt x="212" y="224"/>
                  </a:lnTo>
                  <a:lnTo>
                    <a:pt x="162" y="224"/>
                  </a:lnTo>
                  <a:lnTo>
                    <a:pt x="159" y="225"/>
                  </a:lnTo>
                  <a:lnTo>
                    <a:pt x="135" y="225"/>
                  </a:lnTo>
                  <a:lnTo>
                    <a:pt x="122" y="231"/>
                  </a:lnTo>
                  <a:lnTo>
                    <a:pt x="111" y="236"/>
                  </a:lnTo>
                  <a:lnTo>
                    <a:pt x="102" y="238"/>
                  </a:lnTo>
                  <a:lnTo>
                    <a:pt x="72" y="237"/>
                  </a:lnTo>
                  <a:lnTo>
                    <a:pt x="68" y="239"/>
                  </a:lnTo>
                  <a:lnTo>
                    <a:pt x="57" y="244"/>
                  </a:lnTo>
                  <a:lnTo>
                    <a:pt x="50" y="244"/>
                  </a:lnTo>
                  <a:lnTo>
                    <a:pt x="46" y="243"/>
                  </a:lnTo>
                  <a:lnTo>
                    <a:pt x="45" y="241"/>
                  </a:lnTo>
                  <a:lnTo>
                    <a:pt x="43" y="242"/>
                  </a:lnTo>
                  <a:lnTo>
                    <a:pt x="44" y="241"/>
                  </a:lnTo>
                  <a:lnTo>
                    <a:pt x="41" y="239"/>
                  </a:lnTo>
                  <a:lnTo>
                    <a:pt x="43" y="205"/>
                  </a:lnTo>
                  <a:lnTo>
                    <a:pt x="47" y="199"/>
                  </a:lnTo>
                  <a:lnTo>
                    <a:pt x="86" y="195"/>
                  </a:lnTo>
                  <a:lnTo>
                    <a:pt x="94" y="195"/>
                  </a:lnTo>
                  <a:lnTo>
                    <a:pt x="95" y="195"/>
                  </a:lnTo>
                  <a:lnTo>
                    <a:pt x="98" y="188"/>
                  </a:lnTo>
                  <a:lnTo>
                    <a:pt x="103" y="187"/>
                  </a:lnTo>
                  <a:lnTo>
                    <a:pt x="106" y="188"/>
                  </a:lnTo>
                  <a:lnTo>
                    <a:pt x="119" y="187"/>
                  </a:lnTo>
                  <a:lnTo>
                    <a:pt x="127" y="183"/>
                  </a:lnTo>
                  <a:lnTo>
                    <a:pt x="131" y="178"/>
                  </a:lnTo>
                  <a:lnTo>
                    <a:pt x="133" y="177"/>
                  </a:lnTo>
                  <a:lnTo>
                    <a:pt x="140" y="178"/>
                  </a:lnTo>
                  <a:lnTo>
                    <a:pt x="143" y="182"/>
                  </a:lnTo>
                  <a:lnTo>
                    <a:pt x="151" y="184"/>
                  </a:lnTo>
                  <a:lnTo>
                    <a:pt x="159" y="189"/>
                  </a:lnTo>
                  <a:lnTo>
                    <a:pt x="167" y="190"/>
                  </a:lnTo>
                  <a:lnTo>
                    <a:pt x="175" y="194"/>
                  </a:lnTo>
                  <a:lnTo>
                    <a:pt x="183" y="194"/>
                  </a:lnTo>
                  <a:lnTo>
                    <a:pt x="185" y="195"/>
                  </a:lnTo>
                  <a:lnTo>
                    <a:pt x="191" y="192"/>
                  </a:lnTo>
                  <a:lnTo>
                    <a:pt x="203" y="189"/>
                  </a:lnTo>
                  <a:lnTo>
                    <a:pt x="207" y="185"/>
                  </a:lnTo>
                  <a:lnTo>
                    <a:pt x="207" y="182"/>
                  </a:lnTo>
                  <a:lnTo>
                    <a:pt x="207" y="177"/>
                  </a:lnTo>
                  <a:lnTo>
                    <a:pt x="206" y="177"/>
                  </a:lnTo>
                  <a:lnTo>
                    <a:pt x="203" y="177"/>
                  </a:lnTo>
                  <a:lnTo>
                    <a:pt x="200" y="176"/>
                  </a:lnTo>
                  <a:lnTo>
                    <a:pt x="195" y="176"/>
                  </a:lnTo>
                  <a:lnTo>
                    <a:pt x="191" y="177"/>
                  </a:lnTo>
                  <a:lnTo>
                    <a:pt x="180" y="182"/>
                  </a:lnTo>
                  <a:lnTo>
                    <a:pt x="175" y="181"/>
                  </a:lnTo>
                  <a:lnTo>
                    <a:pt x="169" y="178"/>
                  </a:lnTo>
                  <a:lnTo>
                    <a:pt x="165" y="172"/>
                  </a:lnTo>
                  <a:lnTo>
                    <a:pt x="164" y="171"/>
                  </a:lnTo>
                  <a:lnTo>
                    <a:pt x="152" y="171"/>
                  </a:lnTo>
                  <a:lnTo>
                    <a:pt x="146" y="163"/>
                  </a:lnTo>
                  <a:lnTo>
                    <a:pt x="140" y="162"/>
                  </a:lnTo>
                  <a:lnTo>
                    <a:pt x="137" y="161"/>
                  </a:lnTo>
                  <a:lnTo>
                    <a:pt x="131" y="162"/>
                  </a:lnTo>
                  <a:lnTo>
                    <a:pt x="126" y="165"/>
                  </a:lnTo>
                  <a:lnTo>
                    <a:pt x="120" y="163"/>
                  </a:lnTo>
                  <a:lnTo>
                    <a:pt x="115" y="168"/>
                  </a:lnTo>
                  <a:lnTo>
                    <a:pt x="111" y="174"/>
                  </a:lnTo>
                  <a:lnTo>
                    <a:pt x="55" y="17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53" name="Freeform 48">
              <a:extLst>
                <a:ext uri="{FF2B5EF4-FFF2-40B4-BE49-F238E27FC236}">
                  <a16:creationId xmlns:a16="http://schemas.microsoft.com/office/drawing/2014/main" id="{69678FEF-3A9B-4219-4B17-132C1AB7AAC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640223" y="4369956"/>
              <a:ext cx="319361" cy="333804"/>
            </a:xfrm>
            <a:custGeom>
              <a:avLst/>
              <a:gdLst>
                <a:gd name="T0" fmla="*/ 2147483647 w 596"/>
                <a:gd name="T1" fmla="*/ 2147483647 h 591"/>
                <a:gd name="T2" fmla="*/ 2147483647 w 596"/>
                <a:gd name="T3" fmla="*/ 2147483647 h 591"/>
                <a:gd name="T4" fmla="*/ 2147483647 w 596"/>
                <a:gd name="T5" fmla="*/ 2147483647 h 591"/>
                <a:gd name="T6" fmla="*/ 2147483647 w 596"/>
                <a:gd name="T7" fmla="*/ 2147483647 h 591"/>
                <a:gd name="T8" fmla="*/ 2147483647 w 596"/>
                <a:gd name="T9" fmla="*/ 2147483647 h 591"/>
                <a:gd name="T10" fmla="*/ 2147483647 w 596"/>
                <a:gd name="T11" fmla="*/ 2147483647 h 591"/>
                <a:gd name="T12" fmla="*/ 2147483647 w 596"/>
                <a:gd name="T13" fmla="*/ 2147483647 h 591"/>
                <a:gd name="T14" fmla="*/ 2147483647 w 596"/>
                <a:gd name="T15" fmla="*/ 2147483647 h 591"/>
                <a:gd name="T16" fmla="*/ 2147483647 w 596"/>
                <a:gd name="T17" fmla="*/ 2147483647 h 591"/>
                <a:gd name="T18" fmla="*/ 2147483647 w 596"/>
                <a:gd name="T19" fmla="*/ 2147483647 h 591"/>
                <a:gd name="T20" fmla="*/ 2147483647 w 596"/>
                <a:gd name="T21" fmla="*/ 2147483647 h 591"/>
                <a:gd name="T22" fmla="*/ 2147483647 w 596"/>
                <a:gd name="T23" fmla="*/ 2147483647 h 591"/>
                <a:gd name="T24" fmla="*/ 2147483647 w 596"/>
                <a:gd name="T25" fmla="*/ 2147483647 h 591"/>
                <a:gd name="T26" fmla="*/ 2147483647 w 596"/>
                <a:gd name="T27" fmla="*/ 2147483647 h 591"/>
                <a:gd name="T28" fmla="*/ 2147483647 w 596"/>
                <a:gd name="T29" fmla="*/ 2147483647 h 591"/>
                <a:gd name="T30" fmla="*/ 2147483647 w 596"/>
                <a:gd name="T31" fmla="*/ 2147483647 h 591"/>
                <a:gd name="T32" fmla="*/ 2147483647 w 596"/>
                <a:gd name="T33" fmla="*/ 2147483647 h 591"/>
                <a:gd name="T34" fmla="*/ 2147483647 w 596"/>
                <a:gd name="T35" fmla="*/ 2147483647 h 591"/>
                <a:gd name="T36" fmla="*/ 2147483647 w 596"/>
                <a:gd name="T37" fmla="*/ 2147483647 h 591"/>
                <a:gd name="T38" fmla="*/ 2147483647 w 596"/>
                <a:gd name="T39" fmla="*/ 2147483647 h 591"/>
                <a:gd name="T40" fmla="*/ 2147483647 w 596"/>
                <a:gd name="T41" fmla="*/ 2147483647 h 591"/>
                <a:gd name="T42" fmla="*/ 2147483647 w 596"/>
                <a:gd name="T43" fmla="*/ 2147483647 h 591"/>
                <a:gd name="T44" fmla="*/ 2147483647 w 596"/>
                <a:gd name="T45" fmla="*/ 2147483647 h 591"/>
                <a:gd name="T46" fmla="*/ 2147483647 w 596"/>
                <a:gd name="T47" fmla="*/ 2147483647 h 591"/>
                <a:gd name="T48" fmla="*/ 2147483647 w 596"/>
                <a:gd name="T49" fmla="*/ 2147483647 h 591"/>
                <a:gd name="T50" fmla="*/ 2147483647 w 596"/>
                <a:gd name="T51" fmla="*/ 2147483647 h 591"/>
                <a:gd name="T52" fmla="*/ 2147483647 w 596"/>
                <a:gd name="T53" fmla="*/ 2147483647 h 591"/>
                <a:gd name="T54" fmla="*/ 2147483647 w 596"/>
                <a:gd name="T55" fmla="*/ 2147483647 h 591"/>
                <a:gd name="T56" fmla="*/ 0 w 596"/>
                <a:gd name="T57" fmla="*/ 2147483647 h 591"/>
                <a:gd name="T58" fmla="*/ 0 w 596"/>
                <a:gd name="T59" fmla="*/ 2147483647 h 591"/>
                <a:gd name="T60" fmla="*/ 0 w 596"/>
                <a:gd name="T61" fmla="*/ 2147483647 h 591"/>
                <a:gd name="T62" fmla="*/ 0 w 596"/>
                <a:gd name="T63" fmla="*/ 2147483647 h 591"/>
                <a:gd name="T64" fmla="*/ 2147483647 w 596"/>
                <a:gd name="T65" fmla="*/ 2147483647 h 591"/>
                <a:gd name="T66" fmla="*/ 2147483647 w 596"/>
                <a:gd name="T67" fmla="*/ 2147483647 h 591"/>
                <a:gd name="T68" fmla="*/ 2147483647 w 596"/>
                <a:gd name="T69" fmla="*/ 2147483647 h 591"/>
                <a:gd name="T70" fmla="*/ 2147483647 w 596"/>
                <a:gd name="T71" fmla="*/ 0 h 591"/>
                <a:gd name="T72" fmla="*/ 2147483647 w 596"/>
                <a:gd name="T73" fmla="*/ 0 h 591"/>
                <a:gd name="T74" fmla="*/ 2147483647 w 596"/>
                <a:gd name="T75" fmla="*/ 0 h 591"/>
                <a:gd name="T76" fmla="*/ 2147483647 w 596"/>
                <a:gd name="T77" fmla="*/ 2147483647 h 591"/>
                <a:gd name="T78" fmla="*/ 2147483647 w 596"/>
                <a:gd name="T79" fmla="*/ 2147483647 h 591"/>
                <a:gd name="T80" fmla="*/ 2147483647 w 596"/>
                <a:gd name="T81" fmla="*/ 0 h 591"/>
                <a:gd name="T82" fmla="*/ 2147483647 w 596"/>
                <a:gd name="T83" fmla="*/ 2147483647 h 591"/>
                <a:gd name="T84" fmla="*/ 2147483647 w 596"/>
                <a:gd name="T85" fmla="*/ 2147483647 h 591"/>
                <a:gd name="T86" fmla="*/ 2147483647 w 596"/>
                <a:gd name="T87" fmla="*/ 2147483647 h 591"/>
                <a:gd name="T88" fmla="*/ 2147483647 w 596"/>
                <a:gd name="T89" fmla="*/ 0 h 591"/>
                <a:gd name="T90" fmla="*/ 2147483647 w 596"/>
                <a:gd name="T91" fmla="*/ 0 h 591"/>
                <a:gd name="T92" fmla="*/ 2147483647 w 596"/>
                <a:gd name="T93" fmla="*/ 0 h 591"/>
                <a:gd name="T94" fmla="*/ 2147483647 w 596"/>
                <a:gd name="T95" fmla="*/ 0 h 591"/>
                <a:gd name="T96" fmla="*/ 2147483647 w 596"/>
                <a:gd name="T97" fmla="*/ 0 h 59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96"/>
                <a:gd name="T148" fmla="*/ 0 h 591"/>
                <a:gd name="T149" fmla="*/ 596 w 596"/>
                <a:gd name="T150" fmla="*/ 591 h 59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96" h="591">
                  <a:moveTo>
                    <a:pt x="442" y="112"/>
                  </a:moveTo>
                  <a:lnTo>
                    <a:pt x="445" y="117"/>
                  </a:lnTo>
                  <a:lnTo>
                    <a:pt x="445" y="125"/>
                  </a:lnTo>
                  <a:lnTo>
                    <a:pt x="450" y="144"/>
                  </a:lnTo>
                  <a:lnTo>
                    <a:pt x="453" y="155"/>
                  </a:lnTo>
                  <a:lnTo>
                    <a:pt x="531" y="201"/>
                  </a:lnTo>
                  <a:lnTo>
                    <a:pt x="528" y="207"/>
                  </a:lnTo>
                  <a:lnTo>
                    <a:pt x="521" y="238"/>
                  </a:lnTo>
                  <a:lnTo>
                    <a:pt x="517" y="244"/>
                  </a:lnTo>
                  <a:lnTo>
                    <a:pt x="514" y="256"/>
                  </a:lnTo>
                  <a:lnTo>
                    <a:pt x="504" y="281"/>
                  </a:lnTo>
                  <a:lnTo>
                    <a:pt x="505" y="292"/>
                  </a:lnTo>
                  <a:lnTo>
                    <a:pt x="507" y="298"/>
                  </a:lnTo>
                  <a:lnTo>
                    <a:pt x="523" y="309"/>
                  </a:lnTo>
                  <a:lnTo>
                    <a:pt x="530" y="317"/>
                  </a:lnTo>
                  <a:lnTo>
                    <a:pt x="538" y="325"/>
                  </a:lnTo>
                  <a:lnTo>
                    <a:pt x="544" y="336"/>
                  </a:lnTo>
                  <a:lnTo>
                    <a:pt x="544" y="341"/>
                  </a:lnTo>
                  <a:lnTo>
                    <a:pt x="542" y="342"/>
                  </a:lnTo>
                  <a:lnTo>
                    <a:pt x="537" y="349"/>
                  </a:lnTo>
                  <a:lnTo>
                    <a:pt x="536" y="362"/>
                  </a:lnTo>
                  <a:lnTo>
                    <a:pt x="533" y="368"/>
                  </a:lnTo>
                  <a:lnTo>
                    <a:pt x="537" y="374"/>
                  </a:lnTo>
                  <a:lnTo>
                    <a:pt x="536" y="380"/>
                  </a:lnTo>
                  <a:lnTo>
                    <a:pt x="538" y="385"/>
                  </a:lnTo>
                  <a:lnTo>
                    <a:pt x="537" y="395"/>
                  </a:lnTo>
                  <a:lnTo>
                    <a:pt x="531" y="395"/>
                  </a:lnTo>
                  <a:lnTo>
                    <a:pt x="528" y="402"/>
                  </a:lnTo>
                  <a:lnTo>
                    <a:pt x="531" y="412"/>
                  </a:lnTo>
                  <a:lnTo>
                    <a:pt x="537" y="425"/>
                  </a:lnTo>
                  <a:lnTo>
                    <a:pt x="542" y="429"/>
                  </a:lnTo>
                  <a:lnTo>
                    <a:pt x="542" y="432"/>
                  </a:lnTo>
                  <a:lnTo>
                    <a:pt x="538" y="435"/>
                  </a:lnTo>
                  <a:lnTo>
                    <a:pt x="550" y="455"/>
                  </a:lnTo>
                  <a:lnTo>
                    <a:pt x="552" y="460"/>
                  </a:lnTo>
                  <a:lnTo>
                    <a:pt x="550" y="467"/>
                  </a:lnTo>
                  <a:lnTo>
                    <a:pt x="555" y="472"/>
                  </a:lnTo>
                  <a:lnTo>
                    <a:pt x="558" y="478"/>
                  </a:lnTo>
                  <a:lnTo>
                    <a:pt x="558" y="484"/>
                  </a:lnTo>
                  <a:lnTo>
                    <a:pt x="561" y="488"/>
                  </a:lnTo>
                  <a:lnTo>
                    <a:pt x="561" y="497"/>
                  </a:lnTo>
                  <a:lnTo>
                    <a:pt x="573" y="503"/>
                  </a:lnTo>
                  <a:lnTo>
                    <a:pt x="577" y="513"/>
                  </a:lnTo>
                  <a:lnTo>
                    <a:pt x="587" y="514"/>
                  </a:lnTo>
                  <a:lnTo>
                    <a:pt x="592" y="518"/>
                  </a:lnTo>
                  <a:lnTo>
                    <a:pt x="595" y="519"/>
                  </a:lnTo>
                  <a:lnTo>
                    <a:pt x="596" y="525"/>
                  </a:lnTo>
                  <a:lnTo>
                    <a:pt x="593" y="526"/>
                  </a:lnTo>
                  <a:lnTo>
                    <a:pt x="579" y="536"/>
                  </a:lnTo>
                  <a:lnTo>
                    <a:pt x="564" y="550"/>
                  </a:lnTo>
                  <a:lnTo>
                    <a:pt x="560" y="552"/>
                  </a:lnTo>
                  <a:lnTo>
                    <a:pt x="541" y="557"/>
                  </a:lnTo>
                  <a:lnTo>
                    <a:pt x="507" y="569"/>
                  </a:lnTo>
                  <a:lnTo>
                    <a:pt x="499" y="570"/>
                  </a:lnTo>
                  <a:lnTo>
                    <a:pt x="489" y="570"/>
                  </a:lnTo>
                  <a:lnTo>
                    <a:pt x="476" y="564"/>
                  </a:lnTo>
                  <a:lnTo>
                    <a:pt x="467" y="567"/>
                  </a:lnTo>
                  <a:lnTo>
                    <a:pt x="453" y="568"/>
                  </a:lnTo>
                  <a:lnTo>
                    <a:pt x="440" y="581"/>
                  </a:lnTo>
                  <a:lnTo>
                    <a:pt x="436" y="583"/>
                  </a:lnTo>
                  <a:lnTo>
                    <a:pt x="429" y="583"/>
                  </a:lnTo>
                  <a:lnTo>
                    <a:pt x="398" y="581"/>
                  </a:lnTo>
                  <a:lnTo>
                    <a:pt x="387" y="589"/>
                  </a:lnTo>
                  <a:lnTo>
                    <a:pt x="378" y="589"/>
                  </a:lnTo>
                  <a:lnTo>
                    <a:pt x="371" y="591"/>
                  </a:lnTo>
                  <a:lnTo>
                    <a:pt x="366" y="590"/>
                  </a:lnTo>
                  <a:lnTo>
                    <a:pt x="361" y="588"/>
                  </a:lnTo>
                  <a:lnTo>
                    <a:pt x="355" y="580"/>
                  </a:lnTo>
                  <a:lnTo>
                    <a:pt x="348" y="578"/>
                  </a:lnTo>
                  <a:lnTo>
                    <a:pt x="340" y="578"/>
                  </a:lnTo>
                  <a:lnTo>
                    <a:pt x="334" y="583"/>
                  </a:lnTo>
                  <a:lnTo>
                    <a:pt x="331" y="584"/>
                  </a:lnTo>
                  <a:lnTo>
                    <a:pt x="290" y="583"/>
                  </a:lnTo>
                  <a:lnTo>
                    <a:pt x="290" y="579"/>
                  </a:lnTo>
                  <a:lnTo>
                    <a:pt x="285" y="570"/>
                  </a:lnTo>
                  <a:lnTo>
                    <a:pt x="280" y="567"/>
                  </a:lnTo>
                  <a:lnTo>
                    <a:pt x="275" y="559"/>
                  </a:lnTo>
                  <a:lnTo>
                    <a:pt x="274" y="557"/>
                  </a:lnTo>
                  <a:lnTo>
                    <a:pt x="275" y="538"/>
                  </a:lnTo>
                  <a:lnTo>
                    <a:pt x="270" y="531"/>
                  </a:lnTo>
                  <a:lnTo>
                    <a:pt x="269" y="513"/>
                  </a:lnTo>
                  <a:lnTo>
                    <a:pt x="264" y="494"/>
                  </a:lnTo>
                  <a:lnTo>
                    <a:pt x="261" y="487"/>
                  </a:lnTo>
                  <a:lnTo>
                    <a:pt x="249" y="476"/>
                  </a:lnTo>
                  <a:lnTo>
                    <a:pt x="237" y="472"/>
                  </a:lnTo>
                  <a:lnTo>
                    <a:pt x="232" y="480"/>
                  </a:lnTo>
                  <a:lnTo>
                    <a:pt x="230" y="476"/>
                  </a:lnTo>
                  <a:lnTo>
                    <a:pt x="229" y="473"/>
                  </a:lnTo>
                  <a:lnTo>
                    <a:pt x="226" y="472"/>
                  </a:lnTo>
                  <a:lnTo>
                    <a:pt x="221" y="472"/>
                  </a:lnTo>
                  <a:lnTo>
                    <a:pt x="210" y="476"/>
                  </a:lnTo>
                  <a:lnTo>
                    <a:pt x="208" y="475"/>
                  </a:lnTo>
                  <a:lnTo>
                    <a:pt x="203" y="468"/>
                  </a:lnTo>
                  <a:lnTo>
                    <a:pt x="193" y="470"/>
                  </a:lnTo>
                  <a:lnTo>
                    <a:pt x="182" y="462"/>
                  </a:lnTo>
                  <a:lnTo>
                    <a:pt x="178" y="459"/>
                  </a:lnTo>
                  <a:lnTo>
                    <a:pt x="176" y="456"/>
                  </a:lnTo>
                  <a:lnTo>
                    <a:pt x="165" y="456"/>
                  </a:lnTo>
                  <a:lnTo>
                    <a:pt x="154" y="452"/>
                  </a:lnTo>
                  <a:lnTo>
                    <a:pt x="125" y="440"/>
                  </a:lnTo>
                  <a:lnTo>
                    <a:pt x="117" y="438"/>
                  </a:lnTo>
                  <a:lnTo>
                    <a:pt x="109" y="434"/>
                  </a:lnTo>
                  <a:lnTo>
                    <a:pt x="105" y="427"/>
                  </a:lnTo>
                  <a:lnTo>
                    <a:pt x="95" y="418"/>
                  </a:lnTo>
                  <a:lnTo>
                    <a:pt x="87" y="416"/>
                  </a:lnTo>
                  <a:lnTo>
                    <a:pt x="81" y="417"/>
                  </a:lnTo>
                  <a:lnTo>
                    <a:pt x="70" y="398"/>
                  </a:lnTo>
                  <a:lnTo>
                    <a:pt x="65" y="386"/>
                  </a:lnTo>
                  <a:lnTo>
                    <a:pt x="58" y="374"/>
                  </a:lnTo>
                  <a:lnTo>
                    <a:pt x="49" y="352"/>
                  </a:lnTo>
                  <a:lnTo>
                    <a:pt x="50" y="338"/>
                  </a:lnTo>
                  <a:lnTo>
                    <a:pt x="49" y="328"/>
                  </a:lnTo>
                  <a:lnTo>
                    <a:pt x="31" y="310"/>
                  </a:lnTo>
                  <a:lnTo>
                    <a:pt x="9" y="298"/>
                  </a:lnTo>
                  <a:lnTo>
                    <a:pt x="6" y="284"/>
                  </a:lnTo>
                  <a:lnTo>
                    <a:pt x="11" y="278"/>
                  </a:lnTo>
                  <a:lnTo>
                    <a:pt x="15" y="272"/>
                  </a:lnTo>
                  <a:lnTo>
                    <a:pt x="11" y="258"/>
                  </a:lnTo>
                  <a:lnTo>
                    <a:pt x="9" y="246"/>
                  </a:lnTo>
                  <a:lnTo>
                    <a:pt x="9" y="231"/>
                  </a:lnTo>
                  <a:lnTo>
                    <a:pt x="5" y="225"/>
                  </a:lnTo>
                  <a:lnTo>
                    <a:pt x="1" y="222"/>
                  </a:lnTo>
                  <a:lnTo>
                    <a:pt x="0" y="206"/>
                  </a:lnTo>
                  <a:lnTo>
                    <a:pt x="0" y="187"/>
                  </a:lnTo>
                  <a:lnTo>
                    <a:pt x="3" y="186"/>
                  </a:lnTo>
                  <a:lnTo>
                    <a:pt x="14" y="183"/>
                  </a:lnTo>
                  <a:lnTo>
                    <a:pt x="28" y="179"/>
                  </a:lnTo>
                  <a:lnTo>
                    <a:pt x="39" y="159"/>
                  </a:lnTo>
                  <a:lnTo>
                    <a:pt x="44" y="153"/>
                  </a:lnTo>
                  <a:lnTo>
                    <a:pt x="50" y="139"/>
                  </a:lnTo>
                  <a:lnTo>
                    <a:pt x="60" y="127"/>
                  </a:lnTo>
                  <a:lnTo>
                    <a:pt x="64" y="121"/>
                  </a:lnTo>
                  <a:lnTo>
                    <a:pt x="64" y="113"/>
                  </a:lnTo>
                  <a:lnTo>
                    <a:pt x="62" y="107"/>
                  </a:lnTo>
                  <a:lnTo>
                    <a:pt x="58" y="104"/>
                  </a:lnTo>
                  <a:lnTo>
                    <a:pt x="52" y="102"/>
                  </a:lnTo>
                  <a:lnTo>
                    <a:pt x="48" y="99"/>
                  </a:lnTo>
                  <a:lnTo>
                    <a:pt x="48" y="95"/>
                  </a:lnTo>
                  <a:lnTo>
                    <a:pt x="48" y="89"/>
                  </a:lnTo>
                  <a:lnTo>
                    <a:pt x="49" y="83"/>
                  </a:lnTo>
                  <a:lnTo>
                    <a:pt x="54" y="78"/>
                  </a:lnTo>
                  <a:lnTo>
                    <a:pt x="65" y="63"/>
                  </a:lnTo>
                  <a:lnTo>
                    <a:pt x="68" y="53"/>
                  </a:lnTo>
                  <a:lnTo>
                    <a:pt x="66" y="46"/>
                  </a:lnTo>
                  <a:lnTo>
                    <a:pt x="62" y="31"/>
                  </a:lnTo>
                  <a:lnTo>
                    <a:pt x="49" y="10"/>
                  </a:lnTo>
                  <a:lnTo>
                    <a:pt x="44" y="3"/>
                  </a:lnTo>
                  <a:lnTo>
                    <a:pt x="66" y="5"/>
                  </a:lnTo>
                  <a:lnTo>
                    <a:pt x="73" y="2"/>
                  </a:lnTo>
                  <a:lnTo>
                    <a:pt x="73" y="0"/>
                  </a:lnTo>
                  <a:lnTo>
                    <a:pt x="118" y="0"/>
                  </a:lnTo>
                  <a:lnTo>
                    <a:pt x="119" y="7"/>
                  </a:lnTo>
                  <a:lnTo>
                    <a:pt x="118" y="26"/>
                  </a:lnTo>
                  <a:lnTo>
                    <a:pt x="114" y="40"/>
                  </a:lnTo>
                  <a:lnTo>
                    <a:pt x="113" y="61"/>
                  </a:lnTo>
                  <a:lnTo>
                    <a:pt x="118" y="83"/>
                  </a:lnTo>
                  <a:lnTo>
                    <a:pt x="117" y="90"/>
                  </a:lnTo>
                  <a:lnTo>
                    <a:pt x="122" y="99"/>
                  </a:lnTo>
                  <a:lnTo>
                    <a:pt x="129" y="95"/>
                  </a:lnTo>
                  <a:lnTo>
                    <a:pt x="133" y="88"/>
                  </a:lnTo>
                  <a:lnTo>
                    <a:pt x="139" y="86"/>
                  </a:lnTo>
                  <a:lnTo>
                    <a:pt x="138" y="78"/>
                  </a:lnTo>
                  <a:lnTo>
                    <a:pt x="143" y="72"/>
                  </a:lnTo>
                  <a:lnTo>
                    <a:pt x="148" y="75"/>
                  </a:lnTo>
                  <a:lnTo>
                    <a:pt x="157" y="85"/>
                  </a:lnTo>
                  <a:lnTo>
                    <a:pt x="163" y="90"/>
                  </a:lnTo>
                  <a:lnTo>
                    <a:pt x="170" y="86"/>
                  </a:lnTo>
                  <a:lnTo>
                    <a:pt x="173" y="86"/>
                  </a:lnTo>
                  <a:lnTo>
                    <a:pt x="176" y="107"/>
                  </a:lnTo>
                  <a:lnTo>
                    <a:pt x="183" y="101"/>
                  </a:lnTo>
                  <a:lnTo>
                    <a:pt x="182" y="94"/>
                  </a:lnTo>
                  <a:lnTo>
                    <a:pt x="186" y="84"/>
                  </a:lnTo>
                  <a:lnTo>
                    <a:pt x="189" y="83"/>
                  </a:lnTo>
                  <a:lnTo>
                    <a:pt x="200" y="83"/>
                  </a:lnTo>
                  <a:lnTo>
                    <a:pt x="205" y="83"/>
                  </a:lnTo>
                  <a:lnTo>
                    <a:pt x="214" y="79"/>
                  </a:lnTo>
                  <a:lnTo>
                    <a:pt x="225" y="72"/>
                  </a:lnTo>
                  <a:lnTo>
                    <a:pt x="226" y="69"/>
                  </a:lnTo>
                  <a:lnTo>
                    <a:pt x="224" y="64"/>
                  </a:lnTo>
                  <a:lnTo>
                    <a:pt x="209" y="66"/>
                  </a:lnTo>
                  <a:lnTo>
                    <a:pt x="200" y="62"/>
                  </a:lnTo>
                  <a:lnTo>
                    <a:pt x="202" y="58"/>
                  </a:lnTo>
                  <a:lnTo>
                    <a:pt x="211" y="52"/>
                  </a:lnTo>
                  <a:lnTo>
                    <a:pt x="209" y="48"/>
                  </a:lnTo>
                  <a:lnTo>
                    <a:pt x="211" y="46"/>
                  </a:lnTo>
                  <a:lnTo>
                    <a:pt x="219" y="46"/>
                  </a:lnTo>
                  <a:lnTo>
                    <a:pt x="220" y="42"/>
                  </a:lnTo>
                  <a:lnTo>
                    <a:pt x="225" y="35"/>
                  </a:lnTo>
                  <a:lnTo>
                    <a:pt x="226" y="30"/>
                  </a:lnTo>
                  <a:lnTo>
                    <a:pt x="231" y="29"/>
                  </a:lnTo>
                  <a:lnTo>
                    <a:pt x="234" y="20"/>
                  </a:lnTo>
                  <a:lnTo>
                    <a:pt x="238" y="21"/>
                  </a:lnTo>
                  <a:lnTo>
                    <a:pt x="240" y="18"/>
                  </a:lnTo>
                  <a:lnTo>
                    <a:pt x="236" y="12"/>
                  </a:lnTo>
                  <a:lnTo>
                    <a:pt x="240" y="5"/>
                  </a:lnTo>
                  <a:lnTo>
                    <a:pt x="251" y="0"/>
                  </a:lnTo>
                  <a:lnTo>
                    <a:pt x="442" y="11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54" name="Freeform 49">
              <a:extLst>
                <a:ext uri="{FF2B5EF4-FFF2-40B4-BE49-F238E27FC236}">
                  <a16:creationId xmlns:a16="http://schemas.microsoft.com/office/drawing/2014/main" id="{17833F0E-0E0D-B533-6FA3-D71D8526B30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382179" y="4028531"/>
              <a:ext cx="88048" cy="92977"/>
            </a:xfrm>
            <a:custGeom>
              <a:avLst/>
              <a:gdLst>
                <a:gd name="T0" fmla="*/ 0 w 167"/>
                <a:gd name="T1" fmla="*/ 0 h 166"/>
                <a:gd name="T2" fmla="*/ 0 w 167"/>
                <a:gd name="T3" fmla="*/ 0 h 166"/>
                <a:gd name="T4" fmla="*/ 0 w 167"/>
                <a:gd name="T5" fmla="*/ 0 h 166"/>
                <a:gd name="T6" fmla="*/ 0 w 167"/>
                <a:gd name="T7" fmla="*/ 0 h 166"/>
                <a:gd name="T8" fmla="*/ 0 w 167"/>
                <a:gd name="T9" fmla="*/ 0 h 166"/>
                <a:gd name="T10" fmla="*/ 0 w 167"/>
                <a:gd name="T11" fmla="*/ 0 h 166"/>
                <a:gd name="T12" fmla="*/ 0 w 167"/>
                <a:gd name="T13" fmla="*/ 0 h 166"/>
                <a:gd name="T14" fmla="*/ 0 w 167"/>
                <a:gd name="T15" fmla="*/ 0 h 166"/>
                <a:gd name="T16" fmla="*/ 2147483647 w 167"/>
                <a:gd name="T17" fmla="*/ 0 h 166"/>
                <a:gd name="T18" fmla="*/ 2147483647 w 167"/>
                <a:gd name="T19" fmla="*/ 0 h 166"/>
                <a:gd name="T20" fmla="*/ 2147483647 w 167"/>
                <a:gd name="T21" fmla="*/ 0 h 166"/>
                <a:gd name="T22" fmla="*/ 2147483647 w 167"/>
                <a:gd name="T23" fmla="*/ 0 h 166"/>
                <a:gd name="T24" fmla="*/ 2147483647 w 167"/>
                <a:gd name="T25" fmla="*/ 0 h 166"/>
                <a:gd name="T26" fmla="*/ 2147483647 w 167"/>
                <a:gd name="T27" fmla="*/ 0 h 166"/>
                <a:gd name="T28" fmla="*/ 2147483647 w 167"/>
                <a:gd name="T29" fmla="*/ 0 h 166"/>
                <a:gd name="T30" fmla="*/ 2147483647 w 167"/>
                <a:gd name="T31" fmla="*/ 0 h 166"/>
                <a:gd name="T32" fmla="*/ 2147483647 w 167"/>
                <a:gd name="T33" fmla="*/ 0 h 166"/>
                <a:gd name="T34" fmla="*/ 2147483647 w 167"/>
                <a:gd name="T35" fmla="*/ 0 h 166"/>
                <a:gd name="T36" fmla="*/ 2147483647 w 167"/>
                <a:gd name="T37" fmla="*/ 0 h 166"/>
                <a:gd name="T38" fmla="*/ 2147483647 w 167"/>
                <a:gd name="T39" fmla="*/ 0 h 166"/>
                <a:gd name="T40" fmla="*/ 2147483647 w 167"/>
                <a:gd name="T41" fmla="*/ 0 h 166"/>
                <a:gd name="T42" fmla="*/ 2147483647 w 167"/>
                <a:gd name="T43" fmla="*/ 2147483647 h 166"/>
                <a:gd name="T44" fmla="*/ 2147483647 w 167"/>
                <a:gd name="T45" fmla="*/ 2147483647 h 166"/>
                <a:gd name="T46" fmla="*/ 2147483647 w 167"/>
                <a:gd name="T47" fmla="*/ 2147483647 h 166"/>
                <a:gd name="T48" fmla="*/ 2147483647 w 167"/>
                <a:gd name="T49" fmla="*/ 2147483647 h 166"/>
                <a:gd name="T50" fmla="*/ 2147483647 w 167"/>
                <a:gd name="T51" fmla="*/ 2147483647 h 166"/>
                <a:gd name="T52" fmla="*/ 2147483647 w 167"/>
                <a:gd name="T53" fmla="*/ 2147483647 h 166"/>
                <a:gd name="T54" fmla="*/ 2147483647 w 167"/>
                <a:gd name="T55" fmla="*/ 2147483647 h 166"/>
                <a:gd name="T56" fmla="*/ 2147483647 w 167"/>
                <a:gd name="T57" fmla="*/ 2147483647 h 166"/>
                <a:gd name="T58" fmla="*/ 2147483647 w 167"/>
                <a:gd name="T59" fmla="*/ 2147483647 h 166"/>
                <a:gd name="T60" fmla="*/ 2147483647 w 167"/>
                <a:gd name="T61" fmla="*/ 2147483647 h 166"/>
                <a:gd name="T62" fmla="*/ 2147483647 w 167"/>
                <a:gd name="T63" fmla="*/ 2147483647 h 166"/>
                <a:gd name="T64" fmla="*/ 2147483647 w 167"/>
                <a:gd name="T65" fmla="*/ 2147483647 h 166"/>
                <a:gd name="T66" fmla="*/ 2147483647 w 167"/>
                <a:gd name="T67" fmla="*/ 2147483647 h 166"/>
                <a:gd name="T68" fmla="*/ 2147483647 w 167"/>
                <a:gd name="T69" fmla="*/ 2147483647 h 166"/>
                <a:gd name="T70" fmla="*/ 2147483647 w 167"/>
                <a:gd name="T71" fmla="*/ 2147483647 h 166"/>
                <a:gd name="T72" fmla="*/ 0 w 167"/>
                <a:gd name="T73" fmla="*/ 2147483647 h 166"/>
                <a:gd name="T74" fmla="*/ 0 w 167"/>
                <a:gd name="T75" fmla="*/ 2147483647 h 166"/>
                <a:gd name="T76" fmla="*/ 0 w 167"/>
                <a:gd name="T77" fmla="*/ 2147483647 h 166"/>
                <a:gd name="T78" fmla="*/ 0 w 167"/>
                <a:gd name="T79" fmla="*/ 2147483647 h 166"/>
                <a:gd name="T80" fmla="*/ 0 w 167"/>
                <a:gd name="T81" fmla="*/ 2147483647 h 166"/>
                <a:gd name="T82" fmla="*/ 0 w 167"/>
                <a:gd name="T83" fmla="*/ 2147483647 h 166"/>
                <a:gd name="T84" fmla="*/ 0 w 167"/>
                <a:gd name="T85" fmla="*/ 2147483647 h 166"/>
                <a:gd name="T86" fmla="*/ 0 w 167"/>
                <a:gd name="T87" fmla="*/ 2147483647 h 166"/>
                <a:gd name="T88" fmla="*/ 0 w 167"/>
                <a:gd name="T89" fmla="*/ 2147483647 h 166"/>
                <a:gd name="T90" fmla="*/ 0 w 167"/>
                <a:gd name="T91" fmla="*/ 2147483647 h 166"/>
                <a:gd name="T92" fmla="*/ 0 w 167"/>
                <a:gd name="T93" fmla="*/ 2147483647 h 166"/>
                <a:gd name="T94" fmla="*/ 0 w 167"/>
                <a:gd name="T95" fmla="*/ 0 h 166"/>
                <a:gd name="T96" fmla="*/ 0 w 167"/>
                <a:gd name="T97" fmla="*/ 0 h 166"/>
                <a:gd name="T98" fmla="*/ 0 w 167"/>
                <a:gd name="T99" fmla="*/ 0 h 16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67"/>
                <a:gd name="T151" fmla="*/ 0 h 166"/>
                <a:gd name="T152" fmla="*/ 167 w 167"/>
                <a:gd name="T153" fmla="*/ 166 h 16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67" h="166">
                  <a:moveTo>
                    <a:pt x="2" y="49"/>
                  </a:moveTo>
                  <a:lnTo>
                    <a:pt x="8" y="51"/>
                  </a:lnTo>
                  <a:lnTo>
                    <a:pt x="14" y="51"/>
                  </a:lnTo>
                  <a:lnTo>
                    <a:pt x="17" y="50"/>
                  </a:lnTo>
                  <a:lnTo>
                    <a:pt x="19" y="49"/>
                  </a:lnTo>
                  <a:lnTo>
                    <a:pt x="23" y="39"/>
                  </a:lnTo>
                  <a:lnTo>
                    <a:pt x="28" y="39"/>
                  </a:lnTo>
                  <a:lnTo>
                    <a:pt x="32" y="37"/>
                  </a:lnTo>
                  <a:lnTo>
                    <a:pt x="32" y="32"/>
                  </a:lnTo>
                  <a:lnTo>
                    <a:pt x="37" y="31"/>
                  </a:lnTo>
                  <a:lnTo>
                    <a:pt x="43" y="23"/>
                  </a:lnTo>
                  <a:lnTo>
                    <a:pt x="46" y="16"/>
                  </a:lnTo>
                  <a:lnTo>
                    <a:pt x="45" y="7"/>
                  </a:lnTo>
                  <a:lnTo>
                    <a:pt x="49" y="6"/>
                  </a:lnTo>
                  <a:lnTo>
                    <a:pt x="57" y="5"/>
                  </a:lnTo>
                  <a:lnTo>
                    <a:pt x="61" y="7"/>
                  </a:lnTo>
                  <a:lnTo>
                    <a:pt x="65" y="7"/>
                  </a:lnTo>
                  <a:lnTo>
                    <a:pt x="70" y="5"/>
                  </a:lnTo>
                  <a:lnTo>
                    <a:pt x="76" y="5"/>
                  </a:lnTo>
                  <a:lnTo>
                    <a:pt x="76" y="0"/>
                  </a:lnTo>
                  <a:lnTo>
                    <a:pt x="102" y="0"/>
                  </a:lnTo>
                  <a:lnTo>
                    <a:pt x="115" y="1"/>
                  </a:lnTo>
                  <a:lnTo>
                    <a:pt x="119" y="8"/>
                  </a:lnTo>
                  <a:lnTo>
                    <a:pt x="125" y="12"/>
                  </a:lnTo>
                  <a:lnTo>
                    <a:pt x="129" y="17"/>
                  </a:lnTo>
                  <a:lnTo>
                    <a:pt x="134" y="21"/>
                  </a:lnTo>
                  <a:lnTo>
                    <a:pt x="134" y="23"/>
                  </a:lnTo>
                  <a:lnTo>
                    <a:pt x="136" y="27"/>
                  </a:lnTo>
                  <a:lnTo>
                    <a:pt x="135" y="29"/>
                  </a:lnTo>
                  <a:lnTo>
                    <a:pt x="135" y="32"/>
                  </a:lnTo>
                  <a:lnTo>
                    <a:pt x="142" y="34"/>
                  </a:lnTo>
                  <a:lnTo>
                    <a:pt x="145" y="35"/>
                  </a:lnTo>
                  <a:lnTo>
                    <a:pt x="145" y="38"/>
                  </a:lnTo>
                  <a:lnTo>
                    <a:pt x="143" y="40"/>
                  </a:lnTo>
                  <a:lnTo>
                    <a:pt x="145" y="45"/>
                  </a:lnTo>
                  <a:lnTo>
                    <a:pt x="143" y="45"/>
                  </a:lnTo>
                  <a:lnTo>
                    <a:pt x="145" y="50"/>
                  </a:lnTo>
                  <a:lnTo>
                    <a:pt x="146" y="53"/>
                  </a:lnTo>
                  <a:lnTo>
                    <a:pt x="151" y="56"/>
                  </a:lnTo>
                  <a:lnTo>
                    <a:pt x="152" y="60"/>
                  </a:lnTo>
                  <a:lnTo>
                    <a:pt x="155" y="70"/>
                  </a:lnTo>
                  <a:lnTo>
                    <a:pt x="153" y="71"/>
                  </a:lnTo>
                  <a:lnTo>
                    <a:pt x="148" y="74"/>
                  </a:lnTo>
                  <a:lnTo>
                    <a:pt x="146" y="85"/>
                  </a:lnTo>
                  <a:lnTo>
                    <a:pt x="143" y="90"/>
                  </a:lnTo>
                  <a:lnTo>
                    <a:pt x="143" y="92"/>
                  </a:lnTo>
                  <a:lnTo>
                    <a:pt x="156" y="87"/>
                  </a:lnTo>
                  <a:lnTo>
                    <a:pt x="162" y="82"/>
                  </a:lnTo>
                  <a:lnTo>
                    <a:pt x="163" y="82"/>
                  </a:lnTo>
                  <a:lnTo>
                    <a:pt x="164" y="85"/>
                  </a:lnTo>
                  <a:lnTo>
                    <a:pt x="164" y="88"/>
                  </a:lnTo>
                  <a:lnTo>
                    <a:pt x="163" y="93"/>
                  </a:lnTo>
                  <a:lnTo>
                    <a:pt x="167" y="97"/>
                  </a:lnTo>
                  <a:lnTo>
                    <a:pt x="167" y="98"/>
                  </a:lnTo>
                  <a:lnTo>
                    <a:pt x="157" y="99"/>
                  </a:lnTo>
                  <a:lnTo>
                    <a:pt x="152" y="105"/>
                  </a:lnTo>
                  <a:lnTo>
                    <a:pt x="150" y="107"/>
                  </a:lnTo>
                  <a:lnTo>
                    <a:pt x="150" y="123"/>
                  </a:lnTo>
                  <a:lnTo>
                    <a:pt x="146" y="124"/>
                  </a:lnTo>
                  <a:lnTo>
                    <a:pt x="143" y="129"/>
                  </a:lnTo>
                  <a:lnTo>
                    <a:pt x="140" y="129"/>
                  </a:lnTo>
                  <a:lnTo>
                    <a:pt x="136" y="136"/>
                  </a:lnTo>
                  <a:lnTo>
                    <a:pt x="130" y="137"/>
                  </a:lnTo>
                  <a:lnTo>
                    <a:pt x="121" y="146"/>
                  </a:lnTo>
                  <a:lnTo>
                    <a:pt x="118" y="148"/>
                  </a:lnTo>
                  <a:lnTo>
                    <a:pt x="113" y="148"/>
                  </a:lnTo>
                  <a:lnTo>
                    <a:pt x="112" y="151"/>
                  </a:lnTo>
                  <a:lnTo>
                    <a:pt x="112" y="156"/>
                  </a:lnTo>
                  <a:lnTo>
                    <a:pt x="109" y="157"/>
                  </a:lnTo>
                  <a:lnTo>
                    <a:pt x="108" y="163"/>
                  </a:lnTo>
                  <a:lnTo>
                    <a:pt x="103" y="166"/>
                  </a:lnTo>
                  <a:lnTo>
                    <a:pt x="102" y="166"/>
                  </a:lnTo>
                  <a:lnTo>
                    <a:pt x="91" y="163"/>
                  </a:lnTo>
                  <a:lnTo>
                    <a:pt x="61" y="147"/>
                  </a:lnTo>
                  <a:lnTo>
                    <a:pt x="53" y="146"/>
                  </a:lnTo>
                  <a:lnTo>
                    <a:pt x="51" y="140"/>
                  </a:lnTo>
                  <a:lnTo>
                    <a:pt x="48" y="135"/>
                  </a:lnTo>
                  <a:lnTo>
                    <a:pt x="32" y="124"/>
                  </a:lnTo>
                  <a:lnTo>
                    <a:pt x="24" y="120"/>
                  </a:lnTo>
                  <a:lnTo>
                    <a:pt x="23" y="118"/>
                  </a:lnTo>
                  <a:lnTo>
                    <a:pt x="23" y="113"/>
                  </a:lnTo>
                  <a:lnTo>
                    <a:pt x="22" y="110"/>
                  </a:lnTo>
                  <a:lnTo>
                    <a:pt x="22" y="107"/>
                  </a:lnTo>
                  <a:lnTo>
                    <a:pt x="16" y="102"/>
                  </a:lnTo>
                  <a:lnTo>
                    <a:pt x="10" y="102"/>
                  </a:lnTo>
                  <a:lnTo>
                    <a:pt x="5" y="93"/>
                  </a:lnTo>
                  <a:lnTo>
                    <a:pt x="5" y="86"/>
                  </a:lnTo>
                  <a:lnTo>
                    <a:pt x="8" y="86"/>
                  </a:lnTo>
                  <a:lnTo>
                    <a:pt x="10" y="87"/>
                  </a:lnTo>
                  <a:lnTo>
                    <a:pt x="13" y="87"/>
                  </a:lnTo>
                  <a:lnTo>
                    <a:pt x="13" y="86"/>
                  </a:lnTo>
                  <a:lnTo>
                    <a:pt x="11" y="82"/>
                  </a:lnTo>
                  <a:lnTo>
                    <a:pt x="7" y="81"/>
                  </a:lnTo>
                  <a:lnTo>
                    <a:pt x="5" y="78"/>
                  </a:lnTo>
                  <a:lnTo>
                    <a:pt x="6" y="71"/>
                  </a:lnTo>
                  <a:lnTo>
                    <a:pt x="5" y="65"/>
                  </a:lnTo>
                  <a:lnTo>
                    <a:pt x="3" y="62"/>
                  </a:lnTo>
                  <a:lnTo>
                    <a:pt x="0" y="60"/>
                  </a:lnTo>
                  <a:lnTo>
                    <a:pt x="0" y="55"/>
                  </a:lnTo>
                  <a:lnTo>
                    <a:pt x="2" y="4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55" name="Freeform 50">
              <a:extLst>
                <a:ext uri="{FF2B5EF4-FFF2-40B4-BE49-F238E27FC236}">
                  <a16:creationId xmlns:a16="http://schemas.microsoft.com/office/drawing/2014/main" id="{814C23F5-53E7-4066-77D7-96700651A3D2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520967" y="4007192"/>
              <a:ext cx="177589" cy="198148"/>
            </a:xfrm>
            <a:custGeom>
              <a:avLst/>
              <a:gdLst>
                <a:gd name="T0" fmla="*/ 2147483647 w 337"/>
                <a:gd name="T1" fmla="*/ 2147483647 h 354"/>
                <a:gd name="T2" fmla="*/ 2147483647 w 337"/>
                <a:gd name="T3" fmla="*/ 2147483647 h 354"/>
                <a:gd name="T4" fmla="*/ 2147483647 w 337"/>
                <a:gd name="T5" fmla="*/ 2147483647 h 354"/>
                <a:gd name="T6" fmla="*/ 2147483647 w 337"/>
                <a:gd name="T7" fmla="*/ 2147483647 h 354"/>
                <a:gd name="T8" fmla="*/ 2147483647 w 337"/>
                <a:gd name="T9" fmla="*/ 2147483647 h 354"/>
                <a:gd name="T10" fmla="*/ 2147483647 w 337"/>
                <a:gd name="T11" fmla="*/ 2147483647 h 354"/>
                <a:gd name="T12" fmla="*/ 2147483647 w 337"/>
                <a:gd name="T13" fmla="*/ 2147483647 h 354"/>
                <a:gd name="T14" fmla="*/ 2147483647 w 337"/>
                <a:gd name="T15" fmla="*/ 2147483647 h 354"/>
                <a:gd name="T16" fmla="*/ 2147483647 w 337"/>
                <a:gd name="T17" fmla="*/ 2147483647 h 354"/>
                <a:gd name="T18" fmla="*/ 2147483647 w 337"/>
                <a:gd name="T19" fmla="*/ 2147483647 h 354"/>
                <a:gd name="T20" fmla="*/ 2147483647 w 337"/>
                <a:gd name="T21" fmla="*/ 2147483647 h 354"/>
                <a:gd name="T22" fmla="*/ 2147483647 w 337"/>
                <a:gd name="T23" fmla="*/ 2147483647 h 354"/>
                <a:gd name="T24" fmla="*/ 2147483647 w 337"/>
                <a:gd name="T25" fmla="*/ 0 h 354"/>
                <a:gd name="T26" fmla="*/ 2147483647 w 337"/>
                <a:gd name="T27" fmla="*/ 0 h 354"/>
                <a:gd name="T28" fmla="*/ 2147483647 w 337"/>
                <a:gd name="T29" fmla="*/ 0 h 354"/>
                <a:gd name="T30" fmla="*/ 2147483647 w 337"/>
                <a:gd name="T31" fmla="*/ 0 h 354"/>
                <a:gd name="T32" fmla="*/ 2147483647 w 337"/>
                <a:gd name="T33" fmla="*/ 0 h 354"/>
                <a:gd name="T34" fmla="*/ 2147483647 w 337"/>
                <a:gd name="T35" fmla="*/ 0 h 354"/>
                <a:gd name="T36" fmla="*/ 2147483647 w 337"/>
                <a:gd name="T37" fmla="*/ 0 h 354"/>
                <a:gd name="T38" fmla="*/ 2147483647 w 337"/>
                <a:gd name="T39" fmla="*/ 0 h 354"/>
                <a:gd name="T40" fmla="*/ 2147483647 w 337"/>
                <a:gd name="T41" fmla="*/ 0 h 354"/>
                <a:gd name="T42" fmla="*/ 2147483647 w 337"/>
                <a:gd name="T43" fmla="*/ 0 h 354"/>
                <a:gd name="T44" fmla="*/ 2147483647 w 337"/>
                <a:gd name="T45" fmla="*/ 0 h 354"/>
                <a:gd name="T46" fmla="*/ 2147483647 w 337"/>
                <a:gd name="T47" fmla="*/ 0 h 354"/>
                <a:gd name="T48" fmla="*/ 2147483647 w 337"/>
                <a:gd name="T49" fmla="*/ 0 h 354"/>
                <a:gd name="T50" fmla="*/ 2147483647 w 337"/>
                <a:gd name="T51" fmla="*/ 0 h 354"/>
                <a:gd name="T52" fmla="*/ 2147483647 w 337"/>
                <a:gd name="T53" fmla="*/ 0 h 354"/>
                <a:gd name="T54" fmla="*/ 2147483647 w 337"/>
                <a:gd name="T55" fmla="*/ 0 h 354"/>
                <a:gd name="T56" fmla="*/ 2147483647 w 337"/>
                <a:gd name="T57" fmla="*/ 0 h 354"/>
                <a:gd name="T58" fmla="*/ 2147483647 w 337"/>
                <a:gd name="T59" fmla="*/ 0 h 354"/>
                <a:gd name="T60" fmla="*/ 2147483647 w 337"/>
                <a:gd name="T61" fmla="*/ 0 h 354"/>
                <a:gd name="T62" fmla="*/ 2147483647 w 337"/>
                <a:gd name="T63" fmla="*/ 0 h 354"/>
                <a:gd name="T64" fmla="*/ 0 w 337"/>
                <a:gd name="T65" fmla="*/ 0 h 354"/>
                <a:gd name="T66" fmla="*/ 0 w 337"/>
                <a:gd name="T67" fmla="*/ 0 h 354"/>
                <a:gd name="T68" fmla="*/ 0 w 337"/>
                <a:gd name="T69" fmla="*/ 0 h 354"/>
                <a:gd name="T70" fmla="*/ 0 w 337"/>
                <a:gd name="T71" fmla="*/ 2147483647 h 354"/>
                <a:gd name="T72" fmla="*/ 0 w 337"/>
                <a:gd name="T73" fmla="*/ 2147483647 h 354"/>
                <a:gd name="T74" fmla="*/ 0 w 337"/>
                <a:gd name="T75" fmla="*/ 2147483647 h 354"/>
                <a:gd name="T76" fmla="*/ 0 w 337"/>
                <a:gd name="T77" fmla="*/ 2147483647 h 354"/>
                <a:gd name="T78" fmla="*/ 0 w 337"/>
                <a:gd name="T79" fmla="*/ 2147483647 h 354"/>
                <a:gd name="T80" fmla="*/ 0 w 337"/>
                <a:gd name="T81" fmla="*/ 2147483647 h 354"/>
                <a:gd name="T82" fmla="*/ 0 w 337"/>
                <a:gd name="T83" fmla="*/ 2147483647 h 354"/>
                <a:gd name="T84" fmla="*/ 0 w 337"/>
                <a:gd name="T85" fmla="*/ 2147483647 h 354"/>
                <a:gd name="T86" fmla="*/ 0 w 337"/>
                <a:gd name="T87" fmla="*/ 2147483647 h 354"/>
                <a:gd name="T88" fmla="*/ 0 w 337"/>
                <a:gd name="T89" fmla="*/ 2147483647 h 354"/>
                <a:gd name="T90" fmla="*/ 0 w 337"/>
                <a:gd name="T91" fmla="*/ 2147483647 h 354"/>
                <a:gd name="T92" fmla="*/ 0 w 337"/>
                <a:gd name="T93" fmla="*/ 2147483647 h 354"/>
                <a:gd name="T94" fmla="*/ 0 w 337"/>
                <a:gd name="T95" fmla="*/ 2147483647 h 354"/>
                <a:gd name="T96" fmla="*/ 0 w 337"/>
                <a:gd name="T97" fmla="*/ 2147483647 h 354"/>
                <a:gd name="T98" fmla="*/ 0 w 337"/>
                <a:gd name="T99" fmla="*/ 2147483647 h 354"/>
                <a:gd name="T100" fmla="*/ 0 w 337"/>
                <a:gd name="T101" fmla="*/ 2147483647 h 354"/>
                <a:gd name="T102" fmla="*/ 2147483647 w 337"/>
                <a:gd name="T103" fmla="*/ 2147483647 h 354"/>
                <a:gd name="T104" fmla="*/ 2147483647 w 337"/>
                <a:gd name="T105" fmla="*/ 2147483647 h 354"/>
                <a:gd name="T106" fmla="*/ 2147483647 w 337"/>
                <a:gd name="T107" fmla="*/ 2147483647 h 354"/>
                <a:gd name="T108" fmla="*/ 2147483647 w 337"/>
                <a:gd name="T109" fmla="*/ 2147483647 h 354"/>
                <a:gd name="T110" fmla="*/ 2147483647 w 337"/>
                <a:gd name="T111" fmla="*/ 2147483647 h 35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37"/>
                <a:gd name="T169" fmla="*/ 0 h 354"/>
                <a:gd name="T170" fmla="*/ 337 w 337"/>
                <a:gd name="T171" fmla="*/ 354 h 35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37" h="354">
                  <a:moveTo>
                    <a:pt x="57" y="350"/>
                  </a:moveTo>
                  <a:lnTo>
                    <a:pt x="58" y="353"/>
                  </a:lnTo>
                  <a:lnTo>
                    <a:pt x="74" y="354"/>
                  </a:lnTo>
                  <a:lnTo>
                    <a:pt x="97" y="342"/>
                  </a:lnTo>
                  <a:lnTo>
                    <a:pt x="121" y="332"/>
                  </a:lnTo>
                  <a:lnTo>
                    <a:pt x="135" y="326"/>
                  </a:lnTo>
                  <a:lnTo>
                    <a:pt x="160" y="318"/>
                  </a:lnTo>
                  <a:lnTo>
                    <a:pt x="173" y="317"/>
                  </a:lnTo>
                  <a:lnTo>
                    <a:pt x="208" y="311"/>
                  </a:lnTo>
                  <a:lnTo>
                    <a:pt x="219" y="310"/>
                  </a:lnTo>
                  <a:lnTo>
                    <a:pt x="240" y="307"/>
                  </a:lnTo>
                  <a:lnTo>
                    <a:pt x="258" y="307"/>
                  </a:lnTo>
                  <a:lnTo>
                    <a:pt x="274" y="312"/>
                  </a:lnTo>
                  <a:lnTo>
                    <a:pt x="295" y="316"/>
                  </a:lnTo>
                  <a:lnTo>
                    <a:pt x="299" y="316"/>
                  </a:lnTo>
                  <a:lnTo>
                    <a:pt x="301" y="315"/>
                  </a:lnTo>
                  <a:lnTo>
                    <a:pt x="305" y="308"/>
                  </a:lnTo>
                  <a:lnTo>
                    <a:pt x="307" y="307"/>
                  </a:lnTo>
                  <a:lnTo>
                    <a:pt x="313" y="307"/>
                  </a:lnTo>
                  <a:lnTo>
                    <a:pt x="317" y="310"/>
                  </a:lnTo>
                  <a:lnTo>
                    <a:pt x="323" y="308"/>
                  </a:lnTo>
                  <a:lnTo>
                    <a:pt x="323" y="294"/>
                  </a:lnTo>
                  <a:lnTo>
                    <a:pt x="321" y="281"/>
                  </a:lnTo>
                  <a:lnTo>
                    <a:pt x="318" y="280"/>
                  </a:lnTo>
                  <a:lnTo>
                    <a:pt x="311" y="279"/>
                  </a:lnTo>
                  <a:lnTo>
                    <a:pt x="307" y="274"/>
                  </a:lnTo>
                  <a:lnTo>
                    <a:pt x="304" y="258"/>
                  </a:lnTo>
                  <a:lnTo>
                    <a:pt x="296" y="238"/>
                  </a:lnTo>
                  <a:lnTo>
                    <a:pt x="296" y="230"/>
                  </a:lnTo>
                  <a:lnTo>
                    <a:pt x="297" y="213"/>
                  </a:lnTo>
                  <a:lnTo>
                    <a:pt x="301" y="206"/>
                  </a:lnTo>
                  <a:lnTo>
                    <a:pt x="307" y="199"/>
                  </a:lnTo>
                  <a:lnTo>
                    <a:pt x="310" y="194"/>
                  </a:lnTo>
                  <a:lnTo>
                    <a:pt x="310" y="183"/>
                  </a:lnTo>
                  <a:lnTo>
                    <a:pt x="312" y="174"/>
                  </a:lnTo>
                  <a:lnTo>
                    <a:pt x="318" y="161"/>
                  </a:lnTo>
                  <a:lnTo>
                    <a:pt x="322" y="152"/>
                  </a:lnTo>
                  <a:lnTo>
                    <a:pt x="324" y="150"/>
                  </a:lnTo>
                  <a:lnTo>
                    <a:pt x="328" y="145"/>
                  </a:lnTo>
                  <a:lnTo>
                    <a:pt x="332" y="144"/>
                  </a:lnTo>
                  <a:lnTo>
                    <a:pt x="332" y="139"/>
                  </a:lnTo>
                  <a:lnTo>
                    <a:pt x="337" y="138"/>
                  </a:lnTo>
                  <a:lnTo>
                    <a:pt x="334" y="122"/>
                  </a:lnTo>
                  <a:lnTo>
                    <a:pt x="327" y="95"/>
                  </a:lnTo>
                  <a:lnTo>
                    <a:pt x="324" y="91"/>
                  </a:lnTo>
                  <a:lnTo>
                    <a:pt x="321" y="90"/>
                  </a:lnTo>
                  <a:lnTo>
                    <a:pt x="321" y="87"/>
                  </a:lnTo>
                  <a:lnTo>
                    <a:pt x="326" y="82"/>
                  </a:lnTo>
                  <a:lnTo>
                    <a:pt x="323" y="77"/>
                  </a:lnTo>
                  <a:lnTo>
                    <a:pt x="324" y="74"/>
                  </a:lnTo>
                  <a:lnTo>
                    <a:pt x="324" y="68"/>
                  </a:lnTo>
                  <a:lnTo>
                    <a:pt x="322" y="70"/>
                  </a:lnTo>
                  <a:lnTo>
                    <a:pt x="316" y="70"/>
                  </a:lnTo>
                  <a:lnTo>
                    <a:pt x="313" y="69"/>
                  </a:lnTo>
                  <a:lnTo>
                    <a:pt x="308" y="59"/>
                  </a:lnTo>
                  <a:lnTo>
                    <a:pt x="307" y="54"/>
                  </a:lnTo>
                  <a:lnTo>
                    <a:pt x="302" y="53"/>
                  </a:lnTo>
                  <a:lnTo>
                    <a:pt x="296" y="43"/>
                  </a:lnTo>
                  <a:lnTo>
                    <a:pt x="295" y="43"/>
                  </a:lnTo>
                  <a:lnTo>
                    <a:pt x="290" y="48"/>
                  </a:lnTo>
                  <a:lnTo>
                    <a:pt x="279" y="43"/>
                  </a:lnTo>
                  <a:lnTo>
                    <a:pt x="272" y="43"/>
                  </a:lnTo>
                  <a:lnTo>
                    <a:pt x="262" y="46"/>
                  </a:lnTo>
                  <a:lnTo>
                    <a:pt x="250" y="49"/>
                  </a:lnTo>
                  <a:lnTo>
                    <a:pt x="242" y="52"/>
                  </a:lnTo>
                  <a:lnTo>
                    <a:pt x="236" y="53"/>
                  </a:lnTo>
                  <a:lnTo>
                    <a:pt x="234" y="59"/>
                  </a:lnTo>
                  <a:lnTo>
                    <a:pt x="230" y="61"/>
                  </a:lnTo>
                  <a:lnTo>
                    <a:pt x="223" y="58"/>
                  </a:lnTo>
                  <a:lnTo>
                    <a:pt x="221" y="54"/>
                  </a:lnTo>
                  <a:lnTo>
                    <a:pt x="220" y="54"/>
                  </a:lnTo>
                  <a:lnTo>
                    <a:pt x="218" y="57"/>
                  </a:lnTo>
                  <a:lnTo>
                    <a:pt x="214" y="57"/>
                  </a:lnTo>
                  <a:lnTo>
                    <a:pt x="214" y="58"/>
                  </a:lnTo>
                  <a:lnTo>
                    <a:pt x="207" y="54"/>
                  </a:lnTo>
                  <a:lnTo>
                    <a:pt x="205" y="50"/>
                  </a:lnTo>
                  <a:lnTo>
                    <a:pt x="202" y="47"/>
                  </a:lnTo>
                  <a:lnTo>
                    <a:pt x="198" y="47"/>
                  </a:lnTo>
                  <a:lnTo>
                    <a:pt x="198" y="42"/>
                  </a:lnTo>
                  <a:lnTo>
                    <a:pt x="197" y="39"/>
                  </a:lnTo>
                  <a:lnTo>
                    <a:pt x="194" y="38"/>
                  </a:lnTo>
                  <a:lnTo>
                    <a:pt x="191" y="32"/>
                  </a:lnTo>
                  <a:lnTo>
                    <a:pt x="189" y="31"/>
                  </a:lnTo>
                  <a:lnTo>
                    <a:pt x="188" y="30"/>
                  </a:lnTo>
                  <a:lnTo>
                    <a:pt x="187" y="25"/>
                  </a:lnTo>
                  <a:lnTo>
                    <a:pt x="187" y="23"/>
                  </a:lnTo>
                  <a:lnTo>
                    <a:pt x="184" y="22"/>
                  </a:lnTo>
                  <a:lnTo>
                    <a:pt x="173" y="25"/>
                  </a:lnTo>
                  <a:lnTo>
                    <a:pt x="171" y="23"/>
                  </a:lnTo>
                  <a:lnTo>
                    <a:pt x="167" y="17"/>
                  </a:lnTo>
                  <a:lnTo>
                    <a:pt x="165" y="16"/>
                  </a:lnTo>
                  <a:lnTo>
                    <a:pt x="154" y="16"/>
                  </a:lnTo>
                  <a:lnTo>
                    <a:pt x="150" y="16"/>
                  </a:lnTo>
                  <a:lnTo>
                    <a:pt x="148" y="23"/>
                  </a:lnTo>
                  <a:lnTo>
                    <a:pt x="144" y="23"/>
                  </a:lnTo>
                  <a:lnTo>
                    <a:pt x="140" y="27"/>
                  </a:lnTo>
                  <a:lnTo>
                    <a:pt x="130" y="27"/>
                  </a:lnTo>
                  <a:lnTo>
                    <a:pt x="132" y="25"/>
                  </a:lnTo>
                  <a:lnTo>
                    <a:pt x="130" y="14"/>
                  </a:lnTo>
                  <a:lnTo>
                    <a:pt x="129" y="10"/>
                  </a:lnTo>
                  <a:lnTo>
                    <a:pt x="129" y="9"/>
                  </a:lnTo>
                  <a:lnTo>
                    <a:pt x="129" y="4"/>
                  </a:lnTo>
                  <a:lnTo>
                    <a:pt x="127" y="0"/>
                  </a:lnTo>
                  <a:lnTo>
                    <a:pt x="124" y="1"/>
                  </a:lnTo>
                  <a:lnTo>
                    <a:pt x="118" y="1"/>
                  </a:lnTo>
                  <a:lnTo>
                    <a:pt x="116" y="9"/>
                  </a:lnTo>
                  <a:lnTo>
                    <a:pt x="114" y="9"/>
                  </a:lnTo>
                  <a:lnTo>
                    <a:pt x="108" y="5"/>
                  </a:lnTo>
                  <a:lnTo>
                    <a:pt x="106" y="5"/>
                  </a:lnTo>
                  <a:lnTo>
                    <a:pt x="103" y="9"/>
                  </a:lnTo>
                  <a:lnTo>
                    <a:pt x="103" y="12"/>
                  </a:lnTo>
                  <a:lnTo>
                    <a:pt x="105" y="18"/>
                  </a:lnTo>
                  <a:lnTo>
                    <a:pt x="103" y="21"/>
                  </a:lnTo>
                  <a:lnTo>
                    <a:pt x="92" y="21"/>
                  </a:lnTo>
                  <a:lnTo>
                    <a:pt x="86" y="23"/>
                  </a:lnTo>
                  <a:lnTo>
                    <a:pt x="86" y="27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76" y="30"/>
                  </a:lnTo>
                  <a:lnTo>
                    <a:pt x="73" y="25"/>
                  </a:lnTo>
                  <a:lnTo>
                    <a:pt x="70" y="25"/>
                  </a:lnTo>
                  <a:lnTo>
                    <a:pt x="68" y="26"/>
                  </a:lnTo>
                  <a:lnTo>
                    <a:pt x="66" y="27"/>
                  </a:lnTo>
                  <a:lnTo>
                    <a:pt x="65" y="27"/>
                  </a:lnTo>
                  <a:lnTo>
                    <a:pt x="64" y="21"/>
                  </a:lnTo>
                  <a:lnTo>
                    <a:pt x="60" y="16"/>
                  </a:lnTo>
                  <a:lnTo>
                    <a:pt x="57" y="15"/>
                  </a:lnTo>
                  <a:lnTo>
                    <a:pt x="53" y="18"/>
                  </a:lnTo>
                  <a:lnTo>
                    <a:pt x="48" y="17"/>
                  </a:lnTo>
                  <a:lnTo>
                    <a:pt x="46" y="18"/>
                  </a:lnTo>
                  <a:lnTo>
                    <a:pt x="43" y="21"/>
                  </a:lnTo>
                  <a:lnTo>
                    <a:pt x="42" y="25"/>
                  </a:lnTo>
                  <a:lnTo>
                    <a:pt x="39" y="28"/>
                  </a:lnTo>
                  <a:lnTo>
                    <a:pt x="33" y="30"/>
                  </a:lnTo>
                  <a:lnTo>
                    <a:pt x="32" y="32"/>
                  </a:lnTo>
                  <a:lnTo>
                    <a:pt x="26" y="39"/>
                  </a:lnTo>
                  <a:lnTo>
                    <a:pt x="25" y="42"/>
                  </a:lnTo>
                  <a:lnTo>
                    <a:pt x="22" y="44"/>
                  </a:lnTo>
                  <a:lnTo>
                    <a:pt x="24" y="53"/>
                  </a:lnTo>
                  <a:lnTo>
                    <a:pt x="24" y="70"/>
                  </a:lnTo>
                  <a:lnTo>
                    <a:pt x="24" y="73"/>
                  </a:lnTo>
                  <a:lnTo>
                    <a:pt x="31" y="76"/>
                  </a:lnTo>
                  <a:lnTo>
                    <a:pt x="38" y="76"/>
                  </a:lnTo>
                  <a:lnTo>
                    <a:pt x="37" y="90"/>
                  </a:lnTo>
                  <a:lnTo>
                    <a:pt x="41" y="89"/>
                  </a:lnTo>
                  <a:lnTo>
                    <a:pt x="44" y="93"/>
                  </a:lnTo>
                  <a:lnTo>
                    <a:pt x="44" y="96"/>
                  </a:lnTo>
                  <a:lnTo>
                    <a:pt x="42" y="97"/>
                  </a:lnTo>
                  <a:lnTo>
                    <a:pt x="38" y="101"/>
                  </a:lnTo>
                  <a:lnTo>
                    <a:pt x="35" y="109"/>
                  </a:lnTo>
                  <a:lnTo>
                    <a:pt x="37" y="109"/>
                  </a:lnTo>
                  <a:lnTo>
                    <a:pt x="41" y="111"/>
                  </a:lnTo>
                  <a:lnTo>
                    <a:pt x="44" y="111"/>
                  </a:lnTo>
                  <a:lnTo>
                    <a:pt x="44" y="117"/>
                  </a:lnTo>
                  <a:lnTo>
                    <a:pt x="47" y="120"/>
                  </a:lnTo>
                  <a:lnTo>
                    <a:pt x="47" y="125"/>
                  </a:lnTo>
                  <a:lnTo>
                    <a:pt x="48" y="134"/>
                  </a:lnTo>
                  <a:lnTo>
                    <a:pt x="47" y="134"/>
                  </a:lnTo>
                  <a:lnTo>
                    <a:pt x="44" y="128"/>
                  </a:lnTo>
                  <a:lnTo>
                    <a:pt x="41" y="129"/>
                  </a:lnTo>
                  <a:lnTo>
                    <a:pt x="38" y="129"/>
                  </a:lnTo>
                  <a:lnTo>
                    <a:pt x="35" y="125"/>
                  </a:lnTo>
                  <a:lnTo>
                    <a:pt x="26" y="124"/>
                  </a:lnTo>
                  <a:lnTo>
                    <a:pt x="17" y="128"/>
                  </a:lnTo>
                  <a:lnTo>
                    <a:pt x="17" y="129"/>
                  </a:lnTo>
                  <a:lnTo>
                    <a:pt x="19" y="129"/>
                  </a:lnTo>
                  <a:lnTo>
                    <a:pt x="20" y="134"/>
                  </a:lnTo>
                  <a:lnTo>
                    <a:pt x="17" y="139"/>
                  </a:lnTo>
                  <a:lnTo>
                    <a:pt x="20" y="141"/>
                  </a:lnTo>
                  <a:lnTo>
                    <a:pt x="26" y="141"/>
                  </a:lnTo>
                  <a:lnTo>
                    <a:pt x="30" y="141"/>
                  </a:lnTo>
                  <a:lnTo>
                    <a:pt x="31" y="145"/>
                  </a:lnTo>
                  <a:lnTo>
                    <a:pt x="30" y="147"/>
                  </a:lnTo>
                  <a:lnTo>
                    <a:pt x="32" y="147"/>
                  </a:lnTo>
                  <a:lnTo>
                    <a:pt x="33" y="150"/>
                  </a:lnTo>
                  <a:lnTo>
                    <a:pt x="28" y="152"/>
                  </a:lnTo>
                  <a:lnTo>
                    <a:pt x="27" y="157"/>
                  </a:lnTo>
                  <a:lnTo>
                    <a:pt x="27" y="166"/>
                  </a:lnTo>
                  <a:lnTo>
                    <a:pt x="22" y="172"/>
                  </a:lnTo>
                  <a:lnTo>
                    <a:pt x="22" y="177"/>
                  </a:lnTo>
                  <a:lnTo>
                    <a:pt x="9" y="176"/>
                  </a:lnTo>
                  <a:lnTo>
                    <a:pt x="5" y="178"/>
                  </a:lnTo>
                  <a:lnTo>
                    <a:pt x="6" y="183"/>
                  </a:lnTo>
                  <a:lnTo>
                    <a:pt x="8" y="192"/>
                  </a:lnTo>
                  <a:lnTo>
                    <a:pt x="10" y="193"/>
                  </a:lnTo>
                  <a:lnTo>
                    <a:pt x="12" y="197"/>
                  </a:lnTo>
                  <a:lnTo>
                    <a:pt x="12" y="198"/>
                  </a:lnTo>
                  <a:lnTo>
                    <a:pt x="17" y="202"/>
                  </a:lnTo>
                  <a:lnTo>
                    <a:pt x="14" y="217"/>
                  </a:lnTo>
                  <a:lnTo>
                    <a:pt x="12" y="220"/>
                  </a:lnTo>
                  <a:lnTo>
                    <a:pt x="4" y="227"/>
                  </a:lnTo>
                  <a:lnTo>
                    <a:pt x="0" y="233"/>
                  </a:lnTo>
                  <a:lnTo>
                    <a:pt x="0" y="235"/>
                  </a:lnTo>
                  <a:lnTo>
                    <a:pt x="3" y="235"/>
                  </a:lnTo>
                  <a:lnTo>
                    <a:pt x="4" y="237"/>
                  </a:lnTo>
                  <a:lnTo>
                    <a:pt x="8" y="236"/>
                  </a:lnTo>
                  <a:lnTo>
                    <a:pt x="9" y="238"/>
                  </a:lnTo>
                  <a:lnTo>
                    <a:pt x="11" y="240"/>
                  </a:lnTo>
                  <a:lnTo>
                    <a:pt x="15" y="240"/>
                  </a:lnTo>
                  <a:lnTo>
                    <a:pt x="22" y="245"/>
                  </a:lnTo>
                  <a:lnTo>
                    <a:pt x="32" y="245"/>
                  </a:lnTo>
                  <a:lnTo>
                    <a:pt x="35" y="245"/>
                  </a:lnTo>
                  <a:lnTo>
                    <a:pt x="38" y="252"/>
                  </a:lnTo>
                  <a:lnTo>
                    <a:pt x="38" y="256"/>
                  </a:lnTo>
                  <a:lnTo>
                    <a:pt x="41" y="257"/>
                  </a:lnTo>
                  <a:lnTo>
                    <a:pt x="44" y="262"/>
                  </a:lnTo>
                  <a:lnTo>
                    <a:pt x="46" y="265"/>
                  </a:lnTo>
                  <a:lnTo>
                    <a:pt x="52" y="267"/>
                  </a:lnTo>
                  <a:lnTo>
                    <a:pt x="57" y="272"/>
                  </a:lnTo>
                  <a:lnTo>
                    <a:pt x="63" y="270"/>
                  </a:lnTo>
                  <a:lnTo>
                    <a:pt x="63" y="275"/>
                  </a:lnTo>
                  <a:lnTo>
                    <a:pt x="65" y="280"/>
                  </a:lnTo>
                  <a:lnTo>
                    <a:pt x="66" y="286"/>
                  </a:lnTo>
                  <a:lnTo>
                    <a:pt x="64" y="294"/>
                  </a:lnTo>
                  <a:lnTo>
                    <a:pt x="66" y="299"/>
                  </a:lnTo>
                  <a:lnTo>
                    <a:pt x="66" y="300"/>
                  </a:lnTo>
                  <a:lnTo>
                    <a:pt x="62" y="300"/>
                  </a:lnTo>
                  <a:lnTo>
                    <a:pt x="60" y="303"/>
                  </a:lnTo>
                  <a:lnTo>
                    <a:pt x="60" y="311"/>
                  </a:lnTo>
                  <a:lnTo>
                    <a:pt x="57" y="311"/>
                  </a:lnTo>
                  <a:lnTo>
                    <a:pt x="57" y="313"/>
                  </a:lnTo>
                  <a:lnTo>
                    <a:pt x="57" y="318"/>
                  </a:lnTo>
                  <a:lnTo>
                    <a:pt x="55" y="323"/>
                  </a:lnTo>
                  <a:lnTo>
                    <a:pt x="57" y="35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56" name="Freeform 51">
              <a:extLst>
                <a:ext uri="{FF2B5EF4-FFF2-40B4-BE49-F238E27FC236}">
                  <a16:creationId xmlns:a16="http://schemas.microsoft.com/office/drawing/2014/main" id="{CB3F1632-448A-370E-66A8-E276710F6FA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767203" y="3991950"/>
              <a:ext cx="62678" cy="163092"/>
            </a:xfrm>
            <a:custGeom>
              <a:avLst/>
              <a:gdLst>
                <a:gd name="T0" fmla="*/ 2147483647 w 120"/>
                <a:gd name="T1" fmla="*/ 2147483647 h 281"/>
                <a:gd name="T2" fmla="*/ 2147483647 w 120"/>
                <a:gd name="T3" fmla="*/ 2147483647 h 281"/>
                <a:gd name="T4" fmla="*/ 2147483647 w 120"/>
                <a:gd name="T5" fmla="*/ 2147483647 h 281"/>
                <a:gd name="T6" fmla="*/ 2147483647 w 120"/>
                <a:gd name="T7" fmla="*/ 2147483647 h 281"/>
                <a:gd name="T8" fmla="*/ 0 w 120"/>
                <a:gd name="T9" fmla="*/ 2147483647 h 281"/>
                <a:gd name="T10" fmla="*/ 0 w 120"/>
                <a:gd name="T11" fmla="*/ 2147483647 h 281"/>
                <a:gd name="T12" fmla="*/ 0 w 120"/>
                <a:gd name="T13" fmla="*/ 2147483647 h 281"/>
                <a:gd name="T14" fmla="*/ 0 w 120"/>
                <a:gd name="T15" fmla="*/ 2147483647 h 281"/>
                <a:gd name="T16" fmla="*/ 0 w 120"/>
                <a:gd name="T17" fmla="*/ 2147483647 h 281"/>
                <a:gd name="T18" fmla="*/ 0 w 120"/>
                <a:gd name="T19" fmla="*/ 2147483647 h 281"/>
                <a:gd name="T20" fmla="*/ 0 w 120"/>
                <a:gd name="T21" fmla="*/ 2147483647 h 281"/>
                <a:gd name="T22" fmla="*/ 0 w 120"/>
                <a:gd name="T23" fmla="*/ 2147483647 h 281"/>
                <a:gd name="T24" fmla="*/ 0 w 120"/>
                <a:gd name="T25" fmla="*/ 2147483647 h 281"/>
                <a:gd name="T26" fmla="*/ 0 w 120"/>
                <a:gd name="T27" fmla="*/ 0 h 281"/>
                <a:gd name="T28" fmla="*/ 0 w 120"/>
                <a:gd name="T29" fmla="*/ 0 h 281"/>
                <a:gd name="T30" fmla="*/ 0 w 120"/>
                <a:gd name="T31" fmla="*/ 0 h 281"/>
                <a:gd name="T32" fmla="*/ 0 w 120"/>
                <a:gd name="T33" fmla="*/ 0 h 281"/>
                <a:gd name="T34" fmla="*/ 0 w 120"/>
                <a:gd name="T35" fmla="*/ 0 h 281"/>
                <a:gd name="T36" fmla="*/ 0 w 120"/>
                <a:gd name="T37" fmla="*/ 0 h 281"/>
                <a:gd name="T38" fmla="*/ 0 w 120"/>
                <a:gd name="T39" fmla="*/ 0 h 281"/>
                <a:gd name="T40" fmla="*/ 0 w 120"/>
                <a:gd name="T41" fmla="*/ 0 h 281"/>
                <a:gd name="T42" fmla="*/ 0 w 120"/>
                <a:gd name="T43" fmla="*/ 0 h 281"/>
                <a:gd name="T44" fmla="*/ 0 w 120"/>
                <a:gd name="T45" fmla="*/ 0 h 281"/>
                <a:gd name="T46" fmla="*/ 0 w 120"/>
                <a:gd name="T47" fmla="*/ 0 h 281"/>
                <a:gd name="T48" fmla="*/ 0 w 120"/>
                <a:gd name="T49" fmla="*/ 0 h 281"/>
                <a:gd name="T50" fmla="*/ 0 w 120"/>
                <a:gd name="T51" fmla="*/ 0 h 281"/>
                <a:gd name="T52" fmla="*/ 0 w 120"/>
                <a:gd name="T53" fmla="*/ 0 h 281"/>
                <a:gd name="T54" fmla="*/ 0 w 120"/>
                <a:gd name="T55" fmla="*/ 0 h 281"/>
                <a:gd name="T56" fmla="*/ 0 w 120"/>
                <a:gd name="T57" fmla="*/ 0 h 281"/>
                <a:gd name="T58" fmla="*/ 0 w 120"/>
                <a:gd name="T59" fmla="*/ 0 h 281"/>
                <a:gd name="T60" fmla="*/ 0 w 120"/>
                <a:gd name="T61" fmla="*/ 0 h 281"/>
                <a:gd name="T62" fmla="*/ 0 w 120"/>
                <a:gd name="T63" fmla="*/ 0 h 281"/>
                <a:gd name="T64" fmla="*/ 2147483647 w 120"/>
                <a:gd name="T65" fmla="*/ 0 h 281"/>
                <a:gd name="T66" fmla="*/ 2147483647 w 120"/>
                <a:gd name="T67" fmla="*/ 0 h 281"/>
                <a:gd name="T68" fmla="*/ 2147483647 w 120"/>
                <a:gd name="T69" fmla="*/ 0 h 281"/>
                <a:gd name="T70" fmla="*/ 2147483647 w 120"/>
                <a:gd name="T71" fmla="*/ 0 h 281"/>
                <a:gd name="T72" fmla="*/ 2147483647 w 120"/>
                <a:gd name="T73" fmla="*/ 0 h 281"/>
                <a:gd name="T74" fmla="*/ 2147483647 w 120"/>
                <a:gd name="T75" fmla="*/ 0 h 281"/>
                <a:gd name="T76" fmla="*/ 2147483647 w 120"/>
                <a:gd name="T77" fmla="*/ 0 h 281"/>
                <a:gd name="T78" fmla="*/ 2147483647 w 120"/>
                <a:gd name="T79" fmla="*/ 0 h 281"/>
                <a:gd name="T80" fmla="*/ 2147483647 w 120"/>
                <a:gd name="T81" fmla="*/ 0 h 281"/>
                <a:gd name="T82" fmla="*/ 2147483647 w 120"/>
                <a:gd name="T83" fmla="*/ 0 h 281"/>
                <a:gd name="T84" fmla="*/ 2147483647 w 120"/>
                <a:gd name="T85" fmla="*/ 0 h 281"/>
                <a:gd name="T86" fmla="*/ 2147483647 w 120"/>
                <a:gd name="T87" fmla="*/ 0 h 281"/>
                <a:gd name="T88" fmla="*/ 2147483647 w 120"/>
                <a:gd name="T89" fmla="*/ 2147483647 h 281"/>
                <a:gd name="T90" fmla="*/ 2147483647 w 120"/>
                <a:gd name="T91" fmla="*/ 2147483647 h 281"/>
                <a:gd name="T92" fmla="*/ 2147483647 w 120"/>
                <a:gd name="T93" fmla="*/ 2147483647 h 281"/>
                <a:gd name="T94" fmla="*/ 2147483647 w 120"/>
                <a:gd name="T95" fmla="*/ 2147483647 h 281"/>
                <a:gd name="T96" fmla="*/ 2147483647 w 120"/>
                <a:gd name="T97" fmla="*/ 2147483647 h 281"/>
                <a:gd name="T98" fmla="*/ 2147483647 w 120"/>
                <a:gd name="T99" fmla="*/ 2147483647 h 281"/>
                <a:gd name="T100" fmla="*/ 2147483647 w 120"/>
                <a:gd name="T101" fmla="*/ 2147483647 h 281"/>
                <a:gd name="T102" fmla="*/ 2147483647 w 120"/>
                <a:gd name="T103" fmla="*/ 2147483647 h 281"/>
                <a:gd name="T104" fmla="*/ 2147483647 w 120"/>
                <a:gd name="T105" fmla="*/ 2147483647 h 281"/>
                <a:gd name="T106" fmla="*/ 2147483647 w 120"/>
                <a:gd name="T107" fmla="*/ 2147483647 h 281"/>
                <a:gd name="T108" fmla="*/ 2147483647 w 120"/>
                <a:gd name="T109" fmla="*/ 2147483647 h 281"/>
                <a:gd name="T110" fmla="*/ 2147483647 w 120"/>
                <a:gd name="T111" fmla="*/ 2147483647 h 281"/>
                <a:gd name="T112" fmla="*/ 2147483647 w 120"/>
                <a:gd name="T113" fmla="*/ 2147483647 h 281"/>
                <a:gd name="T114" fmla="*/ 2147483647 w 120"/>
                <a:gd name="T115" fmla="*/ 2147483647 h 281"/>
                <a:gd name="T116" fmla="*/ 2147483647 w 120"/>
                <a:gd name="T117" fmla="*/ 2147483647 h 281"/>
                <a:gd name="T118" fmla="*/ 2147483647 w 120"/>
                <a:gd name="T119" fmla="*/ 2147483647 h 28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20"/>
                <a:gd name="T181" fmla="*/ 0 h 281"/>
                <a:gd name="T182" fmla="*/ 120 w 120"/>
                <a:gd name="T183" fmla="*/ 281 h 281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20" h="281">
                  <a:moveTo>
                    <a:pt x="80" y="281"/>
                  </a:moveTo>
                  <a:lnTo>
                    <a:pt x="77" y="279"/>
                  </a:lnTo>
                  <a:lnTo>
                    <a:pt x="61" y="262"/>
                  </a:lnTo>
                  <a:lnTo>
                    <a:pt x="53" y="252"/>
                  </a:lnTo>
                  <a:lnTo>
                    <a:pt x="48" y="241"/>
                  </a:lnTo>
                  <a:lnTo>
                    <a:pt x="47" y="231"/>
                  </a:lnTo>
                  <a:lnTo>
                    <a:pt x="46" y="209"/>
                  </a:lnTo>
                  <a:lnTo>
                    <a:pt x="47" y="188"/>
                  </a:lnTo>
                  <a:lnTo>
                    <a:pt x="43" y="148"/>
                  </a:lnTo>
                  <a:lnTo>
                    <a:pt x="42" y="114"/>
                  </a:lnTo>
                  <a:lnTo>
                    <a:pt x="41" y="101"/>
                  </a:lnTo>
                  <a:lnTo>
                    <a:pt x="38" y="95"/>
                  </a:lnTo>
                  <a:lnTo>
                    <a:pt x="34" y="89"/>
                  </a:lnTo>
                  <a:lnTo>
                    <a:pt x="32" y="68"/>
                  </a:lnTo>
                  <a:lnTo>
                    <a:pt x="29" y="53"/>
                  </a:lnTo>
                  <a:lnTo>
                    <a:pt x="25" y="48"/>
                  </a:lnTo>
                  <a:lnTo>
                    <a:pt x="18" y="41"/>
                  </a:lnTo>
                  <a:lnTo>
                    <a:pt x="14" y="33"/>
                  </a:lnTo>
                  <a:lnTo>
                    <a:pt x="5" y="27"/>
                  </a:lnTo>
                  <a:lnTo>
                    <a:pt x="4" y="21"/>
                  </a:lnTo>
                  <a:lnTo>
                    <a:pt x="8" y="16"/>
                  </a:lnTo>
                  <a:lnTo>
                    <a:pt x="8" y="11"/>
                  </a:lnTo>
                  <a:lnTo>
                    <a:pt x="11" y="6"/>
                  </a:lnTo>
                  <a:lnTo>
                    <a:pt x="10" y="5"/>
                  </a:lnTo>
                  <a:lnTo>
                    <a:pt x="2" y="4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1"/>
                  </a:lnTo>
                  <a:lnTo>
                    <a:pt x="35" y="6"/>
                  </a:lnTo>
                  <a:lnTo>
                    <a:pt x="38" y="11"/>
                  </a:lnTo>
                  <a:lnTo>
                    <a:pt x="42" y="11"/>
                  </a:lnTo>
                  <a:lnTo>
                    <a:pt x="45" y="8"/>
                  </a:lnTo>
                  <a:lnTo>
                    <a:pt x="59" y="9"/>
                  </a:lnTo>
                  <a:lnTo>
                    <a:pt x="61" y="8"/>
                  </a:lnTo>
                  <a:lnTo>
                    <a:pt x="58" y="10"/>
                  </a:lnTo>
                  <a:lnTo>
                    <a:pt x="57" y="17"/>
                  </a:lnTo>
                  <a:lnTo>
                    <a:pt x="53" y="25"/>
                  </a:lnTo>
                  <a:lnTo>
                    <a:pt x="52" y="35"/>
                  </a:lnTo>
                  <a:lnTo>
                    <a:pt x="52" y="43"/>
                  </a:lnTo>
                  <a:lnTo>
                    <a:pt x="57" y="47"/>
                  </a:lnTo>
                  <a:lnTo>
                    <a:pt x="63" y="51"/>
                  </a:lnTo>
                  <a:lnTo>
                    <a:pt x="67" y="51"/>
                  </a:lnTo>
                  <a:lnTo>
                    <a:pt x="72" y="53"/>
                  </a:lnTo>
                  <a:lnTo>
                    <a:pt x="84" y="69"/>
                  </a:lnTo>
                  <a:lnTo>
                    <a:pt x="93" y="89"/>
                  </a:lnTo>
                  <a:lnTo>
                    <a:pt x="99" y="110"/>
                  </a:lnTo>
                  <a:lnTo>
                    <a:pt x="102" y="119"/>
                  </a:lnTo>
                  <a:lnTo>
                    <a:pt x="104" y="125"/>
                  </a:lnTo>
                  <a:lnTo>
                    <a:pt x="106" y="134"/>
                  </a:lnTo>
                  <a:lnTo>
                    <a:pt x="108" y="145"/>
                  </a:lnTo>
                  <a:lnTo>
                    <a:pt x="110" y="164"/>
                  </a:lnTo>
                  <a:lnTo>
                    <a:pt x="110" y="215"/>
                  </a:lnTo>
                  <a:lnTo>
                    <a:pt x="106" y="238"/>
                  </a:lnTo>
                  <a:lnTo>
                    <a:pt x="106" y="248"/>
                  </a:lnTo>
                  <a:lnTo>
                    <a:pt x="110" y="261"/>
                  </a:lnTo>
                  <a:lnTo>
                    <a:pt x="112" y="268"/>
                  </a:lnTo>
                  <a:lnTo>
                    <a:pt x="113" y="269"/>
                  </a:lnTo>
                  <a:lnTo>
                    <a:pt x="120" y="270"/>
                  </a:lnTo>
                  <a:lnTo>
                    <a:pt x="99" y="275"/>
                  </a:lnTo>
                  <a:lnTo>
                    <a:pt x="80" y="28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57" name="Freeform 52">
              <a:extLst>
                <a:ext uri="{FF2B5EF4-FFF2-40B4-BE49-F238E27FC236}">
                  <a16:creationId xmlns:a16="http://schemas.microsoft.com/office/drawing/2014/main" id="{6AB8823C-91E2-38C8-DEE5-97C4795046D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128350" y="4177905"/>
              <a:ext cx="558136" cy="579203"/>
            </a:xfrm>
            <a:custGeom>
              <a:avLst/>
              <a:gdLst>
                <a:gd name="T0" fmla="*/ 2147483647 w 1045"/>
                <a:gd name="T1" fmla="*/ 2147483647 h 1018"/>
                <a:gd name="T2" fmla="*/ 2147483647 w 1045"/>
                <a:gd name="T3" fmla="*/ 2147483647 h 1018"/>
                <a:gd name="T4" fmla="*/ 2147483647 w 1045"/>
                <a:gd name="T5" fmla="*/ 2147483647 h 1018"/>
                <a:gd name="T6" fmla="*/ 2147483647 w 1045"/>
                <a:gd name="T7" fmla="*/ 2147483647 h 1018"/>
                <a:gd name="T8" fmla="*/ 2147483647 w 1045"/>
                <a:gd name="T9" fmla="*/ 2147483647 h 1018"/>
                <a:gd name="T10" fmla="*/ 2147483647 w 1045"/>
                <a:gd name="T11" fmla="*/ 2147483647 h 1018"/>
                <a:gd name="T12" fmla="*/ 2147483647 w 1045"/>
                <a:gd name="T13" fmla="*/ 2147483647 h 1018"/>
                <a:gd name="T14" fmla="*/ 2147483647 w 1045"/>
                <a:gd name="T15" fmla="*/ 2147483647 h 1018"/>
                <a:gd name="T16" fmla="*/ 2147483647 w 1045"/>
                <a:gd name="T17" fmla="*/ 2147483647 h 1018"/>
                <a:gd name="T18" fmla="*/ 2147483647 w 1045"/>
                <a:gd name="T19" fmla="*/ 2147483647 h 1018"/>
                <a:gd name="T20" fmla="*/ 2147483647 w 1045"/>
                <a:gd name="T21" fmla="*/ 2147483647 h 1018"/>
                <a:gd name="T22" fmla="*/ 2147483647 w 1045"/>
                <a:gd name="T23" fmla="*/ 2147483647 h 1018"/>
                <a:gd name="T24" fmla="*/ 2147483647 w 1045"/>
                <a:gd name="T25" fmla="*/ 0 h 1018"/>
                <a:gd name="T26" fmla="*/ 2147483647 w 1045"/>
                <a:gd name="T27" fmla="*/ 0 h 1018"/>
                <a:gd name="T28" fmla="*/ 2147483647 w 1045"/>
                <a:gd name="T29" fmla="*/ 0 h 1018"/>
                <a:gd name="T30" fmla="*/ 2147483647 w 1045"/>
                <a:gd name="T31" fmla="*/ 0 h 1018"/>
                <a:gd name="T32" fmla="*/ 2147483647 w 1045"/>
                <a:gd name="T33" fmla="*/ 0 h 1018"/>
                <a:gd name="T34" fmla="*/ 2147483647 w 1045"/>
                <a:gd name="T35" fmla="*/ 0 h 1018"/>
                <a:gd name="T36" fmla="*/ 2147483647 w 1045"/>
                <a:gd name="T37" fmla="*/ 0 h 1018"/>
                <a:gd name="T38" fmla="*/ 2147483647 w 1045"/>
                <a:gd name="T39" fmla="*/ 0 h 1018"/>
                <a:gd name="T40" fmla="*/ 2147483647 w 1045"/>
                <a:gd name="T41" fmla="*/ 0 h 1018"/>
                <a:gd name="T42" fmla="*/ 2147483647 w 1045"/>
                <a:gd name="T43" fmla="*/ 0 h 1018"/>
                <a:gd name="T44" fmla="*/ 2147483647 w 1045"/>
                <a:gd name="T45" fmla="*/ 0 h 1018"/>
                <a:gd name="T46" fmla="*/ 2147483647 w 1045"/>
                <a:gd name="T47" fmla="*/ 2147483647 h 1018"/>
                <a:gd name="T48" fmla="*/ 2147483647 w 1045"/>
                <a:gd name="T49" fmla="*/ 2147483647 h 1018"/>
                <a:gd name="T50" fmla="*/ 2147483647 w 1045"/>
                <a:gd name="T51" fmla="*/ 2147483647 h 1018"/>
                <a:gd name="T52" fmla="*/ 2147483647 w 1045"/>
                <a:gd name="T53" fmla="*/ 2147483647 h 1018"/>
                <a:gd name="T54" fmla="*/ 2147483647 w 1045"/>
                <a:gd name="T55" fmla="*/ 2147483647 h 1018"/>
                <a:gd name="T56" fmla="*/ 2147483647 w 1045"/>
                <a:gd name="T57" fmla="*/ 2147483647 h 1018"/>
                <a:gd name="T58" fmla="*/ 0 w 1045"/>
                <a:gd name="T59" fmla="*/ 2147483647 h 1018"/>
                <a:gd name="T60" fmla="*/ 0 w 1045"/>
                <a:gd name="T61" fmla="*/ 2147483647 h 1018"/>
                <a:gd name="T62" fmla="*/ 0 w 1045"/>
                <a:gd name="T63" fmla="*/ 2147483647 h 1018"/>
                <a:gd name="T64" fmla="*/ 2147483647 w 1045"/>
                <a:gd name="T65" fmla="*/ 2147483647 h 1018"/>
                <a:gd name="T66" fmla="*/ 2147483647 w 1045"/>
                <a:gd name="T67" fmla="*/ 2147483647 h 1018"/>
                <a:gd name="T68" fmla="*/ 2147483647 w 1045"/>
                <a:gd name="T69" fmla="*/ 2147483647 h 1018"/>
                <a:gd name="T70" fmla="*/ 2147483647 w 1045"/>
                <a:gd name="T71" fmla="*/ 2147483647 h 1018"/>
                <a:gd name="T72" fmla="*/ 2147483647 w 1045"/>
                <a:gd name="T73" fmla="*/ 2147483647 h 1018"/>
                <a:gd name="T74" fmla="*/ 2147483647 w 1045"/>
                <a:gd name="T75" fmla="*/ 2147483647 h 1018"/>
                <a:gd name="T76" fmla="*/ 2147483647 w 1045"/>
                <a:gd name="T77" fmla="*/ 2147483647 h 1018"/>
                <a:gd name="T78" fmla="*/ 2147483647 w 1045"/>
                <a:gd name="T79" fmla="*/ 2147483647 h 1018"/>
                <a:gd name="T80" fmla="*/ 2147483647 w 1045"/>
                <a:gd name="T81" fmla="*/ 2147483647 h 1018"/>
                <a:gd name="T82" fmla="*/ 2147483647 w 1045"/>
                <a:gd name="T83" fmla="*/ 2147483647 h 1018"/>
                <a:gd name="T84" fmla="*/ 2147483647 w 1045"/>
                <a:gd name="T85" fmla="*/ 2147483647 h 1018"/>
                <a:gd name="T86" fmla="*/ 2147483647 w 1045"/>
                <a:gd name="T87" fmla="*/ 2147483647 h 1018"/>
                <a:gd name="T88" fmla="*/ 2147483647 w 1045"/>
                <a:gd name="T89" fmla="*/ 2147483647 h 1018"/>
                <a:gd name="T90" fmla="*/ 2147483647 w 1045"/>
                <a:gd name="T91" fmla="*/ 2147483647 h 1018"/>
                <a:gd name="T92" fmla="*/ 2147483647 w 1045"/>
                <a:gd name="T93" fmla="*/ 2147483647 h 1018"/>
                <a:gd name="T94" fmla="*/ 2147483647 w 1045"/>
                <a:gd name="T95" fmla="*/ 2147483647 h 1018"/>
                <a:gd name="T96" fmla="*/ 2147483647 w 1045"/>
                <a:gd name="T97" fmla="*/ 2147483647 h 1018"/>
                <a:gd name="T98" fmla="*/ 2147483647 w 1045"/>
                <a:gd name="T99" fmla="*/ 2147483647 h 1018"/>
                <a:gd name="T100" fmla="*/ 2147483647 w 1045"/>
                <a:gd name="T101" fmla="*/ 2147483647 h 1018"/>
                <a:gd name="T102" fmla="*/ 2147483647 w 1045"/>
                <a:gd name="T103" fmla="*/ 2147483647 h 1018"/>
                <a:gd name="T104" fmla="*/ 2147483647 w 1045"/>
                <a:gd name="T105" fmla="*/ 2147483647 h 1018"/>
                <a:gd name="T106" fmla="*/ 2147483647 w 1045"/>
                <a:gd name="T107" fmla="*/ 2147483647 h 1018"/>
                <a:gd name="T108" fmla="*/ 2147483647 w 1045"/>
                <a:gd name="T109" fmla="*/ 2147483647 h 1018"/>
                <a:gd name="T110" fmla="*/ 2147483647 w 1045"/>
                <a:gd name="T111" fmla="*/ 2147483647 h 1018"/>
                <a:gd name="T112" fmla="*/ 2147483647 w 1045"/>
                <a:gd name="T113" fmla="*/ 2147483647 h 1018"/>
                <a:gd name="T114" fmla="*/ 2147483647 w 1045"/>
                <a:gd name="T115" fmla="*/ 2147483647 h 1018"/>
                <a:gd name="T116" fmla="*/ 2147483647 w 1045"/>
                <a:gd name="T117" fmla="*/ 2147483647 h 1018"/>
                <a:gd name="T118" fmla="*/ 2147483647 w 1045"/>
                <a:gd name="T119" fmla="*/ 2147483647 h 1018"/>
                <a:gd name="T120" fmla="*/ 2147483647 w 1045"/>
                <a:gd name="T121" fmla="*/ 2147483647 h 101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045"/>
                <a:gd name="T184" fmla="*/ 0 h 1018"/>
                <a:gd name="T185" fmla="*/ 1045 w 1045"/>
                <a:gd name="T186" fmla="*/ 1018 h 101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045" h="1018">
                  <a:moveTo>
                    <a:pt x="1003" y="735"/>
                  </a:moveTo>
                  <a:lnTo>
                    <a:pt x="995" y="700"/>
                  </a:lnTo>
                  <a:lnTo>
                    <a:pt x="986" y="688"/>
                  </a:lnTo>
                  <a:lnTo>
                    <a:pt x="972" y="684"/>
                  </a:lnTo>
                  <a:lnTo>
                    <a:pt x="960" y="671"/>
                  </a:lnTo>
                  <a:lnTo>
                    <a:pt x="952" y="662"/>
                  </a:lnTo>
                  <a:lnTo>
                    <a:pt x="945" y="646"/>
                  </a:lnTo>
                  <a:lnTo>
                    <a:pt x="940" y="639"/>
                  </a:lnTo>
                  <a:lnTo>
                    <a:pt x="936" y="622"/>
                  </a:lnTo>
                  <a:lnTo>
                    <a:pt x="939" y="609"/>
                  </a:lnTo>
                  <a:lnTo>
                    <a:pt x="939" y="597"/>
                  </a:lnTo>
                  <a:lnTo>
                    <a:pt x="933" y="585"/>
                  </a:lnTo>
                  <a:lnTo>
                    <a:pt x="927" y="566"/>
                  </a:lnTo>
                  <a:lnTo>
                    <a:pt x="928" y="551"/>
                  </a:lnTo>
                  <a:lnTo>
                    <a:pt x="933" y="528"/>
                  </a:lnTo>
                  <a:lnTo>
                    <a:pt x="932" y="517"/>
                  </a:lnTo>
                  <a:lnTo>
                    <a:pt x="928" y="520"/>
                  </a:lnTo>
                  <a:lnTo>
                    <a:pt x="927" y="515"/>
                  </a:lnTo>
                  <a:lnTo>
                    <a:pt x="928" y="503"/>
                  </a:lnTo>
                  <a:lnTo>
                    <a:pt x="933" y="488"/>
                  </a:lnTo>
                  <a:lnTo>
                    <a:pt x="934" y="478"/>
                  </a:lnTo>
                  <a:lnTo>
                    <a:pt x="938" y="471"/>
                  </a:lnTo>
                  <a:lnTo>
                    <a:pt x="935" y="447"/>
                  </a:lnTo>
                  <a:lnTo>
                    <a:pt x="933" y="441"/>
                  </a:lnTo>
                  <a:lnTo>
                    <a:pt x="927" y="435"/>
                  </a:lnTo>
                  <a:lnTo>
                    <a:pt x="922" y="428"/>
                  </a:lnTo>
                  <a:lnTo>
                    <a:pt x="920" y="424"/>
                  </a:lnTo>
                  <a:lnTo>
                    <a:pt x="920" y="417"/>
                  </a:lnTo>
                  <a:lnTo>
                    <a:pt x="930" y="403"/>
                  </a:lnTo>
                  <a:lnTo>
                    <a:pt x="934" y="392"/>
                  </a:lnTo>
                  <a:lnTo>
                    <a:pt x="941" y="379"/>
                  </a:lnTo>
                  <a:lnTo>
                    <a:pt x="949" y="367"/>
                  </a:lnTo>
                  <a:lnTo>
                    <a:pt x="956" y="360"/>
                  </a:lnTo>
                  <a:lnTo>
                    <a:pt x="959" y="358"/>
                  </a:lnTo>
                  <a:lnTo>
                    <a:pt x="960" y="337"/>
                  </a:lnTo>
                  <a:lnTo>
                    <a:pt x="962" y="309"/>
                  </a:lnTo>
                  <a:lnTo>
                    <a:pt x="962" y="295"/>
                  </a:lnTo>
                  <a:lnTo>
                    <a:pt x="970" y="264"/>
                  </a:lnTo>
                  <a:lnTo>
                    <a:pt x="976" y="253"/>
                  </a:lnTo>
                  <a:lnTo>
                    <a:pt x="979" y="248"/>
                  </a:lnTo>
                  <a:lnTo>
                    <a:pt x="992" y="234"/>
                  </a:lnTo>
                  <a:lnTo>
                    <a:pt x="1003" y="221"/>
                  </a:lnTo>
                  <a:lnTo>
                    <a:pt x="1009" y="215"/>
                  </a:lnTo>
                  <a:lnTo>
                    <a:pt x="1011" y="209"/>
                  </a:lnTo>
                  <a:lnTo>
                    <a:pt x="1015" y="202"/>
                  </a:lnTo>
                  <a:lnTo>
                    <a:pt x="1026" y="197"/>
                  </a:lnTo>
                  <a:lnTo>
                    <a:pt x="1032" y="192"/>
                  </a:lnTo>
                  <a:lnTo>
                    <a:pt x="1041" y="183"/>
                  </a:lnTo>
                  <a:lnTo>
                    <a:pt x="1045" y="175"/>
                  </a:lnTo>
                  <a:lnTo>
                    <a:pt x="1043" y="167"/>
                  </a:lnTo>
                  <a:lnTo>
                    <a:pt x="1041" y="162"/>
                  </a:lnTo>
                  <a:lnTo>
                    <a:pt x="1032" y="160"/>
                  </a:lnTo>
                  <a:lnTo>
                    <a:pt x="1027" y="156"/>
                  </a:lnTo>
                  <a:lnTo>
                    <a:pt x="1022" y="151"/>
                  </a:lnTo>
                  <a:lnTo>
                    <a:pt x="1020" y="143"/>
                  </a:lnTo>
                  <a:lnTo>
                    <a:pt x="1019" y="121"/>
                  </a:lnTo>
                  <a:lnTo>
                    <a:pt x="1022" y="103"/>
                  </a:lnTo>
                  <a:lnTo>
                    <a:pt x="1025" y="94"/>
                  </a:lnTo>
                  <a:lnTo>
                    <a:pt x="1025" y="90"/>
                  </a:lnTo>
                  <a:lnTo>
                    <a:pt x="1019" y="90"/>
                  </a:lnTo>
                  <a:lnTo>
                    <a:pt x="1013" y="85"/>
                  </a:lnTo>
                  <a:lnTo>
                    <a:pt x="1004" y="76"/>
                  </a:lnTo>
                  <a:lnTo>
                    <a:pt x="990" y="68"/>
                  </a:lnTo>
                  <a:lnTo>
                    <a:pt x="966" y="42"/>
                  </a:lnTo>
                  <a:lnTo>
                    <a:pt x="955" y="36"/>
                  </a:lnTo>
                  <a:lnTo>
                    <a:pt x="943" y="46"/>
                  </a:lnTo>
                  <a:lnTo>
                    <a:pt x="932" y="47"/>
                  </a:lnTo>
                  <a:lnTo>
                    <a:pt x="905" y="41"/>
                  </a:lnTo>
                  <a:lnTo>
                    <a:pt x="898" y="49"/>
                  </a:lnTo>
                  <a:lnTo>
                    <a:pt x="892" y="52"/>
                  </a:lnTo>
                  <a:lnTo>
                    <a:pt x="869" y="43"/>
                  </a:lnTo>
                  <a:lnTo>
                    <a:pt x="864" y="33"/>
                  </a:lnTo>
                  <a:lnTo>
                    <a:pt x="858" y="25"/>
                  </a:lnTo>
                  <a:lnTo>
                    <a:pt x="846" y="16"/>
                  </a:lnTo>
                  <a:lnTo>
                    <a:pt x="839" y="5"/>
                  </a:lnTo>
                  <a:lnTo>
                    <a:pt x="811" y="5"/>
                  </a:lnTo>
                  <a:lnTo>
                    <a:pt x="803" y="16"/>
                  </a:lnTo>
                  <a:lnTo>
                    <a:pt x="791" y="9"/>
                  </a:lnTo>
                  <a:lnTo>
                    <a:pt x="784" y="16"/>
                  </a:lnTo>
                  <a:lnTo>
                    <a:pt x="771" y="0"/>
                  </a:lnTo>
                  <a:lnTo>
                    <a:pt x="756" y="5"/>
                  </a:lnTo>
                  <a:lnTo>
                    <a:pt x="733" y="9"/>
                  </a:lnTo>
                  <a:lnTo>
                    <a:pt x="713" y="4"/>
                  </a:lnTo>
                  <a:lnTo>
                    <a:pt x="709" y="16"/>
                  </a:lnTo>
                  <a:lnTo>
                    <a:pt x="697" y="16"/>
                  </a:lnTo>
                  <a:lnTo>
                    <a:pt x="690" y="19"/>
                  </a:lnTo>
                  <a:lnTo>
                    <a:pt x="682" y="16"/>
                  </a:lnTo>
                  <a:lnTo>
                    <a:pt x="683" y="16"/>
                  </a:lnTo>
                  <a:lnTo>
                    <a:pt x="682" y="10"/>
                  </a:lnTo>
                  <a:lnTo>
                    <a:pt x="676" y="10"/>
                  </a:lnTo>
                  <a:lnTo>
                    <a:pt x="665" y="16"/>
                  </a:lnTo>
                  <a:lnTo>
                    <a:pt x="639" y="21"/>
                  </a:lnTo>
                  <a:lnTo>
                    <a:pt x="628" y="27"/>
                  </a:lnTo>
                  <a:lnTo>
                    <a:pt x="610" y="32"/>
                  </a:lnTo>
                  <a:lnTo>
                    <a:pt x="601" y="27"/>
                  </a:lnTo>
                  <a:lnTo>
                    <a:pt x="583" y="24"/>
                  </a:lnTo>
                  <a:lnTo>
                    <a:pt x="569" y="32"/>
                  </a:lnTo>
                  <a:lnTo>
                    <a:pt x="567" y="49"/>
                  </a:lnTo>
                  <a:lnTo>
                    <a:pt x="559" y="53"/>
                  </a:lnTo>
                  <a:lnTo>
                    <a:pt x="509" y="53"/>
                  </a:lnTo>
                  <a:lnTo>
                    <a:pt x="486" y="47"/>
                  </a:lnTo>
                  <a:lnTo>
                    <a:pt x="472" y="37"/>
                  </a:lnTo>
                  <a:lnTo>
                    <a:pt x="465" y="46"/>
                  </a:lnTo>
                  <a:lnTo>
                    <a:pt x="457" y="43"/>
                  </a:lnTo>
                  <a:lnTo>
                    <a:pt x="436" y="25"/>
                  </a:lnTo>
                  <a:lnTo>
                    <a:pt x="434" y="16"/>
                  </a:lnTo>
                  <a:lnTo>
                    <a:pt x="427" y="6"/>
                  </a:lnTo>
                  <a:lnTo>
                    <a:pt x="411" y="5"/>
                  </a:lnTo>
                  <a:lnTo>
                    <a:pt x="397" y="5"/>
                  </a:lnTo>
                  <a:lnTo>
                    <a:pt x="384" y="16"/>
                  </a:lnTo>
                  <a:lnTo>
                    <a:pt x="378" y="22"/>
                  </a:lnTo>
                  <a:lnTo>
                    <a:pt x="371" y="37"/>
                  </a:lnTo>
                  <a:lnTo>
                    <a:pt x="363" y="42"/>
                  </a:lnTo>
                  <a:lnTo>
                    <a:pt x="360" y="56"/>
                  </a:lnTo>
                  <a:lnTo>
                    <a:pt x="359" y="75"/>
                  </a:lnTo>
                  <a:lnTo>
                    <a:pt x="362" y="84"/>
                  </a:lnTo>
                  <a:lnTo>
                    <a:pt x="349" y="86"/>
                  </a:lnTo>
                  <a:lnTo>
                    <a:pt x="352" y="103"/>
                  </a:lnTo>
                  <a:lnTo>
                    <a:pt x="347" y="122"/>
                  </a:lnTo>
                  <a:lnTo>
                    <a:pt x="326" y="159"/>
                  </a:lnTo>
                  <a:lnTo>
                    <a:pt x="316" y="183"/>
                  </a:lnTo>
                  <a:lnTo>
                    <a:pt x="307" y="227"/>
                  </a:lnTo>
                  <a:lnTo>
                    <a:pt x="306" y="293"/>
                  </a:lnTo>
                  <a:lnTo>
                    <a:pt x="299" y="323"/>
                  </a:lnTo>
                  <a:lnTo>
                    <a:pt x="298" y="327"/>
                  </a:lnTo>
                  <a:lnTo>
                    <a:pt x="283" y="340"/>
                  </a:lnTo>
                  <a:lnTo>
                    <a:pt x="264" y="350"/>
                  </a:lnTo>
                  <a:lnTo>
                    <a:pt x="247" y="366"/>
                  </a:lnTo>
                  <a:lnTo>
                    <a:pt x="224" y="402"/>
                  </a:lnTo>
                  <a:lnTo>
                    <a:pt x="217" y="423"/>
                  </a:lnTo>
                  <a:lnTo>
                    <a:pt x="213" y="444"/>
                  </a:lnTo>
                  <a:lnTo>
                    <a:pt x="213" y="462"/>
                  </a:lnTo>
                  <a:lnTo>
                    <a:pt x="209" y="480"/>
                  </a:lnTo>
                  <a:lnTo>
                    <a:pt x="196" y="501"/>
                  </a:lnTo>
                  <a:lnTo>
                    <a:pt x="181" y="516"/>
                  </a:lnTo>
                  <a:lnTo>
                    <a:pt x="167" y="523"/>
                  </a:lnTo>
                  <a:lnTo>
                    <a:pt x="144" y="544"/>
                  </a:lnTo>
                  <a:lnTo>
                    <a:pt x="123" y="552"/>
                  </a:lnTo>
                  <a:lnTo>
                    <a:pt x="113" y="549"/>
                  </a:lnTo>
                  <a:lnTo>
                    <a:pt x="112" y="531"/>
                  </a:lnTo>
                  <a:lnTo>
                    <a:pt x="110" y="526"/>
                  </a:lnTo>
                  <a:lnTo>
                    <a:pt x="96" y="530"/>
                  </a:lnTo>
                  <a:lnTo>
                    <a:pt x="83" y="532"/>
                  </a:lnTo>
                  <a:lnTo>
                    <a:pt x="75" y="538"/>
                  </a:lnTo>
                  <a:lnTo>
                    <a:pt x="68" y="551"/>
                  </a:lnTo>
                  <a:lnTo>
                    <a:pt x="56" y="554"/>
                  </a:lnTo>
                  <a:lnTo>
                    <a:pt x="40" y="544"/>
                  </a:lnTo>
                  <a:lnTo>
                    <a:pt x="36" y="546"/>
                  </a:lnTo>
                  <a:lnTo>
                    <a:pt x="27" y="552"/>
                  </a:lnTo>
                  <a:lnTo>
                    <a:pt x="18" y="560"/>
                  </a:lnTo>
                  <a:lnTo>
                    <a:pt x="14" y="576"/>
                  </a:lnTo>
                  <a:lnTo>
                    <a:pt x="11" y="591"/>
                  </a:lnTo>
                  <a:lnTo>
                    <a:pt x="10" y="603"/>
                  </a:lnTo>
                  <a:lnTo>
                    <a:pt x="2" y="608"/>
                  </a:lnTo>
                  <a:lnTo>
                    <a:pt x="3" y="612"/>
                  </a:lnTo>
                  <a:lnTo>
                    <a:pt x="3" y="619"/>
                  </a:lnTo>
                  <a:lnTo>
                    <a:pt x="0" y="625"/>
                  </a:lnTo>
                  <a:lnTo>
                    <a:pt x="2" y="629"/>
                  </a:lnTo>
                  <a:lnTo>
                    <a:pt x="3" y="627"/>
                  </a:lnTo>
                  <a:lnTo>
                    <a:pt x="9" y="624"/>
                  </a:lnTo>
                  <a:lnTo>
                    <a:pt x="27" y="619"/>
                  </a:lnTo>
                  <a:lnTo>
                    <a:pt x="41" y="612"/>
                  </a:lnTo>
                  <a:lnTo>
                    <a:pt x="54" y="607"/>
                  </a:lnTo>
                  <a:lnTo>
                    <a:pt x="63" y="607"/>
                  </a:lnTo>
                  <a:lnTo>
                    <a:pt x="70" y="606"/>
                  </a:lnTo>
                  <a:lnTo>
                    <a:pt x="94" y="607"/>
                  </a:lnTo>
                  <a:lnTo>
                    <a:pt x="116" y="605"/>
                  </a:lnTo>
                  <a:lnTo>
                    <a:pt x="123" y="607"/>
                  </a:lnTo>
                  <a:lnTo>
                    <a:pt x="142" y="608"/>
                  </a:lnTo>
                  <a:lnTo>
                    <a:pt x="155" y="606"/>
                  </a:lnTo>
                  <a:lnTo>
                    <a:pt x="169" y="606"/>
                  </a:lnTo>
                  <a:lnTo>
                    <a:pt x="202" y="603"/>
                  </a:lnTo>
                  <a:lnTo>
                    <a:pt x="218" y="605"/>
                  </a:lnTo>
                  <a:lnTo>
                    <a:pt x="220" y="606"/>
                  </a:lnTo>
                  <a:lnTo>
                    <a:pt x="225" y="613"/>
                  </a:lnTo>
                  <a:lnTo>
                    <a:pt x="229" y="614"/>
                  </a:lnTo>
                  <a:lnTo>
                    <a:pt x="233" y="613"/>
                  </a:lnTo>
                  <a:lnTo>
                    <a:pt x="237" y="622"/>
                  </a:lnTo>
                  <a:lnTo>
                    <a:pt x="242" y="640"/>
                  </a:lnTo>
                  <a:lnTo>
                    <a:pt x="244" y="654"/>
                  </a:lnTo>
                  <a:lnTo>
                    <a:pt x="245" y="659"/>
                  </a:lnTo>
                  <a:lnTo>
                    <a:pt x="252" y="671"/>
                  </a:lnTo>
                  <a:lnTo>
                    <a:pt x="256" y="687"/>
                  </a:lnTo>
                  <a:lnTo>
                    <a:pt x="268" y="700"/>
                  </a:lnTo>
                  <a:lnTo>
                    <a:pt x="289" y="727"/>
                  </a:lnTo>
                  <a:lnTo>
                    <a:pt x="301" y="732"/>
                  </a:lnTo>
                  <a:lnTo>
                    <a:pt x="315" y="732"/>
                  </a:lnTo>
                  <a:lnTo>
                    <a:pt x="336" y="725"/>
                  </a:lnTo>
                  <a:lnTo>
                    <a:pt x="349" y="722"/>
                  </a:lnTo>
                  <a:lnTo>
                    <a:pt x="366" y="725"/>
                  </a:lnTo>
                  <a:lnTo>
                    <a:pt x="386" y="725"/>
                  </a:lnTo>
                  <a:lnTo>
                    <a:pt x="389" y="710"/>
                  </a:lnTo>
                  <a:lnTo>
                    <a:pt x="390" y="703"/>
                  </a:lnTo>
                  <a:lnTo>
                    <a:pt x="392" y="698"/>
                  </a:lnTo>
                  <a:lnTo>
                    <a:pt x="393" y="694"/>
                  </a:lnTo>
                  <a:lnTo>
                    <a:pt x="395" y="689"/>
                  </a:lnTo>
                  <a:lnTo>
                    <a:pt x="396" y="678"/>
                  </a:lnTo>
                  <a:lnTo>
                    <a:pt x="398" y="670"/>
                  </a:lnTo>
                  <a:lnTo>
                    <a:pt x="441" y="670"/>
                  </a:lnTo>
                  <a:lnTo>
                    <a:pt x="444" y="664"/>
                  </a:lnTo>
                  <a:lnTo>
                    <a:pt x="467" y="664"/>
                  </a:lnTo>
                  <a:lnTo>
                    <a:pt x="466" y="686"/>
                  </a:lnTo>
                  <a:lnTo>
                    <a:pt x="514" y="687"/>
                  </a:lnTo>
                  <a:lnTo>
                    <a:pt x="518" y="691"/>
                  </a:lnTo>
                  <a:lnTo>
                    <a:pt x="520" y="699"/>
                  </a:lnTo>
                  <a:lnTo>
                    <a:pt x="522" y="731"/>
                  </a:lnTo>
                  <a:lnTo>
                    <a:pt x="525" y="743"/>
                  </a:lnTo>
                  <a:lnTo>
                    <a:pt x="525" y="759"/>
                  </a:lnTo>
                  <a:lnTo>
                    <a:pt x="527" y="775"/>
                  </a:lnTo>
                  <a:lnTo>
                    <a:pt x="527" y="781"/>
                  </a:lnTo>
                  <a:lnTo>
                    <a:pt x="524" y="792"/>
                  </a:lnTo>
                  <a:lnTo>
                    <a:pt x="524" y="806"/>
                  </a:lnTo>
                  <a:lnTo>
                    <a:pt x="526" y="815"/>
                  </a:lnTo>
                  <a:lnTo>
                    <a:pt x="535" y="829"/>
                  </a:lnTo>
                  <a:lnTo>
                    <a:pt x="541" y="850"/>
                  </a:lnTo>
                  <a:lnTo>
                    <a:pt x="547" y="866"/>
                  </a:lnTo>
                  <a:lnTo>
                    <a:pt x="547" y="874"/>
                  </a:lnTo>
                  <a:lnTo>
                    <a:pt x="542" y="881"/>
                  </a:lnTo>
                  <a:lnTo>
                    <a:pt x="531" y="892"/>
                  </a:lnTo>
                  <a:lnTo>
                    <a:pt x="531" y="894"/>
                  </a:lnTo>
                  <a:lnTo>
                    <a:pt x="532" y="897"/>
                  </a:lnTo>
                  <a:lnTo>
                    <a:pt x="534" y="898"/>
                  </a:lnTo>
                  <a:lnTo>
                    <a:pt x="537" y="899"/>
                  </a:lnTo>
                  <a:lnTo>
                    <a:pt x="543" y="907"/>
                  </a:lnTo>
                  <a:lnTo>
                    <a:pt x="549" y="908"/>
                  </a:lnTo>
                  <a:lnTo>
                    <a:pt x="552" y="907"/>
                  </a:lnTo>
                  <a:lnTo>
                    <a:pt x="554" y="901"/>
                  </a:lnTo>
                  <a:lnTo>
                    <a:pt x="557" y="893"/>
                  </a:lnTo>
                  <a:lnTo>
                    <a:pt x="562" y="891"/>
                  </a:lnTo>
                  <a:lnTo>
                    <a:pt x="613" y="891"/>
                  </a:lnTo>
                  <a:lnTo>
                    <a:pt x="623" y="887"/>
                  </a:lnTo>
                  <a:lnTo>
                    <a:pt x="632" y="890"/>
                  </a:lnTo>
                  <a:lnTo>
                    <a:pt x="634" y="890"/>
                  </a:lnTo>
                  <a:lnTo>
                    <a:pt x="644" y="882"/>
                  </a:lnTo>
                  <a:lnTo>
                    <a:pt x="645" y="882"/>
                  </a:lnTo>
                  <a:lnTo>
                    <a:pt x="655" y="880"/>
                  </a:lnTo>
                  <a:lnTo>
                    <a:pt x="659" y="880"/>
                  </a:lnTo>
                  <a:lnTo>
                    <a:pt x="661" y="881"/>
                  </a:lnTo>
                  <a:lnTo>
                    <a:pt x="667" y="891"/>
                  </a:lnTo>
                  <a:lnTo>
                    <a:pt x="667" y="903"/>
                  </a:lnTo>
                  <a:lnTo>
                    <a:pt x="669" y="908"/>
                  </a:lnTo>
                  <a:lnTo>
                    <a:pt x="672" y="908"/>
                  </a:lnTo>
                  <a:lnTo>
                    <a:pt x="686" y="902"/>
                  </a:lnTo>
                  <a:lnTo>
                    <a:pt x="691" y="901"/>
                  </a:lnTo>
                  <a:lnTo>
                    <a:pt x="697" y="901"/>
                  </a:lnTo>
                  <a:lnTo>
                    <a:pt x="708" y="896"/>
                  </a:lnTo>
                  <a:lnTo>
                    <a:pt x="714" y="904"/>
                  </a:lnTo>
                  <a:lnTo>
                    <a:pt x="718" y="913"/>
                  </a:lnTo>
                  <a:lnTo>
                    <a:pt x="723" y="919"/>
                  </a:lnTo>
                  <a:lnTo>
                    <a:pt x="736" y="925"/>
                  </a:lnTo>
                  <a:lnTo>
                    <a:pt x="748" y="933"/>
                  </a:lnTo>
                  <a:lnTo>
                    <a:pt x="766" y="940"/>
                  </a:lnTo>
                  <a:lnTo>
                    <a:pt x="778" y="941"/>
                  </a:lnTo>
                  <a:lnTo>
                    <a:pt x="787" y="939"/>
                  </a:lnTo>
                  <a:lnTo>
                    <a:pt x="799" y="934"/>
                  </a:lnTo>
                  <a:lnTo>
                    <a:pt x="809" y="931"/>
                  </a:lnTo>
                  <a:lnTo>
                    <a:pt x="814" y="933"/>
                  </a:lnTo>
                  <a:lnTo>
                    <a:pt x="833" y="951"/>
                  </a:lnTo>
                  <a:lnTo>
                    <a:pt x="847" y="957"/>
                  </a:lnTo>
                  <a:lnTo>
                    <a:pt x="858" y="961"/>
                  </a:lnTo>
                  <a:lnTo>
                    <a:pt x="869" y="962"/>
                  </a:lnTo>
                  <a:lnTo>
                    <a:pt x="876" y="968"/>
                  </a:lnTo>
                  <a:lnTo>
                    <a:pt x="881" y="980"/>
                  </a:lnTo>
                  <a:lnTo>
                    <a:pt x="885" y="987"/>
                  </a:lnTo>
                  <a:lnTo>
                    <a:pt x="898" y="999"/>
                  </a:lnTo>
                  <a:lnTo>
                    <a:pt x="912" y="1007"/>
                  </a:lnTo>
                  <a:lnTo>
                    <a:pt x="922" y="1011"/>
                  </a:lnTo>
                  <a:lnTo>
                    <a:pt x="932" y="1012"/>
                  </a:lnTo>
                  <a:lnTo>
                    <a:pt x="935" y="1012"/>
                  </a:lnTo>
                  <a:lnTo>
                    <a:pt x="941" y="1010"/>
                  </a:lnTo>
                  <a:lnTo>
                    <a:pt x="945" y="1009"/>
                  </a:lnTo>
                  <a:lnTo>
                    <a:pt x="946" y="1010"/>
                  </a:lnTo>
                  <a:lnTo>
                    <a:pt x="951" y="1017"/>
                  </a:lnTo>
                  <a:lnTo>
                    <a:pt x="955" y="1018"/>
                  </a:lnTo>
                  <a:lnTo>
                    <a:pt x="959" y="1018"/>
                  </a:lnTo>
                  <a:lnTo>
                    <a:pt x="961" y="1016"/>
                  </a:lnTo>
                  <a:lnTo>
                    <a:pt x="961" y="1009"/>
                  </a:lnTo>
                  <a:lnTo>
                    <a:pt x="960" y="1001"/>
                  </a:lnTo>
                  <a:lnTo>
                    <a:pt x="959" y="966"/>
                  </a:lnTo>
                  <a:lnTo>
                    <a:pt x="956" y="958"/>
                  </a:lnTo>
                  <a:lnTo>
                    <a:pt x="950" y="957"/>
                  </a:lnTo>
                  <a:lnTo>
                    <a:pt x="941" y="962"/>
                  </a:lnTo>
                  <a:lnTo>
                    <a:pt x="930" y="960"/>
                  </a:lnTo>
                  <a:lnTo>
                    <a:pt x="918" y="960"/>
                  </a:lnTo>
                  <a:lnTo>
                    <a:pt x="911" y="955"/>
                  </a:lnTo>
                  <a:lnTo>
                    <a:pt x="901" y="942"/>
                  </a:lnTo>
                  <a:lnTo>
                    <a:pt x="895" y="936"/>
                  </a:lnTo>
                  <a:lnTo>
                    <a:pt x="893" y="934"/>
                  </a:lnTo>
                  <a:lnTo>
                    <a:pt x="892" y="924"/>
                  </a:lnTo>
                  <a:lnTo>
                    <a:pt x="895" y="917"/>
                  </a:lnTo>
                  <a:lnTo>
                    <a:pt x="897" y="905"/>
                  </a:lnTo>
                  <a:lnTo>
                    <a:pt x="912" y="866"/>
                  </a:lnTo>
                  <a:lnTo>
                    <a:pt x="913" y="859"/>
                  </a:lnTo>
                  <a:lnTo>
                    <a:pt x="914" y="834"/>
                  </a:lnTo>
                  <a:lnTo>
                    <a:pt x="912" y="820"/>
                  </a:lnTo>
                  <a:lnTo>
                    <a:pt x="905" y="801"/>
                  </a:lnTo>
                  <a:lnTo>
                    <a:pt x="905" y="791"/>
                  </a:lnTo>
                  <a:lnTo>
                    <a:pt x="907" y="788"/>
                  </a:lnTo>
                  <a:lnTo>
                    <a:pt x="909" y="779"/>
                  </a:lnTo>
                  <a:lnTo>
                    <a:pt x="914" y="772"/>
                  </a:lnTo>
                  <a:lnTo>
                    <a:pt x="922" y="758"/>
                  </a:lnTo>
                  <a:lnTo>
                    <a:pt x="924" y="756"/>
                  </a:lnTo>
                  <a:lnTo>
                    <a:pt x="929" y="752"/>
                  </a:lnTo>
                  <a:lnTo>
                    <a:pt x="932" y="752"/>
                  </a:lnTo>
                  <a:lnTo>
                    <a:pt x="941" y="748"/>
                  </a:lnTo>
                  <a:lnTo>
                    <a:pt x="1003" y="73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58" name="Freeform 53">
              <a:extLst>
                <a:ext uri="{FF2B5EF4-FFF2-40B4-BE49-F238E27FC236}">
                  <a16:creationId xmlns:a16="http://schemas.microsoft.com/office/drawing/2014/main" id="{B74BAB6D-BCEA-2B42-A24C-6F5871B7A6E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0006946" y="5721938"/>
              <a:ext cx="105957" cy="123462"/>
            </a:xfrm>
            <a:custGeom>
              <a:avLst/>
              <a:gdLst>
                <a:gd name="T0" fmla="*/ 0 w 201"/>
                <a:gd name="T1" fmla="*/ 0 h 216"/>
                <a:gd name="T2" fmla="*/ 0 w 201"/>
                <a:gd name="T3" fmla="*/ 0 h 216"/>
                <a:gd name="T4" fmla="*/ 0 w 201"/>
                <a:gd name="T5" fmla="*/ 0 h 216"/>
                <a:gd name="T6" fmla="*/ 2147483647 w 201"/>
                <a:gd name="T7" fmla="*/ 0 h 216"/>
                <a:gd name="T8" fmla="*/ 2147483647 w 201"/>
                <a:gd name="T9" fmla="*/ 0 h 216"/>
                <a:gd name="T10" fmla="*/ 2147483647 w 201"/>
                <a:gd name="T11" fmla="*/ 0 h 216"/>
                <a:gd name="T12" fmla="*/ 2147483647 w 201"/>
                <a:gd name="T13" fmla="*/ 0 h 216"/>
                <a:gd name="T14" fmla="*/ 2147483647 w 201"/>
                <a:gd name="T15" fmla="*/ 0 h 216"/>
                <a:gd name="T16" fmla="*/ 2147483647 w 201"/>
                <a:gd name="T17" fmla="*/ 0 h 216"/>
                <a:gd name="T18" fmla="*/ 2147483647 w 201"/>
                <a:gd name="T19" fmla="*/ 0 h 216"/>
                <a:gd name="T20" fmla="*/ 2147483647 w 201"/>
                <a:gd name="T21" fmla="*/ 0 h 216"/>
                <a:gd name="T22" fmla="*/ 2147483647 w 201"/>
                <a:gd name="T23" fmla="*/ 2147483647 h 216"/>
                <a:gd name="T24" fmla="*/ 2147483647 w 201"/>
                <a:gd name="T25" fmla="*/ 2147483647 h 216"/>
                <a:gd name="T26" fmla="*/ 2147483647 w 201"/>
                <a:gd name="T27" fmla="*/ 2147483647 h 216"/>
                <a:gd name="T28" fmla="*/ 2147483647 w 201"/>
                <a:gd name="T29" fmla="*/ 2147483647 h 216"/>
                <a:gd name="T30" fmla="*/ 2147483647 w 201"/>
                <a:gd name="T31" fmla="*/ 2147483647 h 216"/>
                <a:gd name="T32" fmla="*/ 2147483647 w 201"/>
                <a:gd name="T33" fmla="*/ 2147483647 h 216"/>
                <a:gd name="T34" fmla="*/ 2147483647 w 201"/>
                <a:gd name="T35" fmla="*/ 2147483647 h 216"/>
                <a:gd name="T36" fmla="*/ 2147483647 w 201"/>
                <a:gd name="T37" fmla="*/ 2147483647 h 216"/>
                <a:gd name="T38" fmla="*/ 2147483647 w 201"/>
                <a:gd name="T39" fmla="*/ 2147483647 h 216"/>
                <a:gd name="T40" fmla="*/ 2147483647 w 201"/>
                <a:gd name="T41" fmla="*/ 2147483647 h 216"/>
                <a:gd name="T42" fmla="*/ 2147483647 w 201"/>
                <a:gd name="T43" fmla="*/ 2147483647 h 216"/>
                <a:gd name="T44" fmla="*/ 2147483647 w 201"/>
                <a:gd name="T45" fmla="*/ 2147483647 h 216"/>
                <a:gd name="T46" fmla="*/ 2147483647 w 201"/>
                <a:gd name="T47" fmla="*/ 2147483647 h 216"/>
                <a:gd name="T48" fmla="*/ 2147483647 w 201"/>
                <a:gd name="T49" fmla="*/ 2147483647 h 216"/>
                <a:gd name="T50" fmla="*/ 2147483647 w 201"/>
                <a:gd name="T51" fmla="*/ 2147483647 h 216"/>
                <a:gd name="T52" fmla="*/ 2147483647 w 201"/>
                <a:gd name="T53" fmla="*/ 2147483647 h 216"/>
                <a:gd name="T54" fmla="*/ 2147483647 w 201"/>
                <a:gd name="T55" fmla="*/ 2147483647 h 216"/>
                <a:gd name="T56" fmla="*/ 2147483647 w 201"/>
                <a:gd name="T57" fmla="*/ 2147483647 h 216"/>
                <a:gd name="T58" fmla="*/ 2147483647 w 201"/>
                <a:gd name="T59" fmla="*/ 2147483647 h 216"/>
                <a:gd name="T60" fmla="*/ 0 w 201"/>
                <a:gd name="T61" fmla="*/ 2147483647 h 216"/>
                <a:gd name="T62" fmla="*/ 0 w 201"/>
                <a:gd name="T63" fmla="*/ 2147483647 h 216"/>
                <a:gd name="T64" fmla="*/ 0 w 201"/>
                <a:gd name="T65" fmla="*/ 2147483647 h 216"/>
                <a:gd name="T66" fmla="*/ 0 w 201"/>
                <a:gd name="T67" fmla="*/ 2147483647 h 216"/>
                <a:gd name="T68" fmla="*/ 0 w 201"/>
                <a:gd name="T69" fmla="*/ 0 h 21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01"/>
                <a:gd name="T106" fmla="*/ 0 h 216"/>
                <a:gd name="T107" fmla="*/ 201 w 201"/>
                <a:gd name="T108" fmla="*/ 216 h 21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01" h="216">
                  <a:moveTo>
                    <a:pt x="2" y="0"/>
                  </a:moveTo>
                  <a:lnTo>
                    <a:pt x="4" y="4"/>
                  </a:lnTo>
                  <a:lnTo>
                    <a:pt x="13" y="6"/>
                  </a:lnTo>
                  <a:lnTo>
                    <a:pt x="20" y="11"/>
                  </a:lnTo>
                  <a:lnTo>
                    <a:pt x="26" y="7"/>
                  </a:lnTo>
                  <a:lnTo>
                    <a:pt x="30" y="7"/>
                  </a:lnTo>
                  <a:lnTo>
                    <a:pt x="43" y="13"/>
                  </a:lnTo>
                  <a:lnTo>
                    <a:pt x="68" y="32"/>
                  </a:lnTo>
                  <a:lnTo>
                    <a:pt x="100" y="36"/>
                  </a:lnTo>
                  <a:lnTo>
                    <a:pt x="105" y="36"/>
                  </a:lnTo>
                  <a:lnTo>
                    <a:pt x="116" y="28"/>
                  </a:lnTo>
                  <a:lnTo>
                    <a:pt x="127" y="23"/>
                  </a:lnTo>
                  <a:lnTo>
                    <a:pt x="137" y="24"/>
                  </a:lnTo>
                  <a:lnTo>
                    <a:pt x="148" y="22"/>
                  </a:lnTo>
                  <a:lnTo>
                    <a:pt x="159" y="11"/>
                  </a:lnTo>
                  <a:lnTo>
                    <a:pt x="165" y="13"/>
                  </a:lnTo>
                  <a:lnTo>
                    <a:pt x="172" y="16"/>
                  </a:lnTo>
                  <a:lnTo>
                    <a:pt x="176" y="7"/>
                  </a:lnTo>
                  <a:lnTo>
                    <a:pt x="185" y="11"/>
                  </a:lnTo>
                  <a:lnTo>
                    <a:pt x="193" y="22"/>
                  </a:lnTo>
                  <a:lnTo>
                    <a:pt x="197" y="44"/>
                  </a:lnTo>
                  <a:lnTo>
                    <a:pt x="198" y="54"/>
                  </a:lnTo>
                  <a:lnTo>
                    <a:pt x="196" y="65"/>
                  </a:lnTo>
                  <a:lnTo>
                    <a:pt x="196" y="85"/>
                  </a:lnTo>
                  <a:lnTo>
                    <a:pt x="198" y="103"/>
                  </a:lnTo>
                  <a:lnTo>
                    <a:pt x="201" y="109"/>
                  </a:lnTo>
                  <a:lnTo>
                    <a:pt x="198" y="122"/>
                  </a:lnTo>
                  <a:lnTo>
                    <a:pt x="198" y="112"/>
                  </a:lnTo>
                  <a:lnTo>
                    <a:pt x="197" y="102"/>
                  </a:lnTo>
                  <a:lnTo>
                    <a:pt x="194" y="94"/>
                  </a:lnTo>
                  <a:lnTo>
                    <a:pt x="192" y="101"/>
                  </a:lnTo>
                  <a:lnTo>
                    <a:pt x="182" y="119"/>
                  </a:lnTo>
                  <a:lnTo>
                    <a:pt x="182" y="134"/>
                  </a:lnTo>
                  <a:lnTo>
                    <a:pt x="177" y="135"/>
                  </a:lnTo>
                  <a:lnTo>
                    <a:pt x="177" y="153"/>
                  </a:lnTo>
                  <a:lnTo>
                    <a:pt x="172" y="157"/>
                  </a:lnTo>
                  <a:lnTo>
                    <a:pt x="166" y="157"/>
                  </a:lnTo>
                  <a:lnTo>
                    <a:pt x="156" y="155"/>
                  </a:lnTo>
                  <a:lnTo>
                    <a:pt x="154" y="158"/>
                  </a:lnTo>
                  <a:lnTo>
                    <a:pt x="154" y="167"/>
                  </a:lnTo>
                  <a:lnTo>
                    <a:pt x="150" y="176"/>
                  </a:lnTo>
                  <a:lnTo>
                    <a:pt x="143" y="179"/>
                  </a:lnTo>
                  <a:lnTo>
                    <a:pt x="140" y="190"/>
                  </a:lnTo>
                  <a:lnTo>
                    <a:pt x="137" y="184"/>
                  </a:lnTo>
                  <a:lnTo>
                    <a:pt x="131" y="182"/>
                  </a:lnTo>
                  <a:lnTo>
                    <a:pt x="127" y="187"/>
                  </a:lnTo>
                  <a:lnTo>
                    <a:pt x="124" y="198"/>
                  </a:lnTo>
                  <a:lnTo>
                    <a:pt x="124" y="206"/>
                  </a:lnTo>
                  <a:lnTo>
                    <a:pt x="117" y="215"/>
                  </a:lnTo>
                  <a:lnTo>
                    <a:pt x="111" y="216"/>
                  </a:lnTo>
                  <a:lnTo>
                    <a:pt x="105" y="211"/>
                  </a:lnTo>
                  <a:lnTo>
                    <a:pt x="99" y="209"/>
                  </a:lnTo>
                  <a:lnTo>
                    <a:pt x="94" y="212"/>
                  </a:lnTo>
                  <a:lnTo>
                    <a:pt x="83" y="208"/>
                  </a:lnTo>
                  <a:lnTo>
                    <a:pt x="73" y="208"/>
                  </a:lnTo>
                  <a:lnTo>
                    <a:pt x="69" y="201"/>
                  </a:lnTo>
                  <a:lnTo>
                    <a:pt x="77" y="200"/>
                  </a:lnTo>
                  <a:lnTo>
                    <a:pt x="80" y="193"/>
                  </a:lnTo>
                  <a:lnTo>
                    <a:pt x="70" y="193"/>
                  </a:lnTo>
                  <a:lnTo>
                    <a:pt x="62" y="188"/>
                  </a:lnTo>
                  <a:lnTo>
                    <a:pt x="49" y="165"/>
                  </a:lnTo>
                  <a:lnTo>
                    <a:pt x="41" y="157"/>
                  </a:lnTo>
                  <a:lnTo>
                    <a:pt x="37" y="151"/>
                  </a:lnTo>
                  <a:lnTo>
                    <a:pt x="25" y="107"/>
                  </a:lnTo>
                  <a:lnTo>
                    <a:pt x="37" y="129"/>
                  </a:lnTo>
                  <a:lnTo>
                    <a:pt x="45" y="118"/>
                  </a:lnTo>
                  <a:lnTo>
                    <a:pt x="37" y="113"/>
                  </a:lnTo>
                  <a:lnTo>
                    <a:pt x="25" y="92"/>
                  </a:lnTo>
                  <a:lnTo>
                    <a:pt x="0" y="39"/>
                  </a:lnTo>
                  <a:lnTo>
                    <a:pt x="2" y="24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59" name="Freeform 55">
              <a:extLst>
                <a:ext uri="{FF2B5EF4-FFF2-40B4-BE49-F238E27FC236}">
                  <a16:creationId xmlns:a16="http://schemas.microsoft.com/office/drawing/2014/main" id="{B47F9EB8-893D-926B-B4F8-5CF6C6DE811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0641192" y="5720413"/>
              <a:ext cx="226836" cy="263690"/>
            </a:xfrm>
            <a:custGeom>
              <a:avLst/>
              <a:gdLst>
                <a:gd name="T0" fmla="*/ 2147483647 w 424"/>
                <a:gd name="T1" fmla="*/ 0 h 463"/>
                <a:gd name="T2" fmla="*/ 2147483647 w 424"/>
                <a:gd name="T3" fmla="*/ 0 h 463"/>
                <a:gd name="T4" fmla="*/ 2147483647 w 424"/>
                <a:gd name="T5" fmla="*/ 0 h 463"/>
                <a:gd name="T6" fmla="*/ 2147483647 w 424"/>
                <a:gd name="T7" fmla="*/ 0 h 463"/>
                <a:gd name="T8" fmla="*/ 2147483647 w 424"/>
                <a:gd name="T9" fmla="*/ 0 h 463"/>
                <a:gd name="T10" fmla="*/ 2147483647 w 424"/>
                <a:gd name="T11" fmla="*/ 0 h 463"/>
                <a:gd name="T12" fmla="*/ 2147483647 w 424"/>
                <a:gd name="T13" fmla="*/ 0 h 463"/>
                <a:gd name="T14" fmla="*/ 2147483647 w 424"/>
                <a:gd name="T15" fmla="*/ 0 h 463"/>
                <a:gd name="T16" fmla="*/ 2147483647 w 424"/>
                <a:gd name="T17" fmla="*/ 0 h 463"/>
                <a:gd name="T18" fmla="*/ 2147483647 w 424"/>
                <a:gd name="T19" fmla="*/ 2147483647 h 463"/>
                <a:gd name="T20" fmla="*/ 2147483647 w 424"/>
                <a:gd name="T21" fmla="*/ 2147483647 h 463"/>
                <a:gd name="T22" fmla="*/ 2147483647 w 424"/>
                <a:gd name="T23" fmla="*/ 2147483647 h 463"/>
                <a:gd name="T24" fmla="*/ 2147483647 w 424"/>
                <a:gd name="T25" fmla="*/ 2147483647 h 463"/>
                <a:gd name="T26" fmla="*/ 2147483647 w 424"/>
                <a:gd name="T27" fmla="*/ 2147483647 h 463"/>
                <a:gd name="T28" fmla="*/ 2147483647 w 424"/>
                <a:gd name="T29" fmla="*/ 2147483647 h 463"/>
                <a:gd name="T30" fmla="*/ 2147483647 w 424"/>
                <a:gd name="T31" fmla="*/ 2147483647 h 463"/>
                <a:gd name="T32" fmla="*/ 2147483647 w 424"/>
                <a:gd name="T33" fmla="*/ 2147483647 h 463"/>
                <a:gd name="T34" fmla="*/ 2147483647 w 424"/>
                <a:gd name="T35" fmla="*/ 2147483647 h 463"/>
                <a:gd name="T36" fmla="*/ 2147483647 w 424"/>
                <a:gd name="T37" fmla="*/ 2147483647 h 463"/>
                <a:gd name="T38" fmla="*/ 2147483647 w 424"/>
                <a:gd name="T39" fmla="*/ 2147483647 h 463"/>
                <a:gd name="T40" fmla="*/ 2147483647 w 424"/>
                <a:gd name="T41" fmla="*/ 2147483647 h 463"/>
                <a:gd name="T42" fmla="*/ 2147483647 w 424"/>
                <a:gd name="T43" fmla="*/ 2147483647 h 463"/>
                <a:gd name="T44" fmla="*/ 2147483647 w 424"/>
                <a:gd name="T45" fmla="*/ 2147483647 h 463"/>
                <a:gd name="T46" fmla="*/ 2147483647 w 424"/>
                <a:gd name="T47" fmla="*/ 2147483647 h 463"/>
                <a:gd name="T48" fmla="*/ 2147483647 w 424"/>
                <a:gd name="T49" fmla="*/ 2147483647 h 463"/>
                <a:gd name="T50" fmla="*/ 2147483647 w 424"/>
                <a:gd name="T51" fmla="*/ 2147483647 h 463"/>
                <a:gd name="T52" fmla="*/ 2147483647 w 424"/>
                <a:gd name="T53" fmla="*/ 2147483647 h 463"/>
                <a:gd name="T54" fmla="*/ 2147483647 w 424"/>
                <a:gd name="T55" fmla="*/ 2147483647 h 463"/>
                <a:gd name="T56" fmla="*/ 2147483647 w 424"/>
                <a:gd name="T57" fmla="*/ 2147483647 h 463"/>
                <a:gd name="T58" fmla="*/ 0 w 424"/>
                <a:gd name="T59" fmla="*/ 2147483647 h 463"/>
                <a:gd name="T60" fmla="*/ 0 w 424"/>
                <a:gd name="T61" fmla="*/ 2147483647 h 463"/>
                <a:gd name="T62" fmla="*/ 0 w 424"/>
                <a:gd name="T63" fmla="*/ 2147483647 h 463"/>
                <a:gd name="T64" fmla="*/ 0 w 424"/>
                <a:gd name="T65" fmla="*/ 2147483647 h 463"/>
                <a:gd name="T66" fmla="*/ 0 w 424"/>
                <a:gd name="T67" fmla="*/ 2147483647 h 463"/>
                <a:gd name="T68" fmla="*/ 0 w 424"/>
                <a:gd name="T69" fmla="*/ 2147483647 h 463"/>
                <a:gd name="T70" fmla="*/ 0 w 424"/>
                <a:gd name="T71" fmla="*/ 2147483647 h 463"/>
                <a:gd name="T72" fmla="*/ 0 w 424"/>
                <a:gd name="T73" fmla="*/ 2147483647 h 463"/>
                <a:gd name="T74" fmla="*/ 0 w 424"/>
                <a:gd name="T75" fmla="*/ 2147483647 h 463"/>
                <a:gd name="T76" fmla="*/ 0 w 424"/>
                <a:gd name="T77" fmla="*/ 2147483647 h 463"/>
                <a:gd name="T78" fmla="*/ 2147483647 w 424"/>
                <a:gd name="T79" fmla="*/ 2147483647 h 463"/>
                <a:gd name="T80" fmla="*/ 2147483647 w 424"/>
                <a:gd name="T81" fmla="*/ 2147483647 h 463"/>
                <a:gd name="T82" fmla="*/ 2147483647 w 424"/>
                <a:gd name="T83" fmla="*/ 2147483647 h 463"/>
                <a:gd name="T84" fmla="*/ 2147483647 w 424"/>
                <a:gd name="T85" fmla="*/ 2147483647 h 463"/>
                <a:gd name="T86" fmla="*/ 2147483647 w 424"/>
                <a:gd name="T87" fmla="*/ 2147483647 h 463"/>
                <a:gd name="T88" fmla="*/ 2147483647 w 424"/>
                <a:gd name="T89" fmla="*/ 2147483647 h 463"/>
                <a:gd name="T90" fmla="*/ 2147483647 w 424"/>
                <a:gd name="T91" fmla="*/ 2147483647 h 463"/>
                <a:gd name="T92" fmla="*/ 2147483647 w 424"/>
                <a:gd name="T93" fmla="*/ 2147483647 h 463"/>
                <a:gd name="T94" fmla="*/ 2147483647 w 424"/>
                <a:gd name="T95" fmla="*/ 2147483647 h 463"/>
                <a:gd name="T96" fmla="*/ 2147483647 w 424"/>
                <a:gd name="T97" fmla="*/ 0 h 46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24"/>
                <a:gd name="T148" fmla="*/ 0 h 463"/>
                <a:gd name="T149" fmla="*/ 424 w 424"/>
                <a:gd name="T150" fmla="*/ 463 h 46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24" h="463">
                  <a:moveTo>
                    <a:pt x="308" y="34"/>
                  </a:moveTo>
                  <a:lnTo>
                    <a:pt x="310" y="35"/>
                  </a:lnTo>
                  <a:lnTo>
                    <a:pt x="311" y="20"/>
                  </a:lnTo>
                  <a:lnTo>
                    <a:pt x="319" y="16"/>
                  </a:lnTo>
                  <a:lnTo>
                    <a:pt x="327" y="6"/>
                  </a:lnTo>
                  <a:lnTo>
                    <a:pt x="331" y="6"/>
                  </a:lnTo>
                  <a:lnTo>
                    <a:pt x="333" y="2"/>
                  </a:lnTo>
                  <a:lnTo>
                    <a:pt x="337" y="0"/>
                  </a:lnTo>
                  <a:lnTo>
                    <a:pt x="340" y="3"/>
                  </a:lnTo>
                  <a:lnTo>
                    <a:pt x="340" y="14"/>
                  </a:lnTo>
                  <a:lnTo>
                    <a:pt x="343" y="20"/>
                  </a:lnTo>
                  <a:lnTo>
                    <a:pt x="349" y="22"/>
                  </a:lnTo>
                  <a:lnTo>
                    <a:pt x="354" y="22"/>
                  </a:lnTo>
                  <a:lnTo>
                    <a:pt x="358" y="28"/>
                  </a:lnTo>
                  <a:lnTo>
                    <a:pt x="358" y="45"/>
                  </a:lnTo>
                  <a:lnTo>
                    <a:pt x="362" y="51"/>
                  </a:lnTo>
                  <a:lnTo>
                    <a:pt x="368" y="55"/>
                  </a:lnTo>
                  <a:lnTo>
                    <a:pt x="381" y="44"/>
                  </a:lnTo>
                  <a:lnTo>
                    <a:pt x="387" y="41"/>
                  </a:lnTo>
                  <a:lnTo>
                    <a:pt x="391" y="35"/>
                  </a:lnTo>
                  <a:lnTo>
                    <a:pt x="401" y="29"/>
                  </a:lnTo>
                  <a:lnTo>
                    <a:pt x="406" y="28"/>
                  </a:lnTo>
                  <a:lnTo>
                    <a:pt x="407" y="29"/>
                  </a:lnTo>
                  <a:lnTo>
                    <a:pt x="402" y="35"/>
                  </a:lnTo>
                  <a:lnTo>
                    <a:pt x="403" y="36"/>
                  </a:lnTo>
                  <a:lnTo>
                    <a:pt x="405" y="44"/>
                  </a:lnTo>
                  <a:lnTo>
                    <a:pt x="401" y="54"/>
                  </a:lnTo>
                  <a:lnTo>
                    <a:pt x="411" y="47"/>
                  </a:lnTo>
                  <a:lnTo>
                    <a:pt x="408" y="43"/>
                  </a:lnTo>
                  <a:lnTo>
                    <a:pt x="413" y="34"/>
                  </a:lnTo>
                  <a:lnTo>
                    <a:pt x="418" y="33"/>
                  </a:lnTo>
                  <a:lnTo>
                    <a:pt x="423" y="40"/>
                  </a:lnTo>
                  <a:lnTo>
                    <a:pt x="414" y="51"/>
                  </a:lnTo>
                  <a:lnTo>
                    <a:pt x="418" y="51"/>
                  </a:lnTo>
                  <a:lnTo>
                    <a:pt x="422" y="57"/>
                  </a:lnTo>
                  <a:lnTo>
                    <a:pt x="417" y="68"/>
                  </a:lnTo>
                  <a:lnTo>
                    <a:pt x="424" y="87"/>
                  </a:lnTo>
                  <a:lnTo>
                    <a:pt x="422" y="93"/>
                  </a:lnTo>
                  <a:lnTo>
                    <a:pt x="413" y="106"/>
                  </a:lnTo>
                  <a:lnTo>
                    <a:pt x="411" y="114"/>
                  </a:lnTo>
                  <a:lnTo>
                    <a:pt x="405" y="124"/>
                  </a:lnTo>
                  <a:lnTo>
                    <a:pt x="398" y="125"/>
                  </a:lnTo>
                  <a:lnTo>
                    <a:pt x="397" y="129"/>
                  </a:lnTo>
                  <a:lnTo>
                    <a:pt x="387" y="141"/>
                  </a:lnTo>
                  <a:lnTo>
                    <a:pt x="375" y="168"/>
                  </a:lnTo>
                  <a:lnTo>
                    <a:pt x="369" y="174"/>
                  </a:lnTo>
                  <a:lnTo>
                    <a:pt x="365" y="175"/>
                  </a:lnTo>
                  <a:lnTo>
                    <a:pt x="362" y="180"/>
                  </a:lnTo>
                  <a:lnTo>
                    <a:pt x="349" y="189"/>
                  </a:lnTo>
                  <a:lnTo>
                    <a:pt x="347" y="192"/>
                  </a:lnTo>
                  <a:lnTo>
                    <a:pt x="344" y="217"/>
                  </a:lnTo>
                  <a:lnTo>
                    <a:pt x="342" y="228"/>
                  </a:lnTo>
                  <a:lnTo>
                    <a:pt x="352" y="230"/>
                  </a:lnTo>
                  <a:lnTo>
                    <a:pt x="359" y="234"/>
                  </a:lnTo>
                  <a:lnTo>
                    <a:pt x="362" y="243"/>
                  </a:lnTo>
                  <a:lnTo>
                    <a:pt x="360" y="246"/>
                  </a:lnTo>
                  <a:lnTo>
                    <a:pt x="356" y="240"/>
                  </a:lnTo>
                  <a:lnTo>
                    <a:pt x="354" y="246"/>
                  </a:lnTo>
                  <a:lnTo>
                    <a:pt x="333" y="239"/>
                  </a:lnTo>
                  <a:lnTo>
                    <a:pt x="326" y="235"/>
                  </a:lnTo>
                  <a:lnTo>
                    <a:pt x="324" y="237"/>
                  </a:lnTo>
                  <a:lnTo>
                    <a:pt x="324" y="244"/>
                  </a:lnTo>
                  <a:lnTo>
                    <a:pt x="320" y="248"/>
                  </a:lnTo>
                  <a:lnTo>
                    <a:pt x="316" y="244"/>
                  </a:lnTo>
                  <a:lnTo>
                    <a:pt x="313" y="243"/>
                  </a:lnTo>
                  <a:lnTo>
                    <a:pt x="310" y="249"/>
                  </a:lnTo>
                  <a:lnTo>
                    <a:pt x="295" y="256"/>
                  </a:lnTo>
                  <a:lnTo>
                    <a:pt x="287" y="262"/>
                  </a:lnTo>
                  <a:lnTo>
                    <a:pt x="282" y="262"/>
                  </a:lnTo>
                  <a:lnTo>
                    <a:pt x="279" y="256"/>
                  </a:lnTo>
                  <a:lnTo>
                    <a:pt x="274" y="256"/>
                  </a:lnTo>
                  <a:lnTo>
                    <a:pt x="274" y="265"/>
                  </a:lnTo>
                  <a:lnTo>
                    <a:pt x="272" y="277"/>
                  </a:lnTo>
                  <a:lnTo>
                    <a:pt x="265" y="289"/>
                  </a:lnTo>
                  <a:lnTo>
                    <a:pt x="263" y="302"/>
                  </a:lnTo>
                  <a:lnTo>
                    <a:pt x="262" y="320"/>
                  </a:lnTo>
                  <a:lnTo>
                    <a:pt x="256" y="324"/>
                  </a:lnTo>
                  <a:lnTo>
                    <a:pt x="257" y="336"/>
                  </a:lnTo>
                  <a:lnTo>
                    <a:pt x="247" y="347"/>
                  </a:lnTo>
                  <a:lnTo>
                    <a:pt x="245" y="361"/>
                  </a:lnTo>
                  <a:lnTo>
                    <a:pt x="245" y="369"/>
                  </a:lnTo>
                  <a:lnTo>
                    <a:pt x="239" y="379"/>
                  </a:lnTo>
                  <a:lnTo>
                    <a:pt x="233" y="385"/>
                  </a:lnTo>
                  <a:lnTo>
                    <a:pt x="231" y="390"/>
                  </a:lnTo>
                  <a:lnTo>
                    <a:pt x="231" y="398"/>
                  </a:lnTo>
                  <a:lnTo>
                    <a:pt x="228" y="401"/>
                  </a:lnTo>
                  <a:lnTo>
                    <a:pt x="233" y="402"/>
                  </a:lnTo>
                  <a:lnTo>
                    <a:pt x="230" y="410"/>
                  </a:lnTo>
                  <a:lnTo>
                    <a:pt x="223" y="409"/>
                  </a:lnTo>
                  <a:lnTo>
                    <a:pt x="214" y="415"/>
                  </a:lnTo>
                  <a:lnTo>
                    <a:pt x="204" y="428"/>
                  </a:lnTo>
                  <a:lnTo>
                    <a:pt x="190" y="434"/>
                  </a:lnTo>
                  <a:lnTo>
                    <a:pt x="185" y="437"/>
                  </a:lnTo>
                  <a:lnTo>
                    <a:pt x="185" y="441"/>
                  </a:lnTo>
                  <a:lnTo>
                    <a:pt x="180" y="443"/>
                  </a:lnTo>
                  <a:lnTo>
                    <a:pt x="177" y="449"/>
                  </a:lnTo>
                  <a:lnTo>
                    <a:pt x="172" y="453"/>
                  </a:lnTo>
                  <a:lnTo>
                    <a:pt x="153" y="459"/>
                  </a:lnTo>
                  <a:lnTo>
                    <a:pt x="149" y="459"/>
                  </a:lnTo>
                  <a:lnTo>
                    <a:pt x="138" y="463"/>
                  </a:lnTo>
                  <a:lnTo>
                    <a:pt x="132" y="459"/>
                  </a:lnTo>
                  <a:lnTo>
                    <a:pt x="129" y="452"/>
                  </a:lnTo>
                  <a:lnTo>
                    <a:pt x="126" y="450"/>
                  </a:lnTo>
                  <a:lnTo>
                    <a:pt x="120" y="454"/>
                  </a:lnTo>
                  <a:lnTo>
                    <a:pt x="114" y="455"/>
                  </a:lnTo>
                  <a:lnTo>
                    <a:pt x="110" y="454"/>
                  </a:lnTo>
                  <a:lnTo>
                    <a:pt x="110" y="453"/>
                  </a:lnTo>
                  <a:lnTo>
                    <a:pt x="104" y="454"/>
                  </a:lnTo>
                  <a:lnTo>
                    <a:pt x="102" y="449"/>
                  </a:lnTo>
                  <a:lnTo>
                    <a:pt x="102" y="443"/>
                  </a:lnTo>
                  <a:lnTo>
                    <a:pt x="98" y="444"/>
                  </a:lnTo>
                  <a:lnTo>
                    <a:pt x="91" y="441"/>
                  </a:lnTo>
                  <a:lnTo>
                    <a:pt x="73" y="439"/>
                  </a:lnTo>
                  <a:lnTo>
                    <a:pt x="69" y="427"/>
                  </a:lnTo>
                  <a:lnTo>
                    <a:pt x="64" y="422"/>
                  </a:lnTo>
                  <a:lnTo>
                    <a:pt x="55" y="421"/>
                  </a:lnTo>
                  <a:lnTo>
                    <a:pt x="47" y="428"/>
                  </a:lnTo>
                  <a:lnTo>
                    <a:pt x="39" y="429"/>
                  </a:lnTo>
                  <a:lnTo>
                    <a:pt x="18" y="427"/>
                  </a:lnTo>
                  <a:lnTo>
                    <a:pt x="12" y="422"/>
                  </a:lnTo>
                  <a:lnTo>
                    <a:pt x="15" y="415"/>
                  </a:lnTo>
                  <a:lnTo>
                    <a:pt x="20" y="409"/>
                  </a:lnTo>
                  <a:lnTo>
                    <a:pt x="24" y="402"/>
                  </a:lnTo>
                  <a:lnTo>
                    <a:pt x="13" y="413"/>
                  </a:lnTo>
                  <a:lnTo>
                    <a:pt x="9" y="413"/>
                  </a:lnTo>
                  <a:lnTo>
                    <a:pt x="14" y="402"/>
                  </a:lnTo>
                  <a:lnTo>
                    <a:pt x="14" y="401"/>
                  </a:lnTo>
                  <a:lnTo>
                    <a:pt x="9" y="405"/>
                  </a:lnTo>
                  <a:lnTo>
                    <a:pt x="3" y="406"/>
                  </a:lnTo>
                  <a:lnTo>
                    <a:pt x="0" y="400"/>
                  </a:lnTo>
                  <a:lnTo>
                    <a:pt x="4" y="395"/>
                  </a:lnTo>
                  <a:lnTo>
                    <a:pt x="16" y="391"/>
                  </a:lnTo>
                  <a:lnTo>
                    <a:pt x="24" y="385"/>
                  </a:lnTo>
                  <a:lnTo>
                    <a:pt x="21" y="385"/>
                  </a:lnTo>
                  <a:lnTo>
                    <a:pt x="19" y="383"/>
                  </a:lnTo>
                  <a:lnTo>
                    <a:pt x="24" y="379"/>
                  </a:lnTo>
                  <a:lnTo>
                    <a:pt x="26" y="373"/>
                  </a:lnTo>
                  <a:lnTo>
                    <a:pt x="21" y="373"/>
                  </a:lnTo>
                  <a:lnTo>
                    <a:pt x="16" y="372"/>
                  </a:lnTo>
                  <a:lnTo>
                    <a:pt x="15" y="366"/>
                  </a:lnTo>
                  <a:lnTo>
                    <a:pt x="21" y="366"/>
                  </a:lnTo>
                  <a:lnTo>
                    <a:pt x="25" y="361"/>
                  </a:lnTo>
                  <a:lnTo>
                    <a:pt x="21" y="358"/>
                  </a:lnTo>
                  <a:lnTo>
                    <a:pt x="21" y="353"/>
                  </a:lnTo>
                  <a:lnTo>
                    <a:pt x="26" y="353"/>
                  </a:lnTo>
                  <a:lnTo>
                    <a:pt x="29" y="357"/>
                  </a:lnTo>
                  <a:lnTo>
                    <a:pt x="34" y="355"/>
                  </a:lnTo>
                  <a:lnTo>
                    <a:pt x="37" y="356"/>
                  </a:lnTo>
                  <a:lnTo>
                    <a:pt x="40" y="353"/>
                  </a:lnTo>
                  <a:lnTo>
                    <a:pt x="40" y="351"/>
                  </a:lnTo>
                  <a:lnTo>
                    <a:pt x="35" y="351"/>
                  </a:lnTo>
                  <a:lnTo>
                    <a:pt x="31" y="347"/>
                  </a:lnTo>
                  <a:lnTo>
                    <a:pt x="35" y="329"/>
                  </a:lnTo>
                  <a:lnTo>
                    <a:pt x="42" y="323"/>
                  </a:lnTo>
                  <a:lnTo>
                    <a:pt x="45" y="321"/>
                  </a:lnTo>
                  <a:lnTo>
                    <a:pt x="47" y="325"/>
                  </a:lnTo>
                  <a:lnTo>
                    <a:pt x="48" y="331"/>
                  </a:lnTo>
                  <a:lnTo>
                    <a:pt x="51" y="332"/>
                  </a:lnTo>
                  <a:lnTo>
                    <a:pt x="53" y="332"/>
                  </a:lnTo>
                  <a:lnTo>
                    <a:pt x="56" y="329"/>
                  </a:lnTo>
                  <a:lnTo>
                    <a:pt x="53" y="319"/>
                  </a:lnTo>
                  <a:lnTo>
                    <a:pt x="55" y="315"/>
                  </a:lnTo>
                  <a:lnTo>
                    <a:pt x="58" y="314"/>
                  </a:lnTo>
                  <a:lnTo>
                    <a:pt x="61" y="304"/>
                  </a:lnTo>
                  <a:lnTo>
                    <a:pt x="69" y="302"/>
                  </a:lnTo>
                  <a:lnTo>
                    <a:pt x="75" y="296"/>
                  </a:lnTo>
                  <a:lnTo>
                    <a:pt x="77" y="286"/>
                  </a:lnTo>
                  <a:lnTo>
                    <a:pt x="82" y="278"/>
                  </a:lnTo>
                  <a:lnTo>
                    <a:pt x="89" y="275"/>
                  </a:lnTo>
                  <a:lnTo>
                    <a:pt x="93" y="260"/>
                  </a:lnTo>
                  <a:lnTo>
                    <a:pt x="96" y="260"/>
                  </a:lnTo>
                  <a:lnTo>
                    <a:pt x="102" y="255"/>
                  </a:lnTo>
                  <a:lnTo>
                    <a:pt x="109" y="255"/>
                  </a:lnTo>
                  <a:lnTo>
                    <a:pt x="116" y="251"/>
                  </a:lnTo>
                  <a:lnTo>
                    <a:pt x="123" y="251"/>
                  </a:lnTo>
                  <a:lnTo>
                    <a:pt x="133" y="249"/>
                  </a:lnTo>
                  <a:lnTo>
                    <a:pt x="141" y="244"/>
                  </a:lnTo>
                  <a:lnTo>
                    <a:pt x="154" y="232"/>
                  </a:lnTo>
                  <a:lnTo>
                    <a:pt x="169" y="223"/>
                  </a:lnTo>
                  <a:lnTo>
                    <a:pt x="187" y="208"/>
                  </a:lnTo>
                  <a:lnTo>
                    <a:pt x="201" y="200"/>
                  </a:lnTo>
                  <a:lnTo>
                    <a:pt x="202" y="191"/>
                  </a:lnTo>
                  <a:lnTo>
                    <a:pt x="213" y="181"/>
                  </a:lnTo>
                  <a:lnTo>
                    <a:pt x="219" y="178"/>
                  </a:lnTo>
                  <a:lnTo>
                    <a:pt x="225" y="178"/>
                  </a:lnTo>
                  <a:lnTo>
                    <a:pt x="235" y="170"/>
                  </a:lnTo>
                  <a:lnTo>
                    <a:pt x="241" y="164"/>
                  </a:lnTo>
                  <a:lnTo>
                    <a:pt x="256" y="144"/>
                  </a:lnTo>
                  <a:lnTo>
                    <a:pt x="261" y="126"/>
                  </a:lnTo>
                  <a:lnTo>
                    <a:pt x="265" y="105"/>
                  </a:lnTo>
                  <a:lnTo>
                    <a:pt x="270" y="93"/>
                  </a:lnTo>
                  <a:lnTo>
                    <a:pt x="288" y="81"/>
                  </a:lnTo>
                  <a:lnTo>
                    <a:pt x="294" y="78"/>
                  </a:lnTo>
                  <a:lnTo>
                    <a:pt x="298" y="72"/>
                  </a:lnTo>
                  <a:lnTo>
                    <a:pt x="304" y="60"/>
                  </a:lnTo>
                  <a:lnTo>
                    <a:pt x="308" y="3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60" name="Freeform 56">
              <a:extLst>
                <a:ext uri="{FF2B5EF4-FFF2-40B4-BE49-F238E27FC236}">
                  <a16:creationId xmlns:a16="http://schemas.microsoft.com/office/drawing/2014/main" id="{9E565E23-CB24-5AAE-BC5B-6C05D2CA1FA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0823258" y="5479586"/>
              <a:ext cx="167142" cy="281981"/>
            </a:xfrm>
            <a:custGeom>
              <a:avLst/>
              <a:gdLst>
                <a:gd name="T0" fmla="*/ 2147483647 w 313"/>
                <a:gd name="T1" fmla="*/ 2147483647 h 495"/>
                <a:gd name="T2" fmla="*/ 2147483647 w 313"/>
                <a:gd name="T3" fmla="*/ 2147483647 h 495"/>
                <a:gd name="T4" fmla="*/ 2147483647 w 313"/>
                <a:gd name="T5" fmla="*/ 2147483647 h 495"/>
                <a:gd name="T6" fmla="*/ 2147483647 w 313"/>
                <a:gd name="T7" fmla="*/ 2147483647 h 495"/>
                <a:gd name="T8" fmla="*/ 2147483647 w 313"/>
                <a:gd name="T9" fmla="*/ 2147483647 h 495"/>
                <a:gd name="T10" fmla="*/ 2147483647 w 313"/>
                <a:gd name="T11" fmla="*/ 2147483647 h 495"/>
                <a:gd name="T12" fmla="*/ 2147483647 w 313"/>
                <a:gd name="T13" fmla="*/ 2147483647 h 495"/>
                <a:gd name="T14" fmla="*/ 2147483647 w 313"/>
                <a:gd name="T15" fmla="*/ 2147483647 h 495"/>
                <a:gd name="T16" fmla="*/ 2147483647 w 313"/>
                <a:gd name="T17" fmla="*/ 2147483647 h 495"/>
                <a:gd name="T18" fmla="*/ 2147483647 w 313"/>
                <a:gd name="T19" fmla="*/ 2147483647 h 495"/>
                <a:gd name="T20" fmla="*/ 2147483647 w 313"/>
                <a:gd name="T21" fmla="*/ 2147483647 h 495"/>
                <a:gd name="T22" fmla="*/ 2147483647 w 313"/>
                <a:gd name="T23" fmla="*/ 2147483647 h 495"/>
                <a:gd name="T24" fmla="*/ 2147483647 w 313"/>
                <a:gd name="T25" fmla="*/ 2147483647 h 495"/>
                <a:gd name="T26" fmla="*/ 0 w 313"/>
                <a:gd name="T27" fmla="*/ 2147483647 h 495"/>
                <a:gd name="T28" fmla="*/ 0 w 313"/>
                <a:gd name="T29" fmla="*/ 0 h 495"/>
                <a:gd name="T30" fmla="*/ 0 w 313"/>
                <a:gd name="T31" fmla="*/ 0 h 495"/>
                <a:gd name="T32" fmla="*/ 0 w 313"/>
                <a:gd name="T33" fmla="*/ 0 h 495"/>
                <a:gd name="T34" fmla="*/ 0 w 313"/>
                <a:gd name="T35" fmla="*/ 0 h 495"/>
                <a:gd name="T36" fmla="*/ 0 w 313"/>
                <a:gd name="T37" fmla="*/ 0 h 495"/>
                <a:gd name="T38" fmla="*/ 0 w 313"/>
                <a:gd name="T39" fmla="*/ 0 h 495"/>
                <a:gd name="T40" fmla="*/ 2147483647 w 313"/>
                <a:gd name="T41" fmla="*/ 0 h 495"/>
                <a:gd name="T42" fmla="*/ 2147483647 w 313"/>
                <a:gd name="T43" fmla="*/ 0 h 495"/>
                <a:gd name="T44" fmla="*/ 2147483647 w 313"/>
                <a:gd name="T45" fmla="*/ 0 h 495"/>
                <a:gd name="T46" fmla="*/ 2147483647 w 313"/>
                <a:gd name="T47" fmla="*/ 2147483647 h 495"/>
                <a:gd name="T48" fmla="*/ 2147483647 w 313"/>
                <a:gd name="T49" fmla="*/ 2147483647 h 495"/>
                <a:gd name="T50" fmla="*/ 2147483647 w 313"/>
                <a:gd name="T51" fmla="*/ 2147483647 h 495"/>
                <a:gd name="T52" fmla="*/ 2147483647 w 313"/>
                <a:gd name="T53" fmla="*/ 2147483647 h 495"/>
                <a:gd name="T54" fmla="*/ 2147483647 w 313"/>
                <a:gd name="T55" fmla="*/ 2147483647 h 495"/>
                <a:gd name="T56" fmla="*/ 2147483647 w 313"/>
                <a:gd name="T57" fmla="*/ 2147483647 h 495"/>
                <a:gd name="T58" fmla="*/ 2147483647 w 313"/>
                <a:gd name="T59" fmla="*/ 2147483647 h 495"/>
                <a:gd name="T60" fmla="*/ 2147483647 w 313"/>
                <a:gd name="T61" fmla="*/ 2147483647 h 495"/>
                <a:gd name="T62" fmla="*/ 2147483647 w 313"/>
                <a:gd name="T63" fmla="*/ 2147483647 h 495"/>
                <a:gd name="T64" fmla="*/ 2147483647 w 313"/>
                <a:gd name="T65" fmla="*/ 2147483647 h 495"/>
                <a:gd name="T66" fmla="*/ 2147483647 w 313"/>
                <a:gd name="T67" fmla="*/ 2147483647 h 495"/>
                <a:gd name="T68" fmla="*/ 2147483647 w 313"/>
                <a:gd name="T69" fmla="*/ 2147483647 h 495"/>
                <a:gd name="T70" fmla="*/ 2147483647 w 313"/>
                <a:gd name="T71" fmla="*/ 2147483647 h 495"/>
                <a:gd name="T72" fmla="*/ 2147483647 w 313"/>
                <a:gd name="T73" fmla="*/ 2147483647 h 495"/>
                <a:gd name="T74" fmla="*/ 2147483647 w 313"/>
                <a:gd name="T75" fmla="*/ 2147483647 h 495"/>
                <a:gd name="T76" fmla="*/ 2147483647 w 313"/>
                <a:gd name="T77" fmla="*/ 2147483647 h 495"/>
                <a:gd name="T78" fmla="*/ 2147483647 w 313"/>
                <a:gd name="T79" fmla="*/ 2147483647 h 495"/>
                <a:gd name="T80" fmla="*/ 2147483647 w 313"/>
                <a:gd name="T81" fmla="*/ 2147483647 h 495"/>
                <a:gd name="T82" fmla="*/ 2147483647 w 313"/>
                <a:gd name="T83" fmla="*/ 2147483647 h 495"/>
                <a:gd name="T84" fmla="*/ 2147483647 w 313"/>
                <a:gd name="T85" fmla="*/ 2147483647 h 495"/>
                <a:gd name="T86" fmla="*/ 2147483647 w 313"/>
                <a:gd name="T87" fmla="*/ 2147483647 h 495"/>
                <a:gd name="T88" fmla="*/ 2147483647 w 313"/>
                <a:gd name="T89" fmla="*/ 2147483647 h 495"/>
                <a:gd name="T90" fmla="*/ 2147483647 w 313"/>
                <a:gd name="T91" fmla="*/ 2147483647 h 495"/>
                <a:gd name="T92" fmla="*/ 2147483647 w 313"/>
                <a:gd name="T93" fmla="*/ 2147483647 h 495"/>
                <a:gd name="T94" fmla="*/ 2147483647 w 313"/>
                <a:gd name="T95" fmla="*/ 2147483647 h 49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13"/>
                <a:gd name="T145" fmla="*/ 0 h 495"/>
                <a:gd name="T146" fmla="*/ 313 w 313"/>
                <a:gd name="T147" fmla="*/ 495 h 49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13" h="495">
                  <a:moveTo>
                    <a:pt x="109" y="469"/>
                  </a:moveTo>
                  <a:lnTo>
                    <a:pt x="118" y="458"/>
                  </a:lnTo>
                  <a:lnTo>
                    <a:pt x="121" y="449"/>
                  </a:lnTo>
                  <a:lnTo>
                    <a:pt x="128" y="441"/>
                  </a:lnTo>
                  <a:lnTo>
                    <a:pt x="134" y="429"/>
                  </a:lnTo>
                  <a:lnTo>
                    <a:pt x="135" y="417"/>
                  </a:lnTo>
                  <a:lnTo>
                    <a:pt x="139" y="407"/>
                  </a:lnTo>
                  <a:lnTo>
                    <a:pt x="139" y="398"/>
                  </a:lnTo>
                  <a:lnTo>
                    <a:pt x="134" y="391"/>
                  </a:lnTo>
                  <a:lnTo>
                    <a:pt x="120" y="375"/>
                  </a:lnTo>
                  <a:lnTo>
                    <a:pt x="108" y="372"/>
                  </a:lnTo>
                  <a:lnTo>
                    <a:pt x="97" y="366"/>
                  </a:lnTo>
                  <a:lnTo>
                    <a:pt x="80" y="350"/>
                  </a:lnTo>
                  <a:lnTo>
                    <a:pt x="67" y="349"/>
                  </a:lnTo>
                  <a:lnTo>
                    <a:pt x="57" y="337"/>
                  </a:lnTo>
                  <a:lnTo>
                    <a:pt x="59" y="325"/>
                  </a:lnTo>
                  <a:lnTo>
                    <a:pt x="69" y="316"/>
                  </a:lnTo>
                  <a:lnTo>
                    <a:pt x="78" y="310"/>
                  </a:lnTo>
                  <a:lnTo>
                    <a:pt x="92" y="306"/>
                  </a:lnTo>
                  <a:lnTo>
                    <a:pt x="100" y="296"/>
                  </a:lnTo>
                  <a:lnTo>
                    <a:pt x="104" y="283"/>
                  </a:lnTo>
                  <a:lnTo>
                    <a:pt x="105" y="261"/>
                  </a:lnTo>
                  <a:lnTo>
                    <a:pt x="109" y="250"/>
                  </a:lnTo>
                  <a:lnTo>
                    <a:pt x="115" y="250"/>
                  </a:lnTo>
                  <a:lnTo>
                    <a:pt x="118" y="247"/>
                  </a:lnTo>
                  <a:lnTo>
                    <a:pt x="118" y="237"/>
                  </a:lnTo>
                  <a:lnTo>
                    <a:pt x="115" y="229"/>
                  </a:lnTo>
                  <a:lnTo>
                    <a:pt x="120" y="224"/>
                  </a:lnTo>
                  <a:lnTo>
                    <a:pt x="118" y="220"/>
                  </a:lnTo>
                  <a:lnTo>
                    <a:pt x="115" y="208"/>
                  </a:lnTo>
                  <a:lnTo>
                    <a:pt x="116" y="196"/>
                  </a:lnTo>
                  <a:lnTo>
                    <a:pt x="113" y="198"/>
                  </a:lnTo>
                  <a:lnTo>
                    <a:pt x="104" y="188"/>
                  </a:lnTo>
                  <a:lnTo>
                    <a:pt x="102" y="182"/>
                  </a:lnTo>
                  <a:lnTo>
                    <a:pt x="108" y="182"/>
                  </a:lnTo>
                  <a:lnTo>
                    <a:pt x="112" y="178"/>
                  </a:lnTo>
                  <a:lnTo>
                    <a:pt x="113" y="175"/>
                  </a:lnTo>
                  <a:lnTo>
                    <a:pt x="112" y="171"/>
                  </a:lnTo>
                  <a:lnTo>
                    <a:pt x="107" y="170"/>
                  </a:lnTo>
                  <a:lnTo>
                    <a:pt x="97" y="172"/>
                  </a:lnTo>
                  <a:lnTo>
                    <a:pt x="86" y="151"/>
                  </a:lnTo>
                  <a:lnTo>
                    <a:pt x="81" y="138"/>
                  </a:lnTo>
                  <a:lnTo>
                    <a:pt x="87" y="148"/>
                  </a:lnTo>
                  <a:lnTo>
                    <a:pt x="91" y="145"/>
                  </a:lnTo>
                  <a:lnTo>
                    <a:pt x="92" y="133"/>
                  </a:lnTo>
                  <a:lnTo>
                    <a:pt x="87" y="133"/>
                  </a:lnTo>
                  <a:lnTo>
                    <a:pt x="83" y="130"/>
                  </a:lnTo>
                  <a:lnTo>
                    <a:pt x="86" y="127"/>
                  </a:lnTo>
                  <a:lnTo>
                    <a:pt x="86" y="117"/>
                  </a:lnTo>
                  <a:lnTo>
                    <a:pt x="82" y="113"/>
                  </a:lnTo>
                  <a:lnTo>
                    <a:pt x="80" y="117"/>
                  </a:lnTo>
                  <a:lnTo>
                    <a:pt x="73" y="117"/>
                  </a:lnTo>
                  <a:lnTo>
                    <a:pt x="72" y="122"/>
                  </a:lnTo>
                  <a:lnTo>
                    <a:pt x="73" y="129"/>
                  </a:lnTo>
                  <a:lnTo>
                    <a:pt x="60" y="107"/>
                  </a:lnTo>
                  <a:lnTo>
                    <a:pt x="43" y="85"/>
                  </a:lnTo>
                  <a:lnTo>
                    <a:pt x="38" y="75"/>
                  </a:lnTo>
                  <a:lnTo>
                    <a:pt x="37" y="71"/>
                  </a:lnTo>
                  <a:lnTo>
                    <a:pt x="42" y="67"/>
                  </a:lnTo>
                  <a:lnTo>
                    <a:pt x="45" y="59"/>
                  </a:lnTo>
                  <a:lnTo>
                    <a:pt x="42" y="57"/>
                  </a:lnTo>
                  <a:lnTo>
                    <a:pt x="40" y="62"/>
                  </a:lnTo>
                  <a:lnTo>
                    <a:pt x="33" y="68"/>
                  </a:lnTo>
                  <a:lnTo>
                    <a:pt x="26" y="59"/>
                  </a:lnTo>
                  <a:lnTo>
                    <a:pt x="22" y="49"/>
                  </a:lnTo>
                  <a:lnTo>
                    <a:pt x="23" y="44"/>
                  </a:lnTo>
                  <a:lnTo>
                    <a:pt x="21" y="35"/>
                  </a:lnTo>
                  <a:lnTo>
                    <a:pt x="7" y="14"/>
                  </a:lnTo>
                  <a:lnTo>
                    <a:pt x="1" y="6"/>
                  </a:lnTo>
                  <a:lnTo>
                    <a:pt x="0" y="3"/>
                  </a:lnTo>
                  <a:lnTo>
                    <a:pt x="8" y="1"/>
                  </a:lnTo>
                  <a:lnTo>
                    <a:pt x="10" y="0"/>
                  </a:lnTo>
                  <a:lnTo>
                    <a:pt x="13" y="1"/>
                  </a:lnTo>
                  <a:lnTo>
                    <a:pt x="13" y="11"/>
                  </a:lnTo>
                  <a:lnTo>
                    <a:pt x="19" y="22"/>
                  </a:lnTo>
                  <a:lnTo>
                    <a:pt x="19" y="28"/>
                  </a:lnTo>
                  <a:lnTo>
                    <a:pt x="24" y="36"/>
                  </a:lnTo>
                  <a:lnTo>
                    <a:pt x="29" y="32"/>
                  </a:lnTo>
                  <a:lnTo>
                    <a:pt x="34" y="27"/>
                  </a:lnTo>
                  <a:lnTo>
                    <a:pt x="35" y="30"/>
                  </a:lnTo>
                  <a:lnTo>
                    <a:pt x="35" y="35"/>
                  </a:lnTo>
                  <a:lnTo>
                    <a:pt x="46" y="35"/>
                  </a:lnTo>
                  <a:lnTo>
                    <a:pt x="51" y="38"/>
                  </a:lnTo>
                  <a:lnTo>
                    <a:pt x="59" y="41"/>
                  </a:lnTo>
                  <a:lnTo>
                    <a:pt x="64" y="40"/>
                  </a:lnTo>
                  <a:lnTo>
                    <a:pt x="73" y="48"/>
                  </a:lnTo>
                  <a:lnTo>
                    <a:pt x="66" y="52"/>
                  </a:lnTo>
                  <a:lnTo>
                    <a:pt x="78" y="59"/>
                  </a:lnTo>
                  <a:lnTo>
                    <a:pt x="80" y="56"/>
                  </a:lnTo>
                  <a:lnTo>
                    <a:pt x="83" y="59"/>
                  </a:lnTo>
                  <a:lnTo>
                    <a:pt x="85" y="64"/>
                  </a:lnTo>
                  <a:lnTo>
                    <a:pt x="87" y="70"/>
                  </a:lnTo>
                  <a:lnTo>
                    <a:pt x="96" y="79"/>
                  </a:lnTo>
                  <a:lnTo>
                    <a:pt x="98" y="83"/>
                  </a:lnTo>
                  <a:lnTo>
                    <a:pt x="98" y="87"/>
                  </a:lnTo>
                  <a:lnTo>
                    <a:pt x="100" y="96"/>
                  </a:lnTo>
                  <a:lnTo>
                    <a:pt x="98" y="94"/>
                  </a:lnTo>
                  <a:lnTo>
                    <a:pt x="89" y="89"/>
                  </a:lnTo>
                  <a:lnTo>
                    <a:pt x="85" y="89"/>
                  </a:lnTo>
                  <a:lnTo>
                    <a:pt x="86" y="96"/>
                  </a:lnTo>
                  <a:lnTo>
                    <a:pt x="87" y="97"/>
                  </a:lnTo>
                  <a:lnTo>
                    <a:pt x="89" y="97"/>
                  </a:lnTo>
                  <a:lnTo>
                    <a:pt x="93" y="100"/>
                  </a:lnTo>
                  <a:lnTo>
                    <a:pt x="96" y="107"/>
                  </a:lnTo>
                  <a:lnTo>
                    <a:pt x="103" y="114"/>
                  </a:lnTo>
                  <a:lnTo>
                    <a:pt x="109" y="126"/>
                  </a:lnTo>
                  <a:lnTo>
                    <a:pt x="116" y="134"/>
                  </a:lnTo>
                  <a:lnTo>
                    <a:pt x="110" y="140"/>
                  </a:lnTo>
                  <a:lnTo>
                    <a:pt x="109" y="148"/>
                  </a:lnTo>
                  <a:lnTo>
                    <a:pt x="113" y="151"/>
                  </a:lnTo>
                  <a:lnTo>
                    <a:pt x="113" y="159"/>
                  </a:lnTo>
                  <a:lnTo>
                    <a:pt x="109" y="159"/>
                  </a:lnTo>
                  <a:lnTo>
                    <a:pt x="105" y="162"/>
                  </a:lnTo>
                  <a:lnTo>
                    <a:pt x="108" y="165"/>
                  </a:lnTo>
                  <a:lnTo>
                    <a:pt x="112" y="165"/>
                  </a:lnTo>
                  <a:lnTo>
                    <a:pt x="116" y="170"/>
                  </a:lnTo>
                  <a:lnTo>
                    <a:pt x="123" y="170"/>
                  </a:lnTo>
                  <a:lnTo>
                    <a:pt x="125" y="167"/>
                  </a:lnTo>
                  <a:lnTo>
                    <a:pt x="132" y="167"/>
                  </a:lnTo>
                  <a:lnTo>
                    <a:pt x="136" y="169"/>
                  </a:lnTo>
                  <a:lnTo>
                    <a:pt x="137" y="177"/>
                  </a:lnTo>
                  <a:lnTo>
                    <a:pt x="140" y="184"/>
                  </a:lnTo>
                  <a:lnTo>
                    <a:pt x="146" y="187"/>
                  </a:lnTo>
                  <a:lnTo>
                    <a:pt x="151" y="182"/>
                  </a:lnTo>
                  <a:lnTo>
                    <a:pt x="150" y="156"/>
                  </a:lnTo>
                  <a:lnTo>
                    <a:pt x="150" y="151"/>
                  </a:lnTo>
                  <a:lnTo>
                    <a:pt x="143" y="141"/>
                  </a:lnTo>
                  <a:lnTo>
                    <a:pt x="147" y="141"/>
                  </a:lnTo>
                  <a:lnTo>
                    <a:pt x="151" y="148"/>
                  </a:lnTo>
                  <a:lnTo>
                    <a:pt x="164" y="151"/>
                  </a:lnTo>
                  <a:lnTo>
                    <a:pt x="164" y="161"/>
                  </a:lnTo>
                  <a:lnTo>
                    <a:pt x="167" y="162"/>
                  </a:lnTo>
                  <a:lnTo>
                    <a:pt x="167" y="171"/>
                  </a:lnTo>
                  <a:lnTo>
                    <a:pt x="169" y="176"/>
                  </a:lnTo>
                  <a:lnTo>
                    <a:pt x="168" y="186"/>
                  </a:lnTo>
                  <a:lnTo>
                    <a:pt x="169" y="192"/>
                  </a:lnTo>
                  <a:lnTo>
                    <a:pt x="173" y="197"/>
                  </a:lnTo>
                  <a:lnTo>
                    <a:pt x="175" y="203"/>
                  </a:lnTo>
                  <a:lnTo>
                    <a:pt x="178" y="213"/>
                  </a:lnTo>
                  <a:lnTo>
                    <a:pt x="185" y="219"/>
                  </a:lnTo>
                  <a:lnTo>
                    <a:pt x="194" y="219"/>
                  </a:lnTo>
                  <a:lnTo>
                    <a:pt x="205" y="227"/>
                  </a:lnTo>
                  <a:lnTo>
                    <a:pt x="232" y="235"/>
                  </a:lnTo>
                  <a:lnTo>
                    <a:pt x="239" y="240"/>
                  </a:lnTo>
                  <a:lnTo>
                    <a:pt x="249" y="241"/>
                  </a:lnTo>
                  <a:lnTo>
                    <a:pt x="254" y="235"/>
                  </a:lnTo>
                  <a:lnTo>
                    <a:pt x="259" y="235"/>
                  </a:lnTo>
                  <a:lnTo>
                    <a:pt x="266" y="224"/>
                  </a:lnTo>
                  <a:lnTo>
                    <a:pt x="271" y="221"/>
                  </a:lnTo>
                  <a:lnTo>
                    <a:pt x="276" y="218"/>
                  </a:lnTo>
                  <a:lnTo>
                    <a:pt x="284" y="213"/>
                  </a:lnTo>
                  <a:lnTo>
                    <a:pt x="286" y="210"/>
                  </a:lnTo>
                  <a:lnTo>
                    <a:pt x="292" y="208"/>
                  </a:lnTo>
                  <a:lnTo>
                    <a:pt x="301" y="210"/>
                  </a:lnTo>
                  <a:lnTo>
                    <a:pt x="313" y="218"/>
                  </a:lnTo>
                  <a:lnTo>
                    <a:pt x="313" y="231"/>
                  </a:lnTo>
                  <a:lnTo>
                    <a:pt x="308" y="246"/>
                  </a:lnTo>
                  <a:lnTo>
                    <a:pt x="308" y="262"/>
                  </a:lnTo>
                  <a:lnTo>
                    <a:pt x="307" y="264"/>
                  </a:lnTo>
                  <a:lnTo>
                    <a:pt x="307" y="272"/>
                  </a:lnTo>
                  <a:lnTo>
                    <a:pt x="304" y="280"/>
                  </a:lnTo>
                  <a:lnTo>
                    <a:pt x="296" y="286"/>
                  </a:lnTo>
                  <a:lnTo>
                    <a:pt x="287" y="290"/>
                  </a:lnTo>
                  <a:lnTo>
                    <a:pt x="286" y="304"/>
                  </a:lnTo>
                  <a:lnTo>
                    <a:pt x="284" y="307"/>
                  </a:lnTo>
                  <a:lnTo>
                    <a:pt x="285" y="316"/>
                  </a:lnTo>
                  <a:lnTo>
                    <a:pt x="287" y="317"/>
                  </a:lnTo>
                  <a:lnTo>
                    <a:pt x="287" y="321"/>
                  </a:lnTo>
                  <a:lnTo>
                    <a:pt x="282" y="328"/>
                  </a:lnTo>
                  <a:lnTo>
                    <a:pt x="280" y="316"/>
                  </a:lnTo>
                  <a:lnTo>
                    <a:pt x="275" y="315"/>
                  </a:lnTo>
                  <a:lnTo>
                    <a:pt x="269" y="315"/>
                  </a:lnTo>
                  <a:lnTo>
                    <a:pt x="261" y="316"/>
                  </a:lnTo>
                  <a:lnTo>
                    <a:pt x="253" y="316"/>
                  </a:lnTo>
                  <a:lnTo>
                    <a:pt x="247" y="318"/>
                  </a:lnTo>
                  <a:lnTo>
                    <a:pt x="242" y="323"/>
                  </a:lnTo>
                  <a:lnTo>
                    <a:pt x="226" y="345"/>
                  </a:lnTo>
                  <a:lnTo>
                    <a:pt x="226" y="349"/>
                  </a:lnTo>
                  <a:lnTo>
                    <a:pt x="228" y="348"/>
                  </a:lnTo>
                  <a:lnTo>
                    <a:pt x="232" y="356"/>
                  </a:lnTo>
                  <a:lnTo>
                    <a:pt x="237" y="360"/>
                  </a:lnTo>
                  <a:lnTo>
                    <a:pt x="236" y="369"/>
                  </a:lnTo>
                  <a:lnTo>
                    <a:pt x="231" y="380"/>
                  </a:lnTo>
                  <a:lnTo>
                    <a:pt x="217" y="404"/>
                  </a:lnTo>
                  <a:lnTo>
                    <a:pt x="215" y="412"/>
                  </a:lnTo>
                  <a:lnTo>
                    <a:pt x="202" y="428"/>
                  </a:lnTo>
                  <a:lnTo>
                    <a:pt x="182" y="463"/>
                  </a:lnTo>
                  <a:lnTo>
                    <a:pt x="171" y="479"/>
                  </a:lnTo>
                  <a:lnTo>
                    <a:pt x="153" y="492"/>
                  </a:lnTo>
                  <a:lnTo>
                    <a:pt x="145" y="495"/>
                  </a:lnTo>
                  <a:lnTo>
                    <a:pt x="137" y="488"/>
                  </a:lnTo>
                  <a:lnTo>
                    <a:pt x="132" y="481"/>
                  </a:lnTo>
                  <a:lnTo>
                    <a:pt x="113" y="482"/>
                  </a:lnTo>
                  <a:lnTo>
                    <a:pt x="109" y="473"/>
                  </a:lnTo>
                  <a:lnTo>
                    <a:pt x="109" y="46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61" name="Freeform 57">
              <a:extLst>
                <a:ext uri="{FF2B5EF4-FFF2-40B4-BE49-F238E27FC236}">
                  <a16:creationId xmlns:a16="http://schemas.microsoft.com/office/drawing/2014/main" id="{4B908570-F017-D453-3654-6AB3DC9F102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0568067" y="4982691"/>
              <a:ext cx="83571" cy="71639"/>
            </a:xfrm>
            <a:custGeom>
              <a:avLst/>
              <a:gdLst>
                <a:gd name="T0" fmla="*/ 2147483647 w 159"/>
                <a:gd name="T1" fmla="*/ 0 h 133"/>
                <a:gd name="T2" fmla="*/ 0 w 159"/>
                <a:gd name="T3" fmla="*/ 0 h 133"/>
                <a:gd name="T4" fmla="*/ 0 w 159"/>
                <a:gd name="T5" fmla="*/ 0 h 133"/>
                <a:gd name="T6" fmla="*/ 0 w 159"/>
                <a:gd name="T7" fmla="*/ 0 h 133"/>
                <a:gd name="T8" fmla="*/ 0 w 159"/>
                <a:gd name="T9" fmla="*/ 0 h 133"/>
                <a:gd name="T10" fmla="*/ 0 w 159"/>
                <a:gd name="T11" fmla="*/ 0 h 133"/>
                <a:gd name="T12" fmla="*/ 0 w 159"/>
                <a:gd name="T13" fmla="*/ 0 h 133"/>
                <a:gd name="T14" fmla="*/ 0 w 159"/>
                <a:gd name="T15" fmla="*/ 0 h 133"/>
                <a:gd name="T16" fmla="*/ 0 w 159"/>
                <a:gd name="T17" fmla="*/ 0 h 133"/>
                <a:gd name="T18" fmla="*/ 0 w 159"/>
                <a:gd name="T19" fmla="*/ 0 h 133"/>
                <a:gd name="T20" fmla="*/ 0 w 159"/>
                <a:gd name="T21" fmla="*/ 0 h 133"/>
                <a:gd name="T22" fmla="*/ 0 w 159"/>
                <a:gd name="T23" fmla="*/ 0 h 133"/>
                <a:gd name="T24" fmla="*/ 0 w 159"/>
                <a:gd name="T25" fmla="*/ 0 h 133"/>
                <a:gd name="T26" fmla="*/ 0 w 159"/>
                <a:gd name="T27" fmla="*/ 0 h 133"/>
                <a:gd name="T28" fmla="*/ 0 w 159"/>
                <a:gd name="T29" fmla="*/ 0 h 133"/>
                <a:gd name="T30" fmla="*/ 2147483647 w 159"/>
                <a:gd name="T31" fmla="*/ 0 h 133"/>
                <a:gd name="T32" fmla="*/ 2147483647 w 159"/>
                <a:gd name="T33" fmla="*/ 0 h 133"/>
                <a:gd name="T34" fmla="*/ 2147483647 w 159"/>
                <a:gd name="T35" fmla="*/ 0 h 133"/>
                <a:gd name="T36" fmla="*/ 2147483647 w 159"/>
                <a:gd name="T37" fmla="*/ 0 h 133"/>
                <a:gd name="T38" fmla="*/ 2147483647 w 159"/>
                <a:gd name="T39" fmla="*/ 0 h 133"/>
                <a:gd name="T40" fmla="*/ 2147483647 w 159"/>
                <a:gd name="T41" fmla="*/ 0 h 133"/>
                <a:gd name="T42" fmla="*/ 2147483647 w 159"/>
                <a:gd name="T43" fmla="*/ 0 h 133"/>
                <a:gd name="T44" fmla="*/ 2147483647 w 159"/>
                <a:gd name="T45" fmla="*/ 0 h 133"/>
                <a:gd name="T46" fmla="*/ 2147483647 w 159"/>
                <a:gd name="T47" fmla="*/ 0 h 133"/>
                <a:gd name="T48" fmla="*/ 2147483647 w 159"/>
                <a:gd name="T49" fmla="*/ 0 h 133"/>
                <a:gd name="T50" fmla="*/ 2147483647 w 159"/>
                <a:gd name="T51" fmla="*/ 0 h 133"/>
                <a:gd name="T52" fmla="*/ 2147483647 w 159"/>
                <a:gd name="T53" fmla="*/ 0 h 133"/>
                <a:gd name="T54" fmla="*/ 2147483647 w 159"/>
                <a:gd name="T55" fmla="*/ 2147483647 h 133"/>
                <a:gd name="T56" fmla="*/ 2147483647 w 159"/>
                <a:gd name="T57" fmla="*/ 2147483647 h 133"/>
                <a:gd name="T58" fmla="*/ 2147483647 w 159"/>
                <a:gd name="T59" fmla="*/ 2147483647 h 133"/>
                <a:gd name="T60" fmla="*/ 2147483647 w 159"/>
                <a:gd name="T61" fmla="*/ 2147483647 h 133"/>
                <a:gd name="T62" fmla="*/ 2147483647 w 159"/>
                <a:gd name="T63" fmla="*/ 2147483647 h 133"/>
                <a:gd name="T64" fmla="*/ 2147483647 w 159"/>
                <a:gd name="T65" fmla="*/ 2147483647 h 133"/>
                <a:gd name="T66" fmla="*/ 2147483647 w 159"/>
                <a:gd name="T67" fmla="*/ 2147483647 h 133"/>
                <a:gd name="T68" fmla="*/ 2147483647 w 159"/>
                <a:gd name="T69" fmla="*/ 2147483647 h 133"/>
                <a:gd name="T70" fmla="*/ 2147483647 w 159"/>
                <a:gd name="T71" fmla="*/ 2147483647 h 133"/>
                <a:gd name="T72" fmla="*/ 2147483647 w 159"/>
                <a:gd name="T73" fmla="*/ 2147483647 h 133"/>
                <a:gd name="T74" fmla="*/ 2147483647 w 159"/>
                <a:gd name="T75" fmla="*/ 2147483647 h 133"/>
                <a:gd name="T76" fmla="*/ 2147483647 w 159"/>
                <a:gd name="T77" fmla="*/ 2147483647 h 133"/>
                <a:gd name="T78" fmla="*/ 2147483647 w 159"/>
                <a:gd name="T79" fmla="*/ 2147483647 h 133"/>
                <a:gd name="T80" fmla="*/ 2147483647 w 159"/>
                <a:gd name="T81" fmla="*/ 2147483647 h 133"/>
                <a:gd name="T82" fmla="*/ 2147483647 w 159"/>
                <a:gd name="T83" fmla="*/ 2147483647 h 133"/>
                <a:gd name="T84" fmla="*/ 2147483647 w 159"/>
                <a:gd name="T85" fmla="*/ 2147483647 h 133"/>
                <a:gd name="T86" fmla="*/ 2147483647 w 159"/>
                <a:gd name="T87" fmla="*/ 2147483647 h 133"/>
                <a:gd name="T88" fmla="*/ 2147483647 w 159"/>
                <a:gd name="T89" fmla="*/ 2147483647 h 133"/>
                <a:gd name="T90" fmla="*/ 2147483647 w 159"/>
                <a:gd name="T91" fmla="*/ 2147483647 h 133"/>
                <a:gd name="T92" fmla="*/ 2147483647 w 159"/>
                <a:gd name="T93" fmla="*/ 2147483647 h 133"/>
                <a:gd name="T94" fmla="*/ 2147483647 w 159"/>
                <a:gd name="T95" fmla="*/ 2147483647 h 133"/>
                <a:gd name="T96" fmla="*/ 2147483647 w 159"/>
                <a:gd name="T97" fmla="*/ 2147483647 h 133"/>
                <a:gd name="T98" fmla="*/ 2147483647 w 159"/>
                <a:gd name="T99" fmla="*/ 2147483647 h 133"/>
                <a:gd name="T100" fmla="*/ 2147483647 w 159"/>
                <a:gd name="T101" fmla="*/ 2147483647 h 133"/>
                <a:gd name="T102" fmla="*/ 2147483647 w 159"/>
                <a:gd name="T103" fmla="*/ 2147483647 h 133"/>
                <a:gd name="T104" fmla="*/ 2147483647 w 159"/>
                <a:gd name="T105" fmla="*/ 2147483647 h 133"/>
                <a:gd name="T106" fmla="*/ 2147483647 w 159"/>
                <a:gd name="T107" fmla="*/ 2147483647 h 133"/>
                <a:gd name="T108" fmla="*/ 2147483647 w 159"/>
                <a:gd name="T109" fmla="*/ 0 h 133"/>
                <a:gd name="T110" fmla="*/ 2147483647 w 159"/>
                <a:gd name="T111" fmla="*/ 0 h 133"/>
                <a:gd name="T112" fmla="*/ 2147483647 w 159"/>
                <a:gd name="T113" fmla="*/ 0 h 13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59"/>
                <a:gd name="T172" fmla="*/ 0 h 133"/>
                <a:gd name="T173" fmla="*/ 159 w 159"/>
                <a:gd name="T174" fmla="*/ 133 h 13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59" h="133">
                  <a:moveTo>
                    <a:pt x="60" y="71"/>
                  </a:moveTo>
                  <a:lnTo>
                    <a:pt x="39" y="60"/>
                  </a:lnTo>
                  <a:lnTo>
                    <a:pt x="27" y="43"/>
                  </a:lnTo>
                  <a:lnTo>
                    <a:pt x="21" y="38"/>
                  </a:lnTo>
                  <a:lnTo>
                    <a:pt x="16" y="26"/>
                  </a:lnTo>
                  <a:lnTo>
                    <a:pt x="6" y="17"/>
                  </a:lnTo>
                  <a:lnTo>
                    <a:pt x="6" y="9"/>
                  </a:lnTo>
                  <a:lnTo>
                    <a:pt x="0" y="2"/>
                  </a:lnTo>
                  <a:lnTo>
                    <a:pt x="6" y="0"/>
                  </a:lnTo>
                  <a:lnTo>
                    <a:pt x="14" y="5"/>
                  </a:lnTo>
                  <a:lnTo>
                    <a:pt x="19" y="4"/>
                  </a:lnTo>
                  <a:lnTo>
                    <a:pt x="33" y="14"/>
                  </a:lnTo>
                  <a:lnTo>
                    <a:pt x="40" y="16"/>
                  </a:lnTo>
                  <a:lnTo>
                    <a:pt x="41" y="21"/>
                  </a:lnTo>
                  <a:lnTo>
                    <a:pt x="45" y="26"/>
                  </a:lnTo>
                  <a:lnTo>
                    <a:pt x="51" y="26"/>
                  </a:lnTo>
                  <a:lnTo>
                    <a:pt x="59" y="29"/>
                  </a:lnTo>
                  <a:lnTo>
                    <a:pt x="67" y="43"/>
                  </a:lnTo>
                  <a:lnTo>
                    <a:pt x="72" y="47"/>
                  </a:lnTo>
                  <a:lnTo>
                    <a:pt x="75" y="57"/>
                  </a:lnTo>
                  <a:lnTo>
                    <a:pt x="78" y="58"/>
                  </a:lnTo>
                  <a:lnTo>
                    <a:pt x="82" y="63"/>
                  </a:lnTo>
                  <a:lnTo>
                    <a:pt x="89" y="68"/>
                  </a:lnTo>
                  <a:lnTo>
                    <a:pt x="94" y="74"/>
                  </a:lnTo>
                  <a:lnTo>
                    <a:pt x="98" y="75"/>
                  </a:lnTo>
                  <a:lnTo>
                    <a:pt x="100" y="81"/>
                  </a:lnTo>
                  <a:lnTo>
                    <a:pt x="109" y="82"/>
                  </a:lnTo>
                  <a:lnTo>
                    <a:pt x="123" y="86"/>
                  </a:lnTo>
                  <a:lnTo>
                    <a:pt x="141" y="103"/>
                  </a:lnTo>
                  <a:lnTo>
                    <a:pt x="143" y="109"/>
                  </a:lnTo>
                  <a:lnTo>
                    <a:pt x="150" y="108"/>
                  </a:lnTo>
                  <a:lnTo>
                    <a:pt x="157" y="114"/>
                  </a:lnTo>
                  <a:lnTo>
                    <a:pt x="159" y="123"/>
                  </a:lnTo>
                  <a:lnTo>
                    <a:pt x="158" y="125"/>
                  </a:lnTo>
                  <a:lnTo>
                    <a:pt x="153" y="125"/>
                  </a:lnTo>
                  <a:lnTo>
                    <a:pt x="152" y="133"/>
                  </a:lnTo>
                  <a:lnTo>
                    <a:pt x="150" y="131"/>
                  </a:lnTo>
                  <a:lnTo>
                    <a:pt x="147" y="127"/>
                  </a:lnTo>
                  <a:lnTo>
                    <a:pt x="141" y="122"/>
                  </a:lnTo>
                  <a:lnTo>
                    <a:pt x="138" y="119"/>
                  </a:lnTo>
                  <a:lnTo>
                    <a:pt x="130" y="119"/>
                  </a:lnTo>
                  <a:lnTo>
                    <a:pt x="124" y="115"/>
                  </a:lnTo>
                  <a:lnTo>
                    <a:pt x="116" y="115"/>
                  </a:lnTo>
                  <a:lnTo>
                    <a:pt x="114" y="112"/>
                  </a:lnTo>
                  <a:lnTo>
                    <a:pt x="113" y="104"/>
                  </a:lnTo>
                  <a:lnTo>
                    <a:pt x="108" y="104"/>
                  </a:lnTo>
                  <a:lnTo>
                    <a:pt x="104" y="102"/>
                  </a:lnTo>
                  <a:lnTo>
                    <a:pt x="99" y="102"/>
                  </a:lnTo>
                  <a:lnTo>
                    <a:pt x="98" y="97"/>
                  </a:lnTo>
                  <a:lnTo>
                    <a:pt x="93" y="97"/>
                  </a:lnTo>
                  <a:lnTo>
                    <a:pt x="91" y="95"/>
                  </a:lnTo>
                  <a:lnTo>
                    <a:pt x="84" y="93"/>
                  </a:lnTo>
                  <a:lnTo>
                    <a:pt x="77" y="86"/>
                  </a:lnTo>
                  <a:lnTo>
                    <a:pt x="71" y="86"/>
                  </a:lnTo>
                  <a:lnTo>
                    <a:pt x="66" y="84"/>
                  </a:lnTo>
                  <a:lnTo>
                    <a:pt x="65" y="76"/>
                  </a:lnTo>
                  <a:lnTo>
                    <a:pt x="60" y="7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62" name="Freeform 58">
              <a:extLst>
                <a:ext uri="{FF2B5EF4-FFF2-40B4-BE49-F238E27FC236}">
                  <a16:creationId xmlns:a16="http://schemas.microsoft.com/office/drawing/2014/main" id="{82BEA184-97E7-A4C6-234B-541A8E8523F2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796788" y="2850312"/>
              <a:ext cx="322346" cy="164615"/>
            </a:xfrm>
            <a:custGeom>
              <a:avLst/>
              <a:gdLst>
                <a:gd name="T0" fmla="*/ 2147483647 w 604"/>
                <a:gd name="T1" fmla="*/ 2147483647 h 288"/>
                <a:gd name="T2" fmla="*/ 2147483647 w 604"/>
                <a:gd name="T3" fmla="*/ 2147483647 h 288"/>
                <a:gd name="T4" fmla="*/ 2147483647 w 604"/>
                <a:gd name="T5" fmla="*/ 2147483647 h 288"/>
                <a:gd name="T6" fmla="*/ 2147483647 w 604"/>
                <a:gd name="T7" fmla="*/ 2147483647 h 288"/>
                <a:gd name="T8" fmla="*/ 2147483647 w 604"/>
                <a:gd name="T9" fmla="*/ 2147483647 h 288"/>
                <a:gd name="T10" fmla="*/ 2147483647 w 604"/>
                <a:gd name="T11" fmla="*/ 2147483647 h 288"/>
                <a:gd name="T12" fmla="*/ 2147483647 w 604"/>
                <a:gd name="T13" fmla="*/ 2147483647 h 288"/>
                <a:gd name="T14" fmla="*/ 2147483647 w 604"/>
                <a:gd name="T15" fmla="*/ 2147483647 h 288"/>
                <a:gd name="T16" fmla="*/ 2147483647 w 604"/>
                <a:gd name="T17" fmla="*/ 2147483647 h 288"/>
                <a:gd name="T18" fmla="*/ 2147483647 w 604"/>
                <a:gd name="T19" fmla="*/ 0 h 288"/>
                <a:gd name="T20" fmla="*/ 2147483647 w 604"/>
                <a:gd name="T21" fmla="*/ 0 h 288"/>
                <a:gd name="T22" fmla="*/ 2147483647 w 604"/>
                <a:gd name="T23" fmla="*/ 0 h 288"/>
                <a:gd name="T24" fmla="*/ 2147483647 w 604"/>
                <a:gd name="T25" fmla="*/ 0 h 288"/>
                <a:gd name="T26" fmla="*/ 2147483647 w 604"/>
                <a:gd name="T27" fmla="*/ 0 h 288"/>
                <a:gd name="T28" fmla="*/ 2147483647 w 604"/>
                <a:gd name="T29" fmla="*/ 0 h 288"/>
                <a:gd name="T30" fmla="*/ 2147483647 w 604"/>
                <a:gd name="T31" fmla="*/ 0 h 288"/>
                <a:gd name="T32" fmla="*/ 2147483647 w 604"/>
                <a:gd name="T33" fmla="*/ 0 h 288"/>
                <a:gd name="T34" fmla="*/ 2147483647 w 604"/>
                <a:gd name="T35" fmla="*/ 0 h 288"/>
                <a:gd name="T36" fmla="*/ 2147483647 w 604"/>
                <a:gd name="T37" fmla="*/ 0 h 288"/>
                <a:gd name="T38" fmla="*/ 2147483647 w 604"/>
                <a:gd name="T39" fmla="*/ 0 h 288"/>
                <a:gd name="T40" fmla="*/ 2147483647 w 604"/>
                <a:gd name="T41" fmla="*/ 0 h 288"/>
                <a:gd name="T42" fmla="*/ 2147483647 w 604"/>
                <a:gd name="T43" fmla="*/ 0 h 288"/>
                <a:gd name="T44" fmla="*/ 2147483647 w 604"/>
                <a:gd name="T45" fmla="*/ 0 h 288"/>
                <a:gd name="T46" fmla="*/ 2147483647 w 604"/>
                <a:gd name="T47" fmla="*/ 0 h 288"/>
                <a:gd name="T48" fmla="*/ 2147483647 w 604"/>
                <a:gd name="T49" fmla="*/ 0 h 288"/>
                <a:gd name="T50" fmla="*/ 2147483647 w 604"/>
                <a:gd name="T51" fmla="*/ 2147483647 h 288"/>
                <a:gd name="T52" fmla="*/ 2147483647 w 604"/>
                <a:gd name="T53" fmla="*/ 2147483647 h 288"/>
                <a:gd name="T54" fmla="*/ 2147483647 w 604"/>
                <a:gd name="T55" fmla="*/ 2147483647 h 288"/>
                <a:gd name="T56" fmla="*/ 2147483647 w 604"/>
                <a:gd name="T57" fmla="*/ 2147483647 h 288"/>
                <a:gd name="T58" fmla="*/ 2147483647 w 604"/>
                <a:gd name="T59" fmla="*/ 2147483647 h 288"/>
                <a:gd name="T60" fmla="*/ 2147483647 w 604"/>
                <a:gd name="T61" fmla="*/ 2147483647 h 288"/>
                <a:gd name="T62" fmla="*/ 2147483647 w 604"/>
                <a:gd name="T63" fmla="*/ 2147483647 h 288"/>
                <a:gd name="T64" fmla="*/ 2147483647 w 604"/>
                <a:gd name="T65" fmla="*/ 2147483647 h 288"/>
                <a:gd name="T66" fmla="*/ 2147483647 w 604"/>
                <a:gd name="T67" fmla="*/ 2147483647 h 288"/>
                <a:gd name="T68" fmla="*/ 2147483647 w 604"/>
                <a:gd name="T69" fmla="*/ 2147483647 h 288"/>
                <a:gd name="T70" fmla="*/ 2147483647 w 604"/>
                <a:gd name="T71" fmla="*/ 2147483647 h 288"/>
                <a:gd name="T72" fmla="*/ 2147483647 w 604"/>
                <a:gd name="T73" fmla="*/ 2147483647 h 288"/>
                <a:gd name="T74" fmla="*/ 2147483647 w 604"/>
                <a:gd name="T75" fmla="*/ 2147483647 h 288"/>
                <a:gd name="T76" fmla="*/ 2147483647 w 604"/>
                <a:gd name="T77" fmla="*/ 2147483647 h 288"/>
                <a:gd name="T78" fmla="*/ 2147483647 w 604"/>
                <a:gd name="T79" fmla="*/ 2147483647 h 288"/>
                <a:gd name="T80" fmla="*/ 0 w 604"/>
                <a:gd name="T81" fmla="*/ 2147483647 h 288"/>
                <a:gd name="T82" fmla="*/ 0 w 604"/>
                <a:gd name="T83" fmla="*/ 2147483647 h 288"/>
                <a:gd name="T84" fmla="*/ 0 w 604"/>
                <a:gd name="T85" fmla="*/ 2147483647 h 288"/>
                <a:gd name="T86" fmla="*/ 0 w 604"/>
                <a:gd name="T87" fmla="*/ 2147483647 h 288"/>
                <a:gd name="T88" fmla="*/ 2147483647 w 604"/>
                <a:gd name="T89" fmla="*/ 2147483647 h 288"/>
                <a:gd name="T90" fmla="*/ 2147483647 w 604"/>
                <a:gd name="T91" fmla="*/ 2147483647 h 288"/>
                <a:gd name="T92" fmla="*/ 2147483647 w 604"/>
                <a:gd name="T93" fmla="*/ 2147483647 h 288"/>
                <a:gd name="T94" fmla="*/ 2147483647 w 604"/>
                <a:gd name="T95" fmla="*/ 2147483647 h 288"/>
                <a:gd name="T96" fmla="*/ 2147483647 w 604"/>
                <a:gd name="T97" fmla="*/ 2147483647 h 288"/>
                <a:gd name="T98" fmla="*/ 2147483647 w 604"/>
                <a:gd name="T99" fmla="*/ 2147483647 h 28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604"/>
                <a:gd name="T151" fmla="*/ 0 h 288"/>
                <a:gd name="T152" fmla="*/ 604 w 604"/>
                <a:gd name="T153" fmla="*/ 288 h 28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604" h="288">
                  <a:moveTo>
                    <a:pt x="251" y="267"/>
                  </a:moveTo>
                  <a:lnTo>
                    <a:pt x="250" y="256"/>
                  </a:lnTo>
                  <a:lnTo>
                    <a:pt x="259" y="238"/>
                  </a:lnTo>
                  <a:lnTo>
                    <a:pt x="291" y="223"/>
                  </a:lnTo>
                  <a:lnTo>
                    <a:pt x="296" y="218"/>
                  </a:lnTo>
                  <a:lnTo>
                    <a:pt x="303" y="218"/>
                  </a:lnTo>
                  <a:lnTo>
                    <a:pt x="309" y="203"/>
                  </a:lnTo>
                  <a:lnTo>
                    <a:pt x="319" y="207"/>
                  </a:lnTo>
                  <a:lnTo>
                    <a:pt x="334" y="201"/>
                  </a:lnTo>
                  <a:lnTo>
                    <a:pt x="345" y="202"/>
                  </a:lnTo>
                  <a:lnTo>
                    <a:pt x="351" y="215"/>
                  </a:lnTo>
                  <a:lnTo>
                    <a:pt x="362" y="217"/>
                  </a:lnTo>
                  <a:lnTo>
                    <a:pt x="378" y="213"/>
                  </a:lnTo>
                  <a:lnTo>
                    <a:pt x="388" y="214"/>
                  </a:lnTo>
                  <a:lnTo>
                    <a:pt x="401" y="204"/>
                  </a:lnTo>
                  <a:lnTo>
                    <a:pt x="407" y="186"/>
                  </a:lnTo>
                  <a:lnTo>
                    <a:pt x="416" y="175"/>
                  </a:lnTo>
                  <a:lnTo>
                    <a:pt x="433" y="170"/>
                  </a:lnTo>
                  <a:lnTo>
                    <a:pt x="452" y="169"/>
                  </a:lnTo>
                  <a:lnTo>
                    <a:pt x="479" y="164"/>
                  </a:lnTo>
                  <a:lnTo>
                    <a:pt x="491" y="159"/>
                  </a:lnTo>
                  <a:lnTo>
                    <a:pt x="499" y="145"/>
                  </a:lnTo>
                  <a:lnTo>
                    <a:pt x="514" y="132"/>
                  </a:lnTo>
                  <a:lnTo>
                    <a:pt x="550" y="112"/>
                  </a:lnTo>
                  <a:lnTo>
                    <a:pt x="588" y="100"/>
                  </a:lnTo>
                  <a:lnTo>
                    <a:pt x="598" y="93"/>
                  </a:lnTo>
                  <a:lnTo>
                    <a:pt x="604" y="79"/>
                  </a:lnTo>
                  <a:lnTo>
                    <a:pt x="604" y="69"/>
                  </a:lnTo>
                  <a:lnTo>
                    <a:pt x="597" y="69"/>
                  </a:lnTo>
                  <a:lnTo>
                    <a:pt x="577" y="56"/>
                  </a:lnTo>
                  <a:lnTo>
                    <a:pt x="561" y="53"/>
                  </a:lnTo>
                  <a:lnTo>
                    <a:pt x="546" y="35"/>
                  </a:lnTo>
                  <a:lnTo>
                    <a:pt x="530" y="34"/>
                  </a:lnTo>
                  <a:lnTo>
                    <a:pt x="523" y="31"/>
                  </a:lnTo>
                  <a:lnTo>
                    <a:pt x="514" y="31"/>
                  </a:lnTo>
                  <a:lnTo>
                    <a:pt x="508" y="27"/>
                  </a:lnTo>
                  <a:lnTo>
                    <a:pt x="499" y="26"/>
                  </a:lnTo>
                  <a:lnTo>
                    <a:pt x="475" y="27"/>
                  </a:lnTo>
                  <a:lnTo>
                    <a:pt x="452" y="24"/>
                  </a:lnTo>
                  <a:lnTo>
                    <a:pt x="443" y="24"/>
                  </a:lnTo>
                  <a:lnTo>
                    <a:pt x="428" y="18"/>
                  </a:lnTo>
                  <a:lnTo>
                    <a:pt x="421" y="18"/>
                  </a:lnTo>
                  <a:lnTo>
                    <a:pt x="406" y="24"/>
                  </a:lnTo>
                  <a:lnTo>
                    <a:pt x="374" y="20"/>
                  </a:lnTo>
                  <a:lnTo>
                    <a:pt x="366" y="20"/>
                  </a:lnTo>
                  <a:lnTo>
                    <a:pt x="350" y="24"/>
                  </a:lnTo>
                  <a:lnTo>
                    <a:pt x="334" y="24"/>
                  </a:lnTo>
                  <a:lnTo>
                    <a:pt x="325" y="23"/>
                  </a:lnTo>
                  <a:lnTo>
                    <a:pt x="319" y="18"/>
                  </a:lnTo>
                  <a:lnTo>
                    <a:pt x="310" y="16"/>
                  </a:lnTo>
                  <a:lnTo>
                    <a:pt x="294" y="18"/>
                  </a:lnTo>
                  <a:lnTo>
                    <a:pt x="288" y="12"/>
                  </a:lnTo>
                  <a:lnTo>
                    <a:pt x="267" y="0"/>
                  </a:lnTo>
                  <a:lnTo>
                    <a:pt x="260" y="4"/>
                  </a:lnTo>
                  <a:lnTo>
                    <a:pt x="253" y="5"/>
                  </a:lnTo>
                  <a:lnTo>
                    <a:pt x="245" y="8"/>
                  </a:lnTo>
                  <a:lnTo>
                    <a:pt x="233" y="18"/>
                  </a:lnTo>
                  <a:lnTo>
                    <a:pt x="232" y="26"/>
                  </a:lnTo>
                  <a:lnTo>
                    <a:pt x="227" y="32"/>
                  </a:lnTo>
                  <a:lnTo>
                    <a:pt x="224" y="48"/>
                  </a:lnTo>
                  <a:lnTo>
                    <a:pt x="221" y="56"/>
                  </a:lnTo>
                  <a:lnTo>
                    <a:pt x="205" y="52"/>
                  </a:lnTo>
                  <a:lnTo>
                    <a:pt x="191" y="45"/>
                  </a:lnTo>
                  <a:lnTo>
                    <a:pt x="175" y="40"/>
                  </a:lnTo>
                  <a:lnTo>
                    <a:pt x="169" y="36"/>
                  </a:lnTo>
                  <a:lnTo>
                    <a:pt x="160" y="34"/>
                  </a:lnTo>
                  <a:lnTo>
                    <a:pt x="152" y="34"/>
                  </a:lnTo>
                  <a:lnTo>
                    <a:pt x="137" y="31"/>
                  </a:lnTo>
                  <a:lnTo>
                    <a:pt x="129" y="32"/>
                  </a:lnTo>
                  <a:lnTo>
                    <a:pt x="121" y="30"/>
                  </a:lnTo>
                  <a:lnTo>
                    <a:pt x="105" y="32"/>
                  </a:lnTo>
                  <a:lnTo>
                    <a:pt x="98" y="36"/>
                  </a:lnTo>
                  <a:lnTo>
                    <a:pt x="95" y="43"/>
                  </a:lnTo>
                  <a:lnTo>
                    <a:pt x="97" y="51"/>
                  </a:lnTo>
                  <a:lnTo>
                    <a:pt x="92" y="58"/>
                  </a:lnTo>
                  <a:lnTo>
                    <a:pt x="88" y="66"/>
                  </a:lnTo>
                  <a:lnTo>
                    <a:pt x="105" y="70"/>
                  </a:lnTo>
                  <a:lnTo>
                    <a:pt x="106" y="79"/>
                  </a:lnTo>
                  <a:lnTo>
                    <a:pt x="92" y="85"/>
                  </a:lnTo>
                  <a:lnTo>
                    <a:pt x="82" y="97"/>
                  </a:lnTo>
                  <a:lnTo>
                    <a:pt x="70" y="109"/>
                  </a:lnTo>
                  <a:lnTo>
                    <a:pt x="55" y="118"/>
                  </a:lnTo>
                  <a:lnTo>
                    <a:pt x="54" y="127"/>
                  </a:lnTo>
                  <a:lnTo>
                    <a:pt x="62" y="129"/>
                  </a:lnTo>
                  <a:lnTo>
                    <a:pt x="68" y="134"/>
                  </a:lnTo>
                  <a:lnTo>
                    <a:pt x="76" y="131"/>
                  </a:lnTo>
                  <a:lnTo>
                    <a:pt x="84" y="144"/>
                  </a:lnTo>
                  <a:lnTo>
                    <a:pt x="108" y="154"/>
                  </a:lnTo>
                  <a:lnTo>
                    <a:pt x="115" y="154"/>
                  </a:lnTo>
                  <a:lnTo>
                    <a:pt x="117" y="147"/>
                  </a:lnTo>
                  <a:lnTo>
                    <a:pt x="125" y="142"/>
                  </a:lnTo>
                  <a:lnTo>
                    <a:pt x="130" y="127"/>
                  </a:lnTo>
                  <a:lnTo>
                    <a:pt x="137" y="131"/>
                  </a:lnTo>
                  <a:lnTo>
                    <a:pt x="142" y="137"/>
                  </a:lnTo>
                  <a:lnTo>
                    <a:pt x="142" y="145"/>
                  </a:lnTo>
                  <a:lnTo>
                    <a:pt x="156" y="154"/>
                  </a:lnTo>
                  <a:lnTo>
                    <a:pt x="162" y="159"/>
                  </a:lnTo>
                  <a:lnTo>
                    <a:pt x="170" y="159"/>
                  </a:lnTo>
                  <a:lnTo>
                    <a:pt x="181" y="169"/>
                  </a:lnTo>
                  <a:lnTo>
                    <a:pt x="197" y="174"/>
                  </a:lnTo>
                  <a:lnTo>
                    <a:pt x="205" y="171"/>
                  </a:lnTo>
                  <a:lnTo>
                    <a:pt x="212" y="175"/>
                  </a:lnTo>
                  <a:lnTo>
                    <a:pt x="207" y="182"/>
                  </a:lnTo>
                  <a:lnTo>
                    <a:pt x="191" y="186"/>
                  </a:lnTo>
                  <a:lnTo>
                    <a:pt x="187" y="195"/>
                  </a:lnTo>
                  <a:lnTo>
                    <a:pt x="181" y="198"/>
                  </a:lnTo>
                  <a:lnTo>
                    <a:pt x="173" y="196"/>
                  </a:lnTo>
                  <a:lnTo>
                    <a:pt x="168" y="202"/>
                  </a:lnTo>
                  <a:lnTo>
                    <a:pt x="160" y="202"/>
                  </a:lnTo>
                  <a:lnTo>
                    <a:pt x="153" y="206"/>
                  </a:lnTo>
                  <a:lnTo>
                    <a:pt x="149" y="213"/>
                  </a:lnTo>
                  <a:lnTo>
                    <a:pt x="143" y="218"/>
                  </a:lnTo>
                  <a:lnTo>
                    <a:pt x="127" y="220"/>
                  </a:lnTo>
                  <a:lnTo>
                    <a:pt x="111" y="215"/>
                  </a:lnTo>
                  <a:lnTo>
                    <a:pt x="104" y="214"/>
                  </a:lnTo>
                  <a:lnTo>
                    <a:pt x="92" y="215"/>
                  </a:lnTo>
                  <a:lnTo>
                    <a:pt x="88" y="224"/>
                  </a:lnTo>
                  <a:lnTo>
                    <a:pt x="81" y="226"/>
                  </a:lnTo>
                  <a:lnTo>
                    <a:pt x="76" y="234"/>
                  </a:lnTo>
                  <a:lnTo>
                    <a:pt x="68" y="236"/>
                  </a:lnTo>
                  <a:lnTo>
                    <a:pt x="55" y="228"/>
                  </a:lnTo>
                  <a:lnTo>
                    <a:pt x="46" y="226"/>
                  </a:lnTo>
                  <a:lnTo>
                    <a:pt x="30" y="229"/>
                  </a:lnTo>
                  <a:lnTo>
                    <a:pt x="22" y="226"/>
                  </a:lnTo>
                  <a:lnTo>
                    <a:pt x="15" y="231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0" y="261"/>
                  </a:lnTo>
                  <a:lnTo>
                    <a:pt x="4" y="267"/>
                  </a:lnTo>
                  <a:lnTo>
                    <a:pt x="13" y="267"/>
                  </a:lnTo>
                  <a:lnTo>
                    <a:pt x="20" y="265"/>
                  </a:lnTo>
                  <a:lnTo>
                    <a:pt x="36" y="268"/>
                  </a:lnTo>
                  <a:lnTo>
                    <a:pt x="60" y="265"/>
                  </a:lnTo>
                  <a:lnTo>
                    <a:pt x="68" y="265"/>
                  </a:lnTo>
                  <a:lnTo>
                    <a:pt x="76" y="267"/>
                  </a:lnTo>
                  <a:lnTo>
                    <a:pt x="81" y="273"/>
                  </a:lnTo>
                  <a:lnTo>
                    <a:pt x="89" y="274"/>
                  </a:lnTo>
                  <a:lnTo>
                    <a:pt x="120" y="265"/>
                  </a:lnTo>
                  <a:lnTo>
                    <a:pt x="127" y="269"/>
                  </a:lnTo>
                  <a:lnTo>
                    <a:pt x="135" y="271"/>
                  </a:lnTo>
                  <a:lnTo>
                    <a:pt x="140" y="287"/>
                  </a:lnTo>
                  <a:lnTo>
                    <a:pt x="156" y="285"/>
                  </a:lnTo>
                  <a:lnTo>
                    <a:pt x="163" y="288"/>
                  </a:lnTo>
                  <a:lnTo>
                    <a:pt x="178" y="281"/>
                  </a:lnTo>
                  <a:lnTo>
                    <a:pt x="194" y="278"/>
                  </a:lnTo>
                  <a:lnTo>
                    <a:pt x="210" y="281"/>
                  </a:lnTo>
                  <a:lnTo>
                    <a:pt x="219" y="278"/>
                  </a:lnTo>
                  <a:lnTo>
                    <a:pt x="229" y="279"/>
                  </a:lnTo>
                  <a:lnTo>
                    <a:pt x="232" y="265"/>
                  </a:lnTo>
                  <a:lnTo>
                    <a:pt x="251" y="26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63" name="Freeform 59">
              <a:extLst>
                <a:ext uri="{FF2B5EF4-FFF2-40B4-BE49-F238E27FC236}">
                  <a16:creationId xmlns:a16="http://schemas.microsoft.com/office/drawing/2014/main" id="{CD085032-1336-168F-0FE1-DFA563FC8EB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743064" y="2938716"/>
              <a:ext cx="222358" cy="178333"/>
            </a:xfrm>
            <a:custGeom>
              <a:avLst/>
              <a:gdLst>
                <a:gd name="T0" fmla="*/ 0 w 417"/>
                <a:gd name="T1" fmla="*/ 2147483647 h 312"/>
                <a:gd name="T2" fmla="*/ 2147483647 w 417"/>
                <a:gd name="T3" fmla="*/ 2147483647 h 312"/>
                <a:gd name="T4" fmla="*/ 2147483647 w 417"/>
                <a:gd name="T5" fmla="*/ 2147483647 h 312"/>
                <a:gd name="T6" fmla="*/ 2147483647 w 417"/>
                <a:gd name="T7" fmla="*/ 2147483647 h 312"/>
                <a:gd name="T8" fmla="*/ 2147483647 w 417"/>
                <a:gd name="T9" fmla="*/ 2147483647 h 312"/>
                <a:gd name="T10" fmla="*/ 2147483647 w 417"/>
                <a:gd name="T11" fmla="*/ 2147483647 h 312"/>
                <a:gd name="T12" fmla="*/ 2147483647 w 417"/>
                <a:gd name="T13" fmla="*/ 2147483647 h 312"/>
                <a:gd name="T14" fmla="*/ 2147483647 w 417"/>
                <a:gd name="T15" fmla="*/ 2147483647 h 312"/>
                <a:gd name="T16" fmla="*/ 2147483647 w 417"/>
                <a:gd name="T17" fmla="*/ 2147483647 h 312"/>
                <a:gd name="T18" fmla="*/ 2147483647 w 417"/>
                <a:gd name="T19" fmla="*/ 2147483647 h 312"/>
                <a:gd name="T20" fmla="*/ 2147483647 w 417"/>
                <a:gd name="T21" fmla="*/ 2147483647 h 312"/>
                <a:gd name="T22" fmla="*/ 2147483647 w 417"/>
                <a:gd name="T23" fmla="*/ 2147483647 h 312"/>
                <a:gd name="T24" fmla="*/ 2147483647 w 417"/>
                <a:gd name="T25" fmla="*/ 2147483647 h 312"/>
                <a:gd name="T26" fmla="*/ 2147483647 w 417"/>
                <a:gd name="T27" fmla="*/ 2147483647 h 312"/>
                <a:gd name="T28" fmla="*/ 2147483647 w 417"/>
                <a:gd name="T29" fmla="*/ 2147483647 h 312"/>
                <a:gd name="T30" fmla="*/ 2147483647 w 417"/>
                <a:gd name="T31" fmla="*/ 2147483647 h 312"/>
                <a:gd name="T32" fmla="*/ 2147483647 w 417"/>
                <a:gd name="T33" fmla="*/ 2147483647 h 312"/>
                <a:gd name="T34" fmla="*/ 2147483647 w 417"/>
                <a:gd name="T35" fmla="*/ 2147483647 h 312"/>
                <a:gd name="T36" fmla="*/ 2147483647 w 417"/>
                <a:gd name="T37" fmla="*/ 2147483647 h 312"/>
                <a:gd name="T38" fmla="*/ 2147483647 w 417"/>
                <a:gd name="T39" fmla="*/ 2147483647 h 312"/>
                <a:gd name="T40" fmla="*/ 2147483647 w 417"/>
                <a:gd name="T41" fmla="*/ 2147483647 h 312"/>
                <a:gd name="T42" fmla="*/ 2147483647 w 417"/>
                <a:gd name="T43" fmla="*/ 2147483647 h 312"/>
                <a:gd name="T44" fmla="*/ 2147483647 w 417"/>
                <a:gd name="T45" fmla="*/ 2147483647 h 312"/>
                <a:gd name="T46" fmla="*/ 2147483647 w 417"/>
                <a:gd name="T47" fmla="*/ 2147483647 h 312"/>
                <a:gd name="T48" fmla="*/ 2147483647 w 417"/>
                <a:gd name="T49" fmla="*/ 2147483647 h 312"/>
                <a:gd name="T50" fmla="*/ 2147483647 w 417"/>
                <a:gd name="T51" fmla="*/ 2147483647 h 312"/>
                <a:gd name="T52" fmla="*/ 2147483647 w 417"/>
                <a:gd name="T53" fmla="*/ 2147483647 h 312"/>
                <a:gd name="T54" fmla="*/ 2147483647 w 417"/>
                <a:gd name="T55" fmla="*/ 2147483647 h 312"/>
                <a:gd name="T56" fmla="*/ 2147483647 w 417"/>
                <a:gd name="T57" fmla="*/ 2147483647 h 312"/>
                <a:gd name="T58" fmla="*/ 2147483647 w 417"/>
                <a:gd name="T59" fmla="*/ 2147483647 h 312"/>
                <a:gd name="T60" fmla="*/ 2147483647 w 417"/>
                <a:gd name="T61" fmla="*/ 2147483647 h 312"/>
                <a:gd name="T62" fmla="*/ 2147483647 w 417"/>
                <a:gd name="T63" fmla="*/ 0 h 312"/>
                <a:gd name="T64" fmla="*/ 2147483647 w 417"/>
                <a:gd name="T65" fmla="*/ 0 h 312"/>
                <a:gd name="T66" fmla="*/ 2147483647 w 417"/>
                <a:gd name="T67" fmla="*/ 0 h 312"/>
                <a:gd name="T68" fmla="*/ 2147483647 w 417"/>
                <a:gd name="T69" fmla="*/ 0 h 312"/>
                <a:gd name="T70" fmla="*/ 2147483647 w 417"/>
                <a:gd name="T71" fmla="*/ 0 h 312"/>
                <a:gd name="T72" fmla="*/ 2147483647 w 417"/>
                <a:gd name="T73" fmla="*/ 0 h 312"/>
                <a:gd name="T74" fmla="*/ 2147483647 w 417"/>
                <a:gd name="T75" fmla="*/ 0 h 312"/>
                <a:gd name="T76" fmla="*/ 2147483647 w 417"/>
                <a:gd name="T77" fmla="*/ 0 h 312"/>
                <a:gd name="T78" fmla="*/ 2147483647 w 417"/>
                <a:gd name="T79" fmla="*/ 0 h 312"/>
                <a:gd name="T80" fmla="*/ 2147483647 w 417"/>
                <a:gd name="T81" fmla="*/ 2147483647 h 312"/>
                <a:gd name="T82" fmla="*/ 0 w 417"/>
                <a:gd name="T83" fmla="*/ 2147483647 h 312"/>
                <a:gd name="T84" fmla="*/ 0 w 417"/>
                <a:gd name="T85" fmla="*/ 2147483647 h 312"/>
                <a:gd name="T86" fmla="*/ 0 w 417"/>
                <a:gd name="T87" fmla="*/ 2147483647 h 312"/>
                <a:gd name="T88" fmla="*/ 0 w 417"/>
                <a:gd name="T89" fmla="*/ 2147483647 h 312"/>
                <a:gd name="T90" fmla="*/ 0 w 417"/>
                <a:gd name="T91" fmla="*/ 2147483647 h 312"/>
                <a:gd name="T92" fmla="*/ 2147483647 w 417"/>
                <a:gd name="T93" fmla="*/ 2147483647 h 312"/>
                <a:gd name="T94" fmla="*/ 0 w 417"/>
                <a:gd name="T95" fmla="*/ 2147483647 h 312"/>
                <a:gd name="T96" fmla="*/ 0 w 417"/>
                <a:gd name="T97" fmla="*/ 2147483647 h 31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17"/>
                <a:gd name="T148" fmla="*/ 0 h 312"/>
                <a:gd name="T149" fmla="*/ 417 w 417"/>
                <a:gd name="T150" fmla="*/ 312 h 31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17" h="312">
                  <a:moveTo>
                    <a:pt x="19" y="269"/>
                  </a:moveTo>
                  <a:lnTo>
                    <a:pt x="24" y="274"/>
                  </a:lnTo>
                  <a:lnTo>
                    <a:pt x="37" y="289"/>
                  </a:lnTo>
                  <a:lnTo>
                    <a:pt x="45" y="286"/>
                  </a:lnTo>
                  <a:lnTo>
                    <a:pt x="52" y="286"/>
                  </a:lnTo>
                  <a:lnTo>
                    <a:pt x="53" y="281"/>
                  </a:lnTo>
                  <a:lnTo>
                    <a:pt x="67" y="274"/>
                  </a:lnTo>
                  <a:lnTo>
                    <a:pt x="72" y="273"/>
                  </a:lnTo>
                  <a:lnTo>
                    <a:pt x="76" y="274"/>
                  </a:lnTo>
                  <a:lnTo>
                    <a:pt x="79" y="270"/>
                  </a:lnTo>
                  <a:lnTo>
                    <a:pt x="85" y="268"/>
                  </a:lnTo>
                  <a:lnTo>
                    <a:pt x="89" y="269"/>
                  </a:lnTo>
                  <a:lnTo>
                    <a:pt x="94" y="274"/>
                  </a:lnTo>
                  <a:lnTo>
                    <a:pt x="107" y="279"/>
                  </a:lnTo>
                  <a:lnTo>
                    <a:pt x="111" y="276"/>
                  </a:lnTo>
                  <a:lnTo>
                    <a:pt x="112" y="274"/>
                  </a:lnTo>
                  <a:lnTo>
                    <a:pt x="112" y="269"/>
                  </a:lnTo>
                  <a:lnTo>
                    <a:pt x="110" y="265"/>
                  </a:lnTo>
                  <a:lnTo>
                    <a:pt x="110" y="258"/>
                  </a:lnTo>
                  <a:lnTo>
                    <a:pt x="118" y="246"/>
                  </a:lnTo>
                  <a:lnTo>
                    <a:pt x="123" y="246"/>
                  </a:lnTo>
                  <a:lnTo>
                    <a:pt x="129" y="248"/>
                  </a:lnTo>
                  <a:lnTo>
                    <a:pt x="138" y="246"/>
                  </a:lnTo>
                  <a:lnTo>
                    <a:pt x="145" y="252"/>
                  </a:lnTo>
                  <a:lnTo>
                    <a:pt x="149" y="252"/>
                  </a:lnTo>
                  <a:lnTo>
                    <a:pt x="153" y="250"/>
                  </a:lnTo>
                  <a:lnTo>
                    <a:pt x="159" y="243"/>
                  </a:lnTo>
                  <a:lnTo>
                    <a:pt x="160" y="238"/>
                  </a:lnTo>
                  <a:lnTo>
                    <a:pt x="155" y="232"/>
                  </a:lnTo>
                  <a:lnTo>
                    <a:pt x="155" y="227"/>
                  </a:lnTo>
                  <a:lnTo>
                    <a:pt x="165" y="214"/>
                  </a:lnTo>
                  <a:lnTo>
                    <a:pt x="176" y="198"/>
                  </a:lnTo>
                  <a:lnTo>
                    <a:pt x="178" y="195"/>
                  </a:lnTo>
                  <a:lnTo>
                    <a:pt x="182" y="190"/>
                  </a:lnTo>
                  <a:lnTo>
                    <a:pt x="183" y="189"/>
                  </a:lnTo>
                  <a:lnTo>
                    <a:pt x="190" y="190"/>
                  </a:lnTo>
                  <a:lnTo>
                    <a:pt x="194" y="187"/>
                  </a:lnTo>
                  <a:lnTo>
                    <a:pt x="204" y="189"/>
                  </a:lnTo>
                  <a:lnTo>
                    <a:pt x="217" y="201"/>
                  </a:lnTo>
                  <a:lnTo>
                    <a:pt x="217" y="207"/>
                  </a:lnTo>
                  <a:lnTo>
                    <a:pt x="213" y="215"/>
                  </a:lnTo>
                  <a:lnTo>
                    <a:pt x="213" y="220"/>
                  </a:lnTo>
                  <a:lnTo>
                    <a:pt x="214" y="222"/>
                  </a:lnTo>
                  <a:lnTo>
                    <a:pt x="219" y="225"/>
                  </a:lnTo>
                  <a:lnTo>
                    <a:pt x="225" y="223"/>
                  </a:lnTo>
                  <a:lnTo>
                    <a:pt x="229" y="225"/>
                  </a:lnTo>
                  <a:lnTo>
                    <a:pt x="229" y="227"/>
                  </a:lnTo>
                  <a:lnTo>
                    <a:pt x="230" y="231"/>
                  </a:lnTo>
                  <a:lnTo>
                    <a:pt x="228" y="233"/>
                  </a:lnTo>
                  <a:lnTo>
                    <a:pt x="226" y="238"/>
                  </a:lnTo>
                  <a:lnTo>
                    <a:pt x="228" y="249"/>
                  </a:lnTo>
                  <a:lnTo>
                    <a:pt x="226" y="254"/>
                  </a:lnTo>
                  <a:lnTo>
                    <a:pt x="224" y="259"/>
                  </a:lnTo>
                  <a:lnTo>
                    <a:pt x="224" y="269"/>
                  </a:lnTo>
                  <a:lnTo>
                    <a:pt x="221" y="278"/>
                  </a:lnTo>
                  <a:lnTo>
                    <a:pt x="224" y="287"/>
                  </a:lnTo>
                  <a:lnTo>
                    <a:pt x="230" y="298"/>
                  </a:lnTo>
                  <a:lnTo>
                    <a:pt x="235" y="309"/>
                  </a:lnTo>
                  <a:lnTo>
                    <a:pt x="236" y="311"/>
                  </a:lnTo>
                  <a:lnTo>
                    <a:pt x="241" y="312"/>
                  </a:lnTo>
                  <a:lnTo>
                    <a:pt x="246" y="309"/>
                  </a:lnTo>
                  <a:lnTo>
                    <a:pt x="258" y="302"/>
                  </a:lnTo>
                  <a:lnTo>
                    <a:pt x="272" y="292"/>
                  </a:lnTo>
                  <a:lnTo>
                    <a:pt x="293" y="286"/>
                  </a:lnTo>
                  <a:lnTo>
                    <a:pt x="295" y="285"/>
                  </a:lnTo>
                  <a:lnTo>
                    <a:pt x="299" y="278"/>
                  </a:lnTo>
                  <a:lnTo>
                    <a:pt x="306" y="274"/>
                  </a:lnTo>
                  <a:lnTo>
                    <a:pt x="307" y="271"/>
                  </a:lnTo>
                  <a:lnTo>
                    <a:pt x="312" y="270"/>
                  </a:lnTo>
                  <a:lnTo>
                    <a:pt x="322" y="263"/>
                  </a:lnTo>
                  <a:lnTo>
                    <a:pt x="327" y="262"/>
                  </a:lnTo>
                  <a:lnTo>
                    <a:pt x="334" y="257"/>
                  </a:lnTo>
                  <a:lnTo>
                    <a:pt x="339" y="257"/>
                  </a:lnTo>
                  <a:lnTo>
                    <a:pt x="343" y="259"/>
                  </a:lnTo>
                  <a:lnTo>
                    <a:pt x="346" y="260"/>
                  </a:lnTo>
                  <a:lnTo>
                    <a:pt x="350" y="260"/>
                  </a:lnTo>
                  <a:lnTo>
                    <a:pt x="352" y="270"/>
                  </a:lnTo>
                  <a:lnTo>
                    <a:pt x="354" y="274"/>
                  </a:lnTo>
                  <a:lnTo>
                    <a:pt x="357" y="273"/>
                  </a:lnTo>
                  <a:lnTo>
                    <a:pt x="364" y="266"/>
                  </a:lnTo>
                  <a:lnTo>
                    <a:pt x="364" y="268"/>
                  </a:lnTo>
                  <a:lnTo>
                    <a:pt x="366" y="268"/>
                  </a:lnTo>
                  <a:lnTo>
                    <a:pt x="379" y="263"/>
                  </a:lnTo>
                  <a:lnTo>
                    <a:pt x="390" y="260"/>
                  </a:lnTo>
                  <a:lnTo>
                    <a:pt x="396" y="260"/>
                  </a:lnTo>
                  <a:lnTo>
                    <a:pt x="401" y="264"/>
                  </a:lnTo>
                  <a:lnTo>
                    <a:pt x="409" y="264"/>
                  </a:lnTo>
                  <a:lnTo>
                    <a:pt x="411" y="268"/>
                  </a:lnTo>
                  <a:lnTo>
                    <a:pt x="411" y="270"/>
                  </a:lnTo>
                  <a:lnTo>
                    <a:pt x="406" y="271"/>
                  </a:lnTo>
                  <a:lnTo>
                    <a:pt x="414" y="274"/>
                  </a:lnTo>
                  <a:lnTo>
                    <a:pt x="417" y="273"/>
                  </a:lnTo>
                  <a:lnTo>
                    <a:pt x="417" y="237"/>
                  </a:lnTo>
                  <a:lnTo>
                    <a:pt x="407" y="212"/>
                  </a:lnTo>
                  <a:lnTo>
                    <a:pt x="407" y="193"/>
                  </a:lnTo>
                  <a:lnTo>
                    <a:pt x="400" y="182"/>
                  </a:lnTo>
                  <a:lnTo>
                    <a:pt x="381" y="180"/>
                  </a:lnTo>
                  <a:lnTo>
                    <a:pt x="361" y="187"/>
                  </a:lnTo>
                  <a:lnTo>
                    <a:pt x="350" y="179"/>
                  </a:lnTo>
                  <a:lnTo>
                    <a:pt x="346" y="162"/>
                  </a:lnTo>
                  <a:lnTo>
                    <a:pt x="344" y="142"/>
                  </a:lnTo>
                  <a:lnTo>
                    <a:pt x="355" y="108"/>
                  </a:lnTo>
                  <a:lnTo>
                    <a:pt x="336" y="106"/>
                  </a:lnTo>
                  <a:lnTo>
                    <a:pt x="333" y="120"/>
                  </a:lnTo>
                  <a:lnTo>
                    <a:pt x="323" y="119"/>
                  </a:lnTo>
                  <a:lnTo>
                    <a:pt x="314" y="122"/>
                  </a:lnTo>
                  <a:lnTo>
                    <a:pt x="298" y="119"/>
                  </a:lnTo>
                  <a:lnTo>
                    <a:pt x="282" y="122"/>
                  </a:lnTo>
                  <a:lnTo>
                    <a:pt x="267" y="129"/>
                  </a:lnTo>
                  <a:lnTo>
                    <a:pt x="260" y="126"/>
                  </a:lnTo>
                  <a:lnTo>
                    <a:pt x="244" y="128"/>
                  </a:lnTo>
                  <a:lnTo>
                    <a:pt x="239" y="112"/>
                  </a:lnTo>
                  <a:lnTo>
                    <a:pt x="231" y="110"/>
                  </a:lnTo>
                  <a:lnTo>
                    <a:pt x="224" y="106"/>
                  </a:lnTo>
                  <a:lnTo>
                    <a:pt x="193" y="115"/>
                  </a:lnTo>
                  <a:lnTo>
                    <a:pt x="185" y="114"/>
                  </a:lnTo>
                  <a:lnTo>
                    <a:pt x="180" y="108"/>
                  </a:lnTo>
                  <a:lnTo>
                    <a:pt x="172" y="106"/>
                  </a:lnTo>
                  <a:lnTo>
                    <a:pt x="164" y="106"/>
                  </a:lnTo>
                  <a:lnTo>
                    <a:pt x="140" y="109"/>
                  </a:lnTo>
                  <a:lnTo>
                    <a:pt x="124" y="106"/>
                  </a:lnTo>
                  <a:lnTo>
                    <a:pt x="117" y="108"/>
                  </a:lnTo>
                  <a:lnTo>
                    <a:pt x="108" y="108"/>
                  </a:lnTo>
                  <a:lnTo>
                    <a:pt x="104" y="102"/>
                  </a:lnTo>
                  <a:lnTo>
                    <a:pt x="104" y="86"/>
                  </a:lnTo>
                  <a:lnTo>
                    <a:pt x="104" y="77"/>
                  </a:lnTo>
                  <a:lnTo>
                    <a:pt x="119" y="72"/>
                  </a:lnTo>
                  <a:lnTo>
                    <a:pt x="126" y="67"/>
                  </a:lnTo>
                  <a:lnTo>
                    <a:pt x="134" y="70"/>
                  </a:lnTo>
                  <a:lnTo>
                    <a:pt x="150" y="67"/>
                  </a:lnTo>
                  <a:lnTo>
                    <a:pt x="159" y="69"/>
                  </a:lnTo>
                  <a:lnTo>
                    <a:pt x="172" y="77"/>
                  </a:lnTo>
                  <a:lnTo>
                    <a:pt x="180" y="75"/>
                  </a:lnTo>
                  <a:lnTo>
                    <a:pt x="185" y="67"/>
                  </a:lnTo>
                  <a:lnTo>
                    <a:pt x="192" y="65"/>
                  </a:lnTo>
                  <a:lnTo>
                    <a:pt x="196" y="56"/>
                  </a:lnTo>
                  <a:lnTo>
                    <a:pt x="192" y="56"/>
                  </a:lnTo>
                  <a:lnTo>
                    <a:pt x="185" y="60"/>
                  </a:lnTo>
                  <a:lnTo>
                    <a:pt x="176" y="61"/>
                  </a:lnTo>
                  <a:lnTo>
                    <a:pt x="172" y="54"/>
                  </a:lnTo>
                  <a:lnTo>
                    <a:pt x="167" y="38"/>
                  </a:lnTo>
                  <a:lnTo>
                    <a:pt x="174" y="33"/>
                  </a:lnTo>
                  <a:lnTo>
                    <a:pt x="181" y="29"/>
                  </a:lnTo>
                  <a:lnTo>
                    <a:pt x="185" y="22"/>
                  </a:lnTo>
                  <a:lnTo>
                    <a:pt x="183" y="15"/>
                  </a:lnTo>
                  <a:lnTo>
                    <a:pt x="178" y="9"/>
                  </a:lnTo>
                  <a:lnTo>
                    <a:pt x="177" y="0"/>
                  </a:lnTo>
                  <a:lnTo>
                    <a:pt x="170" y="0"/>
                  </a:lnTo>
                  <a:lnTo>
                    <a:pt x="164" y="5"/>
                  </a:lnTo>
                  <a:lnTo>
                    <a:pt x="160" y="12"/>
                  </a:lnTo>
                  <a:lnTo>
                    <a:pt x="145" y="20"/>
                  </a:lnTo>
                  <a:lnTo>
                    <a:pt x="132" y="27"/>
                  </a:lnTo>
                  <a:lnTo>
                    <a:pt x="123" y="28"/>
                  </a:lnTo>
                  <a:lnTo>
                    <a:pt x="117" y="23"/>
                  </a:lnTo>
                  <a:lnTo>
                    <a:pt x="110" y="27"/>
                  </a:lnTo>
                  <a:lnTo>
                    <a:pt x="108" y="36"/>
                  </a:lnTo>
                  <a:lnTo>
                    <a:pt x="102" y="40"/>
                  </a:lnTo>
                  <a:lnTo>
                    <a:pt x="107" y="47"/>
                  </a:lnTo>
                  <a:lnTo>
                    <a:pt x="107" y="55"/>
                  </a:lnTo>
                  <a:lnTo>
                    <a:pt x="105" y="63"/>
                  </a:lnTo>
                  <a:lnTo>
                    <a:pt x="99" y="67"/>
                  </a:lnTo>
                  <a:lnTo>
                    <a:pt x="83" y="70"/>
                  </a:lnTo>
                  <a:lnTo>
                    <a:pt x="75" y="75"/>
                  </a:lnTo>
                  <a:lnTo>
                    <a:pt x="75" y="82"/>
                  </a:lnTo>
                  <a:lnTo>
                    <a:pt x="63" y="104"/>
                  </a:lnTo>
                  <a:lnTo>
                    <a:pt x="56" y="107"/>
                  </a:lnTo>
                  <a:lnTo>
                    <a:pt x="40" y="108"/>
                  </a:lnTo>
                  <a:lnTo>
                    <a:pt x="32" y="107"/>
                  </a:lnTo>
                  <a:lnTo>
                    <a:pt x="26" y="101"/>
                  </a:lnTo>
                  <a:lnTo>
                    <a:pt x="18" y="102"/>
                  </a:lnTo>
                  <a:lnTo>
                    <a:pt x="10" y="106"/>
                  </a:lnTo>
                  <a:lnTo>
                    <a:pt x="6" y="112"/>
                  </a:lnTo>
                  <a:lnTo>
                    <a:pt x="8" y="120"/>
                  </a:lnTo>
                  <a:lnTo>
                    <a:pt x="0" y="125"/>
                  </a:lnTo>
                  <a:lnTo>
                    <a:pt x="6" y="131"/>
                  </a:lnTo>
                  <a:lnTo>
                    <a:pt x="14" y="136"/>
                  </a:lnTo>
                  <a:lnTo>
                    <a:pt x="16" y="144"/>
                  </a:lnTo>
                  <a:lnTo>
                    <a:pt x="25" y="145"/>
                  </a:lnTo>
                  <a:lnTo>
                    <a:pt x="34" y="144"/>
                  </a:lnTo>
                  <a:lnTo>
                    <a:pt x="40" y="149"/>
                  </a:lnTo>
                  <a:lnTo>
                    <a:pt x="42" y="156"/>
                  </a:lnTo>
                  <a:lnTo>
                    <a:pt x="41" y="165"/>
                  </a:lnTo>
                  <a:lnTo>
                    <a:pt x="37" y="171"/>
                  </a:lnTo>
                  <a:lnTo>
                    <a:pt x="41" y="187"/>
                  </a:lnTo>
                  <a:lnTo>
                    <a:pt x="46" y="194"/>
                  </a:lnTo>
                  <a:lnTo>
                    <a:pt x="53" y="199"/>
                  </a:lnTo>
                  <a:lnTo>
                    <a:pt x="54" y="205"/>
                  </a:lnTo>
                  <a:lnTo>
                    <a:pt x="52" y="212"/>
                  </a:lnTo>
                  <a:lnTo>
                    <a:pt x="47" y="217"/>
                  </a:lnTo>
                  <a:lnTo>
                    <a:pt x="40" y="222"/>
                  </a:lnTo>
                  <a:lnTo>
                    <a:pt x="37" y="228"/>
                  </a:lnTo>
                  <a:lnTo>
                    <a:pt x="29" y="239"/>
                  </a:lnTo>
                  <a:lnTo>
                    <a:pt x="22" y="253"/>
                  </a:lnTo>
                  <a:lnTo>
                    <a:pt x="24" y="259"/>
                  </a:lnTo>
                  <a:lnTo>
                    <a:pt x="24" y="266"/>
                  </a:lnTo>
                  <a:lnTo>
                    <a:pt x="19" y="26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64" name="Freeform 60">
              <a:extLst>
                <a:ext uri="{FF2B5EF4-FFF2-40B4-BE49-F238E27FC236}">
                  <a16:creationId xmlns:a16="http://schemas.microsoft.com/office/drawing/2014/main" id="{FEE463D2-F6CC-D463-102D-D0FEE456BE7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847528" y="2978346"/>
              <a:ext cx="7461" cy="9145"/>
            </a:xfrm>
            <a:custGeom>
              <a:avLst/>
              <a:gdLst>
                <a:gd name="T0" fmla="*/ 0 w 16"/>
                <a:gd name="T1" fmla="*/ 0 h 22"/>
                <a:gd name="T2" fmla="*/ 0 w 16"/>
                <a:gd name="T3" fmla="*/ 0 h 22"/>
                <a:gd name="T4" fmla="*/ 0 w 16"/>
                <a:gd name="T5" fmla="*/ 0 h 22"/>
                <a:gd name="T6" fmla="*/ 0 w 16"/>
                <a:gd name="T7" fmla="*/ 0 h 22"/>
                <a:gd name="T8" fmla="*/ 0 w 16"/>
                <a:gd name="T9" fmla="*/ 0 h 22"/>
                <a:gd name="T10" fmla="*/ 0 w 16"/>
                <a:gd name="T11" fmla="*/ 0 h 22"/>
                <a:gd name="T12" fmla="*/ 0 w 16"/>
                <a:gd name="T13" fmla="*/ 0 h 22"/>
                <a:gd name="T14" fmla="*/ 0 w 16"/>
                <a:gd name="T15" fmla="*/ 0 h 2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6"/>
                <a:gd name="T25" fmla="*/ 0 h 22"/>
                <a:gd name="T26" fmla="*/ 16 w 16"/>
                <a:gd name="T27" fmla="*/ 22 h 2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6" h="22">
                  <a:moveTo>
                    <a:pt x="16" y="19"/>
                  </a:moveTo>
                  <a:lnTo>
                    <a:pt x="14" y="12"/>
                  </a:lnTo>
                  <a:lnTo>
                    <a:pt x="5" y="0"/>
                  </a:lnTo>
                  <a:lnTo>
                    <a:pt x="0" y="6"/>
                  </a:lnTo>
                  <a:lnTo>
                    <a:pt x="1" y="13"/>
                  </a:lnTo>
                  <a:lnTo>
                    <a:pt x="3" y="21"/>
                  </a:lnTo>
                  <a:lnTo>
                    <a:pt x="12" y="22"/>
                  </a:lnTo>
                  <a:lnTo>
                    <a:pt x="16" y="1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65" name="Freeform 61">
              <a:extLst>
                <a:ext uri="{FF2B5EF4-FFF2-40B4-BE49-F238E27FC236}">
                  <a16:creationId xmlns:a16="http://schemas.microsoft.com/office/drawing/2014/main" id="{67C9A546-0264-33B1-F9D0-E324964C286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865436" y="2981394"/>
              <a:ext cx="8954" cy="6097"/>
            </a:xfrm>
            <a:custGeom>
              <a:avLst/>
              <a:gdLst>
                <a:gd name="T0" fmla="*/ 0 w 15"/>
                <a:gd name="T1" fmla="*/ 0 h 9"/>
                <a:gd name="T2" fmla="*/ 0 w 15"/>
                <a:gd name="T3" fmla="*/ 0 h 9"/>
                <a:gd name="T4" fmla="*/ 0 w 15"/>
                <a:gd name="T5" fmla="*/ 0 h 9"/>
                <a:gd name="T6" fmla="*/ 0 w 15"/>
                <a:gd name="T7" fmla="*/ 0 h 9"/>
                <a:gd name="T8" fmla="*/ 0 w 15"/>
                <a:gd name="T9" fmla="*/ 0 h 9"/>
                <a:gd name="T10" fmla="*/ 0 w 15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9"/>
                <a:gd name="T20" fmla="*/ 15 w 1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9">
                  <a:moveTo>
                    <a:pt x="15" y="4"/>
                  </a:moveTo>
                  <a:lnTo>
                    <a:pt x="7" y="0"/>
                  </a:lnTo>
                  <a:lnTo>
                    <a:pt x="0" y="3"/>
                  </a:lnTo>
                  <a:lnTo>
                    <a:pt x="6" y="9"/>
                  </a:lnTo>
                  <a:lnTo>
                    <a:pt x="14" y="6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66" name="Freeform 62">
              <a:extLst>
                <a:ext uri="{FF2B5EF4-FFF2-40B4-BE49-F238E27FC236}">
                  <a16:creationId xmlns:a16="http://schemas.microsoft.com/office/drawing/2014/main" id="{3EE5E2FD-D0BA-36CF-9BE5-FA9DF5DA6F6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834097" y="2987491"/>
              <a:ext cx="5969" cy="7621"/>
            </a:xfrm>
            <a:custGeom>
              <a:avLst/>
              <a:gdLst>
                <a:gd name="T0" fmla="*/ 0 w 12"/>
                <a:gd name="T1" fmla="*/ 0 h 8"/>
                <a:gd name="T2" fmla="*/ 0 w 12"/>
                <a:gd name="T3" fmla="*/ 0 h 8"/>
                <a:gd name="T4" fmla="*/ 0 w 12"/>
                <a:gd name="T5" fmla="*/ 0 h 8"/>
                <a:gd name="T6" fmla="*/ 0 w 12"/>
                <a:gd name="T7" fmla="*/ 0 h 8"/>
                <a:gd name="T8" fmla="*/ 0 w 12"/>
                <a:gd name="T9" fmla="*/ 0 h 8"/>
                <a:gd name="T10" fmla="*/ 0 w 12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8"/>
                <a:gd name="T20" fmla="*/ 12 w 12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8">
                  <a:moveTo>
                    <a:pt x="12" y="6"/>
                  </a:moveTo>
                  <a:lnTo>
                    <a:pt x="8" y="0"/>
                  </a:lnTo>
                  <a:lnTo>
                    <a:pt x="0" y="1"/>
                  </a:lnTo>
                  <a:lnTo>
                    <a:pt x="2" y="8"/>
                  </a:lnTo>
                  <a:lnTo>
                    <a:pt x="11" y="8"/>
                  </a:lnTo>
                  <a:lnTo>
                    <a:pt x="12" y="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67" name="Freeform 63">
              <a:extLst>
                <a:ext uri="{FF2B5EF4-FFF2-40B4-BE49-F238E27FC236}">
                  <a16:creationId xmlns:a16="http://schemas.microsoft.com/office/drawing/2014/main" id="{2596A6F1-B794-FA2F-3E41-ECF205A990A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540106" y="3045411"/>
              <a:ext cx="422332" cy="341424"/>
            </a:xfrm>
            <a:custGeom>
              <a:avLst/>
              <a:gdLst>
                <a:gd name="T0" fmla="*/ 2147483647 w 788"/>
                <a:gd name="T1" fmla="*/ 2147483647 h 599"/>
                <a:gd name="T2" fmla="*/ 0 w 788"/>
                <a:gd name="T3" fmla="*/ 2147483647 h 599"/>
                <a:gd name="T4" fmla="*/ 0 w 788"/>
                <a:gd name="T5" fmla="*/ 2147483647 h 599"/>
                <a:gd name="T6" fmla="*/ 0 w 788"/>
                <a:gd name="T7" fmla="*/ 2147483647 h 599"/>
                <a:gd name="T8" fmla="*/ 0 w 788"/>
                <a:gd name="T9" fmla="*/ 2147483647 h 599"/>
                <a:gd name="T10" fmla="*/ 2147483647 w 788"/>
                <a:gd name="T11" fmla="*/ 2147483647 h 599"/>
                <a:gd name="T12" fmla="*/ 2147483647 w 788"/>
                <a:gd name="T13" fmla="*/ 2147483647 h 599"/>
                <a:gd name="T14" fmla="*/ 2147483647 w 788"/>
                <a:gd name="T15" fmla="*/ 2147483647 h 599"/>
                <a:gd name="T16" fmla="*/ 2147483647 w 788"/>
                <a:gd name="T17" fmla="*/ 2147483647 h 599"/>
                <a:gd name="T18" fmla="*/ 2147483647 w 788"/>
                <a:gd name="T19" fmla="*/ 2147483647 h 599"/>
                <a:gd name="T20" fmla="*/ 2147483647 w 788"/>
                <a:gd name="T21" fmla="*/ 2147483647 h 599"/>
                <a:gd name="T22" fmla="*/ 2147483647 w 788"/>
                <a:gd name="T23" fmla="*/ 2147483647 h 599"/>
                <a:gd name="T24" fmla="*/ 2147483647 w 788"/>
                <a:gd name="T25" fmla="*/ 2147483647 h 599"/>
                <a:gd name="T26" fmla="*/ 2147483647 w 788"/>
                <a:gd name="T27" fmla="*/ 0 h 599"/>
                <a:gd name="T28" fmla="*/ 2147483647 w 788"/>
                <a:gd name="T29" fmla="*/ 0 h 599"/>
                <a:gd name="T30" fmla="*/ 2147483647 w 788"/>
                <a:gd name="T31" fmla="*/ 2147483647 h 599"/>
                <a:gd name="T32" fmla="*/ 2147483647 w 788"/>
                <a:gd name="T33" fmla="*/ 2147483647 h 599"/>
                <a:gd name="T34" fmla="*/ 2147483647 w 788"/>
                <a:gd name="T35" fmla="*/ 2147483647 h 599"/>
                <a:gd name="T36" fmla="*/ 2147483647 w 788"/>
                <a:gd name="T37" fmla="*/ 2147483647 h 599"/>
                <a:gd name="T38" fmla="*/ 2147483647 w 788"/>
                <a:gd name="T39" fmla="*/ 0 h 599"/>
                <a:gd name="T40" fmla="*/ 2147483647 w 788"/>
                <a:gd name="T41" fmla="*/ 0 h 599"/>
                <a:gd name="T42" fmla="*/ 2147483647 w 788"/>
                <a:gd name="T43" fmla="*/ 0 h 599"/>
                <a:gd name="T44" fmla="*/ 2147483647 w 788"/>
                <a:gd name="T45" fmla="*/ 0 h 599"/>
                <a:gd name="T46" fmla="*/ 2147483647 w 788"/>
                <a:gd name="T47" fmla="*/ 0 h 599"/>
                <a:gd name="T48" fmla="*/ 2147483647 w 788"/>
                <a:gd name="T49" fmla="*/ 0 h 599"/>
                <a:gd name="T50" fmla="*/ 2147483647 w 788"/>
                <a:gd name="T51" fmla="*/ 0 h 599"/>
                <a:gd name="T52" fmla="*/ 2147483647 w 788"/>
                <a:gd name="T53" fmla="*/ 2147483647 h 599"/>
                <a:gd name="T54" fmla="*/ 2147483647 w 788"/>
                <a:gd name="T55" fmla="*/ 2147483647 h 599"/>
                <a:gd name="T56" fmla="*/ 2147483647 w 788"/>
                <a:gd name="T57" fmla="*/ 2147483647 h 599"/>
                <a:gd name="T58" fmla="*/ 2147483647 w 788"/>
                <a:gd name="T59" fmla="*/ 0 h 599"/>
                <a:gd name="T60" fmla="*/ 2147483647 w 788"/>
                <a:gd name="T61" fmla="*/ 0 h 599"/>
                <a:gd name="T62" fmla="*/ 2147483647 w 788"/>
                <a:gd name="T63" fmla="*/ 2147483647 h 599"/>
                <a:gd name="T64" fmla="*/ 2147483647 w 788"/>
                <a:gd name="T65" fmla="*/ 0 h 599"/>
                <a:gd name="T66" fmla="*/ 2147483647 w 788"/>
                <a:gd name="T67" fmla="*/ 2147483647 h 599"/>
                <a:gd name="T68" fmla="*/ 2147483647 w 788"/>
                <a:gd name="T69" fmla="*/ 2147483647 h 599"/>
                <a:gd name="T70" fmla="*/ 2147483647 w 788"/>
                <a:gd name="T71" fmla="*/ 2147483647 h 599"/>
                <a:gd name="T72" fmla="*/ 2147483647 w 788"/>
                <a:gd name="T73" fmla="*/ 2147483647 h 599"/>
                <a:gd name="T74" fmla="*/ 2147483647 w 788"/>
                <a:gd name="T75" fmla="*/ 2147483647 h 599"/>
                <a:gd name="T76" fmla="*/ 2147483647 w 788"/>
                <a:gd name="T77" fmla="*/ 2147483647 h 599"/>
                <a:gd name="T78" fmla="*/ 2147483647 w 788"/>
                <a:gd name="T79" fmla="*/ 2147483647 h 599"/>
                <a:gd name="T80" fmla="*/ 2147483647 w 788"/>
                <a:gd name="T81" fmla="*/ 2147483647 h 599"/>
                <a:gd name="T82" fmla="*/ 2147483647 w 788"/>
                <a:gd name="T83" fmla="*/ 2147483647 h 599"/>
                <a:gd name="T84" fmla="*/ 2147483647 w 788"/>
                <a:gd name="T85" fmla="*/ 2147483647 h 599"/>
                <a:gd name="T86" fmla="*/ 2147483647 w 788"/>
                <a:gd name="T87" fmla="*/ 2147483647 h 599"/>
                <a:gd name="T88" fmla="*/ 2147483647 w 788"/>
                <a:gd name="T89" fmla="*/ 2147483647 h 599"/>
                <a:gd name="T90" fmla="*/ 2147483647 w 788"/>
                <a:gd name="T91" fmla="*/ 2147483647 h 599"/>
                <a:gd name="T92" fmla="*/ 2147483647 w 788"/>
                <a:gd name="T93" fmla="*/ 2147483647 h 599"/>
                <a:gd name="T94" fmla="*/ 2147483647 w 788"/>
                <a:gd name="T95" fmla="*/ 2147483647 h 599"/>
                <a:gd name="T96" fmla="*/ 2147483647 w 788"/>
                <a:gd name="T97" fmla="*/ 2147483647 h 599"/>
                <a:gd name="T98" fmla="*/ 2147483647 w 788"/>
                <a:gd name="T99" fmla="*/ 2147483647 h 599"/>
                <a:gd name="T100" fmla="*/ 2147483647 w 788"/>
                <a:gd name="T101" fmla="*/ 2147483647 h 599"/>
                <a:gd name="T102" fmla="*/ 2147483647 w 788"/>
                <a:gd name="T103" fmla="*/ 2147483647 h 599"/>
                <a:gd name="T104" fmla="*/ 2147483647 w 788"/>
                <a:gd name="T105" fmla="*/ 2147483647 h 599"/>
                <a:gd name="T106" fmla="*/ 2147483647 w 788"/>
                <a:gd name="T107" fmla="*/ 2147483647 h 599"/>
                <a:gd name="T108" fmla="*/ 2147483647 w 788"/>
                <a:gd name="T109" fmla="*/ 2147483647 h 599"/>
                <a:gd name="T110" fmla="*/ 2147483647 w 788"/>
                <a:gd name="T111" fmla="*/ 2147483647 h 599"/>
                <a:gd name="T112" fmla="*/ 2147483647 w 788"/>
                <a:gd name="T113" fmla="*/ 2147483647 h 599"/>
                <a:gd name="T114" fmla="*/ 2147483647 w 788"/>
                <a:gd name="T115" fmla="*/ 2147483647 h 599"/>
                <a:gd name="T116" fmla="*/ 2147483647 w 788"/>
                <a:gd name="T117" fmla="*/ 2147483647 h 599"/>
                <a:gd name="T118" fmla="*/ 2147483647 w 788"/>
                <a:gd name="T119" fmla="*/ 2147483647 h 599"/>
                <a:gd name="T120" fmla="*/ 2147483647 w 788"/>
                <a:gd name="T121" fmla="*/ 2147483647 h 599"/>
                <a:gd name="T122" fmla="*/ 2147483647 w 788"/>
                <a:gd name="T123" fmla="*/ 2147483647 h 599"/>
                <a:gd name="T124" fmla="*/ 2147483647 w 788"/>
                <a:gd name="T125" fmla="*/ 2147483647 h 59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788"/>
                <a:gd name="T190" fmla="*/ 0 h 599"/>
                <a:gd name="T191" fmla="*/ 788 w 788"/>
                <a:gd name="T192" fmla="*/ 599 h 59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788" h="599">
                  <a:moveTo>
                    <a:pt x="24" y="572"/>
                  </a:moveTo>
                  <a:lnTo>
                    <a:pt x="36" y="547"/>
                  </a:lnTo>
                  <a:lnTo>
                    <a:pt x="59" y="519"/>
                  </a:lnTo>
                  <a:lnTo>
                    <a:pt x="65" y="502"/>
                  </a:lnTo>
                  <a:lnTo>
                    <a:pt x="65" y="487"/>
                  </a:lnTo>
                  <a:lnTo>
                    <a:pt x="59" y="471"/>
                  </a:lnTo>
                  <a:lnTo>
                    <a:pt x="48" y="461"/>
                  </a:lnTo>
                  <a:lnTo>
                    <a:pt x="36" y="461"/>
                  </a:lnTo>
                  <a:lnTo>
                    <a:pt x="24" y="458"/>
                  </a:lnTo>
                  <a:lnTo>
                    <a:pt x="14" y="447"/>
                  </a:lnTo>
                  <a:lnTo>
                    <a:pt x="12" y="434"/>
                  </a:lnTo>
                  <a:lnTo>
                    <a:pt x="15" y="417"/>
                  </a:lnTo>
                  <a:lnTo>
                    <a:pt x="12" y="399"/>
                  </a:lnTo>
                  <a:lnTo>
                    <a:pt x="6" y="383"/>
                  </a:lnTo>
                  <a:lnTo>
                    <a:pt x="3" y="371"/>
                  </a:lnTo>
                  <a:lnTo>
                    <a:pt x="6" y="353"/>
                  </a:lnTo>
                  <a:lnTo>
                    <a:pt x="15" y="335"/>
                  </a:lnTo>
                  <a:lnTo>
                    <a:pt x="14" y="324"/>
                  </a:lnTo>
                  <a:lnTo>
                    <a:pt x="0" y="319"/>
                  </a:lnTo>
                  <a:lnTo>
                    <a:pt x="0" y="299"/>
                  </a:lnTo>
                  <a:lnTo>
                    <a:pt x="0" y="289"/>
                  </a:lnTo>
                  <a:lnTo>
                    <a:pt x="21" y="281"/>
                  </a:lnTo>
                  <a:lnTo>
                    <a:pt x="21" y="266"/>
                  </a:lnTo>
                  <a:lnTo>
                    <a:pt x="35" y="244"/>
                  </a:lnTo>
                  <a:lnTo>
                    <a:pt x="40" y="223"/>
                  </a:lnTo>
                  <a:lnTo>
                    <a:pt x="40" y="206"/>
                  </a:lnTo>
                  <a:lnTo>
                    <a:pt x="42" y="192"/>
                  </a:lnTo>
                  <a:lnTo>
                    <a:pt x="48" y="196"/>
                  </a:lnTo>
                  <a:lnTo>
                    <a:pt x="54" y="202"/>
                  </a:lnTo>
                  <a:lnTo>
                    <a:pt x="57" y="206"/>
                  </a:lnTo>
                  <a:lnTo>
                    <a:pt x="68" y="208"/>
                  </a:lnTo>
                  <a:lnTo>
                    <a:pt x="80" y="206"/>
                  </a:lnTo>
                  <a:lnTo>
                    <a:pt x="86" y="211"/>
                  </a:lnTo>
                  <a:lnTo>
                    <a:pt x="94" y="215"/>
                  </a:lnTo>
                  <a:lnTo>
                    <a:pt x="98" y="221"/>
                  </a:lnTo>
                  <a:lnTo>
                    <a:pt x="103" y="221"/>
                  </a:lnTo>
                  <a:lnTo>
                    <a:pt x="111" y="219"/>
                  </a:lnTo>
                  <a:lnTo>
                    <a:pt x="124" y="219"/>
                  </a:lnTo>
                  <a:lnTo>
                    <a:pt x="130" y="213"/>
                  </a:lnTo>
                  <a:lnTo>
                    <a:pt x="139" y="210"/>
                  </a:lnTo>
                  <a:lnTo>
                    <a:pt x="143" y="207"/>
                  </a:lnTo>
                  <a:lnTo>
                    <a:pt x="145" y="195"/>
                  </a:lnTo>
                  <a:lnTo>
                    <a:pt x="149" y="194"/>
                  </a:lnTo>
                  <a:lnTo>
                    <a:pt x="153" y="189"/>
                  </a:lnTo>
                  <a:lnTo>
                    <a:pt x="146" y="184"/>
                  </a:lnTo>
                  <a:lnTo>
                    <a:pt x="146" y="178"/>
                  </a:lnTo>
                  <a:lnTo>
                    <a:pt x="154" y="179"/>
                  </a:lnTo>
                  <a:lnTo>
                    <a:pt x="160" y="176"/>
                  </a:lnTo>
                  <a:lnTo>
                    <a:pt x="178" y="173"/>
                  </a:lnTo>
                  <a:lnTo>
                    <a:pt x="186" y="168"/>
                  </a:lnTo>
                  <a:lnTo>
                    <a:pt x="194" y="164"/>
                  </a:lnTo>
                  <a:lnTo>
                    <a:pt x="200" y="158"/>
                  </a:lnTo>
                  <a:lnTo>
                    <a:pt x="208" y="157"/>
                  </a:lnTo>
                  <a:lnTo>
                    <a:pt x="223" y="147"/>
                  </a:lnTo>
                  <a:lnTo>
                    <a:pt x="224" y="142"/>
                  </a:lnTo>
                  <a:lnTo>
                    <a:pt x="224" y="135"/>
                  </a:lnTo>
                  <a:lnTo>
                    <a:pt x="226" y="122"/>
                  </a:lnTo>
                  <a:lnTo>
                    <a:pt x="229" y="119"/>
                  </a:lnTo>
                  <a:lnTo>
                    <a:pt x="235" y="102"/>
                  </a:lnTo>
                  <a:lnTo>
                    <a:pt x="235" y="95"/>
                  </a:lnTo>
                  <a:lnTo>
                    <a:pt x="236" y="93"/>
                  </a:lnTo>
                  <a:lnTo>
                    <a:pt x="240" y="89"/>
                  </a:lnTo>
                  <a:lnTo>
                    <a:pt x="245" y="83"/>
                  </a:lnTo>
                  <a:lnTo>
                    <a:pt x="253" y="82"/>
                  </a:lnTo>
                  <a:lnTo>
                    <a:pt x="259" y="83"/>
                  </a:lnTo>
                  <a:lnTo>
                    <a:pt x="274" y="83"/>
                  </a:lnTo>
                  <a:lnTo>
                    <a:pt x="277" y="82"/>
                  </a:lnTo>
                  <a:lnTo>
                    <a:pt x="279" y="77"/>
                  </a:lnTo>
                  <a:lnTo>
                    <a:pt x="280" y="68"/>
                  </a:lnTo>
                  <a:lnTo>
                    <a:pt x="283" y="65"/>
                  </a:lnTo>
                  <a:lnTo>
                    <a:pt x="288" y="65"/>
                  </a:lnTo>
                  <a:lnTo>
                    <a:pt x="293" y="65"/>
                  </a:lnTo>
                  <a:lnTo>
                    <a:pt x="306" y="73"/>
                  </a:lnTo>
                  <a:lnTo>
                    <a:pt x="316" y="77"/>
                  </a:lnTo>
                  <a:lnTo>
                    <a:pt x="331" y="77"/>
                  </a:lnTo>
                  <a:lnTo>
                    <a:pt x="360" y="76"/>
                  </a:lnTo>
                  <a:lnTo>
                    <a:pt x="366" y="78"/>
                  </a:lnTo>
                  <a:lnTo>
                    <a:pt x="374" y="83"/>
                  </a:lnTo>
                  <a:lnTo>
                    <a:pt x="383" y="81"/>
                  </a:lnTo>
                  <a:lnTo>
                    <a:pt x="396" y="82"/>
                  </a:lnTo>
                  <a:lnTo>
                    <a:pt x="401" y="87"/>
                  </a:lnTo>
                  <a:lnTo>
                    <a:pt x="414" y="102"/>
                  </a:lnTo>
                  <a:lnTo>
                    <a:pt x="422" y="99"/>
                  </a:lnTo>
                  <a:lnTo>
                    <a:pt x="429" y="99"/>
                  </a:lnTo>
                  <a:lnTo>
                    <a:pt x="430" y="94"/>
                  </a:lnTo>
                  <a:lnTo>
                    <a:pt x="444" y="87"/>
                  </a:lnTo>
                  <a:lnTo>
                    <a:pt x="449" y="86"/>
                  </a:lnTo>
                  <a:lnTo>
                    <a:pt x="453" y="87"/>
                  </a:lnTo>
                  <a:lnTo>
                    <a:pt x="456" y="83"/>
                  </a:lnTo>
                  <a:lnTo>
                    <a:pt x="462" y="81"/>
                  </a:lnTo>
                  <a:lnTo>
                    <a:pt x="466" y="82"/>
                  </a:lnTo>
                  <a:lnTo>
                    <a:pt x="471" y="87"/>
                  </a:lnTo>
                  <a:lnTo>
                    <a:pt x="484" y="92"/>
                  </a:lnTo>
                  <a:lnTo>
                    <a:pt x="488" y="89"/>
                  </a:lnTo>
                  <a:lnTo>
                    <a:pt x="489" y="87"/>
                  </a:lnTo>
                  <a:lnTo>
                    <a:pt x="489" y="82"/>
                  </a:lnTo>
                  <a:lnTo>
                    <a:pt x="487" y="78"/>
                  </a:lnTo>
                  <a:lnTo>
                    <a:pt x="485" y="71"/>
                  </a:lnTo>
                  <a:lnTo>
                    <a:pt x="495" y="59"/>
                  </a:lnTo>
                  <a:lnTo>
                    <a:pt x="500" y="59"/>
                  </a:lnTo>
                  <a:lnTo>
                    <a:pt x="506" y="61"/>
                  </a:lnTo>
                  <a:lnTo>
                    <a:pt x="514" y="59"/>
                  </a:lnTo>
                  <a:lnTo>
                    <a:pt x="522" y="65"/>
                  </a:lnTo>
                  <a:lnTo>
                    <a:pt x="526" y="65"/>
                  </a:lnTo>
                  <a:lnTo>
                    <a:pt x="528" y="63"/>
                  </a:lnTo>
                  <a:lnTo>
                    <a:pt x="536" y="56"/>
                  </a:lnTo>
                  <a:lnTo>
                    <a:pt x="537" y="51"/>
                  </a:lnTo>
                  <a:lnTo>
                    <a:pt x="532" y="45"/>
                  </a:lnTo>
                  <a:lnTo>
                    <a:pt x="532" y="40"/>
                  </a:lnTo>
                  <a:lnTo>
                    <a:pt x="542" y="27"/>
                  </a:lnTo>
                  <a:lnTo>
                    <a:pt x="553" y="11"/>
                  </a:lnTo>
                  <a:lnTo>
                    <a:pt x="555" y="9"/>
                  </a:lnTo>
                  <a:lnTo>
                    <a:pt x="559" y="3"/>
                  </a:lnTo>
                  <a:lnTo>
                    <a:pt x="560" y="2"/>
                  </a:lnTo>
                  <a:lnTo>
                    <a:pt x="567" y="3"/>
                  </a:lnTo>
                  <a:lnTo>
                    <a:pt x="571" y="0"/>
                  </a:lnTo>
                  <a:lnTo>
                    <a:pt x="581" y="2"/>
                  </a:lnTo>
                  <a:lnTo>
                    <a:pt x="594" y="14"/>
                  </a:lnTo>
                  <a:lnTo>
                    <a:pt x="594" y="20"/>
                  </a:lnTo>
                  <a:lnTo>
                    <a:pt x="590" y="28"/>
                  </a:lnTo>
                  <a:lnTo>
                    <a:pt x="590" y="33"/>
                  </a:lnTo>
                  <a:lnTo>
                    <a:pt x="591" y="35"/>
                  </a:lnTo>
                  <a:lnTo>
                    <a:pt x="596" y="38"/>
                  </a:lnTo>
                  <a:lnTo>
                    <a:pt x="602" y="36"/>
                  </a:lnTo>
                  <a:lnTo>
                    <a:pt x="606" y="38"/>
                  </a:lnTo>
                  <a:lnTo>
                    <a:pt x="606" y="40"/>
                  </a:lnTo>
                  <a:lnTo>
                    <a:pt x="607" y="44"/>
                  </a:lnTo>
                  <a:lnTo>
                    <a:pt x="605" y="46"/>
                  </a:lnTo>
                  <a:lnTo>
                    <a:pt x="603" y="51"/>
                  </a:lnTo>
                  <a:lnTo>
                    <a:pt x="605" y="62"/>
                  </a:lnTo>
                  <a:lnTo>
                    <a:pt x="603" y="67"/>
                  </a:lnTo>
                  <a:lnTo>
                    <a:pt x="601" y="72"/>
                  </a:lnTo>
                  <a:lnTo>
                    <a:pt x="601" y="82"/>
                  </a:lnTo>
                  <a:lnTo>
                    <a:pt x="598" y="92"/>
                  </a:lnTo>
                  <a:lnTo>
                    <a:pt x="601" y="100"/>
                  </a:lnTo>
                  <a:lnTo>
                    <a:pt x="607" y="111"/>
                  </a:lnTo>
                  <a:lnTo>
                    <a:pt x="612" y="122"/>
                  </a:lnTo>
                  <a:lnTo>
                    <a:pt x="613" y="124"/>
                  </a:lnTo>
                  <a:lnTo>
                    <a:pt x="618" y="125"/>
                  </a:lnTo>
                  <a:lnTo>
                    <a:pt x="623" y="122"/>
                  </a:lnTo>
                  <a:lnTo>
                    <a:pt x="635" y="115"/>
                  </a:lnTo>
                  <a:lnTo>
                    <a:pt x="648" y="105"/>
                  </a:lnTo>
                  <a:lnTo>
                    <a:pt x="670" y="99"/>
                  </a:lnTo>
                  <a:lnTo>
                    <a:pt x="671" y="98"/>
                  </a:lnTo>
                  <a:lnTo>
                    <a:pt x="676" y="92"/>
                  </a:lnTo>
                  <a:lnTo>
                    <a:pt x="683" y="87"/>
                  </a:lnTo>
                  <a:lnTo>
                    <a:pt x="684" y="84"/>
                  </a:lnTo>
                  <a:lnTo>
                    <a:pt x="689" y="83"/>
                  </a:lnTo>
                  <a:lnTo>
                    <a:pt x="699" y="77"/>
                  </a:lnTo>
                  <a:lnTo>
                    <a:pt x="704" y="75"/>
                  </a:lnTo>
                  <a:lnTo>
                    <a:pt x="711" y="70"/>
                  </a:lnTo>
                  <a:lnTo>
                    <a:pt x="716" y="70"/>
                  </a:lnTo>
                  <a:lnTo>
                    <a:pt x="720" y="72"/>
                  </a:lnTo>
                  <a:lnTo>
                    <a:pt x="723" y="73"/>
                  </a:lnTo>
                  <a:lnTo>
                    <a:pt x="727" y="73"/>
                  </a:lnTo>
                  <a:lnTo>
                    <a:pt x="729" y="83"/>
                  </a:lnTo>
                  <a:lnTo>
                    <a:pt x="731" y="87"/>
                  </a:lnTo>
                  <a:lnTo>
                    <a:pt x="734" y="86"/>
                  </a:lnTo>
                  <a:lnTo>
                    <a:pt x="741" y="79"/>
                  </a:lnTo>
                  <a:lnTo>
                    <a:pt x="741" y="81"/>
                  </a:lnTo>
                  <a:lnTo>
                    <a:pt x="743" y="81"/>
                  </a:lnTo>
                  <a:lnTo>
                    <a:pt x="756" y="76"/>
                  </a:lnTo>
                  <a:lnTo>
                    <a:pt x="767" y="75"/>
                  </a:lnTo>
                  <a:lnTo>
                    <a:pt x="773" y="75"/>
                  </a:lnTo>
                  <a:lnTo>
                    <a:pt x="778" y="77"/>
                  </a:lnTo>
                  <a:lnTo>
                    <a:pt x="785" y="77"/>
                  </a:lnTo>
                  <a:lnTo>
                    <a:pt x="788" y="81"/>
                  </a:lnTo>
                  <a:lnTo>
                    <a:pt x="788" y="83"/>
                  </a:lnTo>
                  <a:lnTo>
                    <a:pt x="783" y="84"/>
                  </a:lnTo>
                  <a:lnTo>
                    <a:pt x="785" y="84"/>
                  </a:lnTo>
                  <a:lnTo>
                    <a:pt x="783" y="84"/>
                  </a:lnTo>
                  <a:lnTo>
                    <a:pt x="778" y="83"/>
                  </a:lnTo>
                  <a:lnTo>
                    <a:pt x="774" y="83"/>
                  </a:lnTo>
                  <a:lnTo>
                    <a:pt x="766" y="92"/>
                  </a:lnTo>
                  <a:lnTo>
                    <a:pt x="768" y="94"/>
                  </a:lnTo>
                  <a:lnTo>
                    <a:pt x="774" y="97"/>
                  </a:lnTo>
                  <a:lnTo>
                    <a:pt x="775" y="102"/>
                  </a:lnTo>
                  <a:lnTo>
                    <a:pt x="775" y="106"/>
                  </a:lnTo>
                  <a:lnTo>
                    <a:pt x="764" y="104"/>
                  </a:lnTo>
                  <a:lnTo>
                    <a:pt x="759" y="108"/>
                  </a:lnTo>
                  <a:lnTo>
                    <a:pt x="757" y="108"/>
                  </a:lnTo>
                  <a:lnTo>
                    <a:pt x="751" y="113"/>
                  </a:lnTo>
                  <a:lnTo>
                    <a:pt x="746" y="113"/>
                  </a:lnTo>
                  <a:lnTo>
                    <a:pt x="732" y="108"/>
                  </a:lnTo>
                  <a:lnTo>
                    <a:pt x="725" y="109"/>
                  </a:lnTo>
                  <a:lnTo>
                    <a:pt x="721" y="108"/>
                  </a:lnTo>
                  <a:lnTo>
                    <a:pt x="686" y="110"/>
                  </a:lnTo>
                  <a:lnTo>
                    <a:pt x="682" y="110"/>
                  </a:lnTo>
                  <a:lnTo>
                    <a:pt x="672" y="114"/>
                  </a:lnTo>
                  <a:lnTo>
                    <a:pt x="665" y="114"/>
                  </a:lnTo>
                  <a:lnTo>
                    <a:pt x="656" y="120"/>
                  </a:lnTo>
                  <a:lnTo>
                    <a:pt x="648" y="121"/>
                  </a:lnTo>
                  <a:lnTo>
                    <a:pt x="643" y="124"/>
                  </a:lnTo>
                  <a:lnTo>
                    <a:pt x="639" y="125"/>
                  </a:lnTo>
                  <a:lnTo>
                    <a:pt x="638" y="129"/>
                  </a:lnTo>
                  <a:lnTo>
                    <a:pt x="635" y="131"/>
                  </a:lnTo>
                  <a:lnTo>
                    <a:pt x="625" y="134"/>
                  </a:lnTo>
                  <a:lnTo>
                    <a:pt x="624" y="136"/>
                  </a:lnTo>
                  <a:lnTo>
                    <a:pt x="625" y="140"/>
                  </a:lnTo>
                  <a:lnTo>
                    <a:pt x="622" y="141"/>
                  </a:lnTo>
                  <a:lnTo>
                    <a:pt x="617" y="138"/>
                  </a:lnTo>
                  <a:lnTo>
                    <a:pt x="612" y="138"/>
                  </a:lnTo>
                  <a:lnTo>
                    <a:pt x="611" y="140"/>
                  </a:lnTo>
                  <a:lnTo>
                    <a:pt x="610" y="145"/>
                  </a:lnTo>
                  <a:lnTo>
                    <a:pt x="594" y="158"/>
                  </a:lnTo>
                  <a:lnTo>
                    <a:pt x="590" y="162"/>
                  </a:lnTo>
                  <a:lnTo>
                    <a:pt x="589" y="168"/>
                  </a:lnTo>
                  <a:lnTo>
                    <a:pt x="590" y="170"/>
                  </a:lnTo>
                  <a:lnTo>
                    <a:pt x="598" y="175"/>
                  </a:lnTo>
                  <a:lnTo>
                    <a:pt x="605" y="183"/>
                  </a:lnTo>
                  <a:lnTo>
                    <a:pt x="608" y="196"/>
                  </a:lnTo>
                  <a:lnTo>
                    <a:pt x="612" y="206"/>
                  </a:lnTo>
                  <a:lnTo>
                    <a:pt x="612" y="207"/>
                  </a:lnTo>
                  <a:lnTo>
                    <a:pt x="608" y="216"/>
                  </a:lnTo>
                  <a:lnTo>
                    <a:pt x="608" y="218"/>
                  </a:lnTo>
                  <a:lnTo>
                    <a:pt x="611" y="222"/>
                  </a:lnTo>
                  <a:lnTo>
                    <a:pt x="610" y="228"/>
                  </a:lnTo>
                  <a:lnTo>
                    <a:pt x="606" y="235"/>
                  </a:lnTo>
                  <a:lnTo>
                    <a:pt x="601" y="243"/>
                  </a:lnTo>
                  <a:lnTo>
                    <a:pt x="592" y="249"/>
                  </a:lnTo>
                  <a:lnTo>
                    <a:pt x="585" y="258"/>
                  </a:lnTo>
                  <a:lnTo>
                    <a:pt x="581" y="265"/>
                  </a:lnTo>
                  <a:lnTo>
                    <a:pt x="578" y="269"/>
                  </a:lnTo>
                  <a:lnTo>
                    <a:pt x="578" y="275"/>
                  </a:lnTo>
                  <a:lnTo>
                    <a:pt x="582" y="277"/>
                  </a:lnTo>
                  <a:lnTo>
                    <a:pt x="586" y="280"/>
                  </a:lnTo>
                  <a:lnTo>
                    <a:pt x="582" y="283"/>
                  </a:lnTo>
                  <a:lnTo>
                    <a:pt x="582" y="291"/>
                  </a:lnTo>
                  <a:lnTo>
                    <a:pt x="575" y="301"/>
                  </a:lnTo>
                  <a:lnTo>
                    <a:pt x="569" y="304"/>
                  </a:lnTo>
                  <a:lnTo>
                    <a:pt x="558" y="307"/>
                  </a:lnTo>
                  <a:lnTo>
                    <a:pt x="547" y="305"/>
                  </a:lnTo>
                  <a:lnTo>
                    <a:pt x="528" y="301"/>
                  </a:lnTo>
                  <a:lnTo>
                    <a:pt x="524" y="299"/>
                  </a:lnTo>
                  <a:lnTo>
                    <a:pt x="520" y="302"/>
                  </a:lnTo>
                  <a:lnTo>
                    <a:pt x="517" y="307"/>
                  </a:lnTo>
                  <a:lnTo>
                    <a:pt x="520" y="310"/>
                  </a:lnTo>
                  <a:lnTo>
                    <a:pt x="525" y="320"/>
                  </a:lnTo>
                  <a:lnTo>
                    <a:pt x="530" y="320"/>
                  </a:lnTo>
                  <a:lnTo>
                    <a:pt x="535" y="336"/>
                  </a:lnTo>
                  <a:lnTo>
                    <a:pt x="539" y="341"/>
                  </a:lnTo>
                  <a:lnTo>
                    <a:pt x="539" y="345"/>
                  </a:lnTo>
                  <a:lnTo>
                    <a:pt x="533" y="351"/>
                  </a:lnTo>
                  <a:lnTo>
                    <a:pt x="527" y="353"/>
                  </a:lnTo>
                  <a:lnTo>
                    <a:pt x="517" y="361"/>
                  </a:lnTo>
                  <a:lnTo>
                    <a:pt x="509" y="360"/>
                  </a:lnTo>
                  <a:lnTo>
                    <a:pt x="498" y="363"/>
                  </a:lnTo>
                  <a:lnTo>
                    <a:pt x="496" y="377"/>
                  </a:lnTo>
                  <a:lnTo>
                    <a:pt x="490" y="379"/>
                  </a:lnTo>
                  <a:lnTo>
                    <a:pt x="489" y="384"/>
                  </a:lnTo>
                  <a:lnTo>
                    <a:pt x="490" y="390"/>
                  </a:lnTo>
                  <a:lnTo>
                    <a:pt x="489" y="394"/>
                  </a:lnTo>
                  <a:lnTo>
                    <a:pt x="487" y="394"/>
                  </a:lnTo>
                  <a:lnTo>
                    <a:pt x="483" y="399"/>
                  </a:lnTo>
                  <a:lnTo>
                    <a:pt x="481" y="404"/>
                  </a:lnTo>
                  <a:lnTo>
                    <a:pt x="479" y="407"/>
                  </a:lnTo>
                  <a:lnTo>
                    <a:pt x="481" y="425"/>
                  </a:lnTo>
                  <a:lnTo>
                    <a:pt x="483" y="437"/>
                  </a:lnTo>
                  <a:lnTo>
                    <a:pt x="483" y="439"/>
                  </a:lnTo>
                  <a:lnTo>
                    <a:pt x="463" y="460"/>
                  </a:lnTo>
                  <a:lnTo>
                    <a:pt x="460" y="460"/>
                  </a:lnTo>
                  <a:lnTo>
                    <a:pt x="455" y="458"/>
                  </a:lnTo>
                  <a:lnTo>
                    <a:pt x="452" y="454"/>
                  </a:lnTo>
                  <a:lnTo>
                    <a:pt x="451" y="450"/>
                  </a:lnTo>
                  <a:lnTo>
                    <a:pt x="444" y="445"/>
                  </a:lnTo>
                  <a:lnTo>
                    <a:pt x="440" y="445"/>
                  </a:lnTo>
                  <a:lnTo>
                    <a:pt x="438" y="449"/>
                  </a:lnTo>
                  <a:lnTo>
                    <a:pt x="441" y="450"/>
                  </a:lnTo>
                  <a:lnTo>
                    <a:pt x="441" y="453"/>
                  </a:lnTo>
                  <a:lnTo>
                    <a:pt x="425" y="448"/>
                  </a:lnTo>
                  <a:lnTo>
                    <a:pt x="419" y="448"/>
                  </a:lnTo>
                  <a:lnTo>
                    <a:pt x="414" y="450"/>
                  </a:lnTo>
                  <a:lnTo>
                    <a:pt x="412" y="455"/>
                  </a:lnTo>
                  <a:lnTo>
                    <a:pt x="395" y="464"/>
                  </a:lnTo>
                  <a:lnTo>
                    <a:pt x="391" y="468"/>
                  </a:lnTo>
                  <a:lnTo>
                    <a:pt x="392" y="470"/>
                  </a:lnTo>
                  <a:lnTo>
                    <a:pt x="399" y="473"/>
                  </a:lnTo>
                  <a:lnTo>
                    <a:pt x="399" y="475"/>
                  </a:lnTo>
                  <a:lnTo>
                    <a:pt x="397" y="477"/>
                  </a:lnTo>
                  <a:lnTo>
                    <a:pt x="390" y="479"/>
                  </a:lnTo>
                  <a:lnTo>
                    <a:pt x="377" y="481"/>
                  </a:lnTo>
                  <a:lnTo>
                    <a:pt x="368" y="484"/>
                  </a:lnTo>
                  <a:lnTo>
                    <a:pt x="356" y="482"/>
                  </a:lnTo>
                  <a:lnTo>
                    <a:pt x="356" y="479"/>
                  </a:lnTo>
                  <a:lnTo>
                    <a:pt x="352" y="476"/>
                  </a:lnTo>
                  <a:lnTo>
                    <a:pt x="345" y="480"/>
                  </a:lnTo>
                  <a:lnTo>
                    <a:pt x="339" y="491"/>
                  </a:lnTo>
                  <a:lnTo>
                    <a:pt x="327" y="500"/>
                  </a:lnTo>
                  <a:lnTo>
                    <a:pt x="325" y="506"/>
                  </a:lnTo>
                  <a:lnTo>
                    <a:pt x="321" y="520"/>
                  </a:lnTo>
                  <a:lnTo>
                    <a:pt x="322" y="533"/>
                  </a:lnTo>
                  <a:lnTo>
                    <a:pt x="318" y="552"/>
                  </a:lnTo>
                  <a:lnTo>
                    <a:pt x="318" y="556"/>
                  </a:lnTo>
                  <a:lnTo>
                    <a:pt x="322" y="560"/>
                  </a:lnTo>
                  <a:lnTo>
                    <a:pt x="321" y="566"/>
                  </a:lnTo>
                  <a:lnTo>
                    <a:pt x="313" y="572"/>
                  </a:lnTo>
                  <a:lnTo>
                    <a:pt x="288" y="577"/>
                  </a:lnTo>
                  <a:lnTo>
                    <a:pt x="268" y="584"/>
                  </a:lnTo>
                  <a:lnTo>
                    <a:pt x="252" y="588"/>
                  </a:lnTo>
                  <a:lnTo>
                    <a:pt x="226" y="587"/>
                  </a:lnTo>
                  <a:lnTo>
                    <a:pt x="213" y="587"/>
                  </a:lnTo>
                  <a:lnTo>
                    <a:pt x="207" y="589"/>
                  </a:lnTo>
                  <a:lnTo>
                    <a:pt x="203" y="592"/>
                  </a:lnTo>
                  <a:lnTo>
                    <a:pt x="200" y="597"/>
                  </a:lnTo>
                  <a:lnTo>
                    <a:pt x="197" y="599"/>
                  </a:lnTo>
                  <a:lnTo>
                    <a:pt x="181" y="592"/>
                  </a:lnTo>
                  <a:lnTo>
                    <a:pt x="164" y="592"/>
                  </a:lnTo>
                  <a:lnTo>
                    <a:pt x="149" y="594"/>
                  </a:lnTo>
                  <a:lnTo>
                    <a:pt x="138" y="593"/>
                  </a:lnTo>
                  <a:lnTo>
                    <a:pt x="129" y="594"/>
                  </a:lnTo>
                  <a:lnTo>
                    <a:pt x="119" y="594"/>
                  </a:lnTo>
                  <a:lnTo>
                    <a:pt x="116" y="595"/>
                  </a:lnTo>
                  <a:lnTo>
                    <a:pt x="112" y="598"/>
                  </a:lnTo>
                  <a:lnTo>
                    <a:pt x="108" y="599"/>
                  </a:lnTo>
                  <a:lnTo>
                    <a:pt x="101" y="598"/>
                  </a:lnTo>
                  <a:lnTo>
                    <a:pt x="83" y="588"/>
                  </a:lnTo>
                  <a:lnTo>
                    <a:pt x="24" y="57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68" name="Freeform 64">
              <a:extLst>
                <a:ext uri="{FF2B5EF4-FFF2-40B4-BE49-F238E27FC236}">
                  <a16:creationId xmlns:a16="http://schemas.microsoft.com/office/drawing/2014/main" id="{CFA427B9-FBA2-A338-E7AC-4EB9ED389D5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559375" y="4164187"/>
              <a:ext cx="319361" cy="358190"/>
            </a:xfrm>
            <a:custGeom>
              <a:avLst/>
              <a:gdLst>
                <a:gd name="T0" fmla="*/ 0 w 594"/>
                <a:gd name="T1" fmla="*/ 0 h 626"/>
                <a:gd name="T2" fmla="*/ 0 w 594"/>
                <a:gd name="T3" fmla="*/ 0 h 626"/>
                <a:gd name="T4" fmla="*/ 2147483647 w 594"/>
                <a:gd name="T5" fmla="*/ 0 h 626"/>
                <a:gd name="T6" fmla="*/ 2147483647 w 594"/>
                <a:gd name="T7" fmla="*/ 0 h 626"/>
                <a:gd name="T8" fmla="*/ 2147483647 w 594"/>
                <a:gd name="T9" fmla="*/ 0 h 626"/>
                <a:gd name="T10" fmla="*/ 2147483647 w 594"/>
                <a:gd name="T11" fmla="*/ 0 h 626"/>
                <a:gd name="T12" fmla="*/ 2147483647 w 594"/>
                <a:gd name="T13" fmla="*/ 0 h 626"/>
                <a:gd name="T14" fmla="*/ 2147483647 w 594"/>
                <a:gd name="T15" fmla="*/ 2147483647 h 626"/>
                <a:gd name="T16" fmla="*/ 2147483647 w 594"/>
                <a:gd name="T17" fmla="*/ 2147483647 h 626"/>
                <a:gd name="T18" fmla="*/ 2147483647 w 594"/>
                <a:gd name="T19" fmla="*/ 2147483647 h 626"/>
                <a:gd name="T20" fmla="*/ 2147483647 w 594"/>
                <a:gd name="T21" fmla="*/ 2147483647 h 626"/>
                <a:gd name="T22" fmla="*/ 2147483647 w 594"/>
                <a:gd name="T23" fmla="*/ 2147483647 h 626"/>
                <a:gd name="T24" fmla="*/ 2147483647 w 594"/>
                <a:gd name="T25" fmla="*/ 2147483647 h 626"/>
                <a:gd name="T26" fmla="*/ 2147483647 w 594"/>
                <a:gd name="T27" fmla="*/ 2147483647 h 626"/>
                <a:gd name="T28" fmla="*/ 2147483647 w 594"/>
                <a:gd name="T29" fmla="*/ 2147483647 h 626"/>
                <a:gd name="T30" fmla="*/ 2147483647 w 594"/>
                <a:gd name="T31" fmla="*/ 2147483647 h 626"/>
                <a:gd name="T32" fmla="*/ 2147483647 w 594"/>
                <a:gd name="T33" fmla="*/ 2147483647 h 626"/>
                <a:gd name="T34" fmla="*/ 2147483647 w 594"/>
                <a:gd name="T35" fmla="*/ 2147483647 h 626"/>
                <a:gd name="T36" fmla="*/ 2147483647 w 594"/>
                <a:gd name="T37" fmla="*/ 2147483647 h 626"/>
                <a:gd name="T38" fmla="*/ 2147483647 w 594"/>
                <a:gd name="T39" fmla="*/ 2147483647 h 626"/>
                <a:gd name="T40" fmla="*/ 2147483647 w 594"/>
                <a:gd name="T41" fmla="*/ 2147483647 h 626"/>
                <a:gd name="T42" fmla="*/ 2147483647 w 594"/>
                <a:gd name="T43" fmla="*/ 2147483647 h 626"/>
                <a:gd name="T44" fmla="*/ 2147483647 w 594"/>
                <a:gd name="T45" fmla="*/ 2147483647 h 626"/>
                <a:gd name="T46" fmla="*/ 2147483647 w 594"/>
                <a:gd name="T47" fmla="*/ 2147483647 h 626"/>
                <a:gd name="T48" fmla="*/ 2147483647 w 594"/>
                <a:gd name="T49" fmla="*/ 2147483647 h 626"/>
                <a:gd name="T50" fmla="*/ 2147483647 w 594"/>
                <a:gd name="T51" fmla="*/ 2147483647 h 626"/>
                <a:gd name="T52" fmla="*/ 2147483647 w 594"/>
                <a:gd name="T53" fmla="*/ 2147483647 h 626"/>
                <a:gd name="T54" fmla="*/ 2147483647 w 594"/>
                <a:gd name="T55" fmla="*/ 2147483647 h 626"/>
                <a:gd name="T56" fmla="*/ 2147483647 w 594"/>
                <a:gd name="T57" fmla="*/ 2147483647 h 626"/>
                <a:gd name="T58" fmla="*/ 2147483647 w 594"/>
                <a:gd name="T59" fmla="*/ 2147483647 h 626"/>
                <a:gd name="T60" fmla="*/ 2147483647 w 594"/>
                <a:gd name="T61" fmla="*/ 2147483647 h 626"/>
                <a:gd name="T62" fmla="*/ 2147483647 w 594"/>
                <a:gd name="T63" fmla="*/ 2147483647 h 626"/>
                <a:gd name="T64" fmla="*/ 2147483647 w 594"/>
                <a:gd name="T65" fmla="*/ 2147483647 h 626"/>
                <a:gd name="T66" fmla="*/ 2147483647 w 594"/>
                <a:gd name="T67" fmla="*/ 2147483647 h 626"/>
                <a:gd name="T68" fmla="*/ 2147483647 w 594"/>
                <a:gd name="T69" fmla="*/ 2147483647 h 626"/>
                <a:gd name="T70" fmla="*/ 2147483647 w 594"/>
                <a:gd name="T71" fmla="*/ 2147483647 h 626"/>
                <a:gd name="T72" fmla="*/ 2147483647 w 594"/>
                <a:gd name="T73" fmla="*/ 2147483647 h 626"/>
                <a:gd name="T74" fmla="*/ 2147483647 w 594"/>
                <a:gd name="T75" fmla="*/ 2147483647 h 626"/>
                <a:gd name="T76" fmla="*/ 2147483647 w 594"/>
                <a:gd name="T77" fmla="*/ 2147483647 h 626"/>
                <a:gd name="T78" fmla="*/ 2147483647 w 594"/>
                <a:gd name="T79" fmla="*/ 2147483647 h 626"/>
                <a:gd name="T80" fmla="*/ 2147483647 w 594"/>
                <a:gd name="T81" fmla="*/ 2147483647 h 626"/>
                <a:gd name="T82" fmla="*/ 2147483647 w 594"/>
                <a:gd name="T83" fmla="*/ 2147483647 h 626"/>
                <a:gd name="T84" fmla="*/ 2147483647 w 594"/>
                <a:gd name="T85" fmla="*/ 2147483647 h 626"/>
                <a:gd name="T86" fmla="*/ 2147483647 w 594"/>
                <a:gd name="T87" fmla="*/ 2147483647 h 626"/>
                <a:gd name="T88" fmla="*/ 2147483647 w 594"/>
                <a:gd name="T89" fmla="*/ 2147483647 h 626"/>
                <a:gd name="T90" fmla="*/ 2147483647 w 594"/>
                <a:gd name="T91" fmla="*/ 2147483647 h 626"/>
                <a:gd name="T92" fmla="*/ 2147483647 w 594"/>
                <a:gd name="T93" fmla="*/ 2147483647 h 626"/>
                <a:gd name="T94" fmla="*/ 2147483647 w 594"/>
                <a:gd name="T95" fmla="*/ 2147483647 h 626"/>
                <a:gd name="T96" fmla="*/ 2147483647 w 594"/>
                <a:gd name="T97" fmla="*/ 2147483647 h 626"/>
                <a:gd name="T98" fmla="*/ 2147483647 w 594"/>
                <a:gd name="T99" fmla="*/ 2147483647 h 626"/>
                <a:gd name="T100" fmla="*/ 2147483647 w 594"/>
                <a:gd name="T101" fmla="*/ 2147483647 h 626"/>
                <a:gd name="T102" fmla="*/ 2147483647 w 594"/>
                <a:gd name="T103" fmla="*/ 2147483647 h 626"/>
                <a:gd name="T104" fmla="*/ 2147483647 w 594"/>
                <a:gd name="T105" fmla="*/ 2147483647 h 626"/>
                <a:gd name="T106" fmla="*/ 2147483647 w 594"/>
                <a:gd name="T107" fmla="*/ 2147483647 h 626"/>
                <a:gd name="T108" fmla="*/ 2147483647 w 594"/>
                <a:gd name="T109" fmla="*/ 2147483647 h 626"/>
                <a:gd name="T110" fmla="*/ 2147483647 w 594"/>
                <a:gd name="T111" fmla="*/ 2147483647 h 626"/>
                <a:gd name="T112" fmla="*/ 2147483647 w 594"/>
                <a:gd name="T113" fmla="*/ 2147483647 h 626"/>
                <a:gd name="T114" fmla="*/ 2147483647 w 594"/>
                <a:gd name="T115" fmla="*/ 2147483647 h 626"/>
                <a:gd name="T116" fmla="*/ 0 w 594"/>
                <a:gd name="T117" fmla="*/ 0 h 626"/>
                <a:gd name="T118" fmla="*/ 0 w 594"/>
                <a:gd name="T119" fmla="*/ 0 h 6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94"/>
                <a:gd name="T181" fmla="*/ 0 h 626"/>
                <a:gd name="T182" fmla="*/ 594 w 594"/>
                <a:gd name="T183" fmla="*/ 626 h 62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94" h="626">
                  <a:moveTo>
                    <a:pt x="0" y="1"/>
                  </a:moveTo>
                  <a:lnTo>
                    <a:pt x="6" y="1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8" y="1"/>
                  </a:lnTo>
                  <a:lnTo>
                    <a:pt x="35" y="3"/>
                  </a:lnTo>
                  <a:lnTo>
                    <a:pt x="42" y="16"/>
                  </a:lnTo>
                  <a:lnTo>
                    <a:pt x="55" y="17"/>
                  </a:lnTo>
                  <a:lnTo>
                    <a:pt x="62" y="19"/>
                  </a:lnTo>
                  <a:lnTo>
                    <a:pt x="74" y="21"/>
                  </a:lnTo>
                  <a:lnTo>
                    <a:pt x="91" y="18"/>
                  </a:lnTo>
                  <a:lnTo>
                    <a:pt x="100" y="19"/>
                  </a:lnTo>
                  <a:lnTo>
                    <a:pt x="110" y="24"/>
                  </a:lnTo>
                  <a:lnTo>
                    <a:pt x="122" y="23"/>
                  </a:lnTo>
                  <a:lnTo>
                    <a:pt x="130" y="26"/>
                  </a:lnTo>
                  <a:lnTo>
                    <a:pt x="146" y="38"/>
                  </a:lnTo>
                  <a:lnTo>
                    <a:pt x="150" y="45"/>
                  </a:lnTo>
                  <a:lnTo>
                    <a:pt x="151" y="51"/>
                  </a:lnTo>
                  <a:lnTo>
                    <a:pt x="155" y="56"/>
                  </a:lnTo>
                  <a:lnTo>
                    <a:pt x="161" y="60"/>
                  </a:lnTo>
                  <a:lnTo>
                    <a:pt x="168" y="72"/>
                  </a:lnTo>
                  <a:lnTo>
                    <a:pt x="171" y="80"/>
                  </a:lnTo>
                  <a:lnTo>
                    <a:pt x="184" y="89"/>
                  </a:lnTo>
                  <a:lnTo>
                    <a:pt x="196" y="102"/>
                  </a:lnTo>
                  <a:lnTo>
                    <a:pt x="230" y="118"/>
                  </a:lnTo>
                  <a:lnTo>
                    <a:pt x="237" y="125"/>
                  </a:lnTo>
                  <a:lnTo>
                    <a:pt x="251" y="136"/>
                  </a:lnTo>
                  <a:lnTo>
                    <a:pt x="259" y="146"/>
                  </a:lnTo>
                  <a:lnTo>
                    <a:pt x="263" y="157"/>
                  </a:lnTo>
                  <a:lnTo>
                    <a:pt x="277" y="159"/>
                  </a:lnTo>
                  <a:lnTo>
                    <a:pt x="282" y="172"/>
                  </a:lnTo>
                  <a:lnTo>
                    <a:pt x="296" y="187"/>
                  </a:lnTo>
                  <a:lnTo>
                    <a:pt x="302" y="190"/>
                  </a:lnTo>
                  <a:lnTo>
                    <a:pt x="307" y="193"/>
                  </a:lnTo>
                  <a:lnTo>
                    <a:pt x="309" y="189"/>
                  </a:lnTo>
                  <a:lnTo>
                    <a:pt x="311" y="184"/>
                  </a:lnTo>
                  <a:lnTo>
                    <a:pt x="320" y="184"/>
                  </a:lnTo>
                  <a:lnTo>
                    <a:pt x="327" y="189"/>
                  </a:lnTo>
                  <a:lnTo>
                    <a:pt x="338" y="211"/>
                  </a:lnTo>
                  <a:lnTo>
                    <a:pt x="345" y="215"/>
                  </a:lnTo>
                  <a:lnTo>
                    <a:pt x="350" y="216"/>
                  </a:lnTo>
                  <a:lnTo>
                    <a:pt x="355" y="217"/>
                  </a:lnTo>
                  <a:lnTo>
                    <a:pt x="371" y="226"/>
                  </a:lnTo>
                  <a:lnTo>
                    <a:pt x="376" y="231"/>
                  </a:lnTo>
                  <a:lnTo>
                    <a:pt x="382" y="242"/>
                  </a:lnTo>
                  <a:lnTo>
                    <a:pt x="386" y="244"/>
                  </a:lnTo>
                  <a:lnTo>
                    <a:pt x="387" y="233"/>
                  </a:lnTo>
                  <a:lnTo>
                    <a:pt x="391" y="236"/>
                  </a:lnTo>
                  <a:lnTo>
                    <a:pt x="396" y="243"/>
                  </a:lnTo>
                  <a:lnTo>
                    <a:pt x="403" y="248"/>
                  </a:lnTo>
                  <a:lnTo>
                    <a:pt x="423" y="247"/>
                  </a:lnTo>
                  <a:lnTo>
                    <a:pt x="430" y="250"/>
                  </a:lnTo>
                  <a:lnTo>
                    <a:pt x="433" y="254"/>
                  </a:lnTo>
                  <a:lnTo>
                    <a:pt x="431" y="259"/>
                  </a:lnTo>
                  <a:lnTo>
                    <a:pt x="428" y="263"/>
                  </a:lnTo>
                  <a:lnTo>
                    <a:pt x="424" y="263"/>
                  </a:lnTo>
                  <a:lnTo>
                    <a:pt x="425" y="270"/>
                  </a:lnTo>
                  <a:lnTo>
                    <a:pt x="429" y="276"/>
                  </a:lnTo>
                  <a:lnTo>
                    <a:pt x="429" y="282"/>
                  </a:lnTo>
                  <a:lnTo>
                    <a:pt x="417" y="290"/>
                  </a:lnTo>
                  <a:lnTo>
                    <a:pt x="415" y="292"/>
                  </a:lnTo>
                  <a:lnTo>
                    <a:pt x="417" y="293"/>
                  </a:lnTo>
                  <a:lnTo>
                    <a:pt x="430" y="287"/>
                  </a:lnTo>
                  <a:lnTo>
                    <a:pt x="438" y="282"/>
                  </a:lnTo>
                  <a:lnTo>
                    <a:pt x="449" y="279"/>
                  </a:lnTo>
                  <a:lnTo>
                    <a:pt x="453" y="281"/>
                  </a:lnTo>
                  <a:lnTo>
                    <a:pt x="462" y="288"/>
                  </a:lnTo>
                  <a:lnTo>
                    <a:pt x="466" y="297"/>
                  </a:lnTo>
                  <a:lnTo>
                    <a:pt x="467" y="303"/>
                  </a:lnTo>
                  <a:lnTo>
                    <a:pt x="453" y="317"/>
                  </a:lnTo>
                  <a:lnTo>
                    <a:pt x="457" y="319"/>
                  </a:lnTo>
                  <a:lnTo>
                    <a:pt x="463" y="320"/>
                  </a:lnTo>
                  <a:lnTo>
                    <a:pt x="461" y="328"/>
                  </a:lnTo>
                  <a:lnTo>
                    <a:pt x="453" y="334"/>
                  </a:lnTo>
                  <a:lnTo>
                    <a:pt x="450" y="344"/>
                  </a:lnTo>
                  <a:lnTo>
                    <a:pt x="455" y="351"/>
                  </a:lnTo>
                  <a:lnTo>
                    <a:pt x="466" y="357"/>
                  </a:lnTo>
                  <a:lnTo>
                    <a:pt x="474" y="361"/>
                  </a:lnTo>
                  <a:lnTo>
                    <a:pt x="482" y="361"/>
                  </a:lnTo>
                  <a:lnTo>
                    <a:pt x="487" y="365"/>
                  </a:lnTo>
                  <a:lnTo>
                    <a:pt x="490" y="363"/>
                  </a:lnTo>
                  <a:lnTo>
                    <a:pt x="501" y="365"/>
                  </a:lnTo>
                  <a:lnTo>
                    <a:pt x="506" y="376"/>
                  </a:lnTo>
                  <a:lnTo>
                    <a:pt x="509" y="384"/>
                  </a:lnTo>
                  <a:lnTo>
                    <a:pt x="510" y="394"/>
                  </a:lnTo>
                  <a:lnTo>
                    <a:pt x="512" y="401"/>
                  </a:lnTo>
                  <a:lnTo>
                    <a:pt x="510" y="409"/>
                  </a:lnTo>
                  <a:lnTo>
                    <a:pt x="516" y="410"/>
                  </a:lnTo>
                  <a:lnTo>
                    <a:pt x="526" y="414"/>
                  </a:lnTo>
                  <a:lnTo>
                    <a:pt x="532" y="420"/>
                  </a:lnTo>
                  <a:lnTo>
                    <a:pt x="526" y="435"/>
                  </a:lnTo>
                  <a:lnTo>
                    <a:pt x="533" y="436"/>
                  </a:lnTo>
                  <a:lnTo>
                    <a:pt x="542" y="435"/>
                  </a:lnTo>
                  <a:lnTo>
                    <a:pt x="552" y="435"/>
                  </a:lnTo>
                  <a:lnTo>
                    <a:pt x="560" y="436"/>
                  </a:lnTo>
                  <a:lnTo>
                    <a:pt x="570" y="440"/>
                  </a:lnTo>
                  <a:lnTo>
                    <a:pt x="573" y="446"/>
                  </a:lnTo>
                  <a:lnTo>
                    <a:pt x="580" y="454"/>
                  </a:lnTo>
                  <a:lnTo>
                    <a:pt x="584" y="462"/>
                  </a:lnTo>
                  <a:lnTo>
                    <a:pt x="591" y="469"/>
                  </a:lnTo>
                  <a:lnTo>
                    <a:pt x="594" y="478"/>
                  </a:lnTo>
                  <a:lnTo>
                    <a:pt x="591" y="487"/>
                  </a:lnTo>
                  <a:lnTo>
                    <a:pt x="585" y="501"/>
                  </a:lnTo>
                  <a:lnTo>
                    <a:pt x="584" y="510"/>
                  </a:lnTo>
                  <a:lnTo>
                    <a:pt x="587" y="512"/>
                  </a:lnTo>
                  <a:lnTo>
                    <a:pt x="589" y="518"/>
                  </a:lnTo>
                  <a:lnTo>
                    <a:pt x="585" y="530"/>
                  </a:lnTo>
                  <a:lnTo>
                    <a:pt x="582" y="548"/>
                  </a:lnTo>
                  <a:lnTo>
                    <a:pt x="584" y="556"/>
                  </a:lnTo>
                  <a:lnTo>
                    <a:pt x="584" y="594"/>
                  </a:lnTo>
                  <a:lnTo>
                    <a:pt x="581" y="613"/>
                  </a:lnTo>
                  <a:lnTo>
                    <a:pt x="579" y="623"/>
                  </a:lnTo>
                  <a:lnTo>
                    <a:pt x="574" y="623"/>
                  </a:lnTo>
                  <a:lnTo>
                    <a:pt x="563" y="613"/>
                  </a:lnTo>
                  <a:lnTo>
                    <a:pt x="554" y="607"/>
                  </a:lnTo>
                  <a:lnTo>
                    <a:pt x="552" y="610"/>
                  </a:lnTo>
                  <a:lnTo>
                    <a:pt x="549" y="619"/>
                  </a:lnTo>
                  <a:lnTo>
                    <a:pt x="543" y="621"/>
                  </a:lnTo>
                  <a:lnTo>
                    <a:pt x="524" y="607"/>
                  </a:lnTo>
                  <a:lnTo>
                    <a:pt x="516" y="608"/>
                  </a:lnTo>
                  <a:lnTo>
                    <a:pt x="524" y="624"/>
                  </a:lnTo>
                  <a:lnTo>
                    <a:pt x="519" y="626"/>
                  </a:lnTo>
                  <a:lnTo>
                    <a:pt x="508" y="618"/>
                  </a:lnTo>
                  <a:lnTo>
                    <a:pt x="500" y="609"/>
                  </a:lnTo>
                  <a:lnTo>
                    <a:pt x="484" y="596"/>
                  </a:lnTo>
                  <a:lnTo>
                    <a:pt x="478" y="586"/>
                  </a:lnTo>
                  <a:lnTo>
                    <a:pt x="471" y="577"/>
                  </a:lnTo>
                  <a:lnTo>
                    <a:pt x="461" y="572"/>
                  </a:lnTo>
                  <a:lnTo>
                    <a:pt x="455" y="571"/>
                  </a:lnTo>
                  <a:lnTo>
                    <a:pt x="436" y="554"/>
                  </a:lnTo>
                  <a:lnTo>
                    <a:pt x="419" y="543"/>
                  </a:lnTo>
                  <a:lnTo>
                    <a:pt x="409" y="535"/>
                  </a:lnTo>
                  <a:lnTo>
                    <a:pt x="399" y="532"/>
                  </a:lnTo>
                  <a:lnTo>
                    <a:pt x="392" y="522"/>
                  </a:lnTo>
                  <a:lnTo>
                    <a:pt x="388" y="508"/>
                  </a:lnTo>
                  <a:lnTo>
                    <a:pt x="383" y="501"/>
                  </a:lnTo>
                  <a:lnTo>
                    <a:pt x="371" y="495"/>
                  </a:lnTo>
                  <a:lnTo>
                    <a:pt x="363" y="484"/>
                  </a:lnTo>
                  <a:lnTo>
                    <a:pt x="339" y="457"/>
                  </a:lnTo>
                  <a:lnTo>
                    <a:pt x="317" y="433"/>
                  </a:lnTo>
                  <a:lnTo>
                    <a:pt x="312" y="426"/>
                  </a:lnTo>
                  <a:lnTo>
                    <a:pt x="311" y="409"/>
                  </a:lnTo>
                  <a:lnTo>
                    <a:pt x="288" y="366"/>
                  </a:lnTo>
                  <a:lnTo>
                    <a:pt x="286" y="355"/>
                  </a:lnTo>
                  <a:lnTo>
                    <a:pt x="278" y="341"/>
                  </a:lnTo>
                  <a:lnTo>
                    <a:pt x="272" y="336"/>
                  </a:lnTo>
                  <a:lnTo>
                    <a:pt x="264" y="328"/>
                  </a:lnTo>
                  <a:lnTo>
                    <a:pt x="258" y="323"/>
                  </a:lnTo>
                  <a:lnTo>
                    <a:pt x="250" y="306"/>
                  </a:lnTo>
                  <a:lnTo>
                    <a:pt x="232" y="293"/>
                  </a:lnTo>
                  <a:lnTo>
                    <a:pt x="225" y="293"/>
                  </a:lnTo>
                  <a:lnTo>
                    <a:pt x="223" y="292"/>
                  </a:lnTo>
                  <a:lnTo>
                    <a:pt x="221" y="291"/>
                  </a:lnTo>
                  <a:lnTo>
                    <a:pt x="216" y="270"/>
                  </a:lnTo>
                  <a:lnTo>
                    <a:pt x="210" y="248"/>
                  </a:lnTo>
                  <a:lnTo>
                    <a:pt x="205" y="237"/>
                  </a:lnTo>
                  <a:lnTo>
                    <a:pt x="198" y="225"/>
                  </a:lnTo>
                  <a:lnTo>
                    <a:pt x="198" y="215"/>
                  </a:lnTo>
                  <a:lnTo>
                    <a:pt x="191" y="205"/>
                  </a:lnTo>
                  <a:lnTo>
                    <a:pt x="181" y="195"/>
                  </a:lnTo>
                  <a:lnTo>
                    <a:pt x="161" y="185"/>
                  </a:lnTo>
                  <a:lnTo>
                    <a:pt x="151" y="182"/>
                  </a:lnTo>
                  <a:lnTo>
                    <a:pt x="139" y="179"/>
                  </a:lnTo>
                  <a:lnTo>
                    <a:pt x="130" y="148"/>
                  </a:lnTo>
                  <a:lnTo>
                    <a:pt x="123" y="146"/>
                  </a:lnTo>
                  <a:lnTo>
                    <a:pt x="121" y="140"/>
                  </a:lnTo>
                  <a:lnTo>
                    <a:pt x="116" y="136"/>
                  </a:lnTo>
                  <a:lnTo>
                    <a:pt x="105" y="118"/>
                  </a:lnTo>
                  <a:lnTo>
                    <a:pt x="94" y="108"/>
                  </a:lnTo>
                  <a:lnTo>
                    <a:pt x="86" y="103"/>
                  </a:lnTo>
                  <a:lnTo>
                    <a:pt x="76" y="103"/>
                  </a:lnTo>
                  <a:lnTo>
                    <a:pt x="65" y="93"/>
                  </a:lnTo>
                  <a:lnTo>
                    <a:pt x="57" y="83"/>
                  </a:lnTo>
                  <a:lnTo>
                    <a:pt x="51" y="77"/>
                  </a:lnTo>
                  <a:lnTo>
                    <a:pt x="41" y="71"/>
                  </a:lnTo>
                  <a:lnTo>
                    <a:pt x="19" y="46"/>
                  </a:lnTo>
                  <a:lnTo>
                    <a:pt x="12" y="39"/>
                  </a:lnTo>
                  <a:lnTo>
                    <a:pt x="4" y="22"/>
                  </a:lnTo>
                  <a:lnTo>
                    <a:pt x="3" y="3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69" name="Freeform 65">
              <a:extLst>
                <a:ext uri="{FF2B5EF4-FFF2-40B4-BE49-F238E27FC236}">
                  <a16:creationId xmlns:a16="http://schemas.microsoft.com/office/drawing/2014/main" id="{8077951F-B81A-513F-997E-D56F71951D4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853367" y="4522378"/>
              <a:ext cx="270113" cy="92977"/>
            </a:xfrm>
            <a:custGeom>
              <a:avLst/>
              <a:gdLst>
                <a:gd name="T0" fmla="*/ 2147483647 w 506"/>
                <a:gd name="T1" fmla="*/ 2147483647 h 158"/>
                <a:gd name="T2" fmla="*/ 2147483647 w 506"/>
                <a:gd name="T3" fmla="*/ 2147483647 h 158"/>
                <a:gd name="T4" fmla="*/ 2147483647 w 506"/>
                <a:gd name="T5" fmla="*/ 2147483647 h 158"/>
                <a:gd name="T6" fmla="*/ 2147483647 w 506"/>
                <a:gd name="T7" fmla="*/ 2147483647 h 158"/>
                <a:gd name="T8" fmla="*/ 2147483647 w 506"/>
                <a:gd name="T9" fmla="*/ 2147483647 h 158"/>
                <a:gd name="T10" fmla="*/ 2147483647 w 506"/>
                <a:gd name="T11" fmla="*/ 2147483647 h 158"/>
                <a:gd name="T12" fmla="*/ 2147483647 w 506"/>
                <a:gd name="T13" fmla="*/ 2147483647 h 158"/>
                <a:gd name="T14" fmla="*/ 2147483647 w 506"/>
                <a:gd name="T15" fmla="*/ 2147483647 h 158"/>
                <a:gd name="T16" fmla="*/ 2147483647 w 506"/>
                <a:gd name="T17" fmla="*/ 2147483647 h 158"/>
                <a:gd name="T18" fmla="*/ 2147483647 w 506"/>
                <a:gd name="T19" fmla="*/ 2147483647 h 158"/>
                <a:gd name="T20" fmla="*/ 2147483647 w 506"/>
                <a:gd name="T21" fmla="*/ 2147483647 h 158"/>
                <a:gd name="T22" fmla="*/ 2147483647 w 506"/>
                <a:gd name="T23" fmla="*/ 2147483647 h 158"/>
                <a:gd name="T24" fmla="*/ 2147483647 w 506"/>
                <a:gd name="T25" fmla="*/ 2147483647 h 158"/>
                <a:gd name="T26" fmla="*/ 2147483647 w 506"/>
                <a:gd name="T27" fmla="*/ 2147483647 h 158"/>
                <a:gd name="T28" fmla="*/ 2147483647 w 506"/>
                <a:gd name="T29" fmla="*/ 2147483647 h 158"/>
                <a:gd name="T30" fmla="*/ 2147483647 w 506"/>
                <a:gd name="T31" fmla="*/ 2147483647 h 158"/>
                <a:gd name="T32" fmla="*/ 2147483647 w 506"/>
                <a:gd name="T33" fmla="*/ 0 h 158"/>
                <a:gd name="T34" fmla="*/ 2147483647 w 506"/>
                <a:gd name="T35" fmla="*/ 0 h 158"/>
                <a:gd name="T36" fmla="*/ 0 w 506"/>
                <a:gd name="T37" fmla="*/ 0 h 158"/>
                <a:gd name="T38" fmla="*/ 0 w 506"/>
                <a:gd name="T39" fmla="*/ 0 h 158"/>
                <a:gd name="T40" fmla="*/ 0 w 506"/>
                <a:gd name="T41" fmla="*/ 0 h 158"/>
                <a:gd name="T42" fmla="*/ 0 w 506"/>
                <a:gd name="T43" fmla="*/ 0 h 158"/>
                <a:gd name="T44" fmla="*/ 0 w 506"/>
                <a:gd name="T45" fmla="*/ 0 h 158"/>
                <a:gd name="T46" fmla="*/ 0 w 506"/>
                <a:gd name="T47" fmla="*/ 0 h 158"/>
                <a:gd name="T48" fmla="*/ 0 w 506"/>
                <a:gd name="T49" fmla="*/ 0 h 158"/>
                <a:gd name="T50" fmla="*/ 2147483647 w 506"/>
                <a:gd name="T51" fmla="*/ 0 h 158"/>
                <a:gd name="T52" fmla="*/ 2147483647 w 506"/>
                <a:gd name="T53" fmla="*/ 0 h 158"/>
                <a:gd name="T54" fmla="*/ 2147483647 w 506"/>
                <a:gd name="T55" fmla="*/ 0 h 158"/>
                <a:gd name="T56" fmla="*/ 2147483647 w 506"/>
                <a:gd name="T57" fmla="*/ 0 h 158"/>
                <a:gd name="T58" fmla="*/ 2147483647 w 506"/>
                <a:gd name="T59" fmla="*/ 0 h 158"/>
                <a:gd name="T60" fmla="*/ 2147483647 w 506"/>
                <a:gd name="T61" fmla="*/ 0 h 158"/>
                <a:gd name="T62" fmla="*/ 2147483647 w 506"/>
                <a:gd name="T63" fmla="*/ 0 h 158"/>
                <a:gd name="T64" fmla="*/ 2147483647 w 506"/>
                <a:gd name="T65" fmla="*/ 0 h 158"/>
                <a:gd name="T66" fmla="*/ 2147483647 w 506"/>
                <a:gd name="T67" fmla="*/ 0 h 158"/>
                <a:gd name="T68" fmla="*/ 2147483647 w 506"/>
                <a:gd name="T69" fmla="*/ 0 h 158"/>
                <a:gd name="T70" fmla="*/ 2147483647 w 506"/>
                <a:gd name="T71" fmla="*/ 0 h 158"/>
                <a:gd name="T72" fmla="*/ 2147483647 w 506"/>
                <a:gd name="T73" fmla="*/ 0 h 158"/>
                <a:gd name="T74" fmla="*/ 2147483647 w 506"/>
                <a:gd name="T75" fmla="*/ 0 h 158"/>
                <a:gd name="T76" fmla="*/ 2147483647 w 506"/>
                <a:gd name="T77" fmla="*/ 0 h 158"/>
                <a:gd name="T78" fmla="*/ 2147483647 w 506"/>
                <a:gd name="T79" fmla="*/ 0 h 158"/>
                <a:gd name="T80" fmla="*/ 2147483647 w 506"/>
                <a:gd name="T81" fmla="*/ 0 h 158"/>
                <a:gd name="T82" fmla="*/ 2147483647 w 506"/>
                <a:gd name="T83" fmla="*/ 0 h 158"/>
                <a:gd name="T84" fmla="*/ 2147483647 w 506"/>
                <a:gd name="T85" fmla="*/ 0 h 158"/>
                <a:gd name="T86" fmla="*/ 2147483647 w 506"/>
                <a:gd name="T87" fmla="*/ 0 h 158"/>
                <a:gd name="T88" fmla="*/ 2147483647 w 506"/>
                <a:gd name="T89" fmla="*/ 2147483647 h 158"/>
                <a:gd name="T90" fmla="*/ 2147483647 w 506"/>
                <a:gd name="T91" fmla="*/ 2147483647 h 158"/>
                <a:gd name="T92" fmla="*/ 2147483647 w 506"/>
                <a:gd name="T93" fmla="*/ 2147483647 h 158"/>
                <a:gd name="T94" fmla="*/ 2147483647 w 506"/>
                <a:gd name="T95" fmla="*/ 2147483647 h 158"/>
                <a:gd name="T96" fmla="*/ 2147483647 w 506"/>
                <a:gd name="T97" fmla="*/ 2147483647 h 158"/>
                <a:gd name="T98" fmla="*/ 2147483647 w 506"/>
                <a:gd name="T99" fmla="*/ 2147483647 h 158"/>
                <a:gd name="T100" fmla="*/ 2147483647 w 506"/>
                <a:gd name="T101" fmla="*/ 2147483647 h 158"/>
                <a:gd name="T102" fmla="*/ 2147483647 w 506"/>
                <a:gd name="T103" fmla="*/ 2147483647 h 158"/>
                <a:gd name="T104" fmla="*/ 2147483647 w 506"/>
                <a:gd name="T105" fmla="*/ 2147483647 h 158"/>
                <a:gd name="T106" fmla="*/ 2147483647 w 506"/>
                <a:gd name="T107" fmla="*/ 2147483647 h 158"/>
                <a:gd name="T108" fmla="*/ 2147483647 w 506"/>
                <a:gd name="T109" fmla="*/ 2147483647 h 15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06"/>
                <a:gd name="T166" fmla="*/ 0 h 158"/>
                <a:gd name="T167" fmla="*/ 506 w 506"/>
                <a:gd name="T168" fmla="*/ 158 h 15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06" h="158">
                  <a:moveTo>
                    <a:pt x="374" y="129"/>
                  </a:moveTo>
                  <a:lnTo>
                    <a:pt x="364" y="129"/>
                  </a:lnTo>
                  <a:lnTo>
                    <a:pt x="353" y="135"/>
                  </a:lnTo>
                  <a:lnTo>
                    <a:pt x="334" y="130"/>
                  </a:lnTo>
                  <a:lnTo>
                    <a:pt x="330" y="127"/>
                  </a:lnTo>
                  <a:lnTo>
                    <a:pt x="326" y="124"/>
                  </a:lnTo>
                  <a:lnTo>
                    <a:pt x="323" y="126"/>
                  </a:lnTo>
                  <a:lnTo>
                    <a:pt x="314" y="126"/>
                  </a:lnTo>
                  <a:lnTo>
                    <a:pt x="304" y="125"/>
                  </a:lnTo>
                  <a:lnTo>
                    <a:pt x="288" y="120"/>
                  </a:lnTo>
                  <a:lnTo>
                    <a:pt x="279" y="115"/>
                  </a:lnTo>
                  <a:lnTo>
                    <a:pt x="272" y="110"/>
                  </a:lnTo>
                  <a:lnTo>
                    <a:pt x="266" y="105"/>
                  </a:lnTo>
                  <a:lnTo>
                    <a:pt x="257" y="102"/>
                  </a:lnTo>
                  <a:lnTo>
                    <a:pt x="242" y="99"/>
                  </a:lnTo>
                  <a:lnTo>
                    <a:pt x="231" y="99"/>
                  </a:lnTo>
                  <a:lnTo>
                    <a:pt x="217" y="96"/>
                  </a:lnTo>
                  <a:lnTo>
                    <a:pt x="212" y="97"/>
                  </a:lnTo>
                  <a:lnTo>
                    <a:pt x="208" y="99"/>
                  </a:lnTo>
                  <a:lnTo>
                    <a:pt x="203" y="99"/>
                  </a:lnTo>
                  <a:lnTo>
                    <a:pt x="201" y="96"/>
                  </a:lnTo>
                  <a:lnTo>
                    <a:pt x="191" y="96"/>
                  </a:lnTo>
                  <a:lnTo>
                    <a:pt x="186" y="100"/>
                  </a:lnTo>
                  <a:lnTo>
                    <a:pt x="181" y="103"/>
                  </a:lnTo>
                  <a:lnTo>
                    <a:pt x="177" y="103"/>
                  </a:lnTo>
                  <a:lnTo>
                    <a:pt x="142" y="96"/>
                  </a:lnTo>
                  <a:lnTo>
                    <a:pt x="129" y="89"/>
                  </a:lnTo>
                  <a:lnTo>
                    <a:pt x="116" y="87"/>
                  </a:lnTo>
                  <a:lnTo>
                    <a:pt x="95" y="86"/>
                  </a:lnTo>
                  <a:lnTo>
                    <a:pt x="85" y="83"/>
                  </a:lnTo>
                  <a:lnTo>
                    <a:pt x="79" y="80"/>
                  </a:lnTo>
                  <a:lnTo>
                    <a:pt x="67" y="76"/>
                  </a:lnTo>
                  <a:lnTo>
                    <a:pt x="63" y="72"/>
                  </a:lnTo>
                  <a:lnTo>
                    <a:pt x="72" y="60"/>
                  </a:lnTo>
                  <a:lnTo>
                    <a:pt x="70" y="59"/>
                  </a:lnTo>
                  <a:lnTo>
                    <a:pt x="62" y="59"/>
                  </a:lnTo>
                  <a:lnTo>
                    <a:pt x="42" y="50"/>
                  </a:lnTo>
                  <a:lnTo>
                    <a:pt x="24" y="50"/>
                  </a:lnTo>
                  <a:lnTo>
                    <a:pt x="18" y="48"/>
                  </a:lnTo>
                  <a:lnTo>
                    <a:pt x="6" y="46"/>
                  </a:lnTo>
                  <a:lnTo>
                    <a:pt x="0" y="40"/>
                  </a:lnTo>
                  <a:lnTo>
                    <a:pt x="3" y="38"/>
                  </a:lnTo>
                  <a:lnTo>
                    <a:pt x="5" y="39"/>
                  </a:lnTo>
                  <a:lnTo>
                    <a:pt x="9" y="41"/>
                  </a:lnTo>
                  <a:lnTo>
                    <a:pt x="15" y="41"/>
                  </a:lnTo>
                  <a:lnTo>
                    <a:pt x="20" y="38"/>
                  </a:lnTo>
                  <a:lnTo>
                    <a:pt x="24" y="30"/>
                  </a:lnTo>
                  <a:lnTo>
                    <a:pt x="29" y="30"/>
                  </a:lnTo>
                  <a:lnTo>
                    <a:pt x="33" y="23"/>
                  </a:lnTo>
                  <a:lnTo>
                    <a:pt x="36" y="14"/>
                  </a:lnTo>
                  <a:lnTo>
                    <a:pt x="41" y="5"/>
                  </a:lnTo>
                  <a:lnTo>
                    <a:pt x="53" y="1"/>
                  </a:lnTo>
                  <a:lnTo>
                    <a:pt x="89" y="7"/>
                  </a:lnTo>
                  <a:lnTo>
                    <a:pt x="102" y="0"/>
                  </a:lnTo>
                  <a:lnTo>
                    <a:pt x="113" y="0"/>
                  </a:lnTo>
                  <a:lnTo>
                    <a:pt x="119" y="7"/>
                  </a:lnTo>
                  <a:lnTo>
                    <a:pt x="122" y="14"/>
                  </a:lnTo>
                  <a:lnTo>
                    <a:pt x="132" y="16"/>
                  </a:lnTo>
                  <a:lnTo>
                    <a:pt x="140" y="14"/>
                  </a:lnTo>
                  <a:lnTo>
                    <a:pt x="154" y="18"/>
                  </a:lnTo>
                  <a:lnTo>
                    <a:pt x="164" y="19"/>
                  </a:lnTo>
                  <a:lnTo>
                    <a:pt x="177" y="33"/>
                  </a:lnTo>
                  <a:lnTo>
                    <a:pt x="186" y="46"/>
                  </a:lnTo>
                  <a:lnTo>
                    <a:pt x="196" y="49"/>
                  </a:lnTo>
                  <a:lnTo>
                    <a:pt x="207" y="48"/>
                  </a:lnTo>
                  <a:lnTo>
                    <a:pt x="228" y="49"/>
                  </a:lnTo>
                  <a:lnTo>
                    <a:pt x="234" y="48"/>
                  </a:lnTo>
                  <a:lnTo>
                    <a:pt x="261" y="53"/>
                  </a:lnTo>
                  <a:lnTo>
                    <a:pt x="271" y="54"/>
                  </a:lnTo>
                  <a:lnTo>
                    <a:pt x="279" y="56"/>
                  </a:lnTo>
                  <a:lnTo>
                    <a:pt x="287" y="54"/>
                  </a:lnTo>
                  <a:lnTo>
                    <a:pt x="295" y="39"/>
                  </a:lnTo>
                  <a:lnTo>
                    <a:pt x="296" y="32"/>
                  </a:lnTo>
                  <a:lnTo>
                    <a:pt x="304" y="25"/>
                  </a:lnTo>
                  <a:lnTo>
                    <a:pt x="311" y="27"/>
                  </a:lnTo>
                  <a:lnTo>
                    <a:pt x="317" y="35"/>
                  </a:lnTo>
                  <a:lnTo>
                    <a:pt x="323" y="41"/>
                  </a:lnTo>
                  <a:lnTo>
                    <a:pt x="333" y="41"/>
                  </a:lnTo>
                  <a:lnTo>
                    <a:pt x="342" y="37"/>
                  </a:lnTo>
                  <a:lnTo>
                    <a:pt x="347" y="40"/>
                  </a:lnTo>
                  <a:lnTo>
                    <a:pt x="353" y="41"/>
                  </a:lnTo>
                  <a:lnTo>
                    <a:pt x="358" y="45"/>
                  </a:lnTo>
                  <a:lnTo>
                    <a:pt x="365" y="46"/>
                  </a:lnTo>
                  <a:lnTo>
                    <a:pt x="373" y="51"/>
                  </a:lnTo>
                  <a:lnTo>
                    <a:pt x="390" y="50"/>
                  </a:lnTo>
                  <a:lnTo>
                    <a:pt x="397" y="55"/>
                  </a:lnTo>
                  <a:lnTo>
                    <a:pt x="404" y="70"/>
                  </a:lnTo>
                  <a:lnTo>
                    <a:pt x="412" y="75"/>
                  </a:lnTo>
                  <a:lnTo>
                    <a:pt x="414" y="91"/>
                  </a:lnTo>
                  <a:lnTo>
                    <a:pt x="424" y="96"/>
                  </a:lnTo>
                  <a:lnTo>
                    <a:pt x="435" y="99"/>
                  </a:lnTo>
                  <a:lnTo>
                    <a:pt x="456" y="97"/>
                  </a:lnTo>
                  <a:lnTo>
                    <a:pt x="467" y="97"/>
                  </a:lnTo>
                  <a:lnTo>
                    <a:pt x="481" y="94"/>
                  </a:lnTo>
                  <a:lnTo>
                    <a:pt x="492" y="97"/>
                  </a:lnTo>
                  <a:lnTo>
                    <a:pt x="499" y="103"/>
                  </a:lnTo>
                  <a:lnTo>
                    <a:pt x="500" y="116"/>
                  </a:lnTo>
                  <a:lnTo>
                    <a:pt x="497" y="136"/>
                  </a:lnTo>
                  <a:lnTo>
                    <a:pt x="499" y="143"/>
                  </a:lnTo>
                  <a:lnTo>
                    <a:pt x="503" y="148"/>
                  </a:lnTo>
                  <a:lnTo>
                    <a:pt x="506" y="158"/>
                  </a:lnTo>
                  <a:lnTo>
                    <a:pt x="502" y="156"/>
                  </a:lnTo>
                  <a:lnTo>
                    <a:pt x="495" y="150"/>
                  </a:lnTo>
                  <a:lnTo>
                    <a:pt x="462" y="141"/>
                  </a:lnTo>
                  <a:lnTo>
                    <a:pt x="446" y="135"/>
                  </a:lnTo>
                  <a:lnTo>
                    <a:pt x="433" y="130"/>
                  </a:lnTo>
                  <a:lnTo>
                    <a:pt x="406" y="138"/>
                  </a:lnTo>
                  <a:lnTo>
                    <a:pt x="392" y="136"/>
                  </a:lnTo>
                  <a:lnTo>
                    <a:pt x="381" y="131"/>
                  </a:lnTo>
                  <a:lnTo>
                    <a:pt x="374" y="12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70" name="Freeform 66">
              <a:extLst>
                <a:ext uri="{FF2B5EF4-FFF2-40B4-BE49-F238E27FC236}">
                  <a16:creationId xmlns:a16="http://schemas.microsoft.com/office/drawing/2014/main" id="{24790320-631B-D1D8-734A-5C0E6554D4C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960815" y="4205340"/>
              <a:ext cx="289514" cy="265214"/>
            </a:xfrm>
            <a:custGeom>
              <a:avLst/>
              <a:gdLst>
                <a:gd name="T0" fmla="*/ 2147483647 w 547"/>
                <a:gd name="T1" fmla="*/ 0 h 467"/>
                <a:gd name="T2" fmla="*/ 2147483647 w 547"/>
                <a:gd name="T3" fmla="*/ 0 h 467"/>
                <a:gd name="T4" fmla="*/ 2147483647 w 547"/>
                <a:gd name="T5" fmla="*/ 0 h 467"/>
                <a:gd name="T6" fmla="*/ 2147483647 w 547"/>
                <a:gd name="T7" fmla="*/ 0 h 467"/>
                <a:gd name="T8" fmla="*/ 2147483647 w 547"/>
                <a:gd name="T9" fmla="*/ 0 h 467"/>
                <a:gd name="T10" fmla="*/ 2147483647 w 547"/>
                <a:gd name="T11" fmla="*/ 0 h 467"/>
                <a:gd name="T12" fmla="*/ 2147483647 w 547"/>
                <a:gd name="T13" fmla="*/ 2147483647 h 467"/>
                <a:gd name="T14" fmla="*/ 2147483647 w 547"/>
                <a:gd name="T15" fmla="*/ 2147483647 h 467"/>
                <a:gd name="T16" fmla="*/ 2147483647 w 547"/>
                <a:gd name="T17" fmla="*/ 2147483647 h 467"/>
                <a:gd name="T18" fmla="*/ 2147483647 w 547"/>
                <a:gd name="T19" fmla="*/ 2147483647 h 467"/>
                <a:gd name="T20" fmla="*/ 2147483647 w 547"/>
                <a:gd name="T21" fmla="*/ 2147483647 h 467"/>
                <a:gd name="T22" fmla="*/ 2147483647 w 547"/>
                <a:gd name="T23" fmla="*/ 2147483647 h 467"/>
                <a:gd name="T24" fmla="*/ 2147483647 w 547"/>
                <a:gd name="T25" fmla="*/ 2147483647 h 467"/>
                <a:gd name="T26" fmla="*/ 2147483647 w 547"/>
                <a:gd name="T27" fmla="*/ 2147483647 h 467"/>
                <a:gd name="T28" fmla="*/ 2147483647 w 547"/>
                <a:gd name="T29" fmla="*/ 2147483647 h 467"/>
                <a:gd name="T30" fmla="*/ 2147483647 w 547"/>
                <a:gd name="T31" fmla="*/ 2147483647 h 467"/>
                <a:gd name="T32" fmla="*/ 2147483647 w 547"/>
                <a:gd name="T33" fmla="*/ 2147483647 h 467"/>
                <a:gd name="T34" fmla="*/ 2147483647 w 547"/>
                <a:gd name="T35" fmla="*/ 2147483647 h 467"/>
                <a:gd name="T36" fmla="*/ 2147483647 w 547"/>
                <a:gd name="T37" fmla="*/ 2147483647 h 467"/>
                <a:gd name="T38" fmla="*/ 2147483647 w 547"/>
                <a:gd name="T39" fmla="*/ 2147483647 h 467"/>
                <a:gd name="T40" fmla="*/ 2147483647 w 547"/>
                <a:gd name="T41" fmla="*/ 2147483647 h 467"/>
                <a:gd name="T42" fmla="*/ 2147483647 w 547"/>
                <a:gd name="T43" fmla="*/ 2147483647 h 467"/>
                <a:gd name="T44" fmla="*/ 2147483647 w 547"/>
                <a:gd name="T45" fmla="*/ 2147483647 h 467"/>
                <a:gd name="T46" fmla="*/ 2147483647 w 547"/>
                <a:gd name="T47" fmla="*/ 2147483647 h 467"/>
                <a:gd name="T48" fmla="*/ 2147483647 w 547"/>
                <a:gd name="T49" fmla="*/ 2147483647 h 467"/>
                <a:gd name="T50" fmla="*/ 2147483647 w 547"/>
                <a:gd name="T51" fmla="*/ 2147483647 h 467"/>
                <a:gd name="T52" fmla="*/ 2147483647 w 547"/>
                <a:gd name="T53" fmla="*/ 2147483647 h 467"/>
                <a:gd name="T54" fmla="*/ 2147483647 w 547"/>
                <a:gd name="T55" fmla="*/ 2147483647 h 467"/>
                <a:gd name="T56" fmla="*/ 2147483647 w 547"/>
                <a:gd name="T57" fmla="*/ 2147483647 h 467"/>
                <a:gd name="T58" fmla="*/ 2147483647 w 547"/>
                <a:gd name="T59" fmla="*/ 2147483647 h 467"/>
                <a:gd name="T60" fmla="*/ 2147483647 w 547"/>
                <a:gd name="T61" fmla="*/ 2147483647 h 467"/>
                <a:gd name="T62" fmla="*/ 2147483647 w 547"/>
                <a:gd name="T63" fmla="*/ 2147483647 h 467"/>
                <a:gd name="T64" fmla="*/ 2147483647 w 547"/>
                <a:gd name="T65" fmla="*/ 2147483647 h 467"/>
                <a:gd name="T66" fmla="*/ 2147483647 w 547"/>
                <a:gd name="T67" fmla="*/ 2147483647 h 467"/>
                <a:gd name="T68" fmla="*/ 2147483647 w 547"/>
                <a:gd name="T69" fmla="*/ 2147483647 h 467"/>
                <a:gd name="T70" fmla="*/ 2147483647 w 547"/>
                <a:gd name="T71" fmla="*/ 2147483647 h 467"/>
                <a:gd name="T72" fmla="*/ 2147483647 w 547"/>
                <a:gd name="T73" fmla="*/ 2147483647 h 467"/>
                <a:gd name="T74" fmla="*/ 2147483647 w 547"/>
                <a:gd name="T75" fmla="*/ 2147483647 h 467"/>
                <a:gd name="T76" fmla="*/ 2147483647 w 547"/>
                <a:gd name="T77" fmla="*/ 2147483647 h 467"/>
                <a:gd name="T78" fmla="*/ 2147483647 w 547"/>
                <a:gd name="T79" fmla="*/ 2147483647 h 467"/>
                <a:gd name="T80" fmla="*/ 0 w 547"/>
                <a:gd name="T81" fmla="*/ 2147483647 h 467"/>
                <a:gd name="T82" fmla="*/ 0 w 547"/>
                <a:gd name="T83" fmla="*/ 2147483647 h 467"/>
                <a:gd name="T84" fmla="*/ 0 w 547"/>
                <a:gd name="T85" fmla="*/ 2147483647 h 467"/>
                <a:gd name="T86" fmla="*/ 0 w 547"/>
                <a:gd name="T87" fmla="*/ 2147483647 h 467"/>
                <a:gd name="T88" fmla="*/ 0 w 547"/>
                <a:gd name="T89" fmla="*/ 2147483647 h 467"/>
                <a:gd name="T90" fmla="*/ 0 w 547"/>
                <a:gd name="T91" fmla="*/ 2147483647 h 467"/>
                <a:gd name="T92" fmla="*/ 2147483647 w 547"/>
                <a:gd name="T93" fmla="*/ 2147483647 h 467"/>
                <a:gd name="T94" fmla="*/ 2147483647 w 547"/>
                <a:gd name="T95" fmla="*/ 2147483647 h 467"/>
                <a:gd name="T96" fmla="*/ 2147483647 w 547"/>
                <a:gd name="T97" fmla="*/ 2147483647 h 467"/>
                <a:gd name="T98" fmla="*/ 2147483647 w 547"/>
                <a:gd name="T99" fmla="*/ 2147483647 h 467"/>
                <a:gd name="T100" fmla="*/ 2147483647 w 547"/>
                <a:gd name="T101" fmla="*/ 2147483647 h 467"/>
                <a:gd name="T102" fmla="*/ 2147483647 w 547"/>
                <a:gd name="T103" fmla="*/ 2147483647 h 467"/>
                <a:gd name="T104" fmla="*/ 2147483647 w 547"/>
                <a:gd name="T105" fmla="*/ 2147483647 h 467"/>
                <a:gd name="T106" fmla="*/ 2147483647 w 547"/>
                <a:gd name="T107" fmla="*/ 2147483647 h 467"/>
                <a:gd name="T108" fmla="*/ 2147483647 w 547"/>
                <a:gd name="T109" fmla="*/ 2147483647 h 467"/>
                <a:gd name="T110" fmla="*/ 2147483647 w 547"/>
                <a:gd name="T111" fmla="*/ 2147483647 h 467"/>
                <a:gd name="T112" fmla="*/ 2147483647 w 547"/>
                <a:gd name="T113" fmla="*/ 0 h 467"/>
                <a:gd name="T114" fmla="*/ 2147483647 w 547"/>
                <a:gd name="T115" fmla="*/ 0 h 467"/>
                <a:gd name="T116" fmla="*/ 2147483647 w 547"/>
                <a:gd name="T117" fmla="*/ 0 h 46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47"/>
                <a:gd name="T178" fmla="*/ 0 h 467"/>
                <a:gd name="T179" fmla="*/ 547 w 547"/>
                <a:gd name="T180" fmla="*/ 467 h 467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547" h="467">
                  <a:moveTo>
                    <a:pt x="472" y="11"/>
                  </a:moveTo>
                  <a:lnTo>
                    <a:pt x="475" y="13"/>
                  </a:lnTo>
                  <a:lnTo>
                    <a:pt x="474" y="15"/>
                  </a:lnTo>
                  <a:lnTo>
                    <a:pt x="469" y="18"/>
                  </a:lnTo>
                  <a:lnTo>
                    <a:pt x="464" y="19"/>
                  </a:lnTo>
                  <a:lnTo>
                    <a:pt x="471" y="22"/>
                  </a:lnTo>
                  <a:lnTo>
                    <a:pt x="477" y="27"/>
                  </a:lnTo>
                  <a:lnTo>
                    <a:pt x="485" y="30"/>
                  </a:lnTo>
                  <a:lnTo>
                    <a:pt x="485" y="38"/>
                  </a:lnTo>
                  <a:lnTo>
                    <a:pt x="479" y="41"/>
                  </a:lnTo>
                  <a:lnTo>
                    <a:pt x="471" y="40"/>
                  </a:lnTo>
                  <a:lnTo>
                    <a:pt x="470" y="42"/>
                  </a:lnTo>
                  <a:lnTo>
                    <a:pt x="457" y="43"/>
                  </a:lnTo>
                  <a:lnTo>
                    <a:pt x="453" y="47"/>
                  </a:lnTo>
                  <a:lnTo>
                    <a:pt x="460" y="57"/>
                  </a:lnTo>
                  <a:lnTo>
                    <a:pt x="464" y="59"/>
                  </a:lnTo>
                  <a:lnTo>
                    <a:pt x="465" y="63"/>
                  </a:lnTo>
                  <a:lnTo>
                    <a:pt x="461" y="67"/>
                  </a:lnTo>
                  <a:lnTo>
                    <a:pt x="464" y="70"/>
                  </a:lnTo>
                  <a:lnTo>
                    <a:pt x="470" y="75"/>
                  </a:lnTo>
                  <a:lnTo>
                    <a:pt x="475" y="80"/>
                  </a:lnTo>
                  <a:lnTo>
                    <a:pt x="479" y="88"/>
                  </a:lnTo>
                  <a:lnTo>
                    <a:pt x="496" y="116"/>
                  </a:lnTo>
                  <a:lnTo>
                    <a:pt x="493" y="121"/>
                  </a:lnTo>
                  <a:lnTo>
                    <a:pt x="492" y="124"/>
                  </a:lnTo>
                  <a:lnTo>
                    <a:pt x="490" y="127"/>
                  </a:lnTo>
                  <a:lnTo>
                    <a:pt x="490" y="132"/>
                  </a:lnTo>
                  <a:lnTo>
                    <a:pt x="491" y="137"/>
                  </a:lnTo>
                  <a:lnTo>
                    <a:pt x="541" y="180"/>
                  </a:lnTo>
                  <a:lnTo>
                    <a:pt x="547" y="186"/>
                  </a:lnTo>
                  <a:lnTo>
                    <a:pt x="547" y="191"/>
                  </a:lnTo>
                  <a:lnTo>
                    <a:pt x="538" y="193"/>
                  </a:lnTo>
                  <a:lnTo>
                    <a:pt x="519" y="194"/>
                  </a:lnTo>
                  <a:lnTo>
                    <a:pt x="504" y="191"/>
                  </a:lnTo>
                  <a:lnTo>
                    <a:pt x="496" y="181"/>
                  </a:lnTo>
                  <a:lnTo>
                    <a:pt x="495" y="186"/>
                  </a:lnTo>
                  <a:lnTo>
                    <a:pt x="497" y="194"/>
                  </a:lnTo>
                  <a:lnTo>
                    <a:pt x="496" y="197"/>
                  </a:lnTo>
                  <a:lnTo>
                    <a:pt x="486" y="202"/>
                  </a:lnTo>
                  <a:lnTo>
                    <a:pt x="479" y="212"/>
                  </a:lnTo>
                  <a:lnTo>
                    <a:pt x="474" y="219"/>
                  </a:lnTo>
                  <a:lnTo>
                    <a:pt x="471" y="228"/>
                  </a:lnTo>
                  <a:lnTo>
                    <a:pt x="471" y="240"/>
                  </a:lnTo>
                  <a:lnTo>
                    <a:pt x="468" y="248"/>
                  </a:lnTo>
                  <a:lnTo>
                    <a:pt x="468" y="266"/>
                  </a:lnTo>
                  <a:lnTo>
                    <a:pt x="460" y="276"/>
                  </a:lnTo>
                  <a:lnTo>
                    <a:pt x="447" y="304"/>
                  </a:lnTo>
                  <a:lnTo>
                    <a:pt x="438" y="311"/>
                  </a:lnTo>
                  <a:lnTo>
                    <a:pt x="433" y="309"/>
                  </a:lnTo>
                  <a:lnTo>
                    <a:pt x="427" y="316"/>
                  </a:lnTo>
                  <a:lnTo>
                    <a:pt x="402" y="336"/>
                  </a:lnTo>
                  <a:lnTo>
                    <a:pt x="404" y="339"/>
                  </a:lnTo>
                  <a:lnTo>
                    <a:pt x="410" y="341"/>
                  </a:lnTo>
                  <a:lnTo>
                    <a:pt x="411" y="350"/>
                  </a:lnTo>
                  <a:lnTo>
                    <a:pt x="411" y="358"/>
                  </a:lnTo>
                  <a:lnTo>
                    <a:pt x="422" y="363"/>
                  </a:lnTo>
                  <a:lnTo>
                    <a:pt x="417" y="381"/>
                  </a:lnTo>
                  <a:lnTo>
                    <a:pt x="411" y="377"/>
                  </a:lnTo>
                  <a:lnTo>
                    <a:pt x="409" y="381"/>
                  </a:lnTo>
                  <a:lnTo>
                    <a:pt x="407" y="393"/>
                  </a:lnTo>
                  <a:lnTo>
                    <a:pt x="404" y="401"/>
                  </a:lnTo>
                  <a:lnTo>
                    <a:pt x="399" y="402"/>
                  </a:lnTo>
                  <a:lnTo>
                    <a:pt x="398" y="407"/>
                  </a:lnTo>
                  <a:lnTo>
                    <a:pt x="398" y="412"/>
                  </a:lnTo>
                  <a:lnTo>
                    <a:pt x="396" y="416"/>
                  </a:lnTo>
                  <a:lnTo>
                    <a:pt x="394" y="417"/>
                  </a:lnTo>
                  <a:lnTo>
                    <a:pt x="390" y="420"/>
                  </a:lnTo>
                  <a:lnTo>
                    <a:pt x="387" y="433"/>
                  </a:lnTo>
                  <a:lnTo>
                    <a:pt x="374" y="441"/>
                  </a:lnTo>
                  <a:lnTo>
                    <a:pt x="371" y="441"/>
                  </a:lnTo>
                  <a:lnTo>
                    <a:pt x="361" y="447"/>
                  </a:lnTo>
                  <a:lnTo>
                    <a:pt x="324" y="465"/>
                  </a:lnTo>
                  <a:lnTo>
                    <a:pt x="315" y="467"/>
                  </a:lnTo>
                  <a:lnTo>
                    <a:pt x="310" y="443"/>
                  </a:lnTo>
                  <a:lnTo>
                    <a:pt x="308" y="433"/>
                  </a:lnTo>
                  <a:lnTo>
                    <a:pt x="304" y="430"/>
                  </a:lnTo>
                  <a:lnTo>
                    <a:pt x="301" y="430"/>
                  </a:lnTo>
                  <a:lnTo>
                    <a:pt x="293" y="423"/>
                  </a:lnTo>
                  <a:lnTo>
                    <a:pt x="280" y="423"/>
                  </a:lnTo>
                  <a:lnTo>
                    <a:pt x="271" y="427"/>
                  </a:lnTo>
                  <a:lnTo>
                    <a:pt x="262" y="428"/>
                  </a:lnTo>
                  <a:lnTo>
                    <a:pt x="260" y="423"/>
                  </a:lnTo>
                  <a:lnTo>
                    <a:pt x="259" y="414"/>
                  </a:lnTo>
                  <a:lnTo>
                    <a:pt x="240" y="414"/>
                  </a:lnTo>
                  <a:lnTo>
                    <a:pt x="229" y="407"/>
                  </a:lnTo>
                  <a:lnTo>
                    <a:pt x="223" y="404"/>
                  </a:lnTo>
                  <a:lnTo>
                    <a:pt x="221" y="408"/>
                  </a:lnTo>
                  <a:lnTo>
                    <a:pt x="222" y="413"/>
                  </a:lnTo>
                  <a:lnTo>
                    <a:pt x="213" y="419"/>
                  </a:lnTo>
                  <a:lnTo>
                    <a:pt x="201" y="424"/>
                  </a:lnTo>
                  <a:lnTo>
                    <a:pt x="194" y="425"/>
                  </a:lnTo>
                  <a:lnTo>
                    <a:pt x="183" y="423"/>
                  </a:lnTo>
                  <a:lnTo>
                    <a:pt x="174" y="427"/>
                  </a:lnTo>
                  <a:lnTo>
                    <a:pt x="168" y="428"/>
                  </a:lnTo>
                  <a:lnTo>
                    <a:pt x="163" y="430"/>
                  </a:lnTo>
                  <a:lnTo>
                    <a:pt x="160" y="430"/>
                  </a:lnTo>
                  <a:lnTo>
                    <a:pt x="158" y="412"/>
                  </a:lnTo>
                  <a:lnTo>
                    <a:pt x="151" y="391"/>
                  </a:lnTo>
                  <a:lnTo>
                    <a:pt x="146" y="398"/>
                  </a:lnTo>
                  <a:lnTo>
                    <a:pt x="143" y="401"/>
                  </a:lnTo>
                  <a:lnTo>
                    <a:pt x="133" y="397"/>
                  </a:lnTo>
                  <a:lnTo>
                    <a:pt x="129" y="398"/>
                  </a:lnTo>
                  <a:lnTo>
                    <a:pt x="124" y="403"/>
                  </a:lnTo>
                  <a:lnTo>
                    <a:pt x="119" y="404"/>
                  </a:lnTo>
                  <a:lnTo>
                    <a:pt x="110" y="406"/>
                  </a:lnTo>
                  <a:lnTo>
                    <a:pt x="104" y="403"/>
                  </a:lnTo>
                  <a:lnTo>
                    <a:pt x="94" y="404"/>
                  </a:lnTo>
                  <a:lnTo>
                    <a:pt x="84" y="397"/>
                  </a:lnTo>
                  <a:lnTo>
                    <a:pt x="81" y="400"/>
                  </a:lnTo>
                  <a:lnTo>
                    <a:pt x="73" y="401"/>
                  </a:lnTo>
                  <a:lnTo>
                    <a:pt x="70" y="387"/>
                  </a:lnTo>
                  <a:lnTo>
                    <a:pt x="71" y="377"/>
                  </a:lnTo>
                  <a:lnTo>
                    <a:pt x="67" y="373"/>
                  </a:lnTo>
                  <a:lnTo>
                    <a:pt x="62" y="353"/>
                  </a:lnTo>
                  <a:lnTo>
                    <a:pt x="56" y="341"/>
                  </a:lnTo>
                  <a:lnTo>
                    <a:pt x="56" y="336"/>
                  </a:lnTo>
                  <a:lnTo>
                    <a:pt x="59" y="333"/>
                  </a:lnTo>
                  <a:lnTo>
                    <a:pt x="60" y="325"/>
                  </a:lnTo>
                  <a:lnTo>
                    <a:pt x="57" y="314"/>
                  </a:lnTo>
                  <a:lnTo>
                    <a:pt x="55" y="305"/>
                  </a:lnTo>
                  <a:lnTo>
                    <a:pt x="45" y="288"/>
                  </a:lnTo>
                  <a:lnTo>
                    <a:pt x="43" y="283"/>
                  </a:lnTo>
                  <a:lnTo>
                    <a:pt x="39" y="278"/>
                  </a:lnTo>
                  <a:lnTo>
                    <a:pt x="29" y="274"/>
                  </a:lnTo>
                  <a:lnTo>
                    <a:pt x="23" y="268"/>
                  </a:lnTo>
                  <a:lnTo>
                    <a:pt x="18" y="268"/>
                  </a:lnTo>
                  <a:lnTo>
                    <a:pt x="13" y="264"/>
                  </a:lnTo>
                  <a:lnTo>
                    <a:pt x="12" y="253"/>
                  </a:lnTo>
                  <a:lnTo>
                    <a:pt x="11" y="233"/>
                  </a:lnTo>
                  <a:lnTo>
                    <a:pt x="6" y="223"/>
                  </a:lnTo>
                  <a:lnTo>
                    <a:pt x="2" y="219"/>
                  </a:lnTo>
                  <a:lnTo>
                    <a:pt x="1" y="214"/>
                  </a:lnTo>
                  <a:lnTo>
                    <a:pt x="0" y="196"/>
                  </a:lnTo>
                  <a:lnTo>
                    <a:pt x="1" y="182"/>
                  </a:lnTo>
                  <a:lnTo>
                    <a:pt x="7" y="163"/>
                  </a:lnTo>
                  <a:lnTo>
                    <a:pt x="12" y="154"/>
                  </a:lnTo>
                  <a:lnTo>
                    <a:pt x="19" y="145"/>
                  </a:lnTo>
                  <a:lnTo>
                    <a:pt x="25" y="134"/>
                  </a:lnTo>
                  <a:lnTo>
                    <a:pt x="33" y="129"/>
                  </a:lnTo>
                  <a:lnTo>
                    <a:pt x="33" y="134"/>
                  </a:lnTo>
                  <a:lnTo>
                    <a:pt x="60" y="174"/>
                  </a:lnTo>
                  <a:lnTo>
                    <a:pt x="73" y="185"/>
                  </a:lnTo>
                  <a:lnTo>
                    <a:pt x="87" y="188"/>
                  </a:lnTo>
                  <a:lnTo>
                    <a:pt x="99" y="185"/>
                  </a:lnTo>
                  <a:lnTo>
                    <a:pt x="110" y="183"/>
                  </a:lnTo>
                  <a:lnTo>
                    <a:pt x="120" y="190"/>
                  </a:lnTo>
                  <a:lnTo>
                    <a:pt x="129" y="186"/>
                  </a:lnTo>
                  <a:lnTo>
                    <a:pt x="138" y="186"/>
                  </a:lnTo>
                  <a:lnTo>
                    <a:pt x="148" y="187"/>
                  </a:lnTo>
                  <a:lnTo>
                    <a:pt x="156" y="183"/>
                  </a:lnTo>
                  <a:lnTo>
                    <a:pt x="172" y="165"/>
                  </a:lnTo>
                  <a:lnTo>
                    <a:pt x="179" y="156"/>
                  </a:lnTo>
                  <a:lnTo>
                    <a:pt x="184" y="155"/>
                  </a:lnTo>
                  <a:lnTo>
                    <a:pt x="211" y="156"/>
                  </a:lnTo>
                  <a:lnTo>
                    <a:pt x="216" y="159"/>
                  </a:lnTo>
                  <a:lnTo>
                    <a:pt x="217" y="166"/>
                  </a:lnTo>
                  <a:lnTo>
                    <a:pt x="222" y="166"/>
                  </a:lnTo>
                  <a:lnTo>
                    <a:pt x="243" y="174"/>
                  </a:lnTo>
                  <a:lnTo>
                    <a:pt x="253" y="174"/>
                  </a:lnTo>
                  <a:lnTo>
                    <a:pt x="264" y="167"/>
                  </a:lnTo>
                  <a:lnTo>
                    <a:pt x="273" y="165"/>
                  </a:lnTo>
                  <a:lnTo>
                    <a:pt x="285" y="163"/>
                  </a:lnTo>
                  <a:lnTo>
                    <a:pt x="298" y="159"/>
                  </a:lnTo>
                  <a:lnTo>
                    <a:pt x="304" y="154"/>
                  </a:lnTo>
                  <a:lnTo>
                    <a:pt x="308" y="147"/>
                  </a:lnTo>
                  <a:lnTo>
                    <a:pt x="315" y="135"/>
                  </a:lnTo>
                  <a:lnTo>
                    <a:pt x="324" y="117"/>
                  </a:lnTo>
                  <a:lnTo>
                    <a:pt x="330" y="90"/>
                  </a:lnTo>
                  <a:lnTo>
                    <a:pt x="356" y="61"/>
                  </a:lnTo>
                  <a:lnTo>
                    <a:pt x="361" y="49"/>
                  </a:lnTo>
                  <a:lnTo>
                    <a:pt x="363" y="27"/>
                  </a:lnTo>
                  <a:lnTo>
                    <a:pt x="369" y="10"/>
                  </a:lnTo>
                  <a:lnTo>
                    <a:pt x="375" y="2"/>
                  </a:lnTo>
                  <a:lnTo>
                    <a:pt x="394" y="0"/>
                  </a:lnTo>
                  <a:lnTo>
                    <a:pt x="445" y="2"/>
                  </a:lnTo>
                  <a:lnTo>
                    <a:pt x="454" y="7"/>
                  </a:lnTo>
                  <a:lnTo>
                    <a:pt x="468" y="11"/>
                  </a:lnTo>
                  <a:lnTo>
                    <a:pt x="472" y="1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71" name="Freeform 67">
              <a:extLst>
                <a:ext uri="{FF2B5EF4-FFF2-40B4-BE49-F238E27FC236}">
                  <a16:creationId xmlns:a16="http://schemas.microsoft.com/office/drawing/2014/main" id="{3F00F40D-87C0-02F7-E9CB-4D6D7E0C695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0115888" y="4470554"/>
              <a:ext cx="117895" cy="67066"/>
            </a:xfrm>
            <a:custGeom>
              <a:avLst/>
              <a:gdLst>
                <a:gd name="T0" fmla="*/ 0 w 223"/>
                <a:gd name="T1" fmla="*/ 0 h 117"/>
                <a:gd name="T2" fmla="*/ 0 w 223"/>
                <a:gd name="T3" fmla="*/ 0 h 117"/>
                <a:gd name="T4" fmla="*/ 0 w 223"/>
                <a:gd name="T5" fmla="*/ 0 h 117"/>
                <a:gd name="T6" fmla="*/ 2147483647 w 223"/>
                <a:gd name="T7" fmla="*/ 2147483647 h 117"/>
                <a:gd name="T8" fmla="*/ 2147483647 w 223"/>
                <a:gd name="T9" fmla="*/ 0 h 117"/>
                <a:gd name="T10" fmla="*/ 2147483647 w 223"/>
                <a:gd name="T11" fmla="*/ 0 h 117"/>
                <a:gd name="T12" fmla="*/ 2147483647 w 223"/>
                <a:gd name="T13" fmla="*/ 0 h 117"/>
                <a:gd name="T14" fmla="*/ 2147483647 w 223"/>
                <a:gd name="T15" fmla="*/ 0 h 117"/>
                <a:gd name="T16" fmla="*/ 2147483647 w 223"/>
                <a:gd name="T17" fmla="*/ 0 h 117"/>
                <a:gd name="T18" fmla="*/ 2147483647 w 223"/>
                <a:gd name="T19" fmla="*/ 0 h 117"/>
                <a:gd name="T20" fmla="*/ 2147483647 w 223"/>
                <a:gd name="T21" fmla="*/ 0 h 117"/>
                <a:gd name="T22" fmla="*/ 2147483647 w 223"/>
                <a:gd name="T23" fmla="*/ 0 h 117"/>
                <a:gd name="T24" fmla="*/ 2147483647 w 223"/>
                <a:gd name="T25" fmla="*/ 0 h 117"/>
                <a:gd name="T26" fmla="*/ 2147483647 w 223"/>
                <a:gd name="T27" fmla="*/ 0 h 117"/>
                <a:gd name="T28" fmla="*/ 2147483647 w 223"/>
                <a:gd name="T29" fmla="*/ 0 h 117"/>
                <a:gd name="T30" fmla="*/ 2147483647 w 223"/>
                <a:gd name="T31" fmla="*/ 0 h 117"/>
                <a:gd name="T32" fmla="*/ 2147483647 w 223"/>
                <a:gd name="T33" fmla="*/ 0 h 117"/>
                <a:gd name="T34" fmla="*/ 2147483647 w 223"/>
                <a:gd name="T35" fmla="*/ 0 h 117"/>
                <a:gd name="T36" fmla="*/ 2147483647 w 223"/>
                <a:gd name="T37" fmla="*/ 0 h 117"/>
                <a:gd name="T38" fmla="*/ 2147483647 w 223"/>
                <a:gd name="T39" fmla="*/ 0 h 117"/>
                <a:gd name="T40" fmla="*/ 2147483647 w 223"/>
                <a:gd name="T41" fmla="*/ 0 h 117"/>
                <a:gd name="T42" fmla="*/ 2147483647 w 223"/>
                <a:gd name="T43" fmla="*/ 0 h 117"/>
                <a:gd name="T44" fmla="*/ 2147483647 w 223"/>
                <a:gd name="T45" fmla="*/ 0 h 117"/>
                <a:gd name="T46" fmla="*/ 2147483647 w 223"/>
                <a:gd name="T47" fmla="*/ 0 h 117"/>
                <a:gd name="T48" fmla="*/ 2147483647 w 223"/>
                <a:gd name="T49" fmla="*/ 0 h 117"/>
                <a:gd name="T50" fmla="*/ 2147483647 w 223"/>
                <a:gd name="T51" fmla="*/ 0 h 117"/>
                <a:gd name="T52" fmla="*/ 2147483647 w 223"/>
                <a:gd name="T53" fmla="*/ 0 h 117"/>
                <a:gd name="T54" fmla="*/ 2147483647 w 223"/>
                <a:gd name="T55" fmla="*/ 0 h 117"/>
                <a:gd name="T56" fmla="*/ 2147483647 w 223"/>
                <a:gd name="T57" fmla="*/ 0 h 117"/>
                <a:gd name="T58" fmla="*/ 2147483647 w 223"/>
                <a:gd name="T59" fmla="*/ 0 h 117"/>
                <a:gd name="T60" fmla="*/ 2147483647 w 223"/>
                <a:gd name="T61" fmla="*/ 0 h 117"/>
                <a:gd name="T62" fmla="*/ 2147483647 w 223"/>
                <a:gd name="T63" fmla="*/ 0 h 117"/>
                <a:gd name="T64" fmla="*/ 2147483647 w 223"/>
                <a:gd name="T65" fmla="*/ 0 h 117"/>
                <a:gd name="T66" fmla="*/ 2147483647 w 223"/>
                <a:gd name="T67" fmla="*/ 0 h 117"/>
                <a:gd name="T68" fmla="*/ 2147483647 w 223"/>
                <a:gd name="T69" fmla="*/ 0 h 117"/>
                <a:gd name="T70" fmla="*/ 2147483647 w 223"/>
                <a:gd name="T71" fmla="*/ 0 h 117"/>
                <a:gd name="T72" fmla="*/ 2147483647 w 223"/>
                <a:gd name="T73" fmla="*/ 0 h 117"/>
                <a:gd name="T74" fmla="*/ 2147483647 w 223"/>
                <a:gd name="T75" fmla="*/ 0 h 117"/>
                <a:gd name="T76" fmla="*/ 2147483647 w 223"/>
                <a:gd name="T77" fmla="*/ 0 h 117"/>
                <a:gd name="T78" fmla="*/ 2147483647 w 223"/>
                <a:gd name="T79" fmla="*/ 0 h 117"/>
                <a:gd name="T80" fmla="*/ 2147483647 w 223"/>
                <a:gd name="T81" fmla="*/ 0 h 117"/>
                <a:gd name="T82" fmla="*/ 2147483647 w 223"/>
                <a:gd name="T83" fmla="*/ 2147483647 h 117"/>
                <a:gd name="T84" fmla="*/ 2147483647 w 223"/>
                <a:gd name="T85" fmla="*/ 0 h 117"/>
                <a:gd name="T86" fmla="*/ 2147483647 w 223"/>
                <a:gd name="T87" fmla="*/ 2147483647 h 117"/>
                <a:gd name="T88" fmla="*/ 2147483647 w 223"/>
                <a:gd name="T89" fmla="*/ 2147483647 h 117"/>
                <a:gd name="T90" fmla="*/ 2147483647 w 223"/>
                <a:gd name="T91" fmla="*/ 2147483647 h 117"/>
                <a:gd name="T92" fmla="*/ 2147483647 w 223"/>
                <a:gd name="T93" fmla="*/ 2147483647 h 117"/>
                <a:gd name="T94" fmla="*/ 2147483647 w 223"/>
                <a:gd name="T95" fmla="*/ 2147483647 h 117"/>
                <a:gd name="T96" fmla="*/ 2147483647 w 223"/>
                <a:gd name="T97" fmla="*/ 2147483647 h 117"/>
                <a:gd name="T98" fmla="*/ 2147483647 w 223"/>
                <a:gd name="T99" fmla="*/ 2147483647 h 117"/>
                <a:gd name="T100" fmla="*/ 2147483647 w 223"/>
                <a:gd name="T101" fmla="*/ 2147483647 h 117"/>
                <a:gd name="T102" fmla="*/ 2147483647 w 223"/>
                <a:gd name="T103" fmla="*/ 2147483647 h 117"/>
                <a:gd name="T104" fmla="*/ 2147483647 w 223"/>
                <a:gd name="T105" fmla="*/ 2147483647 h 117"/>
                <a:gd name="T106" fmla="*/ 2147483647 w 223"/>
                <a:gd name="T107" fmla="*/ 2147483647 h 117"/>
                <a:gd name="T108" fmla="*/ 0 w 223"/>
                <a:gd name="T109" fmla="*/ 2147483647 h 117"/>
                <a:gd name="T110" fmla="*/ 0 w 223"/>
                <a:gd name="T111" fmla="*/ 2147483647 h 117"/>
                <a:gd name="T112" fmla="*/ 0 w 223"/>
                <a:gd name="T113" fmla="*/ 2147483647 h 117"/>
                <a:gd name="T114" fmla="*/ 0 w 223"/>
                <a:gd name="T115" fmla="*/ 2147483647 h 117"/>
                <a:gd name="T116" fmla="*/ 0 w 223"/>
                <a:gd name="T117" fmla="*/ 0 h 11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23"/>
                <a:gd name="T178" fmla="*/ 0 h 117"/>
                <a:gd name="T179" fmla="*/ 223 w 223"/>
                <a:gd name="T180" fmla="*/ 117 h 117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23" h="117">
                  <a:moveTo>
                    <a:pt x="0" y="73"/>
                  </a:moveTo>
                  <a:lnTo>
                    <a:pt x="5" y="69"/>
                  </a:lnTo>
                  <a:lnTo>
                    <a:pt x="11" y="72"/>
                  </a:lnTo>
                  <a:lnTo>
                    <a:pt x="50" y="75"/>
                  </a:lnTo>
                  <a:lnTo>
                    <a:pt x="81" y="73"/>
                  </a:lnTo>
                  <a:lnTo>
                    <a:pt x="88" y="69"/>
                  </a:lnTo>
                  <a:lnTo>
                    <a:pt x="88" y="62"/>
                  </a:lnTo>
                  <a:lnTo>
                    <a:pt x="89" y="58"/>
                  </a:lnTo>
                  <a:lnTo>
                    <a:pt x="93" y="51"/>
                  </a:lnTo>
                  <a:lnTo>
                    <a:pt x="98" y="47"/>
                  </a:lnTo>
                  <a:lnTo>
                    <a:pt x="102" y="49"/>
                  </a:lnTo>
                  <a:lnTo>
                    <a:pt x="97" y="58"/>
                  </a:lnTo>
                  <a:lnTo>
                    <a:pt x="96" y="68"/>
                  </a:lnTo>
                  <a:lnTo>
                    <a:pt x="102" y="72"/>
                  </a:lnTo>
                  <a:lnTo>
                    <a:pt x="110" y="69"/>
                  </a:lnTo>
                  <a:lnTo>
                    <a:pt x="119" y="69"/>
                  </a:lnTo>
                  <a:lnTo>
                    <a:pt x="126" y="73"/>
                  </a:lnTo>
                  <a:lnTo>
                    <a:pt x="135" y="72"/>
                  </a:lnTo>
                  <a:lnTo>
                    <a:pt x="142" y="69"/>
                  </a:lnTo>
                  <a:lnTo>
                    <a:pt x="160" y="47"/>
                  </a:lnTo>
                  <a:lnTo>
                    <a:pt x="169" y="41"/>
                  </a:lnTo>
                  <a:lnTo>
                    <a:pt x="175" y="42"/>
                  </a:lnTo>
                  <a:lnTo>
                    <a:pt x="184" y="37"/>
                  </a:lnTo>
                  <a:lnTo>
                    <a:pt x="185" y="27"/>
                  </a:lnTo>
                  <a:lnTo>
                    <a:pt x="183" y="18"/>
                  </a:lnTo>
                  <a:lnTo>
                    <a:pt x="179" y="9"/>
                  </a:lnTo>
                  <a:lnTo>
                    <a:pt x="179" y="4"/>
                  </a:lnTo>
                  <a:lnTo>
                    <a:pt x="188" y="2"/>
                  </a:lnTo>
                  <a:lnTo>
                    <a:pt x="195" y="5"/>
                  </a:lnTo>
                  <a:lnTo>
                    <a:pt x="201" y="5"/>
                  </a:lnTo>
                  <a:lnTo>
                    <a:pt x="204" y="3"/>
                  </a:lnTo>
                  <a:lnTo>
                    <a:pt x="210" y="0"/>
                  </a:lnTo>
                  <a:lnTo>
                    <a:pt x="217" y="4"/>
                  </a:lnTo>
                  <a:lnTo>
                    <a:pt x="222" y="14"/>
                  </a:lnTo>
                  <a:lnTo>
                    <a:pt x="223" y="27"/>
                  </a:lnTo>
                  <a:lnTo>
                    <a:pt x="221" y="36"/>
                  </a:lnTo>
                  <a:lnTo>
                    <a:pt x="216" y="42"/>
                  </a:lnTo>
                  <a:lnTo>
                    <a:pt x="210" y="45"/>
                  </a:lnTo>
                  <a:lnTo>
                    <a:pt x="206" y="52"/>
                  </a:lnTo>
                  <a:lnTo>
                    <a:pt x="210" y="63"/>
                  </a:lnTo>
                  <a:lnTo>
                    <a:pt x="204" y="74"/>
                  </a:lnTo>
                  <a:lnTo>
                    <a:pt x="195" y="77"/>
                  </a:lnTo>
                  <a:lnTo>
                    <a:pt x="183" y="74"/>
                  </a:lnTo>
                  <a:lnTo>
                    <a:pt x="179" y="79"/>
                  </a:lnTo>
                  <a:lnTo>
                    <a:pt x="178" y="86"/>
                  </a:lnTo>
                  <a:lnTo>
                    <a:pt x="167" y="97"/>
                  </a:lnTo>
                  <a:lnTo>
                    <a:pt x="142" y="110"/>
                  </a:lnTo>
                  <a:lnTo>
                    <a:pt x="132" y="112"/>
                  </a:lnTo>
                  <a:lnTo>
                    <a:pt x="121" y="115"/>
                  </a:lnTo>
                  <a:lnTo>
                    <a:pt x="102" y="115"/>
                  </a:lnTo>
                  <a:lnTo>
                    <a:pt x="91" y="117"/>
                  </a:lnTo>
                  <a:lnTo>
                    <a:pt x="77" y="117"/>
                  </a:lnTo>
                  <a:lnTo>
                    <a:pt x="66" y="106"/>
                  </a:lnTo>
                  <a:lnTo>
                    <a:pt x="59" y="106"/>
                  </a:lnTo>
                  <a:lnTo>
                    <a:pt x="48" y="110"/>
                  </a:lnTo>
                  <a:lnTo>
                    <a:pt x="27" y="96"/>
                  </a:lnTo>
                  <a:lnTo>
                    <a:pt x="12" y="92"/>
                  </a:lnTo>
                  <a:lnTo>
                    <a:pt x="4" y="84"/>
                  </a:lnTo>
                  <a:lnTo>
                    <a:pt x="0" y="7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72" name="Freeform 68">
              <a:extLst>
                <a:ext uri="{FF2B5EF4-FFF2-40B4-BE49-F238E27FC236}">
                  <a16:creationId xmlns:a16="http://schemas.microsoft.com/office/drawing/2014/main" id="{9570BDE5-4C0F-131C-B478-6BF5EAAD6B4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899498" y="4421779"/>
              <a:ext cx="291007" cy="253020"/>
            </a:xfrm>
            <a:custGeom>
              <a:avLst/>
              <a:gdLst>
                <a:gd name="T0" fmla="*/ 0 w 544"/>
                <a:gd name="T1" fmla="*/ 2147483647 h 446"/>
                <a:gd name="T2" fmla="*/ 0 w 544"/>
                <a:gd name="T3" fmla="*/ 2147483647 h 446"/>
                <a:gd name="T4" fmla="*/ 0 w 544"/>
                <a:gd name="T5" fmla="*/ 2147483647 h 446"/>
                <a:gd name="T6" fmla="*/ 0 w 544"/>
                <a:gd name="T7" fmla="*/ 2147483647 h 446"/>
                <a:gd name="T8" fmla="*/ 2147483647 w 544"/>
                <a:gd name="T9" fmla="*/ 2147483647 h 446"/>
                <a:gd name="T10" fmla="*/ 2147483647 w 544"/>
                <a:gd name="T11" fmla="*/ 2147483647 h 446"/>
                <a:gd name="T12" fmla="*/ 2147483647 w 544"/>
                <a:gd name="T13" fmla="*/ 2147483647 h 446"/>
                <a:gd name="T14" fmla="*/ 2147483647 w 544"/>
                <a:gd name="T15" fmla="*/ 2147483647 h 446"/>
                <a:gd name="T16" fmla="*/ 2147483647 w 544"/>
                <a:gd name="T17" fmla="*/ 2147483647 h 446"/>
                <a:gd name="T18" fmla="*/ 2147483647 w 544"/>
                <a:gd name="T19" fmla="*/ 2147483647 h 446"/>
                <a:gd name="T20" fmla="*/ 2147483647 w 544"/>
                <a:gd name="T21" fmla="*/ 2147483647 h 446"/>
                <a:gd name="T22" fmla="*/ 2147483647 w 544"/>
                <a:gd name="T23" fmla="*/ 2147483647 h 446"/>
                <a:gd name="T24" fmla="*/ 2147483647 w 544"/>
                <a:gd name="T25" fmla="*/ 2147483647 h 446"/>
                <a:gd name="T26" fmla="*/ 2147483647 w 544"/>
                <a:gd name="T27" fmla="*/ 2147483647 h 446"/>
                <a:gd name="T28" fmla="*/ 2147483647 w 544"/>
                <a:gd name="T29" fmla="*/ 2147483647 h 446"/>
                <a:gd name="T30" fmla="*/ 2147483647 w 544"/>
                <a:gd name="T31" fmla="*/ 2147483647 h 446"/>
                <a:gd name="T32" fmla="*/ 2147483647 w 544"/>
                <a:gd name="T33" fmla="*/ 2147483647 h 446"/>
                <a:gd name="T34" fmla="*/ 2147483647 w 544"/>
                <a:gd name="T35" fmla="*/ 2147483647 h 446"/>
                <a:gd name="T36" fmla="*/ 2147483647 w 544"/>
                <a:gd name="T37" fmla="*/ 2147483647 h 446"/>
                <a:gd name="T38" fmla="*/ 2147483647 w 544"/>
                <a:gd name="T39" fmla="*/ 2147483647 h 446"/>
                <a:gd name="T40" fmla="*/ 2147483647 w 544"/>
                <a:gd name="T41" fmla="*/ 2147483647 h 446"/>
                <a:gd name="T42" fmla="*/ 2147483647 w 544"/>
                <a:gd name="T43" fmla="*/ 2147483647 h 446"/>
                <a:gd name="T44" fmla="*/ 2147483647 w 544"/>
                <a:gd name="T45" fmla="*/ 2147483647 h 446"/>
                <a:gd name="T46" fmla="*/ 2147483647 w 544"/>
                <a:gd name="T47" fmla="*/ 2147483647 h 446"/>
                <a:gd name="T48" fmla="*/ 2147483647 w 544"/>
                <a:gd name="T49" fmla="*/ 2147483647 h 446"/>
                <a:gd name="T50" fmla="*/ 2147483647 w 544"/>
                <a:gd name="T51" fmla="*/ 2147483647 h 446"/>
                <a:gd name="T52" fmla="*/ 2147483647 w 544"/>
                <a:gd name="T53" fmla="*/ 2147483647 h 446"/>
                <a:gd name="T54" fmla="*/ 2147483647 w 544"/>
                <a:gd name="T55" fmla="*/ 2147483647 h 446"/>
                <a:gd name="T56" fmla="*/ 2147483647 w 544"/>
                <a:gd name="T57" fmla="*/ 2147483647 h 446"/>
                <a:gd name="T58" fmla="*/ 2147483647 w 544"/>
                <a:gd name="T59" fmla="*/ 2147483647 h 446"/>
                <a:gd name="T60" fmla="*/ 2147483647 w 544"/>
                <a:gd name="T61" fmla="*/ 2147483647 h 446"/>
                <a:gd name="T62" fmla="*/ 2147483647 w 544"/>
                <a:gd name="T63" fmla="*/ 2147483647 h 446"/>
                <a:gd name="T64" fmla="*/ 2147483647 w 544"/>
                <a:gd name="T65" fmla="*/ 2147483647 h 446"/>
                <a:gd name="T66" fmla="*/ 2147483647 w 544"/>
                <a:gd name="T67" fmla="*/ 2147483647 h 446"/>
                <a:gd name="T68" fmla="*/ 2147483647 w 544"/>
                <a:gd name="T69" fmla="*/ 2147483647 h 446"/>
                <a:gd name="T70" fmla="*/ 2147483647 w 544"/>
                <a:gd name="T71" fmla="*/ 2147483647 h 446"/>
                <a:gd name="T72" fmla="*/ 2147483647 w 544"/>
                <a:gd name="T73" fmla="*/ 2147483647 h 446"/>
                <a:gd name="T74" fmla="*/ 2147483647 w 544"/>
                <a:gd name="T75" fmla="*/ 2147483647 h 446"/>
                <a:gd name="T76" fmla="*/ 2147483647 w 544"/>
                <a:gd name="T77" fmla="*/ 2147483647 h 446"/>
                <a:gd name="T78" fmla="*/ 2147483647 w 544"/>
                <a:gd name="T79" fmla="*/ 2147483647 h 446"/>
                <a:gd name="T80" fmla="*/ 2147483647 w 544"/>
                <a:gd name="T81" fmla="*/ 2147483647 h 446"/>
                <a:gd name="T82" fmla="*/ 2147483647 w 544"/>
                <a:gd name="T83" fmla="*/ 2147483647 h 446"/>
                <a:gd name="T84" fmla="*/ 2147483647 w 544"/>
                <a:gd name="T85" fmla="*/ 0 h 446"/>
                <a:gd name="T86" fmla="*/ 2147483647 w 544"/>
                <a:gd name="T87" fmla="*/ 0 h 446"/>
                <a:gd name="T88" fmla="*/ 2147483647 w 544"/>
                <a:gd name="T89" fmla="*/ 0 h 446"/>
                <a:gd name="T90" fmla="*/ 0 w 544"/>
                <a:gd name="T91" fmla="*/ 0 h 446"/>
                <a:gd name="T92" fmla="*/ 0 w 544"/>
                <a:gd name="T93" fmla="*/ 0 h 44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44"/>
                <a:gd name="T142" fmla="*/ 0 h 446"/>
                <a:gd name="T143" fmla="*/ 544 w 544"/>
                <a:gd name="T144" fmla="*/ 446 h 44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44" h="446">
                  <a:moveTo>
                    <a:pt x="1" y="0"/>
                  </a:moveTo>
                  <a:lnTo>
                    <a:pt x="0" y="9"/>
                  </a:lnTo>
                  <a:lnTo>
                    <a:pt x="5" y="134"/>
                  </a:lnTo>
                  <a:lnTo>
                    <a:pt x="5" y="206"/>
                  </a:lnTo>
                  <a:lnTo>
                    <a:pt x="1" y="227"/>
                  </a:lnTo>
                  <a:lnTo>
                    <a:pt x="0" y="231"/>
                  </a:lnTo>
                  <a:lnTo>
                    <a:pt x="7" y="248"/>
                  </a:lnTo>
                  <a:lnTo>
                    <a:pt x="7" y="289"/>
                  </a:lnTo>
                  <a:lnTo>
                    <a:pt x="10" y="346"/>
                  </a:lnTo>
                  <a:lnTo>
                    <a:pt x="13" y="360"/>
                  </a:lnTo>
                  <a:lnTo>
                    <a:pt x="26" y="359"/>
                  </a:lnTo>
                  <a:lnTo>
                    <a:pt x="31" y="362"/>
                  </a:lnTo>
                  <a:lnTo>
                    <a:pt x="39" y="365"/>
                  </a:lnTo>
                  <a:lnTo>
                    <a:pt x="48" y="365"/>
                  </a:lnTo>
                  <a:lnTo>
                    <a:pt x="56" y="362"/>
                  </a:lnTo>
                  <a:lnTo>
                    <a:pt x="72" y="362"/>
                  </a:lnTo>
                  <a:lnTo>
                    <a:pt x="77" y="362"/>
                  </a:lnTo>
                  <a:lnTo>
                    <a:pt x="93" y="368"/>
                  </a:lnTo>
                  <a:lnTo>
                    <a:pt x="99" y="366"/>
                  </a:lnTo>
                  <a:lnTo>
                    <a:pt x="114" y="356"/>
                  </a:lnTo>
                  <a:lnTo>
                    <a:pt x="125" y="352"/>
                  </a:lnTo>
                  <a:lnTo>
                    <a:pt x="130" y="346"/>
                  </a:lnTo>
                  <a:lnTo>
                    <a:pt x="124" y="330"/>
                  </a:lnTo>
                  <a:lnTo>
                    <a:pt x="118" y="323"/>
                  </a:lnTo>
                  <a:lnTo>
                    <a:pt x="112" y="317"/>
                  </a:lnTo>
                  <a:lnTo>
                    <a:pt x="131" y="312"/>
                  </a:lnTo>
                  <a:lnTo>
                    <a:pt x="137" y="307"/>
                  </a:lnTo>
                  <a:lnTo>
                    <a:pt x="135" y="302"/>
                  </a:lnTo>
                  <a:lnTo>
                    <a:pt x="140" y="297"/>
                  </a:lnTo>
                  <a:lnTo>
                    <a:pt x="152" y="298"/>
                  </a:lnTo>
                  <a:lnTo>
                    <a:pt x="160" y="296"/>
                  </a:lnTo>
                  <a:lnTo>
                    <a:pt x="157" y="287"/>
                  </a:lnTo>
                  <a:lnTo>
                    <a:pt x="155" y="273"/>
                  </a:lnTo>
                  <a:lnTo>
                    <a:pt x="161" y="278"/>
                  </a:lnTo>
                  <a:lnTo>
                    <a:pt x="173" y="280"/>
                  </a:lnTo>
                  <a:lnTo>
                    <a:pt x="180" y="278"/>
                  </a:lnTo>
                  <a:lnTo>
                    <a:pt x="184" y="273"/>
                  </a:lnTo>
                  <a:lnTo>
                    <a:pt x="189" y="269"/>
                  </a:lnTo>
                  <a:lnTo>
                    <a:pt x="196" y="276"/>
                  </a:lnTo>
                  <a:lnTo>
                    <a:pt x="203" y="273"/>
                  </a:lnTo>
                  <a:lnTo>
                    <a:pt x="210" y="275"/>
                  </a:lnTo>
                  <a:lnTo>
                    <a:pt x="211" y="279"/>
                  </a:lnTo>
                  <a:lnTo>
                    <a:pt x="216" y="282"/>
                  </a:lnTo>
                  <a:lnTo>
                    <a:pt x="223" y="284"/>
                  </a:lnTo>
                  <a:lnTo>
                    <a:pt x="232" y="289"/>
                  </a:lnTo>
                  <a:lnTo>
                    <a:pt x="238" y="290"/>
                  </a:lnTo>
                  <a:lnTo>
                    <a:pt x="247" y="296"/>
                  </a:lnTo>
                  <a:lnTo>
                    <a:pt x="258" y="296"/>
                  </a:lnTo>
                  <a:lnTo>
                    <a:pt x="278" y="302"/>
                  </a:lnTo>
                  <a:lnTo>
                    <a:pt x="289" y="311"/>
                  </a:lnTo>
                  <a:lnTo>
                    <a:pt x="291" y="323"/>
                  </a:lnTo>
                  <a:lnTo>
                    <a:pt x="306" y="341"/>
                  </a:lnTo>
                  <a:lnTo>
                    <a:pt x="312" y="354"/>
                  </a:lnTo>
                  <a:lnTo>
                    <a:pt x="330" y="356"/>
                  </a:lnTo>
                  <a:lnTo>
                    <a:pt x="328" y="365"/>
                  </a:lnTo>
                  <a:lnTo>
                    <a:pt x="329" y="367"/>
                  </a:lnTo>
                  <a:lnTo>
                    <a:pt x="335" y="375"/>
                  </a:lnTo>
                  <a:lnTo>
                    <a:pt x="343" y="378"/>
                  </a:lnTo>
                  <a:lnTo>
                    <a:pt x="350" y="384"/>
                  </a:lnTo>
                  <a:lnTo>
                    <a:pt x="357" y="392"/>
                  </a:lnTo>
                  <a:lnTo>
                    <a:pt x="373" y="410"/>
                  </a:lnTo>
                  <a:lnTo>
                    <a:pt x="378" y="410"/>
                  </a:lnTo>
                  <a:lnTo>
                    <a:pt x="388" y="415"/>
                  </a:lnTo>
                  <a:lnTo>
                    <a:pt x="399" y="416"/>
                  </a:lnTo>
                  <a:lnTo>
                    <a:pt x="408" y="419"/>
                  </a:lnTo>
                  <a:lnTo>
                    <a:pt x="425" y="419"/>
                  </a:lnTo>
                  <a:lnTo>
                    <a:pt x="442" y="424"/>
                  </a:lnTo>
                  <a:lnTo>
                    <a:pt x="494" y="431"/>
                  </a:lnTo>
                  <a:lnTo>
                    <a:pt x="495" y="435"/>
                  </a:lnTo>
                  <a:lnTo>
                    <a:pt x="497" y="441"/>
                  </a:lnTo>
                  <a:lnTo>
                    <a:pt x="512" y="446"/>
                  </a:lnTo>
                  <a:lnTo>
                    <a:pt x="526" y="441"/>
                  </a:lnTo>
                  <a:lnTo>
                    <a:pt x="531" y="435"/>
                  </a:lnTo>
                  <a:lnTo>
                    <a:pt x="522" y="429"/>
                  </a:lnTo>
                  <a:lnTo>
                    <a:pt x="515" y="427"/>
                  </a:lnTo>
                  <a:lnTo>
                    <a:pt x="522" y="426"/>
                  </a:lnTo>
                  <a:lnTo>
                    <a:pt x="533" y="427"/>
                  </a:lnTo>
                  <a:lnTo>
                    <a:pt x="544" y="425"/>
                  </a:lnTo>
                  <a:lnTo>
                    <a:pt x="542" y="420"/>
                  </a:lnTo>
                  <a:lnTo>
                    <a:pt x="517" y="416"/>
                  </a:lnTo>
                  <a:lnTo>
                    <a:pt x="506" y="413"/>
                  </a:lnTo>
                  <a:lnTo>
                    <a:pt x="486" y="402"/>
                  </a:lnTo>
                  <a:lnTo>
                    <a:pt x="489" y="394"/>
                  </a:lnTo>
                  <a:lnTo>
                    <a:pt x="496" y="391"/>
                  </a:lnTo>
                  <a:lnTo>
                    <a:pt x="486" y="386"/>
                  </a:lnTo>
                  <a:lnTo>
                    <a:pt x="473" y="383"/>
                  </a:lnTo>
                  <a:lnTo>
                    <a:pt x="462" y="383"/>
                  </a:lnTo>
                  <a:lnTo>
                    <a:pt x="453" y="377"/>
                  </a:lnTo>
                  <a:lnTo>
                    <a:pt x="454" y="367"/>
                  </a:lnTo>
                  <a:lnTo>
                    <a:pt x="456" y="357"/>
                  </a:lnTo>
                  <a:lnTo>
                    <a:pt x="451" y="354"/>
                  </a:lnTo>
                  <a:lnTo>
                    <a:pt x="426" y="356"/>
                  </a:lnTo>
                  <a:lnTo>
                    <a:pt x="419" y="351"/>
                  </a:lnTo>
                  <a:lnTo>
                    <a:pt x="410" y="336"/>
                  </a:lnTo>
                  <a:lnTo>
                    <a:pt x="403" y="330"/>
                  </a:lnTo>
                  <a:lnTo>
                    <a:pt x="397" y="323"/>
                  </a:lnTo>
                  <a:lnTo>
                    <a:pt x="397" y="309"/>
                  </a:lnTo>
                  <a:lnTo>
                    <a:pt x="395" y="303"/>
                  </a:lnTo>
                  <a:lnTo>
                    <a:pt x="393" y="301"/>
                  </a:lnTo>
                  <a:lnTo>
                    <a:pt x="387" y="300"/>
                  </a:lnTo>
                  <a:lnTo>
                    <a:pt x="383" y="296"/>
                  </a:lnTo>
                  <a:lnTo>
                    <a:pt x="367" y="285"/>
                  </a:lnTo>
                  <a:lnTo>
                    <a:pt x="356" y="271"/>
                  </a:lnTo>
                  <a:lnTo>
                    <a:pt x="348" y="268"/>
                  </a:lnTo>
                  <a:lnTo>
                    <a:pt x="341" y="255"/>
                  </a:lnTo>
                  <a:lnTo>
                    <a:pt x="339" y="244"/>
                  </a:lnTo>
                  <a:lnTo>
                    <a:pt x="334" y="237"/>
                  </a:lnTo>
                  <a:lnTo>
                    <a:pt x="339" y="231"/>
                  </a:lnTo>
                  <a:lnTo>
                    <a:pt x="351" y="231"/>
                  </a:lnTo>
                  <a:lnTo>
                    <a:pt x="362" y="230"/>
                  </a:lnTo>
                  <a:lnTo>
                    <a:pt x="370" y="227"/>
                  </a:lnTo>
                  <a:lnTo>
                    <a:pt x="378" y="227"/>
                  </a:lnTo>
                  <a:lnTo>
                    <a:pt x="379" y="212"/>
                  </a:lnTo>
                  <a:lnTo>
                    <a:pt x="375" y="201"/>
                  </a:lnTo>
                  <a:lnTo>
                    <a:pt x="366" y="193"/>
                  </a:lnTo>
                  <a:lnTo>
                    <a:pt x="356" y="187"/>
                  </a:lnTo>
                  <a:lnTo>
                    <a:pt x="348" y="187"/>
                  </a:lnTo>
                  <a:lnTo>
                    <a:pt x="323" y="182"/>
                  </a:lnTo>
                  <a:lnTo>
                    <a:pt x="314" y="178"/>
                  </a:lnTo>
                  <a:lnTo>
                    <a:pt x="296" y="166"/>
                  </a:lnTo>
                  <a:lnTo>
                    <a:pt x="270" y="160"/>
                  </a:lnTo>
                  <a:lnTo>
                    <a:pt x="266" y="156"/>
                  </a:lnTo>
                  <a:lnTo>
                    <a:pt x="266" y="136"/>
                  </a:lnTo>
                  <a:lnTo>
                    <a:pt x="262" y="124"/>
                  </a:lnTo>
                  <a:lnTo>
                    <a:pt x="250" y="112"/>
                  </a:lnTo>
                  <a:lnTo>
                    <a:pt x="238" y="103"/>
                  </a:lnTo>
                  <a:lnTo>
                    <a:pt x="225" y="97"/>
                  </a:lnTo>
                  <a:lnTo>
                    <a:pt x="201" y="82"/>
                  </a:lnTo>
                  <a:lnTo>
                    <a:pt x="193" y="70"/>
                  </a:lnTo>
                  <a:lnTo>
                    <a:pt x="188" y="65"/>
                  </a:lnTo>
                  <a:lnTo>
                    <a:pt x="177" y="65"/>
                  </a:lnTo>
                  <a:lnTo>
                    <a:pt x="166" y="61"/>
                  </a:lnTo>
                  <a:lnTo>
                    <a:pt x="124" y="43"/>
                  </a:lnTo>
                  <a:lnTo>
                    <a:pt x="102" y="39"/>
                  </a:lnTo>
                  <a:lnTo>
                    <a:pt x="92" y="36"/>
                  </a:lnTo>
                  <a:lnTo>
                    <a:pt x="81" y="33"/>
                  </a:lnTo>
                  <a:lnTo>
                    <a:pt x="63" y="22"/>
                  </a:lnTo>
                  <a:lnTo>
                    <a:pt x="42" y="16"/>
                  </a:lnTo>
                  <a:lnTo>
                    <a:pt x="31" y="10"/>
                  </a:lnTo>
                  <a:lnTo>
                    <a:pt x="16" y="7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73" name="Freeform 70">
              <a:extLst>
                <a:ext uri="{FF2B5EF4-FFF2-40B4-BE49-F238E27FC236}">
                  <a16:creationId xmlns:a16="http://schemas.microsoft.com/office/drawing/2014/main" id="{86DB25F9-1C9B-B77E-C6C9-05CDF6CBCD5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204066" y="3985853"/>
              <a:ext cx="65663" cy="92977"/>
            </a:xfrm>
            <a:custGeom>
              <a:avLst/>
              <a:gdLst>
                <a:gd name="T0" fmla="*/ 0 w 129"/>
                <a:gd name="T1" fmla="*/ 0 h 163"/>
                <a:gd name="T2" fmla="*/ 0 w 129"/>
                <a:gd name="T3" fmla="*/ 0 h 163"/>
                <a:gd name="T4" fmla="*/ 0 w 129"/>
                <a:gd name="T5" fmla="*/ 0 h 163"/>
                <a:gd name="T6" fmla="*/ 0 w 129"/>
                <a:gd name="T7" fmla="*/ 0 h 163"/>
                <a:gd name="T8" fmla="*/ 0 w 129"/>
                <a:gd name="T9" fmla="*/ 0 h 163"/>
                <a:gd name="T10" fmla="*/ 0 w 129"/>
                <a:gd name="T11" fmla="*/ 0 h 163"/>
                <a:gd name="T12" fmla="*/ 0 w 129"/>
                <a:gd name="T13" fmla="*/ 0 h 163"/>
                <a:gd name="T14" fmla="*/ 0 w 129"/>
                <a:gd name="T15" fmla="*/ 0 h 163"/>
                <a:gd name="T16" fmla="*/ 0 w 129"/>
                <a:gd name="T17" fmla="*/ 0 h 163"/>
                <a:gd name="T18" fmla="*/ 0 w 129"/>
                <a:gd name="T19" fmla="*/ 0 h 163"/>
                <a:gd name="T20" fmla="*/ 0 w 129"/>
                <a:gd name="T21" fmla="*/ 0 h 163"/>
                <a:gd name="T22" fmla="*/ 0 w 129"/>
                <a:gd name="T23" fmla="*/ 0 h 163"/>
                <a:gd name="T24" fmla="*/ 0 w 129"/>
                <a:gd name="T25" fmla="*/ 0 h 163"/>
                <a:gd name="T26" fmla="*/ 0 w 129"/>
                <a:gd name="T27" fmla="*/ 0 h 163"/>
                <a:gd name="T28" fmla="*/ 0 w 129"/>
                <a:gd name="T29" fmla="*/ 0 h 163"/>
                <a:gd name="T30" fmla="*/ 0 w 129"/>
                <a:gd name="T31" fmla="*/ 0 h 163"/>
                <a:gd name="T32" fmla="*/ 0 w 129"/>
                <a:gd name="T33" fmla="*/ 0 h 163"/>
                <a:gd name="T34" fmla="*/ 0 w 129"/>
                <a:gd name="T35" fmla="*/ 0 h 163"/>
                <a:gd name="T36" fmla="*/ 0 w 129"/>
                <a:gd name="T37" fmla="*/ 0 h 163"/>
                <a:gd name="T38" fmla="*/ 0 w 129"/>
                <a:gd name="T39" fmla="*/ 0 h 163"/>
                <a:gd name="T40" fmla="*/ 0 w 129"/>
                <a:gd name="T41" fmla="*/ 0 h 163"/>
                <a:gd name="T42" fmla="*/ 0 w 129"/>
                <a:gd name="T43" fmla="*/ 0 h 163"/>
                <a:gd name="T44" fmla="*/ 0 w 129"/>
                <a:gd name="T45" fmla="*/ 0 h 163"/>
                <a:gd name="T46" fmla="*/ 0 w 129"/>
                <a:gd name="T47" fmla="*/ 0 h 163"/>
                <a:gd name="T48" fmla="*/ 0 w 129"/>
                <a:gd name="T49" fmla="*/ 0 h 163"/>
                <a:gd name="T50" fmla="*/ 0 w 129"/>
                <a:gd name="T51" fmla="*/ 0 h 163"/>
                <a:gd name="T52" fmla="*/ 0 w 129"/>
                <a:gd name="T53" fmla="*/ 0 h 163"/>
                <a:gd name="T54" fmla="*/ 0 w 129"/>
                <a:gd name="T55" fmla="*/ 0 h 163"/>
                <a:gd name="T56" fmla="*/ 0 w 129"/>
                <a:gd name="T57" fmla="*/ 0 h 163"/>
                <a:gd name="T58" fmla="*/ 0 w 129"/>
                <a:gd name="T59" fmla="*/ 0 h 163"/>
                <a:gd name="T60" fmla="*/ 0 w 129"/>
                <a:gd name="T61" fmla="*/ 0 h 163"/>
                <a:gd name="T62" fmla="*/ 0 w 129"/>
                <a:gd name="T63" fmla="*/ 0 h 163"/>
                <a:gd name="T64" fmla="*/ 0 w 129"/>
                <a:gd name="T65" fmla="*/ 0 h 163"/>
                <a:gd name="T66" fmla="*/ 0 w 129"/>
                <a:gd name="T67" fmla="*/ 0 h 163"/>
                <a:gd name="T68" fmla="*/ 0 w 129"/>
                <a:gd name="T69" fmla="*/ 0 h 163"/>
                <a:gd name="T70" fmla="*/ 0 w 129"/>
                <a:gd name="T71" fmla="*/ 0 h 163"/>
                <a:gd name="T72" fmla="*/ 0 w 129"/>
                <a:gd name="T73" fmla="*/ 0 h 163"/>
                <a:gd name="T74" fmla="*/ 0 w 129"/>
                <a:gd name="T75" fmla="*/ 0 h 163"/>
                <a:gd name="T76" fmla="*/ 0 w 129"/>
                <a:gd name="T77" fmla="*/ 0 h 163"/>
                <a:gd name="T78" fmla="*/ 0 w 129"/>
                <a:gd name="T79" fmla="*/ 0 h 163"/>
                <a:gd name="T80" fmla="*/ 0 w 129"/>
                <a:gd name="T81" fmla="*/ 0 h 163"/>
                <a:gd name="T82" fmla="*/ 0 w 129"/>
                <a:gd name="T83" fmla="*/ 0 h 163"/>
                <a:gd name="T84" fmla="*/ 0 w 129"/>
                <a:gd name="T85" fmla="*/ 0 h 163"/>
                <a:gd name="T86" fmla="*/ 0 w 129"/>
                <a:gd name="T87" fmla="*/ 0 h 163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29"/>
                <a:gd name="T133" fmla="*/ 0 h 163"/>
                <a:gd name="T134" fmla="*/ 129 w 129"/>
                <a:gd name="T135" fmla="*/ 163 h 163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29" h="163">
                  <a:moveTo>
                    <a:pt x="120" y="2"/>
                  </a:moveTo>
                  <a:lnTo>
                    <a:pt x="123" y="0"/>
                  </a:lnTo>
                  <a:lnTo>
                    <a:pt x="124" y="1"/>
                  </a:lnTo>
                  <a:lnTo>
                    <a:pt x="125" y="15"/>
                  </a:lnTo>
                  <a:lnTo>
                    <a:pt x="126" y="18"/>
                  </a:lnTo>
                  <a:lnTo>
                    <a:pt x="124" y="23"/>
                  </a:lnTo>
                  <a:lnTo>
                    <a:pt x="124" y="32"/>
                  </a:lnTo>
                  <a:lnTo>
                    <a:pt x="129" y="47"/>
                  </a:lnTo>
                  <a:lnTo>
                    <a:pt x="126" y="53"/>
                  </a:lnTo>
                  <a:lnTo>
                    <a:pt x="117" y="59"/>
                  </a:lnTo>
                  <a:lnTo>
                    <a:pt x="112" y="67"/>
                  </a:lnTo>
                  <a:lnTo>
                    <a:pt x="103" y="76"/>
                  </a:lnTo>
                  <a:lnTo>
                    <a:pt x="93" y="80"/>
                  </a:lnTo>
                  <a:lnTo>
                    <a:pt x="86" y="85"/>
                  </a:lnTo>
                  <a:lnTo>
                    <a:pt x="82" y="98"/>
                  </a:lnTo>
                  <a:lnTo>
                    <a:pt x="70" y="112"/>
                  </a:lnTo>
                  <a:lnTo>
                    <a:pt x="49" y="130"/>
                  </a:lnTo>
                  <a:lnTo>
                    <a:pt x="37" y="142"/>
                  </a:lnTo>
                  <a:lnTo>
                    <a:pt x="28" y="150"/>
                  </a:lnTo>
                  <a:lnTo>
                    <a:pt x="19" y="151"/>
                  </a:lnTo>
                  <a:lnTo>
                    <a:pt x="13" y="158"/>
                  </a:lnTo>
                  <a:lnTo>
                    <a:pt x="6" y="163"/>
                  </a:lnTo>
                  <a:lnTo>
                    <a:pt x="0" y="163"/>
                  </a:lnTo>
                  <a:lnTo>
                    <a:pt x="2" y="150"/>
                  </a:lnTo>
                  <a:lnTo>
                    <a:pt x="10" y="137"/>
                  </a:lnTo>
                  <a:lnTo>
                    <a:pt x="17" y="130"/>
                  </a:lnTo>
                  <a:lnTo>
                    <a:pt x="32" y="119"/>
                  </a:lnTo>
                  <a:lnTo>
                    <a:pt x="37" y="118"/>
                  </a:lnTo>
                  <a:lnTo>
                    <a:pt x="69" y="85"/>
                  </a:lnTo>
                  <a:lnTo>
                    <a:pt x="77" y="75"/>
                  </a:lnTo>
                  <a:lnTo>
                    <a:pt x="82" y="71"/>
                  </a:lnTo>
                  <a:lnTo>
                    <a:pt x="88" y="61"/>
                  </a:lnTo>
                  <a:lnTo>
                    <a:pt x="97" y="55"/>
                  </a:lnTo>
                  <a:lnTo>
                    <a:pt x="104" y="53"/>
                  </a:lnTo>
                  <a:lnTo>
                    <a:pt x="112" y="39"/>
                  </a:lnTo>
                  <a:lnTo>
                    <a:pt x="110" y="29"/>
                  </a:lnTo>
                  <a:lnTo>
                    <a:pt x="113" y="34"/>
                  </a:lnTo>
                  <a:lnTo>
                    <a:pt x="117" y="31"/>
                  </a:lnTo>
                  <a:lnTo>
                    <a:pt x="115" y="27"/>
                  </a:lnTo>
                  <a:lnTo>
                    <a:pt x="112" y="23"/>
                  </a:lnTo>
                  <a:lnTo>
                    <a:pt x="114" y="21"/>
                  </a:lnTo>
                  <a:lnTo>
                    <a:pt x="117" y="13"/>
                  </a:lnTo>
                  <a:lnTo>
                    <a:pt x="118" y="5"/>
                  </a:lnTo>
                  <a:lnTo>
                    <a:pt x="120" y="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74" name="Freeform 71">
              <a:extLst>
                <a:ext uri="{FF2B5EF4-FFF2-40B4-BE49-F238E27FC236}">
                  <a16:creationId xmlns:a16="http://schemas.microsoft.com/office/drawing/2014/main" id="{D5FBDB2E-9FA0-00D1-4C34-E31C1E72B7F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290622" y="3920312"/>
              <a:ext cx="37309" cy="41154"/>
            </a:xfrm>
            <a:custGeom>
              <a:avLst/>
              <a:gdLst>
                <a:gd name="T0" fmla="*/ 0 w 67"/>
                <a:gd name="T1" fmla="*/ 0 h 71"/>
                <a:gd name="T2" fmla="*/ 0 w 67"/>
                <a:gd name="T3" fmla="*/ 0 h 71"/>
                <a:gd name="T4" fmla="*/ 0 w 67"/>
                <a:gd name="T5" fmla="*/ 0 h 71"/>
                <a:gd name="T6" fmla="*/ 0 w 67"/>
                <a:gd name="T7" fmla="*/ 0 h 71"/>
                <a:gd name="T8" fmla="*/ 0 w 67"/>
                <a:gd name="T9" fmla="*/ 0 h 71"/>
                <a:gd name="T10" fmla="*/ 0 w 67"/>
                <a:gd name="T11" fmla="*/ 0 h 71"/>
                <a:gd name="T12" fmla="*/ 0 w 67"/>
                <a:gd name="T13" fmla="*/ 0 h 71"/>
                <a:gd name="T14" fmla="*/ 0 w 67"/>
                <a:gd name="T15" fmla="*/ 0 h 71"/>
                <a:gd name="T16" fmla="*/ 0 w 67"/>
                <a:gd name="T17" fmla="*/ 0 h 71"/>
                <a:gd name="T18" fmla="*/ 0 w 67"/>
                <a:gd name="T19" fmla="*/ 0 h 71"/>
                <a:gd name="T20" fmla="*/ 0 w 67"/>
                <a:gd name="T21" fmla="*/ 0 h 71"/>
                <a:gd name="T22" fmla="*/ 0 w 67"/>
                <a:gd name="T23" fmla="*/ 0 h 71"/>
                <a:gd name="T24" fmla="*/ 0 w 67"/>
                <a:gd name="T25" fmla="*/ 0 h 71"/>
                <a:gd name="T26" fmla="*/ 0 w 67"/>
                <a:gd name="T27" fmla="*/ 0 h 71"/>
                <a:gd name="T28" fmla="*/ 0 w 67"/>
                <a:gd name="T29" fmla="*/ 0 h 71"/>
                <a:gd name="T30" fmla="*/ 0 w 67"/>
                <a:gd name="T31" fmla="*/ 0 h 71"/>
                <a:gd name="T32" fmla="*/ 0 w 67"/>
                <a:gd name="T33" fmla="*/ 0 h 71"/>
                <a:gd name="T34" fmla="*/ 0 w 67"/>
                <a:gd name="T35" fmla="*/ 0 h 71"/>
                <a:gd name="T36" fmla="*/ 0 w 67"/>
                <a:gd name="T37" fmla="*/ 0 h 71"/>
                <a:gd name="T38" fmla="*/ 0 w 67"/>
                <a:gd name="T39" fmla="*/ 0 h 71"/>
                <a:gd name="T40" fmla="*/ 0 w 67"/>
                <a:gd name="T41" fmla="*/ 0 h 71"/>
                <a:gd name="T42" fmla="*/ 0 w 67"/>
                <a:gd name="T43" fmla="*/ 0 h 71"/>
                <a:gd name="T44" fmla="*/ 0 w 67"/>
                <a:gd name="T45" fmla="*/ 0 h 71"/>
                <a:gd name="T46" fmla="*/ 0 w 67"/>
                <a:gd name="T47" fmla="*/ 0 h 7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67"/>
                <a:gd name="T73" fmla="*/ 0 h 71"/>
                <a:gd name="T74" fmla="*/ 67 w 67"/>
                <a:gd name="T75" fmla="*/ 71 h 7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67" h="71">
                  <a:moveTo>
                    <a:pt x="2" y="3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32" y="0"/>
                  </a:lnTo>
                  <a:lnTo>
                    <a:pt x="37" y="0"/>
                  </a:lnTo>
                  <a:lnTo>
                    <a:pt x="47" y="3"/>
                  </a:lnTo>
                  <a:lnTo>
                    <a:pt x="56" y="10"/>
                  </a:lnTo>
                  <a:lnTo>
                    <a:pt x="59" y="16"/>
                  </a:lnTo>
                  <a:lnTo>
                    <a:pt x="63" y="17"/>
                  </a:lnTo>
                  <a:lnTo>
                    <a:pt x="64" y="28"/>
                  </a:lnTo>
                  <a:lnTo>
                    <a:pt x="64" y="38"/>
                  </a:lnTo>
                  <a:lnTo>
                    <a:pt x="67" y="51"/>
                  </a:lnTo>
                  <a:lnTo>
                    <a:pt x="63" y="54"/>
                  </a:lnTo>
                  <a:lnTo>
                    <a:pt x="63" y="62"/>
                  </a:lnTo>
                  <a:lnTo>
                    <a:pt x="48" y="71"/>
                  </a:lnTo>
                  <a:lnTo>
                    <a:pt x="45" y="64"/>
                  </a:lnTo>
                  <a:lnTo>
                    <a:pt x="36" y="57"/>
                  </a:lnTo>
                  <a:lnTo>
                    <a:pt x="26" y="36"/>
                  </a:lnTo>
                  <a:lnTo>
                    <a:pt x="25" y="25"/>
                  </a:lnTo>
                  <a:lnTo>
                    <a:pt x="20" y="16"/>
                  </a:lnTo>
                  <a:lnTo>
                    <a:pt x="13" y="13"/>
                  </a:lnTo>
                  <a:lnTo>
                    <a:pt x="10" y="4"/>
                  </a:lnTo>
                  <a:lnTo>
                    <a:pt x="5" y="3"/>
                  </a:lnTo>
                  <a:lnTo>
                    <a:pt x="2" y="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75" name="Freeform 72">
              <a:extLst>
                <a:ext uri="{FF2B5EF4-FFF2-40B4-BE49-F238E27FC236}">
                  <a16:creationId xmlns:a16="http://schemas.microsoft.com/office/drawing/2014/main" id="{14844E43-00A0-EDE5-3877-2E13ABE2633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278683" y="3752648"/>
              <a:ext cx="123865" cy="196623"/>
            </a:xfrm>
            <a:custGeom>
              <a:avLst/>
              <a:gdLst>
                <a:gd name="T0" fmla="*/ 0 w 236"/>
                <a:gd name="T1" fmla="*/ 0 h 345"/>
                <a:gd name="T2" fmla="*/ 0 w 236"/>
                <a:gd name="T3" fmla="*/ 0 h 345"/>
                <a:gd name="T4" fmla="*/ 0 w 236"/>
                <a:gd name="T5" fmla="*/ 0 h 345"/>
                <a:gd name="T6" fmla="*/ 0 w 236"/>
                <a:gd name="T7" fmla="*/ 0 h 345"/>
                <a:gd name="T8" fmla="*/ 0 w 236"/>
                <a:gd name="T9" fmla="*/ 0 h 345"/>
                <a:gd name="T10" fmla="*/ 0 w 236"/>
                <a:gd name="T11" fmla="*/ 0 h 345"/>
                <a:gd name="T12" fmla="*/ 0 w 236"/>
                <a:gd name="T13" fmla="*/ 0 h 345"/>
                <a:gd name="T14" fmla="*/ 0 w 236"/>
                <a:gd name="T15" fmla="*/ 0 h 345"/>
                <a:gd name="T16" fmla="*/ 0 w 236"/>
                <a:gd name="T17" fmla="*/ 0 h 345"/>
                <a:gd name="T18" fmla="*/ 0 w 236"/>
                <a:gd name="T19" fmla="*/ 0 h 345"/>
                <a:gd name="T20" fmla="*/ 0 w 236"/>
                <a:gd name="T21" fmla="*/ 0 h 345"/>
                <a:gd name="T22" fmla="*/ 0 w 236"/>
                <a:gd name="T23" fmla="*/ 0 h 345"/>
                <a:gd name="T24" fmla="*/ 0 w 236"/>
                <a:gd name="T25" fmla="*/ 0 h 345"/>
                <a:gd name="T26" fmla="*/ 0 w 236"/>
                <a:gd name="T27" fmla="*/ 0 h 345"/>
                <a:gd name="T28" fmla="*/ 0 w 236"/>
                <a:gd name="T29" fmla="*/ 0 h 345"/>
                <a:gd name="T30" fmla="*/ 0 w 236"/>
                <a:gd name="T31" fmla="*/ 0 h 345"/>
                <a:gd name="T32" fmla="*/ 0 w 236"/>
                <a:gd name="T33" fmla="*/ 0 h 345"/>
                <a:gd name="T34" fmla="*/ 0 w 236"/>
                <a:gd name="T35" fmla="*/ 0 h 345"/>
                <a:gd name="T36" fmla="*/ 0 w 236"/>
                <a:gd name="T37" fmla="*/ 0 h 345"/>
                <a:gd name="T38" fmla="*/ 0 w 236"/>
                <a:gd name="T39" fmla="*/ 0 h 345"/>
                <a:gd name="T40" fmla="*/ 0 w 236"/>
                <a:gd name="T41" fmla="*/ 2147483647 h 345"/>
                <a:gd name="T42" fmla="*/ 0 w 236"/>
                <a:gd name="T43" fmla="*/ 2147483647 h 345"/>
                <a:gd name="T44" fmla="*/ 0 w 236"/>
                <a:gd name="T45" fmla="*/ 2147483647 h 345"/>
                <a:gd name="T46" fmla="*/ 0 w 236"/>
                <a:gd name="T47" fmla="*/ 2147483647 h 345"/>
                <a:gd name="T48" fmla="*/ 0 w 236"/>
                <a:gd name="T49" fmla="*/ 0 h 345"/>
                <a:gd name="T50" fmla="*/ 0 w 236"/>
                <a:gd name="T51" fmla="*/ 0 h 345"/>
                <a:gd name="T52" fmla="*/ 0 w 236"/>
                <a:gd name="T53" fmla="*/ 0 h 345"/>
                <a:gd name="T54" fmla="*/ 0 w 236"/>
                <a:gd name="T55" fmla="*/ 0 h 345"/>
                <a:gd name="T56" fmla="*/ 0 w 236"/>
                <a:gd name="T57" fmla="*/ 0 h 345"/>
                <a:gd name="T58" fmla="*/ 0 w 236"/>
                <a:gd name="T59" fmla="*/ 0 h 345"/>
                <a:gd name="T60" fmla="*/ 0 w 236"/>
                <a:gd name="T61" fmla="*/ 0 h 345"/>
                <a:gd name="T62" fmla="*/ 0 w 236"/>
                <a:gd name="T63" fmla="*/ 0 h 345"/>
                <a:gd name="T64" fmla="*/ 0 w 236"/>
                <a:gd name="T65" fmla="*/ 0 h 345"/>
                <a:gd name="T66" fmla="*/ 0 w 236"/>
                <a:gd name="T67" fmla="*/ 0 h 345"/>
                <a:gd name="T68" fmla="*/ 0 w 236"/>
                <a:gd name="T69" fmla="*/ 0 h 345"/>
                <a:gd name="T70" fmla="*/ 0 w 236"/>
                <a:gd name="T71" fmla="*/ 0 h 345"/>
                <a:gd name="T72" fmla="*/ 0 w 236"/>
                <a:gd name="T73" fmla="*/ 0 h 345"/>
                <a:gd name="T74" fmla="*/ 0 w 236"/>
                <a:gd name="T75" fmla="*/ 0 h 345"/>
                <a:gd name="T76" fmla="*/ 0 w 236"/>
                <a:gd name="T77" fmla="*/ 0 h 345"/>
                <a:gd name="T78" fmla="*/ 0 w 236"/>
                <a:gd name="T79" fmla="*/ 0 h 345"/>
                <a:gd name="T80" fmla="*/ 0 w 236"/>
                <a:gd name="T81" fmla="*/ 0 h 345"/>
                <a:gd name="T82" fmla="*/ 0 w 236"/>
                <a:gd name="T83" fmla="*/ 0 h 345"/>
                <a:gd name="T84" fmla="*/ 0 w 236"/>
                <a:gd name="T85" fmla="*/ 0 h 345"/>
                <a:gd name="T86" fmla="*/ 0 w 236"/>
                <a:gd name="T87" fmla="*/ 0 h 345"/>
                <a:gd name="T88" fmla="*/ 0 w 236"/>
                <a:gd name="T89" fmla="*/ 0 h 34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36"/>
                <a:gd name="T136" fmla="*/ 0 h 345"/>
                <a:gd name="T137" fmla="*/ 236 w 236"/>
                <a:gd name="T138" fmla="*/ 345 h 345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36" h="345">
                  <a:moveTo>
                    <a:pt x="134" y="10"/>
                  </a:moveTo>
                  <a:lnTo>
                    <a:pt x="137" y="14"/>
                  </a:lnTo>
                  <a:lnTo>
                    <a:pt x="139" y="17"/>
                  </a:lnTo>
                  <a:lnTo>
                    <a:pt x="135" y="22"/>
                  </a:lnTo>
                  <a:lnTo>
                    <a:pt x="130" y="33"/>
                  </a:lnTo>
                  <a:lnTo>
                    <a:pt x="129" y="44"/>
                  </a:lnTo>
                  <a:lnTo>
                    <a:pt x="129" y="66"/>
                  </a:lnTo>
                  <a:lnTo>
                    <a:pt x="134" y="74"/>
                  </a:lnTo>
                  <a:lnTo>
                    <a:pt x="139" y="75"/>
                  </a:lnTo>
                  <a:lnTo>
                    <a:pt x="141" y="81"/>
                  </a:lnTo>
                  <a:lnTo>
                    <a:pt x="146" y="87"/>
                  </a:lnTo>
                  <a:lnTo>
                    <a:pt x="146" y="97"/>
                  </a:lnTo>
                  <a:lnTo>
                    <a:pt x="141" y="109"/>
                  </a:lnTo>
                  <a:lnTo>
                    <a:pt x="135" y="122"/>
                  </a:lnTo>
                  <a:lnTo>
                    <a:pt x="133" y="132"/>
                  </a:lnTo>
                  <a:lnTo>
                    <a:pt x="128" y="143"/>
                  </a:lnTo>
                  <a:lnTo>
                    <a:pt x="121" y="148"/>
                  </a:lnTo>
                  <a:lnTo>
                    <a:pt x="120" y="144"/>
                  </a:lnTo>
                  <a:lnTo>
                    <a:pt x="112" y="150"/>
                  </a:lnTo>
                  <a:lnTo>
                    <a:pt x="104" y="156"/>
                  </a:lnTo>
                  <a:lnTo>
                    <a:pt x="98" y="165"/>
                  </a:lnTo>
                  <a:lnTo>
                    <a:pt x="98" y="175"/>
                  </a:lnTo>
                  <a:lnTo>
                    <a:pt x="94" y="184"/>
                  </a:lnTo>
                  <a:lnTo>
                    <a:pt x="87" y="188"/>
                  </a:lnTo>
                  <a:lnTo>
                    <a:pt x="88" y="198"/>
                  </a:lnTo>
                  <a:lnTo>
                    <a:pt x="93" y="208"/>
                  </a:lnTo>
                  <a:lnTo>
                    <a:pt x="98" y="216"/>
                  </a:lnTo>
                  <a:lnTo>
                    <a:pt x="102" y="222"/>
                  </a:lnTo>
                  <a:lnTo>
                    <a:pt x="99" y="227"/>
                  </a:lnTo>
                  <a:lnTo>
                    <a:pt x="99" y="238"/>
                  </a:lnTo>
                  <a:lnTo>
                    <a:pt x="104" y="247"/>
                  </a:lnTo>
                  <a:lnTo>
                    <a:pt x="106" y="254"/>
                  </a:lnTo>
                  <a:lnTo>
                    <a:pt x="120" y="268"/>
                  </a:lnTo>
                  <a:lnTo>
                    <a:pt x="125" y="268"/>
                  </a:lnTo>
                  <a:lnTo>
                    <a:pt x="134" y="265"/>
                  </a:lnTo>
                  <a:lnTo>
                    <a:pt x="131" y="261"/>
                  </a:lnTo>
                  <a:lnTo>
                    <a:pt x="133" y="251"/>
                  </a:lnTo>
                  <a:lnTo>
                    <a:pt x="136" y="253"/>
                  </a:lnTo>
                  <a:lnTo>
                    <a:pt x="145" y="245"/>
                  </a:lnTo>
                  <a:lnTo>
                    <a:pt x="155" y="247"/>
                  </a:lnTo>
                  <a:lnTo>
                    <a:pt x="160" y="243"/>
                  </a:lnTo>
                  <a:lnTo>
                    <a:pt x="167" y="245"/>
                  </a:lnTo>
                  <a:lnTo>
                    <a:pt x="173" y="252"/>
                  </a:lnTo>
                  <a:lnTo>
                    <a:pt x="178" y="263"/>
                  </a:lnTo>
                  <a:lnTo>
                    <a:pt x="179" y="273"/>
                  </a:lnTo>
                  <a:lnTo>
                    <a:pt x="184" y="276"/>
                  </a:lnTo>
                  <a:lnTo>
                    <a:pt x="190" y="270"/>
                  </a:lnTo>
                  <a:lnTo>
                    <a:pt x="189" y="259"/>
                  </a:lnTo>
                  <a:lnTo>
                    <a:pt x="194" y="262"/>
                  </a:lnTo>
                  <a:lnTo>
                    <a:pt x="198" y="264"/>
                  </a:lnTo>
                  <a:lnTo>
                    <a:pt x="206" y="267"/>
                  </a:lnTo>
                  <a:lnTo>
                    <a:pt x="221" y="273"/>
                  </a:lnTo>
                  <a:lnTo>
                    <a:pt x="223" y="278"/>
                  </a:lnTo>
                  <a:lnTo>
                    <a:pt x="215" y="279"/>
                  </a:lnTo>
                  <a:lnTo>
                    <a:pt x="207" y="285"/>
                  </a:lnTo>
                  <a:lnTo>
                    <a:pt x="209" y="294"/>
                  </a:lnTo>
                  <a:lnTo>
                    <a:pt x="216" y="299"/>
                  </a:lnTo>
                  <a:lnTo>
                    <a:pt x="221" y="301"/>
                  </a:lnTo>
                  <a:lnTo>
                    <a:pt x="219" y="308"/>
                  </a:lnTo>
                  <a:lnTo>
                    <a:pt x="220" y="312"/>
                  </a:lnTo>
                  <a:lnTo>
                    <a:pt x="225" y="312"/>
                  </a:lnTo>
                  <a:lnTo>
                    <a:pt x="226" y="316"/>
                  </a:lnTo>
                  <a:lnTo>
                    <a:pt x="232" y="317"/>
                  </a:lnTo>
                  <a:lnTo>
                    <a:pt x="236" y="321"/>
                  </a:lnTo>
                  <a:lnTo>
                    <a:pt x="236" y="339"/>
                  </a:lnTo>
                  <a:lnTo>
                    <a:pt x="231" y="345"/>
                  </a:lnTo>
                  <a:lnTo>
                    <a:pt x="223" y="338"/>
                  </a:lnTo>
                  <a:lnTo>
                    <a:pt x="221" y="331"/>
                  </a:lnTo>
                  <a:lnTo>
                    <a:pt x="227" y="324"/>
                  </a:lnTo>
                  <a:lnTo>
                    <a:pt x="223" y="324"/>
                  </a:lnTo>
                  <a:lnTo>
                    <a:pt x="211" y="324"/>
                  </a:lnTo>
                  <a:lnTo>
                    <a:pt x="201" y="317"/>
                  </a:lnTo>
                  <a:lnTo>
                    <a:pt x="194" y="315"/>
                  </a:lnTo>
                  <a:lnTo>
                    <a:pt x="190" y="302"/>
                  </a:lnTo>
                  <a:lnTo>
                    <a:pt x="184" y="294"/>
                  </a:lnTo>
                  <a:lnTo>
                    <a:pt x="173" y="289"/>
                  </a:lnTo>
                  <a:lnTo>
                    <a:pt x="168" y="284"/>
                  </a:lnTo>
                  <a:lnTo>
                    <a:pt x="166" y="279"/>
                  </a:lnTo>
                  <a:lnTo>
                    <a:pt x="157" y="270"/>
                  </a:lnTo>
                  <a:lnTo>
                    <a:pt x="147" y="268"/>
                  </a:lnTo>
                  <a:lnTo>
                    <a:pt x="149" y="280"/>
                  </a:lnTo>
                  <a:lnTo>
                    <a:pt x="158" y="302"/>
                  </a:lnTo>
                  <a:lnTo>
                    <a:pt x="158" y="306"/>
                  </a:lnTo>
                  <a:lnTo>
                    <a:pt x="152" y="306"/>
                  </a:lnTo>
                  <a:lnTo>
                    <a:pt x="147" y="294"/>
                  </a:lnTo>
                  <a:lnTo>
                    <a:pt x="137" y="286"/>
                  </a:lnTo>
                  <a:lnTo>
                    <a:pt x="124" y="273"/>
                  </a:lnTo>
                  <a:lnTo>
                    <a:pt x="115" y="268"/>
                  </a:lnTo>
                  <a:lnTo>
                    <a:pt x="109" y="267"/>
                  </a:lnTo>
                  <a:lnTo>
                    <a:pt x="98" y="268"/>
                  </a:lnTo>
                  <a:lnTo>
                    <a:pt x="92" y="278"/>
                  </a:lnTo>
                  <a:lnTo>
                    <a:pt x="85" y="283"/>
                  </a:lnTo>
                  <a:lnTo>
                    <a:pt x="75" y="284"/>
                  </a:lnTo>
                  <a:lnTo>
                    <a:pt x="70" y="278"/>
                  </a:lnTo>
                  <a:lnTo>
                    <a:pt x="63" y="276"/>
                  </a:lnTo>
                  <a:lnTo>
                    <a:pt x="56" y="270"/>
                  </a:lnTo>
                  <a:lnTo>
                    <a:pt x="50" y="274"/>
                  </a:lnTo>
                  <a:lnTo>
                    <a:pt x="47" y="264"/>
                  </a:lnTo>
                  <a:lnTo>
                    <a:pt x="45" y="254"/>
                  </a:lnTo>
                  <a:lnTo>
                    <a:pt x="49" y="247"/>
                  </a:lnTo>
                  <a:lnTo>
                    <a:pt x="56" y="240"/>
                  </a:lnTo>
                  <a:lnTo>
                    <a:pt x="61" y="231"/>
                  </a:lnTo>
                  <a:lnTo>
                    <a:pt x="61" y="225"/>
                  </a:lnTo>
                  <a:lnTo>
                    <a:pt x="55" y="220"/>
                  </a:lnTo>
                  <a:lnTo>
                    <a:pt x="45" y="219"/>
                  </a:lnTo>
                  <a:lnTo>
                    <a:pt x="44" y="233"/>
                  </a:lnTo>
                  <a:lnTo>
                    <a:pt x="42" y="238"/>
                  </a:lnTo>
                  <a:lnTo>
                    <a:pt x="33" y="230"/>
                  </a:lnTo>
                  <a:lnTo>
                    <a:pt x="28" y="219"/>
                  </a:lnTo>
                  <a:lnTo>
                    <a:pt x="21" y="219"/>
                  </a:lnTo>
                  <a:lnTo>
                    <a:pt x="16" y="203"/>
                  </a:lnTo>
                  <a:lnTo>
                    <a:pt x="13" y="188"/>
                  </a:lnTo>
                  <a:lnTo>
                    <a:pt x="2" y="155"/>
                  </a:lnTo>
                  <a:lnTo>
                    <a:pt x="0" y="138"/>
                  </a:lnTo>
                  <a:lnTo>
                    <a:pt x="0" y="134"/>
                  </a:lnTo>
                  <a:lnTo>
                    <a:pt x="8" y="136"/>
                  </a:lnTo>
                  <a:lnTo>
                    <a:pt x="17" y="146"/>
                  </a:lnTo>
                  <a:lnTo>
                    <a:pt x="29" y="143"/>
                  </a:lnTo>
                  <a:lnTo>
                    <a:pt x="28" y="113"/>
                  </a:lnTo>
                  <a:lnTo>
                    <a:pt x="29" y="97"/>
                  </a:lnTo>
                  <a:lnTo>
                    <a:pt x="34" y="82"/>
                  </a:lnTo>
                  <a:lnTo>
                    <a:pt x="34" y="65"/>
                  </a:lnTo>
                  <a:lnTo>
                    <a:pt x="33" y="53"/>
                  </a:lnTo>
                  <a:lnTo>
                    <a:pt x="34" y="41"/>
                  </a:lnTo>
                  <a:lnTo>
                    <a:pt x="38" y="17"/>
                  </a:lnTo>
                  <a:lnTo>
                    <a:pt x="43" y="7"/>
                  </a:lnTo>
                  <a:lnTo>
                    <a:pt x="50" y="0"/>
                  </a:lnTo>
                  <a:lnTo>
                    <a:pt x="56" y="1"/>
                  </a:lnTo>
                  <a:lnTo>
                    <a:pt x="67" y="1"/>
                  </a:lnTo>
                  <a:lnTo>
                    <a:pt x="80" y="4"/>
                  </a:lnTo>
                  <a:lnTo>
                    <a:pt x="102" y="17"/>
                  </a:lnTo>
                  <a:lnTo>
                    <a:pt x="113" y="17"/>
                  </a:lnTo>
                  <a:lnTo>
                    <a:pt x="120" y="15"/>
                  </a:lnTo>
                  <a:lnTo>
                    <a:pt x="123" y="4"/>
                  </a:lnTo>
                  <a:lnTo>
                    <a:pt x="130" y="4"/>
                  </a:lnTo>
                  <a:lnTo>
                    <a:pt x="134" y="1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76" name="Freeform 73">
              <a:extLst>
                <a:ext uri="{FF2B5EF4-FFF2-40B4-BE49-F238E27FC236}">
                  <a16:creationId xmlns:a16="http://schemas.microsoft.com/office/drawing/2014/main" id="{3706DAEB-8991-D290-53E8-24A00E25CC1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377178" y="3949272"/>
              <a:ext cx="22386" cy="25912"/>
            </a:xfrm>
            <a:custGeom>
              <a:avLst/>
              <a:gdLst>
                <a:gd name="T0" fmla="*/ 0 w 45"/>
                <a:gd name="T1" fmla="*/ 0 h 45"/>
                <a:gd name="T2" fmla="*/ 0 w 45"/>
                <a:gd name="T3" fmla="*/ 0 h 45"/>
                <a:gd name="T4" fmla="*/ 0 w 45"/>
                <a:gd name="T5" fmla="*/ 0 h 45"/>
                <a:gd name="T6" fmla="*/ 0 w 45"/>
                <a:gd name="T7" fmla="*/ 0 h 45"/>
                <a:gd name="T8" fmla="*/ 0 w 45"/>
                <a:gd name="T9" fmla="*/ 0 h 45"/>
                <a:gd name="T10" fmla="*/ 0 w 45"/>
                <a:gd name="T11" fmla="*/ 0 h 45"/>
                <a:gd name="T12" fmla="*/ 0 w 45"/>
                <a:gd name="T13" fmla="*/ 0 h 45"/>
                <a:gd name="T14" fmla="*/ 0 w 45"/>
                <a:gd name="T15" fmla="*/ 0 h 45"/>
                <a:gd name="T16" fmla="*/ 0 w 45"/>
                <a:gd name="T17" fmla="*/ 0 h 45"/>
                <a:gd name="T18" fmla="*/ 0 w 45"/>
                <a:gd name="T19" fmla="*/ 0 h 45"/>
                <a:gd name="T20" fmla="*/ 0 w 45"/>
                <a:gd name="T21" fmla="*/ 0 h 45"/>
                <a:gd name="T22" fmla="*/ 0 w 45"/>
                <a:gd name="T23" fmla="*/ 0 h 45"/>
                <a:gd name="T24" fmla="*/ 0 w 45"/>
                <a:gd name="T25" fmla="*/ 0 h 45"/>
                <a:gd name="T26" fmla="*/ 0 w 45"/>
                <a:gd name="T27" fmla="*/ 0 h 45"/>
                <a:gd name="T28" fmla="*/ 0 w 45"/>
                <a:gd name="T29" fmla="*/ 0 h 45"/>
                <a:gd name="T30" fmla="*/ 0 w 45"/>
                <a:gd name="T31" fmla="*/ 0 h 45"/>
                <a:gd name="T32" fmla="*/ 0 w 45"/>
                <a:gd name="T33" fmla="*/ 0 h 4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5"/>
                <a:gd name="T52" fmla="*/ 0 h 45"/>
                <a:gd name="T53" fmla="*/ 45 w 45"/>
                <a:gd name="T54" fmla="*/ 45 h 4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5" h="45">
                  <a:moveTo>
                    <a:pt x="2" y="0"/>
                  </a:moveTo>
                  <a:lnTo>
                    <a:pt x="6" y="2"/>
                  </a:lnTo>
                  <a:lnTo>
                    <a:pt x="7" y="4"/>
                  </a:lnTo>
                  <a:lnTo>
                    <a:pt x="9" y="6"/>
                  </a:lnTo>
                  <a:lnTo>
                    <a:pt x="14" y="6"/>
                  </a:lnTo>
                  <a:lnTo>
                    <a:pt x="43" y="29"/>
                  </a:lnTo>
                  <a:lnTo>
                    <a:pt x="45" y="35"/>
                  </a:lnTo>
                  <a:lnTo>
                    <a:pt x="45" y="45"/>
                  </a:lnTo>
                  <a:lnTo>
                    <a:pt x="35" y="41"/>
                  </a:lnTo>
                  <a:lnTo>
                    <a:pt x="27" y="35"/>
                  </a:lnTo>
                  <a:lnTo>
                    <a:pt x="20" y="25"/>
                  </a:lnTo>
                  <a:lnTo>
                    <a:pt x="17" y="22"/>
                  </a:lnTo>
                  <a:lnTo>
                    <a:pt x="9" y="27"/>
                  </a:lnTo>
                  <a:lnTo>
                    <a:pt x="2" y="33"/>
                  </a:lnTo>
                  <a:lnTo>
                    <a:pt x="0" y="32"/>
                  </a:lnTo>
                  <a:lnTo>
                    <a:pt x="2" y="18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77" name="Freeform 74">
              <a:extLst>
                <a:ext uri="{FF2B5EF4-FFF2-40B4-BE49-F238E27FC236}">
                  <a16:creationId xmlns:a16="http://schemas.microsoft.com/office/drawing/2014/main" id="{5B6EE512-E798-7A1A-092D-3DECD8B91D5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408518" y="3946224"/>
              <a:ext cx="40293" cy="47251"/>
            </a:xfrm>
            <a:custGeom>
              <a:avLst/>
              <a:gdLst>
                <a:gd name="T0" fmla="*/ 0 w 77"/>
                <a:gd name="T1" fmla="*/ 0 h 85"/>
                <a:gd name="T2" fmla="*/ 0 w 77"/>
                <a:gd name="T3" fmla="*/ 0 h 85"/>
                <a:gd name="T4" fmla="*/ 0 w 77"/>
                <a:gd name="T5" fmla="*/ 0 h 85"/>
                <a:gd name="T6" fmla="*/ 0 w 77"/>
                <a:gd name="T7" fmla="*/ 0 h 85"/>
                <a:gd name="T8" fmla="*/ 0 w 77"/>
                <a:gd name="T9" fmla="*/ 0 h 85"/>
                <a:gd name="T10" fmla="*/ 0 w 77"/>
                <a:gd name="T11" fmla="*/ 0 h 85"/>
                <a:gd name="T12" fmla="*/ 0 w 77"/>
                <a:gd name="T13" fmla="*/ 0 h 85"/>
                <a:gd name="T14" fmla="*/ 0 w 77"/>
                <a:gd name="T15" fmla="*/ 0 h 85"/>
                <a:gd name="T16" fmla="*/ 0 w 77"/>
                <a:gd name="T17" fmla="*/ 0 h 85"/>
                <a:gd name="T18" fmla="*/ 0 w 77"/>
                <a:gd name="T19" fmla="*/ 0 h 85"/>
                <a:gd name="T20" fmla="*/ 0 w 77"/>
                <a:gd name="T21" fmla="*/ 0 h 85"/>
                <a:gd name="T22" fmla="*/ 0 w 77"/>
                <a:gd name="T23" fmla="*/ 0 h 85"/>
                <a:gd name="T24" fmla="*/ 0 w 77"/>
                <a:gd name="T25" fmla="*/ 0 h 85"/>
                <a:gd name="T26" fmla="*/ 0 w 77"/>
                <a:gd name="T27" fmla="*/ 0 h 85"/>
                <a:gd name="T28" fmla="*/ 0 w 77"/>
                <a:gd name="T29" fmla="*/ 0 h 85"/>
                <a:gd name="T30" fmla="*/ 0 w 77"/>
                <a:gd name="T31" fmla="*/ 0 h 85"/>
                <a:gd name="T32" fmla="*/ 0 w 77"/>
                <a:gd name="T33" fmla="*/ 0 h 85"/>
                <a:gd name="T34" fmla="*/ 0 w 77"/>
                <a:gd name="T35" fmla="*/ 0 h 85"/>
                <a:gd name="T36" fmla="*/ 0 w 77"/>
                <a:gd name="T37" fmla="*/ 0 h 85"/>
                <a:gd name="T38" fmla="*/ 0 w 77"/>
                <a:gd name="T39" fmla="*/ 0 h 85"/>
                <a:gd name="T40" fmla="*/ 0 w 77"/>
                <a:gd name="T41" fmla="*/ 0 h 85"/>
                <a:gd name="T42" fmla="*/ 0 w 77"/>
                <a:gd name="T43" fmla="*/ 0 h 85"/>
                <a:gd name="T44" fmla="*/ 0 w 77"/>
                <a:gd name="T45" fmla="*/ 0 h 85"/>
                <a:gd name="T46" fmla="*/ 0 w 77"/>
                <a:gd name="T47" fmla="*/ 0 h 85"/>
                <a:gd name="T48" fmla="*/ 0 w 77"/>
                <a:gd name="T49" fmla="*/ 0 h 85"/>
                <a:gd name="T50" fmla="*/ 0 w 77"/>
                <a:gd name="T51" fmla="*/ 0 h 8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77"/>
                <a:gd name="T79" fmla="*/ 0 h 85"/>
                <a:gd name="T80" fmla="*/ 77 w 77"/>
                <a:gd name="T81" fmla="*/ 85 h 8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77" h="85">
                  <a:moveTo>
                    <a:pt x="0" y="4"/>
                  </a:moveTo>
                  <a:lnTo>
                    <a:pt x="3" y="4"/>
                  </a:lnTo>
                  <a:lnTo>
                    <a:pt x="26" y="5"/>
                  </a:lnTo>
                  <a:lnTo>
                    <a:pt x="38" y="0"/>
                  </a:lnTo>
                  <a:lnTo>
                    <a:pt x="44" y="2"/>
                  </a:lnTo>
                  <a:lnTo>
                    <a:pt x="51" y="6"/>
                  </a:lnTo>
                  <a:lnTo>
                    <a:pt x="55" y="15"/>
                  </a:lnTo>
                  <a:lnTo>
                    <a:pt x="64" y="21"/>
                  </a:lnTo>
                  <a:lnTo>
                    <a:pt x="64" y="32"/>
                  </a:lnTo>
                  <a:lnTo>
                    <a:pt x="62" y="47"/>
                  </a:lnTo>
                  <a:lnTo>
                    <a:pt x="64" y="57"/>
                  </a:lnTo>
                  <a:lnTo>
                    <a:pt x="72" y="78"/>
                  </a:lnTo>
                  <a:lnTo>
                    <a:pt x="77" y="85"/>
                  </a:lnTo>
                  <a:lnTo>
                    <a:pt x="62" y="85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42" y="70"/>
                  </a:lnTo>
                  <a:lnTo>
                    <a:pt x="34" y="64"/>
                  </a:lnTo>
                  <a:lnTo>
                    <a:pt x="34" y="59"/>
                  </a:lnTo>
                  <a:lnTo>
                    <a:pt x="37" y="51"/>
                  </a:lnTo>
                  <a:lnTo>
                    <a:pt x="35" y="48"/>
                  </a:lnTo>
                  <a:lnTo>
                    <a:pt x="19" y="32"/>
                  </a:lnTo>
                  <a:lnTo>
                    <a:pt x="13" y="30"/>
                  </a:lnTo>
                  <a:lnTo>
                    <a:pt x="6" y="21"/>
                  </a:lnTo>
                  <a:lnTo>
                    <a:pt x="0" y="6"/>
                  </a:lnTo>
                  <a:lnTo>
                    <a:pt x="0" y="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78" name="Freeform 75">
              <a:extLst>
                <a:ext uri="{FF2B5EF4-FFF2-40B4-BE49-F238E27FC236}">
                  <a16:creationId xmlns:a16="http://schemas.microsoft.com/office/drawing/2014/main" id="{3F9F2986-74D6-D3A6-FAA4-0FAC53F22BD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339870" y="3969087"/>
              <a:ext cx="32832" cy="48775"/>
            </a:xfrm>
            <a:custGeom>
              <a:avLst/>
              <a:gdLst>
                <a:gd name="T0" fmla="*/ 0 w 63"/>
                <a:gd name="T1" fmla="*/ 0 h 83"/>
                <a:gd name="T2" fmla="*/ 0 w 63"/>
                <a:gd name="T3" fmla="*/ 0 h 83"/>
                <a:gd name="T4" fmla="*/ 0 w 63"/>
                <a:gd name="T5" fmla="*/ 0 h 83"/>
                <a:gd name="T6" fmla="*/ 0 w 63"/>
                <a:gd name="T7" fmla="*/ 0 h 83"/>
                <a:gd name="T8" fmla="*/ 0 w 63"/>
                <a:gd name="T9" fmla="*/ 0 h 83"/>
                <a:gd name="T10" fmla="*/ 0 w 63"/>
                <a:gd name="T11" fmla="*/ 0 h 83"/>
                <a:gd name="T12" fmla="*/ 0 w 63"/>
                <a:gd name="T13" fmla="*/ 0 h 83"/>
                <a:gd name="T14" fmla="*/ 0 w 63"/>
                <a:gd name="T15" fmla="*/ 0 h 83"/>
                <a:gd name="T16" fmla="*/ 0 w 63"/>
                <a:gd name="T17" fmla="*/ 0 h 83"/>
                <a:gd name="T18" fmla="*/ 0 w 63"/>
                <a:gd name="T19" fmla="*/ 0 h 83"/>
                <a:gd name="T20" fmla="*/ 0 w 63"/>
                <a:gd name="T21" fmla="*/ 0 h 83"/>
                <a:gd name="T22" fmla="*/ 0 w 63"/>
                <a:gd name="T23" fmla="*/ 0 h 83"/>
                <a:gd name="T24" fmla="*/ 0 w 63"/>
                <a:gd name="T25" fmla="*/ 0 h 83"/>
                <a:gd name="T26" fmla="*/ 0 w 63"/>
                <a:gd name="T27" fmla="*/ 0 h 83"/>
                <a:gd name="T28" fmla="*/ 0 w 63"/>
                <a:gd name="T29" fmla="*/ 0 h 83"/>
                <a:gd name="T30" fmla="*/ 0 w 63"/>
                <a:gd name="T31" fmla="*/ 0 h 83"/>
                <a:gd name="T32" fmla="*/ 0 w 63"/>
                <a:gd name="T33" fmla="*/ 0 h 83"/>
                <a:gd name="T34" fmla="*/ 0 w 63"/>
                <a:gd name="T35" fmla="*/ 0 h 83"/>
                <a:gd name="T36" fmla="*/ 0 w 63"/>
                <a:gd name="T37" fmla="*/ 0 h 83"/>
                <a:gd name="T38" fmla="*/ 0 w 63"/>
                <a:gd name="T39" fmla="*/ 0 h 83"/>
                <a:gd name="T40" fmla="*/ 0 w 63"/>
                <a:gd name="T41" fmla="*/ 0 h 83"/>
                <a:gd name="T42" fmla="*/ 0 w 63"/>
                <a:gd name="T43" fmla="*/ 0 h 83"/>
                <a:gd name="T44" fmla="*/ 0 w 63"/>
                <a:gd name="T45" fmla="*/ 0 h 83"/>
                <a:gd name="T46" fmla="*/ 0 w 63"/>
                <a:gd name="T47" fmla="*/ 0 h 83"/>
                <a:gd name="T48" fmla="*/ 0 w 63"/>
                <a:gd name="T49" fmla="*/ 0 h 83"/>
                <a:gd name="T50" fmla="*/ 0 w 63"/>
                <a:gd name="T51" fmla="*/ 0 h 8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3"/>
                <a:gd name="T79" fmla="*/ 0 h 83"/>
                <a:gd name="T80" fmla="*/ 63 w 63"/>
                <a:gd name="T81" fmla="*/ 83 h 83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3" h="83">
                  <a:moveTo>
                    <a:pt x="0" y="1"/>
                  </a:moveTo>
                  <a:lnTo>
                    <a:pt x="2" y="0"/>
                  </a:lnTo>
                  <a:lnTo>
                    <a:pt x="11" y="2"/>
                  </a:lnTo>
                  <a:lnTo>
                    <a:pt x="24" y="11"/>
                  </a:lnTo>
                  <a:lnTo>
                    <a:pt x="27" y="17"/>
                  </a:lnTo>
                  <a:lnTo>
                    <a:pt x="33" y="18"/>
                  </a:lnTo>
                  <a:lnTo>
                    <a:pt x="49" y="18"/>
                  </a:lnTo>
                  <a:lnTo>
                    <a:pt x="50" y="22"/>
                  </a:lnTo>
                  <a:lnTo>
                    <a:pt x="60" y="19"/>
                  </a:lnTo>
                  <a:lnTo>
                    <a:pt x="63" y="21"/>
                  </a:lnTo>
                  <a:lnTo>
                    <a:pt x="63" y="33"/>
                  </a:lnTo>
                  <a:lnTo>
                    <a:pt x="60" y="44"/>
                  </a:lnTo>
                  <a:lnTo>
                    <a:pt x="52" y="49"/>
                  </a:lnTo>
                  <a:lnTo>
                    <a:pt x="44" y="59"/>
                  </a:lnTo>
                  <a:lnTo>
                    <a:pt x="36" y="65"/>
                  </a:lnTo>
                  <a:lnTo>
                    <a:pt x="32" y="67"/>
                  </a:lnTo>
                  <a:lnTo>
                    <a:pt x="23" y="68"/>
                  </a:lnTo>
                  <a:lnTo>
                    <a:pt x="11" y="73"/>
                  </a:lnTo>
                  <a:lnTo>
                    <a:pt x="3" y="83"/>
                  </a:lnTo>
                  <a:lnTo>
                    <a:pt x="1" y="71"/>
                  </a:lnTo>
                  <a:lnTo>
                    <a:pt x="1" y="59"/>
                  </a:lnTo>
                  <a:lnTo>
                    <a:pt x="3" y="45"/>
                  </a:lnTo>
                  <a:lnTo>
                    <a:pt x="6" y="17"/>
                  </a:lnTo>
                  <a:lnTo>
                    <a:pt x="4" y="11"/>
                  </a:lnTo>
                  <a:lnTo>
                    <a:pt x="0" y="6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79" name="Freeform 76">
              <a:extLst>
                <a:ext uri="{FF2B5EF4-FFF2-40B4-BE49-F238E27FC236}">
                  <a16:creationId xmlns:a16="http://schemas.microsoft.com/office/drawing/2014/main" id="{EDD5DAC5-BD22-A947-F60A-5B5CCABA556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351809" y="3999572"/>
              <a:ext cx="31339" cy="60968"/>
            </a:xfrm>
            <a:custGeom>
              <a:avLst/>
              <a:gdLst>
                <a:gd name="T0" fmla="*/ 0 w 59"/>
                <a:gd name="T1" fmla="*/ 0 h 107"/>
                <a:gd name="T2" fmla="*/ 0 w 59"/>
                <a:gd name="T3" fmla="*/ 0 h 107"/>
                <a:gd name="T4" fmla="*/ 0 w 59"/>
                <a:gd name="T5" fmla="*/ 0 h 107"/>
                <a:gd name="T6" fmla="*/ 0 w 59"/>
                <a:gd name="T7" fmla="*/ 0 h 107"/>
                <a:gd name="T8" fmla="*/ 0 w 59"/>
                <a:gd name="T9" fmla="*/ 0 h 107"/>
                <a:gd name="T10" fmla="*/ 0 w 59"/>
                <a:gd name="T11" fmla="*/ 0 h 107"/>
                <a:gd name="T12" fmla="*/ 0 w 59"/>
                <a:gd name="T13" fmla="*/ 0 h 107"/>
                <a:gd name="T14" fmla="*/ 0 w 59"/>
                <a:gd name="T15" fmla="*/ 0 h 107"/>
                <a:gd name="T16" fmla="*/ 0 w 59"/>
                <a:gd name="T17" fmla="*/ 0 h 107"/>
                <a:gd name="T18" fmla="*/ 0 w 59"/>
                <a:gd name="T19" fmla="*/ 0 h 107"/>
                <a:gd name="T20" fmla="*/ 0 w 59"/>
                <a:gd name="T21" fmla="*/ 0 h 107"/>
                <a:gd name="T22" fmla="*/ 0 w 59"/>
                <a:gd name="T23" fmla="*/ 0 h 107"/>
                <a:gd name="T24" fmla="*/ 0 w 59"/>
                <a:gd name="T25" fmla="*/ 0 h 107"/>
                <a:gd name="T26" fmla="*/ 0 w 59"/>
                <a:gd name="T27" fmla="*/ 0 h 107"/>
                <a:gd name="T28" fmla="*/ 0 w 59"/>
                <a:gd name="T29" fmla="*/ 0 h 107"/>
                <a:gd name="T30" fmla="*/ 0 w 59"/>
                <a:gd name="T31" fmla="*/ 0 h 107"/>
                <a:gd name="T32" fmla="*/ 0 w 59"/>
                <a:gd name="T33" fmla="*/ 0 h 107"/>
                <a:gd name="T34" fmla="*/ 0 w 59"/>
                <a:gd name="T35" fmla="*/ 0 h 107"/>
                <a:gd name="T36" fmla="*/ 0 w 59"/>
                <a:gd name="T37" fmla="*/ 0 h 107"/>
                <a:gd name="T38" fmla="*/ 0 w 59"/>
                <a:gd name="T39" fmla="*/ 0 h 107"/>
                <a:gd name="T40" fmla="*/ 0 w 59"/>
                <a:gd name="T41" fmla="*/ 0 h 107"/>
                <a:gd name="T42" fmla="*/ 0 w 59"/>
                <a:gd name="T43" fmla="*/ 0 h 107"/>
                <a:gd name="T44" fmla="*/ 0 w 59"/>
                <a:gd name="T45" fmla="*/ 0 h 107"/>
                <a:gd name="T46" fmla="*/ 0 w 59"/>
                <a:gd name="T47" fmla="*/ 0 h 107"/>
                <a:gd name="T48" fmla="*/ 0 w 59"/>
                <a:gd name="T49" fmla="*/ 0 h 10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9"/>
                <a:gd name="T76" fmla="*/ 0 h 107"/>
                <a:gd name="T77" fmla="*/ 59 w 59"/>
                <a:gd name="T78" fmla="*/ 107 h 10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9" h="107">
                  <a:moveTo>
                    <a:pt x="29" y="8"/>
                  </a:moveTo>
                  <a:lnTo>
                    <a:pt x="39" y="0"/>
                  </a:lnTo>
                  <a:lnTo>
                    <a:pt x="43" y="1"/>
                  </a:lnTo>
                  <a:lnTo>
                    <a:pt x="59" y="5"/>
                  </a:lnTo>
                  <a:lnTo>
                    <a:pt x="59" y="14"/>
                  </a:lnTo>
                  <a:lnTo>
                    <a:pt x="57" y="25"/>
                  </a:lnTo>
                  <a:lnTo>
                    <a:pt x="52" y="30"/>
                  </a:lnTo>
                  <a:lnTo>
                    <a:pt x="51" y="41"/>
                  </a:lnTo>
                  <a:lnTo>
                    <a:pt x="41" y="62"/>
                  </a:lnTo>
                  <a:lnTo>
                    <a:pt x="40" y="75"/>
                  </a:lnTo>
                  <a:lnTo>
                    <a:pt x="41" y="83"/>
                  </a:lnTo>
                  <a:lnTo>
                    <a:pt x="44" y="90"/>
                  </a:lnTo>
                  <a:lnTo>
                    <a:pt x="43" y="101"/>
                  </a:lnTo>
                  <a:lnTo>
                    <a:pt x="34" y="107"/>
                  </a:lnTo>
                  <a:lnTo>
                    <a:pt x="25" y="97"/>
                  </a:lnTo>
                  <a:lnTo>
                    <a:pt x="19" y="89"/>
                  </a:lnTo>
                  <a:lnTo>
                    <a:pt x="13" y="86"/>
                  </a:lnTo>
                  <a:lnTo>
                    <a:pt x="6" y="79"/>
                  </a:lnTo>
                  <a:lnTo>
                    <a:pt x="0" y="69"/>
                  </a:lnTo>
                  <a:lnTo>
                    <a:pt x="3" y="57"/>
                  </a:lnTo>
                  <a:lnTo>
                    <a:pt x="18" y="51"/>
                  </a:lnTo>
                  <a:lnTo>
                    <a:pt x="22" y="42"/>
                  </a:lnTo>
                  <a:lnTo>
                    <a:pt x="22" y="25"/>
                  </a:lnTo>
                  <a:lnTo>
                    <a:pt x="27" y="10"/>
                  </a:lnTo>
                  <a:lnTo>
                    <a:pt x="29" y="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80" name="Freeform 77">
              <a:extLst>
                <a:ext uri="{FF2B5EF4-FFF2-40B4-BE49-F238E27FC236}">
                  <a16:creationId xmlns:a16="http://schemas.microsoft.com/office/drawing/2014/main" id="{490DD397-C2B4-608E-2063-57D8F367F4E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408518" y="3982805"/>
              <a:ext cx="25369" cy="45726"/>
            </a:xfrm>
            <a:custGeom>
              <a:avLst/>
              <a:gdLst>
                <a:gd name="T0" fmla="*/ 0 w 51"/>
                <a:gd name="T1" fmla="*/ 0 h 81"/>
                <a:gd name="T2" fmla="*/ 0 w 51"/>
                <a:gd name="T3" fmla="*/ 0 h 81"/>
                <a:gd name="T4" fmla="*/ 0 w 51"/>
                <a:gd name="T5" fmla="*/ 0 h 81"/>
                <a:gd name="T6" fmla="*/ 0 w 51"/>
                <a:gd name="T7" fmla="*/ 0 h 81"/>
                <a:gd name="T8" fmla="*/ 0 w 51"/>
                <a:gd name="T9" fmla="*/ 0 h 81"/>
                <a:gd name="T10" fmla="*/ 0 w 51"/>
                <a:gd name="T11" fmla="*/ 0 h 81"/>
                <a:gd name="T12" fmla="*/ 0 w 51"/>
                <a:gd name="T13" fmla="*/ 0 h 81"/>
                <a:gd name="T14" fmla="*/ 0 w 51"/>
                <a:gd name="T15" fmla="*/ 0 h 81"/>
                <a:gd name="T16" fmla="*/ 0 w 51"/>
                <a:gd name="T17" fmla="*/ 0 h 81"/>
                <a:gd name="T18" fmla="*/ 0 w 51"/>
                <a:gd name="T19" fmla="*/ 0 h 81"/>
                <a:gd name="T20" fmla="*/ 0 w 51"/>
                <a:gd name="T21" fmla="*/ 0 h 81"/>
                <a:gd name="T22" fmla="*/ 0 w 51"/>
                <a:gd name="T23" fmla="*/ 0 h 81"/>
                <a:gd name="T24" fmla="*/ 0 w 51"/>
                <a:gd name="T25" fmla="*/ 0 h 81"/>
                <a:gd name="T26" fmla="*/ 0 w 51"/>
                <a:gd name="T27" fmla="*/ 0 h 81"/>
                <a:gd name="T28" fmla="*/ 0 w 51"/>
                <a:gd name="T29" fmla="*/ 0 h 81"/>
                <a:gd name="T30" fmla="*/ 0 w 51"/>
                <a:gd name="T31" fmla="*/ 0 h 81"/>
                <a:gd name="T32" fmla="*/ 0 w 51"/>
                <a:gd name="T33" fmla="*/ 0 h 81"/>
                <a:gd name="T34" fmla="*/ 0 w 51"/>
                <a:gd name="T35" fmla="*/ 0 h 81"/>
                <a:gd name="T36" fmla="*/ 0 w 51"/>
                <a:gd name="T37" fmla="*/ 0 h 81"/>
                <a:gd name="T38" fmla="*/ 0 w 51"/>
                <a:gd name="T39" fmla="*/ 0 h 81"/>
                <a:gd name="T40" fmla="*/ 0 w 51"/>
                <a:gd name="T41" fmla="*/ 0 h 81"/>
                <a:gd name="T42" fmla="*/ 0 w 51"/>
                <a:gd name="T43" fmla="*/ 0 h 81"/>
                <a:gd name="T44" fmla="*/ 0 w 51"/>
                <a:gd name="T45" fmla="*/ 0 h 8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51"/>
                <a:gd name="T70" fmla="*/ 0 h 81"/>
                <a:gd name="T71" fmla="*/ 51 w 51"/>
                <a:gd name="T72" fmla="*/ 81 h 8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51" h="81">
                  <a:moveTo>
                    <a:pt x="0" y="0"/>
                  </a:moveTo>
                  <a:lnTo>
                    <a:pt x="2" y="5"/>
                  </a:lnTo>
                  <a:lnTo>
                    <a:pt x="6" y="8"/>
                  </a:lnTo>
                  <a:lnTo>
                    <a:pt x="11" y="6"/>
                  </a:lnTo>
                  <a:lnTo>
                    <a:pt x="16" y="8"/>
                  </a:lnTo>
                  <a:lnTo>
                    <a:pt x="29" y="7"/>
                  </a:lnTo>
                  <a:lnTo>
                    <a:pt x="37" y="18"/>
                  </a:lnTo>
                  <a:lnTo>
                    <a:pt x="38" y="43"/>
                  </a:lnTo>
                  <a:lnTo>
                    <a:pt x="43" y="51"/>
                  </a:lnTo>
                  <a:lnTo>
                    <a:pt x="48" y="64"/>
                  </a:lnTo>
                  <a:lnTo>
                    <a:pt x="51" y="69"/>
                  </a:lnTo>
                  <a:lnTo>
                    <a:pt x="44" y="72"/>
                  </a:lnTo>
                  <a:lnTo>
                    <a:pt x="38" y="70"/>
                  </a:lnTo>
                  <a:lnTo>
                    <a:pt x="37" y="81"/>
                  </a:lnTo>
                  <a:lnTo>
                    <a:pt x="29" y="78"/>
                  </a:lnTo>
                  <a:lnTo>
                    <a:pt x="26" y="67"/>
                  </a:lnTo>
                  <a:lnTo>
                    <a:pt x="26" y="43"/>
                  </a:lnTo>
                  <a:lnTo>
                    <a:pt x="19" y="30"/>
                  </a:lnTo>
                  <a:lnTo>
                    <a:pt x="8" y="34"/>
                  </a:lnTo>
                  <a:lnTo>
                    <a:pt x="6" y="22"/>
                  </a:lnTo>
                  <a:lnTo>
                    <a:pt x="3" y="10"/>
                  </a:lnTo>
                  <a:lnTo>
                    <a:pt x="1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81" name="Freeform 78">
              <a:extLst>
                <a:ext uri="{FF2B5EF4-FFF2-40B4-BE49-F238E27FC236}">
                  <a16:creationId xmlns:a16="http://schemas.microsoft.com/office/drawing/2014/main" id="{CE5285E0-105B-2330-A0FD-84CE262C617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381656" y="3988901"/>
              <a:ext cx="17908" cy="57921"/>
            </a:xfrm>
            <a:custGeom>
              <a:avLst/>
              <a:gdLst>
                <a:gd name="T0" fmla="*/ 0 w 38"/>
                <a:gd name="T1" fmla="*/ 0 h 99"/>
                <a:gd name="T2" fmla="*/ 0 w 38"/>
                <a:gd name="T3" fmla="*/ 0 h 99"/>
                <a:gd name="T4" fmla="*/ 0 w 38"/>
                <a:gd name="T5" fmla="*/ 0 h 99"/>
                <a:gd name="T6" fmla="*/ 0 w 38"/>
                <a:gd name="T7" fmla="*/ 0 h 99"/>
                <a:gd name="T8" fmla="*/ 0 w 38"/>
                <a:gd name="T9" fmla="*/ 0 h 99"/>
                <a:gd name="T10" fmla="*/ 0 w 38"/>
                <a:gd name="T11" fmla="*/ 0 h 99"/>
                <a:gd name="T12" fmla="*/ 0 w 38"/>
                <a:gd name="T13" fmla="*/ 0 h 99"/>
                <a:gd name="T14" fmla="*/ 0 w 38"/>
                <a:gd name="T15" fmla="*/ 0 h 99"/>
                <a:gd name="T16" fmla="*/ 0 w 38"/>
                <a:gd name="T17" fmla="*/ 0 h 99"/>
                <a:gd name="T18" fmla="*/ 0 w 38"/>
                <a:gd name="T19" fmla="*/ 0 h 99"/>
                <a:gd name="T20" fmla="*/ 0 w 38"/>
                <a:gd name="T21" fmla="*/ 0 h 99"/>
                <a:gd name="T22" fmla="*/ 0 w 38"/>
                <a:gd name="T23" fmla="*/ 0 h 99"/>
                <a:gd name="T24" fmla="*/ 0 w 38"/>
                <a:gd name="T25" fmla="*/ 0 h 99"/>
                <a:gd name="T26" fmla="*/ 0 w 38"/>
                <a:gd name="T27" fmla="*/ 0 h 99"/>
                <a:gd name="T28" fmla="*/ 0 w 38"/>
                <a:gd name="T29" fmla="*/ 0 h 99"/>
                <a:gd name="T30" fmla="*/ 0 w 38"/>
                <a:gd name="T31" fmla="*/ 0 h 99"/>
                <a:gd name="T32" fmla="*/ 0 w 38"/>
                <a:gd name="T33" fmla="*/ 0 h 99"/>
                <a:gd name="T34" fmla="*/ 0 w 38"/>
                <a:gd name="T35" fmla="*/ 0 h 9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8"/>
                <a:gd name="T55" fmla="*/ 0 h 99"/>
                <a:gd name="T56" fmla="*/ 38 w 38"/>
                <a:gd name="T57" fmla="*/ 99 h 9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8" h="99">
                  <a:moveTo>
                    <a:pt x="35" y="2"/>
                  </a:moveTo>
                  <a:lnTo>
                    <a:pt x="37" y="0"/>
                  </a:lnTo>
                  <a:lnTo>
                    <a:pt x="38" y="5"/>
                  </a:lnTo>
                  <a:lnTo>
                    <a:pt x="37" y="10"/>
                  </a:lnTo>
                  <a:lnTo>
                    <a:pt x="37" y="33"/>
                  </a:lnTo>
                  <a:lnTo>
                    <a:pt x="36" y="48"/>
                  </a:lnTo>
                  <a:lnTo>
                    <a:pt x="24" y="58"/>
                  </a:lnTo>
                  <a:lnTo>
                    <a:pt x="15" y="75"/>
                  </a:lnTo>
                  <a:lnTo>
                    <a:pt x="10" y="86"/>
                  </a:lnTo>
                  <a:lnTo>
                    <a:pt x="6" y="96"/>
                  </a:lnTo>
                  <a:lnTo>
                    <a:pt x="3" y="99"/>
                  </a:lnTo>
                  <a:lnTo>
                    <a:pt x="0" y="87"/>
                  </a:lnTo>
                  <a:lnTo>
                    <a:pt x="0" y="78"/>
                  </a:lnTo>
                  <a:lnTo>
                    <a:pt x="8" y="58"/>
                  </a:lnTo>
                  <a:lnTo>
                    <a:pt x="17" y="41"/>
                  </a:lnTo>
                  <a:lnTo>
                    <a:pt x="26" y="21"/>
                  </a:lnTo>
                  <a:lnTo>
                    <a:pt x="31" y="5"/>
                  </a:lnTo>
                  <a:lnTo>
                    <a:pt x="35" y="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82" name="Freeform 79">
              <a:extLst>
                <a:ext uri="{FF2B5EF4-FFF2-40B4-BE49-F238E27FC236}">
                  <a16:creationId xmlns:a16="http://schemas.microsoft.com/office/drawing/2014/main" id="{29F0DCA2-3538-0C5C-B779-6CC2CD82F0B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393594" y="4022434"/>
              <a:ext cx="23877" cy="19815"/>
            </a:xfrm>
            <a:custGeom>
              <a:avLst/>
              <a:gdLst>
                <a:gd name="T0" fmla="*/ 0 w 39"/>
                <a:gd name="T1" fmla="*/ 0 h 31"/>
                <a:gd name="T2" fmla="*/ 0 w 39"/>
                <a:gd name="T3" fmla="*/ 0 h 31"/>
                <a:gd name="T4" fmla="*/ 0 w 39"/>
                <a:gd name="T5" fmla="*/ 0 h 31"/>
                <a:gd name="T6" fmla="*/ 0 w 39"/>
                <a:gd name="T7" fmla="*/ 0 h 31"/>
                <a:gd name="T8" fmla="*/ 0 w 39"/>
                <a:gd name="T9" fmla="*/ 0 h 31"/>
                <a:gd name="T10" fmla="*/ 0 w 39"/>
                <a:gd name="T11" fmla="*/ 0 h 31"/>
                <a:gd name="T12" fmla="*/ 0 w 39"/>
                <a:gd name="T13" fmla="*/ 0 h 31"/>
                <a:gd name="T14" fmla="*/ 0 w 39"/>
                <a:gd name="T15" fmla="*/ 0 h 31"/>
                <a:gd name="T16" fmla="*/ 0 w 39"/>
                <a:gd name="T17" fmla="*/ 0 h 31"/>
                <a:gd name="T18" fmla="*/ 0 w 39"/>
                <a:gd name="T19" fmla="*/ 0 h 31"/>
                <a:gd name="T20" fmla="*/ 0 w 39"/>
                <a:gd name="T21" fmla="*/ 0 h 31"/>
                <a:gd name="T22" fmla="*/ 0 w 39"/>
                <a:gd name="T23" fmla="*/ 0 h 31"/>
                <a:gd name="T24" fmla="*/ 0 w 39"/>
                <a:gd name="T25" fmla="*/ 0 h 31"/>
                <a:gd name="T26" fmla="*/ 0 w 39"/>
                <a:gd name="T27" fmla="*/ 0 h 31"/>
                <a:gd name="T28" fmla="*/ 0 w 39"/>
                <a:gd name="T29" fmla="*/ 0 h 31"/>
                <a:gd name="T30" fmla="*/ 0 w 39"/>
                <a:gd name="T31" fmla="*/ 0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9"/>
                <a:gd name="T49" fmla="*/ 0 h 31"/>
                <a:gd name="T50" fmla="*/ 39 w 39"/>
                <a:gd name="T51" fmla="*/ 31 h 3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9" h="31">
                  <a:moveTo>
                    <a:pt x="0" y="18"/>
                  </a:moveTo>
                  <a:lnTo>
                    <a:pt x="0" y="16"/>
                  </a:lnTo>
                  <a:lnTo>
                    <a:pt x="2" y="16"/>
                  </a:lnTo>
                  <a:lnTo>
                    <a:pt x="9" y="12"/>
                  </a:lnTo>
                  <a:lnTo>
                    <a:pt x="12" y="5"/>
                  </a:lnTo>
                  <a:lnTo>
                    <a:pt x="20" y="0"/>
                  </a:lnTo>
                  <a:lnTo>
                    <a:pt x="32" y="5"/>
                  </a:lnTo>
                  <a:lnTo>
                    <a:pt x="39" y="3"/>
                  </a:lnTo>
                  <a:lnTo>
                    <a:pt x="39" y="14"/>
                  </a:lnTo>
                  <a:lnTo>
                    <a:pt x="38" y="18"/>
                  </a:lnTo>
                  <a:lnTo>
                    <a:pt x="39" y="24"/>
                  </a:lnTo>
                  <a:lnTo>
                    <a:pt x="37" y="27"/>
                  </a:lnTo>
                  <a:lnTo>
                    <a:pt x="22" y="31"/>
                  </a:lnTo>
                  <a:lnTo>
                    <a:pt x="7" y="30"/>
                  </a:lnTo>
                  <a:lnTo>
                    <a:pt x="4" y="2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83" name="Freeform 80">
              <a:extLst>
                <a:ext uri="{FF2B5EF4-FFF2-40B4-BE49-F238E27FC236}">
                  <a16:creationId xmlns:a16="http://schemas.microsoft.com/office/drawing/2014/main" id="{7D200082-7B35-F042-B9C0-1D9EE1906F7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339870" y="4036153"/>
              <a:ext cx="134311" cy="132606"/>
            </a:xfrm>
            <a:custGeom>
              <a:avLst/>
              <a:gdLst>
                <a:gd name="T0" fmla="*/ 0 w 254"/>
                <a:gd name="T1" fmla="*/ 0 h 227"/>
                <a:gd name="T2" fmla="*/ 0 w 254"/>
                <a:gd name="T3" fmla="*/ 0 h 227"/>
                <a:gd name="T4" fmla="*/ 0 w 254"/>
                <a:gd name="T5" fmla="*/ 0 h 227"/>
                <a:gd name="T6" fmla="*/ 0 w 254"/>
                <a:gd name="T7" fmla="*/ 0 h 227"/>
                <a:gd name="T8" fmla="*/ 0 w 254"/>
                <a:gd name="T9" fmla="*/ 0 h 227"/>
                <a:gd name="T10" fmla="*/ 0 w 254"/>
                <a:gd name="T11" fmla="*/ 0 h 227"/>
                <a:gd name="T12" fmla="*/ 0 w 254"/>
                <a:gd name="T13" fmla="*/ 0 h 227"/>
                <a:gd name="T14" fmla="*/ 0 w 254"/>
                <a:gd name="T15" fmla="*/ 0 h 227"/>
                <a:gd name="T16" fmla="*/ 0 w 254"/>
                <a:gd name="T17" fmla="*/ 0 h 227"/>
                <a:gd name="T18" fmla="*/ 0 w 254"/>
                <a:gd name="T19" fmla="*/ 0 h 227"/>
                <a:gd name="T20" fmla="*/ 0 w 254"/>
                <a:gd name="T21" fmla="*/ 0 h 227"/>
                <a:gd name="T22" fmla="*/ 0 w 254"/>
                <a:gd name="T23" fmla="*/ 0 h 227"/>
                <a:gd name="T24" fmla="*/ 0 w 254"/>
                <a:gd name="T25" fmla="*/ 0 h 227"/>
                <a:gd name="T26" fmla="*/ 0 w 254"/>
                <a:gd name="T27" fmla="*/ 0 h 227"/>
                <a:gd name="T28" fmla="*/ 0 w 254"/>
                <a:gd name="T29" fmla="*/ 0 h 227"/>
                <a:gd name="T30" fmla="*/ 0 w 254"/>
                <a:gd name="T31" fmla="*/ 0 h 227"/>
                <a:gd name="T32" fmla="*/ 0 w 254"/>
                <a:gd name="T33" fmla="*/ 0 h 227"/>
                <a:gd name="T34" fmla="*/ 0 w 254"/>
                <a:gd name="T35" fmla="*/ 0 h 227"/>
                <a:gd name="T36" fmla="*/ 0 w 254"/>
                <a:gd name="T37" fmla="*/ 0 h 227"/>
                <a:gd name="T38" fmla="*/ 0 w 254"/>
                <a:gd name="T39" fmla="*/ 0 h 227"/>
                <a:gd name="T40" fmla="*/ 0 w 254"/>
                <a:gd name="T41" fmla="*/ 0 h 227"/>
                <a:gd name="T42" fmla="*/ 0 w 254"/>
                <a:gd name="T43" fmla="*/ 0 h 227"/>
                <a:gd name="T44" fmla="*/ 0 w 254"/>
                <a:gd name="T45" fmla="*/ 0 h 227"/>
                <a:gd name="T46" fmla="*/ 0 w 254"/>
                <a:gd name="T47" fmla="*/ 0 h 227"/>
                <a:gd name="T48" fmla="*/ 0 w 254"/>
                <a:gd name="T49" fmla="*/ 0 h 227"/>
                <a:gd name="T50" fmla="*/ 0 w 254"/>
                <a:gd name="T51" fmla="*/ 0 h 227"/>
                <a:gd name="T52" fmla="*/ 0 w 254"/>
                <a:gd name="T53" fmla="*/ 0 h 227"/>
                <a:gd name="T54" fmla="*/ 0 w 254"/>
                <a:gd name="T55" fmla="*/ 0 h 227"/>
                <a:gd name="T56" fmla="*/ 0 w 254"/>
                <a:gd name="T57" fmla="*/ 0 h 227"/>
                <a:gd name="T58" fmla="*/ 0 w 254"/>
                <a:gd name="T59" fmla="*/ 0 h 227"/>
                <a:gd name="T60" fmla="*/ 0 w 254"/>
                <a:gd name="T61" fmla="*/ 0 h 227"/>
                <a:gd name="T62" fmla="*/ 0 w 254"/>
                <a:gd name="T63" fmla="*/ 0 h 227"/>
                <a:gd name="T64" fmla="*/ 0 w 254"/>
                <a:gd name="T65" fmla="*/ 0 h 227"/>
                <a:gd name="T66" fmla="*/ 0 w 254"/>
                <a:gd name="T67" fmla="*/ 0 h 227"/>
                <a:gd name="T68" fmla="*/ 0 w 254"/>
                <a:gd name="T69" fmla="*/ 0 h 227"/>
                <a:gd name="T70" fmla="*/ 0 w 254"/>
                <a:gd name="T71" fmla="*/ 0 h 227"/>
                <a:gd name="T72" fmla="*/ 0 w 254"/>
                <a:gd name="T73" fmla="*/ 0 h 227"/>
                <a:gd name="T74" fmla="*/ 0 w 254"/>
                <a:gd name="T75" fmla="*/ 0 h 227"/>
                <a:gd name="T76" fmla="*/ 0 w 254"/>
                <a:gd name="T77" fmla="*/ 0 h 227"/>
                <a:gd name="T78" fmla="*/ 0 w 254"/>
                <a:gd name="T79" fmla="*/ 0 h 227"/>
                <a:gd name="T80" fmla="*/ 0 w 254"/>
                <a:gd name="T81" fmla="*/ 0 h 227"/>
                <a:gd name="T82" fmla="*/ 0 w 254"/>
                <a:gd name="T83" fmla="*/ 0 h 227"/>
                <a:gd name="T84" fmla="*/ 0 w 254"/>
                <a:gd name="T85" fmla="*/ 0 h 227"/>
                <a:gd name="T86" fmla="*/ 0 w 254"/>
                <a:gd name="T87" fmla="*/ 0 h 227"/>
                <a:gd name="T88" fmla="*/ 0 w 254"/>
                <a:gd name="T89" fmla="*/ 0 h 227"/>
                <a:gd name="T90" fmla="*/ 0 w 254"/>
                <a:gd name="T91" fmla="*/ 0 h 227"/>
                <a:gd name="T92" fmla="*/ 0 w 254"/>
                <a:gd name="T93" fmla="*/ 0 h 22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54"/>
                <a:gd name="T142" fmla="*/ 0 h 227"/>
                <a:gd name="T143" fmla="*/ 254 w 254"/>
                <a:gd name="T144" fmla="*/ 227 h 22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54" h="227">
                  <a:moveTo>
                    <a:pt x="191" y="1"/>
                  </a:moveTo>
                  <a:lnTo>
                    <a:pt x="190" y="0"/>
                  </a:lnTo>
                  <a:lnTo>
                    <a:pt x="200" y="0"/>
                  </a:lnTo>
                  <a:lnTo>
                    <a:pt x="207" y="10"/>
                  </a:lnTo>
                  <a:lnTo>
                    <a:pt x="215" y="13"/>
                  </a:lnTo>
                  <a:lnTo>
                    <a:pt x="224" y="26"/>
                  </a:lnTo>
                  <a:lnTo>
                    <a:pt x="229" y="26"/>
                  </a:lnTo>
                  <a:lnTo>
                    <a:pt x="233" y="33"/>
                  </a:lnTo>
                  <a:lnTo>
                    <a:pt x="240" y="46"/>
                  </a:lnTo>
                  <a:lnTo>
                    <a:pt x="240" y="51"/>
                  </a:lnTo>
                  <a:lnTo>
                    <a:pt x="231" y="64"/>
                  </a:lnTo>
                  <a:lnTo>
                    <a:pt x="242" y="70"/>
                  </a:lnTo>
                  <a:lnTo>
                    <a:pt x="242" y="81"/>
                  </a:lnTo>
                  <a:lnTo>
                    <a:pt x="246" y="86"/>
                  </a:lnTo>
                  <a:lnTo>
                    <a:pt x="248" y="104"/>
                  </a:lnTo>
                  <a:lnTo>
                    <a:pt x="250" y="110"/>
                  </a:lnTo>
                  <a:lnTo>
                    <a:pt x="254" y="124"/>
                  </a:lnTo>
                  <a:lnTo>
                    <a:pt x="254" y="142"/>
                  </a:lnTo>
                  <a:lnTo>
                    <a:pt x="249" y="150"/>
                  </a:lnTo>
                  <a:lnTo>
                    <a:pt x="243" y="152"/>
                  </a:lnTo>
                  <a:lnTo>
                    <a:pt x="238" y="161"/>
                  </a:lnTo>
                  <a:lnTo>
                    <a:pt x="238" y="185"/>
                  </a:lnTo>
                  <a:lnTo>
                    <a:pt x="231" y="179"/>
                  </a:lnTo>
                  <a:lnTo>
                    <a:pt x="227" y="167"/>
                  </a:lnTo>
                  <a:lnTo>
                    <a:pt x="227" y="151"/>
                  </a:lnTo>
                  <a:lnTo>
                    <a:pt x="221" y="142"/>
                  </a:lnTo>
                  <a:lnTo>
                    <a:pt x="217" y="134"/>
                  </a:lnTo>
                  <a:lnTo>
                    <a:pt x="212" y="131"/>
                  </a:lnTo>
                  <a:lnTo>
                    <a:pt x="207" y="135"/>
                  </a:lnTo>
                  <a:lnTo>
                    <a:pt x="192" y="158"/>
                  </a:lnTo>
                  <a:lnTo>
                    <a:pt x="191" y="172"/>
                  </a:lnTo>
                  <a:lnTo>
                    <a:pt x="197" y="179"/>
                  </a:lnTo>
                  <a:lnTo>
                    <a:pt x="202" y="189"/>
                  </a:lnTo>
                  <a:lnTo>
                    <a:pt x="206" y="201"/>
                  </a:lnTo>
                  <a:lnTo>
                    <a:pt x="206" y="207"/>
                  </a:lnTo>
                  <a:lnTo>
                    <a:pt x="194" y="227"/>
                  </a:lnTo>
                  <a:lnTo>
                    <a:pt x="186" y="223"/>
                  </a:lnTo>
                  <a:lnTo>
                    <a:pt x="184" y="211"/>
                  </a:lnTo>
                  <a:lnTo>
                    <a:pt x="183" y="205"/>
                  </a:lnTo>
                  <a:lnTo>
                    <a:pt x="174" y="211"/>
                  </a:lnTo>
                  <a:lnTo>
                    <a:pt x="164" y="212"/>
                  </a:lnTo>
                  <a:lnTo>
                    <a:pt x="156" y="210"/>
                  </a:lnTo>
                  <a:lnTo>
                    <a:pt x="133" y="199"/>
                  </a:lnTo>
                  <a:lnTo>
                    <a:pt x="125" y="189"/>
                  </a:lnTo>
                  <a:lnTo>
                    <a:pt x="120" y="182"/>
                  </a:lnTo>
                  <a:lnTo>
                    <a:pt x="119" y="171"/>
                  </a:lnTo>
                  <a:lnTo>
                    <a:pt x="116" y="162"/>
                  </a:lnTo>
                  <a:lnTo>
                    <a:pt x="113" y="150"/>
                  </a:lnTo>
                  <a:lnTo>
                    <a:pt x="125" y="134"/>
                  </a:lnTo>
                  <a:lnTo>
                    <a:pt x="125" y="126"/>
                  </a:lnTo>
                  <a:lnTo>
                    <a:pt x="116" y="116"/>
                  </a:lnTo>
                  <a:lnTo>
                    <a:pt x="105" y="108"/>
                  </a:lnTo>
                  <a:lnTo>
                    <a:pt x="97" y="104"/>
                  </a:lnTo>
                  <a:lnTo>
                    <a:pt x="89" y="104"/>
                  </a:lnTo>
                  <a:lnTo>
                    <a:pt x="81" y="119"/>
                  </a:lnTo>
                  <a:lnTo>
                    <a:pt x="81" y="125"/>
                  </a:lnTo>
                  <a:lnTo>
                    <a:pt x="73" y="121"/>
                  </a:lnTo>
                  <a:lnTo>
                    <a:pt x="68" y="121"/>
                  </a:lnTo>
                  <a:lnTo>
                    <a:pt x="68" y="114"/>
                  </a:lnTo>
                  <a:lnTo>
                    <a:pt x="55" y="126"/>
                  </a:lnTo>
                  <a:lnTo>
                    <a:pt x="54" y="132"/>
                  </a:lnTo>
                  <a:lnTo>
                    <a:pt x="50" y="123"/>
                  </a:lnTo>
                  <a:lnTo>
                    <a:pt x="47" y="112"/>
                  </a:lnTo>
                  <a:lnTo>
                    <a:pt x="39" y="112"/>
                  </a:lnTo>
                  <a:lnTo>
                    <a:pt x="28" y="124"/>
                  </a:lnTo>
                  <a:lnTo>
                    <a:pt x="16" y="153"/>
                  </a:lnTo>
                  <a:lnTo>
                    <a:pt x="9" y="156"/>
                  </a:lnTo>
                  <a:lnTo>
                    <a:pt x="3" y="155"/>
                  </a:lnTo>
                  <a:lnTo>
                    <a:pt x="0" y="144"/>
                  </a:lnTo>
                  <a:lnTo>
                    <a:pt x="7" y="121"/>
                  </a:lnTo>
                  <a:lnTo>
                    <a:pt x="12" y="104"/>
                  </a:lnTo>
                  <a:lnTo>
                    <a:pt x="22" y="93"/>
                  </a:lnTo>
                  <a:lnTo>
                    <a:pt x="52" y="85"/>
                  </a:lnTo>
                  <a:lnTo>
                    <a:pt x="56" y="76"/>
                  </a:lnTo>
                  <a:lnTo>
                    <a:pt x="63" y="69"/>
                  </a:lnTo>
                  <a:lnTo>
                    <a:pt x="73" y="64"/>
                  </a:lnTo>
                  <a:lnTo>
                    <a:pt x="79" y="56"/>
                  </a:lnTo>
                  <a:lnTo>
                    <a:pt x="99" y="64"/>
                  </a:lnTo>
                  <a:lnTo>
                    <a:pt x="104" y="76"/>
                  </a:lnTo>
                  <a:lnTo>
                    <a:pt x="98" y="94"/>
                  </a:lnTo>
                  <a:lnTo>
                    <a:pt x="120" y="85"/>
                  </a:lnTo>
                  <a:lnTo>
                    <a:pt x="127" y="69"/>
                  </a:lnTo>
                  <a:lnTo>
                    <a:pt x="138" y="64"/>
                  </a:lnTo>
                  <a:lnTo>
                    <a:pt x="146" y="66"/>
                  </a:lnTo>
                  <a:lnTo>
                    <a:pt x="151" y="60"/>
                  </a:lnTo>
                  <a:lnTo>
                    <a:pt x="153" y="49"/>
                  </a:lnTo>
                  <a:lnTo>
                    <a:pt x="158" y="43"/>
                  </a:lnTo>
                  <a:lnTo>
                    <a:pt x="169" y="46"/>
                  </a:lnTo>
                  <a:lnTo>
                    <a:pt x="181" y="40"/>
                  </a:lnTo>
                  <a:lnTo>
                    <a:pt x="189" y="43"/>
                  </a:lnTo>
                  <a:lnTo>
                    <a:pt x="192" y="39"/>
                  </a:lnTo>
                  <a:lnTo>
                    <a:pt x="194" y="26"/>
                  </a:lnTo>
                  <a:lnTo>
                    <a:pt x="191" y="7"/>
                  </a:lnTo>
                  <a:lnTo>
                    <a:pt x="191" y="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84" name="Freeform 81">
              <a:extLst>
                <a:ext uri="{FF2B5EF4-FFF2-40B4-BE49-F238E27FC236}">
                  <a16:creationId xmlns:a16="http://schemas.microsoft.com/office/drawing/2014/main" id="{E449A18B-4536-4C6B-CBA1-0CBAE496D6E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107065" y="4182478"/>
              <a:ext cx="40293" cy="33533"/>
            </a:xfrm>
            <a:custGeom>
              <a:avLst/>
              <a:gdLst>
                <a:gd name="T0" fmla="*/ 2147483647 w 77"/>
                <a:gd name="T1" fmla="*/ 0 h 58"/>
                <a:gd name="T2" fmla="*/ 2147483647 w 77"/>
                <a:gd name="T3" fmla="*/ 0 h 58"/>
                <a:gd name="T4" fmla="*/ 2147483647 w 77"/>
                <a:gd name="T5" fmla="*/ 0 h 58"/>
                <a:gd name="T6" fmla="*/ 2147483647 w 77"/>
                <a:gd name="T7" fmla="*/ 0 h 58"/>
                <a:gd name="T8" fmla="*/ 2147483647 w 77"/>
                <a:gd name="T9" fmla="*/ 0 h 58"/>
                <a:gd name="T10" fmla="*/ 2147483647 w 77"/>
                <a:gd name="T11" fmla="*/ 0 h 58"/>
                <a:gd name="T12" fmla="*/ 2147483647 w 77"/>
                <a:gd name="T13" fmla="*/ 0 h 58"/>
                <a:gd name="T14" fmla="*/ 2147483647 w 77"/>
                <a:gd name="T15" fmla="*/ 0 h 58"/>
                <a:gd name="T16" fmla="*/ 0 w 77"/>
                <a:gd name="T17" fmla="*/ 0 h 58"/>
                <a:gd name="T18" fmla="*/ 0 w 77"/>
                <a:gd name="T19" fmla="*/ 0 h 58"/>
                <a:gd name="T20" fmla="*/ 0 w 77"/>
                <a:gd name="T21" fmla="*/ 0 h 58"/>
                <a:gd name="T22" fmla="*/ 0 w 77"/>
                <a:gd name="T23" fmla="*/ 0 h 58"/>
                <a:gd name="T24" fmla="*/ 0 w 77"/>
                <a:gd name="T25" fmla="*/ 0 h 58"/>
                <a:gd name="T26" fmla="*/ 0 w 77"/>
                <a:gd name="T27" fmla="*/ 0 h 58"/>
                <a:gd name="T28" fmla="*/ 0 w 77"/>
                <a:gd name="T29" fmla="*/ 0 h 58"/>
                <a:gd name="T30" fmla="*/ 0 w 77"/>
                <a:gd name="T31" fmla="*/ 0 h 58"/>
                <a:gd name="T32" fmla="*/ 0 w 77"/>
                <a:gd name="T33" fmla="*/ 0 h 58"/>
                <a:gd name="T34" fmla="*/ 0 w 77"/>
                <a:gd name="T35" fmla="*/ 0 h 58"/>
                <a:gd name="T36" fmla="*/ 0 w 77"/>
                <a:gd name="T37" fmla="*/ 0 h 58"/>
                <a:gd name="T38" fmla="*/ 0 w 77"/>
                <a:gd name="T39" fmla="*/ 0 h 58"/>
                <a:gd name="T40" fmla="*/ 0 w 77"/>
                <a:gd name="T41" fmla="*/ 0 h 58"/>
                <a:gd name="T42" fmla="*/ 0 w 77"/>
                <a:gd name="T43" fmla="*/ 0 h 58"/>
                <a:gd name="T44" fmla="*/ 0 w 77"/>
                <a:gd name="T45" fmla="*/ 0 h 58"/>
                <a:gd name="T46" fmla="*/ 0 w 77"/>
                <a:gd name="T47" fmla="*/ 0 h 58"/>
                <a:gd name="T48" fmla="*/ 0 w 77"/>
                <a:gd name="T49" fmla="*/ 0 h 58"/>
                <a:gd name="T50" fmla="*/ 0 w 77"/>
                <a:gd name="T51" fmla="*/ 0 h 58"/>
                <a:gd name="T52" fmla="*/ 0 w 77"/>
                <a:gd name="T53" fmla="*/ 0 h 58"/>
                <a:gd name="T54" fmla="*/ 0 w 77"/>
                <a:gd name="T55" fmla="*/ 0 h 58"/>
                <a:gd name="T56" fmla="*/ 0 w 77"/>
                <a:gd name="T57" fmla="*/ 0 h 58"/>
                <a:gd name="T58" fmla="*/ 0 w 77"/>
                <a:gd name="T59" fmla="*/ 0 h 58"/>
                <a:gd name="T60" fmla="*/ 2147483647 w 77"/>
                <a:gd name="T61" fmla="*/ 0 h 5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77"/>
                <a:gd name="T94" fmla="*/ 0 h 58"/>
                <a:gd name="T95" fmla="*/ 77 w 77"/>
                <a:gd name="T96" fmla="*/ 58 h 58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77" h="58">
                  <a:moveTo>
                    <a:pt x="67" y="9"/>
                  </a:moveTo>
                  <a:lnTo>
                    <a:pt x="72" y="14"/>
                  </a:lnTo>
                  <a:lnTo>
                    <a:pt x="76" y="21"/>
                  </a:lnTo>
                  <a:lnTo>
                    <a:pt x="77" y="26"/>
                  </a:lnTo>
                  <a:lnTo>
                    <a:pt x="77" y="32"/>
                  </a:lnTo>
                  <a:lnTo>
                    <a:pt x="76" y="37"/>
                  </a:lnTo>
                  <a:lnTo>
                    <a:pt x="70" y="37"/>
                  </a:lnTo>
                  <a:lnTo>
                    <a:pt x="65" y="35"/>
                  </a:lnTo>
                  <a:lnTo>
                    <a:pt x="61" y="27"/>
                  </a:lnTo>
                  <a:lnTo>
                    <a:pt x="59" y="20"/>
                  </a:lnTo>
                  <a:lnTo>
                    <a:pt x="56" y="16"/>
                  </a:lnTo>
                  <a:lnTo>
                    <a:pt x="51" y="16"/>
                  </a:lnTo>
                  <a:lnTo>
                    <a:pt x="46" y="19"/>
                  </a:lnTo>
                  <a:lnTo>
                    <a:pt x="43" y="24"/>
                  </a:lnTo>
                  <a:lnTo>
                    <a:pt x="41" y="48"/>
                  </a:lnTo>
                  <a:lnTo>
                    <a:pt x="39" y="56"/>
                  </a:lnTo>
                  <a:lnTo>
                    <a:pt x="34" y="58"/>
                  </a:lnTo>
                  <a:lnTo>
                    <a:pt x="29" y="57"/>
                  </a:lnTo>
                  <a:lnTo>
                    <a:pt x="26" y="53"/>
                  </a:lnTo>
                  <a:lnTo>
                    <a:pt x="21" y="48"/>
                  </a:lnTo>
                  <a:lnTo>
                    <a:pt x="17" y="42"/>
                  </a:lnTo>
                  <a:lnTo>
                    <a:pt x="7" y="31"/>
                  </a:lnTo>
                  <a:lnTo>
                    <a:pt x="3" y="29"/>
                  </a:lnTo>
                  <a:lnTo>
                    <a:pt x="0" y="27"/>
                  </a:lnTo>
                  <a:lnTo>
                    <a:pt x="2" y="25"/>
                  </a:lnTo>
                  <a:lnTo>
                    <a:pt x="11" y="22"/>
                  </a:lnTo>
                  <a:lnTo>
                    <a:pt x="26" y="21"/>
                  </a:lnTo>
                  <a:lnTo>
                    <a:pt x="33" y="16"/>
                  </a:lnTo>
                  <a:lnTo>
                    <a:pt x="53" y="0"/>
                  </a:lnTo>
                  <a:lnTo>
                    <a:pt x="55" y="8"/>
                  </a:lnTo>
                  <a:lnTo>
                    <a:pt x="67" y="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85" name="Freeform 82">
              <a:extLst>
                <a:ext uri="{FF2B5EF4-FFF2-40B4-BE49-F238E27FC236}">
                  <a16:creationId xmlns:a16="http://schemas.microsoft.com/office/drawing/2014/main" id="{538877F1-C8C9-A937-9F3A-56C30A1E407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168250" y="4443119"/>
              <a:ext cx="8954" cy="24388"/>
            </a:xfrm>
            <a:custGeom>
              <a:avLst/>
              <a:gdLst>
                <a:gd name="T0" fmla="*/ 0 w 15"/>
                <a:gd name="T1" fmla="*/ 0 h 42"/>
                <a:gd name="T2" fmla="*/ 0 w 15"/>
                <a:gd name="T3" fmla="*/ 0 h 42"/>
                <a:gd name="T4" fmla="*/ 0 w 15"/>
                <a:gd name="T5" fmla="*/ 0 h 42"/>
                <a:gd name="T6" fmla="*/ 0 w 15"/>
                <a:gd name="T7" fmla="*/ 0 h 42"/>
                <a:gd name="T8" fmla="*/ 0 w 15"/>
                <a:gd name="T9" fmla="*/ 0 h 42"/>
                <a:gd name="T10" fmla="*/ 0 w 15"/>
                <a:gd name="T11" fmla="*/ 0 h 42"/>
                <a:gd name="T12" fmla="*/ 0 w 15"/>
                <a:gd name="T13" fmla="*/ 0 h 42"/>
                <a:gd name="T14" fmla="*/ 0 w 15"/>
                <a:gd name="T15" fmla="*/ 0 h 42"/>
                <a:gd name="T16" fmla="*/ 0 w 15"/>
                <a:gd name="T17" fmla="*/ 0 h 42"/>
                <a:gd name="T18" fmla="*/ 0 w 15"/>
                <a:gd name="T19" fmla="*/ 0 h 42"/>
                <a:gd name="T20" fmla="*/ 0 w 15"/>
                <a:gd name="T21" fmla="*/ 0 h 42"/>
                <a:gd name="T22" fmla="*/ 0 w 15"/>
                <a:gd name="T23" fmla="*/ 0 h 4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5"/>
                <a:gd name="T37" fmla="*/ 0 h 42"/>
                <a:gd name="T38" fmla="*/ 15 w 15"/>
                <a:gd name="T39" fmla="*/ 42 h 4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5" h="42">
                  <a:moveTo>
                    <a:pt x="8" y="1"/>
                  </a:moveTo>
                  <a:lnTo>
                    <a:pt x="9" y="0"/>
                  </a:lnTo>
                  <a:lnTo>
                    <a:pt x="11" y="10"/>
                  </a:lnTo>
                  <a:lnTo>
                    <a:pt x="13" y="26"/>
                  </a:lnTo>
                  <a:lnTo>
                    <a:pt x="15" y="33"/>
                  </a:lnTo>
                  <a:lnTo>
                    <a:pt x="9" y="41"/>
                  </a:lnTo>
                  <a:lnTo>
                    <a:pt x="4" y="42"/>
                  </a:lnTo>
                  <a:lnTo>
                    <a:pt x="0" y="27"/>
                  </a:lnTo>
                  <a:lnTo>
                    <a:pt x="0" y="13"/>
                  </a:lnTo>
                  <a:lnTo>
                    <a:pt x="3" y="4"/>
                  </a:lnTo>
                  <a:lnTo>
                    <a:pt x="8" y="0"/>
                  </a:lnTo>
                  <a:lnTo>
                    <a:pt x="8" y="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86" name="Freeform 83">
              <a:extLst>
                <a:ext uri="{FF2B5EF4-FFF2-40B4-BE49-F238E27FC236}">
                  <a16:creationId xmlns:a16="http://schemas.microsoft.com/office/drawing/2014/main" id="{04E58595-5590-A951-D5DE-1A412EEC2C0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421948" y="4600113"/>
              <a:ext cx="71632" cy="35057"/>
            </a:xfrm>
            <a:custGeom>
              <a:avLst/>
              <a:gdLst>
                <a:gd name="T0" fmla="*/ 0 w 133"/>
                <a:gd name="T1" fmla="*/ 0 h 61"/>
                <a:gd name="T2" fmla="*/ 0 w 133"/>
                <a:gd name="T3" fmla="*/ 0 h 61"/>
                <a:gd name="T4" fmla="*/ 0 w 133"/>
                <a:gd name="T5" fmla="*/ 0 h 61"/>
                <a:gd name="T6" fmla="*/ 0 w 133"/>
                <a:gd name="T7" fmla="*/ 0 h 61"/>
                <a:gd name="T8" fmla="*/ 0 w 133"/>
                <a:gd name="T9" fmla="*/ 0 h 61"/>
                <a:gd name="T10" fmla="*/ 2147483647 w 133"/>
                <a:gd name="T11" fmla="*/ 0 h 61"/>
                <a:gd name="T12" fmla="*/ 2147483647 w 133"/>
                <a:gd name="T13" fmla="*/ 0 h 61"/>
                <a:gd name="T14" fmla="*/ 2147483647 w 133"/>
                <a:gd name="T15" fmla="*/ 0 h 61"/>
                <a:gd name="T16" fmla="*/ 2147483647 w 133"/>
                <a:gd name="T17" fmla="*/ 0 h 61"/>
                <a:gd name="T18" fmla="*/ 2147483647 w 133"/>
                <a:gd name="T19" fmla="*/ 0 h 61"/>
                <a:gd name="T20" fmla="*/ 2147483647 w 133"/>
                <a:gd name="T21" fmla="*/ 0 h 61"/>
                <a:gd name="T22" fmla="*/ 2147483647 w 133"/>
                <a:gd name="T23" fmla="*/ 0 h 61"/>
                <a:gd name="T24" fmla="*/ 2147483647 w 133"/>
                <a:gd name="T25" fmla="*/ 0 h 61"/>
                <a:gd name="T26" fmla="*/ 2147483647 w 133"/>
                <a:gd name="T27" fmla="*/ 0 h 61"/>
                <a:gd name="T28" fmla="*/ 2147483647 w 133"/>
                <a:gd name="T29" fmla="*/ 0 h 61"/>
                <a:gd name="T30" fmla="*/ 2147483647 w 133"/>
                <a:gd name="T31" fmla="*/ 0 h 61"/>
                <a:gd name="T32" fmla="*/ 2147483647 w 133"/>
                <a:gd name="T33" fmla="*/ 0 h 61"/>
                <a:gd name="T34" fmla="*/ 2147483647 w 133"/>
                <a:gd name="T35" fmla="*/ 0 h 61"/>
                <a:gd name="T36" fmla="*/ 2147483647 w 133"/>
                <a:gd name="T37" fmla="*/ 0 h 61"/>
                <a:gd name="T38" fmla="*/ 0 w 133"/>
                <a:gd name="T39" fmla="*/ 0 h 61"/>
                <a:gd name="T40" fmla="*/ 0 w 133"/>
                <a:gd name="T41" fmla="*/ 0 h 61"/>
                <a:gd name="T42" fmla="*/ 0 w 133"/>
                <a:gd name="T43" fmla="*/ 0 h 61"/>
                <a:gd name="T44" fmla="*/ 0 w 133"/>
                <a:gd name="T45" fmla="*/ 0 h 6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33"/>
                <a:gd name="T70" fmla="*/ 0 h 61"/>
                <a:gd name="T71" fmla="*/ 133 w 133"/>
                <a:gd name="T72" fmla="*/ 61 h 6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33" h="61">
                  <a:moveTo>
                    <a:pt x="0" y="39"/>
                  </a:moveTo>
                  <a:lnTo>
                    <a:pt x="2" y="38"/>
                  </a:lnTo>
                  <a:lnTo>
                    <a:pt x="11" y="29"/>
                  </a:lnTo>
                  <a:lnTo>
                    <a:pt x="18" y="17"/>
                  </a:lnTo>
                  <a:lnTo>
                    <a:pt x="27" y="16"/>
                  </a:lnTo>
                  <a:lnTo>
                    <a:pt x="55" y="11"/>
                  </a:lnTo>
                  <a:lnTo>
                    <a:pt x="61" y="7"/>
                  </a:lnTo>
                  <a:lnTo>
                    <a:pt x="71" y="10"/>
                  </a:lnTo>
                  <a:lnTo>
                    <a:pt x="98" y="7"/>
                  </a:lnTo>
                  <a:lnTo>
                    <a:pt x="109" y="3"/>
                  </a:lnTo>
                  <a:lnTo>
                    <a:pt x="118" y="2"/>
                  </a:lnTo>
                  <a:lnTo>
                    <a:pt x="124" y="0"/>
                  </a:lnTo>
                  <a:lnTo>
                    <a:pt x="132" y="2"/>
                  </a:lnTo>
                  <a:lnTo>
                    <a:pt x="133" y="6"/>
                  </a:lnTo>
                  <a:lnTo>
                    <a:pt x="129" y="19"/>
                  </a:lnTo>
                  <a:lnTo>
                    <a:pt x="113" y="23"/>
                  </a:lnTo>
                  <a:lnTo>
                    <a:pt x="88" y="37"/>
                  </a:lnTo>
                  <a:lnTo>
                    <a:pt x="73" y="40"/>
                  </a:lnTo>
                  <a:lnTo>
                    <a:pt x="61" y="46"/>
                  </a:lnTo>
                  <a:lnTo>
                    <a:pt x="39" y="51"/>
                  </a:lnTo>
                  <a:lnTo>
                    <a:pt x="23" y="61"/>
                  </a:lnTo>
                  <a:lnTo>
                    <a:pt x="18" y="59"/>
                  </a:lnTo>
                  <a:lnTo>
                    <a:pt x="0" y="3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87" name="Freeform 84">
              <a:extLst>
                <a:ext uri="{FF2B5EF4-FFF2-40B4-BE49-F238E27FC236}">
                  <a16:creationId xmlns:a16="http://schemas.microsoft.com/office/drawing/2014/main" id="{4FCF87F4-29F8-6944-C45F-CAE2768A408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387625" y="4622976"/>
              <a:ext cx="44770" cy="38106"/>
            </a:xfrm>
            <a:custGeom>
              <a:avLst/>
              <a:gdLst>
                <a:gd name="T0" fmla="*/ 2147483647 w 85"/>
                <a:gd name="T1" fmla="*/ 0 h 71"/>
                <a:gd name="T2" fmla="*/ 2147483647 w 85"/>
                <a:gd name="T3" fmla="*/ 0 h 71"/>
                <a:gd name="T4" fmla="*/ 2147483647 w 85"/>
                <a:gd name="T5" fmla="*/ 0 h 71"/>
                <a:gd name="T6" fmla="*/ 2147483647 w 85"/>
                <a:gd name="T7" fmla="*/ 0 h 71"/>
                <a:gd name="T8" fmla="*/ 2147483647 w 85"/>
                <a:gd name="T9" fmla="*/ 0 h 71"/>
                <a:gd name="T10" fmla="*/ 2147483647 w 85"/>
                <a:gd name="T11" fmla="*/ 0 h 71"/>
                <a:gd name="T12" fmla="*/ 2147483647 w 85"/>
                <a:gd name="T13" fmla="*/ 0 h 71"/>
                <a:gd name="T14" fmla="*/ 0 w 85"/>
                <a:gd name="T15" fmla="*/ 0 h 71"/>
                <a:gd name="T16" fmla="*/ 0 w 85"/>
                <a:gd name="T17" fmla="*/ 0 h 71"/>
                <a:gd name="T18" fmla="*/ 0 w 85"/>
                <a:gd name="T19" fmla="*/ 0 h 71"/>
                <a:gd name="T20" fmla="*/ 0 w 85"/>
                <a:gd name="T21" fmla="*/ 0 h 71"/>
                <a:gd name="T22" fmla="*/ 0 w 85"/>
                <a:gd name="T23" fmla="*/ 0 h 71"/>
                <a:gd name="T24" fmla="*/ 0 w 85"/>
                <a:gd name="T25" fmla="*/ 0 h 71"/>
                <a:gd name="T26" fmla="*/ 0 w 85"/>
                <a:gd name="T27" fmla="*/ 0 h 71"/>
                <a:gd name="T28" fmla="*/ 0 w 85"/>
                <a:gd name="T29" fmla="*/ 0 h 71"/>
                <a:gd name="T30" fmla="*/ 0 w 85"/>
                <a:gd name="T31" fmla="*/ 0 h 71"/>
                <a:gd name="T32" fmla="*/ 0 w 85"/>
                <a:gd name="T33" fmla="*/ 0 h 71"/>
                <a:gd name="T34" fmla="*/ 0 w 85"/>
                <a:gd name="T35" fmla="*/ 0 h 71"/>
                <a:gd name="T36" fmla="*/ 0 w 85"/>
                <a:gd name="T37" fmla="*/ 0 h 71"/>
                <a:gd name="T38" fmla="*/ 0 w 85"/>
                <a:gd name="T39" fmla="*/ 0 h 71"/>
                <a:gd name="T40" fmla="*/ 0 w 85"/>
                <a:gd name="T41" fmla="*/ 0 h 71"/>
                <a:gd name="T42" fmla="*/ 2147483647 w 85"/>
                <a:gd name="T43" fmla="*/ 0 h 71"/>
                <a:gd name="T44" fmla="*/ 2147483647 w 85"/>
                <a:gd name="T45" fmla="*/ 0 h 71"/>
                <a:gd name="T46" fmla="*/ 2147483647 w 85"/>
                <a:gd name="T47" fmla="*/ 0 h 71"/>
                <a:gd name="T48" fmla="*/ 2147483647 w 85"/>
                <a:gd name="T49" fmla="*/ 0 h 71"/>
                <a:gd name="T50" fmla="*/ 2147483647 w 85"/>
                <a:gd name="T51" fmla="*/ 0 h 7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5"/>
                <a:gd name="T79" fmla="*/ 0 h 71"/>
                <a:gd name="T80" fmla="*/ 85 w 85"/>
                <a:gd name="T81" fmla="*/ 71 h 71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5" h="71">
                  <a:moveTo>
                    <a:pt x="85" y="20"/>
                  </a:moveTo>
                  <a:lnTo>
                    <a:pt x="85" y="22"/>
                  </a:lnTo>
                  <a:lnTo>
                    <a:pt x="80" y="35"/>
                  </a:lnTo>
                  <a:lnTo>
                    <a:pt x="69" y="46"/>
                  </a:lnTo>
                  <a:lnTo>
                    <a:pt x="63" y="54"/>
                  </a:lnTo>
                  <a:lnTo>
                    <a:pt x="54" y="58"/>
                  </a:lnTo>
                  <a:lnTo>
                    <a:pt x="49" y="60"/>
                  </a:lnTo>
                  <a:lnTo>
                    <a:pt x="40" y="63"/>
                  </a:lnTo>
                  <a:lnTo>
                    <a:pt x="31" y="68"/>
                  </a:lnTo>
                  <a:lnTo>
                    <a:pt x="21" y="70"/>
                  </a:lnTo>
                  <a:lnTo>
                    <a:pt x="15" y="71"/>
                  </a:lnTo>
                  <a:lnTo>
                    <a:pt x="5" y="71"/>
                  </a:lnTo>
                  <a:lnTo>
                    <a:pt x="0" y="66"/>
                  </a:lnTo>
                  <a:lnTo>
                    <a:pt x="8" y="58"/>
                  </a:lnTo>
                  <a:lnTo>
                    <a:pt x="9" y="52"/>
                  </a:lnTo>
                  <a:lnTo>
                    <a:pt x="6" y="46"/>
                  </a:lnTo>
                  <a:lnTo>
                    <a:pt x="8" y="31"/>
                  </a:lnTo>
                  <a:lnTo>
                    <a:pt x="15" y="23"/>
                  </a:lnTo>
                  <a:lnTo>
                    <a:pt x="22" y="17"/>
                  </a:lnTo>
                  <a:lnTo>
                    <a:pt x="32" y="15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3" y="4"/>
                  </a:lnTo>
                  <a:lnTo>
                    <a:pt x="62" y="3"/>
                  </a:lnTo>
                  <a:lnTo>
                    <a:pt x="67" y="0"/>
                  </a:lnTo>
                  <a:lnTo>
                    <a:pt x="85" y="2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88" name="Freeform 85">
              <a:extLst>
                <a:ext uri="{FF2B5EF4-FFF2-40B4-BE49-F238E27FC236}">
                  <a16:creationId xmlns:a16="http://schemas.microsoft.com/office/drawing/2014/main" id="{60B1E99A-0017-ECC5-5405-5E665DA3ED5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514474" y="4427877"/>
              <a:ext cx="86556" cy="32009"/>
            </a:xfrm>
            <a:custGeom>
              <a:avLst/>
              <a:gdLst>
                <a:gd name="T0" fmla="*/ 0 w 162"/>
                <a:gd name="T1" fmla="*/ 0 h 59"/>
                <a:gd name="T2" fmla="*/ 0 w 162"/>
                <a:gd name="T3" fmla="*/ 0 h 59"/>
                <a:gd name="T4" fmla="*/ 0 w 162"/>
                <a:gd name="T5" fmla="*/ 0 h 59"/>
                <a:gd name="T6" fmla="*/ 0 w 162"/>
                <a:gd name="T7" fmla="*/ 0 h 59"/>
                <a:gd name="T8" fmla="*/ 0 w 162"/>
                <a:gd name="T9" fmla="*/ 0 h 59"/>
                <a:gd name="T10" fmla="*/ 0 w 162"/>
                <a:gd name="T11" fmla="*/ 0 h 59"/>
                <a:gd name="T12" fmla="*/ 0 w 162"/>
                <a:gd name="T13" fmla="*/ 0 h 59"/>
                <a:gd name="T14" fmla="*/ 0 w 162"/>
                <a:gd name="T15" fmla="*/ 0 h 59"/>
                <a:gd name="T16" fmla="*/ 2147483647 w 162"/>
                <a:gd name="T17" fmla="*/ 0 h 59"/>
                <a:gd name="T18" fmla="*/ 2147483647 w 162"/>
                <a:gd name="T19" fmla="*/ 0 h 59"/>
                <a:gd name="T20" fmla="*/ 2147483647 w 162"/>
                <a:gd name="T21" fmla="*/ 0 h 59"/>
                <a:gd name="T22" fmla="*/ 2147483647 w 162"/>
                <a:gd name="T23" fmla="*/ 0 h 59"/>
                <a:gd name="T24" fmla="*/ 2147483647 w 162"/>
                <a:gd name="T25" fmla="*/ 0 h 59"/>
                <a:gd name="T26" fmla="*/ 2147483647 w 162"/>
                <a:gd name="T27" fmla="*/ 0 h 59"/>
                <a:gd name="T28" fmla="*/ 2147483647 w 162"/>
                <a:gd name="T29" fmla="*/ 0 h 59"/>
                <a:gd name="T30" fmla="*/ 2147483647 w 162"/>
                <a:gd name="T31" fmla="*/ 0 h 59"/>
                <a:gd name="T32" fmla="*/ 2147483647 w 162"/>
                <a:gd name="T33" fmla="*/ 0 h 59"/>
                <a:gd name="T34" fmla="*/ 2147483647 w 162"/>
                <a:gd name="T35" fmla="*/ 0 h 59"/>
                <a:gd name="T36" fmla="*/ 2147483647 w 162"/>
                <a:gd name="T37" fmla="*/ 0 h 59"/>
                <a:gd name="T38" fmla="*/ 2147483647 w 162"/>
                <a:gd name="T39" fmla="*/ 0 h 59"/>
                <a:gd name="T40" fmla="*/ 2147483647 w 162"/>
                <a:gd name="T41" fmla="*/ 0 h 59"/>
                <a:gd name="T42" fmla="*/ 2147483647 w 162"/>
                <a:gd name="T43" fmla="*/ 0 h 59"/>
                <a:gd name="T44" fmla="*/ 2147483647 w 162"/>
                <a:gd name="T45" fmla="*/ 0 h 59"/>
                <a:gd name="T46" fmla="*/ 2147483647 w 162"/>
                <a:gd name="T47" fmla="*/ 0 h 59"/>
                <a:gd name="T48" fmla="*/ 2147483647 w 162"/>
                <a:gd name="T49" fmla="*/ 0 h 59"/>
                <a:gd name="T50" fmla="*/ 2147483647 w 162"/>
                <a:gd name="T51" fmla="*/ 0 h 59"/>
                <a:gd name="T52" fmla="*/ 2147483647 w 162"/>
                <a:gd name="T53" fmla="*/ 0 h 59"/>
                <a:gd name="T54" fmla="*/ 2147483647 w 162"/>
                <a:gd name="T55" fmla="*/ 0 h 59"/>
                <a:gd name="T56" fmla="*/ 2147483647 w 162"/>
                <a:gd name="T57" fmla="*/ 0 h 59"/>
                <a:gd name="T58" fmla="*/ 2147483647 w 162"/>
                <a:gd name="T59" fmla="*/ 0 h 59"/>
                <a:gd name="T60" fmla="*/ 2147483647 w 162"/>
                <a:gd name="T61" fmla="*/ 0 h 59"/>
                <a:gd name="T62" fmla="*/ 2147483647 w 162"/>
                <a:gd name="T63" fmla="*/ 0 h 59"/>
                <a:gd name="T64" fmla="*/ 0 w 162"/>
                <a:gd name="T65" fmla="*/ 0 h 59"/>
                <a:gd name="T66" fmla="*/ 0 w 162"/>
                <a:gd name="T67" fmla="*/ 0 h 59"/>
                <a:gd name="T68" fmla="*/ 0 w 162"/>
                <a:gd name="T69" fmla="*/ 0 h 59"/>
                <a:gd name="T70" fmla="*/ 0 w 162"/>
                <a:gd name="T71" fmla="*/ 0 h 59"/>
                <a:gd name="T72" fmla="*/ 0 w 162"/>
                <a:gd name="T73" fmla="*/ 0 h 59"/>
                <a:gd name="T74" fmla="*/ 0 w 162"/>
                <a:gd name="T75" fmla="*/ 0 h 59"/>
                <a:gd name="T76" fmla="*/ 0 w 162"/>
                <a:gd name="T77" fmla="*/ 0 h 5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62"/>
                <a:gd name="T118" fmla="*/ 0 h 59"/>
                <a:gd name="T119" fmla="*/ 162 w 162"/>
                <a:gd name="T120" fmla="*/ 59 h 59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62" h="59">
                  <a:moveTo>
                    <a:pt x="3" y="38"/>
                  </a:moveTo>
                  <a:lnTo>
                    <a:pt x="1" y="37"/>
                  </a:lnTo>
                  <a:lnTo>
                    <a:pt x="0" y="24"/>
                  </a:lnTo>
                  <a:lnTo>
                    <a:pt x="2" y="18"/>
                  </a:lnTo>
                  <a:lnTo>
                    <a:pt x="7" y="14"/>
                  </a:lnTo>
                  <a:lnTo>
                    <a:pt x="12" y="8"/>
                  </a:lnTo>
                  <a:lnTo>
                    <a:pt x="17" y="3"/>
                  </a:lnTo>
                  <a:lnTo>
                    <a:pt x="43" y="5"/>
                  </a:lnTo>
                  <a:lnTo>
                    <a:pt x="54" y="4"/>
                  </a:lnTo>
                  <a:lnTo>
                    <a:pt x="63" y="2"/>
                  </a:lnTo>
                  <a:lnTo>
                    <a:pt x="70" y="5"/>
                  </a:lnTo>
                  <a:lnTo>
                    <a:pt x="88" y="0"/>
                  </a:lnTo>
                  <a:lnTo>
                    <a:pt x="99" y="4"/>
                  </a:lnTo>
                  <a:lnTo>
                    <a:pt x="108" y="11"/>
                  </a:lnTo>
                  <a:lnTo>
                    <a:pt x="116" y="13"/>
                  </a:lnTo>
                  <a:lnTo>
                    <a:pt x="125" y="13"/>
                  </a:lnTo>
                  <a:lnTo>
                    <a:pt x="132" y="10"/>
                  </a:lnTo>
                  <a:lnTo>
                    <a:pt x="142" y="14"/>
                  </a:lnTo>
                  <a:lnTo>
                    <a:pt x="148" y="30"/>
                  </a:lnTo>
                  <a:lnTo>
                    <a:pt x="152" y="35"/>
                  </a:lnTo>
                  <a:lnTo>
                    <a:pt x="160" y="37"/>
                  </a:lnTo>
                  <a:lnTo>
                    <a:pt x="162" y="50"/>
                  </a:lnTo>
                  <a:lnTo>
                    <a:pt x="157" y="59"/>
                  </a:lnTo>
                  <a:lnTo>
                    <a:pt x="149" y="54"/>
                  </a:lnTo>
                  <a:lnTo>
                    <a:pt x="108" y="32"/>
                  </a:lnTo>
                  <a:lnTo>
                    <a:pt x="98" y="30"/>
                  </a:lnTo>
                  <a:lnTo>
                    <a:pt x="88" y="30"/>
                  </a:lnTo>
                  <a:lnTo>
                    <a:pt x="88" y="35"/>
                  </a:lnTo>
                  <a:lnTo>
                    <a:pt x="83" y="36"/>
                  </a:lnTo>
                  <a:lnTo>
                    <a:pt x="72" y="35"/>
                  </a:lnTo>
                  <a:lnTo>
                    <a:pt x="62" y="34"/>
                  </a:lnTo>
                  <a:lnTo>
                    <a:pt x="54" y="26"/>
                  </a:lnTo>
                  <a:lnTo>
                    <a:pt x="45" y="30"/>
                  </a:lnTo>
                  <a:lnTo>
                    <a:pt x="41" y="35"/>
                  </a:lnTo>
                  <a:lnTo>
                    <a:pt x="34" y="37"/>
                  </a:lnTo>
                  <a:lnTo>
                    <a:pt x="24" y="32"/>
                  </a:lnTo>
                  <a:lnTo>
                    <a:pt x="13" y="21"/>
                  </a:lnTo>
                  <a:lnTo>
                    <a:pt x="11" y="24"/>
                  </a:lnTo>
                  <a:lnTo>
                    <a:pt x="3" y="3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89" name="Freeform 86">
              <a:extLst>
                <a:ext uri="{FF2B5EF4-FFF2-40B4-BE49-F238E27FC236}">
                  <a16:creationId xmlns:a16="http://schemas.microsoft.com/office/drawing/2014/main" id="{4C5D0C47-A919-0E98-158E-BCBE04CBEFB2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250329" y="4287648"/>
              <a:ext cx="186542" cy="230157"/>
            </a:xfrm>
            <a:custGeom>
              <a:avLst/>
              <a:gdLst>
                <a:gd name="T0" fmla="*/ 2147483647 w 345"/>
                <a:gd name="T1" fmla="*/ 0 h 404"/>
                <a:gd name="T2" fmla="*/ 2147483647 w 345"/>
                <a:gd name="T3" fmla="*/ 0 h 404"/>
                <a:gd name="T4" fmla="*/ 2147483647 w 345"/>
                <a:gd name="T5" fmla="*/ 0 h 404"/>
                <a:gd name="T6" fmla="*/ 2147483647 w 345"/>
                <a:gd name="T7" fmla="*/ 0 h 404"/>
                <a:gd name="T8" fmla="*/ 2147483647 w 345"/>
                <a:gd name="T9" fmla="*/ 0 h 404"/>
                <a:gd name="T10" fmla="*/ 2147483647 w 345"/>
                <a:gd name="T11" fmla="*/ 0 h 404"/>
                <a:gd name="T12" fmla="*/ 2147483647 w 345"/>
                <a:gd name="T13" fmla="*/ 0 h 404"/>
                <a:gd name="T14" fmla="*/ 2147483647 w 345"/>
                <a:gd name="T15" fmla="*/ 0 h 404"/>
                <a:gd name="T16" fmla="*/ 2147483647 w 345"/>
                <a:gd name="T17" fmla="*/ 0 h 404"/>
                <a:gd name="T18" fmla="*/ 2147483647 w 345"/>
                <a:gd name="T19" fmla="*/ 0 h 404"/>
                <a:gd name="T20" fmla="*/ 2147483647 w 345"/>
                <a:gd name="T21" fmla="*/ 2147483647 h 404"/>
                <a:gd name="T22" fmla="*/ 2147483647 w 345"/>
                <a:gd name="T23" fmla="*/ 0 h 404"/>
                <a:gd name="T24" fmla="*/ 2147483647 w 345"/>
                <a:gd name="T25" fmla="*/ 0 h 404"/>
                <a:gd name="T26" fmla="*/ 2147483647 w 345"/>
                <a:gd name="T27" fmla="*/ 0 h 404"/>
                <a:gd name="T28" fmla="*/ 2147483647 w 345"/>
                <a:gd name="T29" fmla="*/ 0 h 404"/>
                <a:gd name="T30" fmla="*/ 2147483647 w 345"/>
                <a:gd name="T31" fmla="*/ 0 h 404"/>
                <a:gd name="T32" fmla="*/ 2147483647 w 345"/>
                <a:gd name="T33" fmla="*/ 2147483647 h 404"/>
                <a:gd name="T34" fmla="*/ 2147483647 w 345"/>
                <a:gd name="T35" fmla="*/ 2147483647 h 404"/>
                <a:gd name="T36" fmla="*/ 2147483647 w 345"/>
                <a:gd name="T37" fmla="*/ 2147483647 h 404"/>
                <a:gd name="T38" fmla="*/ 2147483647 w 345"/>
                <a:gd name="T39" fmla="*/ 2147483647 h 404"/>
                <a:gd name="T40" fmla="*/ 2147483647 w 345"/>
                <a:gd name="T41" fmla="*/ 2147483647 h 404"/>
                <a:gd name="T42" fmla="*/ 2147483647 w 345"/>
                <a:gd name="T43" fmla="*/ 2147483647 h 404"/>
                <a:gd name="T44" fmla="*/ 2147483647 w 345"/>
                <a:gd name="T45" fmla="*/ 2147483647 h 404"/>
                <a:gd name="T46" fmla="*/ 2147483647 w 345"/>
                <a:gd name="T47" fmla="*/ 2147483647 h 404"/>
                <a:gd name="T48" fmla="*/ 2147483647 w 345"/>
                <a:gd name="T49" fmla="*/ 2147483647 h 404"/>
                <a:gd name="T50" fmla="*/ 2147483647 w 345"/>
                <a:gd name="T51" fmla="*/ 2147483647 h 404"/>
                <a:gd name="T52" fmla="*/ 2147483647 w 345"/>
                <a:gd name="T53" fmla="*/ 2147483647 h 404"/>
                <a:gd name="T54" fmla="*/ 2147483647 w 345"/>
                <a:gd name="T55" fmla="*/ 2147483647 h 404"/>
                <a:gd name="T56" fmla="*/ 2147483647 w 345"/>
                <a:gd name="T57" fmla="*/ 2147483647 h 404"/>
                <a:gd name="T58" fmla="*/ 2147483647 w 345"/>
                <a:gd name="T59" fmla="*/ 2147483647 h 404"/>
                <a:gd name="T60" fmla="*/ 2147483647 w 345"/>
                <a:gd name="T61" fmla="*/ 2147483647 h 404"/>
                <a:gd name="T62" fmla="*/ 2147483647 w 345"/>
                <a:gd name="T63" fmla="*/ 2147483647 h 404"/>
                <a:gd name="T64" fmla="*/ 2147483647 w 345"/>
                <a:gd name="T65" fmla="*/ 2147483647 h 404"/>
                <a:gd name="T66" fmla="*/ 2147483647 w 345"/>
                <a:gd name="T67" fmla="*/ 2147483647 h 404"/>
                <a:gd name="T68" fmla="*/ 2147483647 w 345"/>
                <a:gd name="T69" fmla="*/ 2147483647 h 404"/>
                <a:gd name="T70" fmla="*/ 2147483647 w 345"/>
                <a:gd name="T71" fmla="*/ 2147483647 h 404"/>
                <a:gd name="T72" fmla="*/ 2147483647 w 345"/>
                <a:gd name="T73" fmla="*/ 2147483647 h 404"/>
                <a:gd name="T74" fmla="*/ 2147483647 w 345"/>
                <a:gd name="T75" fmla="*/ 2147483647 h 404"/>
                <a:gd name="T76" fmla="*/ 2147483647 w 345"/>
                <a:gd name="T77" fmla="*/ 2147483647 h 404"/>
                <a:gd name="T78" fmla="*/ 2147483647 w 345"/>
                <a:gd name="T79" fmla="*/ 2147483647 h 404"/>
                <a:gd name="T80" fmla="*/ 2147483647 w 345"/>
                <a:gd name="T81" fmla="*/ 2147483647 h 404"/>
                <a:gd name="T82" fmla="*/ 2147483647 w 345"/>
                <a:gd name="T83" fmla="*/ 2147483647 h 404"/>
                <a:gd name="T84" fmla="*/ 2147483647 w 345"/>
                <a:gd name="T85" fmla="*/ 2147483647 h 404"/>
                <a:gd name="T86" fmla="*/ 0 w 345"/>
                <a:gd name="T87" fmla="*/ 2147483647 h 404"/>
                <a:gd name="T88" fmla="*/ 0 w 345"/>
                <a:gd name="T89" fmla="*/ 2147483647 h 404"/>
                <a:gd name="T90" fmla="*/ 0 w 345"/>
                <a:gd name="T91" fmla="*/ 2147483647 h 404"/>
                <a:gd name="T92" fmla="*/ 0 w 345"/>
                <a:gd name="T93" fmla="*/ 2147483647 h 404"/>
                <a:gd name="T94" fmla="*/ 0 w 345"/>
                <a:gd name="T95" fmla="*/ 2147483647 h 404"/>
                <a:gd name="T96" fmla="*/ 0 w 345"/>
                <a:gd name="T97" fmla="*/ 2147483647 h 404"/>
                <a:gd name="T98" fmla="*/ 2147483647 w 345"/>
                <a:gd name="T99" fmla="*/ 2147483647 h 404"/>
                <a:gd name="T100" fmla="*/ 0 w 345"/>
                <a:gd name="T101" fmla="*/ 2147483647 h 404"/>
                <a:gd name="T102" fmla="*/ 2147483647 w 345"/>
                <a:gd name="T103" fmla="*/ 2147483647 h 404"/>
                <a:gd name="T104" fmla="*/ 2147483647 w 345"/>
                <a:gd name="T105" fmla="*/ 0 h 404"/>
                <a:gd name="T106" fmla="*/ 2147483647 w 345"/>
                <a:gd name="T107" fmla="*/ 0 h 404"/>
                <a:gd name="T108" fmla="*/ 2147483647 w 345"/>
                <a:gd name="T109" fmla="*/ 0 h 4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45"/>
                <a:gd name="T166" fmla="*/ 0 h 404"/>
                <a:gd name="T167" fmla="*/ 345 w 345"/>
                <a:gd name="T168" fmla="*/ 404 h 40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45" h="404">
                  <a:moveTo>
                    <a:pt x="120" y="22"/>
                  </a:moveTo>
                  <a:lnTo>
                    <a:pt x="139" y="24"/>
                  </a:lnTo>
                  <a:lnTo>
                    <a:pt x="141" y="30"/>
                  </a:lnTo>
                  <a:lnTo>
                    <a:pt x="147" y="35"/>
                  </a:lnTo>
                  <a:lnTo>
                    <a:pt x="155" y="36"/>
                  </a:lnTo>
                  <a:lnTo>
                    <a:pt x="163" y="33"/>
                  </a:lnTo>
                  <a:lnTo>
                    <a:pt x="169" y="33"/>
                  </a:lnTo>
                  <a:lnTo>
                    <a:pt x="178" y="35"/>
                  </a:lnTo>
                  <a:lnTo>
                    <a:pt x="184" y="36"/>
                  </a:lnTo>
                  <a:lnTo>
                    <a:pt x="193" y="36"/>
                  </a:lnTo>
                  <a:lnTo>
                    <a:pt x="201" y="38"/>
                  </a:lnTo>
                  <a:lnTo>
                    <a:pt x="205" y="43"/>
                  </a:lnTo>
                  <a:lnTo>
                    <a:pt x="216" y="47"/>
                  </a:lnTo>
                  <a:lnTo>
                    <a:pt x="222" y="46"/>
                  </a:lnTo>
                  <a:lnTo>
                    <a:pt x="229" y="42"/>
                  </a:lnTo>
                  <a:lnTo>
                    <a:pt x="237" y="41"/>
                  </a:lnTo>
                  <a:lnTo>
                    <a:pt x="274" y="46"/>
                  </a:lnTo>
                  <a:lnTo>
                    <a:pt x="288" y="42"/>
                  </a:lnTo>
                  <a:lnTo>
                    <a:pt x="309" y="21"/>
                  </a:lnTo>
                  <a:lnTo>
                    <a:pt x="317" y="16"/>
                  </a:lnTo>
                  <a:lnTo>
                    <a:pt x="325" y="6"/>
                  </a:lnTo>
                  <a:lnTo>
                    <a:pt x="335" y="0"/>
                  </a:lnTo>
                  <a:lnTo>
                    <a:pt x="341" y="2"/>
                  </a:lnTo>
                  <a:lnTo>
                    <a:pt x="344" y="4"/>
                  </a:lnTo>
                  <a:lnTo>
                    <a:pt x="345" y="13"/>
                  </a:lnTo>
                  <a:lnTo>
                    <a:pt x="344" y="20"/>
                  </a:lnTo>
                  <a:lnTo>
                    <a:pt x="339" y="30"/>
                  </a:lnTo>
                  <a:lnTo>
                    <a:pt x="323" y="47"/>
                  </a:lnTo>
                  <a:lnTo>
                    <a:pt x="313" y="60"/>
                  </a:lnTo>
                  <a:lnTo>
                    <a:pt x="303" y="69"/>
                  </a:lnTo>
                  <a:lnTo>
                    <a:pt x="293" y="75"/>
                  </a:lnTo>
                  <a:lnTo>
                    <a:pt x="280" y="75"/>
                  </a:lnTo>
                  <a:lnTo>
                    <a:pt x="268" y="78"/>
                  </a:lnTo>
                  <a:lnTo>
                    <a:pt x="245" y="78"/>
                  </a:lnTo>
                  <a:lnTo>
                    <a:pt x="234" y="70"/>
                  </a:lnTo>
                  <a:lnTo>
                    <a:pt x="218" y="68"/>
                  </a:lnTo>
                  <a:lnTo>
                    <a:pt x="201" y="68"/>
                  </a:lnTo>
                  <a:lnTo>
                    <a:pt x="178" y="69"/>
                  </a:lnTo>
                  <a:lnTo>
                    <a:pt x="164" y="72"/>
                  </a:lnTo>
                  <a:lnTo>
                    <a:pt x="156" y="68"/>
                  </a:lnTo>
                  <a:lnTo>
                    <a:pt x="148" y="68"/>
                  </a:lnTo>
                  <a:lnTo>
                    <a:pt x="145" y="69"/>
                  </a:lnTo>
                  <a:lnTo>
                    <a:pt x="135" y="67"/>
                  </a:lnTo>
                  <a:lnTo>
                    <a:pt x="130" y="68"/>
                  </a:lnTo>
                  <a:lnTo>
                    <a:pt x="121" y="72"/>
                  </a:lnTo>
                  <a:lnTo>
                    <a:pt x="109" y="72"/>
                  </a:lnTo>
                  <a:lnTo>
                    <a:pt x="98" y="69"/>
                  </a:lnTo>
                  <a:lnTo>
                    <a:pt x="87" y="69"/>
                  </a:lnTo>
                  <a:lnTo>
                    <a:pt x="77" y="80"/>
                  </a:lnTo>
                  <a:lnTo>
                    <a:pt x="70" y="94"/>
                  </a:lnTo>
                  <a:lnTo>
                    <a:pt x="67" y="107"/>
                  </a:lnTo>
                  <a:lnTo>
                    <a:pt x="67" y="137"/>
                  </a:lnTo>
                  <a:lnTo>
                    <a:pt x="75" y="144"/>
                  </a:lnTo>
                  <a:lnTo>
                    <a:pt x="86" y="148"/>
                  </a:lnTo>
                  <a:lnTo>
                    <a:pt x="100" y="171"/>
                  </a:lnTo>
                  <a:lnTo>
                    <a:pt x="121" y="170"/>
                  </a:lnTo>
                  <a:lnTo>
                    <a:pt x="124" y="164"/>
                  </a:lnTo>
                  <a:lnTo>
                    <a:pt x="132" y="156"/>
                  </a:lnTo>
                  <a:lnTo>
                    <a:pt x="140" y="146"/>
                  </a:lnTo>
                  <a:lnTo>
                    <a:pt x="151" y="143"/>
                  </a:lnTo>
                  <a:lnTo>
                    <a:pt x="159" y="145"/>
                  </a:lnTo>
                  <a:lnTo>
                    <a:pt x="163" y="145"/>
                  </a:lnTo>
                  <a:lnTo>
                    <a:pt x="172" y="148"/>
                  </a:lnTo>
                  <a:lnTo>
                    <a:pt x="177" y="140"/>
                  </a:lnTo>
                  <a:lnTo>
                    <a:pt x="193" y="138"/>
                  </a:lnTo>
                  <a:lnTo>
                    <a:pt x="215" y="138"/>
                  </a:lnTo>
                  <a:lnTo>
                    <a:pt x="217" y="129"/>
                  </a:lnTo>
                  <a:lnTo>
                    <a:pt x="233" y="124"/>
                  </a:lnTo>
                  <a:lnTo>
                    <a:pt x="244" y="124"/>
                  </a:lnTo>
                  <a:lnTo>
                    <a:pt x="250" y="133"/>
                  </a:lnTo>
                  <a:lnTo>
                    <a:pt x="249" y="144"/>
                  </a:lnTo>
                  <a:lnTo>
                    <a:pt x="243" y="150"/>
                  </a:lnTo>
                  <a:lnTo>
                    <a:pt x="231" y="144"/>
                  </a:lnTo>
                  <a:lnTo>
                    <a:pt x="218" y="146"/>
                  </a:lnTo>
                  <a:lnTo>
                    <a:pt x="198" y="172"/>
                  </a:lnTo>
                  <a:lnTo>
                    <a:pt x="189" y="180"/>
                  </a:lnTo>
                  <a:lnTo>
                    <a:pt x="173" y="187"/>
                  </a:lnTo>
                  <a:lnTo>
                    <a:pt x="166" y="189"/>
                  </a:lnTo>
                  <a:lnTo>
                    <a:pt x="155" y="196"/>
                  </a:lnTo>
                  <a:lnTo>
                    <a:pt x="150" y="197"/>
                  </a:lnTo>
                  <a:lnTo>
                    <a:pt x="137" y="193"/>
                  </a:lnTo>
                  <a:lnTo>
                    <a:pt x="139" y="203"/>
                  </a:lnTo>
                  <a:lnTo>
                    <a:pt x="152" y="212"/>
                  </a:lnTo>
                  <a:lnTo>
                    <a:pt x="180" y="251"/>
                  </a:lnTo>
                  <a:lnTo>
                    <a:pt x="185" y="252"/>
                  </a:lnTo>
                  <a:lnTo>
                    <a:pt x="190" y="263"/>
                  </a:lnTo>
                  <a:lnTo>
                    <a:pt x="196" y="271"/>
                  </a:lnTo>
                  <a:lnTo>
                    <a:pt x="193" y="277"/>
                  </a:lnTo>
                  <a:lnTo>
                    <a:pt x="185" y="279"/>
                  </a:lnTo>
                  <a:lnTo>
                    <a:pt x="184" y="286"/>
                  </a:lnTo>
                  <a:lnTo>
                    <a:pt x="185" y="293"/>
                  </a:lnTo>
                  <a:lnTo>
                    <a:pt x="198" y="301"/>
                  </a:lnTo>
                  <a:lnTo>
                    <a:pt x="202" y="309"/>
                  </a:lnTo>
                  <a:lnTo>
                    <a:pt x="202" y="317"/>
                  </a:lnTo>
                  <a:lnTo>
                    <a:pt x="209" y="321"/>
                  </a:lnTo>
                  <a:lnTo>
                    <a:pt x="216" y="320"/>
                  </a:lnTo>
                  <a:lnTo>
                    <a:pt x="218" y="328"/>
                  </a:lnTo>
                  <a:lnTo>
                    <a:pt x="215" y="332"/>
                  </a:lnTo>
                  <a:lnTo>
                    <a:pt x="211" y="337"/>
                  </a:lnTo>
                  <a:lnTo>
                    <a:pt x="196" y="337"/>
                  </a:lnTo>
                  <a:lnTo>
                    <a:pt x="182" y="341"/>
                  </a:lnTo>
                  <a:lnTo>
                    <a:pt x="175" y="354"/>
                  </a:lnTo>
                  <a:lnTo>
                    <a:pt x="166" y="360"/>
                  </a:lnTo>
                  <a:lnTo>
                    <a:pt x="150" y="359"/>
                  </a:lnTo>
                  <a:lnTo>
                    <a:pt x="146" y="348"/>
                  </a:lnTo>
                  <a:lnTo>
                    <a:pt x="145" y="333"/>
                  </a:lnTo>
                  <a:lnTo>
                    <a:pt x="148" y="321"/>
                  </a:lnTo>
                  <a:lnTo>
                    <a:pt x="143" y="314"/>
                  </a:lnTo>
                  <a:lnTo>
                    <a:pt x="131" y="305"/>
                  </a:lnTo>
                  <a:lnTo>
                    <a:pt x="120" y="294"/>
                  </a:lnTo>
                  <a:lnTo>
                    <a:pt x="113" y="280"/>
                  </a:lnTo>
                  <a:lnTo>
                    <a:pt x="121" y="264"/>
                  </a:lnTo>
                  <a:lnTo>
                    <a:pt x="121" y="253"/>
                  </a:lnTo>
                  <a:lnTo>
                    <a:pt x="119" y="245"/>
                  </a:lnTo>
                  <a:lnTo>
                    <a:pt x="116" y="239"/>
                  </a:lnTo>
                  <a:lnTo>
                    <a:pt x="105" y="237"/>
                  </a:lnTo>
                  <a:lnTo>
                    <a:pt x="92" y="245"/>
                  </a:lnTo>
                  <a:lnTo>
                    <a:pt x="81" y="253"/>
                  </a:lnTo>
                  <a:lnTo>
                    <a:pt x="76" y="267"/>
                  </a:lnTo>
                  <a:lnTo>
                    <a:pt x="83" y="280"/>
                  </a:lnTo>
                  <a:lnTo>
                    <a:pt x="83" y="294"/>
                  </a:lnTo>
                  <a:lnTo>
                    <a:pt x="82" y="344"/>
                  </a:lnTo>
                  <a:lnTo>
                    <a:pt x="86" y="354"/>
                  </a:lnTo>
                  <a:lnTo>
                    <a:pt x="80" y="368"/>
                  </a:lnTo>
                  <a:lnTo>
                    <a:pt x="81" y="384"/>
                  </a:lnTo>
                  <a:lnTo>
                    <a:pt x="85" y="397"/>
                  </a:lnTo>
                  <a:lnTo>
                    <a:pt x="82" y="400"/>
                  </a:lnTo>
                  <a:lnTo>
                    <a:pt x="67" y="401"/>
                  </a:lnTo>
                  <a:lnTo>
                    <a:pt x="55" y="404"/>
                  </a:lnTo>
                  <a:lnTo>
                    <a:pt x="42" y="403"/>
                  </a:lnTo>
                  <a:lnTo>
                    <a:pt x="33" y="398"/>
                  </a:lnTo>
                  <a:lnTo>
                    <a:pt x="27" y="384"/>
                  </a:lnTo>
                  <a:lnTo>
                    <a:pt x="34" y="363"/>
                  </a:lnTo>
                  <a:lnTo>
                    <a:pt x="35" y="350"/>
                  </a:lnTo>
                  <a:lnTo>
                    <a:pt x="43" y="316"/>
                  </a:lnTo>
                  <a:lnTo>
                    <a:pt x="39" y="310"/>
                  </a:lnTo>
                  <a:lnTo>
                    <a:pt x="34" y="284"/>
                  </a:lnTo>
                  <a:lnTo>
                    <a:pt x="22" y="284"/>
                  </a:lnTo>
                  <a:lnTo>
                    <a:pt x="11" y="285"/>
                  </a:lnTo>
                  <a:lnTo>
                    <a:pt x="2" y="273"/>
                  </a:lnTo>
                  <a:lnTo>
                    <a:pt x="0" y="259"/>
                  </a:lnTo>
                  <a:lnTo>
                    <a:pt x="1" y="240"/>
                  </a:lnTo>
                  <a:lnTo>
                    <a:pt x="12" y="226"/>
                  </a:lnTo>
                  <a:lnTo>
                    <a:pt x="18" y="210"/>
                  </a:lnTo>
                  <a:lnTo>
                    <a:pt x="26" y="196"/>
                  </a:lnTo>
                  <a:lnTo>
                    <a:pt x="24" y="166"/>
                  </a:lnTo>
                  <a:lnTo>
                    <a:pt x="37" y="144"/>
                  </a:lnTo>
                  <a:lnTo>
                    <a:pt x="44" y="137"/>
                  </a:lnTo>
                  <a:lnTo>
                    <a:pt x="49" y="128"/>
                  </a:lnTo>
                  <a:lnTo>
                    <a:pt x="51" y="138"/>
                  </a:lnTo>
                  <a:lnTo>
                    <a:pt x="54" y="126"/>
                  </a:lnTo>
                  <a:lnTo>
                    <a:pt x="53" y="105"/>
                  </a:lnTo>
                  <a:lnTo>
                    <a:pt x="45" y="97"/>
                  </a:lnTo>
                  <a:lnTo>
                    <a:pt x="48" y="97"/>
                  </a:lnTo>
                  <a:lnTo>
                    <a:pt x="55" y="86"/>
                  </a:lnTo>
                  <a:lnTo>
                    <a:pt x="55" y="80"/>
                  </a:lnTo>
                  <a:lnTo>
                    <a:pt x="57" y="69"/>
                  </a:lnTo>
                  <a:lnTo>
                    <a:pt x="62" y="58"/>
                  </a:lnTo>
                  <a:lnTo>
                    <a:pt x="73" y="46"/>
                  </a:lnTo>
                  <a:lnTo>
                    <a:pt x="78" y="46"/>
                  </a:lnTo>
                  <a:lnTo>
                    <a:pt x="86" y="52"/>
                  </a:lnTo>
                  <a:lnTo>
                    <a:pt x="93" y="51"/>
                  </a:lnTo>
                  <a:lnTo>
                    <a:pt x="102" y="40"/>
                  </a:lnTo>
                  <a:lnTo>
                    <a:pt x="104" y="27"/>
                  </a:lnTo>
                  <a:lnTo>
                    <a:pt x="110" y="24"/>
                  </a:lnTo>
                  <a:lnTo>
                    <a:pt x="120" y="2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90" name="Freeform 87">
              <a:extLst>
                <a:ext uri="{FF2B5EF4-FFF2-40B4-BE49-F238E27FC236}">
                  <a16:creationId xmlns:a16="http://schemas.microsoft.com/office/drawing/2014/main" id="{5B845DDC-589C-7520-05AD-1284727D57C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499550" y="4270882"/>
              <a:ext cx="43278" cy="96025"/>
            </a:xfrm>
            <a:custGeom>
              <a:avLst/>
              <a:gdLst>
                <a:gd name="T0" fmla="*/ 0 w 80"/>
                <a:gd name="T1" fmla="*/ 0 h 170"/>
                <a:gd name="T2" fmla="*/ 0 w 80"/>
                <a:gd name="T3" fmla="*/ 0 h 170"/>
                <a:gd name="T4" fmla="*/ 0 w 80"/>
                <a:gd name="T5" fmla="*/ 0 h 170"/>
                <a:gd name="T6" fmla="*/ 0 w 80"/>
                <a:gd name="T7" fmla="*/ 0 h 170"/>
                <a:gd name="T8" fmla="*/ 0 w 80"/>
                <a:gd name="T9" fmla="*/ 0 h 170"/>
                <a:gd name="T10" fmla="*/ 0 w 80"/>
                <a:gd name="T11" fmla="*/ 0 h 170"/>
                <a:gd name="T12" fmla="*/ 0 w 80"/>
                <a:gd name="T13" fmla="*/ 0 h 170"/>
                <a:gd name="T14" fmla="*/ 0 w 80"/>
                <a:gd name="T15" fmla="*/ 0 h 170"/>
                <a:gd name="T16" fmla="*/ 0 w 80"/>
                <a:gd name="T17" fmla="*/ 0 h 170"/>
                <a:gd name="T18" fmla="*/ 0 w 80"/>
                <a:gd name="T19" fmla="*/ 0 h 170"/>
                <a:gd name="T20" fmla="*/ 0 w 80"/>
                <a:gd name="T21" fmla="*/ 0 h 170"/>
                <a:gd name="T22" fmla="*/ 0 w 80"/>
                <a:gd name="T23" fmla="*/ 0 h 170"/>
                <a:gd name="T24" fmla="*/ 0 w 80"/>
                <a:gd name="T25" fmla="*/ 0 h 170"/>
                <a:gd name="T26" fmla="*/ 0 w 80"/>
                <a:gd name="T27" fmla="*/ 0 h 170"/>
                <a:gd name="T28" fmla="*/ 0 w 80"/>
                <a:gd name="T29" fmla="*/ 0 h 170"/>
                <a:gd name="T30" fmla="*/ 0 w 80"/>
                <a:gd name="T31" fmla="*/ 0 h 170"/>
                <a:gd name="T32" fmla="*/ 0 w 80"/>
                <a:gd name="T33" fmla="*/ 0 h 170"/>
                <a:gd name="T34" fmla="*/ 2147483647 w 80"/>
                <a:gd name="T35" fmla="*/ 0 h 170"/>
                <a:gd name="T36" fmla="*/ 2147483647 w 80"/>
                <a:gd name="T37" fmla="*/ 0 h 170"/>
                <a:gd name="T38" fmla="*/ 2147483647 w 80"/>
                <a:gd name="T39" fmla="*/ 0 h 170"/>
                <a:gd name="T40" fmla="*/ 2147483647 w 80"/>
                <a:gd name="T41" fmla="*/ 0 h 170"/>
                <a:gd name="T42" fmla="*/ 2147483647 w 80"/>
                <a:gd name="T43" fmla="*/ 0 h 170"/>
                <a:gd name="T44" fmla="*/ 2147483647 w 80"/>
                <a:gd name="T45" fmla="*/ 0 h 170"/>
                <a:gd name="T46" fmla="*/ 2147483647 w 80"/>
                <a:gd name="T47" fmla="*/ 2147483647 h 170"/>
                <a:gd name="T48" fmla="*/ 2147483647 w 80"/>
                <a:gd name="T49" fmla="*/ 2147483647 h 170"/>
                <a:gd name="T50" fmla="*/ 2147483647 w 80"/>
                <a:gd name="T51" fmla="*/ 2147483647 h 170"/>
                <a:gd name="T52" fmla="*/ 2147483647 w 80"/>
                <a:gd name="T53" fmla="*/ 2147483647 h 170"/>
                <a:gd name="T54" fmla="*/ 2147483647 w 80"/>
                <a:gd name="T55" fmla="*/ 2147483647 h 170"/>
                <a:gd name="T56" fmla="*/ 2147483647 w 80"/>
                <a:gd name="T57" fmla="*/ 2147483647 h 170"/>
                <a:gd name="T58" fmla="*/ 2147483647 w 80"/>
                <a:gd name="T59" fmla="*/ 2147483647 h 170"/>
                <a:gd name="T60" fmla="*/ 2147483647 w 80"/>
                <a:gd name="T61" fmla="*/ 2147483647 h 170"/>
                <a:gd name="T62" fmla="*/ 2147483647 w 80"/>
                <a:gd name="T63" fmla="*/ 2147483647 h 170"/>
                <a:gd name="T64" fmla="*/ 0 w 80"/>
                <a:gd name="T65" fmla="*/ 2147483647 h 170"/>
                <a:gd name="T66" fmla="*/ 0 w 80"/>
                <a:gd name="T67" fmla="*/ 2147483647 h 170"/>
                <a:gd name="T68" fmla="*/ 0 w 80"/>
                <a:gd name="T69" fmla="*/ 2147483647 h 170"/>
                <a:gd name="T70" fmla="*/ 0 w 80"/>
                <a:gd name="T71" fmla="*/ 2147483647 h 170"/>
                <a:gd name="T72" fmla="*/ 0 w 80"/>
                <a:gd name="T73" fmla="*/ 2147483647 h 170"/>
                <a:gd name="T74" fmla="*/ 0 w 80"/>
                <a:gd name="T75" fmla="*/ 2147483647 h 170"/>
                <a:gd name="T76" fmla="*/ 2147483647 w 80"/>
                <a:gd name="T77" fmla="*/ 2147483647 h 170"/>
                <a:gd name="T78" fmla="*/ 2147483647 w 80"/>
                <a:gd name="T79" fmla="*/ 2147483647 h 170"/>
                <a:gd name="T80" fmla="*/ 0 w 80"/>
                <a:gd name="T81" fmla="*/ 2147483647 h 170"/>
                <a:gd name="T82" fmla="*/ 0 w 80"/>
                <a:gd name="T83" fmla="*/ 2147483647 h 170"/>
                <a:gd name="T84" fmla="*/ 0 w 80"/>
                <a:gd name="T85" fmla="*/ 2147483647 h 170"/>
                <a:gd name="T86" fmla="*/ 0 w 80"/>
                <a:gd name="T87" fmla="*/ 2147483647 h 170"/>
                <a:gd name="T88" fmla="*/ 0 w 80"/>
                <a:gd name="T89" fmla="*/ 2147483647 h 170"/>
                <a:gd name="T90" fmla="*/ 0 w 80"/>
                <a:gd name="T91" fmla="*/ 0 h 170"/>
                <a:gd name="T92" fmla="*/ 0 w 80"/>
                <a:gd name="T93" fmla="*/ 0 h 170"/>
                <a:gd name="T94" fmla="*/ 0 w 80"/>
                <a:gd name="T95" fmla="*/ 0 h 170"/>
                <a:gd name="T96" fmla="*/ 0 w 80"/>
                <a:gd name="T97" fmla="*/ 0 h 170"/>
                <a:gd name="T98" fmla="*/ 0 w 80"/>
                <a:gd name="T99" fmla="*/ 0 h 170"/>
                <a:gd name="T100" fmla="*/ 0 w 80"/>
                <a:gd name="T101" fmla="*/ 0 h 170"/>
                <a:gd name="T102" fmla="*/ 0 w 80"/>
                <a:gd name="T103" fmla="*/ 0 h 170"/>
                <a:gd name="T104" fmla="*/ 0 w 80"/>
                <a:gd name="T105" fmla="*/ 0 h 17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80"/>
                <a:gd name="T160" fmla="*/ 0 h 170"/>
                <a:gd name="T161" fmla="*/ 80 w 80"/>
                <a:gd name="T162" fmla="*/ 170 h 17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80" h="170">
                  <a:moveTo>
                    <a:pt x="31" y="0"/>
                  </a:moveTo>
                  <a:lnTo>
                    <a:pt x="32" y="0"/>
                  </a:lnTo>
                  <a:lnTo>
                    <a:pt x="34" y="2"/>
                  </a:lnTo>
                  <a:lnTo>
                    <a:pt x="36" y="6"/>
                  </a:lnTo>
                  <a:lnTo>
                    <a:pt x="31" y="14"/>
                  </a:lnTo>
                  <a:lnTo>
                    <a:pt x="27" y="17"/>
                  </a:lnTo>
                  <a:lnTo>
                    <a:pt x="26" y="21"/>
                  </a:lnTo>
                  <a:lnTo>
                    <a:pt x="31" y="25"/>
                  </a:lnTo>
                  <a:lnTo>
                    <a:pt x="34" y="36"/>
                  </a:lnTo>
                  <a:lnTo>
                    <a:pt x="36" y="45"/>
                  </a:lnTo>
                  <a:lnTo>
                    <a:pt x="34" y="53"/>
                  </a:lnTo>
                  <a:lnTo>
                    <a:pt x="22" y="65"/>
                  </a:lnTo>
                  <a:lnTo>
                    <a:pt x="15" y="72"/>
                  </a:lnTo>
                  <a:lnTo>
                    <a:pt x="15" y="74"/>
                  </a:lnTo>
                  <a:lnTo>
                    <a:pt x="22" y="75"/>
                  </a:lnTo>
                  <a:lnTo>
                    <a:pt x="28" y="69"/>
                  </a:lnTo>
                  <a:lnTo>
                    <a:pt x="37" y="63"/>
                  </a:lnTo>
                  <a:lnTo>
                    <a:pt x="47" y="45"/>
                  </a:lnTo>
                  <a:lnTo>
                    <a:pt x="57" y="40"/>
                  </a:lnTo>
                  <a:lnTo>
                    <a:pt x="68" y="38"/>
                  </a:lnTo>
                  <a:lnTo>
                    <a:pt x="70" y="41"/>
                  </a:lnTo>
                  <a:lnTo>
                    <a:pt x="74" y="49"/>
                  </a:lnTo>
                  <a:lnTo>
                    <a:pt x="74" y="63"/>
                  </a:lnTo>
                  <a:lnTo>
                    <a:pt x="52" y="78"/>
                  </a:lnTo>
                  <a:lnTo>
                    <a:pt x="52" y="81"/>
                  </a:lnTo>
                  <a:lnTo>
                    <a:pt x="69" y="92"/>
                  </a:lnTo>
                  <a:lnTo>
                    <a:pt x="70" y="99"/>
                  </a:lnTo>
                  <a:lnTo>
                    <a:pt x="74" y="103"/>
                  </a:lnTo>
                  <a:lnTo>
                    <a:pt x="80" y="107"/>
                  </a:lnTo>
                  <a:lnTo>
                    <a:pt x="70" y="108"/>
                  </a:lnTo>
                  <a:lnTo>
                    <a:pt x="62" y="102"/>
                  </a:lnTo>
                  <a:lnTo>
                    <a:pt x="47" y="100"/>
                  </a:lnTo>
                  <a:lnTo>
                    <a:pt x="36" y="96"/>
                  </a:lnTo>
                  <a:lnTo>
                    <a:pt x="31" y="102"/>
                  </a:lnTo>
                  <a:lnTo>
                    <a:pt x="30" y="118"/>
                  </a:lnTo>
                  <a:lnTo>
                    <a:pt x="32" y="137"/>
                  </a:lnTo>
                  <a:lnTo>
                    <a:pt x="37" y="146"/>
                  </a:lnTo>
                  <a:lnTo>
                    <a:pt x="43" y="158"/>
                  </a:lnTo>
                  <a:lnTo>
                    <a:pt x="54" y="170"/>
                  </a:lnTo>
                  <a:lnTo>
                    <a:pt x="49" y="170"/>
                  </a:lnTo>
                  <a:lnTo>
                    <a:pt x="39" y="160"/>
                  </a:lnTo>
                  <a:lnTo>
                    <a:pt x="21" y="137"/>
                  </a:lnTo>
                  <a:lnTo>
                    <a:pt x="17" y="106"/>
                  </a:lnTo>
                  <a:lnTo>
                    <a:pt x="12" y="92"/>
                  </a:lnTo>
                  <a:lnTo>
                    <a:pt x="12" y="80"/>
                  </a:lnTo>
                  <a:lnTo>
                    <a:pt x="10" y="72"/>
                  </a:lnTo>
                  <a:lnTo>
                    <a:pt x="5" y="68"/>
                  </a:lnTo>
                  <a:lnTo>
                    <a:pt x="0" y="59"/>
                  </a:lnTo>
                  <a:lnTo>
                    <a:pt x="1" y="49"/>
                  </a:lnTo>
                  <a:lnTo>
                    <a:pt x="3" y="48"/>
                  </a:lnTo>
                  <a:lnTo>
                    <a:pt x="10" y="25"/>
                  </a:lnTo>
                  <a:lnTo>
                    <a:pt x="15" y="15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91" name="Freeform 88">
              <a:extLst>
                <a:ext uri="{FF2B5EF4-FFF2-40B4-BE49-F238E27FC236}">
                  <a16:creationId xmlns:a16="http://schemas.microsoft.com/office/drawing/2014/main" id="{A748EA46-8F02-0858-D6AB-DCFB425B0792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604014" y="4351665"/>
              <a:ext cx="304438" cy="272836"/>
            </a:xfrm>
            <a:custGeom>
              <a:avLst/>
              <a:gdLst>
                <a:gd name="T0" fmla="*/ 2147483647 w 568"/>
                <a:gd name="T1" fmla="*/ 2147483647 h 480"/>
                <a:gd name="T2" fmla="*/ 2147483647 w 568"/>
                <a:gd name="T3" fmla="*/ 2147483647 h 480"/>
                <a:gd name="T4" fmla="*/ 2147483647 w 568"/>
                <a:gd name="T5" fmla="*/ 2147483647 h 480"/>
                <a:gd name="T6" fmla="*/ 2147483647 w 568"/>
                <a:gd name="T7" fmla="*/ 2147483647 h 480"/>
                <a:gd name="T8" fmla="*/ 2147483647 w 568"/>
                <a:gd name="T9" fmla="*/ 2147483647 h 480"/>
                <a:gd name="T10" fmla="*/ 2147483647 w 568"/>
                <a:gd name="T11" fmla="*/ 2147483647 h 480"/>
                <a:gd name="T12" fmla="*/ 2147483647 w 568"/>
                <a:gd name="T13" fmla="*/ 2147483647 h 480"/>
                <a:gd name="T14" fmla="*/ 2147483647 w 568"/>
                <a:gd name="T15" fmla="*/ 2147483647 h 480"/>
                <a:gd name="T16" fmla="*/ 2147483647 w 568"/>
                <a:gd name="T17" fmla="*/ 2147483647 h 480"/>
                <a:gd name="T18" fmla="*/ 2147483647 w 568"/>
                <a:gd name="T19" fmla="*/ 2147483647 h 480"/>
                <a:gd name="T20" fmla="*/ 2147483647 w 568"/>
                <a:gd name="T21" fmla="*/ 2147483647 h 480"/>
                <a:gd name="T22" fmla="*/ 2147483647 w 568"/>
                <a:gd name="T23" fmla="*/ 2147483647 h 480"/>
                <a:gd name="T24" fmla="*/ 2147483647 w 568"/>
                <a:gd name="T25" fmla="*/ 2147483647 h 480"/>
                <a:gd name="T26" fmla="*/ 2147483647 w 568"/>
                <a:gd name="T27" fmla="*/ 2147483647 h 480"/>
                <a:gd name="T28" fmla="*/ 2147483647 w 568"/>
                <a:gd name="T29" fmla="*/ 2147483647 h 480"/>
                <a:gd name="T30" fmla="*/ 2147483647 w 568"/>
                <a:gd name="T31" fmla="*/ 2147483647 h 480"/>
                <a:gd name="T32" fmla="*/ 2147483647 w 568"/>
                <a:gd name="T33" fmla="*/ 2147483647 h 480"/>
                <a:gd name="T34" fmla="*/ 2147483647 w 568"/>
                <a:gd name="T35" fmla="*/ 2147483647 h 480"/>
                <a:gd name="T36" fmla="*/ 2147483647 w 568"/>
                <a:gd name="T37" fmla="*/ 2147483647 h 480"/>
                <a:gd name="T38" fmla="*/ 2147483647 w 568"/>
                <a:gd name="T39" fmla="*/ 2147483647 h 480"/>
                <a:gd name="T40" fmla="*/ 2147483647 w 568"/>
                <a:gd name="T41" fmla="*/ 2147483647 h 480"/>
                <a:gd name="T42" fmla="*/ 2147483647 w 568"/>
                <a:gd name="T43" fmla="*/ 2147483647 h 480"/>
                <a:gd name="T44" fmla="*/ 2147483647 w 568"/>
                <a:gd name="T45" fmla="*/ 2147483647 h 480"/>
                <a:gd name="T46" fmla="*/ 2147483647 w 568"/>
                <a:gd name="T47" fmla="*/ 2147483647 h 480"/>
                <a:gd name="T48" fmla="*/ 2147483647 w 568"/>
                <a:gd name="T49" fmla="*/ 2147483647 h 480"/>
                <a:gd name="T50" fmla="*/ 2147483647 w 568"/>
                <a:gd name="T51" fmla="*/ 2147483647 h 480"/>
                <a:gd name="T52" fmla="*/ 2147483647 w 568"/>
                <a:gd name="T53" fmla="*/ 2147483647 h 480"/>
                <a:gd name="T54" fmla="*/ 2147483647 w 568"/>
                <a:gd name="T55" fmla="*/ 2147483647 h 480"/>
                <a:gd name="T56" fmla="*/ 2147483647 w 568"/>
                <a:gd name="T57" fmla="*/ 2147483647 h 480"/>
                <a:gd name="T58" fmla="*/ 0 w 568"/>
                <a:gd name="T59" fmla="*/ 0 h 480"/>
                <a:gd name="T60" fmla="*/ 0 w 568"/>
                <a:gd name="T61" fmla="*/ 0 h 480"/>
                <a:gd name="T62" fmla="*/ 0 w 568"/>
                <a:gd name="T63" fmla="*/ 0 h 480"/>
                <a:gd name="T64" fmla="*/ 2147483647 w 568"/>
                <a:gd name="T65" fmla="*/ 0 h 480"/>
                <a:gd name="T66" fmla="*/ 2147483647 w 568"/>
                <a:gd name="T67" fmla="*/ 0 h 480"/>
                <a:gd name="T68" fmla="*/ 2147483647 w 568"/>
                <a:gd name="T69" fmla="*/ 0 h 480"/>
                <a:gd name="T70" fmla="*/ 2147483647 w 568"/>
                <a:gd name="T71" fmla="*/ 2147483647 h 480"/>
                <a:gd name="T72" fmla="*/ 2147483647 w 568"/>
                <a:gd name="T73" fmla="*/ 2147483647 h 480"/>
                <a:gd name="T74" fmla="*/ 2147483647 w 568"/>
                <a:gd name="T75" fmla="*/ 2147483647 h 480"/>
                <a:gd name="T76" fmla="*/ 2147483647 w 568"/>
                <a:gd name="T77" fmla="*/ 2147483647 h 480"/>
                <a:gd name="T78" fmla="*/ 2147483647 w 568"/>
                <a:gd name="T79" fmla="*/ 2147483647 h 480"/>
                <a:gd name="T80" fmla="*/ 2147483647 w 568"/>
                <a:gd name="T81" fmla="*/ 2147483647 h 480"/>
                <a:gd name="T82" fmla="*/ 2147483647 w 568"/>
                <a:gd name="T83" fmla="*/ 0 h 480"/>
                <a:gd name="T84" fmla="*/ 2147483647 w 568"/>
                <a:gd name="T85" fmla="*/ 2147483647 h 480"/>
                <a:gd name="T86" fmla="*/ 2147483647 w 568"/>
                <a:gd name="T87" fmla="*/ 2147483647 h 480"/>
                <a:gd name="T88" fmla="*/ 2147483647 w 568"/>
                <a:gd name="T89" fmla="*/ 2147483647 h 480"/>
                <a:gd name="T90" fmla="*/ 2147483647 w 568"/>
                <a:gd name="T91" fmla="*/ 2147483647 h 480"/>
                <a:gd name="T92" fmla="*/ 2147483647 w 568"/>
                <a:gd name="T93" fmla="*/ 2147483647 h 480"/>
                <a:gd name="T94" fmla="*/ 2147483647 w 568"/>
                <a:gd name="T95" fmla="*/ 2147483647 h 480"/>
                <a:gd name="T96" fmla="*/ 2147483647 w 568"/>
                <a:gd name="T97" fmla="*/ 2147483647 h 480"/>
                <a:gd name="T98" fmla="*/ 2147483647 w 568"/>
                <a:gd name="T99" fmla="*/ 2147483647 h 48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68"/>
                <a:gd name="T151" fmla="*/ 0 h 480"/>
                <a:gd name="T152" fmla="*/ 568 w 568"/>
                <a:gd name="T153" fmla="*/ 480 h 48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68" h="480">
                  <a:moveTo>
                    <a:pt x="568" y="480"/>
                  </a:moveTo>
                  <a:lnTo>
                    <a:pt x="568" y="479"/>
                  </a:lnTo>
                  <a:lnTo>
                    <a:pt x="556" y="475"/>
                  </a:lnTo>
                  <a:lnTo>
                    <a:pt x="549" y="469"/>
                  </a:lnTo>
                  <a:lnTo>
                    <a:pt x="532" y="455"/>
                  </a:lnTo>
                  <a:lnTo>
                    <a:pt x="523" y="444"/>
                  </a:lnTo>
                  <a:lnTo>
                    <a:pt x="513" y="433"/>
                  </a:lnTo>
                  <a:lnTo>
                    <a:pt x="503" y="428"/>
                  </a:lnTo>
                  <a:lnTo>
                    <a:pt x="501" y="425"/>
                  </a:lnTo>
                  <a:lnTo>
                    <a:pt x="497" y="421"/>
                  </a:lnTo>
                  <a:lnTo>
                    <a:pt x="484" y="423"/>
                  </a:lnTo>
                  <a:lnTo>
                    <a:pt x="474" y="427"/>
                  </a:lnTo>
                  <a:lnTo>
                    <a:pt x="455" y="423"/>
                  </a:lnTo>
                  <a:lnTo>
                    <a:pt x="447" y="431"/>
                  </a:lnTo>
                  <a:lnTo>
                    <a:pt x="442" y="426"/>
                  </a:lnTo>
                  <a:lnTo>
                    <a:pt x="441" y="433"/>
                  </a:lnTo>
                  <a:lnTo>
                    <a:pt x="441" y="436"/>
                  </a:lnTo>
                  <a:lnTo>
                    <a:pt x="438" y="437"/>
                  </a:lnTo>
                  <a:lnTo>
                    <a:pt x="431" y="437"/>
                  </a:lnTo>
                  <a:lnTo>
                    <a:pt x="426" y="433"/>
                  </a:lnTo>
                  <a:lnTo>
                    <a:pt x="405" y="439"/>
                  </a:lnTo>
                  <a:lnTo>
                    <a:pt x="385" y="440"/>
                  </a:lnTo>
                  <a:lnTo>
                    <a:pt x="378" y="440"/>
                  </a:lnTo>
                  <a:lnTo>
                    <a:pt x="378" y="431"/>
                  </a:lnTo>
                  <a:lnTo>
                    <a:pt x="384" y="421"/>
                  </a:lnTo>
                  <a:lnTo>
                    <a:pt x="390" y="405"/>
                  </a:lnTo>
                  <a:lnTo>
                    <a:pt x="406" y="386"/>
                  </a:lnTo>
                  <a:lnTo>
                    <a:pt x="419" y="383"/>
                  </a:lnTo>
                  <a:lnTo>
                    <a:pt x="427" y="384"/>
                  </a:lnTo>
                  <a:lnTo>
                    <a:pt x="437" y="390"/>
                  </a:lnTo>
                  <a:lnTo>
                    <a:pt x="444" y="393"/>
                  </a:lnTo>
                  <a:lnTo>
                    <a:pt x="444" y="385"/>
                  </a:lnTo>
                  <a:lnTo>
                    <a:pt x="433" y="377"/>
                  </a:lnTo>
                  <a:lnTo>
                    <a:pt x="435" y="373"/>
                  </a:lnTo>
                  <a:lnTo>
                    <a:pt x="442" y="372"/>
                  </a:lnTo>
                  <a:lnTo>
                    <a:pt x="431" y="368"/>
                  </a:lnTo>
                  <a:lnTo>
                    <a:pt x="420" y="359"/>
                  </a:lnTo>
                  <a:lnTo>
                    <a:pt x="426" y="357"/>
                  </a:lnTo>
                  <a:lnTo>
                    <a:pt x="430" y="341"/>
                  </a:lnTo>
                  <a:lnTo>
                    <a:pt x="421" y="335"/>
                  </a:lnTo>
                  <a:lnTo>
                    <a:pt x="414" y="321"/>
                  </a:lnTo>
                  <a:lnTo>
                    <a:pt x="410" y="300"/>
                  </a:lnTo>
                  <a:lnTo>
                    <a:pt x="410" y="297"/>
                  </a:lnTo>
                  <a:lnTo>
                    <a:pt x="406" y="293"/>
                  </a:lnTo>
                  <a:lnTo>
                    <a:pt x="395" y="277"/>
                  </a:lnTo>
                  <a:lnTo>
                    <a:pt x="389" y="277"/>
                  </a:lnTo>
                  <a:lnTo>
                    <a:pt x="383" y="275"/>
                  </a:lnTo>
                  <a:lnTo>
                    <a:pt x="378" y="269"/>
                  </a:lnTo>
                  <a:lnTo>
                    <a:pt x="377" y="269"/>
                  </a:lnTo>
                  <a:lnTo>
                    <a:pt x="372" y="262"/>
                  </a:lnTo>
                  <a:lnTo>
                    <a:pt x="361" y="260"/>
                  </a:lnTo>
                  <a:lnTo>
                    <a:pt x="342" y="250"/>
                  </a:lnTo>
                  <a:lnTo>
                    <a:pt x="334" y="251"/>
                  </a:lnTo>
                  <a:lnTo>
                    <a:pt x="313" y="240"/>
                  </a:lnTo>
                  <a:lnTo>
                    <a:pt x="299" y="237"/>
                  </a:lnTo>
                  <a:lnTo>
                    <a:pt x="290" y="235"/>
                  </a:lnTo>
                  <a:lnTo>
                    <a:pt x="270" y="228"/>
                  </a:lnTo>
                  <a:lnTo>
                    <a:pt x="260" y="227"/>
                  </a:lnTo>
                  <a:lnTo>
                    <a:pt x="243" y="224"/>
                  </a:lnTo>
                  <a:lnTo>
                    <a:pt x="229" y="223"/>
                  </a:lnTo>
                  <a:lnTo>
                    <a:pt x="228" y="219"/>
                  </a:lnTo>
                  <a:lnTo>
                    <a:pt x="224" y="218"/>
                  </a:lnTo>
                  <a:lnTo>
                    <a:pt x="215" y="213"/>
                  </a:lnTo>
                  <a:lnTo>
                    <a:pt x="210" y="206"/>
                  </a:lnTo>
                  <a:lnTo>
                    <a:pt x="207" y="199"/>
                  </a:lnTo>
                  <a:lnTo>
                    <a:pt x="199" y="199"/>
                  </a:lnTo>
                  <a:lnTo>
                    <a:pt x="189" y="197"/>
                  </a:lnTo>
                  <a:lnTo>
                    <a:pt x="188" y="203"/>
                  </a:lnTo>
                  <a:lnTo>
                    <a:pt x="184" y="197"/>
                  </a:lnTo>
                  <a:lnTo>
                    <a:pt x="175" y="191"/>
                  </a:lnTo>
                  <a:lnTo>
                    <a:pt x="170" y="189"/>
                  </a:lnTo>
                  <a:lnTo>
                    <a:pt x="168" y="183"/>
                  </a:lnTo>
                  <a:lnTo>
                    <a:pt x="158" y="179"/>
                  </a:lnTo>
                  <a:lnTo>
                    <a:pt x="156" y="171"/>
                  </a:lnTo>
                  <a:lnTo>
                    <a:pt x="157" y="162"/>
                  </a:lnTo>
                  <a:lnTo>
                    <a:pt x="161" y="149"/>
                  </a:lnTo>
                  <a:lnTo>
                    <a:pt x="159" y="142"/>
                  </a:lnTo>
                  <a:lnTo>
                    <a:pt x="157" y="148"/>
                  </a:lnTo>
                  <a:lnTo>
                    <a:pt x="156" y="159"/>
                  </a:lnTo>
                  <a:lnTo>
                    <a:pt x="152" y="167"/>
                  </a:lnTo>
                  <a:lnTo>
                    <a:pt x="145" y="181"/>
                  </a:lnTo>
                  <a:lnTo>
                    <a:pt x="142" y="189"/>
                  </a:lnTo>
                  <a:lnTo>
                    <a:pt x="138" y="196"/>
                  </a:lnTo>
                  <a:lnTo>
                    <a:pt x="132" y="203"/>
                  </a:lnTo>
                  <a:lnTo>
                    <a:pt x="113" y="206"/>
                  </a:lnTo>
                  <a:lnTo>
                    <a:pt x="108" y="203"/>
                  </a:lnTo>
                  <a:lnTo>
                    <a:pt x="105" y="200"/>
                  </a:lnTo>
                  <a:lnTo>
                    <a:pt x="105" y="190"/>
                  </a:lnTo>
                  <a:lnTo>
                    <a:pt x="102" y="179"/>
                  </a:lnTo>
                  <a:lnTo>
                    <a:pt x="103" y="174"/>
                  </a:lnTo>
                  <a:lnTo>
                    <a:pt x="103" y="163"/>
                  </a:lnTo>
                  <a:lnTo>
                    <a:pt x="95" y="163"/>
                  </a:lnTo>
                  <a:lnTo>
                    <a:pt x="88" y="149"/>
                  </a:lnTo>
                  <a:lnTo>
                    <a:pt x="78" y="143"/>
                  </a:lnTo>
                  <a:lnTo>
                    <a:pt x="65" y="143"/>
                  </a:lnTo>
                  <a:lnTo>
                    <a:pt x="56" y="141"/>
                  </a:lnTo>
                  <a:lnTo>
                    <a:pt x="57" y="132"/>
                  </a:lnTo>
                  <a:lnTo>
                    <a:pt x="67" y="127"/>
                  </a:lnTo>
                  <a:lnTo>
                    <a:pt x="81" y="127"/>
                  </a:lnTo>
                  <a:lnTo>
                    <a:pt x="95" y="130"/>
                  </a:lnTo>
                  <a:lnTo>
                    <a:pt x="115" y="119"/>
                  </a:lnTo>
                  <a:lnTo>
                    <a:pt x="125" y="115"/>
                  </a:lnTo>
                  <a:lnTo>
                    <a:pt x="135" y="119"/>
                  </a:lnTo>
                  <a:lnTo>
                    <a:pt x="147" y="120"/>
                  </a:lnTo>
                  <a:lnTo>
                    <a:pt x="156" y="116"/>
                  </a:lnTo>
                  <a:lnTo>
                    <a:pt x="157" y="105"/>
                  </a:lnTo>
                  <a:lnTo>
                    <a:pt x="161" y="99"/>
                  </a:lnTo>
                  <a:lnTo>
                    <a:pt x="162" y="93"/>
                  </a:lnTo>
                  <a:lnTo>
                    <a:pt x="152" y="97"/>
                  </a:lnTo>
                  <a:lnTo>
                    <a:pt x="132" y="101"/>
                  </a:lnTo>
                  <a:lnTo>
                    <a:pt x="110" y="106"/>
                  </a:lnTo>
                  <a:lnTo>
                    <a:pt x="94" y="106"/>
                  </a:lnTo>
                  <a:lnTo>
                    <a:pt x="86" y="104"/>
                  </a:lnTo>
                  <a:lnTo>
                    <a:pt x="77" y="106"/>
                  </a:lnTo>
                  <a:lnTo>
                    <a:pt x="62" y="99"/>
                  </a:lnTo>
                  <a:lnTo>
                    <a:pt x="55" y="83"/>
                  </a:lnTo>
                  <a:lnTo>
                    <a:pt x="52" y="72"/>
                  </a:lnTo>
                  <a:lnTo>
                    <a:pt x="46" y="67"/>
                  </a:lnTo>
                  <a:lnTo>
                    <a:pt x="36" y="62"/>
                  </a:lnTo>
                  <a:lnTo>
                    <a:pt x="27" y="63"/>
                  </a:lnTo>
                  <a:lnTo>
                    <a:pt x="19" y="60"/>
                  </a:lnTo>
                  <a:lnTo>
                    <a:pt x="17" y="66"/>
                  </a:lnTo>
                  <a:lnTo>
                    <a:pt x="0" y="58"/>
                  </a:lnTo>
                  <a:lnTo>
                    <a:pt x="2" y="51"/>
                  </a:lnTo>
                  <a:lnTo>
                    <a:pt x="7" y="45"/>
                  </a:lnTo>
                  <a:lnTo>
                    <a:pt x="16" y="28"/>
                  </a:lnTo>
                  <a:lnTo>
                    <a:pt x="19" y="25"/>
                  </a:lnTo>
                  <a:lnTo>
                    <a:pt x="29" y="23"/>
                  </a:lnTo>
                  <a:lnTo>
                    <a:pt x="38" y="23"/>
                  </a:lnTo>
                  <a:lnTo>
                    <a:pt x="48" y="19"/>
                  </a:lnTo>
                  <a:lnTo>
                    <a:pt x="66" y="3"/>
                  </a:lnTo>
                  <a:lnTo>
                    <a:pt x="78" y="0"/>
                  </a:lnTo>
                  <a:lnTo>
                    <a:pt x="93" y="0"/>
                  </a:lnTo>
                  <a:lnTo>
                    <a:pt x="107" y="2"/>
                  </a:lnTo>
                  <a:lnTo>
                    <a:pt x="119" y="11"/>
                  </a:lnTo>
                  <a:lnTo>
                    <a:pt x="126" y="18"/>
                  </a:lnTo>
                  <a:lnTo>
                    <a:pt x="135" y="23"/>
                  </a:lnTo>
                  <a:lnTo>
                    <a:pt x="168" y="23"/>
                  </a:lnTo>
                  <a:lnTo>
                    <a:pt x="172" y="39"/>
                  </a:lnTo>
                  <a:lnTo>
                    <a:pt x="178" y="49"/>
                  </a:lnTo>
                  <a:lnTo>
                    <a:pt x="179" y="65"/>
                  </a:lnTo>
                  <a:lnTo>
                    <a:pt x="175" y="77"/>
                  </a:lnTo>
                  <a:lnTo>
                    <a:pt x="174" y="90"/>
                  </a:lnTo>
                  <a:lnTo>
                    <a:pt x="179" y="114"/>
                  </a:lnTo>
                  <a:lnTo>
                    <a:pt x="193" y="132"/>
                  </a:lnTo>
                  <a:lnTo>
                    <a:pt x="194" y="127"/>
                  </a:lnTo>
                  <a:lnTo>
                    <a:pt x="195" y="119"/>
                  </a:lnTo>
                  <a:lnTo>
                    <a:pt x="205" y="122"/>
                  </a:lnTo>
                  <a:lnTo>
                    <a:pt x="210" y="138"/>
                  </a:lnTo>
                  <a:lnTo>
                    <a:pt x="213" y="142"/>
                  </a:lnTo>
                  <a:lnTo>
                    <a:pt x="218" y="153"/>
                  </a:lnTo>
                  <a:lnTo>
                    <a:pt x="234" y="164"/>
                  </a:lnTo>
                  <a:lnTo>
                    <a:pt x="242" y="164"/>
                  </a:lnTo>
                  <a:lnTo>
                    <a:pt x="255" y="163"/>
                  </a:lnTo>
                  <a:lnTo>
                    <a:pt x="261" y="151"/>
                  </a:lnTo>
                  <a:lnTo>
                    <a:pt x="269" y="148"/>
                  </a:lnTo>
                  <a:lnTo>
                    <a:pt x="275" y="143"/>
                  </a:lnTo>
                  <a:lnTo>
                    <a:pt x="276" y="135"/>
                  </a:lnTo>
                  <a:lnTo>
                    <a:pt x="296" y="120"/>
                  </a:lnTo>
                  <a:lnTo>
                    <a:pt x="302" y="103"/>
                  </a:lnTo>
                  <a:lnTo>
                    <a:pt x="310" y="100"/>
                  </a:lnTo>
                  <a:lnTo>
                    <a:pt x="318" y="100"/>
                  </a:lnTo>
                  <a:lnTo>
                    <a:pt x="336" y="97"/>
                  </a:lnTo>
                  <a:lnTo>
                    <a:pt x="345" y="90"/>
                  </a:lnTo>
                  <a:lnTo>
                    <a:pt x="344" y="81"/>
                  </a:lnTo>
                  <a:lnTo>
                    <a:pt x="349" y="77"/>
                  </a:lnTo>
                  <a:lnTo>
                    <a:pt x="361" y="67"/>
                  </a:lnTo>
                  <a:lnTo>
                    <a:pt x="380" y="57"/>
                  </a:lnTo>
                  <a:lnTo>
                    <a:pt x="387" y="60"/>
                  </a:lnTo>
                  <a:lnTo>
                    <a:pt x="390" y="65"/>
                  </a:lnTo>
                  <a:lnTo>
                    <a:pt x="410" y="72"/>
                  </a:lnTo>
                  <a:lnTo>
                    <a:pt x="421" y="77"/>
                  </a:lnTo>
                  <a:lnTo>
                    <a:pt x="427" y="78"/>
                  </a:lnTo>
                  <a:lnTo>
                    <a:pt x="432" y="83"/>
                  </a:lnTo>
                  <a:lnTo>
                    <a:pt x="455" y="90"/>
                  </a:lnTo>
                  <a:lnTo>
                    <a:pt x="471" y="100"/>
                  </a:lnTo>
                  <a:lnTo>
                    <a:pt x="479" y="104"/>
                  </a:lnTo>
                  <a:lnTo>
                    <a:pt x="491" y="108"/>
                  </a:lnTo>
                  <a:lnTo>
                    <a:pt x="501" y="106"/>
                  </a:lnTo>
                  <a:lnTo>
                    <a:pt x="506" y="104"/>
                  </a:lnTo>
                  <a:lnTo>
                    <a:pt x="514" y="108"/>
                  </a:lnTo>
                  <a:lnTo>
                    <a:pt x="519" y="106"/>
                  </a:lnTo>
                  <a:lnTo>
                    <a:pt x="523" y="108"/>
                  </a:lnTo>
                  <a:lnTo>
                    <a:pt x="534" y="114"/>
                  </a:lnTo>
                  <a:lnTo>
                    <a:pt x="539" y="114"/>
                  </a:lnTo>
                  <a:lnTo>
                    <a:pt x="541" y="116"/>
                  </a:lnTo>
                  <a:lnTo>
                    <a:pt x="541" y="119"/>
                  </a:lnTo>
                  <a:lnTo>
                    <a:pt x="543" y="121"/>
                  </a:lnTo>
                  <a:lnTo>
                    <a:pt x="549" y="121"/>
                  </a:lnTo>
                  <a:lnTo>
                    <a:pt x="551" y="120"/>
                  </a:lnTo>
                  <a:lnTo>
                    <a:pt x="556" y="120"/>
                  </a:lnTo>
                  <a:lnTo>
                    <a:pt x="555" y="129"/>
                  </a:lnTo>
                  <a:lnTo>
                    <a:pt x="560" y="254"/>
                  </a:lnTo>
                  <a:lnTo>
                    <a:pt x="560" y="326"/>
                  </a:lnTo>
                  <a:lnTo>
                    <a:pt x="556" y="347"/>
                  </a:lnTo>
                  <a:lnTo>
                    <a:pt x="555" y="351"/>
                  </a:lnTo>
                  <a:lnTo>
                    <a:pt x="562" y="368"/>
                  </a:lnTo>
                  <a:lnTo>
                    <a:pt x="562" y="409"/>
                  </a:lnTo>
                  <a:lnTo>
                    <a:pt x="565" y="466"/>
                  </a:lnTo>
                  <a:lnTo>
                    <a:pt x="568" y="48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92" name="Freeform 89">
              <a:extLst>
                <a:ext uri="{FF2B5EF4-FFF2-40B4-BE49-F238E27FC236}">
                  <a16:creationId xmlns:a16="http://schemas.microsoft.com/office/drawing/2014/main" id="{F7E07832-7186-853B-4B3B-705A88ADFF7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0189012" y="4421779"/>
              <a:ext cx="68648" cy="67066"/>
            </a:xfrm>
            <a:custGeom>
              <a:avLst/>
              <a:gdLst>
                <a:gd name="T0" fmla="*/ 0 w 129"/>
                <a:gd name="T1" fmla="*/ 0 h 119"/>
                <a:gd name="T2" fmla="*/ 0 w 129"/>
                <a:gd name="T3" fmla="*/ 0 h 119"/>
                <a:gd name="T4" fmla="*/ 0 w 129"/>
                <a:gd name="T5" fmla="*/ 0 h 119"/>
                <a:gd name="T6" fmla="*/ 0 w 129"/>
                <a:gd name="T7" fmla="*/ 0 h 119"/>
                <a:gd name="T8" fmla="*/ 0 w 129"/>
                <a:gd name="T9" fmla="*/ 0 h 119"/>
                <a:gd name="T10" fmla="*/ 2147483647 w 129"/>
                <a:gd name="T11" fmla="*/ 0 h 119"/>
                <a:gd name="T12" fmla="*/ 2147483647 w 129"/>
                <a:gd name="T13" fmla="*/ 0 h 119"/>
                <a:gd name="T14" fmla="*/ 2147483647 w 129"/>
                <a:gd name="T15" fmla="*/ 0 h 119"/>
                <a:gd name="T16" fmla="*/ 2147483647 w 129"/>
                <a:gd name="T17" fmla="*/ 0 h 119"/>
                <a:gd name="T18" fmla="*/ 2147483647 w 129"/>
                <a:gd name="T19" fmla="*/ 0 h 119"/>
                <a:gd name="T20" fmla="*/ 2147483647 w 129"/>
                <a:gd name="T21" fmla="*/ 0 h 119"/>
                <a:gd name="T22" fmla="*/ 2147483647 w 129"/>
                <a:gd name="T23" fmla="*/ 0 h 119"/>
                <a:gd name="T24" fmla="*/ 2147483647 w 129"/>
                <a:gd name="T25" fmla="*/ 0 h 119"/>
                <a:gd name="T26" fmla="*/ 2147483647 w 129"/>
                <a:gd name="T27" fmla="*/ 2147483647 h 119"/>
                <a:gd name="T28" fmla="*/ 2147483647 w 129"/>
                <a:gd name="T29" fmla="*/ 2147483647 h 119"/>
                <a:gd name="T30" fmla="*/ 2147483647 w 129"/>
                <a:gd name="T31" fmla="*/ 2147483647 h 119"/>
                <a:gd name="T32" fmla="*/ 2147483647 w 129"/>
                <a:gd name="T33" fmla="*/ 2147483647 h 119"/>
                <a:gd name="T34" fmla="*/ 2147483647 w 129"/>
                <a:gd name="T35" fmla="*/ 2147483647 h 119"/>
                <a:gd name="T36" fmla="*/ 2147483647 w 129"/>
                <a:gd name="T37" fmla="*/ 2147483647 h 119"/>
                <a:gd name="T38" fmla="*/ 2147483647 w 129"/>
                <a:gd name="T39" fmla="*/ 2147483647 h 119"/>
                <a:gd name="T40" fmla="*/ 2147483647 w 129"/>
                <a:gd name="T41" fmla="*/ 2147483647 h 119"/>
                <a:gd name="T42" fmla="*/ 2147483647 w 129"/>
                <a:gd name="T43" fmla="*/ 0 h 119"/>
                <a:gd name="T44" fmla="*/ 2147483647 w 129"/>
                <a:gd name="T45" fmla="*/ 0 h 119"/>
                <a:gd name="T46" fmla="*/ 2147483647 w 129"/>
                <a:gd name="T47" fmla="*/ 0 h 119"/>
                <a:gd name="T48" fmla="*/ 2147483647 w 129"/>
                <a:gd name="T49" fmla="*/ 0 h 119"/>
                <a:gd name="T50" fmla="*/ 2147483647 w 129"/>
                <a:gd name="T51" fmla="*/ 0 h 119"/>
                <a:gd name="T52" fmla="*/ 0 w 129"/>
                <a:gd name="T53" fmla="*/ 0 h 119"/>
                <a:gd name="T54" fmla="*/ 0 w 129"/>
                <a:gd name="T55" fmla="*/ 0 h 119"/>
                <a:gd name="T56" fmla="*/ 0 w 129"/>
                <a:gd name="T57" fmla="*/ 0 h 119"/>
                <a:gd name="T58" fmla="*/ 0 w 129"/>
                <a:gd name="T59" fmla="*/ 0 h 119"/>
                <a:gd name="T60" fmla="*/ 0 w 129"/>
                <a:gd name="T61" fmla="*/ 0 h 119"/>
                <a:gd name="T62" fmla="*/ 0 w 129"/>
                <a:gd name="T63" fmla="*/ 0 h 119"/>
                <a:gd name="T64" fmla="*/ 0 w 129"/>
                <a:gd name="T65" fmla="*/ 0 h 11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9"/>
                <a:gd name="T100" fmla="*/ 0 h 119"/>
                <a:gd name="T101" fmla="*/ 129 w 129"/>
                <a:gd name="T102" fmla="*/ 119 h 11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9" h="119">
                  <a:moveTo>
                    <a:pt x="0" y="3"/>
                  </a:moveTo>
                  <a:lnTo>
                    <a:pt x="2" y="0"/>
                  </a:lnTo>
                  <a:lnTo>
                    <a:pt x="20" y="11"/>
                  </a:lnTo>
                  <a:lnTo>
                    <a:pt x="26" y="16"/>
                  </a:lnTo>
                  <a:lnTo>
                    <a:pt x="34" y="20"/>
                  </a:lnTo>
                  <a:lnTo>
                    <a:pt x="54" y="35"/>
                  </a:lnTo>
                  <a:lnTo>
                    <a:pt x="66" y="36"/>
                  </a:lnTo>
                  <a:lnTo>
                    <a:pt x="75" y="43"/>
                  </a:lnTo>
                  <a:lnTo>
                    <a:pt x="81" y="49"/>
                  </a:lnTo>
                  <a:lnTo>
                    <a:pt x="95" y="58"/>
                  </a:lnTo>
                  <a:lnTo>
                    <a:pt x="100" y="66"/>
                  </a:lnTo>
                  <a:lnTo>
                    <a:pt x="107" y="71"/>
                  </a:lnTo>
                  <a:lnTo>
                    <a:pt x="117" y="74"/>
                  </a:lnTo>
                  <a:lnTo>
                    <a:pt x="121" y="78"/>
                  </a:lnTo>
                  <a:lnTo>
                    <a:pt x="124" y="87"/>
                  </a:lnTo>
                  <a:lnTo>
                    <a:pt x="129" y="93"/>
                  </a:lnTo>
                  <a:lnTo>
                    <a:pt x="129" y="100"/>
                  </a:lnTo>
                  <a:lnTo>
                    <a:pt x="124" y="107"/>
                  </a:lnTo>
                  <a:lnTo>
                    <a:pt x="120" y="119"/>
                  </a:lnTo>
                  <a:lnTo>
                    <a:pt x="111" y="119"/>
                  </a:lnTo>
                  <a:lnTo>
                    <a:pt x="105" y="93"/>
                  </a:lnTo>
                  <a:lnTo>
                    <a:pt x="97" y="71"/>
                  </a:lnTo>
                  <a:lnTo>
                    <a:pt x="86" y="53"/>
                  </a:lnTo>
                  <a:lnTo>
                    <a:pt x="80" y="49"/>
                  </a:lnTo>
                  <a:lnTo>
                    <a:pt x="66" y="47"/>
                  </a:lnTo>
                  <a:lnTo>
                    <a:pt x="54" y="39"/>
                  </a:lnTo>
                  <a:lnTo>
                    <a:pt x="46" y="31"/>
                  </a:lnTo>
                  <a:lnTo>
                    <a:pt x="40" y="30"/>
                  </a:lnTo>
                  <a:lnTo>
                    <a:pt x="31" y="23"/>
                  </a:lnTo>
                  <a:lnTo>
                    <a:pt x="26" y="21"/>
                  </a:lnTo>
                  <a:lnTo>
                    <a:pt x="9" y="10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93" name="Freeform 90">
              <a:extLst>
                <a:ext uri="{FF2B5EF4-FFF2-40B4-BE49-F238E27FC236}">
                  <a16:creationId xmlns:a16="http://schemas.microsoft.com/office/drawing/2014/main" id="{AFE35573-3940-7F14-F615-77CEE685128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760841" y="3603275"/>
              <a:ext cx="210420" cy="472508"/>
            </a:xfrm>
            <a:custGeom>
              <a:avLst/>
              <a:gdLst>
                <a:gd name="T0" fmla="*/ 2147483647 w 395"/>
                <a:gd name="T1" fmla="*/ 2147483647 h 832"/>
                <a:gd name="T2" fmla="*/ 2147483647 w 395"/>
                <a:gd name="T3" fmla="*/ 2147483647 h 832"/>
                <a:gd name="T4" fmla="*/ 2147483647 w 395"/>
                <a:gd name="T5" fmla="*/ 2147483647 h 832"/>
                <a:gd name="T6" fmla="*/ 2147483647 w 395"/>
                <a:gd name="T7" fmla="*/ 2147483647 h 832"/>
                <a:gd name="T8" fmla="*/ 2147483647 w 395"/>
                <a:gd name="T9" fmla="*/ 2147483647 h 832"/>
                <a:gd name="T10" fmla="*/ 2147483647 w 395"/>
                <a:gd name="T11" fmla="*/ 2147483647 h 832"/>
                <a:gd name="T12" fmla="*/ 2147483647 w 395"/>
                <a:gd name="T13" fmla="*/ 2147483647 h 832"/>
                <a:gd name="T14" fmla="*/ 2147483647 w 395"/>
                <a:gd name="T15" fmla="*/ 2147483647 h 832"/>
                <a:gd name="T16" fmla="*/ 2147483647 w 395"/>
                <a:gd name="T17" fmla="*/ 2147483647 h 832"/>
                <a:gd name="T18" fmla="*/ 2147483647 w 395"/>
                <a:gd name="T19" fmla="*/ 2147483647 h 832"/>
                <a:gd name="T20" fmla="*/ 2147483647 w 395"/>
                <a:gd name="T21" fmla="*/ 2147483647 h 832"/>
                <a:gd name="T22" fmla="*/ 2147483647 w 395"/>
                <a:gd name="T23" fmla="*/ 2147483647 h 832"/>
                <a:gd name="T24" fmla="*/ 2147483647 w 395"/>
                <a:gd name="T25" fmla="*/ 2147483647 h 832"/>
                <a:gd name="T26" fmla="*/ 2147483647 w 395"/>
                <a:gd name="T27" fmla="*/ 2147483647 h 832"/>
                <a:gd name="T28" fmla="*/ 2147483647 w 395"/>
                <a:gd name="T29" fmla="*/ 2147483647 h 832"/>
                <a:gd name="T30" fmla="*/ 2147483647 w 395"/>
                <a:gd name="T31" fmla="*/ 2147483647 h 832"/>
                <a:gd name="T32" fmla="*/ 2147483647 w 395"/>
                <a:gd name="T33" fmla="*/ 2147483647 h 832"/>
                <a:gd name="T34" fmla="*/ 2147483647 w 395"/>
                <a:gd name="T35" fmla="*/ 2147483647 h 832"/>
                <a:gd name="T36" fmla="*/ 2147483647 w 395"/>
                <a:gd name="T37" fmla="*/ 2147483647 h 832"/>
                <a:gd name="T38" fmla="*/ 2147483647 w 395"/>
                <a:gd name="T39" fmla="*/ 2147483647 h 832"/>
                <a:gd name="T40" fmla="*/ 2147483647 w 395"/>
                <a:gd name="T41" fmla="*/ 2147483647 h 832"/>
                <a:gd name="T42" fmla="*/ 2147483647 w 395"/>
                <a:gd name="T43" fmla="*/ 0 h 832"/>
                <a:gd name="T44" fmla="*/ 2147483647 w 395"/>
                <a:gd name="T45" fmla="*/ 0 h 832"/>
                <a:gd name="T46" fmla="*/ 2147483647 w 395"/>
                <a:gd name="T47" fmla="*/ 0 h 832"/>
                <a:gd name="T48" fmla="*/ 2147483647 w 395"/>
                <a:gd name="T49" fmla="*/ 0 h 832"/>
                <a:gd name="T50" fmla="*/ 2147483647 w 395"/>
                <a:gd name="T51" fmla="*/ 0 h 832"/>
                <a:gd name="T52" fmla="*/ 2147483647 w 395"/>
                <a:gd name="T53" fmla="*/ 0 h 832"/>
                <a:gd name="T54" fmla="*/ 0 w 395"/>
                <a:gd name="T55" fmla="*/ 0 h 832"/>
                <a:gd name="T56" fmla="*/ 0 w 395"/>
                <a:gd name="T57" fmla="*/ 0 h 832"/>
                <a:gd name="T58" fmla="*/ 0 w 395"/>
                <a:gd name="T59" fmla="*/ 0 h 832"/>
                <a:gd name="T60" fmla="*/ 0 w 395"/>
                <a:gd name="T61" fmla="*/ 2147483647 h 832"/>
                <a:gd name="T62" fmla="*/ 2147483647 w 395"/>
                <a:gd name="T63" fmla="*/ 2147483647 h 832"/>
                <a:gd name="T64" fmla="*/ 2147483647 w 395"/>
                <a:gd name="T65" fmla="*/ 2147483647 h 832"/>
                <a:gd name="T66" fmla="*/ 2147483647 w 395"/>
                <a:gd name="T67" fmla="*/ 2147483647 h 832"/>
                <a:gd name="T68" fmla="*/ 2147483647 w 395"/>
                <a:gd name="T69" fmla="*/ 2147483647 h 832"/>
                <a:gd name="T70" fmla="*/ 2147483647 w 395"/>
                <a:gd name="T71" fmla="*/ 2147483647 h 832"/>
                <a:gd name="T72" fmla="*/ 2147483647 w 395"/>
                <a:gd name="T73" fmla="*/ 2147483647 h 832"/>
                <a:gd name="T74" fmla="*/ 2147483647 w 395"/>
                <a:gd name="T75" fmla="*/ 2147483647 h 832"/>
                <a:gd name="T76" fmla="*/ 2147483647 w 395"/>
                <a:gd name="T77" fmla="*/ 2147483647 h 832"/>
                <a:gd name="T78" fmla="*/ 2147483647 w 395"/>
                <a:gd name="T79" fmla="*/ 2147483647 h 832"/>
                <a:gd name="T80" fmla="*/ 2147483647 w 395"/>
                <a:gd name="T81" fmla="*/ 2147483647 h 832"/>
                <a:gd name="T82" fmla="*/ 2147483647 w 395"/>
                <a:gd name="T83" fmla="*/ 2147483647 h 832"/>
                <a:gd name="T84" fmla="*/ 2147483647 w 395"/>
                <a:gd name="T85" fmla="*/ 2147483647 h 832"/>
                <a:gd name="T86" fmla="*/ 2147483647 w 395"/>
                <a:gd name="T87" fmla="*/ 2147483647 h 832"/>
                <a:gd name="T88" fmla="*/ 2147483647 w 395"/>
                <a:gd name="T89" fmla="*/ 2147483647 h 832"/>
                <a:gd name="T90" fmla="*/ 2147483647 w 395"/>
                <a:gd name="T91" fmla="*/ 2147483647 h 832"/>
                <a:gd name="T92" fmla="*/ 2147483647 w 395"/>
                <a:gd name="T93" fmla="*/ 2147483647 h 832"/>
                <a:gd name="T94" fmla="*/ 2147483647 w 395"/>
                <a:gd name="T95" fmla="*/ 2147483647 h 832"/>
                <a:gd name="T96" fmla="*/ 2147483647 w 395"/>
                <a:gd name="T97" fmla="*/ 2147483647 h 832"/>
                <a:gd name="T98" fmla="*/ 2147483647 w 395"/>
                <a:gd name="T99" fmla="*/ 2147483647 h 832"/>
                <a:gd name="T100" fmla="*/ 2147483647 w 395"/>
                <a:gd name="T101" fmla="*/ 2147483647 h 832"/>
                <a:gd name="T102" fmla="*/ 2147483647 w 395"/>
                <a:gd name="T103" fmla="*/ 2147483647 h 832"/>
                <a:gd name="T104" fmla="*/ 2147483647 w 395"/>
                <a:gd name="T105" fmla="*/ 2147483647 h 83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395"/>
                <a:gd name="T160" fmla="*/ 0 h 832"/>
                <a:gd name="T161" fmla="*/ 395 w 395"/>
                <a:gd name="T162" fmla="*/ 832 h 83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395" h="832">
                  <a:moveTo>
                    <a:pt x="228" y="773"/>
                  </a:moveTo>
                  <a:lnTo>
                    <a:pt x="238" y="776"/>
                  </a:lnTo>
                  <a:lnTo>
                    <a:pt x="242" y="768"/>
                  </a:lnTo>
                  <a:lnTo>
                    <a:pt x="237" y="758"/>
                  </a:lnTo>
                  <a:lnTo>
                    <a:pt x="239" y="753"/>
                  </a:lnTo>
                  <a:lnTo>
                    <a:pt x="245" y="754"/>
                  </a:lnTo>
                  <a:lnTo>
                    <a:pt x="247" y="748"/>
                  </a:lnTo>
                  <a:lnTo>
                    <a:pt x="250" y="749"/>
                  </a:lnTo>
                  <a:lnTo>
                    <a:pt x="249" y="741"/>
                  </a:lnTo>
                  <a:lnTo>
                    <a:pt x="253" y="737"/>
                  </a:lnTo>
                  <a:lnTo>
                    <a:pt x="255" y="731"/>
                  </a:lnTo>
                  <a:lnTo>
                    <a:pt x="270" y="727"/>
                  </a:lnTo>
                  <a:lnTo>
                    <a:pt x="276" y="731"/>
                  </a:lnTo>
                  <a:lnTo>
                    <a:pt x="283" y="731"/>
                  </a:lnTo>
                  <a:lnTo>
                    <a:pt x="308" y="716"/>
                  </a:lnTo>
                  <a:lnTo>
                    <a:pt x="321" y="713"/>
                  </a:lnTo>
                  <a:lnTo>
                    <a:pt x="330" y="701"/>
                  </a:lnTo>
                  <a:lnTo>
                    <a:pt x="361" y="687"/>
                  </a:lnTo>
                  <a:lnTo>
                    <a:pt x="367" y="681"/>
                  </a:lnTo>
                  <a:lnTo>
                    <a:pt x="376" y="679"/>
                  </a:lnTo>
                  <a:lnTo>
                    <a:pt x="378" y="673"/>
                  </a:lnTo>
                  <a:lnTo>
                    <a:pt x="379" y="665"/>
                  </a:lnTo>
                  <a:lnTo>
                    <a:pt x="385" y="660"/>
                  </a:lnTo>
                  <a:lnTo>
                    <a:pt x="387" y="654"/>
                  </a:lnTo>
                  <a:lnTo>
                    <a:pt x="383" y="650"/>
                  </a:lnTo>
                  <a:lnTo>
                    <a:pt x="385" y="646"/>
                  </a:lnTo>
                  <a:lnTo>
                    <a:pt x="388" y="647"/>
                  </a:lnTo>
                  <a:lnTo>
                    <a:pt x="388" y="643"/>
                  </a:lnTo>
                  <a:lnTo>
                    <a:pt x="383" y="619"/>
                  </a:lnTo>
                  <a:lnTo>
                    <a:pt x="384" y="615"/>
                  </a:lnTo>
                  <a:lnTo>
                    <a:pt x="388" y="618"/>
                  </a:lnTo>
                  <a:lnTo>
                    <a:pt x="388" y="607"/>
                  </a:lnTo>
                  <a:lnTo>
                    <a:pt x="392" y="602"/>
                  </a:lnTo>
                  <a:lnTo>
                    <a:pt x="395" y="603"/>
                  </a:lnTo>
                  <a:lnTo>
                    <a:pt x="395" y="607"/>
                  </a:lnTo>
                  <a:lnTo>
                    <a:pt x="395" y="596"/>
                  </a:lnTo>
                  <a:lnTo>
                    <a:pt x="394" y="587"/>
                  </a:lnTo>
                  <a:lnTo>
                    <a:pt x="390" y="585"/>
                  </a:lnTo>
                  <a:lnTo>
                    <a:pt x="389" y="569"/>
                  </a:lnTo>
                  <a:lnTo>
                    <a:pt x="389" y="557"/>
                  </a:lnTo>
                  <a:lnTo>
                    <a:pt x="388" y="549"/>
                  </a:lnTo>
                  <a:lnTo>
                    <a:pt x="388" y="539"/>
                  </a:lnTo>
                  <a:lnTo>
                    <a:pt x="385" y="536"/>
                  </a:lnTo>
                  <a:lnTo>
                    <a:pt x="382" y="507"/>
                  </a:lnTo>
                  <a:lnTo>
                    <a:pt x="366" y="456"/>
                  </a:lnTo>
                  <a:lnTo>
                    <a:pt x="344" y="434"/>
                  </a:lnTo>
                  <a:lnTo>
                    <a:pt x="337" y="424"/>
                  </a:lnTo>
                  <a:lnTo>
                    <a:pt x="336" y="409"/>
                  </a:lnTo>
                  <a:lnTo>
                    <a:pt x="335" y="413"/>
                  </a:lnTo>
                  <a:lnTo>
                    <a:pt x="329" y="414"/>
                  </a:lnTo>
                  <a:lnTo>
                    <a:pt x="329" y="409"/>
                  </a:lnTo>
                  <a:lnTo>
                    <a:pt x="323" y="401"/>
                  </a:lnTo>
                  <a:lnTo>
                    <a:pt x="306" y="398"/>
                  </a:lnTo>
                  <a:lnTo>
                    <a:pt x="298" y="387"/>
                  </a:lnTo>
                  <a:lnTo>
                    <a:pt x="290" y="378"/>
                  </a:lnTo>
                  <a:lnTo>
                    <a:pt x="281" y="372"/>
                  </a:lnTo>
                  <a:lnTo>
                    <a:pt x="274" y="362"/>
                  </a:lnTo>
                  <a:lnTo>
                    <a:pt x="270" y="359"/>
                  </a:lnTo>
                  <a:lnTo>
                    <a:pt x="265" y="351"/>
                  </a:lnTo>
                  <a:lnTo>
                    <a:pt x="255" y="344"/>
                  </a:lnTo>
                  <a:lnTo>
                    <a:pt x="248" y="334"/>
                  </a:lnTo>
                  <a:lnTo>
                    <a:pt x="236" y="324"/>
                  </a:lnTo>
                  <a:lnTo>
                    <a:pt x="234" y="312"/>
                  </a:lnTo>
                  <a:lnTo>
                    <a:pt x="228" y="297"/>
                  </a:lnTo>
                  <a:lnTo>
                    <a:pt x="217" y="290"/>
                  </a:lnTo>
                  <a:lnTo>
                    <a:pt x="197" y="270"/>
                  </a:lnTo>
                  <a:lnTo>
                    <a:pt x="191" y="258"/>
                  </a:lnTo>
                  <a:lnTo>
                    <a:pt x="194" y="245"/>
                  </a:lnTo>
                  <a:lnTo>
                    <a:pt x="197" y="235"/>
                  </a:lnTo>
                  <a:lnTo>
                    <a:pt x="199" y="222"/>
                  </a:lnTo>
                  <a:lnTo>
                    <a:pt x="211" y="195"/>
                  </a:lnTo>
                  <a:lnTo>
                    <a:pt x="239" y="171"/>
                  </a:lnTo>
                  <a:lnTo>
                    <a:pt x="243" y="166"/>
                  </a:lnTo>
                  <a:lnTo>
                    <a:pt x="247" y="152"/>
                  </a:lnTo>
                  <a:lnTo>
                    <a:pt x="253" y="145"/>
                  </a:lnTo>
                  <a:lnTo>
                    <a:pt x="258" y="140"/>
                  </a:lnTo>
                  <a:lnTo>
                    <a:pt x="276" y="132"/>
                  </a:lnTo>
                  <a:lnTo>
                    <a:pt x="286" y="124"/>
                  </a:lnTo>
                  <a:lnTo>
                    <a:pt x="287" y="116"/>
                  </a:lnTo>
                  <a:lnTo>
                    <a:pt x="307" y="105"/>
                  </a:lnTo>
                  <a:lnTo>
                    <a:pt x="315" y="108"/>
                  </a:lnTo>
                  <a:lnTo>
                    <a:pt x="318" y="106"/>
                  </a:lnTo>
                  <a:lnTo>
                    <a:pt x="319" y="102"/>
                  </a:lnTo>
                  <a:lnTo>
                    <a:pt x="312" y="97"/>
                  </a:lnTo>
                  <a:lnTo>
                    <a:pt x="293" y="98"/>
                  </a:lnTo>
                  <a:lnTo>
                    <a:pt x="283" y="96"/>
                  </a:lnTo>
                  <a:lnTo>
                    <a:pt x="278" y="91"/>
                  </a:lnTo>
                  <a:lnTo>
                    <a:pt x="255" y="77"/>
                  </a:lnTo>
                  <a:lnTo>
                    <a:pt x="248" y="65"/>
                  </a:lnTo>
                  <a:lnTo>
                    <a:pt x="243" y="50"/>
                  </a:lnTo>
                  <a:lnTo>
                    <a:pt x="248" y="35"/>
                  </a:lnTo>
                  <a:lnTo>
                    <a:pt x="244" y="26"/>
                  </a:lnTo>
                  <a:lnTo>
                    <a:pt x="224" y="25"/>
                  </a:lnTo>
                  <a:lnTo>
                    <a:pt x="211" y="21"/>
                  </a:lnTo>
                  <a:lnTo>
                    <a:pt x="196" y="15"/>
                  </a:lnTo>
                  <a:lnTo>
                    <a:pt x="184" y="5"/>
                  </a:lnTo>
                  <a:lnTo>
                    <a:pt x="169" y="0"/>
                  </a:lnTo>
                  <a:lnTo>
                    <a:pt x="162" y="1"/>
                  </a:lnTo>
                  <a:lnTo>
                    <a:pt x="152" y="12"/>
                  </a:lnTo>
                  <a:lnTo>
                    <a:pt x="142" y="19"/>
                  </a:lnTo>
                  <a:lnTo>
                    <a:pt x="127" y="27"/>
                  </a:lnTo>
                  <a:lnTo>
                    <a:pt x="121" y="28"/>
                  </a:lnTo>
                  <a:lnTo>
                    <a:pt x="113" y="26"/>
                  </a:lnTo>
                  <a:lnTo>
                    <a:pt x="104" y="33"/>
                  </a:lnTo>
                  <a:lnTo>
                    <a:pt x="94" y="38"/>
                  </a:lnTo>
                  <a:lnTo>
                    <a:pt x="91" y="32"/>
                  </a:lnTo>
                  <a:lnTo>
                    <a:pt x="77" y="36"/>
                  </a:lnTo>
                  <a:lnTo>
                    <a:pt x="71" y="31"/>
                  </a:lnTo>
                  <a:lnTo>
                    <a:pt x="65" y="32"/>
                  </a:lnTo>
                  <a:lnTo>
                    <a:pt x="50" y="42"/>
                  </a:lnTo>
                  <a:lnTo>
                    <a:pt x="44" y="41"/>
                  </a:lnTo>
                  <a:lnTo>
                    <a:pt x="36" y="33"/>
                  </a:lnTo>
                  <a:lnTo>
                    <a:pt x="23" y="31"/>
                  </a:lnTo>
                  <a:lnTo>
                    <a:pt x="21" y="28"/>
                  </a:lnTo>
                  <a:lnTo>
                    <a:pt x="17" y="31"/>
                  </a:lnTo>
                  <a:lnTo>
                    <a:pt x="13" y="37"/>
                  </a:lnTo>
                  <a:lnTo>
                    <a:pt x="7" y="44"/>
                  </a:lnTo>
                  <a:lnTo>
                    <a:pt x="7" y="48"/>
                  </a:lnTo>
                  <a:lnTo>
                    <a:pt x="0" y="44"/>
                  </a:lnTo>
                  <a:lnTo>
                    <a:pt x="12" y="60"/>
                  </a:lnTo>
                  <a:lnTo>
                    <a:pt x="29" y="80"/>
                  </a:lnTo>
                  <a:lnTo>
                    <a:pt x="39" y="90"/>
                  </a:lnTo>
                  <a:lnTo>
                    <a:pt x="44" y="100"/>
                  </a:lnTo>
                  <a:lnTo>
                    <a:pt x="41" y="112"/>
                  </a:lnTo>
                  <a:lnTo>
                    <a:pt x="43" y="120"/>
                  </a:lnTo>
                  <a:lnTo>
                    <a:pt x="57" y="135"/>
                  </a:lnTo>
                  <a:lnTo>
                    <a:pt x="77" y="139"/>
                  </a:lnTo>
                  <a:lnTo>
                    <a:pt x="97" y="134"/>
                  </a:lnTo>
                  <a:lnTo>
                    <a:pt x="113" y="135"/>
                  </a:lnTo>
                  <a:lnTo>
                    <a:pt x="122" y="146"/>
                  </a:lnTo>
                  <a:lnTo>
                    <a:pt x="127" y="155"/>
                  </a:lnTo>
                  <a:lnTo>
                    <a:pt x="129" y="162"/>
                  </a:lnTo>
                  <a:lnTo>
                    <a:pt x="137" y="168"/>
                  </a:lnTo>
                  <a:lnTo>
                    <a:pt x="141" y="177"/>
                  </a:lnTo>
                  <a:lnTo>
                    <a:pt x="147" y="183"/>
                  </a:lnTo>
                  <a:lnTo>
                    <a:pt x="146" y="192"/>
                  </a:lnTo>
                  <a:lnTo>
                    <a:pt x="130" y="208"/>
                  </a:lnTo>
                  <a:lnTo>
                    <a:pt x="125" y="208"/>
                  </a:lnTo>
                  <a:lnTo>
                    <a:pt x="114" y="205"/>
                  </a:lnTo>
                  <a:lnTo>
                    <a:pt x="107" y="208"/>
                  </a:lnTo>
                  <a:lnTo>
                    <a:pt x="103" y="213"/>
                  </a:lnTo>
                  <a:lnTo>
                    <a:pt x="99" y="222"/>
                  </a:lnTo>
                  <a:lnTo>
                    <a:pt x="100" y="229"/>
                  </a:lnTo>
                  <a:lnTo>
                    <a:pt x="107" y="231"/>
                  </a:lnTo>
                  <a:lnTo>
                    <a:pt x="115" y="237"/>
                  </a:lnTo>
                  <a:lnTo>
                    <a:pt x="134" y="247"/>
                  </a:lnTo>
                  <a:lnTo>
                    <a:pt x="161" y="267"/>
                  </a:lnTo>
                  <a:lnTo>
                    <a:pt x="165" y="280"/>
                  </a:lnTo>
                  <a:lnTo>
                    <a:pt x="188" y="301"/>
                  </a:lnTo>
                  <a:lnTo>
                    <a:pt x="191" y="311"/>
                  </a:lnTo>
                  <a:lnTo>
                    <a:pt x="208" y="331"/>
                  </a:lnTo>
                  <a:lnTo>
                    <a:pt x="213" y="332"/>
                  </a:lnTo>
                  <a:lnTo>
                    <a:pt x="231" y="344"/>
                  </a:lnTo>
                  <a:lnTo>
                    <a:pt x="236" y="358"/>
                  </a:lnTo>
                  <a:lnTo>
                    <a:pt x="239" y="370"/>
                  </a:lnTo>
                  <a:lnTo>
                    <a:pt x="238" y="371"/>
                  </a:lnTo>
                  <a:lnTo>
                    <a:pt x="239" y="372"/>
                  </a:lnTo>
                  <a:lnTo>
                    <a:pt x="243" y="386"/>
                  </a:lnTo>
                  <a:lnTo>
                    <a:pt x="251" y="386"/>
                  </a:lnTo>
                  <a:lnTo>
                    <a:pt x="265" y="396"/>
                  </a:lnTo>
                  <a:lnTo>
                    <a:pt x="274" y="404"/>
                  </a:lnTo>
                  <a:lnTo>
                    <a:pt x="278" y="421"/>
                  </a:lnTo>
                  <a:lnTo>
                    <a:pt x="291" y="450"/>
                  </a:lnTo>
                  <a:lnTo>
                    <a:pt x="292" y="457"/>
                  </a:lnTo>
                  <a:lnTo>
                    <a:pt x="292" y="490"/>
                  </a:lnTo>
                  <a:lnTo>
                    <a:pt x="290" y="527"/>
                  </a:lnTo>
                  <a:lnTo>
                    <a:pt x="292" y="543"/>
                  </a:lnTo>
                  <a:lnTo>
                    <a:pt x="299" y="558"/>
                  </a:lnTo>
                  <a:lnTo>
                    <a:pt x="298" y="607"/>
                  </a:lnTo>
                  <a:lnTo>
                    <a:pt x="296" y="619"/>
                  </a:lnTo>
                  <a:lnTo>
                    <a:pt x="290" y="628"/>
                  </a:lnTo>
                  <a:lnTo>
                    <a:pt x="281" y="625"/>
                  </a:lnTo>
                  <a:lnTo>
                    <a:pt x="271" y="634"/>
                  </a:lnTo>
                  <a:lnTo>
                    <a:pt x="264" y="638"/>
                  </a:lnTo>
                  <a:lnTo>
                    <a:pt x="256" y="638"/>
                  </a:lnTo>
                  <a:lnTo>
                    <a:pt x="238" y="646"/>
                  </a:lnTo>
                  <a:lnTo>
                    <a:pt x="237" y="656"/>
                  </a:lnTo>
                  <a:lnTo>
                    <a:pt x="218" y="657"/>
                  </a:lnTo>
                  <a:lnTo>
                    <a:pt x="208" y="661"/>
                  </a:lnTo>
                  <a:lnTo>
                    <a:pt x="206" y="674"/>
                  </a:lnTo>
                  <a:lnTo>
                    <a:pt x="207" y="683"/>
                  </a:lnTo>
                  <a:lnTo>
                    <a:pt x="208" y="692"/>
                  </a:lnTo>
                  <a:lnTo>
                    <a:pt x="202" y="694"/>
                  </a:lnTo>
                  <a:lnTo>
                    <a:pt x="194" y="697"/>
                  </a:lnTo>
                  <a:lnTo>
                    <a:pt x="183" y="704"/>
                  </a:lnTo>
                  <a:lnTo>
                    <a:pt x="173" y="708"/>
                  </a:lnTo>
                  <a:lnTo>
                    <a:pt x="165" y="705"/>
                  </a:lnTo>
                  <a:lnTo>
                    <a:pt x="158" y="705"/>
                  </a:lnTo>
                  <a:lnTo>
                    <a:pt x="157" y="715"/>
                  </a:lnTo>
                  <a:lnTo>
                    <a:pt x="152" y="720"/>
                  </a:lnTo>
                  <a:lnTo>
                    <a:pt x="145" y="724"/>
                  </a:lnTo>
                  <a:lnTo>
                    <a:pt x="134" y="726"/>
                  </a:lnTo>
                  <a:lnTo>
                    <a:pt x="129" y="727"/>
                  </a:lnTo>
                  <a:lnTo>
                    <a:pt x="136" y="738"/>
                  </a:lnTo>
                  <a:lnTo>
                    <a:pt x="154" y="746"/>
                  </a:lnTo>
                  <a:lnTo>
                    <a:pt x="161" y="752"/>
                  </a:lnTo>
                  <a:lnTo>
                    <a:pt x="157" y="760"/>
                  </a:lnTo>
                  <a:lnTo>
                    <a:pt x="150" y="770"/>
                  </a:lnTo>
                  <a:lnTo>
                    <a:pt x="148" y="786"/>
                  </a:lnTo>
                  <a:lnTo>
                    <a:pt x="148" y="797"/>
                  </a:lnTo>
                  <a:lnTo>
                    <a:pt x="151" y="810"/>
                  </a:lnTo>
                  <a:lnTo>
                    <a:pt x="156" y="822"/>
                  </a:lnTo>
                  <a:lnTo>
                    <a:pt x="151" y="827"/>
                  </a:lnTo>
                  <a:lnTo>
                    <a:pt x="153" y="832"/>
                  </a:lnTo>
                  <a:lnTo>
                    <a:pt x="162" y="830"/>
                  </a:lnTo>
                  <a:lnTo>
                    <a:pt x="175" y="821"/>
                  </a:lnTo>
                  <a:lnTo>
                    <a:pt x="186" y="807"/>
                  </a:lnTo>
                  <a:lnTo>
                    <a:pt x="195" y="797"/>
                  </a:lnTo>
                  <a:lnTo>
                    <a:pt x="216" y="789"/>
                  </a:lnTo>
                  <a:lnTo>
                    <a:pt x="220" y="785"/>
                  </a:lnTo>
                  <a:lnTo>
                    <a:pt x="220" y="778"/>
                  </a:lnTo>
                  <a:lnTo>
                    <a:pt x="228" y="77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94" name="Freeform 91">
              <a:extLst>
                <a:ext uri="{FF2B5EF4-FFF2-40B4-BE49-F238E27FC236}">
                  <a16:creationId xmlns:a16="http://schemas.microsoft.com/office/drawing/2014/main" id="{0550DD30-4488-A565-0618-33B6A86424E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980215" y="4126081"/>
              <a:ext cx="280560" cy="187480"/>
            </a:xfrm>
            <a:custGeom>
              <a:avLst/>
              <a:gdLst>
                <a:gd name="T0" fmla="*/ 2147483647 w 530"/>
                <a:gd name="T1" fmla="*/ 2147483647 h 330"/>
                <a:gd name="T2" fmla="*/ 2147483647 w 530"/>
                <a:gd name="T3" fmla="*/ 2147483647 h 330"/>
                <a:gd name="T4" fmla="*/ 2147483647 w 530"/>
                <a:gd name="T5" fmla="*/ 2147483647 h 330"/>
                <a:gd name="T6" fmla="*/ 2147483647 w 530"/>
                <a:gd name="T7" fmla="*/ 2147483647 h 330"/>
                <a:gd name="T8" fmla="*/ 2147483647 w 530"/>
                <a:gd name="T9" fmla="*/ 2147483647 h 330"/>
                <a:gd name="T10" fmla="*/ 2147483647 w 530"/>
                <a:gd name="T11" fmla="*/ 2147483647 h 330"/>
                <a:gd name="T12" fmla="*/ 2147483647 w 530"/>
                <a:gd name="T13" fmla="*/ 2147483647 h 330"/>
                <a:gd name="T14" fmla="*/ 2147483647 w 530"/>
                <a:gd name="T15" fmla="*/ 2147483647 h 330"/>
                <a:gd name="T16" fmla="*/ 2147483647 w 530"/>
                <a:gd name="T17" fmla="*/ 2147483647 h 330"/>
                <a:gd name="T18" fmla="*/ 2147483647 w 530"/>
                <a:gd name="T19" fmla="*/ 2147483647 h 330"/>
                <a:gd name="T20" fmla="*/ 2147483647 w 530"/>
                <a:gd name="T21" fmla="*/ 0 h 330"/>
                <a:gd name="T22" fmla="*/ 2147483647 w 530"/>
                <a:gd name="T23" fmla="*/ 0 h 330"/>
                <a:gd name="T24" fmla="*/ 2147483647 w 530"/>
                <a:gd name="T25" fmla="*/ 0 h 330"/>
                <a:gd name="T26" fmla="*/ 2147483647 w 530"/>
                <a:gd name="T27" fmla="*/ 0 h 330"/>
                <a:gd name="T28" fmla="*/ 2147483647 w 530"/>
                <a:gd name="T29" fmla="*/ 0 h 330"/>
                <a:gd name="T30" fmla="*/ 2147483647 w 530"/>
                <a:gd name="T31" fmla="*/ 0 h 330"/>
                <a:gd name="T32" fmla="*/ 2147483647 w 530"/>
                <a:gd name="T33" fmla="*/ 0 h 330"/>
                <a:gd name="T34" fmla="*/ 2147483647 w 530"/>
                <a:gd name="T35" fmla="*/ 0 h 330"/>
                <a:gd name="T36" fmla="*/ 2147483647 w 530"/>
                <a:gd name="T37" fmla="*/ 0 h 330"/>
                <a:gd name="T38" fmla="*/ 2147483647 w 530"/>
                <a:gd name="T39" fmla="*/ 0 h 330"/>
                <a:gd name="T40" fmla="*/ 2147483647 w 530"/>
                <a:gd name="T41" fmla="*/ 0 h 330"/>
                <a:gd name="T42" fmla="*/ 2147483647 w 530"/>
                <a:gd name="T43" fmla="*/ 0 h 330"/>
                <a:gd name="T44" fmla="*/ 2147483647 w 530"/>
                <a:gd name="T45" fmla="*/ 2147483647 h 330"/>
                <a:gd name="T46" fmla="*/ 2147483647 w 530"/>
                <a:gd name="T47" fmla="*/ 2147483647 h 330"/>
                <a:gd name="T48" fmla="*/ 2147483647 w 530"/>
                <a:gd name="T49" fmla="*/ 2147483647 h 330"/>
                <a:gd name="T50" fmla="*/ 2147483647 w 530"/>
                <a:gd name="T51" fmla="*/ 2147483647 h 330"/>
                <a:gd name="T52" fmla="*/ 2147483647 w 530"/>
                <a:gd name="T53" fmla="*/ 2147483647 h 330"/>
                <a:gd name="T54" fmla="*/ 2147483647 w 530"/>
                <a:gd name="T55" fmla="*/ 2147483647 h 330"/>
                <a:gd name="T56" fmla="*/ 2147483647 w 530"/>
                <a:gd name="T57" fmla="*/ 2147483647 h 330"/>
                <a:gd name="T58" fmla="*/ 2147483647 w 530"/>
                <a:gd name="T59" fmla="*/ 2147483647 h 330"/>
                <a:gd name="T60" fmla="*/ 2147483647 w 530"/>
                <a:gd name="T61" fmla="*/ 2147483647 h 330"/>
                <a:gd name="T62" fmla="*/ 2147483647 w 530"/>
                <a:gd name="T63" fmla="*/ 2147483647 h 330"/>
                <a:gd name="T64" fmla="*/ 2147483647 w 530"/>
                <a:gd name="T65" fmla="*/ 2147483647 h 330"/>
                <a:gd name="T66" fmla="*/ 2147483647 w 530"/>
                <a:gd name="T67" fmla="*/ 2147483647 h 330"/>
                <a:gd name="T68" fmla="*/ 2147483647 w 530"/>
                <a:gd name="T69" fmla="*/ 2147483647 h 330"/>
                <a:gd name="T70" fmla="*/ 2147483647 w 530"/>
                <a:gd name="T71" fmla="*/ 2147483647 h 330"/>
                <a:gd name="T72" fmla="*/ 2147483647 w 530"/>
                <a:gd name="T73" fmla="*/ 2147483647 h 330"/>
                <a:gd name="T74" fmla="*/ 2147483647 w 530"/>
                <a:gd name="T75" fmla="*/ 2147483647 h 330"/>
                <a:gd name="T76" fmla="*/ 2147483647 w 530"/>
                <a:gd name="T77" fmla="*/ 2147483647 h 330"/>
                <a:gd name="T78" fmla="*/ 2147483647 w 530"/>
                <a:gd name="T79" fmla="*/ 2147483647 h 330"/>
                <a:gd name="T80" fmla="*/ 2147483647 w 530"/>
                <a:gd name="T81" fmla="*/ 2147483647 h 330"/>
                <a:gd name="T82" fmla="*/ 2147483647 w 530"/>
                <a:gd name="T83" fmla="*/ 2147483647 h 330"/>
                <a:gd name="T84" fmla="*/ 0 w 530"/>
                <a:gd name="T85" fmla="*/ 2147483647 h 330"/>
                <a:gd name="T86" fmla="*/ 0 w 530"/>
                <a:gd name="T87" fmla="*/ 2147483647 h 330"/>
                <a:gd name="T88" fmla="*/ 0 w 530"/>
                <a:gd name="T89" fmla="*/ 2147483647 h 330"/>
                <a:gd name="T90" fmla="*/ 0 w 530"/>
                <a:gd name="T91" fmla="*/ 2147483647 h 330"/>
                <a:gd name="T92" fmla="*/ 2147483647 w 530"/>
                <a:gd name="T93" fmla="*/ 2147483647 h 330"/>
                <a:gd name="T94" fmla="*/ 2147483647 w 530"/>
                <a:gd name="T95" fmla="*/ 2147483647 h 330"/>
                <a:gd name="T96" fmla="*/ 2147483647 w 530"/>
                <a:gd name="T97" fmla="*/ 2147483647 h 330"/>
                <a:gd name="T98" fmla="*/ 2147483647 w 530"/>
                <a:gd name="T99" fmla="*/ 2147483647 h 330"/>
                <a:gd name="T100" fmla="*/ 2147483647 w 530"/>
                <a:gd name="T101" fmla="*/ 2147483647 h 330"/>
                <a:gd name="T102" fmla="*/ 2147483647 w 530"/>
                <a:gd name="T103" fmla="*/ 2147483647 h 330"/>
                <a:gd name="T104" fmla="*/ 2147483647 w 530"/>
                <a:gd name="T105" fmla="*/ 2147483647 h 330"/>
                <a:gd name="T106" fmla="*/ 2147483647 w 530"/>
                <a:gd name="T107" fmla="*/ 2147483647 h 330"/>
                <a:gd name="T108" fmla="*/ 2147483647 w 530"/>
                <a:gd name="T109" fmla="*/ 2147483647 h 330"/>
                <a:gd name="T110" fmla="*/ 2147483647 w 530"/>
                <a:gd name="T111" fmla="*/ 2147483647 h 330"/>
                <a:gd name="T112" fmla="*/ 2147483647 w 530"/>
                <a:gd name="T113" fmla="*/ 2147483647 h 33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530"/>
                <a:gd name="T172" fmla="*/ 0 h 330"/>
                <a:gd name="T173" fmla="*/ 530 w 530"/>
                <a:gd name="T174" fmla="*/ 330 h 33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530" h="330">
                  <a:moveTo>
                    <a:pt x="242" y="129"/>
                  </a:moveTo>
                  <a:lnTo>
                    <a:pt x="245" y="131"/>
                  </a:lnTo>
                  <a:lnTo>
                    <a:pt x="249" y="133"/>
                  </a:lnTo>
                  <a:lnTo>
                    <a:pt x="259" y="144"/>
                  </a:lnTo>
                  <a:lnTo>
                    <a:pt x="263" y="150"/>
                  </a:lnTo>
                  <a:lnTo>
                    <a:pt x="268" y="155"/>
                  </a:lnTo>
                  <a:lnTo>
                    <a:pt x="271" y="159"/>
                  </a:lnTo>
                  <a:lnTo>
                    <a:pt x="276" y="160"/>
                  </a:lnTo>
                  <a:lnTo>
                    <a:pt x="281" y="158"/>
                  </a:lnTo>
                  <a:lnTo>
                    <a:pt x="283" y="150"/>
                  </a:lnTo>
                  <a:lnTo>
                    <a:pt x="285" y="126"/>
                  </a:lnTo>
                  <a:lnTo>
                    <a:pt x="288" y="121"/>
                  </a:lnTo>
                  <a:lnTo>
                    <a:pt x="293" y="118"/>
                  </a:lnTo>
                  <a:lnTo>
                    <a:pt x="298" y="118"/>
                  </a:lnTo>
                  <a:lnTo>
                    <a:pt x="301" y="122"/>
                  </a:lnTo>
                  <a:lnTo>
                    <a:pt x="303" y="129"/>
                  </a:lnTo>
                  <a:lnTo>
                    <a:pt x="307" y="137"/>
                  </a:lnTo>
                  <a:lnTo>
                    <a:pt x="312" y="139"/>
                  </a:lnTo>
                  <a:lnTo>
                    <a:pt x="318" y="139"/>
                  </a:lnTo>
                  <a:lnTo>
                    <a:pt x="319" y="134"/>
                  </a:lnTo>
                  <a:lnTo>
                    <a:pt x="319" y="128"/>
                  </a:lnTo>
                  <a:lnTo>
                    <a:pt x="318" y="123"/>
                  </a:lnTo>
                  <a:lnTo>
                    <a:pt x="314" y="116"/>
                  </a:lnTo>
                  <a:lnTo>
                    <a:pt x="309" y="111"/>
                  </a:lnTo>
                  <a:lnTo>
                    <a:pt x="315" y="110"/>
                  </a:lnTo>
                  <a:lnTo>
                    <a:pt x="320" y="106"/>
                  </a:lnTo>
                  <a:lnTo>
                    <a:pt x="328" y="96"/>
                  </a:lnTo>
                  <a:lnTo>
                    <a:pt x="322" y="94"/>
                  </a:lnTo>
                  <a:lnTo>
                    <a:pt x="319" y="88"/>
                  </a:lnTo>
                  <a:lnTo>
                    <a:pt x="324" y="81"/>
                  </a:lnTo>
                  <a:lnTo>
                    <a:pt x="329" y="79"/>
                  </a:lnTo>
                  <a:lnTo>
                    <a:pt x="339" y="79"/>
                  </a:lnTo>
                  <a:lnTo>
                    <a:pt x="351" y="64"/>
                  </a:lnTo>
                  <a:lnTo>
                    <a:pt x="357" y="53"/>
                  </a:lnTo>
                  <a:lnTo>
                    <a:pt x="357" y="47"/>
                  </a:lnTo>
                  <a:lnTo>
                    <a:pt x="383" y="20"/>
                  </a:lnTo>
                  <a:lnTo>
                    <a:pt x="387" y="13"/>
                  </a:lnTo>
                  <a:lnTo>
                    <a:pt x="388" y="6"/>
                  </a:lnTo>
                  <a:lnTo>
                    <a:pt x="392" y="0"/>
                  </a:lnTo>
                  <a:lnTo>
                    <a:pt x="394" y="0"/>
                  </a:lnTo>
                  <a:lnTo>
                    <a:pt x="395" y="3"/>
                  </a:lnTo>
                  <a:lnTo>
                    <a:pt x="395" y="14"/>
                  </a:lnTo>
                  <a:lnTo>
                    <a:pt x="393" y="20"/>
                  </a:lnTo>
                  <a:lnTo>
                    <a:pt x="393" y="22"/>
                  </a:lnTo>
                  <a:lnTo>
                    <a:pt x="404" y="9"/>
                  </a:lnTo>
                  <a:lnTo>
                    <a:pt x="408" y="2"/>
                  </a:lnTo>
                  <a:lnTo>
                    <a:pt x="415" y="2"/>
                  </a:lnTo>
                  <a:lnTo>
                    <a:pt x="417" y="4"/>
                  </a:lnTo>
                  <a:lnTo>
                    <a:pt x="422" y="19"/>
                  </a:lnTo>
                  <a:lnTo>
                    <a:pt x="428" y="22"/>
                  </a:lnTo>
                  <a:lnTo>
                    <a:pt x="433" y="20"/>
                  </a:lnTo>
                  <a:lnTo>
                    <a:pt x="443" y="29"/>
                  </a:lnTo>
                  <a:lnTo>
                    <a:pt x="446" y="40"/>
                  </a:lnTo>
                  <a:lnTo>
                    <a:pt x="442" y="43"/>
                  </a:lnTo>
                  <a:lnTo>
                    <a:pt x="443" y="57"/>
                  </a:lnTo>
                  <a:lnTo>
                    <a:pt x="444" y="58"/>
                  </a:lnTo>
                  <a:lnTo>
                    <a:pt x="448" y="57"/>
                  </a:lnTo>
                  <a:lnTo>
                    <a:pt x="452" y="57"/>
                  </a:lnTo>
                  <a:lnTo>
                    <a:pt x="458" y="54"/>
                  </a:lnTo>
                  <a:lnTo>
                    <a:pt x="463" y="54"/>
                  </a:lnTo>
                  <a:lnTo>
                    <a:pt x="467" y="59"/>
                  </a:lnTo>
                  <a:lnTo>
                    <a:pt x="465" y="64"/>
                  </a:lnTo>
                  <a:lnTo>
                    <a:pt x="462" y="68"/>
                  </a:lnTo>
                  <a:lnTo>
                    <a:pt x="463" y="70"/>
                  </a:lnTo>
                  <a:lnTo>
                    <a:pt x="469" y="70"/>
                  </a:lnTo>
                  <a:lnTo>
                    <a:pt x="474" y="65"/>
                  </a:lnTo>
                  <a:lnTo>
                    <a:pt x="480" y="65"/>
                  </a:lnTo>
                  <a:lnTo>
                    <a:pt x="486" y="69"/>
                  </a:lnTo>
                  <a:lnTo>
                    <a:pt x="502" y="80"/>
                  </a:lnTo>
                  <a:lnTo>
                    <a:pt x="523" y="86"/>
                  </a:lnTo>
                  <a:lnTo>
                    <a:pt x="529" y="91"/>
                  </a:lnTo>
                  <a:lnTo>
                    <a:pt x="530" y="95"/>
                  </a:lnTo>
                  <a:lnTo>
                    <a:pt x="528" y="100"/>
                  </a:lnTo>
                  <a:lnTo>
                    <a:pt x="518" y="104"/>
                  </a:lnTo>
                  <a:lnTo>
                    <a:pt x="512" y="108"/>
                  </a:lnTo>
                  <a:lnTo>
                    <a:pt x="501" y="112"/>
                  </a:lnTo>
                  <a:lnTo>
                    <a:pt x="491" y="115"/>
                  </a:lnTo>
                  <a:lnTo>
                    <a:pt x="482" y="110"/>
                  </a:lnTo>
                  <a:lnTo>
                    <a:pt x="475" y="113"/>
                  </a:lnTo>
                  <a:lnTo>
                    <a:pt x="474" y="121"/>
                  </a:lnTo>
                  <a:lnTo>
                    <a:pt x="476" y="126"/>
                  </a:lnTo>
                  <a:lnTo>
                    <a:pt x="482" y="132"/>
                  </a:lnTo>
                  <a:lnTo>
                    <a:pt x="487" y="133"/>
                  </a:lnTo>
                  <a:lnTo>
                    <a:pt x="492" y="137"/>
                  </a:lnTo>
                  <a:lnTo>
                    <a:pt x="494" y="140"/>
                  </a:lnTo>
                  <a:lnTo>
                    <a:pt x="480" y="143"/>
                  </a:lnTo>
                  <a:lnTo>
                    <a:pt x="463" y="149"/>
                  </a:lnTo>
                  <a:lnTo>
                    <a:pt x="457" y="149"/>
                  </a:lnTo>
                  <a:lnTo>
                    <a:pt x="452" y="147"/>
                  </a:lnTo>
                  <a:lnTo>
                    <a:pt x="446" y="143"/>
                  </a:lnTo>
                  <a:lnTo>
                    <a:pt x="444" y="143"/>
                  </a:lnTo>
                  <a:lnTo>
                    <a:pt x="443" y="148"/>
                  </a:lnTo>
                  <a:lnTo>
                    <a:pt x="439" y="151"/>
                  </a:lnTo>
                  <a:lnTo>
                    <a:pt x="435" y="151"/>
                  </a:lnTo>
                  <a:lnTo>
                    <a:pt x="421" y="147"/>
                  </a:lnTo>
                  <a:lnTo>
                    <a:pt x="412" y="142"/>
                  </a:lnTo>
                  <a:lnTo>
                    <a:pt x="361" y="140"/>
                  </a:lnTo>
                  <a:lnTo>
                    <a:pt x="342" y="142"/>
                  </a:lnTo>
                  <a:lnTo>
                    <a:pt x="336" y="150"/>
                  </a:lnTo>
                  <a:lnTo>
                    <a:pt x="330" y="167"/>
                  </a:lnTo>
                  <a:lnTo>
                    <a:pt x="328" y="189"/>
                  </a:lnTo>
                  <a:lnTo>
                    <a:pt x="323" y="201"/>
                  </a:lnTo>
                  <a:lnTo>
                    <a:pt x="297" y="230"/>
                  </a:lnTo>
                  <a:lnTo>
                    <a:pt x="291" y="257"/>
                  </a:lnTo>
                  <a:lnTo>
                    <a:pt x="282" y="275"/>
                  </a:lnTo>
                  <a:lnTo>
                    <a:pt x="275" y="287"/>
                  </a:lnTo>
                  <a:lnTo>
                    <a:pt x="271" y="294"/>
                  </a:lnTo>
                  <a:lnTo>
                    <a:pt x="265" y="299"/>
                  </a:lnTo>
                  <a:lnTo>
                    <a:pt x="252" y="303"/>
                  </a:lnTo>
                  <a:lnTo>
                    <a:pt x="240" y="305"/>
                  </a:lnTo>
                  <a:lnTo>
                    <a:pt x="231" y="307"/>
                  </a:lnTo>
                  <a:lnTo>
                    <a:pt x="220" y="314"/>
                  </a:lnTo>
                  <a:lnTo>
                    <a:pt x="210" y="314"/>
                  </a:lnTo>
                  <a:lnTo>
                    <a:pt x="189" y="306"/>
                  </a:lnTo>
                  <a:lnTo>
                    <a:pt x="184" y="306"/>
                  </a:lnTo>
                  <a:lnTo>
                    <a:pt x="183" y="299"/>
                  </a:lnTo>
                  <a:lnTo>
                    <a:pt x="178" y="296"/>
                  </a:lnTo>
                  <a:lnTo>
                    <a:pt x="151" y="295"/>
                  </a:lnTo>
                  <a:lnTo>
                    <a:pt x="146" y="296"/>
                  </a:lnTo>
                  <a:lnTo>
                    <a:pt x="139" y="305"/>
                  </a:lnTo>
                  <a:lnTo>
                    <a:pt x="123" y="323"/>
                  </a:lnTo>
                  <a:lnTo>
                    <a:pt x="115" y="327"/>
                  </a:lnTo>
                  <a:lnTo>
                    <a:pt x="105" y="326"/>
                  </a:lnTo>
                  <a:lnTo>
                    <a:pt x="96" y="326"/>
                  </a:lnTo>
                  <a:lnTo>
                    <a:pt x="87" y="330"/>
                  </a:lnTo>
                  <a:lnTo>
                    <a:pt x="77" y="323"/>
                  </a:lnTo>
                  <a:lnTo>
                    <a:pt x="66" y="325"/>
                  </a:lnTo>
                  <a:lnTo>
                    <a:pt x="54" y="328"/>
                  </a:lnTo>
                  <a:lnTo>
                    <a:pt x="40" y="325"/>
                  </a:lnTo>
                  <a:lnTo>
                    <a:pt x="27" y="314"/>
                  </a:lnTo>
                  <a:lnTo>
                    <a:pt x="0" y="274"/>
                  </a:lnTo>
                  <a:lnTo>
                    <a:pt x="0" y="269"/>
                  </a:lnTo>
                  <a:lnTo>
                    <a:pt x="2" y="268"/>
                  </a:lnTo>
                  <a:lnTo>
                    <a:pt x="5" y="266"/>
                  </a:lnTo>
                  <a:lnTo>
                    <a:pt x="7" y="264"/>
                  </a:lnTo>
                  <a:lnTo>
                    <a:pt x="10" y="273"/>
                  </a:lnTo>
                  <a:lnTo>
                    <a:pt x="13" y="278"/>
                  </a:lnTo>
                  <a:lnTo>
                    <a:pt x="28" y="283"/>
                  </a:lnTo>
                  <a:lnTo>
                    <a:pt x="34" y="284"/>
                  </a:lnTo>
                  <a:lnTo>
                    <a:pt x="48" y="283"/>
                  </a:lnTo>
                  <a:lnTo>
                    <a:pt x="53" y="284"/>
                  </a:lnTo>
                  <a:lnTo>
                    <a:pt x="59" y="288"/>
                  </a:lnTo>
                  <a:lnTo>
                    <a:pt x="67" y="290"/>
                  </a:lnTo>
                  <a:lnTo>
                    <a:pt x="84" y="293"/>
                  </a:lnTo>
                  <a:lnTo>
                    <a:pt x="86" y="285"/>
                  </a:lnTo>
                  <a:lnTo>
                    <a:pt x="89" y="279"/>
                  </a:lnTo>
                  <a:lnTo>
                    <a:pt x="91" y="269"/>
                  </a:lnTo>
                  <a:lnTo>
                    <a:pt x="93" y="263"/>
                  </a:lnTo>
                  <a:lnTo>
                    <a:pt x="91" y="253"/>
                  </a:lnTo>
                  <a:lnTo>
                    <a:pt x="96" y="250"/>
                  </a:lnTo>
                  <a:lnTo>
                    <a:pt x="102" y="251"/>
                  </a:lnTo>
                  <a:lnTo>
                    <a:pt x="103" y="253"/>
                  </a:lnTo>
                  <a:lnTo>
                    <a:pt x="103" y="239"/>
                  </a:lnTo>
                  <a:lnTo>
                    <a:pt x="105" y="235"/>
                  </a:lnTo>
                  <a:lnTo>
                    <a:pt x="113" y="225"/>
                  </a:lnTo>
                  <a:lnTo>
                    <a:pt x="116" y="221"/>
                  </a:lnTo>
                  <a:lnTo>
                    <a:pt x="134" y="220"/>
                  </a:lnTo>
                  <a:lnTo>
                    <a:pt x="137" y="219"/>
                  </a:lnTo>
                  <a:lnTo>
                    <a:pt x="137" y="218"/>
                  </a:lnTo>
                  <a:lnTo>
                    <a:pt x="142" y="217"/>
                  </a:lnTo>
                  <a:lnTo>
                    <a:pt x="152" y="217"/>
                  </a:lnTo>
                  <a:lnTo>
                    <a:pt x="161" y="215"/>
                  </a:lnTo>
                  <a:lnTo>
                    <a:pt x="174" y="214"/>
                  </a:lnTo>
                  <a:lnTo>
                    <a:pt x="179" y="212"/>
                  </a:lnTo>
                  <a:lnTo>
                    <a:pt x="190" y="201"/>
                  </a:lnTo>
                  <a:lnTo>
                    <a:pt x="205" y="183"/>
                  </a:lnTo>
                  <a:lnTo>
                    <a:pt x="207" y="177"/>
                  </a:lnTo>
                  <a:lnTo>
                    <a:pt x="215" y="167"/>
                  </a:lnTo>
                  <a:lnTo>
                    <a:pt x="231" y="154"/>
                  </a:lnTo>
                  <a:lnTo>
                    <a:pt x="238" y="143"/>
                  </a:lnTo>
                  <a:lnTo>
                    <a:pt x="240" y="131"/>
                  </a:lnTo>
                  <a:lnTo>
                    <a:pt x="242" y="12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95" name="Freeform 92">
              <a:extLst>
                <a:ext uri="{FF2B5EF4-FFF2-40B4-BE49-F238E27FC236}">
                  <a16:creationId xmlns:a16="http://schemas.microsoft.com/office/drawing/2014/main" id="{D77E2D89-C6B1-BA20-D156-503F3FA91F8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704132" y="4132179"/>
              <a:ext cx="119387" cy="167664"/>
            </a:xfrm>
            <a:custGeom>
              <a:avLst/>
              <a:gdLst>
                <a:gd name="T0" fmla="*/ 0 w 226"/>
                <a:gd name="T1" fmla="*/ 0 h 291"/>
                <a:gd name="T2" fmla="*/ 0 w 226"/>
                <a:gd name="T3" fmla="*/ 0 h 291"/>
                <a:gd name="T4" fmla="*/ 0 w 226"/>
                <a:gd name="T5" fmla="*/ 0 h 291"/>
                <a:gd name="T6" fmla="*/ 0 w 226"/>
                <a:gd name="T7" fmla="*/ 0 h 291"/>
                <a:gd name="T8" fmla="*/ 0 w 226"/>
                <a:gd name="T9" fmla="*/ 0 h 291"/>
                <a:gd name="T10" fmla="*/ 0 w 226"/>
                <a:gd name="T11" fmla="*/ 2147483647 h 291"/>
                <a:gd name="T12" fmla="*/ 0 w 226"/>
                <a:gd name="T13" fmla="*/ 2147483647 h 291"/>
                <a:gd name="T14" fmla="*/ 0 w 226"/>
                <a:gd name="T15" fmla="*/ 2147483647 h 291"/>
                <a:gd name="T16" fmla="*/ 0 w 226"/>
                <a:gd name="T17" fmla="*/ 2147483647 h 291"/>
                <a:gd name="T18" fmla="*/ 0 w 226"/>
                <a:gd name="T19" fmla="*/ 2147483647 h 291"/>
                <a:gd name="T20" fmla="*/ 0 w 226"/>
                <a:gd name="T21" fmla="*/ 2147483647 h 291"/>
                <a:gd name="T22" fmla="*/ 0 w 226"/>
                <a:gd name="T23" fmla="*/ 2147483647 h 291"/>
                <a:gd name="T24" fmla="*/ 2147483647 w 226"/>
                <a:gd name="T25" fmla="*/ 2147483647 h 291"/>
                <a:gd name="T26" fmla="*/ 2147483647 w 226"/>
                <a:gd name="T27" fmla="*/ 2147483647 h 291"/>
                <a:gd name="T28" fmla="*/ 2147483647 w 226"/>
                <a:gd name="T29" fmla="*/ 2147483647 h 291"/>
                <a:gd name="T30" fmla="*/ 2147483647 w 226"/>
                <a:gd name="T31" fmla="*/ 2147483647 h 291"/>
                <a:gd name="T32" fmla="*/ 2147483647 w 226"/>
                <a:gd name="T33" fmla="*/ 2147483647 h 291"/>
                <a:gd name="T34" fmla="*/ 2147483647 w 226"/>
                <a:gd name="T35" fmla="*/ 2147483647 h 291"/>
                <a:gd name="T36" fmla="*/ 2147483647 w 226"/>
                <a:gd name="T37" fmla="*/ 2147483647 h 291"/>
                <a:gd name="T38" fmla="*/ 2147483647 w 226"/>
                <a:gd name="T39" fmla="*/ 2147483647 h 291"/>
                <a:gd name="T40" fmla="*/ 2147483647 w 226"/>
                <a:gd name="T41" fmla="*/ 2147483647 h 291"/>
                <a:gd name="T42" fmla="*/ 2147483647 w 226"/>
                <a:gd name="T43" fmla="*/ 2147483647 h 291"/>
                <a:gd name="T44" fmla="*/ 2147483647 w 226"/>
                <a:gd name="T45" fmla="*/ 2147483647 h 291"/>
                <a:gd name="T46" fmla="*/ 2147483647 w 226"/>
                <a:gd name="T47" fmla="*/ 2147483647 h 291"/>
                <a:gd name="T48" fmla="*/ 2147483647 w 226"/>
                <a:gd name="T49" fmla="*/ 2147483647 h 291"/>
                <a:gd name="T50" fmla="*/ 2147483647 w 226"/>
                <a:gd name="T51" fmla="*/ 2147483647 h 291"/>
                <a:gd name="T52" fmla="*/ 2147483647 w 226"/>
                <a:gd name="T53" fmla="*/ 2147483647 h 291"/>
                <a:gd name="T54" fmla="*/ 2147483647 w 226"/>
                <a:gd name="T55" fmla="*/ 2147483647 h 291"/>
                <a:gd name="T56" fmla="*/ 2147483647 w 226"/>
                <a:gd name="T57" fmla="*/ 2147483647 h 291"/>
                <a:gd name="T58" fmla="*/ 2147483647 w 226"/>
                <a:gd name="T59" fmla="*/ 2147483647 h 291"/>
                <a:gd name="T60" fmla="*/ 2147483647 w 226"/>
                <a:gd name="T61" fmla="*/ 2147483647 h 291"/>
                <a:gd name="T62" fmla="*/ 2147483647 w 226"/>
                <a:gd name="T63" fmla="*/ 2147483647 h 291"/>
                <a:gd name="T64" fmla="*/ 2147483647 w 226"/>
                <a:gd name="T65" fmla="*/ 2147483647 h 291"/>
                <a:gd name="T66" fmla="*/ 2147483647 w 226"/>
                <a:gd name="T67" fmla="*/ 2147483647 h 291"/>
                <a:gd name="T68" fmla="*/ 2147483647 w 226"/>
                <a:gd name="T69" fmla="*/ 2147483647 h 291"/>
                <a:gd name="T70" fmla="*/ 2147483647 w 226"/>
                <a:gd name="T71" fmla="*/ 2147483647 h 291"/>
                <a:gd name="T72" fmla="*/ 2147483647 w 226"/>
                <a:gd name="T73" fmla="*/ 2147483647 h 291"/>
                <a:gd name="T74" fmla="*/ 2147483647 w 226"/>
                <a:gd name="T75" fmla="*/ 2147483647 h 291"/>
                <a:gd name="T76" fmla="*/ 2147483647 w 226"/>
                <a:gd name="T77" fmla="*/ 2147483647 h 291"/>
                <a:gd name="T78" fmla="*/ 2147483647 w 226"/>
                <a:gd name="T79" fmla="*/ 2147483647 h 291"/>
                <a:gd name="T80" fmla="*/ 2147483647 w 226"/>
                <a:gd name="T81" fmla="*/ 2147483647 h 291"/>
                <a:gd name="T82" fmla="*/ 2147483647 w 226"/>
                <a:gd name="T83" fmla="*/ 2147483647 h 291"/>
                <a:gd name="T84" fmla="*/ 2147483647 w 226"/>
                <a:gd name="T85" fmla="*/ 0 h 291"/>
                <a:gd name="T86" fmla="*/ 2147483647 w 226"/>
                <a:gd name="T87" fmla="*/ 0 h 291"/>
                <a:gd name="T88" fmla="*/ 2147483647 w 226"/>
                <a:gd name="T89" fmla="*/ 0 h 291"/>
                <a:gd name="T90" fmla="*/ 2147483647 w 226"/>
                <a:gd name="T91" fmla="*/ 0 h 291"/>
                <a:gd name="T92" fmla="*/ 2147483647 w 226"/>
                <a:gd name="T93" fmla="*/ 0 h 291"/>
                <a:gd name="T94" fmla="*/ 2147483647 w 226"/>
                <a:gd name="T95" fmla="*/ 0 h 291"/>
                <a:gd name="T96" fmla="*/ 2147483647 w 226"/>
                <a:gd name="T97" fmla="*/ 0 h 291"/>
                <a:gd name="T98" fmla="*/ 2147483647 w 226"/>
                <a:gd name="T99" fmla="*/ 0 h 291"/>
                <a:gd name="T100" fmla="*/ 2147483647 w 226"/>
                <a:gd name="T101" fmla="*/ 0 h 291"/>
                <a:gd name="T102" fmla="*/ 2147483647 w 226"/>
                <a:gd name="T103" fmla="*/ 0 h 291"/>
                <a:gd name="T104" fmla="*/ 0 w 226"/>
                <a:gd name="T105" fmla="*/ 0 h 291"/>
                <a:gd name="T106" fmla="*/ 0 w 226"/>
                <a:gd name="T107" fmla="*/ 0 h 291"/>
                <a:gd name="T108" fmla="*/ 0 w 226"/>
                <a:gd name="T109" fmla="*/ 0 h 291"/>
                <a:gd name="T110" fmla="*/ 0 w 226"/>
                <a:gd name="T111" fmla="*/ 0 h 291"/>
                <a:gd name="T112" fmla="*/ 0 w 226"/>
                <a:gd name="T113" fmla="*/ 0 h 291"/>
                <a:gd name="T114" fmla="*/ 0 w 226"/>
                <a:gd name="T115" fmla="*/ 0 h 29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26"/>
                <a:gd name="T175" fmla="*/ 0 h 291"/>
                <a:gd name="T176" fmla="*/ 226 w 226"/>
                <a:gd name="T177" fmla="*/ 291 h 29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26" h="291">
                  <a:moveTo>
                    <a:pt x="5" y="16"/>
                  </a:moveTo>
                  <a:lnTo>
                    <a:pt x="2" y="16"/>
                  </a:lnTo>
                  <a:lnTo>
                    <a:pt x="7" y="24"/>
                  </a:lnTo>
                  <a:lnTo>
                    <a:pt x="10" y="43"/>
                  </a:lnTo>
                  <a:lnTo>
                    <a:pt x="14" y="55"/>
                  </a:lnTo>
                  <a:lnTo>
                    <a:pt x="15" y="87"/>
                  </a:lnTo>
                  <a:lnTo>
                    <a:pt x="18" y="98"/>
                  </a:lnTo>
                  <a:lnTo>
                    <a:pt x="26" y="104"/>
                  </a:lnTo>
                  <a:lnTo>
                    <a:pt x="27" y="115"/>
                  </a:lnTo>
                  <a:lnTo>
                    <a:pt x="26" y="130"/>
                  </a:lnTo>
                  <a:lnTo>
                    <a:pt x="32" y="141"/>
                  </a:lnTo>
                  <a:lnTo>
                    <a:pt x="33" y="148"/>
                  </a:lnTo>
                  <a:lnTo>
                    <a:pt x="52" y="173"/>
                  </a:lnTo>
                  <a:lnTo>
                    <a:pt x="60" y="183"/>
                  </a:lnTo>
                  <a:lnTo>
                    <a:pt x="66" y="196"/>
                  </a:lnTo>
                  <a:lnTo>
                    <a:pt x="68" y="208"/>
                  </a:lnTo>
                  <a:lnTo>
                    <a:pt x="77" y="218"/>
                  </a:lnTo>
                  <a:lnTo>
                    <a:pt x="93" y="229"/>
                  </a:lnTo>
                  <a:lnTo>
                    <a:pt x="114" y="248"/>
                  </a:lnTo>
                  <a:lnTo>
                    <a:pt x="129" y="253"/>
                  </a:lnTo>
                  <a:lnTo>
                    <a:pt x="144" y="265"/>
                  </a:lnTo>
                  <a:lnTo>
                    <a:pt x="152" y="269"/>
                  </a:lnTo>
                  <a:lnTo>
                    <a:pt x="166" y="276"/>
                  </a:lnTo>
                  <a:lnTo>
                    <a:pt x="178" y="287"/>
                  </a:lnTo>
                  <a:lnTo>
                    <a:pt x="182" y="285"/>
                  </a:lnTo>
                  <a:lnTo>
                    <a:pt x="185" y="291"/>
                  </a:lnTo>
                  <a:lnTo>
                    <a:pt x="189" y="287"/>
                  </a:lnTo>
                  <a:lnTo>
                    <a:pt x="192" y="281"/>
                  </a:lnTo>
                  <a:lnTo>
                    <a:pt x="198" y="277"/>
                  </a:lnTo>
                  <a:lnTo>
                    <a:pt x="211" y="280"/>
                  </a:lnTo>
                  <a:lnTo>
                    <a:pt x="220" y="288"/>
                  </a:lnTo>
                  <a:lnTo>
                    <a:pt x="224" y="281"/>
                  </a:lnTo>
                  <a:lnTo>
                    <a:pt x="226" y="265"/>
                  </a:lnTo>
                  <a:lnTo>
                    <a:pt x="210" y="237"/>
                  </a:lnTo>
                  <a:lnTo>
                    <a:pt x="205" y="222"/>
                  </a:lnTo>
                  <a:lnTo>
                    <a:pt x="188" y="210"/>
                  </a:lnTo>
                  <a:lnTo>
                    <a:pt x="182" y="191"/>
                  </a:lnTo>
                  <a:lnTo>
                    <a:pt x="179" y="151"/>
                  </a:lnTo>
                  <a:lnTo>
                    <a:pt x="183" y="126"/>
                  </a:lnTo>
                  <a:lnTo>
                    <a:pt x="183" y="108"/>
                  </a:lnTo>
                  <a:lnTo>
                    <a:pt x="181" y="95"/>
                  </a:lnTo>
                  <a:lnTo>
                    <a:pt x="174" y="83"/>
                  </a:lnTo>
                  <a:lnTo>
                    <a:pt x="158" y="60"/>
                  </a:lnTo>
                  <a:lnTo>
                    <a:pt x="136" y="44"/>
                  </a:lnTo>
                  <a:lnTo>
                    <a:pt x="123" y="28"/>
                  </a:lnTo>
                  <a:lnTo>
                    <a:pt x="111" y="29"/>
                  </a:lnTo>
                  <a:lnTo>
                    <a:pt x="103" y="41"/>
                  </a:lnTo>
                  <a:lnTo>
                    <a:pt x="92" y="43"/>
                  </a:lnTo>
                  <a:lnTo>
                    <a:pt x="81" y="41"/>
                  </a:lnTo>
                  <a:lnTo>
                    <a:pt x="58" y="56"/>
                  </a:lnTo>
                  <a:lnTo>
                    <a:pt x="54" y="45"/>
                  </a:lnTo>
                  <a:lnTo>
                    <a:pt x="57" y="29"/>
                  </a:lnTo>
                  <a:lnTo>
                    <a:pt x="47" y="14"/>
                  </a:lnTo>
                  <a:lnTo>
                    <a:pt x="37" y="12"/>
                  </a:lnTo>
                  <a:lnTo>
                    <a:pt x="20" y="9"/>
                  </a:lnTo>
                  <a:lnTo>
                    <a:pt x="12" y="0"/>
                  </a:lnTo>
                  <a:lnTo>
                    <a:pt x="0" y="0"/>
                  </a:lnTo>
                  <a:lnTo>
                    <a:pt x="5" y="1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96" name="Freeform 93">
              <a:extLst>
                <a:ext uri="{FF2B5EF4-FFF2-40B4-BE49-F238E27FC236}">
                  <a16:creationId xmlns:a16="http://schemas.microsoft.com/office/drawing/2014/main" id="{70FC7F23-AB2B-CE1F-2357-930F00A24DA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629515" y="3684058"/>
              <a:ext cx="229821" cy="480129"/>
            </a:xfrm>
            <a:custGeom>
              <a:avLst/>
              <a:gdLst>
                <a:gd name="T0" fmla="*/ 2147483647 w 431"/>
                <a:gd name="T1" fmla="*/ 0 h 844"/>
                <a:gd name="T2" fmla="*/ 2147483647 w 431"/>
                <a:gd name="T3" fmla="*/ 0 h 844"/>
                <a:gd name="T4" fmla="*/ 0 w 431"/>
                <a:gd name="T5" fmla="*/ 0 h 844"/>
                <a:gd name="T6" fmla="*/ 0 w 431"/>
                <a:gd name="T7" fmla="*/ 2147483647 h 844"/>
                <a:gd name="T8" fmla="*/ 0 w 431"/>
                <a:gd name="T9" fmla="*/ 2147483647 h 844"/>
                <a:gd name="T10" fmla="*/ 2147483647 w 431"/>
                <a:gd name="T11" fmla="*/ 2147483647 h 844"/>
                <a:gd name="T12" fmla="*/ 2147483647 w 431"/>
                <a:gd name="T13" fmla="*/ 2147483647 h 844"/>
                <a:gd name="T14" fmla="*/ 0 w 431"/>
                <a:gd name="T15" fmla="*/ 2147483647 h 844"/>
                <a:gd name="T16" fmla="*/ 2147483647 w 431"/>
                <a:gd name="T17" fmla="*/ 2147483647 h 844"/>
                <a:gd name="T18" fmla="*/ 2147483647 w 431"/>
                <a:gd name="T19" fmla="*/ 2147483647 h 844"/>
                <a:gd name="T20" fmla="*/ 2147483647 w 431"/>
                <a:gd name="T21" fmla="*/ 2147483647 h 844"/>
                <a:gd name="T22" fmla="*/ 2147483647 w 431"/>
                <a:gd name="T23" fmla="*/ 2147483647 h 844"/>
                <a:gd name="T24" fmla="*/ 2147483647 w 431"/>
                <a:gd name="T25" fmla="*/ 2147483647 h 844"/>
                <a:gd name="T26" fmla="*/ 0 w 431"/>
                <a:gd name="T27" fmla="*/ 2147483647 h 844"/>
                <a:gd name="T28" fmla="*/ 2147483647 w 431"/>
                <a:gd name="T29" fmla="*/ 2147483647 h 844"/>
                <a:gd name="T30" fmla="*/ 2147483647 w 431"/>
                <a:gd name="T31" fmla="*/ 2147483647 h 844"/>
                <a:gd name="T32" fmla="*/ 2147483647 w 431"/>
                <a:gd name="T33" fmla="*/ 2147483647 h 844"/>
                <a:gd name="T34" fmla="*/ 2147483647 w 431"/>
                <a:gd name="T35" fmla="*/ 2147483647 h 844"/>
                <a:gd name="T36" fmla="*/ 2147483647 w 431"/>
                <a:gd name="T37" fmla="*/ 2147483647 h 844"/>
                <a:gd name="T38" fmla="*/ 2147483647 w 431"/>
                <a:gd name="T39" fmla="*/ 2147483647 h 844"/>
                <a:gd name="T40" fmla="*/ 2147483647 w 431"/>
                <a:gd name="T41" fmla="*/ 2147483647 h 844"/>
                <a:gd name="T42" fmla="*/ 2147483647 w 431"/>
                <a:gd name="T43" fmla="*/ 2147483647 h 844"/>
                <a:gd name="T44" fmla="*/ 2147483647 w 431"/>
                <a:gd name="T45" fmla="*/ 2147483647 h 844"/>
                <a:gd name="T46" fmla="*/ 2147483647 w 431"/>
                <a:gd name="T47" fmla="*/ 2147483647 h 844"/>
                <a:gd name="T48" fmla="*/ 2147483647 w 431"/>
                <a:gd name="T49" fmla="*/ 2147483647 h 844"/>
                <a:gd name="T50" fmla="*/ 2147483647 w 431"/>
                <a:gd name="T51" fmla="*/ 2147483647 h 844"/>
                <a:gd name="T52" fmla="*/ 2147483647 w 431"/>
                <a:gd name="T53" fmla="*/ 2147483647 h 844"/>
                <a:gd name="T54" fmla="*/ 2147483647 w 431"/>
                <a:gd name="T55" fmla="*/ 2147483647 h 844"/>
                <a:gd name="T56" fmla="*/ 2147483647 w 431"/>
                <a:gd name="T57" fmla="*/ 2147483647 h 844"/>
                <a:gd name="T58" fmla="*/ 2147483647 w 431"/>
                <a:gd name="T59" fmla="*/ 2147483647 h 844"/>
                <a:gd name="T60" fmla="*/ 2147483647 w 431"/>
                <a:gd name="T61" fmla="*/ 2147483647 h 844"/>
                <a:gd name="T62" fmla="*/ 2147483647 w 431"/>
                <a:gd name="T63" fmla="*/ 2147483647 h 844"/>
                <a:gd name="T64" fmla="*/ 2147483647 w 431"/>
                <a:gd name="T65" fmla="*/ 2147483647 h 844"/>
                <a:gd name="T66" fmla="*/ 2147483647 w 431"/>
                <a:gd name="T67" fmla="*/ 2147483647 h 844"/>
                <a:gd name="T68" fmla="*/ 2147483647 w 431"/>
                <a:gd name="T69" fmla="*/ 2147483647 h 844"/>
                <a:gd name="T70" fmla="*/ 2147483647 w 431"/>
                <a:gd name="T71" fmla="*/ 2147483647 h 844"/>
                <a:gd name="T72" fmla="*/ 2147483647 w 431"/>
                <a:gd name="T73" fmla="*/ 2147483647 h 844"/>
                <a:gd name="T74" fmla="*/ 2147483647 w 431"/>
                <a:gd name="T75" fmla="*/ 2147483647 h 844"/>
                <a:gd name="T76" fmla="*/ 2147483647 w 431"/>
                <a:gd name="T77" fmla="*/ 2147483647 h 844"/>
                <a:gd name="T78" fmla="*/ 2147483647 w 431"/>
                <a:gd name="T79" fmla="*/ 2147483647 h 844"/>
                <a:gd name="T80" fmla="*/ 2147483647 w 431"/>
                <a:gd name="T81" fmla="*/ 2147483647 h 844"/>
                <a:gd name="T82" fmla="*/ 2147483647 w 431"/>
                <a:gd name="T83" fmla="*/ 2147483647 h 844"/>
                <a:gd name="T84" fmla="*/ 2147483647 w 431"/>
                <a:gd name="T85" fmla="*/ 2147483647 h 844"/>
                <a:gd name="T86" fmla="*/ 2147483647 w 431"/>
                <a:gd name="T87" fmla="*/ 2147483647 h 844"/>
                <a:gd name="T88" fmla="*/ 2147483647 w 431"/>
                <a:gd name="T89" fmla="*/ 2147483647 h 844"/>
                <a:gd name="T90" fmla="*/ 2147483647 w 431"/>
                <a:gd name="T91" fmla="*/ 2147483647 h 844"/>
                <a:gd name="T92" fmla="*/ 2147483647 w 431"/>
                <a:gd name="T93" fmla="*/ 2147483647 h 844"/>
                <a:gd name="T94" fmla="*/ 2147483647 w 431"/>
                <a:gd name="T95" fmla="*/ 2147483647 h 844"/>
                <a:gd name="T96" fmla="*/ 2147483647 w 431"/>
                <a:gd name="T97" fmla="*/ 2147483647 h 844"/>
                <a:gd name="T98" fmla="*/ 2147483647 w 431"/>
                <a:gd name="T99" fmla="*/ 2147483647 h 844"/>
                <a:gd name="T100" fmla="*/ 2147483647 w 431"/>
                <a:gd name="T101" fmla="*/ 0 h 844"/>
                <a:gd name="T102" fmla="*/ 2147483647 w 431"/>
                <a:gd name="T103" fmla="*/ 0 h 844"/>
                <a:gd name="T104" fmla="*/ 2147483647 w 431"/>
                <a:gd name="T105" fmla="*/ 0 h 84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31"/>
                <a:gd name="T160" fmla="*/ 0 h 844"/>
                <a:gd name="T161" fmla="*/ 431 w 431"/>
                <a:gd name="T162" fmla="*/ 844 h 84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31" h="844">
                  <a:moveTo>
                    <a:pt x="144" y="0"/>
                  </a:moveTo>
                  <a:lnTo>
                    <a:pt x="138" y="3"/>
                  </a:lnTo>
                  <a:lnTo>
                    <a:pt x="131" y="11"/>
                  </a:lnTo>
                  <a:lnTo>
                    <a:pt x="125" y="24"/>
                  </a:lnTo>
                  <a:lnTo>
                    <a:pt x="112" y="27"/>
                  </a:lnTo>
                  <a:lnTo>
                    <a:pt x="103" y="32"/>
                  </a:lnTo>
                  <a:lnTo>
                    <a:pt x="88" y="43"/>
                  </a:lnTo>
                  <a:lnTo>
                    <a:pt x="77" y="49"/>
                  </a:lnTo>
                  <a:lnTo>
                    <a:pt x="66" y="60"/>
                  </a:lnTo>
                  <a:lnTo>
                    <a:pt x="55" y="64"/>
                  </a:lnTo>
                  <a:lnTo>
                    <a:pt x="37" y="65"/>
                  </a:lnTo>
                  <a:lnTo>
                    <a:pt x="23" y="67"/>
                  </a:lnTo>
                  <a:lnTo>
                    <a:pt x="9" y="106"/>
                  </a:lnTo>
                  <a:lnTo>
                    <a:pt x="7" y="118"/>
                  </a:lnTo>
                  <a:lnTo>
                    <a:pt x="9" y="128"/>
                  </a:lnTo>
                  <a:lnTo>
                    <a:pt x="0" y="135"/>
                  </a:lnTo>
                  <a:lnTo>
                    <a:pt x="1" y="142"/>
                  </a:lnTo>
                  <a:lnTo>
                    <a:pt x="7" y="159"/>
                  </a:lnTo>
                  <a:lnTo>
                    <a:pt x="17" y="182"/>
                  </a:lnTo>
                  <a:lnTo>
                    <a:pt x="40" y="199"/>
                  </a:lnTo>
                  <a:lnTo>
                    <a:pt x="48" y="209"/>
                  </a:lnTo>
                  <a:lnTo>
                    <a:pt x="50" y="225"/>
                  </a:lnTo>
                  <a:lnTo>
                    <a:pt x="49" y="240"/>
                  </a:lnTo>
                  <a:lnTo>
                    <a:pt x="52" y="252"/>
                  </a:lnTo>
                  <a:lnTo>
                    <a:pt x="61" y="253"/>
                  </a:lnTo>
                  <a:lnTo>
                    <a:pt x="65" y="263"/>
                  </a:lnTo>
                  <a:lnTo>
                    <a:pt x="59" y="269"/>
                  </a:lnTo>
                  <a:lnTo>
                    <a:pt x="53" y="283"/>
                  </a:lnTo>
                  <a:lnTo>
                    <a:pt x="50" y="291"/>
                  </a:lnTo>
                  <a:lnTo>
                    <a:pt x="50" y="304"/>
                  </a:lnTo>
                  <a:lnTo>
                    <a:pt x="47" y="307"/>
                  </a:lnTo>
                  <a:lnTo>
                    <a:pt x="38" y="315"/>
                  </a:lnTo>
                  <a:lnTo>
                    <a:pt x="34" y="323"/>
                  </a:lnTo>
                  <a:lnTo>
                    <a:pt x="33" y="337"/>
                  </a:lnTo>
                  <a:lnTo>
                    <a:pt x="39" y="354"/>
                  </a:lnTo>
                  <a:lnTo>
                    <a:pt x="58" y="366"/>
                  </a:lnTo>
                  <a:lnTo>
                    <a:pt x="76" y="386"/>
                  </a:lnTo>
                  <a:lnTo>
                    <a:pt x="79" y="392"/>
                  </a:lnTo>
                  <a:lnTo>
                    <a:pt x="81" y="401"/>
                  </a:lnTo>
                  <a:lnTo>
                    <a:pt x="82" y="434"/>
                  </a:lnTo>
                  <a:lnTo>
                    <a:pt x="88" y="452"/>
                  </a:lnTo>
                  <a:lnTo>
                    <a:pt x="91" y="454"/>
                  </a:lnTo>
                  <a:lnTo>
                    <a:pt x="96" y="469"/>
                  </a:lnTo>
                  <a:lnTo>
                    <a:pt x="111" y="503"/>
                  </a:lnTo>
                  <a:lnTo>
                    <a:pt x="109" y="510"/>
                  </a:lnTo>
                  <a:lnTo>
                    <a:pt x="91" y="540"/>
                  </a:lnTo>
                  <a:lnTo>
                    <a:pt x="80" y="547"/>
                  </a:lnTo>
                  <a:lnTo>
                    <a:pt x="72" y="559"/>
                  </a:lnTo>
                  <a:lnTo>
                    <a:pt x="70" y="574"/>
                  </a:lnTo>
                  <a:lnTo>
                    <a:pt x="65" y="586"/>
                  </a:lnTo>
                  <a:lnTo>
                    <a:pt x="60" y="594"/>
                  </a:lnTo>
                  <a:lnTo>
                    <a:pt x="59" y="597"/>
                  </a:lnTo>
                  <a:lnTo>
                    <a:pt x="54" y="610"/>
                  </a:lnTo>
                  <a:lnTo>
                    <a:pt x="53" y="618"/>
                  </a:lnTo>
                  <a:lnTo>
                    <a:pt x="39" y="664"/>
                  </a:lnTo>
                  <a:lnTo>
                    <a:pt x="37" y="681"/>
                  </a:lnTo>
                  <a:lnTo>
                    <a:pt x="37" y="696"/>
                  </a:lnTo>
                  <a:lnTo>
                    <a:pt x="40" y="705"/>
                  </a:lnTo>
                  <a:lnTo>
                    <a:pt x="60" y="703"/>
                  </a:lnTo>
                  <a:lnTo>
                    <a:pt x="80" y="725"/>
                  </a:lnTo>
                  <a:lnTo>
                    <a:pt x="86" y="729"/>
                  </a:lnTo>
                  <a:lnTo>
                    <a:pt x="101" y="750"/>
                  </a:lnTo>
                  <a:lnTo>
                    <a:pt x="112" y="759"/>
                  </a:lnTo>
                  <a:lnTo>
                    <a:pt x="118" y="774"/>
                  </a:lnTo>
                  <a:lnTo>
                    <a:pt x="145" y="804"/>
                  </a:lnTo>
                  <a:lnTo>
                    <a:pt x="140" y="788"/>
                  </a:lnTo>
                  <a:lnTo>
                    <a:pt x="152" y="788"/>
                  </a:lnTo>
                  <a:lnTo>
                    <a:pt x="160" y="797"/>
                  </a:lnTo>
                  <a:lnTo>
                    <a:pt x="177" y="800"/>
                  </a:lnTo>
                  <a:lnTo>
                    <a:pt x="187" y="802"/>
                  </a:lnTo>
                  <a:lnTo>
                    <a:pt x="197" y="817"/>
                  </a:lnTo>
                  <a:lnTo>
                    <a:pt x="194" y="833"/>
                  </a:lnTo>
                  <a:lnTo>
                    <a:pt x="198" y="844"/>
                  </a:lnTo>
                  <a:lnTo>
                    <a:pt x="221" y="829"/>
                  </a:lnTo>
                  <a:lnTo>
                    <a:pt x="232" y="831"/>
                  </a:lnTo>
                  <a:lnTo>
                    <a:pt x="243" y="829"/>
                  </a:lnTo>
                  <a:lnTo>
                    <a:pt x="251" y="817"/>
                  </a:lnTo>
                  <a:lnTo>
                    <a:pt x="242" y="804"/>
                  </a:lnTo>
                  <a:lnTo>
                    <a:pt x="230" y="790"/>
                  </a:lnTo>
                  <a:lnTo>
                    <a:pt x="215" y="778"/>
                  </a:lnTo>
                  <a:lnTo>
                    <a:pt x="181" y="773"/>
                  </a:lnTo>
                  <a:lnTo>
                    <a:pt x="168" y="758"/>
                  </a:lnTo>
                  <a:lnTo>
                    <a:pt x="162" y="754"/>
                  </a:lnTo>
                  <a:lnTo>
                    <a:pt x="157" y="745"/>
                  </a:lnTo>
                  <a:lnTo>
                    <a:pt x="151" y="709"/>
                  </a:lnTo>
                  <a:lnTo>
                    <a:pt x="145" y="699"/>
                  </a:lnTo>
                  <a:lnTo>
                    <a:pt x="136" y="691"/>
                  </a:lnTo>
                  <a:lnTo>
                    <a:pt x="131" y="676"/>
                  </a:lnTo>
                  <a:lnTo>
                    <a:pt x="129" y="660"/>
                  </a:lnTo>
                  <a:lnTo>
                    <a:pt x="124" y="649"/>
                  </a:lnTo>
                  <a:lnTo>
                    <a:pt x="114" y="646"/>
                  </a:lnTo>
                  <a:lnTo>
                    <a:pt x="102" y="651"/>
                  </a:lnTo>
                  <a:lnTo>
                    <a:pt x="92" y="649"/>
                  </a:lnTo>
                  <a:lnTo>
                    <a:pt x="88" y="640"/>
                  </a:lnTo>
                  <a:lnTo>
                    <a:pt x="86" y="623"/>
                  </a:lnTo>
                  <a:lnTo>
                    <a:pt x="85" y="607"/>
                  </a:lnTo>
                  <a:lnTo>
                    <a:pt x="85" y="592"/>
                  </a:lnTo>
                  <a:lnTo>
                    <a:pt x="86" y="586"/>
                  </a:lnTo>
                  <a:lnTo>
                    <a:pt x="92" y="578"/>
                  </a:lnTo>
                  <a:lnTo>
                    <a:pt x="93" y="568"/>
                  </a:lnTo>
                  <a:lnTo>
                    <a:pt x="98" y="563"/>
                  </a:lnTo>
                  <a:lnTo>
                    <a:pt x="103" y="553"/>
                  </a:lnTo>
                  <a:lnTo>
                    <a:pt x="103" y="542"/>
                  </a:lnTo>
                  <a:lnTo>
                    <a:pt x="112" y="515"/>
                  </a:lnTo>
                  <a:lnTo>
                    <a:pt x="119" y="501"/>
                  </a:lnTo>
                  <a:lnTo>
                    <a:pt x="126" y="487"/>
                  </a:lnTo>
                  <a:lnTo>
                    <a:pt x="128" y="471"/>
                  </a:lnTo>
                  <a:lnTo>
                    <a:pt x="133" y="439"/>
                  </a:lnTo>
                  <a:lnTo>
                    <a:pt x="129" y="415"/>
                  </a:lnTo>
                  <a:lnTo>
                    <a:pt x="142" y="411"/>
                  </a:lnTo>
                  <a:lnTo>
                    <a:pt x="157" y="409"/>
                  </a:lnTo>
                  <a:lnTo>
                    <a:pt x="161" y="409"/>
                  </a:lnTo>
                  <a:lnTo>
                    <a:pt x="168" y="411"/>
                  </a:lnTo>
                  <a:lnTo>
                    <a:pt x="179" y="414"/>
                  </a:lnTo>
                  <a:lnTo>
                    <a:pt x="182" y="419"/>
                  </a:lnTo>
                  <a:lnTo>
                    <a:pt x="179" y="455"/>
                  </a:lnTo>
                  <a:lnTo>
                    <a:pt x="183" y="462"/>
                  </a:lnTo>
                  <a:lnTo>
                    <a:pt x="187" y="462"/>
                  </a:lnTo>
                  <a:lnTo>
                    <a:pt x="184" y="458"/>
                  </a:lnTo>
                  <a:lnTo>
                    <a:pt x="189" y="458"/>
                  </a:lnTo>
                  <a:lnTo>
                    <a:pt x="212" y="460"/>
                  </a:lnTo>
                  <a:lnTo>
                    <a:pt x="222" y="458"/>
                  </a:lnTo>
                  <a:lnTo>
                    <a:pt x="233" y="461"/>
                  </a:lnTo>
                  <a:lnTo>
                    <a:pt x="251" y="476"/>
                  </a:lnTo>
                  <a:lnTo>
                    <a:pt x="257" y="484"/>
                  </a:lnTo>
                  <a:lnTo>
                    <a:pt x="264" y="488"/>
                  </a:lnTo>
                  <a:lnTo>
                    <a:pt x="270" y="492"/>
                  </a:lnTo>
                  <a:lnTo>
                    <a:pt x="271" y="489"/>
                  </a:lnTo>
                  <a:lnTo>
                    <a:pt x="276" y="493"/>
                  </a:lnTo>
                  <a:lnTo>
                    <a:pt x="285" y="511"/>
                  </a:lnTo>
                  <a:lnTo>
                    <a:pt x="291" y="516"/>
                  </a:lnTo>
                  <a:lnTo>
                    <a:pt x="292" y="510"/>
                  </a:lnTo>
                  <a:lnTo>
                    <a:pt x="292" y="501"/>
                  </a:lnTo>
                  <a:lnTo>
                    <a:pt x="286" y="487"/>
                  </a:lnTo>
                  <a:lnTo>
                    <a:pt x="280" y="473"/>
                  </a:lnTo>
                  <a:lnTo>
                    <a:pt x="265" y="462"/>
                  </a:lnTo>
                  <a:lnTo>
                    <a:pt x="258" y="440"/>
                  </a:lnTo>
                  <a:lnTo>
                    <a:pt x="255" y="429"/>
                  </a:lnTo>
                  <a:lnTo>
                    <a:pt x="258" y="411"/>
                  </a:lnTo>
                  <a:lnTo>
                    <a:pt x="265" y="407"/>
                  </a:lnTo>
                  <a:lnTo>
                    <a:pt x="270" y="396"/>
                  </a:lnTo>
                  <a:lnTo>
                    <a:pt x="278" y="392"/>
                  </a:lnTo>
                  <a:lnTo>
                    <a:pt x="292" y="372"/>
                  </a:lnTo>
                  <a:lnTo>
                    <a:pt x="298" y="366"/>
                  </a:lnTo>
                  <a:lnTo>
                    <a:pt x="307" y="363"/>
                  </a:lnTo>
                  <a:lnTo>
                    <a:pt x="334" y="365"/>
                  </a:lnTo>
                  <a:lnTo>
                    <a:pt x="350" y="368"/>
                  </a:lnTo>
                  <a:lnTo>
                    <a:pt x="368" y="365"/>
                  </a:lnTo>
                  <a:lnTo>
                    <a:pt x="396" y="364"/>
                  </a:lnTo>
                  <a:lnTo>
                    <a:pt x="405" y="374"/>
                  </a:lnTo>
                  <a:lnTo>
                    <a:pt x="416" y="369"/>
                  </a:lnTo>
                  <a:lnTo>
                    <a:pt x="416" y="365"/>
                  </a:lnTo>
                  <a:lnTo>
                    <a:pt x="420" y="365"/>
                  </a:lnTo>
                  <a:lnTo>
                    <a:pt x="427" y="354"/>
                  </a:lnTo>
                  <a:lnTo>
                    <a:pt x="427" y="312"/>
                  </a:lnTo>
                  <a:lnTo>
                    <a:pt x="431" y="302"/>
                  </a:lnTo>
                  <a:lnTo>
                    <a:pt x="430" y="293"/>
                  </a:lnTo>
                  <a:lnTo>
                    <a:pt x="429" y="286"/>
                  </a:lnTo>
                  <a:lnTo>
                    <a:pt x="424" y="280"/>
                  </a:lnTo>
                  <a:lnTo>
                    <a:pt x="416" y="275"/>
                  </a:lnTo>
                  <a:lnTo>
                    <a:pt x="414" y="268"/>
                  </a:lnTo>
                  <a:lnTo>
                    <a:pt x="404" y="267"/>
                  </a:lnTo>
                  <a:lnTo>
                    <a:pt x="397" y="262"/>
                  </a:lnTo>
                  <a:lnTo>
                    <a:pt x="389" y="252"/>
                  </a:lnTo>
                  <a:lnTo>
                    <a:pt x="386" y="241"/>
                  </a:lnTo>
                  <a:lnTo>
                    <a:pt x="387" y="216"/>
                  </a:lnTo>
                  <a:lnTo>
                    <a:pt x="386" y="203"/>
                  </a:lnTo>
                  <a:lnTo>
                    <a:pt x="382" y="191"/>
                  </a:lnTo>
                  <a:lnTo>
                    <a:pt x="377" y="181"/>
                  </a:lnTo>
                  <a:lnTo>
                    <a:pt x="370" y="176"/>
                  </a:lnTo>
                  <a:lnTo>
                    <a:pt x="368" y="169"/>
                  </a:lnTo>
                  <a:lnTo>
                    <a:pt x="360" y="165"/>
                  </a:lnTo>
                  <a:lnTo>
                    <a:pt x="353" y="158"/>
                  </a:lnTo>
                  <a:lnTo>
                    <a:pt x="348" y="150"/>
                  </a:lnTo>
                  <a:lnTo>
                    <a:pt x="335" y="135"/>
                  </a:lnTo>
                  <a:lnTo>
                    <a:pt x="323" y="134"/>
                  </a:lnTo>
                  <a:lnTo>
                    <a:pt x="312" y="135"/>
                  </a:lnTo>
                  <a:lnTo>
                    <a:pt x="301" y="138"/>
                  </a:lnTo>
                  <a:lnTo>
                    <a:pt x="297" y="149"/>
                  </a:lnTo>
                  <a:lnTo>
                    <a:pt x="292" y="153"/>
                  </a:lnTo>
                  <a:lnTo>
                    <a:pt x="285" y="156"/>
                  </a:lnTo>
                  <a:lnTo>
                    <a:pt x="273" y="162"/>
                  </a:lnTo>
                  <a:lnTo>
                    <a:pt x="264" y="162"/>
                  </a:lnTo>
                  <a:lnTo>
                    <a:pt x="255" y="156"/>
                  </a:lnTo>
                  <a:lnTo>
                    <a:pt x="249" y="146"/>
                  </a:lnTo>
                  <a:lnTo>
                    <a:pt x="242" y="144"/>
                  </a:lnTo>
                  <a:lnTo>
                    <a:pt x="233" y="146"/>
                  </a:lnTo>
                  <a:lnTo>
                    <a:pt x="220" y="151"/>
                  </a:lnTo>
                  <a:lnTo>
                    <a:pt x="208" y="164"/>
                  </a:lnTo>
                  <a:lnTo>
                    <a:pt x="195" y="169"/>
                  </a:lnTo>
                  <a:lnTo>
                    <a:pt x="188" y="178"/>
                  </a:lnTo>
                  <a:lnTo>
                    <a:pt x="183" y="182"/>
                  </a:lnTo>
                  <a:lnTo>
                    <a:pt x="184" y="177"/>
                  </a:lnTo>
                  <a:lnTo>
                    <a:pt x="181" y="164"/>
                  </a:lnTo>
                  <a:lnTo>
                    <a:pt x="185" y="150"/>
                  </a:lnTo>
                  <a:lnTo>
                    <a:pt x="188" y="126"/>
                  </a:lnTo>
                  <a:lnTo>
                    <a:pt x="193" y="115"/>
                  </a:lnTo>
                  <a:lnTo>
                    <a:pt x="193" y="106"/>
                  </a:lnTo>
                  <a:lnTo>
                    <a:pt x="194" y="97"/>
                  </a:lnTo>
                  <a:lnTo>
                    <a:pt x="190" y="81"/>
                  </a:lnTo>
                  <a:lnTo>
                    <a:pt x="194" y="64"/>
                  </a:lnTo>
                  <a:lnTo>
                    <a:pt x="190" y="60"/>
                  </a:lnTo>
                  <a:lnTo>
                    <a:pt x="169" y="60"/>
                  </a:lnTo>
                  <a:lnTo>
                    <a:pt x="163" y="59"/>
                  </a:lnTo>
                  <a:lnTo>
                    <a:pt x="161" y="58"/>
                  </a:lnTo>
                  <a:lnTo>
                    <a:pt x="161" y="40"/>
                  </a:lnTo>
                  <a:lnTo>
                    <a:pt x="158" y="25"/>
                  </a:lnTo>
                  <a:lnTo>
                    <a:pt x="152" y="16"/>
                  </a:lnTo>
                  <a:lnTo>
                    <a:pt x="149" y="11"/>
                  </a:lnTo>
                  <a:lnTo>
                    <a:pt x="142" y="14"/>
                  </a:lnTo>
                  <a:lnTo>
                    <a:pt x="140" y="8"/>
                  </a:lnTo>
                  <a:lnTo>
                    <a:pt x="141" y="0"/>
                  </a:lnTo>
                  <a:lnTo>
                    <a:pt x="144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97" name="Freeform 94">
              <a:extLst>
                <a:ext uri="{FF2B5EF4-FFF2-40B4-BE49-F238E27FC236}">
                  <a16:creationId xmlns:a16="http://schemas.microsoft.com/office/drawing/2014/main" id="{7E798E38-48C7-2BDC-8BFA-2A9352C3F69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472819" y="3424941"/>
              <a:ext cx="258176" cy="597493"/>
            </a:xfrm>
            <a:custGeom>
              <a:avLst/>
              <a:gdLst>
                <a:gd name="T0" fmla="*/ 2147483647 w 489"/>
                <a:gd name="T1" fmla="*/ 2147483647 h 1050"/>
                <a:gd name="T2" fmla="*/ 2147483647 w 489"/>
                <a:gd name="T3" fmla="*/ 2147483647 h 1050"/>
                <a:gd name="T4" fmla="*/ 2147483647 w 489"/>
                <a:gd name="T5" fmla="*/ 2147483647 h 1050"/>
                <a:gd name="T6" fmla="*/ 2147483647 w 489"/>
                <a:gd name="T7" fmla="*/ 2147483647 h 1050"/>
                <a:gd name="T8" fmla="*/ 2147483647 w 489"/>
                <a:gd name="T9" fmla="*/ 2147483647 h 1050"/>
                <a:gd name="T10" fmla="*/ 0 w 489"/>
                <a:gd name="T11" fmla="*/ 2147483647 h 1050"/>
                <a:gd name="T12" fmla="*/ 0 w 489"/>
                <a:gd name="T13" fmla="*/ 2147483647 h 1050"/>
                <a:gd name="T14" fmla="*/ 0 w 489"/>
                <a:gd name="T15" fmla="*/ 2147483647 h 1050"/>
                <a:gd name="T16" fmla="*/ 0 w 489"/>
                <a:gd name="T17" fmla="*/ 2147483647 h 1050"/>
                <a:gd name="T18" fmla="*/ 0 w 489"/>
                <a:gd name="T19" fmla="*/ 2147483647 h 1050"/>
                <a:gd name="T20" fmla="*/ 0 w 489"/>
                <a:gd name="T21" fmla="*/ 2147483647 h 1050"/>
                <a:gd name="T22" fmla="*/ 2147483647 w 489"/>
                <a:gd name="T23" fmla="*/ 2147483647 h 1050"/>
                <a:gd name="T24" fmla="*/ 2147483647 w 489"/>
                <a:gd name="T25" fmla="*/ 2147483647 h 1050"/>
                <a:gd name="T26" fmla="*/ 2147483647 w 489"/>
                <a:gd name="T27" fmla="*/ 2147483647 h 1050"/>
                <a:gd name="T28" fmla="*/ 2147483647 w 489"/>
                <a:gd name="T29" fmla="*/ 2147483647 h 1050"/>
                <a:gd name="T30" fmla="*/ 2147483647 w 489"/>
                <a:gd name="T31" fmla="*/ 2147483647 h 1050"/>
                <a:gd name="T32" fmla="*/ 2147483647 w 489"/>
                <a:gd name="T33" fmla="*/ 0 h 1050"/>
                <a:gd name="T34" fmla="*/ 2147483647 w 489"/>
                <a:gd name="T35" fmla="*/ 0 h 1050"/>
                <a:gd name="T36" fmla="*/ 2147483647 w 489"/>
                <a:gd name="T37" fmla="*/ 0 h 1050"/>
                <a:gd name="T38" fmla="*/ 2147483647 w 489"/>
                <a:gd name="T39" fmla="*/ 0 h 1050"/>
                <a:gd name="T40" fmla="*/ 2147483647 w 489"/>
                <a:gd name="T41" fmla="*/ 2147483647 h 1050"/>
                <a:gd name="T42" fmla="*/ 2147483647 w 489"/>
                <a:gd name="T43" fmla="*/ 2147483647 h 1050"/>
                <a:gd name="T44" fmla="*/ 2147483647 w 489"/>
                <a:gd name="T45" fmla="*/ 2147483647 h 1050"/>
                <a:gd name="T46" fmla="*/ 2147483647 w 489"/>
                <a:gd name="T47" fmla="*/ 2147483647 h 1050"/>
                <a:gd name="T48" fmla="*/ 2147483647 w 489"/>
                <a:gd name="T49" fmla="*/ 2147483647 h 1050"/>
                <a:gd name="T50" fmla="*/ 2147483647 w 489"/>
                <a:gd name="T51" fmla="*/ 2147483647 h 1050"/>
                <a:gd name="T52" fmla="*/ 2147483647 w 489"/>
                <a:gd name="T53" fmla="*/ 2147483647 h 1050"/>
                <a:gd name="T54" fmla="*/ 2147483647 w 489"/>
                <a:gd name="T55" fmla="*/ 2147483647 h 1050"/>
                <a:gd name="T56" fmla="*/ 2147483647 w 489"/>
                <a:gd name="T57" fmla="*/ 2147483647 h 1050"/>
                <a:gd name="T58" fmla="*/ 2147483647 w 489"/>
                <a:gd name="T59" fmla="*/ 2147483647 h 1050"/>
                <a:gd name="T60" fmla="*/ 2147483647 w 489"/>
                <a:gd name="T61" fmla="*/ 2147483647 h 1050"/>
                <a:gd name="T62" fmla="*/ 2147483647 w 489"/>
                <a:gd name="T63" fmla="*/ 2147483647 h 1050"/>
                <a:gd name="T64" fmla="*/ 2147483647 w 489"/>
                <a:gd name="T65" fmla="*/ 2147483647 h 1050"/>
                <a:gd name="T66" fmla="*/ 2147483647 w 489"/>
                <a:gd name="T67" fmla="*/ 2147483647 h 1050"/>
                <a:gd name="T68" fmla="*/ 2147483647 w 489"/>
                <a:gd name="T69" fmla="*/ 2147483647 h 1050"/>
                <a:gd name="T70" fmla="*/ 2147483647 w 489"/>
                <a:gd name="T71" fmla="*/ 2147483647 h 1050"/>
                <a:gd name="T72" fmla="*/ 2147483647 w 489"/>
                <a:gd name="T73" fmla="*/ 2147483647 h 1050"/>
                <a:gd name="T74" fmla="*/ 2147483647 w 489"/>
                <a:gd name="T75" fmla="*/ 2147483647 h 1050"/>
                <a:gd name="T76" fmla="*/ 2147483647 w 489"/>
                <a:gd name="T77" fmla="*/ 2147483647 h 1050"/>
                <a:gd name="T78" fmla="*/ 2147483647 w 489"/>
                <a:gd name="T79" fmla="*/ 2147483647 h 1050"/>
                <a:gd name="T80" fmla="*/ 2147483647 w 489"/>
                <a:gd name="T81" fmla="*/ 2147483647 h 1050"/>
                <a:gd name="T82" fmla="*/ 2147483647 w 489"/>
                <a:gd name="T83" fmla="*/ 2147483647 h 1050"/>
                <a:gd name="T84" fmla="*/ 2147483647 w 489"/>
                <a:gd name="T85" fmla="*/ 2147483647 h 1050"/>
                <a:gd name="T86" fmla="*/ 2147483647 w 489"/>
                <a:gd name="T87" fmla="*/ 2147483647 h 1050"/>
                <a:gd name="T88" fmla="*/ 2147483647 w 489"/>
                <a:gd name="T89" fmla="*/ 2147483647 h 1050"/>
                <a:gd name="T90" fmla="*/ 2147483647 w 489"/>
                <a:gd name="T91" fmla="*/ 2147483647 h 1050"/>
                <a:gd name="T92" fmla="*/ 2147483647 w 489"/>
                <a:gd name="T93" fmla="*/ 2147483647 h 1050"/>
                <a:gd name="T94" fmla="*/ 2147483647 w 489"/>
                <a:gd name="T95" fmla="*/ 2147483647 h 1050"/>
                <a:gd name="T96" fmla="*/ 2147483647 w 489"/>
                <a:gd name="T97" fmla="*/ 2147483647 h 1050"/>
                <a:gd name="T98" fmla="*/ 2147483647 w 489"/>
                <a:gd name="T99" fmla="*/ 2147483647 h 1050"/>
                <a:gd name="T100" fmla="*/ 2147483647 w 489"/>
                <a:gd name="T101" fmla="*/ 2147483647 h 1050"/>
                <a:gd name="T102" fmla="*/ 2147483647 w 489"/>
                <a:gd name="T103" fmla="*/ 2147483647 h 1050"/>
                <a:gd name="T104" fmla="*/ 2147483647 w 489"/>
                <a:gd name="T105" fmla="*/ 2147483647 h 1050"/>
                <a:gd name="T106" fmla="*/ 2147483647 w 489"/>
                <a:gd name="T107" fmla="*/ 2147483647 h 1050"/>
                <a:gd name="T108" fmla="*/ 2147483647 w 489"/>
                <a:gd name="T109" fmla="*/ 2147483647 h 1050"/>
                <a:gd name="T110" fmla="*/ 2147483647 w 489"/>
                <a:gd name="T111" fmla="*/ 2147483647 h 1050"/>
                <a:gd name="T112" fmla="*/ 2147483647 w 489"/>
                <a:gd name="T113" fmla="*/ 2147483647 h 105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89"/>
                <a:gd name="T172" fmla="*/ 0 h 1050"/>
                <a:gd name="T173" fmla="*/ 489 w 489"/>
                <a:gd name="T174" fmla="*/ 1050 h 105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89" h="1050">
                  <a:moveTo>
                    <a:pt x="112" y="704"/>
                  </a:moveTo>
                  <a:lnTo>
                    <a:pt x="117" y="690"/>
                  </a:lnTo>
                  <a:lnTo>
                    <a:pt x="119" y="673"/>
                  </a:lnTo>
                  <a:lnTo>
                    <a:pt x="125" y="657"/>
                  </a:lnTo>
                  <a:lnTo>
                    <a:pt x="125" y="638"/>
                  </a:lnTo>
                  <a:lnTo>
                    <a:pt x="121" y="607"/>
                  </a:lnTo>
                  <a:lnTo>
                    <a:pt x="117" y="599"/>
                  </a:lnTo>
                  <a:lnTo>
                    <a:pt x="116" y="592"/>
                  </a:lnTo>
                  <a:lnTo>
                    <a:pt x="109" y="580"/>
                  </a:lnTo>
                  <a:lnTo>
                    <a:pt x="95" y="556"/>
                  </a:lnTo>
                  <a:lnTo>
                    <a:pt x="92" y="545"/>
                  </a:lnTo>
                  <a:lnTo>
                    <a:pt x="89" y="559"/>
                  </a:lnTo>
                  <a:lnTo>
                    <a:pt x="78" y="553"/>
                  </a:lnTo>
                  <a:lnTo>
                    <a:pt x="71" y="539"/>
                  </a:lnTo>
                  <a:lnTo>
                    <a:pt x="74" y="531"/>
                  </a:lnTo>
                  <a:lnTo>
                    <a:pt x="85" y="536"/>
                  </a:lnTo>
                  <a:lnTo>
                    <a:pt x="84" y="531"/>
                  </a:lnTo>
                  <a:lnTo>
                    <a:pt x="76" y="525"/>
                  </a:lnTo>
                  <a:lnTo>
                    <a:pt x="79" y="518"/>
                  </a:lnTo>
                  <a:lnTo>
                    <a:pt x="78" y="512"/>
                  </a:lnTo>
                  <a:lnTo>
                    <a:pt x="38" y="493"/>
                  </a:lnTo>
                  <a:lnTo>
                    <a:pt x="37" y="482"/>
                  </a:lnTo>
                  <a:lnTo>
                    <a:pt x="28" y="479"/>
                  </a:lnTo>
                  <a:lnTo>
                    <a:pt x="22" y="470"/>
                  </a:lnTo>
                  <a:lnTo>
                    <a:pt x="21" y="474"/>
                  </a:lnTo>
                  <a:lnTo>
                    <a:pt x="14" y="468"/>
                  </a:lnTo>
                  <a:lnTo>
                    <a:pt x="10" y="458"/>
                  </a:lnTo>
                  <a:lnTo>
                    <a:pt x="0" y="443"/>
                  </a:lnTo>
                  <a:lnTo>
                    <a:pt x="1" y="425"/>
                  </a:lnTo>
                  <a:lnTo>
                    <a:pt x="3" y="418"/>
                  </a:lnTo>
                  <a:lnTo>
                    <a:pt x="7" y="413"/>
                  </a:lnTo>
                  <a:lnTo>
                    <a:pt x="19" y="416"/>
                  </a:lnTo>
                  <a:lnTo>
                    <a:pt x="17" y="387"/>
                  </a:lnTo>
                  <a:lnTo>
                    <a:pt x="19" y="384"/>
                  </a:lnTo>
                  <a:lnTo>
                    <a:pt x="22" y="381"/>
                  </a:lnTo>
                  <a:lnTo>
                    <a:pt x="27" y="376"/>
                  </a:lnTo>
                  <a:lnTo>
                    <a:pt x="36" y="378"/>
                  </a:lnTo>
                  <a:lnTo>
                    <a:pt x="41" y="377"/>
                  </a:lnTo>
                  <a:lnTo>
                    <a:pt x="46" y="371"/>
                  </a:lnTo>
                  <a:lnTo>
                    <a:pt x="47" y="365"/>
                  </a:lnTo>
                  <a:lnTo>
                    <a:pt x="44" y="365"/>
                  </a:lnTo>
                  <a:lnTo>
                    <a:pt x="41" y="355"/>
                  </a:lnTo>
                  <a:lnTo>
                    <a:pt x="41" y="339"/>
                  </a:lnTo>
                  <a:lnTo>
                    <a:pt x="42" y="326"/>
                  </a:lnTo>
                  <a:lnTo>
                    <a:pt x="53" y="327"/>
                  </a:lnTo>
                  <a:lnTo>
                    <a:pt x="57" y="322"/>
                  </a:lnTo>
                  <a:lnTo>
                    <a:pt x="60" y="302"/>
                  </a:lnTo>
                  <a:lnTo>
                    <a:pt x="59" y="276"/>
                  </a:lnTo>
                  <a:lnTo>
                    <a:pt x="66" y="269"/>
                  </a:lnTo>
                  <a:lnTo>
                    <a:pt x="80" y="265"/>
                  </a:lnTo>
                  <a:lnTo>
                    <a:pt x="93" y="268"/>
                  </a:lnTo>
                  <a:lnTo>
                    <a:pt x="101" y="268"/>
                  </a:lnTo>
                  <a:lnTo>
                    <a:pt x="106" y="263"/>
                  </a:lnTo>
                  <a:lnTo>
                    <a:pt x="112" y="243"/>
                  </a:lnTo>
                  <a:lnTo>
                    <a:pt x="130" y="208"/>
                  </a:lnTo>
                  <a:lnTo>
                    <a:pt x="134" y="197"/>
                  </a:lnTo>
                  <a:lnTo>
                    <a:pt x="132" y="187"/>
                  </a:lnTo>
                  <a:lnTo>
                    <a:pt x="138" y="178"/>
                  </a:lnTo>
                  <a:lnTo>
                    <a:pt x="154" y="167"/>
                  </a:lnTo>
                  <a:lnTo>
                    <a:pt x="160" y="155"/>
                  </a:lnTo>
                  <a:lnTo>
                    <a:pt x="159" y="127"/>
                  </a:lnTo>
                  <a:lnTo>
                    <a:pt x="166" y="111"/>
                  </a:lnTo>
                  <a:lnTo>
                    <a:pt x="179" y="100"/>
                  </a:lnTo>
                  <a:lnTo>
                    <a:pt x="194" y="92"/>
                  </a:lnTo>
                  <a:lnTo>
                    <a:pt x="204" y="84"/>
                  </a:lnTo>
                  <a:lnTo>
                    <a:pt x="211" y="70"/>
                  </a:lnTo>
                  <a:lnTo>
                    <a:pt x="231" y="66"/>
                  </a:lnTo>
                  <a:lnTo>
                    <a:pt x="242" y="63"/>
                  </a:lnTo>
                  <a:lnTo>
                    <a:pt x="258" y="68"/>
                  </a:lnTo>
                  <a:lnTo>
                    <a:pt x="263" y="63"/>
                  </a:lnTo>
                  <a:lnTo>
                    <a:pt x="259" y="47"/>
                  </a:lnTo>
                  <a:lnTo>
                    <a:pt x="264" y="33"/>
                  </a:lnTo>
                  <a:lnTo>
                    <a:pt x="275" y="28"/>
                  </a:lnTo>
                  <a:lnTo>
                    <a:pt x="281" y="21"/>
                  </a:lnTo>
                  <a:lnTo>
                    <a:pt x="281" y="9"/>
                  </a:lnTo>
                  <a:lnTo>
                    <a:pt x="290" y="5"/>
                  </a:lnTo>
                  <a:lnTo>
                    <a:pt x="294" y="0"/>
                  </a:lnTo>
                  <a:lnTo>
                    <a:pt x="297" y="0"/>
                  </a:lnTo>
                  <a:lnTo>
                    <a:pt x="310" y="6"/>
                  </a:lnTo>
                  <a:lnTo>
                    <a:pt x="322" y="20"/>
                  </a:lnTo>
                  <a:lnTo>
                    <a:pt x="326" y="37"/>
                  </a:lnTo>
                  <a:lnTo>
                    <a:pt x="331" y="45"/>
                  </a:lnTo>
                  <a:lnTo>
                    <a:pt x="347" y="47"/>
                  </a:lnTo>
                  <a:lnTo>
                    <a:pt x="354" y="79"/>
                  </a:lnTo>
                  <a:lnTo>
                    <a:pt x="355" y="100"/>
                  </a:lnTo>
                  <a:lnTo>
                    <a:pt x="351" y="128"/>
                  </a:lnTo>
                  <a:lnTo>
                    <a:pt x="351" y="136"/>
                  </a:lnTo>
                  <a:lnTo>
                    <a:pt x="342" y="163"/>
                  </a:lnTo>
                  <a:lnTo>
                    <a:pt x="333" y="174"/>
                  </a:lnTo>
                  <a:lnTo>
                    <a:pt x="326" y="177"/>
                  </a:lnTo>
                  <a:lnTo>
                    <a:pt x="322" y="187"/>
                  </a:lnTo>
                  <a:lnTo>
                    <a:pt x="311" y="198"/>
                  </a:lnTo>
                  <a:lnTo>
                    <a:pt x="307" y="217"/>
                  </a:lnTo>
                  <a:lnTo>
                    <a:pt x="301" y="231"/>
                  </a:lnTo>
                  <a:lnTo>
                    <a:pt x="305" y="247"/>
                  </a:lnTo>
                  <a:lnTo>
                    <a:pt x="304" y="256"/>
                  </a:lnTo>
                  <a:lnTo>
                    <a:pt x="294" y="273"/>
                  </a:lnTo>
                  <a:lnTo>
                    <a:pt x="299" y="278"/>
                  </a:lnTo>
                  <a:lnTo>
                    <a:pt x="312" y="264"/>
                  </a:lnTo>
                  <a:lnTo>
                    <a:pt x="323" y="258"/>
                  </a:lnTo>
                  <a:lnTo>
                    <a:pt x="342" y="257"/>
                  </a:lnTo>
                  <a:lnTo>
                    <a:pt x="361" y="256"/>
                  </a:lnTo>
                  <a:lnTo>
                    <a:pt x="361" y="267"/>
                  </a:lnTo>
                  <a:lnTo>
                    <a:pt x="366" y="281"/>
                  </a:lnTo>
                  <a:lnTo>
                    <a:pt x="367" y="301"/>
                  </a:lnTo>
                  <a:lnTo>
                    <a:pt x="381" y="311"/>
                  </a:lnTo>
                  <a:lnTo>
                    <a:pt x="397" y="319"/>
                  </a:lnTo>
                  <a:lnTo>
                    <a:pt x="391" y="346"/>
                  </a:lnTo>
                  <a:lnTo>
                    <a:pt x="387" y="366"/>
                  </a:lnTo>
                  <a:lnTo>
                    <a:pt x="402" y="369"/>
                  </a:lnTo>
                  <a:lnTo>
                    <a:pt x="420" y="375"/>
                  </a:lnTo>
                  <a:lnTo>
                    <a:pt x="423" y="387"/>
                  </a:lnTo>
                  <a:lnTo>
                    <a:pt x="441" y="404"/>
                  </a:lnTo>
                  <a:lnTo>
                    <a:pt x="461" y="402"/>
                  </a:lnTo>
                  <a:lnTo>
                    <a:pt x="476" y="389"/>
                  </a:lnTo>
                  <a:lnTo>
                    <a:pt x="488" y="391"/>
                  </a:lnTo>
                  <a:lnTo>
                    <a:pt x="489" y="397"/>
                  </a:lnTo>
                  <a:lnTo>
                    <a:pt x="488" y="402"/>
                  </a:lnTo>
                  <a:lnTo>
                    <a:pt x="483" y="409"/>
                  </a:lnTo>
                  <a:lnTo>
                    <a:pt x="456" y="427"/>
                  </a:lnTo>
                  <a:lnTo>
                    <a:pt x="456" y="432"/>
                  </a:lnTo>
                  <a:lnTo>
                    <a:pt x="458" y="440"/>
                  </a:lnTo>
                  <a:lnTo>
                    <a:pt x="452" y="441"/>
                  </a:lnTo>
                  <a:lnTo>
                    <a:pt x="445" y="443"/>
                  </a:lnTo>
                  <a:lnTo>
                    <a:pt x="440" y="447"/>
                  </a:lnTo>
                  <a:lnTo>
                    <a:pt x="439" y="453"/>
                  </a:lnTo>
                  <a:lnTo>
                    <a:pt x="433" y="456"/>
                  </a:lnTo>
                  <a:lnTo>
                    <a:pt x="426" y="464"/>
                  </a:lnTo>
                  <a:lnTo>
                    <a:pt x="420" y="477"/>
                  </a:lnTo>
                  <a:lnTo>
                    <a:pt x="407" y="480"/>
                  </a:lnTo>
                  <a:lnTo>
                    <a:pt x="398" y="485"/>
                  </a:lnTo>
                  <a:lnTo>
                    <a:pt x="383" y="496"/>
                  </a:lnTo>
                  <a:lnTo>
                    <a:pt x="372" y="502"/>
                  </a:lnTo>
                  <a:lnTo>
                    <a:pt x="361" y="513"/>
                  </a:lnTo>
                  <a:lnTo>
                    <a:pt x="350" y="517"/>
                  </a:lnTo>
                  <a:lnTo>
                    <a:pt x="332" y="518"/>
                  </a:lnTo>
                  <a:lnTo>
                    <a:pt x="318" y="520"/>
                  </a:lnTo>
                  <a:lnTo>
                    <a:pt x="304" y="559"/>
                  </a:lnTo>
                  <a:lnTo>
                    <a:pt x="302" y="571"/>
                  </a:lnTo>
                  <a:lnTo>
                    <a:pt x="304" y="581"/>
                  </a:lnTo>
                  <a:lnTo>
                    <a:pt x="295" y="588"/>
                  </a:lnTo>
                  <a:lnTo>
                    <a:pt x="296" y="595"/>
                  </a:lnTo>
                  <a:lnTo>
                    <a:pt x="302" y="612"/>
                  </a:lnTo>
                  <a:lnTo>
                    <a:pt x="312" y="635"/>
                  </a:lnTo>
                  <a:lnTo>
                    <a:pt x="335" y="652"/>
                  </a:lnTo>
                  <a:lnTo>
                    <a:pt x="343" y="662"/>
                  </a:lnTo>
                  <a:lnTo>
                    <a:pt x="345" y="678"/>
                  </a:lnTo>
                  <a:lnTo>
                    <a:pt x="344" y="693"/>
                  </a:lnTo>
                  <a:lnTo>
                    <a:pt x="347" y="705"/>
                  </a:lnTo>
                  <a:lnTo>
                    <a:pt x="356" y="706"/>
                  </a:lnTo>
                  <a:lnTo>
                    <a:pt x="360" y="716"/>
                  </a:lnTo>
                  <a:lnTo>
                    <a:pt x="354" y="722"/>
                  </a:lnTo>
                  <a:lnTo>
                    <a:pt x="348" y="736"/>
                  </a:lnTo>
                  <a:lnTo>
                    <a:pt x="345" y="744"/>
                  </a:lnTo>
                  <a:lnTo>
                    <a:pt x="345" y="757"/>
                  </a:lnTo>
                  <a:lnTo>
                    <a:pt x="342" y="760"/>
                  </a:lnTo>
                  <a:lnTo>
                    <a:pt x="333" y="768"/>
                  </a:lnTo>
                  <a:lnTo>
                    <a:pt x="329" y="776"/>
                  </a:lnTo>
                  <a:lnTo>
                    <a:pt x="328" y="790"/>
                  </a:lnTo>
                  <a:lnTo>
                    <a:pt x="334" y="807"/>
                  </a:lnTo>
                  <a:lnTo>
                    <a:pt x="353" y="819"/>
                  </a:lnTo>
                  <a:lnTo>
                    <a:pt x="371" y="839"/>
                  </a:lnTo>
                  <a:lnTo>
                    <a:pt x="374" y="845"/>
                  </a:lnTo>
                  <a:lnTo>
                    <a:pt x="376" y="854"/>
                  </a:lnTo>
                  <a:lnTo>
                    <a:pt x="377" y="887"/>
                  </a:lnTo>
                  <a:lnTo>
                    <a:pt x="383" y="905"/>
                  </a:lnTo>
                  <a:lnTo>
                    <a:pt x="386" y="907"/>
                  </a:lnTo>
                  <a:lnTo>
                    <a:pt x="391" y="922"/>
                  </a:lnTo>
                  <a:lnTo>
                    <a:pt x="406" y="956"/>
                  </a:lnTo>
                  <a:lnTo>
                    <a:pt x="404" y="963"/>
                  </a:lnTo>
                  <a:lnTo>
                    <a:pt x="386" y="993"/>
                  </a:lnTo>
                  <a:lnTo>
                    <a:pt x="375" y="1000"/>
                  </a:lnTo>
                  <a:lnTo>
                    <a:pt x="367" y="1012"/>
                  </a:lnTo>
                  <a:lnTo>
                    <a:pt x="365" y="1027"/>
                  </a:lnTo>
                  <a:lnTo>
                    <a:pt x="360" y="1039"/>
                  </a:lnTo>
                  <a:lnTo>
                    <a:pt x="355" y="1047"/>
                  </a:lnTo>
                  <a:lnTo>
                    <a:pt x="354" y="1050"/>
                  </a:lnTo>
                  <a:lnTo>
                    <a:pt x="344" y="1043"/>
                  </a:lnTo>
                  <a:lnTo>
                    <a:pt x="345" y="1031"/>
                  </a:lnTo>
                  <a:lnTo>
                    <a:pt x="349" y="1017"/>
                  </a:lnTo>
                  <a:lnTo>
                    <a:pt x="359" y="993"/>
                  </a:lnTo>
                  <a:lnTo>
                    <a:pt x="359" y="981"/>
                  </a:lnTo>
                  <a:lnTo>
                    <a:pt x="361" y="964"/>
                  </a:lnTo>
                  <a:lnTo>
                    <a:pt x="351" y="958"/>
                  </a:lnTo>
                  <a:lnTo>
                    <a:pt x="344" y="953"/>
                  </a:lnTo>
                  <a:lnTo>
                    <a:pt x="345" y="946"/>
                  </a:lnTo>
                  <a:lnTo>
                    <a:pt x="354" y="947"/>
                  </a:lnTo>
                  <a:lnTo>
                    <a:pt x="351" y="937"/>
                  </a:lnTo>
                  <a:lnTo>
                    <a:pt x="354" y="924"/>
                  </a:lnTo>
                  <a:lnTo>
                    <a:pt x="349" y="897"/>
                  </a:lnTo>
                  <a:lnTo>
                    <a:pt x="338" y="870"/>
                  </a:lnTo>
                  <a:lnTo>
                    <a:pt x="333" y="851"/>
                  </a:lnTo>
                  <a:lnTo>
                    <a:pt x="329" y="855"/>
                  </a:lnTo>
                  <a:lnTo>
                    <a:pt x="327" y="860"/>
                  </a:lnTo>
                  <a:lnTo>
                    <a:pt x="322" y="844"/>
                  </a:lnTo>
                  <a:lnTo>
                    <a:pt x="317" y="821"/>
                  </a:lnTo>
                  <a:lnTo>
                    <a:pt x="311" y="805"/>
                  </a:lnTo>
                  <a:lnTo>
                    <a:pt x="306" y="784"/>
                  </a:lnTo>
                  <a:lnTo>
                    <a:pt x="301" y="759"/>
                  </a:lnTo>
                  <a:lnTo>
                    <a:pt x="297" y="721"/>
                  </a:lnTo>
                  <a:lnTo>
                    <a:pt x="299" y="695"/>
                  </a:lnTo>
                  <a:lnTo>
                    <a:pt x="295" y="695"/>
                  </a:lnTo>
                  <a:lnTo>
                    <a:pt x="291" y="694"/>
                  </a:lnTo>
                  <a:lnTo>
                    <a:pt x="279" y="688"/>
                  </a:lnTo>
                  <a:lnTo>
                    <a:pt x="269" y="679"/>
                  </a:lnTo>
                  <a:lnTo>
                    <a:pt x="262" y="671"/>
                  </a:lnTo>
                  <a:lnTo>
                    <a:pt x="254" y="673"/>
                  </a:lnTo>
                  <a:lnTo>
                    <a:pt x="251" y="653"/>
                  </a:lnTo>
                  <a:lnTo>
                    <a:pt x="246" y="642"/>
                  </a:lnTo>
                  <a:lnTo>
                    <a:pt x="246" y="662"/>
                  </a:lnTo>
                  <a:lnTo>
                    <a:pt x="241" y="685"/>
                  </a:lnTo>
                  <a:lnTo>
                    <a:pt x="226" y="693"/>
                  </a:lnTo>
                  <a:lnTo>
                    <a:pt x="211" y="700"/>
                  </a:lnTo>
                  <a:lnTo>
                    <a:pt x="200" y="710"/>
                  </a:lnTo>
                  <a:lnTo>
                    <a:pt x="189" y="717"/>
                  </a:lnTo>
                  <a:lnTo>
                    <a:pt x="179" y="726"/>
                  </a:lnTo>
                  <a:lnTo>
                    <a:pt x="170" y="738"/>
                  </a:lnTo>
                  <a:lnTo>
                    <a:pt x="165" y="733"/>
                  </a:lnTo>
                  <a:lnTo>
                    <a:pt x="159" y="735"/>
                  </a:lnTo>
                  <a:lnTo>
                    <a:pt x="154" y="728"/>
                  </a:lnTo>
                  <a:lnTo>
                    <a:pt x="146" y="738"/>
                  </a:lnTo>
                  <a:lnTo>
                    <a:pt x="136" y="733"/>
                  </a:lnTo>
                  <a:lnTo>
                    <a:pt x="127" y="730"/>
                  </a:lnTo>
                  <a:lnTo>
                    <a:pt x="122" y="726"/>
                  </a:lnTo>
                  <a:lnTo>
                    <a:pt x="125" y="717"/>
                  </a:lnTo>
                  <a:lnTo>
                    <a:pt x="116" y="725"/>
                  </a:lnTo>
                  <a:lnTo>
                    <a:pt x="109" y="721"/>
                  </a:lnTo>
                  <a:lnTo>
                    <a:pt x="112" y="70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98" name="Freeform 95">
              <a:extLst>
                <a:ext uri="{FF2B5EF4-FFF2-40B4-BE49-F238E27FC236}">
                  <a16:creationId xmlns:a16="http://schemas.microsoft.com/office/drawing/2014/main" id="{098C65EF-4FFE-DED7-8592-C24C73E15E5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766811" y="3879158"/>
              <a:ext cx="153711" cy="135656"/>
            </a:xfrm>
            <a:custGeom>
              <a:avLst/>
              <a:gdLst>
                <a:gd name="T0" fmla="*/ 2147483647 w 290"/>
                <a:gd name="T1" fmla="*/ 2147483647 h 237"/>
                <a:gd name="T2" fmla="*/ 2147483647 w 290"/>
                <a:gd name="T3" fmla="*/ 2147483647 h 237"/>
                <a:gd name="T4" fmla="*/ 2147483647 w 290"/>
                <a:gd name="T5" fmla="*/ 2147483647 h 237"/>
                <a:gd name="T6" fmla="*/ 2147483647 w 290"/>
                <a:gd name="T7" fmla="*/ 2147483647 h 237"/>
                <a:gd name="T8" fmla="*/ 2147483647 w 290"/>
                <a:gd name="T9" fmla="*/ 2147483647 h 237"/>
                <a:gd name="T10" fmla="*/ 2147483647 w 290"/>
                <a:gd name="T11" fmla="*/ 2147483647 h 237"/>
                <a:gd name="T12" fmla="*/ 2147483647 w 290"/>
                <a:gd name="T13" fmla="*/ 2147483647 h 237"/>
                <a:gd name="T14" fmla="*/ 0 w 290"/>
                <a:gd name="T15" fmla="*/ 2147483647 h 237"/>
                <a:gd name="T16" fmla="*/ 0 w 290"/>
                <a:gd name="T17" fmla="*/ 2147483647 h 237"/>
                <a:gd name="T18" fmla="*/ 0 w 290"/>
                <a:gd name="T19" fmla="*/ 2147483647 h 237"/>
                <a:gd name="T20" fmla="*/ 0 w 290"/>
                <a:gd name="T21" fmla="*/ 2147483647 h 237"/>
                <a:gd name="T22" fmla="*/ 0 w 290"/>
                <a:gd name="T23" fmla="*/ 2147483647 h 237"/>
                <a:gd name="T24" fmla="*/ 0 w 290"/>
                <a:gd name="T25" fmla="*/ 2147483647 h 237"/>
                <a:gd name="T26" fmla="*/ 0 w 290"/>
                <a:gd name="T27" fmla="*/ 0 h 237"/>
                <a:gd name="T28" fmla="*/ 0 w 290"/>
                <a:gd name="T29" fmla="*/ 0 h 237"/>
                <a:gd name="T30" fmla="*/ 0 w 290"/>
                <a:gd name="T31" fmla="*/ 0 h 237"/>
                <a:gd name="T32" fmla="*/ 2147483647 w 290"/>
                <a:gd name="T33" fmla="*/ 0 h 237"/>
                <a:gd name="T34" fmla="*/ 2147483647 w 290"/>
                <a:gd name="T35" fmla="*/ 0 h 237"/>
                <a:gd name="T36" fmla="*/ 2147483647 w 290"/>
                <a:gd name="T37" fmla="*/ 0 h 237"/>
                <a:gd name="T38" fmla="*/ 2147483647 w 290"/>
                <a:gd name="T39" fmla="*/ 0 h 237"/>
                <a:gd name="T40" fmla="*/ 2147483647 w 290"/>
                <a:gd name="T41" fmla="*/ 0 h 237"/>
                <a:gd name="T42" fmla="*/ 2147483647 w 290"/>
                <a:gd name="T43" fmla="*/ 0 h 237"/>
                <a:gd name="T44" fmla="*/ 2147483647 w 290"/>
                <a:gd name="T45" fmla="*/ 0 h 237"/>
                <a:gd name="T46" fmla="*/ 2147483647 w 290"/>
                <a:gd name="T47" fmla="*/ 0 h 237"/>
                <a:gd name="T48" fmla="*/ 2147483647 w 290"/>
                <a:gd name="T49" fmla="*/ 0 h 237"/>
                <a:gd name="T50" fmla="*/ 2147483647 w 290"/>
                <a:gd name="T51" fmla="*/ 0 h 237"/>
                <a:gd name="T52" fmla="*/ 2147483647 w 290"/>
                <a:gd name="T53" fmla="*/ 0 h 237"/>
                <a:gd name="T54" fmla="*/ 2147483647 w 290"/>
                <a:gd name="T55" fmla="*/ 0 h 237"/>
                <a:gd name="T56" fmla="*/ 2147483647 w 290"/>
                <a:gd name="T57" fmla="*/ 2147483647 h 237"/>
                <a:gd name="T58" fmla="*/ 2147483647 w 290"/>
                <a:gd name="T59" fmla="*/ 2147483647 h 237"/>
                <a:gd name="T60" fmla="*/ 2147483647 w 290"/>
                <a:gd name="T61" fmla="*/ 2147483647 h 237"/>
                <a:gd name="T62" fmla="*/ 2147483647 w 290"/>
                <a:gd name="T63" fmla="*/ 2147483647 h 237"/>
                <a:gd name="T64" fmla="*/ 2147483647 w 290"/>
                <a:gd name="T65" fmla="*/ 2147483647 h 237"/>
                <a:gd name="T66" fmla="*/ 2147483647 w 290"/>
                <a:gd name="T67" fmla="*/ 2147483647 h 237"/>
                <a:gd name="T68" fmla="*/ 2147483647 w 290"/>
                <a:gd name="T69" fmla="*/ 2147483647 h 237"/>
                <a:gd name="T70" fmla="*/ 2147483647 w 290"/>
                <a:gd name="T71" fmla="*/ 2147483647 h 237"/>
                <a:gd name="T72" fmla="*/ 2147483647 w 290"/>
                <a:gd name="T73" fmla="*/ 2147483647 h 237"/>
                <a:gd name="T74" fmla="*/ 2147483647 w 290"/>
                <a:gd name="T75" fmla="*/ 2147483647 h 237"/>
                <a:gd name="T76" fmla="*/ 2147483647 w 290"/>
                <a:gd name="T77" fmla="*/ 2147483647 h 237"/>
                <a:gd name="T78" fmla="*/ 2147483647 w 290"/>
                <a:gd name="T79" fmla="*/ 2147483647 h 237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90"/>
                <a:gd name="T121" fmla="*/ 0 h 237"/>
                <a:gd name="T122" fmla="*/ 290 w 290"/>
                <a:gd name="T123" fmla="*/ 237 h 237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90" h="237">
                  <a:moveTo>
                    <a:pt x="120" y="237"/>
                  </a:moveTo>
                  <a:lnTo>
                    <a:pt x="115" y="236"/>
                  </a:lnTo>
                  <a:lnTo>
                    <a:pt x="112" y="234"/>
                  </a:lnTo>
                  <a:lnTo>
                    <a:pt x="106" y="230"/>
                  </a:lnTo>
                  <a:lnTo>
                    <a:pt x="89" y="229"/>
                  </a:lnTo>
                  <a:lnTo>
                    <a:pt x="82" y="232"/>
                  </a:lnTo>
                  <a:lnTo>
                    <a:pt x="72" y="232"/>
                  </a:lnTo>
                  <a:lnTo>
                    <a:pt x="72" y="221"/>
                  </a:lnTo>
                  <a:lnTo>
                    <a:pt x="77" y="214"/>
                  </a:lnTo>
                  <a:lnTo>
                    <a:pt x="75" y="204"/>
                  </a:lnTo>
                  <a:lnTo>
                    <a:pt x="69" y="202"/>
                  </a:lnTo>
                  <a:lnTo>
                    <a:pt x="64" y="203"/>
                  </a:lnTo>
                  <a:lnTo>
                    <a:pt x="59" y="211"/>
                  </a:lnTo>
                  <a:lnTo>
                    <a:pt x="50" y="214"/>
                  </a:lnTo>
                  <a:lnTo>
                    <a:pt x="41" y="188"/>
                  </a:lnTo>
                  <a:lnTo>
                    <a:pt x="41" y="186"/>
                  </a:lnTo>
                  <a:lnTo>
                    <a:pt x="45" y="189"/>
                  </a:lnTo>
                  <a:lnTo>
                    <a:pt x="45" y="184"/>
                  </a:lnTo>
                  <a:lnTo>
                    <a:pt x="36" y="173"/>
                  </a:lnTo>
                  <a:lnTo>
                    <a:pt x="36" y="172"/>
                  </a:lnTo>
                  <a:lnTo>
                    <a:pt x="37" y="166"/>
                  </a:lnTo>
                  <a:lnTo>
                    <a:pt x="37" y="157"/>
                  </a:lnTo>
                  <a:lnTo>
                    <a:pt x="31" y="143"/>
                  </a:lnTo>
                  <a:lnTo>
                    <a:pt x="25" y="129"/>
                  </a:lnTo>
                  <a:lnTo>
                    <a:pt x="10" y="118"/>
                  </a:lnTo>
                  <a:lnTo>
                    <a:pt x="3" y="96"/>
                  </a:lnTo>
                  <a:lnTo>
                    <a:pt x="0" y="85"/>
                  </a:lnTo>
                  <a:lnTo>
                    <a:pt x="3" y="67"/>
                  </a:lnTo>
                  <a:lnTo>
                    <a:pt x="10" y="63"/>
                  </a:lnTo>
                  <a:lnTo>
                    <a:pt x="15" y="52"/>
                  </a:lnTo>
                  <a:lnTo>
                    <a:pt x="23" y="48"/>
                  </a:lnTo>
                  <a:lnTo>
                    <a:pt x="37" y="28"/>
                  </a:lnTo>
                  <a:lnTo>
                    <a:pt x="43" y="22"/>
                  </a:lnTo>
                  <a:lnTo>
                    <a:pt x="52" y="19"/>
                  </a:lnTo>
                  <a:lnTo>
                    <a:pt x="79" y="21"/>
                  </a:lnTo>
                  <a:lnTo>
                    <a:pt x="95" y="24"/>
                  </a:lnTo>
                  <a:lnTo>
                    <a:pt x="113" y="21"/>
                  </a:lnTo>
                  <a:lnTo>
                    <a:pt x="141" y="20"/>
                  </a:lnTo>
                  <a:lnTo>
                    <a:pt x="150" y="30"/>
                  </a:lnTo>
                  <a:lnTo>
                    <a:pt x="161" y="25"/>
                  </a:lnTo>
                  <a:lnTo>
                    <a:pt x="169" y="33"/>
                  </a:lnTo>
                  <a:lnTo>
                    <a:pt x="187" y="37"/>
                  </a:lnTo>
                  <a:lnTo>
                    <a:pt x="198" y="41"/>
                  </a:lnTo>
                  <a:lnTo>
                    <a:pt x="207" y="38"/>
                  </a:lnTo>
                  <a:lnTo>
                    <a:pt x="207" y="24"/>
                  </a:lnTo>
                  <a:lnTo>
                    <a:pt x="223" y="15"/>
                  </a:lnTo>
                  <a:lnTo>
                    <a:pt x="234" y="11"/>
                  </a:lnTo>
                  <a:lnTo>
                    <a:pt x="242" y="11"/>
                  </a:lnTo>
                  <a:lnTo>
                    <a:pt x="251" y="20"/>
                  </a:lnTo>
                  <a:lnTo>
                    <a:pt x="258" y="20"/>
                  </a:lnTo>
                  <a:lnTo>
                    <a:pt x="268" y="15"/>
                  </a:lnTo>
                  <a:lnTo>
                    <a:pt x="279" y="6"/>
                  </a:lnTo>
                  <a:lnTo>
                    <a:pt x="283" y="0"/>
                  </a:lnTo>
                  <a:lnTo>
                    <a:pt x="281" y="37"/>
                  </a:lnTo>
                  <a:lnTo>
                    <a:pt x="283" y="53"/>
                  </a:lnTo>
                  <a:lnTo>
                    <a:pt x="290" y="68"/>
                  </a:lnTo>
                  <a:lnTo>
                    <a:pt x="289" y="117"/>
                  </a:lnTo>
                  <a:lnTo>
                    <a:pt x="287" y="129"/>
                  </a:lnTo>
                  <a:lnTo>
                    <a:pt x="281" y="138"/>
                  </a:lnTo>
                  <a:lnTo>
                    <a:pt x="272" y="135"/>
                  </a:lnTo>
                  <a:lnTo>
                    <a:pt x="262" y="144"/>
                  </a:lnTo>
                  <a:lnTo>
                    <a:pt x="255" y="148"/>
                  </a:lnTo>
                  <a:lnTo>
                    <a:pt x="247" y="148"/>
                  </a:lnTo>
                  <a:lnTo>
                    <a:pt x="229" y="156"/>
                  </a:lnTo>
                  <a:lnTo>
                    <a:pt x="228" y="166"/>
                  </a:lnTo>
                  <a:lnTo>
                    <a:pt x="209" y="167"/>
                  </a:lnTo>
                  <a:lnTo>
                    <a:pt x="199" y="171"/>
                  </a:lnTo>
                  <a:lnTo>
                    <a:pt x="197" y="184"/>
                  </a:lnTo>
                  <a:lnTo>
                    <a:pt x="198" y="193"/>
                  </a:lnTo>
                  <a:lnTo>
                    <a:pt x="199" y="202"/>
                  </a:lnTo>
                  <a:lnTo>
                    <a:pt x="193" y="204"/>
                  </a:lnTo>
                  <a:lnTo>
                    <a:pt x="185" y="207"/>
                  </a:lnTo>
                  <a:lnTo>
                    <a:pt x="174" y="214"/>
                  </a:lnTo>
                  <a:lnTo>
                    <a:pt x="164" y="218"/>
                  </a:lnTo>
                  <a:lnTo>
                    <a:pt x="156" y="215"/>
                  </a:lnTo>
                  <a:lnTo>
                    <a:pt x="149" y="215"/>
                  </a:lnTo>
                  <a:lnTo>
                    <a:pt x="148" y="225"/>
                  </a:lnTo>
                  <a:lnTo>
                    <a:pt x="143" y="230"/>
                  </a:lnTo>
                  <a:lnTo>
                    <a:pt x="136" y="234"/>
                  </a:lnTo>
                  <a:lnTo>
                    <a:pt x="125" y="236"/>
                  </a:lnTo>
                  <a:lnTo>
                    <a:pt x="120" y="23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99" name="Freeform 96">
              <a:extLst>
                <a:ext uri="{FF2B5EF4-FFF2-40B4-BE49-F238E27FC236}">
                  <a16:creationId xmlns:a16="http://schemas.microsoft.com/office/drawing/2014/main" id="{5DAF3700-ED29-A793-78A5-FB95EB46F65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704132" y="3624614"/>
              <a:ext cx="210420" cy="280456"/>
            </a:xfrm>
            <a:custGeom>
              <a:avLst/>
              <a:gdLst>
                <a:gd name="T0" fmla="*/ 2147483647 w 398"/>
                <a:gd name="T1" fmla="*/ 0 h 490"/>
                <a:gd name="T2" fmla="*/ 2147483647 w 398"/>
                <a:gd name="T3" fmla="*/ 0 h 490"/>
                <a:gd name="T4" fmla="*/ 2147483647 w 398"/>
                <a:gd name="T5" fmla="*/ 2147483647 h 490"/>
                <a:gd name="T6" fmla="*/ 2147483647 w 398"/>
                <a:gd name="T7" fmla="*/ 2147483647 h 490"/>
                <a:gd name="T8" fmla="*/ 2147483647 w 398"/>
                <a:gd name="T9" fmla="*/ 2147483647 h 490"/>
                <a:gd name="T10" fmla="*/ 2147483647 w 398"/>
                <a:gd name="T11" fmla="*/ 2147483647 h 490"/>
                <a:gd name="T12" fmla="*/ 2147483647 w 398"/>
                <a:gd name="T13" fmla="*/ 2147483647 h 490"/>
                <a:gd name="T14" fmla="*/ 2147483647 w 398"/>
                <a:gd name="T15" fmla="*/ 2147483647 h 490"/>
                <a:gd name="T16" fmla="*/ 2147483647 w 398"/>
                <a:gd name="T17" fmla="*/ 2147483647 h 490"/>
                <a:gd name="T18" fmla="*/ 2147483647 w 398"/>
                <a:gd name="T19" fmla="*/ 2147483647 h 490"/>
                <a:gd name="T20" fmla="*/ 2147483647 w 398"/>
                <a:gd name="T21" fmla="*/ 2147483647 h 490"/>
                <a:gd name="T22" fmla="*/ 2147483647 w 398"/>
                <a:gd name="T23" fmla="*/ 2147483647 h 490"/>
                <a:gd name="T24" fmla="*/ 2147483647 w 398"/>
                <a:gd name="T25" fmla="*/ 2147483647 h 490"/>
                <a:gd name="T26" fmla="*/ 2147483647 w 398"/>
                <a:gd name="T27" fmla="*/ 2147483647 h 490"/>
                <a:gd name="T28" fmla="*/ 2147483647 w 398"/>
                <a:gd name="T29" fmla="*/ 2147483647 h 490"/>
                <a:gd name="T30" fmla="*/ 2147483647 w 398"/>
                <a:gd name="T31" fmla="*/ 2147483647 h 490"/>
                <a:gd name="T32" fmla="*/ 2147483647 w 398"/>
                <a:gd name="T33" fmla="*/ 2147483647 h 490"/>
                <a:gd name="T34" fmla="*/ 2147483647 w 398"/>
                <a:gd name="T35" fmla="*/ 2147483647 h 490"/>
                <a:gd name="T36" fmla="*/ 2147483647 w 398"/>
                <a:gd name="T37" fmla="*/ 2147483647 h 490"/>
                <a:gd name="T38" fmla="*/ 2147483647 w 398"/>
                <a:gd name="T39" fmla="*/ 2147483647 h 490"/>
                <a:gd name="T40" fmla="*/ 2147483647 w 398"/>
                <a:gd name="T41" fmla="*/ 2147483647 h 490"/>
                <a:gd name="T42" fmla="*/ 2147483647 w 398"/>
                <a:gd name="T43" fmla="*/ 2147483647 h 490"/>
                <a:gd name="T44" fmla="*/ 2147483647 w 398"/>
                <a:gd name="T45" fmla="*/ 2147483647 h 490"/>
                <a:gd name="T46" fmla="*/ 2147483647 w 398"/>
                <a:gd name="T47" fmla="*/ 2147483647 h 490"/>
                <a:gd name="T48" fmla="*/ 2147483647 w 398"/>
                <a:gd name="T49" fmla="*/ 2147483647 h 490"/>
                <a:gd name="T50" fmla="*/ 2147483647 w 398"/>
                <a:gd name="T51" fmla="*/ 2147483647 h 490"/>
                <a:gd name="T52" fmla="*/ 2147483647 w 398"/>
                <a:gd name="T53" fmla="*/ 2147483647 h 490"/>
                <a:gd name="T54" fmla="*/ 2147483647 w 398"/>
                <a:gd name="T55" fmla="*/ 2147483647 h 490"/>
                <a:gd name="T56" fmla="*/ 2147483647 w 398"/>
                <a:gd name="T57" fmla="*/ 2147483647 h 490"/>
                <a:gd name="T58" fmla="*/ 2147483647 w 398"/>
                <a:gd name="T59" fmla="*/ 2147483647 h 490"/>
                <a:gd name="T60" fmla="*/ 2147483647 w 398"/>
                <a:gd name="T61" fmla="*/ 2147483647 h 490"/>
                <a:gd name="T62" fmla="*/ 2147483647 w 398"/>
                <a:gd name="T63" fmla="*/ 2147483647 h 490"/>
                <a:gd name="T64" fmla="*/ 2147483647 w 398"/>
                <a:gd name="T65" fmla="*/ 2147483647 h 490"/>
                <a:gd name="T66" fmla="*/ 0 w 398"/>
                <a:gd name="T67" fmla="*/ 2147483647 h 490"/>
                <a:gd name="T68" fmla="*/ 2147483647 w 398"/>
                <a:gd name="T69" fmla="*/ 2147483647 h 490"/>
                <a:gd name="T70" fmla="*/ 2147483647 w 398"/>
                <a:gd name="T71" fmla="*/ 2147483647 h 490"/>
                <a:gd name="T72" fmla="*/ 2147483647 w 398"/>
                <a:gd name="T73" fmla="*/ 2147483647 h 490"/>
                <a:gd name="T74" fmla="*/ 0 w 398"/>
                <a:gd name="T75" fmla="*/ 2147483647 h 490"/>
                <a:gd name="T76" fmla="*/ 0 w 398"/>
                <a:gd name="T77" fmla="*/ 2147483647 h 490"/>
                <a:gd name="T78" fmla="*/ 0 w 398"/>
                <a:gd name="T79" fmla="*/ 2147483647 h 490"/>
                <a:gd name="T80" fmla="*/ 0 w 398"/>
                <a:gd name="T81" fmla="*/ 2147483647 h 490"/>
                <a:gd name="T82" fmla="*/ 0 w 398"/>
                <a:gd name="T83" fmla="*/ 2147483647 h 490"/>
                <a:gd name="T84" fmla="*/ 2147483647 w 398"/>
                <a:gd name="T85" fmla="*/ 0 h 490"/>
                <a:gd name="T86" fmla="*/ 2147483647 w 398"/>
                <a:gd name="T87" fmla="*/ 0 h 490"/>
                <a:gd name="T88" fmla="*/ 2147483647 w 398"/>
                <a:gd name="T89" fmla="*/ 0 h 490"/>
                <a:gd name="T90" fmla="*/ 2147483647 w 398"/>
                <a:gd name="T91" fmla="*/ 0 h 490"/>
                <a:gd name="T92" fmla="*/ 2147483647 w 398"/>
                <a:gd name="T93" fmla="*/ 0 h 4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8"/>
                <a:gd name="T142" fmla="*/ 0 h 490"/>
                <a:gd name="T143" fmla="*/ 398 w 398"/>
                <a:gd name="T144" fmla="*/ 490 h 4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8" h="490">
                  <a:moveTo>
                    <a:pt x="106" y="3"/>
                  </a:moveTo>
                  <a:lnTo>
                    <a:pt x="118" y="19"/>
                  </a:lnTo>
                  <a:lnTo>
                    <a:pt x="135" y="39"/>
                  </a:lnTo>
                  <a:lnTo>
                    <a:pt x="145" y="49"/>
                  </a:lnTo>
                  <a:lnTo>
                    <a:pt x="150" y="59"/>
                  </a:lnTo>
                  <a:lnTo>
                    <a:pt x="147" y="71"/>
                  </a:lnTo>
                  <a:lnTo>
                    <a:pt x="149" y="79"/>
                  </a:lnTo>
                  <a:lnTo>
                    <a:pt x="163" y="94"/>
                  </a:lnTo>
                  <a:lnTo>
                    <a:pt x="183" y="98"/>
                  </a:lnTo>
                  <a:lnTo>
                    <a:pt x="203" y="93"/>
                  </a:lnTo>
                  <a:lnTo>
                    <a:pt x="219" y="94"/>
                  </a:lnTo>
                  <a:lnTo>
                    <a:pt x="228" y="105"/>
                  </a:lnTo>
                  <a:lnTo>
                    <a:pt x="233" y="114"/>
                  </a:lnTo>
                  <a:lnTo>
                    <a:pt x="235" y="121"/>
                  </a:lnTo>
                  <a:lnTo>
                    <a:pt x="243" y="127"/>
                  </a:lnTo>
                  <a:lnTo>
                    <a:pt x="247" y="136"/>
                  </a:lnTo>
                  <a:lnTo>
                    <a:pt x="253" y="142"/>
                  </a:lnTo>
                  <a:lnTo>
                    <a:pt x="252" y="151"/>
                  </a:lnTo>
                  <a:lnTo>
                    <a:pt x="236" y="167"/>
                  </a:lnTo>
                  <a:lnTo>
                    <a:pt x="231" y="167"/>
                  </a:lnTo>
                  <a:lnTo>
                    <a:pt x="220" y="164"/>
                  </a:lnTo>
                  <a:lnTo>
                    <a:pt x="213" y="167"/>
                  </a:lnTo>
                  <a:lnTo>
                    <a:pt x="209" y="172"/>
                  </a:lnTo>
                  <a:lnTo>
                    <a:pt x="205" y="181"/>
                  </a:lnTo>
                  <a:lnTo>
                    <a:pt x="206" y="188"/>
                  </a:lnTo>
                  <a:lnTo>
                    <a:pt x="213" y="190"/>
                  </a:lnTo>
                  <a:lnTo>
                    <a:pt x="221" y="196"/>
                  </a:lnTo>
                  <a:lnTo>
                    <a:pt x="240" y="206"/>
                  </a:lnTo>
                  <a:lnTo>
                    <a:pt x="267" y="226"/>
                  </a:lnTo>
                  <a:lnTo>
                    <a:pt x="271" y="239"/>
                  </a:lnTo>
                  <a:lnTo>
                    <a:pt x="294" y="260"/>
                  </a:lnTo>
                  <a:lnTo>
                    <a:pt x="297" y="270"/>
                  </a:lnTo>
                  <a:lnTo>
                    <a:pt x="314" y="290"/>
                  </a:lnTo>
                  <a:lnTo>
                    <a:pt x="319" y="291"/>
                  </a:lnTo>
                  <a:lnTo>
                    <a:pt x="337" y="303"/>
                  </a:lnTo>
                  <a:lnTo>
                    <a:pt x="342" y="317"/>
                  </a:lnTo>
                  <a:lnTo>
                    <a:pt x="345" y="329"/>
                  </a:lnTo>
                  <a:lnTo>
                    <a:pt x="344" y="330"/>
                  </a:lnTo>
                  <a:lnTo>
                    <a:pt x="345" y="331"/>
                  </a:lnTo>
                  <a:lnTo>
                    <a:pt x="349" y="345"/>
                  </a:lnTo>
                  <a:lnTo>
                    <a:pt x="357" y="345"/>
                  </a:lnTo>
                  <a:lnTo>
                    <a:pt x="371" y="355"/>
                  </a:lnTo>
                  <a:lnTo>
                    <a:pt x="380" y="363"/>
                  </a:lnTo>
                  <a:lnTo>
                    <a:pt x="384" y="380"/>
                  </a:lnTo>
                  <a:lnTo>
                    <a:pt x="397" y="409"/>
                  </a:lnTo>
                  <a:lnTo>
                    <a:pt x="398" y="416"/>
                  </a:lnTo>
                  <a:lnTo>
                    <a:pt x="398" y="449"/>
                  </a:lnTo>
                  <a:lnTo>
                    <a:pt x="394" y="455"/>
                  </a:lnTo>
                  <a:lnTo>
                    <a:pt x="383" y="464"/>
                  </a:lnTo>
                  <a:lnTo>
                    <a:pt x="373" y="469"/>
                  </a:lnTo>
                  <a:lnTo>
                    <a:pt x="366" y="469"/>
                  </a:lnTo>
                  <a:lnTo>
                    <a:pt x="357" y="460"/>
                  </a:lnTo>
                  <a:lnTo>
                    <a:pt x="349" y="460"/>
                  </a:lnTo>
                  <a:lnTo>
                    <a:pt x="338" y="464"/>
                  </a:lnTo>
                  <a:lnTo>
                    <a:pt x="322" y="473"/>
                  </a:lnTo>
                  <a:lnTo>
                    <a:pt x="322" y="487"/>
                  </a:lnTo>
                  <a:lnTo>
                    <a:pt x="313" y="490"/>
                  </a:lnTo>
                  <a:lnTo>
                    <a:pt x="302" y="486"/>
                  </a:lnTo>
                  <a:lnTo>
                    <a:pt x="284" y="482"/>
                  </a:lnTo>
                  <a:lnTo>
                    <a:pt x="276" y="474"/>
                  </a:lnTo>
                  <a:lnTo>
                    <a:pt x="276" y="470"/>
                  </a:lnTo>
                  <a:lnTo>
                    <a:pt x="280" y="470"/>
                  </a:lnTo>
                  <a:lnTo>
                    <a:pt x="287" y="459"/>
                  </a:lnTo>
                  <a:lnTo>
                    <a:pt x="287" y="417"/>
                  </a:lnTo>
                  <a:lnTo>
                    <a:pt x="291" y="407"/>
                  </a:lnTo>
                  <a:lnTo>
                    <a:pt x="290" y="398"/>
                  </a:lnTo>
                  <a:lnTo>
                    <a:pt x="289" y="391"/>
                  </a:lnTo>
                  <a:lnTo>
                    <a:pt x="284" y="385"/>
                  </a:lnTo>
                  <a:lnTo>
                    <a:pt x="276" y="380"/>
                  </a:lnTo>
                  <a:lnTo>
                    <a:pt x="274" y="373"/>
                  </a:lnTo>
                  <a:lnTo>
                    <a:pt x="264" y="372"/>
                  </a:lnTo>
                  <a:lnTo>
                    <a:pt x="257" y="367"/>
                  </a:lnTo>
                  <a:lnTo>
                    <a:pt x="249" y="357"/>
                  </a:lnTo>
                  <a:lnTo>
                    <a:pt x="246" y="346"/>
                  </a:lnTo>
                  <a:lnTo>
                    <a:pt x="247" y="321"/>
                  </a:lnTo>
                  <a:lnTo>
                    <a:pt x="246" y="308"/>
                  </a:lnTo>
                  <a:lnTo>
                    <a:pt x="242" y="296"/>
                  </a:lnTo>
                  <a:lnTo>
                    <a:pt x="237" y="286"/>
                  </a:lnTo>
                  <a:lnTo>
                    <a:pt x="230" y="281"/>
                  </a:lnTo>
                  <a:lnTo>
                    <a:pt x="228" y="274"/>
                  </a:lnTo>
                  <a:lnTo>
                    <a:pt x="220" y="270"/>
                  </a:lnTo>
                  <a:lnTo>
                    <a:pt x="213" y="263"/>
                  </a:lnTo>
                  <a:lnTo>
                    <a:pt x="208" y="255"/>
                  </a:lnTo>
                  <a:lnTo>
                    <a:pt x="195" y="240"/>
                  </a:lnTo>
                  <a:lnTo>
                    <a:pt x="183" y="239"/>
                  </a:lnTo>
                  <a:lnTo>
                    <a:pt x="172" y="240"/>
                  </a:lnTo>
                  <a:lnTo>
                    <a:pt x="161" y="243"/>
                  </a:lnTo>
                  <a:lnTo>
                    <a:pt x="157" y="254"/>
                  </a:lnTo>
                  <a:lnTo>
                    <a:pt x="152" y="258"/>
                  </a:lnTo>
                  <a:lnTo>
                    <a:pt x="145" y="261"/>
                  </a:lnTo>
                  <a:lnTo>
                    <a:pt x="133" y="267"/>
                  </a:lnTo>
                  <a:lnTo>
                    <a:pt x="124" y="267"/>
                  </a:lnTo>
                  <a:lnTo>
                    <a:pt x="115" y="261"/>
                  </a:lnTo>
                  <a:lnTo>
                    <a:pt x="109" y="251"/>
                  </a:lnTo>
                  <a:lnTo>
                    <a:pt x="102" y="249"/>
                  </a:lnTo>
                  <a:lnTo>
                    <a:pt x="93" y="251"/>
                  </a:lnTo>
                  <a:lnTo>
                    <a:pt x="80" y="256"/>
                  </a:lnTo>
                  <a:lnTo>
                    <a:pt x="68" y="269"/>
                  </a:lnTo>
                  <a:lnTo>
                    <a:pt x="55" y="274"/>
                  </a:lnTo>
                  <a:lnTo>
                    <a:pt x="48" y="283"/>
                  </a:lnTo>
                  <a:lnTo>
                    <a:pt x="43" y="287"/>
                  </a:lnTo>
                  <a:lnTo>
                    <a:pt x="44" y="282"/>
                  </a:lnTo>
                  <a:lnTo>
                    <a:pt x="41" y="269"/>
                  </a:lnTo>
                  <a:lnTo>
                    <a:pt x="45" y="255"/>
                  </a:lnTo>
                  <a:lnTo>
                    <a:pt x="48" y="231"/>
                  </a:lnTo>
                  <a:lnTo>
                    <a:pt x="53" y="220"/>
                  </a:lnTo>
                  <a:lnTo>
                    <a:pt x="53" y="211"/>
                  </a:lnTo>
                  <a:lnTo>
                    <a:pt x="54" y="202"/>
                  </a:lnTo>
                  <a:lnTo>
                    <a:pt x="50" y="186"/>
                  </a:lnTo>
                  <a:lnTo>
                    <a:pt x="54" y="169"/>
                  </a:lnTo>
                  <a:lnTo>
                    <a:pt x="50" y="165"/>
                  </a:lnTo>
                  <a:lnTo>
                    <a:pt x="29" y="165"/>
                  </a:lnTo>
                  <a:lnTo>
                    <a:pt x="23" y="164"/>
                  </a:lnTo>
                  <a:lnTo>
                    <a:pt x="21" y="163"/>
                  </a:lnTo>
                  <a:lnTo>
                    <a:pt x="21" y="145"/>
                  </a:lnTo>
                  <a:lnTo>
                    <a:pt x="18" y="130"/>
                  </a:lnTo>
                  <a:lnTo>
                    <a:pt x="12" y="121"/>
                  </a:lnTo>
                  <a:lnTo>
                    <a:pt x="9" y="116"/>
                  </a:lnTo>
                  <a:lnTo>
                    <a:pt x="2" y="119"/>
                  </a:lnTo>
                  <a:lnTo>
                    <a:pt x="0" y="113"/>
                  </a:lnTo>
                  <a:lnTo>
                    <a:pt x="1" y="105"/>
                  </a:lnTo>
                  <a:lnTo>
                    <a:pt x="4" y="105"/>
                  </a:lnTo>
                  <a:lnTo>
                    <a:pt x="5" y="99"/>
                  </a:lnTo>
                  <a:lnTo>
                    <a:pt x="10" y="95"/>
                  </a:lnTo>
                  <a:lnTo>
                    <a:pt x="17" y="93"/>
                  </a:lnTo>
                  <a:lnTo>
                    <a:pt x="23" y="92"/>
                  </a:lnTo>
                  <a:lnTo>
                    <a:pt x="21" y="84"/>
                  </a:lnTo>
                  <a:lnTo>
                    <a:pt x="21" y="79"/>
                  </a:lnTo>
                  <a:lnTo>
                    <a:pt x="48" y="61"/>
                  </a:lnTo>
                  <a:lnTo>
                    <a:pt x="53" y="54"/>
                  </a:lnTo>
                  <a:lnTo>
                    <a:pt x="54" y="49"/>
                  </a:lnTo>
                  <a:lnTo>
                    <a:pt x="59" y="76"/>
                  </a:lnTo>
                  <a:lnTo>
                    <a:pt x="80" y="71"/>
                  </a:lnTo>
                  <a:lnTo>
                    <a:pt x="84" y="67"/>
                  </a:lnTo>
                  <a:lnTo>
                    <a:pt x="85" y="52"/>
                  </a:lnTo>
                  <a:lnTo>
                    <a:pt x="79" y="36"/>
                  </a:lnTo>
                  <a:lnTo>
                    <a:pt x="76" y="19"/>
                  </a:lnTo>
                  <a:lnTo>
                    <a:pt x="77" y="7"/>
                  </a:lnTo>
                  <a:lnTo>
                    <a:pt x="86" y="0"/>
                  </a:lnTo>
                  <a:lnTo>
                    <a:pt x="106" y="1"/>
                  </a:lnTo>
                  <a:lnTo>
                    <a:pt x="106" y="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00" name="Freeform 98">
              <a:extLst>
                <a:ext uri="{FF2B5EF4-FFF2-40B4-BE49-F238E27FC236}">
                  <a16:creationId xmlns:a16="http://schemas.microsoft.com/office/drawing/2014/main" id="{8D7BE77B-60BB-03D8-9CC8-11302B57322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422079" y="3616993"/>
              <a:ext cx="7462" cy="15242"/>
            </a:xfrm>
            <a:custGeom>
              <a:avLst/>
              <a:gdLst>
                <a:gd name="T0" fmla="*/ 0 w 14"/>
                <a:gd name="T1" fmla="*/ 0 h 27"/>
                <a:gd name="T2" fmla="*/ 0 w 14"/>
                <a:gd name="T3" fmla="*/ 0 h 27"/>
                <a:gd name="T4" fmla="*/ 0 w 14"/>
                <a:gd name="T5" fmla="*/ 0 h 27"/>
                <a:gd name="T6" fmla="*/ 0 w 14"/>
                <a:gd name="T7" fmla="*/ 0 h 27"/>
                <a:gd name="T8" fmla="*/ 0 w 14"/>
                <a:gd name="T9" fmla="*/ 0 h 27"/>
                <a:gd name="T10" fmla="*/ 0 w 14"/>
                <a:gd name="T11" fmla="*/ 0 h 27"/>
                <a:gd name="T12" fmla="*/ 0 w 14"/>
                <a:gd name="T13" fmla="*/ 0 h 27"/>
                <a:gd name="T14" fmla="*/ 0 w 14"/>
                <a:gd name="T15" fmla="*/ 0 h 2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27"/>
                <a:gd name="T26" fmla="*/ 14 w 14"/>
                <a:gd name="T27" fmla="*/ 27 h 2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27">
                  <a:moveTo>
                    <a:pt x="0" y="4"/>
                  </a:moveTo>
                  <a:lnTo>
                    <a:pt x="1" y="26"/>
                  </a:lnTo>
                  <a:lnTo>
                    <a:pt x="9" y="27"/>
                  </a:lnTo>
                  <a:lnTo>
                    <a:pt x="14" y="21"/>
                  </a:lnTo>
                  <a:lnTo>
                    <a:pt x="14" y="12"/>
                  </a:lnTo>
                  <a:lnTo>
                    <a:pt x="9" y="3"/>
                  </a:lnTo>
                  <a:lnTo>
                    <a:pt x="5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01" name="Freeform 99">
              <a:extLst>
                <a:ext uri="{FF2B5EF4-FFF2-40B4-BE49-F238E27FC236}">
                  <a16:creationId xmlns:a16="http://schemas.microsoft.com/office/drawing/2014/main" id="{FCF4779E-B152-B5D7-0236-E8C6CF3E2D5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762464" y="3146010"/>
              <a:ext cx="858097" cy="943490"/>
            </a:xfrm>
            <a:custGeom>
              <a:avLst/>
              <a:gdLst>
                <a:gd name="T0" fmla="*/ 2147483647 w 1608"/>
                <a:gd name="T1" fmla="*/ 2147483647 h 1661"/>
                <a:gd name="T2" fmla="*/ 2147483647 w 1608"/>
                <a:gd name="T3" fmla="*/ 2147483647 h 1661"/>
                <a:gd name="T4" fmla="*/ 2147483647 w 1608"/>
                <a:gd name="T5" fmla="*/ 2147483647 h 1661"/>
                <a:gd name="T6" fmla="*/ 2147483647 w 1608"/>
                <a:gd name="T7" fmla="*/ 2147483647 h 1661"/>
                <a:gd name="T8" fmla="*/ 2147483647 w 1608"/>
                <a:gd name="T9" fmla="*/ 2147483647 h 1661"/>
                <a:gd name="T10" fmla="*/ 2147483647 w 1608"/>
                <a:gd name="T11" fmla="*/ 2147483647 h 1661"/>
                <a:gd name="T12" fmla="*/ 2147483647 w 1608"/>
                <a:gd name="T13" fmla="*/ 2147483647 h 1661"/>
                <a:gd name="T14" fmla="*/ 2147483647 w 1608"/>
                <a:gd name="T15" fmla="*/ 2147483647 h 1661"/>
                <a:gd name="T16" fmla="*/ 2147483647 w 1608"/>
                <a:gd name="T17" fmla="*/ 2147483647 h 1661"/>
                <a:gd name="T18" fmla="*/ 2147483647 w 1608"/>
                <a:gd name="T19" fmla="*/ 2147483647 h 1661"/>
                <a:gd name="T20" fmla="*/ 2147483647 w 1608"/>
                <a:gd name="T21" fmla="*/ 2147483647 h 1661"/>
                <a:gd name="T22" fmla="*/ 2147483647 w 1608"/>
                <a:gd name="T23" fmla="*/ 2147483647 h 1661"/>
                <a:gd name="T24" fmla="*/ 2147483647 w 1608"/>
                <a:gd name="T25" fmla="*/ 2147483647 h 1661"/>
                <a:gd name="T26" fmla="*/ 2147483647 w 1608"/>
                <a:gd name="T27" fmla="*/ 2147483647 h 1661"/>
                <a:gd name="T28" fmla="*/ 2147483647 w 1608"/>
                <a:gd name="T29" fmla="*/ 2147483647 h 1661"/>
                <a:gd name="T30" fmla="*/ 2147483647 w 1608"/>
                <a:gd name="T31" fmla="*/ 2147483647 h 1661"/>
                <a:gd name="T32" fmla="*/ 2147483647 w 1608"/>
                <a:gd name="T33" fmla="*/ 2147483647 h 1661"/>
                <a:gd name="T34" fmla="*/ 2147483647 w 1608"/>
                <a:gd name="T35" fmla="*/ 2147483647 h 1661"/>
                <a:gd name="T36" fmla="*/ 2147483647 w 1608"/>
                <a:gd name="T37" fmla="*/ 2147483647 h 1661"/>
                <a:gd name="T38" fmla="*/ 2147483647 w 1608"/>
                <a:gd name="T39" fmla="*/ 2147483647 h 1661"/>
                <a:gd name="T40" fmla="*/ 2147483647 w 1608"/>
                <a:gd name="T41" fmla="*/ 2147483647 h 1661"/>
                <a:gd name="T42" fmla="*/ 2147483647 w 1608"/>
                <a:gd name="T43" fmla="*/ 2147483647 h 1661"/>
                <a:gd name="T44" fmla="*/ 2147483647 w 1608"/>
                <a:gd name="T45" fmla="*/ 2147483647 h 1661"/>
                <a:gd name="T46" fmla="*/ 2147483647 w 1608"/>
                <a:gd name="T47" fmla="*/ 2147483647 h 1661"/>
                <a:gd name="T48" fmla="*/ 2147483647 w 1608"/>
                <a:gd name="T49" fmla="*/ 2147483647 h 1661"/>
                <a:gd name="T50" fmla="*/ 2147483647 w 1608"/>
                <a:gd name="T51" fmla="*/ 2147483647 h 1661"/>
                <a:gd name="T52" fmla="*/ 2147483647 w 1608"/>
                <a:gd name="T53" fmla="*/ 2147483647 h 1661"/>
                <a:gd name="T54" fmla="*/ 2147483647 w 1608"/>
                <a:gd name="T55" fmla="*/ 2147483647 h 1661"/>
                <a:gd name="T56" fmla="*/ 2147483647 w 1608"/>
                <a:gd name="T57" fmla="*/ 2147483647 h 1661"/>
                <a:gd name="T58" fmla="*/ 2147483647 w 1608"/>
                <a:gd name="T59" fmla="*/ 2147483647 h 1661"/>
                <a:gd name="T60" fmla="*/ 2147483647 w 1608"/>
                <a:gd name="T61" fmla="*/ 2147483647 h 1661"/>
                <a:gd name="T62" fmla="*/ 2147483647 w 1608"/>
                <a:gd name="T63" fmla="*/ 2147483647 h 1661"/>
                <a:gd name="T64" fmla="*/ 2147483647 w 1608"/>
                <a:gd name="T65" fmla="*/ 0 h 1661"/>
                <a:gd name="T66" fmla="*/ 2147483647 w 1608"/>
                <a:gd name="T67" fmla="*/ 0 h 1661"/>
                <a:gd name="T68" fmla="*/ 2147483647 w 1608"/>
                <a:gd name="T69" fmla="*/ 0 h 1661"/>
                <a:gd name="T70" fmla="*/ 2147483647 w 1608"/>
                <a:gd name="T71" fmla="*/ 0 h 1661"/>
                <a:gd name="T72" fmla="*/ 2147483647 w 1608"/>
                <a:gd name="T73" fmla="*/ 0 h 1661"/>
                <a:gd name="T74" fmla="*/ 2147483647 w 1608"/>
                <a:gd name="T75" fmla="*/ 0 h 1661"/>
                <a:gd name="T76" fmla="*/ 2147483647 w 1608"/>
                <a:gd name="T77" fmla="*/ 0 h 1661"/>
                <a:gd name="T78" fmla="*/ 2147483647 w 1608"/>
                <a:gd name="T79" fmla="*/ 0 h 1661"/>
                <a:gd name="T80" fmla="*/ 2147483647 w 1608"/>
                <a:gd name="T81" fmla="*/ 0 h 1661"/>
                <a:gd name="T82" fmla="*/ 2147483647 w 1608"/>
                <a:gd name="T83" fmla="*/ 0 h 1661"/>
                <a:gd name="T84" fmla="*/ 2147483647 w 1608"/>
                <a:gd name="T85" fmla="*/ 0 h 1661"/>
                <a:gd name="T86" fmla="*/ 2147483647 w 1608"/>
                <a:gd name="T87" fmla="*/ 0 h 1661"/>
                <a:gd name="T88" fmla="*/ 2147483647 w 1608"/>
                <a:gd name="T89" fmla="*/ 0 h 1661"/>
                <a:gd name="T90" fmla="*/ 2147483647 w 1608"/>
                <a:gd name="T91" fmla="*/ 0 h 1661"/>
                <a:gd name="T92" fmla="*/ 2147483647 w 1608"/>
                <a:gd name="T93" fmla="*/ 0 h 1661"/>
                <a:gd name="T94" fmla="*/ 2147483647 w 1608"/>
                <a:gd name="T95" fmla="*/ 2147483647 h 1661"/>
                <a:gd name="T96" fmla="*/ 2147483647 w 1608"/>
                <a:gd name="T97" fmla="*/ 2147483647 h 1661"/>
                <a:gd name="T98" fmla="*/ 0 w 1608"/>
                <a:gd name="T99" fmla="*/ 2147483647 h 1661"/>
                <a:gd name="T100" fmla="*/ 0 w 1608"/>
                <a:gd name="T101" fmla="*/ 2147483647 h 1661"/>
                <a:gd name="T102" fmla="*/ 0 w 1608"/>
                <a:gd name="T103" fmla="*/ 2147483647 h 1661"/>
                <a:gd name="T104" fmla="*/ 0 w 1608"/>
                <a:gd name="T105" fmla="*/ 2147483647 h 1661"/>
                <a:gd name="T106" fmla="*/ 0 w 1608"/>
                <a:gd name="T107" fmla="*/ 2147483647 h 1661"/>
                <a:gd name="T108" fmla="*/ 0 w 1608"/>
                <a:gd name="T109" fmla="*/ 2147483647 h 1661"/>
                <a:gd name="T110" fmla="*/ 0 w 1608"/>
                <a:gd name="T111" fmla="*/ 2147483647 h 1661"/>
                <a:gd name="T112" fmla="*/ 0 w 1608"/>
                <a:gd name="T113" fmla="*/ 2147483647 h 1661"/>
                <a:gd name="T114" fmla="*/ 0 w 1608"/>
                <a:gd name="T115" fmla="*/ 2147483647 h 1661"/>
                <a:gd name="T116" fmla="*/ 0 w 1608"/>
                <a:gd name="T117" fmla="*/ 2147483647 h 1661"/>
                <a:gd name="T118" fmla="*/ 0 w 1608"/>
                <a:gd name="T119" fmla="*/ 2147483647 h 1661"/>
                <a:gd name="T120" fmla="*/ 0 w 1608"/>
                <a:gd name="T121" fmla="*/ 2147483647 h 1661"/>
                <a:gd name="T122" fmla="*/ 0 w 1608"/>
                <a:gd name="T123" fmla="*/ 2147483647 h 1661"/>
                <a:gd name="T124" fmla="*/ 0 w 1608"/>
                <a:gd name="T125" fmla="*/ 2147483647 h 166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608"/>
                <a:gd name="T190" fmla="*/ 0 h 1661"/>
                <a:gd name="T191" fmla="*/ 1608 w 1608"/>
                <a:gd name="T192" fmla="*/ 1661 h 166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608" h="1661">
                  <a:moveTo>
                    <a:pt x="304" y="1236"/>
                  </a:moveTo>
                  <a:lnTo>
                    <a:pt x="306" y="1238"/>
                  </a:lnTo>
                  <a:lnTo>
                    <a:pt x="310" y="1250"/>
                  </a:lnTo>
                  <a:lnTo>
                    <a:pt x="312" y="1252"/>
                  </a:lnTo>
                  <a:lnTo>
                    <a:pt x="315" y="1249"/>
                  </a:lnTo>
                  <a:lnTo>
                    <a:pt x="320" y="1250"/>
                  </a:lnTo>
                  <a:lnTo>
                    <a:pt x="316" y="1255"/>
                  </a:lnTo>
                  <a:lnTo>
                    <a:pt x="316" y="1260"/>
                  </a:lnTo>
                  <a:lnTo>
                    <a:pt x="322" y="1281"/>
                  </a:lnTo>
                  <a:lnTo>
                    <a:pt x="331" y="1293"/>
                  </a:lnTo>
                  <a:lnTo>
                    <a:pt x="338" y="1297"/>
                  </a:lnTo>
                  <a:lnTo>
                    <a:pt x="348" y="1319"/>
                  </a:lnTo>
                  <a:lnTo>
                    <a:pt x="351" y="1334"/>
                  </a:lnTo>
                  <a:lnTo>
                    <a:pt x="358" y="1343"/>
                  </a:lnTo>
                  <a:lnTo>
                    <a:pt x="364" y="1358"/>
                  </a:lnTo>
                  <a:lnTo>
                    <a:pt x="370" y="1388"/>
                  </a:lnTo>
                  <a:lnTo>
                    <a:pt x="382" y="1426"/>
                  </a:lnTo>
                  <a:lnTo>
                    <a:pt x="382" y="1429"/>
                  </a:lnTo>
                  <a:lnTo>
                    <a:pt x="391" y="1444"/>
                  </a:lnTo>
                  <a:lnTo>
                    <a:pt x="401" y="1453"/>
                  </a:lnTo>
                  <a:lnTo>
                    <a:pt x="418" y="1475"/>
                  </a:lnTo>
                  <a:lnTo>
                    <a:pt x="425" y="1494"/>
                  </a:lnTo>
                  <a:lnTo>
                    <a:pt x="432" y="1519"/>
                  </a:lnTo>
                  <a:lnTo>
                    <a:pt x="454" y="1572"/>
                  </a:lnTo>
                  <a:lnTo>
                    <a:pt x="461" y="1600"/>
                  </a:lnTo>
                  <a:lnTo>
                    <a:pt x="468" y="1614"/>
                  </a:lnTo>
                  <a:lnTo>
                    <a:pt x="481" y="1633"/>
                  </a:lnTo>
                  <a:lnTo>
                    <a:pt x="495" y="1650"/>
                  </a:lnTo>
                  <a:lnTo>
                    <a:pt x="508" y="1661"/>
                  </a:lnTo>
                  <a:lnTo>
                    <a:pt x="525" y="1661"/>
                  </a:lnTo>
                  <a:lnTo>
                    <a:pt x="534" y="1653"/>
                  </a:lnTo>
                  <a:lnTo>
                    <a:pt x="534" y="1650"/>
                  </a:lnTo>
                  <a:lnTo>
                    <a:pt x="540" y="1647"/>
                  </a:lnTo>
                  <a:lnTo>
                    <a:pt x="546" y="1642"/>
                  </a:lnTo>
                  <a:lnTo>
                    <a:pt x="548" y="1636"/>
                  </a:lnTo>
                  <a:lnTo>
                    <a:pt x="547" y="1632"/>
                  </a:lnTo>
                  <a:lnTo>
                    <a:pt x="554" y="1611"/>
                  </a:lnTo>
                  <a:lnTo>
                    <a:pt x="577" y="1600"/>
                  </a:lnTo>
                  <a:lnTo>
                    <a:pt x="594" y="1598"/>
                  </a:lnTo>
                  <a:lnTo>
                    <a:pt x="593" y="1588"/>
                  </a:lnTo>
                  <a:lnTo>
                    <a:pt x="594" y="1578"/>
                  </a:lnTo>
                  <a:lnTo>
                    <a:pt x="607" y="1560"/>
                  </a:lnTo>
                  <a:lnTo>
                    <a:pt x="610" y="1552"/>
                  </a:lnTo>
                  <a:lnTo>
                    <a:pt x="615" y="1541"/>
                  </a:lnTo>
                  <a:lnTo>
                    <a:pt x="628" y="1539"/>
                  </a:lnTo>
                  <a:lnTo>
                    <a:pt x="632" y="1542"/>
                  </a:lnTo>
                  <a:lnTo>
                    <a:pt x="643" y="1542"/>
                  </a:lnTo>
                  <a:lnTo>
                    <a:pt x="643" y="1525"/>
                  </a:lnTo>
                  <a:lnTo>
                    <a:pt x="640" y="1496"/>
                  </a:lnTo>
                  <a:lnTo>
                    <a:pt x="640" y="1467"/>
                  </a:lnTo>
                  <a:lnTo>
                    <a:pt x="643" y="1456"/>
                  </a:lnTo>
                  <a:lnTo>
                    <a:pt x="655" y="1431"/>
                  </a:lnTo>
                  <a:lnTo>
                    <a:pt x="660" y="1417"/>
                  </a:lnTo>
                  <a:lnTo>
                    <a:pt x="667" y="1390"/>
                  </a:lnTo>
                  <a:lnTo>
                    <a:pt x="669" y="1381"/>
                  </a:lnTo>
                  <a:lnTo>
                    <a:pt x="667" y="1368"/>
                  </a:lnTo>
                  <a:lnTo>
                    <a:pt x="661" y="1363"/>
                  </a:lnTo>
                  <a:lnTo>
                    <a:pt x="660" y="1358"/>
                  </a:lnTo>
                  <a:lnTo>
                    <a:pt x="658" y="1356"/>
                  </a:lnTo>
                  <a:lnTo>
                    <a:pt x="660" y="1352"/>
                  </a:lnTo>
                  <a:lnTo>
                    <a:pt x="664" y="1356"/>
                  </a:lnTo>
                  <a:lnTo>
                    <a:pt x="656" y="1324"/>
                  </a:lnTo>
                  <a:lnTo>
                    <a:pt x="659" y="1314"/>
                  </a:lnTo>
                  <a:lnTo>
                    <a:pt x="659" y="1304"/>
                  </a:lnTo>
                  <a:lnTo>
                    <a:pt x="659" y="1302"/>
                  </a:lnTo>
                  <a:lnTo>
                    <a:pt x="655" y="1297"/>
                  </a:lnTo>
                  <a:lnTo>
                    <a:pt x="654" y="1284"/>
                  </a:lnTo>
                  <a:lnTo>
                    <a:pt x="654" y="1262"/>
                  </a:lnTo>
                  <a:lnTo>
                    <a:pt x="661" y="1251"/>
                  </a:lnTo>
                  <a:lnTo>
                    <a:pt x="670" y="1238"/>
                  </a:lnTo>
                  <a:lnTo>
                    <a:pt x="680" y="1233"/>
                  </a:lnTo>
                  <a:lnTo>
                    <a:pt x="688" y="1232"/>
                  </a:lnTo>
                  <a:lnTo>
                    <a:pt x="698" y="1238"/>
                  </a:lnTo>
                  <a:lnTo>
                    <a:pt x="706" y="1234"/>
                  </a:lnTo>
                  <a:lnTo>
                    <a:pt x="713" y="1222"/>
                  </a:lnTo>
                  <a:lnTo>
                    <a:pt x="718" y="1208"/>
                  </a:lnTo>
                  <a:lnTo>
                    <a:pt x="720" y="1208"/>
                  </a:lnTo>
                  <a:lnTo>
                    <a:pt x="733" y="1205"/>
                  </a:lnTo>
                  <a:lnTo>
                    <a:pt x="746" y="1202"/>
                  </a:lnTo>
                  <a:lnTo>
                    <a:pt x="769" y="1193"/>
                  </a:lnTo>
                  <a:lnTo>
                    <a:pt x="776" y="1185"/>
                  </a:lnTo>
                  <a:lnTo>
                    <a:pt x="776" y="1174"/>
                  </a:lnTo>
                  <a:lnTo>
                    <a:pt x="782" y="1164"/>
                  </a:lnTo>
                  <a:lnTo>
                    <a:pt x="795" y="1155"/>
                  </a:lnTo>
                  <a:lnTo>
                    <a:pt x="820" y="1136"/>
                  </a:lnTo>
                  <a:lnTo>
                    <a:pt x="837" y="1123"/>
                  </a:lnTo>
                  <a:lnTo>
                    <a:pt x="849" y="1109"/>
                  </a:lnTo>
                  <a:lnTo>
                    <a:pt x="864" y="1098"/>
                  </a:lnTo>
                  <a:lnTo>
                    <a:pt x="875" y="1092"/>
                  </a:lnTo>
                  <a:lnTo>
                    <a:pt x="878" y="1088"/>
                  </a:lnTo>
                  <a:lnTo>
                    <a:pt x="880" y="1087"/>
                  </a:lnTo>
                  <a:lnTo>
                    <a:pt x="890" y="1077"/>
                  </a:lnTo>
                  <a:lnTo>
                    <a:pt x="925" y="1034"/>
                  </a:lnTo>
                  <a:lnTo>
                    <a:pt x="938" y="1024"/>
                  </a:lnTo>
                  <a:lnTo>
                    <a:pt x="968" y="1007"/>
                  </a:lnTo>
                  <a:lnTo>
                    <a:pt x="986" y="1001"/>
                  </a:lnTo>
                  <a:lnTo>
                    <a:pt x="995" y="996"/>
                  </a:lnTo>
                  <a:lnTo>
                    <a:pt x="998" y="996"/>
                  </a:lnTo>
                  <a:lnTo>
                    <a:pt x="1015" y="981"/>
                  </a:lnTo>
                  <a:lnTo>
                    <a:pt x="1024" y="970"/>
                  </a:lnTo>
                  <a:lnTo>
                    <a:pt x="1026" y="964"/>
                  </a:lnTo>
                  <a:lnTo>
                    <a:pt x="1036" y="953"/>
                  </a:lnTo>
                  <a:lnTo>
                    <a:pt x="1030" y="929"/>
                  </a:lnTo>
                  <a:lnTo>
                    <a:pt x="1036" y="913"/>
                  </a:lnTo>
                  <a:lnTo>
                    <a:pt x="1068" y="897"/>
                  </a:lnTo>
                  <a:lnTo>
                    <a:pt x="1078" y="894"/>
                  </a:lnTo>
                  <a:lnTo>
                    <a:pt x="1084" y="889"/>
                  </a:lnTo>
                  <a:lnTo>
                    <a:pt x="1089" y="880"/>
                  </a:lnTo>
                  <a:lnTo>
                    <a:pt x="1091" y="874"/>
                  </a:lnTo>
                  <a:lnTo>
                    <a:pt x="1096" y="868"/>
                  </a:lnTo>
                  <a:lnTo>
                    <a:pt x="1100" y="868"/>
                  </a:lnTo>
                  <a:lnTo>
                    <a:pt x="1097" y="880"/>
                  </a:lnTo>
                  <a:lnTo>
                    <a:pt x="1097" y="893"/>
                  </a:lnTo>
                  <a:lnTo>
                    <a:pt x="1099" y="894"/>
                  </a:lnTo>
                  <a:lnTo>
                    <a:pt x="1101" y="894"/>
                  </a:lnTo>
                  <a:lnTo>
                    <a:pt x="1104" y="895"/>
                  </a:lnTo>
                  <a:lnTo>
                    <a:pt x="1107" y="902"/>
                  </a:lnTo>
                  <a:lnTo>
                    <a:pt x="1116" y="901"/>
                  </a:lnTo>
                  <a:lnTo>
                    <a:pt x="1121" y="897"/>
                  </a:lnTo>
                  <a:lnTo>
                    <a:pt x="1124" y="899"/>
                  </a:lnTo>
                  <a:lnTo>
                    <a:pt x="1126" y="890"/>
                  </a:lnTo>
                  <a:lnTo>
                    <a:pt x="1128" y="886"/>
                  </a:lnTo>
                  <a:lnTo>
                    <a:pt x="1131" y="896"/>
                  </a:lnTo>
                  <a:lnTo>
                    <a:pt x="1134" y="900"/>
                  </a:lnTo>
                  <a:lnTo>
                    <a:pt x="1142" y="897"/>
                  </a:lnTo>
                  <a:lnTo>
                    <a:pt x="1135" y="884"/>
                  </a:lnTo>
                  <a:lnTo>
                    <a:pt x="1137" y="878"/>
                  </a:lnTo>
                  <a:lnTo>
                    <a:pt x="1135" y="874"/>
                  </a:lnTo>
                  <a:lnTo>
                    <a:pt x="1133" y="863"/>
                  </a:lnTo>
                  <a:lnTo>
                    <a:pt x="1134" y="854"/>
                  </a:lnTo>
                  <a:lnTo>
                    <a:pt x="1132" y="846"/>
                  </a:lnTo>
                  <a:lnTo>
                    <a:pt x="1127" y="841"/>
                  </a:lnTo>
                  <a:lnTo>
                    <a:pt x="1124" y="832"/>
                  </a:lnTo>
                  <a:lnTo>
                    <a:pt x="1124" y="823"/>
                  </a:lnTo>
                  <a:lnTo>
                    <a:pt x="1126" y="820"/>
                  </a:lnTo>
                  <a:lnTo>
                    <a:pt x="1127" y="804"/>
                  </a:lnTo>
                  <a:lnTo>
                    <a:pt x="1126" y="800"/>
                  </a:lnTo>
                  <a:lnTo>
                    <a:pt x="1122" y="799"/>
                  </a:lnTo>
                  <a:lnTo>
                    <a:pt x="1122" y="784"/>
                  </a:lnTo>
                  <a:lnTo>
                    <a:pt x="1116" y="778"/>
                  </a:lnTo>
                  <a:lnTo>
                    <a:pt x="1116" y="770"/>
                  </a:lnTo>
                  <a:lnTo>
                    <a:pt x="1118" y="759"/>
                  </a:lnTo>
                  <a:lnTo>
                    <a:pt x="1120" y="738"/>
                  </a:lnTo>
                  <a:lnTo>
                    <a:pt x="1111" y="728"/>
                  </a:lnTo>
                  <a:lnTo>
                    <a:pt x="1105" y="723"/>
                  </a:lnTo>
                  <a:lnTo>
                    <a:pt x="1094" y="718"/>
                  </a:lnTo>
                  <a:lnTo>
                    <a:pt x="1085" y="714"/>
                  </a:lnTo>
                  <a:lnTo>
                    <a:pt x="1084" y="708"/>
                  </a:lnTo>
                  <a:lnTo>
                    <a:pt x="1085" y="703"/>
                  </a:lnTo>
                  <a:lnTo>
                    <a:pt x="1090" y="695"/>
                  </a:lnTo>
                  <a:lnTo>
                    <a:pt x="1097" y="694"/>
                  </a:lnTo>
                  <a:lnTo>
                    <a:pt x="1104" y="690"/>
                  </a:lnTo>
                  <a:lnTo>
                    <a:pt x="1106" y="683"/>
                  </a:lnTo>
                  <a:lnTo>
                    <a:pt x="1126" y="681"/>
                  </a:lnTo>
                  <a:lnTo>
                    <a:pt x="1126" y="673"/>
                  </a:lnTo>
                  <a:lnTo>
                    <a:pt x="1122" y="669"/>
                  </a:lnTo>
                  <a:lnTo>
                    <a:pt x="1123" y="665"/>
                  </a:lnTo>
                  <a:lnTo>
                    <a:pt x="1108" y="667"/>
                  </a:lnTo>
                  <a:lnTo>
                    <a:pt x="1101" y="662"/>
                  </a:lnTo>
                  <a:lnTo>
                    <a:pt x="1099" y="648"/>
                  </a:lnTo>
                  <a:lnTo>
                    <a:pt x="1095" y="644"/>
                  </a:lnTo>
                  <a:lnTo>
                    <a:pt x="1110" y="620"/>
                  </a:lnTo>
                  <a:lnTo>
                    <a:pt x="1112" y="608"/>
                  </a:lnTo>
                  <a:lnTo>
                    <a:pt x="1117" y="605"/>
                  </a:lnTo>
                  <a:lnTo>
                    <a:pt x="1126" y="622"/>
                  </a:lnTo>
                  <a:lnTo>
                    <a:pt x="1132" y="630"/>
                  </a:lnTo>
                  <a:lnTo>
                    <a:pt x="1133" y="622"/>
                  </a:lnTo>
                  <a:lnTo>
                    <a:pt x="1137" y="610"/>
                  </a:lnTo>
                  <a:lnTo>
                    <a:pt x="1143" y="613"/>
                  </a:lnTo>
                  <a:lnTo>
                    <a:pt x="1145" y="627"/>
                  </a:lnTo>
                  <a:lnTo>
                    <a:pt x="1153" y="636"/>
                  </a:lnTo>
                  <a:lnTo>
                    <a:pt x="1159" y="632"/>
                  </a:lnTo>
                  <a:lnTo>
                    <a:pt x="1166" y="638"/>
                  </a:lnTo>
                  <a:lnTo>
                    <a:pt x="1175" y="624"/>
                  </a:lnTo>
                  <a:lnTo>
                    <a:pt x="1177" y="628"/>
                  </a:lnTo>
                  <a:lnTo>
                    <a:pt x="1180" y="648"/>
                  </a:lnTo>
                  <a:lnTo>
                    <a:pt x="1185" y="667"/>
                  </a:lnTo>
                  <a:lnTo>
                    <a:pt x="1192" y="675"/>
                  </a:lnTo>
                  <a:lnTo>
                    <a:pt x="1203" y="680"/>
                  </a:lnTo>
                  <a:lnTo>
                    <a:pt x="1246" y="684"/>
                  </a:lnTo>
                  <a:lnTo>
                    <a:pt x="1250" y="681"/>
                  </a:lnTo>
                  <a:lnTo>
                    <a:pt x="1264" y="679"/>
                  </a:lnTo>
                  <a:lnTo>
                    <a:pt x="1288" y="681"/>
                  </a:lnTo>
                  <a:lnTo>
                    <a:pt x="1311" y="685"/>
                  </a:lnTo>
                  <a:lnTo>
                    <a:pt x="1326" y="691"/>
                  </a:lnTo>
                  <a:lnTo>
                    <a:pt x="1325" y="696"/>
                  </a:lnTo>
                  <a:lnTo>
                    <a:pt x="1315" y="701"/>
                  </a:lnTo>
                  <a:lnTo>
                    <a:pt x="1310" y="714"/>
                  </a:lnTo>
                  <a:lnTo>
                    <a:pt x="1298" y="729"/>
                  </a:lnTo>
                  <a:lnTo>
                    <a:pt x="1288" y="739"/>
                  </a:lnTo>
                  <a:lnTo>
                    <a:pt x="1276" y="744"/>
                  </a:lnTo>
                  <a:lnTo>
                    <a:pt x="1262" y="754"/>
                  </a:lnTo>
                  <a:lnTo>
                    <a:pt x="1260" y="762"/>
                  </a:lnTo>
                  <a:lnTo>
                    <a:pt x="1261" y="778"/>
                  </a:lnTo>
                  <a:lnTo>
                    <a:pt x="1268" y="798"/>
                  </a:lnTo>
                  <a:lnTo>
                    <a:pt x="1278" y="799"/>
                  </a:lnTo>
                  <a:lnTo>
                    <a:pt x="1284" y="809"/>
                  </a:lnTo>
                  <a:lnTo>
                    <a:pt x="1292" y="814"/>
                  </a:lnTo>
                  <a:lnTo>
                    <a:pt x="1295" y="807"/>
                  </a:lnTo>
                  <a:lnTo>
                    <a:pt x="1301" y="786"/>
                  </a:lnTo>
                  <a:lnTo>
                    <a:pt x="1312" y="771"/>
                  </a:lnTo>
                  <a:lnTo>
                    <a:pt x="1319" y="772"/>
                  </a:lnTo>
                  <a:lnTo>
                    <a:pt x="1326" y="786"/>
                  </a:lnTo>
                  <a:lnTo>
                    <a:pt x="1331" y="803"/>
                  </a:lnTo>
                  <a:lnTo>
                    <a:pt x="1333" y="811"/>
                  </a:lnTo>
                  <a:lnTo>
                    <a:pt x="1336" y="819"/>
                  </a:lnTo>
                  <a:lnTo>
                    <a:pt x="1342" y="847"/>
                  </a:lnTo>
                  <a:lnTo>
                    <a:pt x="1346" y="881"/>
                  </a:lnTo>
                  <a:lnTo>
                    <a:pt x="1349" y="878"/>
                  </a:lnTo>
                  <a:lnTo>
                    <a:pt x="1354" y="873"/>
                  </a:lnTo>
                  <a:lnTo>
                    <a:pt x="1363" y="875"/>
                  </a:lnTo>
                  <a:lnTo>
                    <a:pt x="1368" y="874"/>
                  </a:lnTo>
                  <a:lnTo>
                    <a:pt x="1373" y="868"/>
                  </a:lnTo>
                  <a:lnTo>
                    <a:pt x="1374" y="862"/>
                  </a:lnTo>
                  <a:lnTo>
                    <a:pt x="1371" y="862"/>
                  </a:lnTo>
                  <a:lnTo>
                    <a:pt x="1368" y="852"/>
                  </a:lnTo>
                  <a:lnTo>
                    <a:pt x="1368" y="836"/>
                  </a:lnTo>
                  <a:lnTo>
                    <a:pt x="1369" y="823"/>
                  </a:lnTo>
                  <a:lnTo>
                    <a:pt x="1380" y="824"/>
                  </a:lnTo>
                  <a:lnTo>
                    <a:pt x="1384" y="819"/>
                  </a:lnTo>
                  <a:lnTo>
                    <a:pt x="1387" y="799"/>
                  </a:lnTo>
                  <a:lnTo>
                    <a:pt x="1386" y="773"/>
                  </a:lnTo>
                  <a:lnTo>
                    <a:pt x="1393" y="766"/>
                  </a:lnTo>
                  <a:lnTo>
                    <a:pt x="1407" y="762"/>
                  </a:lnTo>
                  <a:lnTo>
                    <a:pt x="1420" y="765"/>
                  </a:lnTo>
                  <a:lnTo>
                    <a:pt x="1428" y="765"/>
                  </a:lnTo>
                  <a:lnTo>
                    <a:pt x="1433" y="760"/>
                  </a:lnTo>
                  <a:lnTo>
                    <a:pt x="1439" y="740"/>
                  </a:lnTo>
                  <a:lnTo>
                    <a:pt x="1457" y="705"/>
                  </a:lnTo>
                  <a:lnTo>
                    <a:pt x="1461" y="694"/>
                  </a:lnTo>
                  <a:lnTo>
                    <a:pt x="1459" y="684"/>
                  </a:lnTo>
                  <a:lnTo>
                    <a:pt x="1465" y="675"/>
                  </a:lnTo>
                  <a:lnTo>
                    <a:pt x="1481" y="664"/>
                  </a:lnTo>
                  <a:lnTo>
                    <a:pt x="1487" y="652"/>
                  </a:lnTo>
                  <a:lnTo>
                    <a:pt x="1486" y="624"/>
                  </a:lnTo>
                  <a:lnTo>
                    <a:pt x="1493" y="608"/>
                  </a:lnTo>
                  <a:lnTo>
                    <a:pt x="1506" y="597"/>
                  </a:lnTo>
                  <a:lnTo>
                    <a:pt x="1521" y="589"/>
                  </a:lnTo>
                  <a:lnTo>
                    <a:pt x="1531" y="581"/>
                  </a:lnTo>
                  <a:lnTo>
                    <a:pt x="1538" y="567"/>
                  </a:lnTo>
                  <a:lnTo>
                    <a:pt x="1558" y="563"/>
                  </a:lnTo>
                  <a:lnTo>
                    <a:pt x="1569" y="560"/>
                  </a:lnTo>
                  <a:lnTo>
                    <a:pt x="1585" y="565"/>
                  </a:lnTo>
                  <a:lnTo>
                    <a:pt x="1590" y="560"/>
                  </a:lnTo>
                  <a:lnTo>
                    <a:pt x="1586" y="544"/>
                  </a:lnTo>
                  <a:lnTo>
                    <a:pt x="1591" y="530"/>
                  </a:lnTo>
                  <a:lnTo>
                    <a:pt x="1602" y="525"/>
                  </a:lnTo>
                  <a:lnTo>
                    <a:pt x="1608" y="518"/>
                  </a:lnTo>
                  <a:lnTo>
                    <a:pt x="1608" y="506"/>
                  </a:lnTo>
                  <a:lnTo>
                    <a:pt x="1604" y="493"/>
                  </a:lnTo>
                  <a:lnTo>
                    <a:pt x="1594" y="490"/>
                  </a:lnTo>
                  <a:lnTo>
                    <a:pt x="1580" y="490"/>
                  </a:lnTo>
                  <a:lnTo>
                    <a:pt x="1570" y="486"/>
                  </a:lnTo>
                  <a:lnTo>
                    <a:pt x="1552" y="486"/>
                  </a:lnTo>
                  <a:lnTo>
                    <a:pt x="1554" y="470"/>
                  </a:lnTo>
                  <a:lnTo>
                    <a:pt x="1556" y="455"/>
                  </a:lnTo>
                  <a:lnTo>
                    <a:pt x="1543" y="453"/>
                  </a:lnTo>
                  <a:lnTo>
                    <a:pt x="1541" y="442"/>
                  </a:lnTo>
                  <a:lnTo>
                    <a:pt x="1543" y="434"/>
                  </a:lnTo>
                  <a:lnTo>
                    <a:pt x="1532" y="422"/>
                  </a:lnTo>
                  <a:lnTo>
                    <a:pt x="1520" y="426"/>
                  </a:lnTo>
                  <a:lnTo>
                    <a:pt x="1505" y="436"/>
                  </a:lnTo>
                  <a:lnTo>
                    <a:pt x="1492" y="439"/>
                  </a:lnTo>
                  <a:lnTo>
                    <a:pt x="1472" y="441"/>
                  </a:lnTo>
                  <a:lnTo>
                    <a:pt x="1463" y="439"/>
                  </a:lnTo>
                  <a:lnTo>
                    <a:pt x="1457" y="434"/>
                  </a:lnTo>
                  <a:lnTo>
                    <a:pt x="1452" y="433"/>
                  </a:lnTo>
                  <a:lnTo>
                    <a:pt x="1443" y="438"/>
                  </a:lnTo>
                  <a:lnTo>
                    <a:pt x="1434" y="444"/>
                  </a:lnTo>
                  <a:lnTo>
                    <a:pt x="1428" y="455"/>
                  </a:lnTo>
                  <a:lnTo>
                    <a:pt x="1408" y="472"/>
                  </a:lnTo>
                  <a:lnTo>
                    <a:pt x="1393" y="476"/>
                  </a:lnTo>
                  <a:lnTo>
                    <a:pt x="1379" y="492"/>
                  </a:lnTo>
                  <a:lnTo>
                    <a:pt x="1369" y="499"/>
                  </a:lnTo>
                  <a:lnTo>
                    <a:pt x="1354" y="507"/>
                  </a:lnTo>
                  <a:lnTo>
                    <a:pt x="1342" y="515"/>
                  </a:lnTo>
                  <a:lnTo>
                    <a:pt x="1314" y="522"/>
                  </a:lnTo>
                  <a:lnTo>
                    <a:pt x="1296" y="527"/>
                  </a:lnTo>
                  <a:lnTo>
                    <a:pt x="1298" y="529"/>
                  </a:lnTo>
                  <a:lnTo>
                    <a:pt x="1298" y="531"/>
                  </a:lnTo>
                  <a:lnTo>
                    <a:pt x="1295" y="538"/>
                  </a:lnTo>
                  <a:lnTo>
                    <a:pt x="1295" y="540"/>
                  </a:lnTo>
                  <a:lnTo>
                    <a:pt x="1296" y="542"/>
                  </a:lnTo>
                  <a:lnTo>
                    <a:pt x="1315" y="550"/>
                  </a:lnTo>
                  <a:lnTo>
                    <a:pt x="1321" y="556"/>
                  </a:lnTo>
                  <a:lnTo>
                    <a:pt x="1319" y="570"/>
                  </a:lnTo>
                  <a:lnTo>
                    <a:pt x="1320" y="574"/>
                  </a:lnTo>
                  <a:lnTo>
                    <a:pt x="1320" y="577"/>
                  </a:lnTo>
                  <a:lnTo>
                    <a:pt x="1312" y="581"/>
                  </a:lnTo>
                  <a:lnTo>
                    <a:pt x="1292" y="584"/>
                  </a:lnTo>
                  <a:lnTo>
                    <a:pt x="1278" y="585"/>
                  </a:lnTo>
                  <a:lnTo>
                    <a:pt x="1257" y="589"/>
                  </a:lnTo>
                  <a:lnTo>
                    <a:pt x="1249" y="590"/>
                  </a:lnTo>
                  <a:lnTo>
                    <a:pt x="1240" y="590"/>
                  </a:lnTo>
                  <a:lnTo>
                    <a:pt x="1230" y="587"/>
                  </a:lnTo>
                  <a:lnTo>
                    <a:pt x="1225" y="587"/>
                  </a:lnTo>
                  <a:lnTo>
                    <a:pt x="1202" y="595"/>
                  </a:lnTo>
                  <a:lnTo>
                    <a:pt x="1183" y="595"/>
                  </a:lnTo>
                  <a:lnTo>
                    <a:pt x="1160" y="592"/>
                  </a:lnTo>
                  <a:lnTo>
                    <a:pt x="1149" y="588"/>
                  </a:lnTo>
                  <a:lnTo>
                    <a:pt x="1145" y="585"/>
                  </a:lnTo>
                  <a:lnTo>
                    <a:pt x="1142" y="585"/>
                  </a:lnTo>
                  <a:lnTo>
                    <a:pt x="1140" y="584"/>
                  </a:lnTo>
                  <a:lnTo>
                    <a:pt x="1140" y="577"/>
                  </a:lnTo>
                  <a:lnTo>
                    <a:pt x="1139" y="574"/>
                  </a:lnTo>
                  <a:lnTo>
                    <a:pt x="1134" y="573"/>
                  </a:lnTo>
                  <a:lnTo>
                    <a:pt x="1134" y="568"/>
                  </a:lnTo>
                  <a:lnTo>
                    <a:pt x="1143" y="560"/>
                  </a:lnTo>
                  <a:lnTo>
                    <a:pt x="1144" y="556"/>
                  </a:lnTo>
                  <a:lnTo>
                    <a:pt x="1139" y="556"/>
                  </a:lnTo>
                  <a:lnTo>
                    <a:pt x="1135" y="554"/>
                  </a:lnTo>
                  <a:lnTo>
                    <a:pt x="1133" y="551"/>
                  </a:lnTo>
                  <a:lnTo>
                    <a:pt x="1133" y="544"/>
                  </a:lnTo>
                  <a:lnTo>
                    <a:pt x="1137" y="531"/>
                  </a:lnTo>
                  <a:lnTo>
                    <a:pt x="1137" y="525"/>
                  </a:lnTo>
                  <a:lnTo>
                    <a:pt x="1134" y="515"/>
                  </a:lnTo>
                  <a:lnTo>
                    <a:pt x="1133" y="512"/>
                  </a:lnTo>
                  <a:lnTo>
                    <a:pt x="1128" y="509"/>
                  </a:lnTo>
                  <a:lnTo>
                    <a:pt x="1123" y="511"/>
                  </a:lnTo>
                  <a:lnTo>
                    <a:pt x="1115" y="517"/>
                  </a:lnTo>
                  <a:lnTo>
                    <a:pt x="1107" y="517"/>
                  </a:lnTo>
                  <a:lnTo>
                    <a:pt x="1099" y="520"/>
                  </a:lnTo>
                  <a:lnTo>
                    <a:pt x="1097" y="522"/>
                  </a:lnTo>
                  <a:lnTo>
                    <a:pt x="1094" y="529"/>
                  </a:lnTo>
                  <a:lnTo>
                    <a:pt x="1090" y="541"/>
                  </a:lnTo>
                  <a:lnTo>
                    <a:pt x="1091" y="556"/>
                  </a:lnTo>
                  <a:lnTo>
                    <a:pt x="1090" y="570"/>
                  </a:lnTo>
                  <a:lnTo>
                    <a:pt x="1086" y="574"/>
                  </a:lnTo>
                  <a:lnTo>
                    <a:pt x="1086" y="578"/>
                  </a:lnTo>
                  <a:lnTo>
                    <a:pt x="1094" y="582"/>
                  </a:lnTo>
                  <a:lnTo>
                    <a:pt x="1099" y="592"/>
                  </a:lnTo>
                  <a:lnTo>
                    <a:pt x="1099" y="599"/>
                  </a:lnTo>
                  <a:lnTo>
                    <a:pt x="1092" y="610"/>
                  </a:lnTo>
                  <a:lnTo>
                    <a:pt x="1092" y="613"/>
                  </a:lnTo>
                  <a:lnTo>
                    <a:pt x="1080" y="611"/>
                  </a:lnTo>
                  <a:lnTo>
                    <a:pt x="1069" y="614"/>
                  </a:lnTo>
                  <a:lnTo>
                    <a:pt x="1054" y="613"/>
                  </a:lnTo>
                  <a:lnTo>
                    <a:pt x="1046" y="615"/>
                  </a:lnTo>
                  <a:lnTo>
                    <a:pt x="1036" y="610"/>
                  </a:lnTo>
                  <a:lnTo>
                    <a:pt x="1026" y="609"/>
                  </a:lnTo>
                  <a:lnTo>
                    <a:pt x="1020" y="609"/>
                  </a:lnTo>
                  <a:lnTo>
                    <a:pt x="973" y="601"/>
                  </a:lnTo>
                  <a:lnTo>
                    <a:pt x="967" y="595"/>
                  </a:lnTo>
                  <a:lnTo>
                    <a:pt x="959" y="592"/>
                  </a:lnTo>
                  <a:lnTo>
                    <a:pt x="945" y="593"/>
                  </a:lnTo>
                  <a:lnTo>
                    <a:pt x="925" y="589"/>
                  </a:lnTo>
                  <a:lnTo>
                    <a:pt x="913" y="581"/>
                  </a:lnTo>
                  <a:lnTo>
                    <a:pt x="907" y="576"/>
                  </a:lnTo>
                  <a:lnTo>
                    <a:pt x="897" y="562"/>
                  </a:lnTo>
                  <a:lnTo>
                    <a:pt x="891" y="558"/>
                  </a:lnTo>
                  <a:lnTo>
                    <a:pt x="873" y="555"/>
                  </a:lnTo>
                  <a:lnTo>
                    <a:pt x="869" y="555"/>
                  </a:lnTo>
                  <a:lnTo>
                    <a:pt x="866" y="558"/>
                  </a:lnTo>
                  <a:lnTo>
                    <a:pt x="860" y="557"/>
                  </a:lnTo>
                  <a:lnTo>
                    <a:pt x="852" y="554"/>
                  </a:lnTo>
                  <a:lnTo>
                    <a:pt x="841" y="554"/>
                  </a:lnTo>
                  <a:lnTo>
                    <a:pt x="832" y="558"/>
                  </a:lnTo>
                  <a:lnTo>
                    <a:pt x="827" y="558"/>
                  </a:lnTo>
                  <a:lnTo>
                    <a:pt x="806" y="554"/>
                  </a:lnTo>
                  <a:lnTo>
                    <a:pt x="796" y="541"/>
                  </a:lnTo>
                  <a:lnTo>
                    <a:pt x="794" y="539"/>
                  </a:lnTo>
                  <a:lnTo>
                    <a:pt x="785" y="538"/>
                  </a:lnTo>
                  <a:lnTo>
                    <a:pt x="782" y="538"/>
                  </a:lnTo>
                  <a:lnTo>
                    <a:pt x="772" y="530"/>
                  </a:lnTo>
                  <a:lnTo>
                    <a:pt x="761" y="525"/>
                  </a:lnTo>
                  <a:lnTo>
                    <a:pt x="751" y="524"/>
                  </a:lnTo>
                  <a:lnTo>
                    <a:pt x="741" y="519"/>
                  </a:lnTo>
                  <a:lnTo>
                    <a:pt x="736" y="515"/>
                  </a:lnTo>
                  <a:lnTo>
                    <a:pt x="724" y="501"/>
                  </a:lnTo>
                  <a:lnTo>
                    <a:pt x="715" y="495"/>
                  </a:lnTo>
                  <a:lnTo>
                    <a:pt x="707" y="491"/>
                  </a:lnTo>
                  <a:lnTo>
                    <a:pt x="703" y="487"/>
                  </a:lnTo>
                  <a:lnTo>
                    <a:pt x="690" y="480"/>
                  </a:lnTo>
                  <a:lnTo>
                    <a:pt x="687" y="480"/>
                  </a:lnTo>
                  <a:lnTo>
                    <a:pt x="686" y="484"/>
                  </a:lnTo>
                  <a:lnTo>
                    <a:pt x="681" y="484"/>
                  </a:lnTo>
                  <a:lnTo>
                    <a:pt x="676" y="480"/>
                  </a:lnTo>
                  <a:lnTo>
                    <a:pt x="675" y="474"/>
                  </a:lnTo>
                  <a:lnTo>
                    <a:pt x="670" y="469"/>
                  </a:lnTo>
                  <a:lnTo>
                    <a:pt x="659" y="468"/>
                  </a:lnTo>
                  <a:lnTo>
                    <a:pt x="658" y="465"/>
                  </a:lnTo>
                  <a:lnTo>
                    <a:pt x="659" y="458"/>
                  </a:lnTo>
                  <a:lnTo>
                    <a:pt x="664" y="450"/>
                  </a:lnTo>
                  <a:lnTo>
                    <a:pt x="667" y="449"/>
                  </a:lnTo>
                  <a:lnTo>
                    <a:pt x="669" y="442"/>
                  </a:lnTo>
                  <a:lnTo>
                    <a:pt x="672" y="438"/>
                  </a:lnTo>
                  <a:lnTo>
                    <a:pt x="669" y="429"/>
                  </a:lnTo>
                  <a:lnTo>
                    <a:pt x="672" y="422"/>
                  </a:lnTo>
                  <a:lnTo>
                    <a:pt x="677" y="416"/>
                  </a:lnTo>
                  <a:lnTo>
                    <a:pt x="675" y="409"/>
                  </a:lnTo>
                  <a:lnTo>
                    <a:pt x="675" y="405"/>
                  </a:lnTo>
                  <a:lnTo>
                    <a:pt x="679" y="400"/>
                  </a:lnTo>
                  <a:lnTo>
                    <a:pt x="685" y="400"/>
                  </a:lnTo>
                  <a:lnTo>
                    <a:pt x="688" y="393"/>
                  </a:lnTo>
                  <a:lnTo>
                    <a:pt x="696" y="388"/>
                  </a:lnTo>
                  <a:lnTo>
                    <a:pt x="699" y="382"/>
                  </a:lnTo>
                  <a:lnTo>
                    <a:pt x="701" y="377"/>
                  </a:lnTo>
                  <a:lnTo>
                    <a:pt x="703" y="375"/>
                  </a:lnTo>
                  <a:lnTo>
                    <a:pt x="706" y="377"/>
                  </a:lnTo>
                  <a:lnTo>
                    <a:pt x="712" y="375"/>
                  </a:lnTo>
                  <a:lnTo>
                    <a:pt x="709" y="374"/>
                  </a:lnTo>
                  <a:lnTo>
                    <a:pt x="692" y="369"/>
                  </a:lnTo>
                  <a:lnTo>
                    <a:pt x="690" y="367"/>
                  </a:lnTo>
                  <a:lnTo>
                    <a:pt x="686" y="361"/>
                  </a:lnTo>
                  <a:lnTo>
                    <a:pt x="681" y="359"/>
                  </a:lnTo>
                  <a:lnTo>
                    <a:pt x="669" y="350"/>
                  </a:lnTo>
                  <a:lnTo>
                    <a:pt x="663" y="350"/>
                  </a:lnTo>
                  <a:lnTo>
                    <a:pt x="656" y="346"/>
                  </a:lnTo>
                  <a:lnTo>
                    <a:pt x="654" y="342"/>
                  </a:lnTo>
                  <a:lnTo>
                    <a:pt x="654" y="339"/>
                  </a:lnTo>
                  <a:lnTo>
                    <a:pt x="651" y="335"/>
                  </a:lnTo>
                  <a:lnTo>
                    <a:pt x="647" y="335"/>
                  </a:lnTo>
                  <a:lnTo>
                    <a:pt x="645" y="332"/>
                  </a:lnTo>
                  <a:lnTo>
                    <a:pt x="640" y="330"/>
                  </a:lnTo>
                  <a:lnTo>
                    <a:pt x="632" y="334"/>
                  </a:lnTo>
                  <a:lnTo>
                    <a:pt x="631" y="332"/>
                  </a:lnTo>
                  <a:lnTo>
                    <a:pt x="629" y="326"/>
                  </a:lnTo>
                  <a:lnTo>
                    <a:pt x="628" y="325"/>
                  </a:lnTo>
                  <a:lnTo>
                    <a:pt x="624" y="324"/>
                  </a:lnTo>
                  <a:lnTo>
                    <a:pt x="621" y="325"/>
                  </a:lnTo>
                  <a:lnTo>
                    <a:pt x="612" y="324"/>
                  </a:lnTo>
                  <a:lnTo>
                    <a:pt x="608" y="325"/>
                  </a:lnTo>
                  <a:lnTo>
                    <a:pt x="602" y="329"/>
                  </a:lnTo>
                  <a:lnTo>
                    <a:pt x="599" y="329"/>
                  </a:lnTo>
                  <a:lnTo>
                    <a:pt x="596" y="326"/>
                  </a:lnTo>
                  <a:lnTo>
                    <a:pt x="597" y="316"/>
                  </a:lnTo>
                  <a:lnTo>
                    <a:pt x="593" y="313"/>
                  </a:lnTo>
                  <a:lnTo>
                    <a:pt x="589" y="307"/>
                  </a:lnTo>
                  <a:lnTo>
                    <a:pt x="589" y="304"/>
                  </a:lnTo>
                  <a:lnTo>
                    <a:pt x="584" y="299"/>
                  </a:lnTo>
                  <a:lnTo>
                    <a:pt x="584" y="294"/>
                  </a:lnTo>
                  <a:lnTo>
                    <a:pt x="586" y="287"/>
                  </a:lnTo>
                  <a:lnTo>
                    <a:pt x="583" y="281"/>
                  </a:lnTo>
                  <a:lnTo>
                    <a:pt x="583" y="277"/>
                  </a:lnTo>
                  <a:lnTo>
                    <a:pt x="584" y="270"/>
                  </a:lnTo>
                  <a:lnTo>
                    <a:pt x="586" y="264"/>
                  </a:lnTo>
                  <a:lnTo>
                    <a:pt x="579" y="254"/>
                  </a:lnTo>
                  <a:lnTo>
                    <a:pt x="572" y="246"/>
                  </a:lnTo>
                  <a:lnTo>
                    <a:pt x="572" y="237"/>
                  </a:lnTo>
                  <a:lnTo>
                    <a:pt x="569" y="229"/>
                  </a:lnTo>
                  <a:lnTo>
                    <a:pt x="570" y="226"/>
                  </a:lnTo>
                  <a:lnTo>
                    <a:pt x="581" y="224"/>
                  </a:lnTo>
                  <a:lnTo>
                    <a:pt x="584" y="221"/>
                  </a:lnTo>
                  <a:lnTo>
                    <a:pt x="585" y="222"/>
                  </a:lnTo>
                  <a:lnTo>
                    <a:pt x="586" y="229"/>
                  </a:lnTo>
                  <a:lnTo>
                    <a:pt x="589" y="234"/>
                  </a:lnTo>
                  <a:lnTo>
                    <a:pt x="591" y="237"/>
                  </a:lnTo>
                  <a:lnTo>
                    <a:pt x="599" y="239"/>
                  </a:lnTo>
                  <a:lnTo>
                    <a:pt x="601" y="238"/>
                  </a:lnTo>
                  <a:lnTo>
                    <a:pt x="604" y="237"/>
                  </a:lnTo>
                  <a:lnTo>
                    <a:pt x="607" y="238"/>
                  </a:lnTo>
                  <a:lnTo>
                    <a:pt x="608" y="232"/>
                  </a:lnTo>
                  <a:lnTo>
                    <a:pt x="612" y="229"/>
                  </a:lnTo>
                  <a:lnTo>
                    <a:pt x="616" y="223"/>
                  </a:lnTo>
                  <a:lnTo>
                    <a:pt x="617" y="223"/>
                  </a:lnTo>
                  <a:lnTo>
                    <a:pt x="621" y="228"/>
                  </a:lnTo>
                  <a:lnTo>
                    <a:pt x="623" y="228"/>
                  </a:lnTo>
                  <a:lnTo>
                    <a:pt x="632" y="217"/>
                  </a:lnTo>
                  <a:lnTo>
                    <a:pt x="632" y="215"/>
                  </a:lnTo>
                  <a:lnTo>
                    <a:pt x="628" y="208"/>
                  </a:lnTo>
                  <a:lnTo>
                    <a:pt x="622" y="200"/>
                  </a:lnTo>
                  <a:lnTo>
                    <a:pt x="621" y="195"/>
                  </a:lnTo>
                  <a:lnTo>
                    <a:pt x="622" y="192"/>
                  </a:lnTo>
                  <a:lnTo>
                    <a:pt x="622" y="189"/>
                  </a:lnTo>
                  <a:lnTo>
                    <a:pt x="612" y="184"/>
                  </a:lnTo>
                  <a:lnTo>
                    <a:pt x="607" y="185"/>
                  </a:lnTo>
                  <a:lnTo>
                    <a:pt x="606" y="181"/>
                  </a:lnTo>
                  <a:lnTo>
                    <a:pt x="597" y="174"/>
                  </a:lnTo>
                  <a:lnTo>
                    <a:pt x="597" y="159"/>
                  </a:lnTo>
                  <a:lnTo>
                    <a:pt x="602" y="158"/>
                  </a:lnTo>
                  <a:lnTo>
                    <a:pt x="600" y="152"/>
                  </a:lnTo>
                  <a:lnTo>
                    <a:pt x="601" y="149"/>
                  </a:lnTo>
                  <a:lnTo>
                    <a:pt x="602" y="148"/>
                  </a:lnTo>
                  <a:lnTo>
                    <a:pt x="595" y="141"/>
                  </a:lnTo>
                  <a:lnTo>
                    <a:pt x="596" y="135"/>
                  </a:lnTo>
                  <a:lnTo>
                    <a:pt x="596" y="133"/>
                  </a:lnTo>
                  <a:lnTo>
                    <a:pt x="606" y="133"/>
                  </a:lnTo>
                  <a:lnTo>
                    <a:pt x="610" y="130"/>
                  </a:lnTo>
                  <a:lnTo>
                    <a:pt x="621" y="133"/>
                  </a:lnTo>
                  <a:lnTo>
                    <a:pt x="623" y="131"/>
                  </a:lnTo>
                  <a:lnTo>
                    <a:pt x="628" y="126"/>
                  </a:lnTo>
                  <a:lnTo>
                    <a:pt x="633" y="116"/>
                  </a:lnTo>
                  <a:lnTo>
                    <a:pt x="633" y="105"/>
                  </a:lnTo>
                  <a:lnTo>
                    <a:pt x="643" y="104"/>
                  </a:lnTo>
                  <a:lnTo>
                    <a:pt x="644" y="103"/>
                  </a:lnTo>
                  <a:lnTo>
                    <a:pt x="642" y="100"/>
                  </a:lnTo>
                  <a:lnTo>
                    <a:pt x="643" y="97"/>
                  </a:lnTo>
                  <a:lnTo>
                    <a:pt x="647" y="94"/>
                  </a:lnTo>
                  <a:lnTo>
                    <a:pt x="648" y="92"/>
                  </a:lnTo>
                  <a:lnTo>
                    <a:pt x="651" y="88"/>
                  </a:lnTo>
                  <a:lnTo>
                    <a:pt x="658" y="83"/>
                  </a:lnTo>
                  <a:lnTo>
                    <a:pt x="658" y="77"/>
                  </a:lnTo>
                  <a:lnTo>
                    <a:pt x="664" y="71"/>
                  </a:lnTo>
                  <a:lnTo>
                    <a:pt x="666" y="52"/>
                  </a:lnTo>
                  <a:lnTo>
                    <a:pt x="669" y="50"/>
                  </a:lnTo>
                  <a:lnTo>
                    <a:pt x="669" y="43"/>
                  </a:lnTo>
                  <a:lnTo>
                    <a:pt x="675" y="35"/>
                  </a:lnTo>
                  <a:lnTo>
                    <a:pt x="675" y="32"/>
                  </a:lnTo>
                  <a:lnTo>
                    <a:pt x="671" y="29"/>
                  </a:lnTo>
                  <a:lnTo>
                    <a:pt x="667" y="29"/>
                  </a:lnTo>
                  <a:lnTo>
                    <a:pt x="660" y="38"/>
                  </a:lnTo>
                  <a:lnTo>
                    <a:pt x="658" y="38"/>
                  </a:lnTo>
                  <a:lnTo>
                    <a:pt x="655" y="34"/>
                  </a:lnTo>
                  <a:lnTo>
                    <a:pt x="653" y="23"/>
                  </a:lnTo>
                  <a:lnTo>
                    <a:pt x="648" y="27"/>
                  </a:lnTo>
                  <a:lnTo>
                    <a:pt x="644" y="27"/>
                  </a:lnTo>
                  <a:lnTo>
                    <a:pt x="642" y="22"/>
                  </a:lnTo>
                  <a:lnTo>
                    <a:pt x="639" y="22"/>
                  </a:lnTo>
                  <a:lnTo>
                    <a:pt x="637" y="20"/>
                  </a:lnTo>
                  <a:lnTo>
                    <a:pt x="636" y="11"/>
                  </a:lnTo>
                  <a:lnTo>
                    <a:pt x="632" y="9"/>
                  </a:lnTo>
                  <a:lnTo>
                    <a:pt x="631" y="7"/>
                  </a:lnTo>
                  <a:lnTo>
                    <a:pt x="628" y="6"/>
                  </a:lnTo>
                  <a:lnTo>
                    <a:pt x="624" y="6"/>
                  </a:lnTo>
                  <a:lnTo>
                    <a:pt x="621" y="1"/>
                  </a:lnTo>
                  <a:lnTo>
                    <a:pt x="618" y="0"/>
                  </a:lnTo>
                  <a:lnTo>
                    <a:pt x="615" y="0"/>
                  </a:lnTo>
                  <a:lnTo>
                    <a:pt x="610" y="2"/>
                  </a:lnTo>
                  <a:lnTo>
                    <a:pt x="604" y="2"/>
                  </a:lnTo>
                  <a:lnTo>
                    <a:pt x="599" y="6"/>
                  </a:lnTo>
                  <a:lnTo>
                    <a:pt x="585" y="6"/>
                  </a:lnTo>
                  <a:lnTo>
                    <a:pt x="575" y="13"/>
                  </a:lnTo>
                  <a:lnTo>
                    <a:pt x="564" y="19"/>
                  </a:lnTo>
                  <a:lnTo>
                    <a:pt x="557" y="24"/>
                  </a:lnTo>
                  <a:lnTo>
                    <a:pt x="552" y="29"/>
                  </a:lnTo>
                  <a:lnTo>
                    <a:pt x="547" y="30"/>
                  </a:lnTo>
                  <a:lnTo>
                    <a:pt x="543" y="35"/>
                  </a:lnTo>
                  <a:lnTo>
                    <a:pt x="536" y="32"/>
                  </a:lnTo>
                  <a:lnTo>
                    <a:pt x="531" y="35"/>
                  </a:lnTo>
                  <a:lnTo>
                    <a:pt x="526" y="35"/>
                  </a:lnTo>
                  <a:lnTo>
                    <a:pt x="492" y="60"/>
                  </a:lnTo>
                  <a:lnTo>
                    <a:pt x="488" y="66"/>
                  </a:lnTo>
                  <a:lnTo>
                    <a:pt x="489" y="68"/>
                  </a:lnTo>
                  <a:lnTo>
                    <a:pt x="489" y="71"/>
                  </a:lnTo>
                  <a:lnTo>
                    <a:pt x="486" y="79"/>
                  </a:lnTo>
                  <a:lnTo>
                    <a:pt x="482" y="83"/>
                  </a:lnTo>
                  <a:lnTo>
                    <a:pt x="478" y="82"/>
                  </a:lnTo>
                  <a:lnTo>
                    <a:pt x="475" y="78"/>
                  </a:lnTo>
                  <a:lnTo>
                    <a:pt x="456" y="79"/>
                  </a:lnTo>
                  <a:lnTo>
                    <a:pt x="454" y="81"/>
                  </a:lnTo>
                  <a:lnTo>
                    <a:pt x="449" y="87"/>
                  </a:lnTo>
                  <a:lnTo>
                    <a:pt x="446" y="88"/>
                  </a:lnTo>
                  <a:lnTo>
                    <a:pt x="440" y="88"/>
                  </a:lnTo>
                  <a:lnTo>
                    <a:pt x="433" y="86"/>
                  </a:lnTo>
                  <a:lnTo>
                    <a:pt x="429" y="88"/>
                  </a:lnTo>
                  <a:lnTo>
                    <a:pt x="427" y="92"/>
                  </a:lnTo>
                  <a:lnTo>
                    <a:pt x="423" y="94"/>
                  </a:lnTo>
                  <a:lnTo>
                    <a:pt x="421" y="95"/>
                  </a:lnTo>
                  <a:lnTo>
                    <a:pt x="414" y="94"/>
                  </a:lnTo>
                  <a:lnTo>
                    <a:pt x="411" y="95"/>
                  </a:lnTo>
                  <a:lnTo>
                    <a:pt x="407" y="93"/>
                  </a:lnTo>
                  <a:lnTo>
                    <a:pt x="395" y="93"/>
                  </a:lnTo>
                  <a:lnTo>
                    <a:pt x="390" y="92"/>
                  </a:lnTo>
                  <a:lnTo>
                    <a:pt x="385" y="92"/>
                  </a:lnTo>
                  <a:lnTo>
                    <a:pt x="370" y="83"/>
                  </a:lnTo>
                  <a:lnTo>
                    <a:pt x="360" y="81"/>
                  </a:lnTo>
                  <a:lnTo>
                    <a:pt x="342" y="73"/>
                  </a:lnTo>
                  <a:lnTo>
                    <a:pt x="337" y="76"/>
                  </a:lnTo>
                  <a:lnTo>
                    <a:pt x="333" y="79"/>
                  </a:lnTo>
                  <a:lnTo>
                    <a:pt x="326" y="78"/>
                  </a:lnTo>
                  <a:lnTo>
                    <a:pt x="322" y="79"/>
                  </a:lnTo>
                  <a:lnTo>
                    <a:pt x="321" y="82"/>
                  </a:lnTo>
                  <a:lnTo>
                    <a:pt x="320" y="90"/>
                  </a:lnTo>
                  <a:lnTo>
                    <a:pt x="312" y="104"/>
                  </a:lnTo>
                  <a:lnTo>
                    <a:pt x="312" y="106"/>
                  </a:lnTo>
                  <a:lnTo>
                    <a:pt x="321" y="106"/>
                  </a:lnTo>
                  <a:lnTo>
                    <a:pt x="323" y="111"/>
                  </a:lnTo>
                  <a:lnTo>
                    <a:pt x="323" y="115"/>
                  </a:lnTo>
                  <a:lnTo>
                    <a:pt x="319" y="117"/>
                  </a:lnTo>
                  <a:lnTo>
                    <a:pt x="317" y="119"/>
                  </a:lnTo>
                  <a:lnTo>
                    <a:pt x="317" y="122"/>
                  </a:lnTo>
                  <a:lnTo>
                    <a:pt x="320" y="126"/>
                  </a:lnTo>
                  <a:lnTo>
                    <a:pt x="322" y="127"/>
                  </a:lnTo>
                  <a:lnTo>
                    <a:pt x="333" y="126"/>
                  </a:lnTo>
                  <a:lnTo>
                    <a:pt x="336" y="129"/>
                  </a:lnTo>
                  <a:lnTo>
                    <a:pt x="337" y="132"/>
                  </a:lnTo>
                  <a:lnTo>
                    <a:pt x="337" y="133"/>
                  </a:lnTo>
                  <a:lnTo>
                    <a:pt x="332" y="138"/>
                  </a:lnTo>
                  <a:lnTo>
                    <a:pt x="326" y="141"/>
                  </a:lnTo>
                  <a:lnTo>
                    <a:pt x="325" y="147"/>
                  </a:lnTo>
                  <a:lnTo>
                    <a:pt x="337" y="158"/>
                  </a:lnTo>
                  <a:lnTo>
                    <a:pt x="337" y="164"/>
                  </a:lnTo>
                  <a:lnTo>
                    <a:pt x="336" y="169"/>
                  </a:lnTo>
                  <a:lnTo>
                    <a:pt x="322" y="178"/>
                  </a:lnTo>
                  <a:lnTo>
                    <a:pt x="321" y="181"/>
                  </a:lnTo>
                  <a:lnTo>
                    <a:pt x="330" y="185"/>
                  </a:lnTo>
                  <a:lnTo>
                    <a:pt x="333" y="194"/>
                  </a:lnTo>
                  <a:lnTo>
                    <a:pt x="343" y="200"/>
                  </a:lnTo>
                  <a:lnTo>
                    <a:pt x="342" y="207"/>
                  </a:lnTo>
                  <a:lnTo>
                    <a:pt x="349" y="208"/>
                  </a:lnTo>
                  <a:lnTo>
                    <a:pt x="352" y="212"/>
                  </a:lnTo>
                  <a:lnTo>
                    <a:pt x="358" y="210"/>
                  </a:lnTo>
                  <a:lnTo>
                    <a:pt x="363" y="211"/>
                  </a:lnTo>
                  <a:lnTo>
                    <a:pt x="363" y="216"/>
                  </a:lnTo>
                  <a:lnTo>
                    <a:pt x="362" y="222"/>
                  </a:lnTo>
                  <a:lnTo>
                    <a:pt x="365" y="229"/>
                  </a:lnTo>
                  <a:lnTo>
                    <a:pt x="366" y="230"/>
                  </a:lnTo>
                  <a:lnTo>
                    <a:pt x="384" y="232"/>
                  </a:lnTo>
                  <a:lnTo>
                    <a:pt x="389" y="235"/>
                  </a:lnTo>
                  <a:lnTo>
                    <a:pt x="394" y="234"/>
                  </a:lnTo>
                  <a:lnTo>
                    <a:pt x="400" y="242"/>
                  </a:lnTo>
                  <a:lnTo>
                    <a:pt x="398" y="246"/>
                  </a:lnTo>
                  <a:lnTo>
                    <a:pt x="401" y="250"/>
                  </a:lnTo>
                  <a:lnTo>
                    <a:pt x="396" y="255"/>
                  </a:lnTo>
                  <a:lnTo>
                    <a:pt x="394" y="259"/>
                  </a:lnTo>
                  <a:lnTo>
                    <a:pt x="386" y="260"/>
                  </a:lnTo>
                  <a:lnTo>
                    <a:pt x="382" y="260"/>
                  </a:lnTo>
                  <a:lnTo>
                    <a:pt x="380" y="259"/>
                  </a:lnTo>
                  <a:lnTo>
                    <a:pt x="375" y="260"/>
                  </a:lnTo>
                  <a:lnTo>
                    <a:pt x="373" y="262"/>
                  </a:lnTo>
                  <a:lnTo>
                    <a:pt x="362" y="267"/>
                  </a:lnTo>
                  <a:lnTo>
                    <a:pt x="358" y="275"/>
                  </a:lnTo>
                  <a:lnTo>
                    <a:pt x="357" y="286"/>
                  </a:lnTo>
                  <a:lnTo>
                    <a:pt x="362" y="292"/>
                  </a:lnTo>
                  <a:lnTo>
                    <a:pt x="360" y="297"/>
                  </a:lnTo>
                  <a:lnTo>
                    <a:pt x="363" y="298"/>
                  </a:lnTo>
                  <a:lnTo>
                    <a:pt x="364" y="301"/>
                  </a:lnTo>
                  <a:lnTo>
                    <a:pt x="363" y="304"/>
                  </a:lnTo>
                  <a:lnTo>
                    <a:pt x="358" y="308"/>
                  </a:lnTo>
                  <a:lnTo>
                    <a:pt x="357" y="314"/>
                  </a:lnTo>
                  <a:lnTo>
                    <a:pt x="357" y="316"/>
                  </a:lnTo>
                  <a:lnTo>
                    <a:pt x="359" y="318"/>
                  </a:lnTo>
                  <a:lnTo>
                    <a:pt x="369" y="318"/>
                  </a:lnTo>
                  <a:lnTo>
                    <a:pt x="371" y="324"/>
                  </a:lnTo>
                  <a:lnTo>
                    <a:pt x="369" y="326"/>
                  </a:lnTo>
                  <a:lnTo>
                    <a:pt x="365" y="328"/>
                  </a:lnTo>
                  <a:lnTo>
                    <a:pt x="362" y="326"/>
                  </a:lnTo>
                  <a:lnTo>
                    <a:pt x="359" y="324"/>
                  </a:lnTo>
                  <a:lnTo>
                    <a:pt x="357" y="331"/>
                  </a:lnTo>
                  <a:lnTo>
                    <a:pt x="343" y="336"/>
                  </a:lnTo>
                  <a:lnTo>
                    <a:pt x="331" y="352"/>
                  </a:lnTo>
                  <a:lnTo>
                    <a:pt x="326" y="355"/>
                  </a:lnTo>
                  <a:lnTo>
                    <a:pt x="321" y="361"/>
                  </a:lnTo>
                  <a:lnTo>
                    <a:pt x="317" y="366"/>
                  </a:lnTo>
                  <a:lnTo>
                    <a:pt x="316" y="372"/>
                  </a:lnTo>
                  <a:lnTo>
                    <a:pt x="317" y="380"/>
                  </a:lnTo>
                  <a:lnTo>
                    <a:pt x="314" y="388"/>
                  </a:lnTo>
                  <a:lnTo>
                    <a:pt x="305" y="393"/>
                  </a:lnTo>
                  <a:lnTo>
                    <a:pt x="298" y="393"/>
                  </a:lnTo>
                  <a:lnTo>
                    <a:pt x="292" y="398"/>
                  </a:lnTo>
                  <a:lnTo>
                    <a:pt x="287" y="406"/>
                  </a:lnTo>
                  <a:lnTo>
                    <a:pt x="283" y="417"/>
                  </a:lnTo>
                  <a:lnTo>
                    <a:pt x="277" y="428"/>
                  </a:lnTo>
                  <a:lnTo>
                    <a:pt x="262" y="450"/>
                  </a:lnTo>
                  <a:lnTo>
                    <a:pt x="256" y="457"/>
                  </a:lnTo>
                  <a:lnTo>
                    <a:pt x="244" y="464"/>
                  </a:lnTo>
                  <a:lnTo>
                    <a:pt x="233" y="474"/>
                  </a:lnTo>
                  <a:lnTo>
                    <a:pt x="229" y="479"/>
                  </a:lnTo>
                  <a:lnTo>
                    <a:pt x="219" y="495"/>
                  </a:lnTo>
                  <a:lnTo>
                    <a:pt x="212" y="504"/>
                  </a:lnTo>
                  <a:lnTo>
                    <a:pt x="204" y="519"/>
                  </a:lnTo>
                  <a:lnTo>
                    <a:pt x="199" y="522"/>
                  </a:lnTo>
                  <a:lnTo>
                    <a:pt x="195" y="523"/>
                  </a:lnTo>
                  <a:lnTo>
                    <a:pt x="172" y="523"/>
                  </a:lnTo>
                  <a:lnTo>
                    <a:pt x="169" y="524"/>
                  </a:lnTo>
                  <a:lnTo>
                    <a:pt x="161" y="527"/>
                  </a:lnTo>
                  <a:lnTo>
                    <a:pt x="156" y="533"/>
                  </a:lnTo>
                  <a:lnTo>
                    <a:pt x="152" y="534"/>
                  </a:lnTo>
                  <a:lnTo>
                    <a:pt x="149" y="533"/>
                  </a:lnTo>
                  <a:lnTo>
                    <a:pt x="147" y="528"/>
                  </a:lnTo>
                  <a:lnTo>
                    <a:pt x="139" y="514"/>
                  </a:lnTo>
                  <a:lnTo>
                    <a:pt x="136" y="512"/>
                  </a:lnTo>
                  <a:lnTo>
                    <a:pt x="132" y="513"/>
                  </a:lnTo>
                  <a:lnTo>
                    <a:pt x="122" y="522"/>
                  </a:lnTo>
                  <a:lnTo>
                    <a:pt x="118" y="528"/>
                  </a:lnTo>
                  <a:lnTo>
                    <a:pt x="107" y="538"/>
                  </a:lnTo>
                  <a:lnTo>
                    <a:pt x="93" y="556"/>
                  </a:lnTo>
                  <a:lnTo>
                    <a:pt x="85" y="563"/>
                  </a:lnTo>
                  <a:lnTo>
                    <a:pt x="83" y="570"/>
                  </a:lnTo>
                  <a:lnTo>
                    <a:pt x="79" y="588"/>
                  </a:lnTo>
                  <a:lnTo>
                    <a:pt x="79" y="593"/>
                  </a:lnTo>
                  <a:lnTo>
                    <a:pt x="81" y="598"/>
                  </a:lnTo>
                  <a:lnTo>
                    <a:pt x="88" y="601"/>
                  </a:lnTo>
                  <a:lnTo>
                    <a:pt x="94" y="600"/>
                  </a:lnTo>
                  <a:lnTo>
                    <a:pt x="101" y="603"/>
                  </a:lnTo>
                  <a:lnTo>
                    <a:pt x="111" y="603"/>
                  </a:lnTo>
                  <a:lnTo>
                    <a:pt x="113" y="604"/>
                  </a:lnTo>
                  <a:lnTo>
                    <a:pt x="117" y="608"/>
                  </a:lnTo>
                  <a:lnTo>
                    <a:pt x="118" y="611"/>
                  </a:lnTo>
                  <a:lnTo>
                    <a:pt x="118" y="616"/>
                  </a:lnTo>
                  <a:lnTo>
                    <a:pt x="112" y="636"/>
                  </a:lnTo>
                  <a:lnTo>
                    <a:pt x="112" y="641"/>
                  </a:lnTo>
                  <a:lnTo>
                    <a:pt x="113" y="646"/>
                  </a:lnTo>
                  <a:lnTo>
                    <a:pt x="123" y="657"/>
                  </a:lnTo>
                  <a:lnTo>
                    <a:pt x="127" y="658"/>
                  </a:lnTo>
                  <a:lnTo>
                    <a:pt x="137" y="654"/>
                  </a:lnTo>
                  <a:lnTo>
                    <a:pt x="139" y="655"/>
                  </a:lnTo>
                  <a:lnTo>
                    <a:pt x="142" y="658"/>
                  </a:lnTo>
                  <a:lnTo>
                    <a:pt x="142" y="669"/>
                  </a:lnTo>
                  <a:lnTo>
                    <a:pt x="143" y="678"/>
                  </a:lnTo>
                  <a:lnTo>
                    <a:pt x="148" y="685"/>
                  </a:lnTo>
                  <a:lnTo>
                    <a:pt x="150" y="692"/>
                  </a:lnTo>
                  <a:lnTo>
                    <a:pt x="155" y="698"/>
                  </a:lnTo>
                  <a:lnTo>
                    <a:pt x="160" y="703"/>
                  </a:lnTo>
                  <a:lnTo>
                    <a:pt x="160" y="706"/>
                  </a:lnTo>
                  <a:lnTo>
                    <a:pt x="164" y="711"/>
                  </a:lnTo>
                  <a:lnTo>
                    <a:pt x="165" y="714"/>
                  </a:lnTo>
                  <a:lnTo>
                    <a:pt x="160" y="716"/>
                  </a:lnTo>
                  <a:lnTo>
                    <a:pt x="160" y="718"/>
                  </a:lnTo>
                  <a:lnTo>
                    <a:pt x="160" y="728"/>
                  </a:lnTo>
                  <a:lnTo>
                    <a:pt x="159" y="732"/>
                  </a:lnTo>
                  <a:lnTo>
                    <a:pt x="166" y="733"/>
                  </a:lnTo>
                  <a:lnTo>
                    <a:pt x="166" y="735"/>
                  </a:lnTo>
                  <a:lnTo>
                    <a:pt x="159" y="735"/>
                  </a:lnTo>
                  <a:lnTo>
                    <a:pt x="154" y="739"/>
                  </a:lnTo>
                  <a:lnTo>
                    <a:pt x="154" y="741"/>
                  </a:lnTo>
                  <a:lnTo>
                    <a:pt x="150" y="743"/>
                  </a:lnTo>
                  <a:lnTo>
                    <a:pt x="147" y="743"/>
                  </a:lnTo>
                  <a:lnTo>
                    <a:pt x="140" y="743"/>
                  </a:lnTo>
                  <a:lnTo>
                    <a:pt x="139" y="740"/>
                  </a:lnTo>
                  <a:lnTo>
                    <a:pt x="138" y="739"/>
                  </a:lnTo>
                  <a:lnTo>
                    <a:pt x="139" y="733"/>
                  </a:lnTo>
                  <a:lnTo>
                    <a:pt x="139" y="732"/>
                  </a:lnTo>
                  <a:lnTo>
                    <a:pt x="132" y="730"/>
                  </a:lnTo>
                  <a:lnTo>
                    <a:pt x="127" y="734"/>
                  </a:lnTo>
                  <a:lnTo>
                    <a:pt x="115" y="738"/>
                  </a:lnTo>
                  <a:lnTo>
                    <a:pt x="111" y="745"/>
                  </a:lnTo>
                  <a:lnTo>
                    <a:pt x="110" y="746"/>
                  </a:lnTo>
                  <a:lnTo>
                    <a:pt x="107" y="746"/>
                  </a:lnTo>
                  <a:lnTo>
                    <a:pt x="93" y="746"/>
                  </a:lnTo>
                  <a:lnTo>
                    <a:pt x="84" y="739"/>
                  </a:lnTo>
                  <a:lnTo>
                    <a:pt x="78" y="741"/>
                  </a:lnTo>
                  <a:lnTo>
                    <a:pt x="74" y="739"/>
                  </a:lnTo>
                  <a:lnTo>
                    <a:pt x="62" y="740"/>
                  </a:lnTo>
                  <a:lnTo>
                    <a:pt x="58" y="739"/>
                  </a:lnTo>
                  <a:lnTo>
                    <a:pt x="52" y="740"/>
                  </a:lnTo>
                  <a:lnTo>
                    <a:pt x="48" y="739"/>
                  </a:lnTo>
                  <a:lnTo>
                    <a:pt x="47" y="740"/>
                  </a:lnTo>
                  <a:lnTo>
                    <a:pt x="46" y="740"/>
                  </a:lnTo>
                  <a:lnTo>
                    <a:pt x="43" y="735"/>
                  </a:lnTo>
                  <a:lnTo>
                    <a:pt x="41" y="735"/>
                  </a:lnTo>
                  <a:lnTo>
                    <a:pt x="40" y="740"/>
                  </a:lnTo>
                  <a:lnTo>
                    <a:pt x="40" y="757"/>
                  </a:lnTo>
                  <a:lnTo>
                    <a:pt x="20" y="757"/>
                  </a:lnTo>
                  <a:lnTo>
                    <a:pt x="16" y="759"/>
                  </a:lnTo>
                  <a:lnTo>
                    <a:pt x="11" y="757"/>
                  </a:lnTo>
                  <a:lnTo>
                    <a:pt x="9" y="762"/>
                  </a:lnTo>
                  <a:lnTo>
                    <a:pt x="7" y="764"/>
                  </a:lnTo>
                  <a:lnTo>
                    <a:pt x="5" y="767"/>
                  </a:lnTo>
                  <a:lnTo>
                    <a:pt x="0" y="771"/>
                  </a:lnTo>
                  <a:lnTo>
                    <a:pt x="0" y="773"/>
                  </a:lnTo>
                  <a:lnTo>
                    <a:pt x="2" y="782"/>
                  </a:lnTo>
                  <a:lnTo>
                    <a:pt x="9" y="782"/>
                  </a:lnTo>
                  <a:lnTo>
                    <a:pt x="13" y="791"/>
                  </a:lnTo>
                  <a:lnTo>
                    <a:pt x="27" y="809"/>
                  </a:lnTo>
                  <a:lnTo>
                    <a:pt x="37" y="820"/>
                  </a:lnTo>
                  <a:lnTo>
                    <a:pt x="47" y="825"/>
                  </a:lnTo>
                  <a:lnTo>
                    <a:pt x="67" y="827"/>
                  </a:lnTo>
                  <a:lnTo>
                    <a:pt x="89" y="825"/>
                  </a:lnTo>
                  <a:lnTo>
                    <a:pt x="105" y="821"/>
                  </a:lnTo>
                  <a:lnTo>
                    <a:pt x="113" y="818"/>
                  </a:lnTo>
                  <a:lnTo>
                    <a:pt x="117" y="810"/>
                  </a:lnTo>
                  <a:lnTo>
                    <a:pt x="122" y="808"/>
                  </a:lnTo>
                  <a:lnTo>
                    <a:pt x="124" y="814"/>
                  </a:lnTo>
                  <a:lnTo>
                    <a:pt x="117" y="834"/>
                  </a:lnTo>
                  <a:lnTo>
                    <a:pt x="106" y="843"/>
                  </a:lnTo>
                  <a:lnTo>
                    <a:pt x="96" y="850"/>
                  </a:lnTo>
                  <a:lnTo>
                    <a:pt x="84" y="852"/>
                  </a:lnTo>
                  <a:lnTo>
                    <a:pt x="70" y="854"/>
                  </a:lnTo>
                  <a:lnTo>
                    <a:pt x="59" y="857"/>
                  </a:lnTo>
                  <a:lnTo>
                    <a:pt x="51" y="850"/>
                  </a:lnTo>
                  <a:lnTo>
                    <a:pt x="47" y="854"/>
                  </a:lnTo>
                  <a:lnTo>
                    <a:pt x="50" y="870"/>
                  </a:lnTo>
                  <a:lnTo>
                    <a:pt x="90" y="911"/>
                  </a:lnTo>
                  <a:lnTo>
                    <a:pt x="104" y="926"/>
                  </a:lnTo>
                  <a:lnTo>
                    <a:pt x="124" y="944"/>
                  </a:lnTo>
                  <a:lnTo>
                    <a:pt x="131" y="945"/>
                  </a:lnTo>
                  <a:lnTo>
                    <a:pt x="156" y="947"/>
                  </a:lnTo>
                  <a:lnTo>
                    <a:pt x="167" y="944"/>
                  </a:lnTo>
                  <a:lnTo>
                    <a:pt x="174" y="943"/>
                  </a:lnTo>
                  <a:lnTo>
                    <a:pt x="183" y="936"/>
                  </a:lnTo>
                  <a:lnTo>
                    <a:pt x="190" y="936"/>
                  </a:lnTo>
                  <a:lnTo>
                    <a:pt x="207" y="924"/>
                  </a:lnTo>
                  <a:lnTo>
                    <a:pt x="213" y="916"/>
                  </a:lnTo>
                  <a:lnTo>
                    <a:pt x="218" y="906"/>
                  </a:lnTo>
                  <a:lnTo>
                    <a:pt x="219" y="879"/>
                  </a:lnTo>
                  <a:lnTo>
                    <a:pt x="222" y="867"/>
                  </a:lnTo>
                  <a:lnTo>
                    <a:pt x="224" y="852"/>
                  </a:lnTo>
                  <a:lnTo>
                    <a:pt x="226" y="856"/>
                  </a:lnTo>
                  <a:lnTo>
                    <a:pt x="229" y="857"/>
                  </a:lnTo>
                  <a:lnTo>
                    <a:pt x="258" y="858"/>
                  </a:lnTo>
                  <a:lnTo>
                    <a:pt x="260" y="859"/>
                  </a:lnTo>
                  <a:lnTo>
                    <a:pt x="253" y="866"/>
                  </a:lnTo>
                  <a:lnTo>
                    <a:pt x="242" y="866"/>
                  </a:lnTo>
                  <a:lnTo>
                    <a:pt x="239" y="879"/>
                  </a:lnTo>
                  <a:lnTo>
                    <a:pt x="241" y="880"/>
                  </a:lnTo>
                  <a:lnTo>
                    <a:pt x="240" y="891"/>
                  </a:lnTo>
                  <a:lnTo>
                    <a:pt x="242" y="894"/>
                  </a:lnTo>
                  <a:lnTo>
                    <a:pt x="249" y="897"/>
                  </a:lnTo>
                  <a:lnTo>
                    <a:pt x="242" y="911"/>
                  </a:lnTo>
                  <a:lnTo>
                    <a:pt x="242" y="922"/>
                  </a:lnTo>
                  <a:lnTo>
                    <a:pt x="242" y="924"/>
                  </a:lnTo>
                  <a:lnTo>
                    <a:pt x="246" y="924"/>
                  </a:lnTo>
                  <a:lnTo>
                    <a:pt x="249" y="928"/>
                  </a:lnTo>
                  <a:lnTo>
                    <a:pt x="249" y="934"/>
                  </a:lnTo>
                  <a:lnTo>
                    <a:pt x="255" y="952"/>
                  </a:lnTo>
                  <a:lnTo>
                    <a:pt x="256" y="963"/>
                  </a:lnTo>
                  <a:lnTo>
                    <a:pt x="256" y="971"/>
                  </a:lnTo>
                  <a:lnTo>
                    <a:pt x="250" y="987"/>
                  </a:lnTo>
                  <a:lnTo>
                    <a:pt x="247" y="998"/>
                  </a:lnTo>
                  <a:lnTo>
                    <a:pt x="247" y="1009"/>
                  </a:lnTo>
                  <a:lnTo>
                    <a:pt x="251" y="1028"/>
                  </a:lnTo>
                  <a:lnTo>
                    <a:pt x="253" y="1031"/>
                  </a:lnTo>
                  <a:lnTo>
                    <a:pt x="253" y="1047"/>
                  </a:lnTo>
                  <a:lnTo>
                    <a:pt x="257" y="1044"/>
                  </a:lnTo>
                  <a:lnTo>
                    <a:pt x="261" y="1041"/>
                  </a:lnTo>
                  <a:lnTo>
                    <a:pt x="262" y="1045"/>
                  </a:lnTo>
                  <a:lnTo>
                    <a:pt x="263" y="1052"/>
                  </a:lnTo>
                  <a:lnTo>
                    <a:pt x="261" y="1056"/>
                  </a:lnTo>
                  <a:lnTo>
                    <a:pt x="261" y="1060"/>
                  </a:lnTo>
                  <a:lnTo>
                    <a:pt x="260" y="1065"/>
                  </a:lnTo>
                  <a:lnTo>
                    <a:pt x="257" y="1084"/>
                  </a:lnTo>
                  <a:lnTo>
                    <a:pt x="263" y="1093"/>
                  </a:lnTo>
                  <a:lnTo>
                    <a:pt x="262" y="1096"/>
                  </a:lnTo>
                  <a:lnTo>
                    <a:pt x="265" y="1114"/>
                  </a:lnTo>
                  <a:lnTo>
                    <a:pt x="266" y="1114"/>
                  </a:lnTo>
                  <a:lnTo>
                    <a:pt x="273" y="1139"/>
                  </a:lnTo>
                  <a:lnTo>
                    <a:pt x="276" y="1147"/>
                  </a:lnTo>
                  <a:lnTo>
                    <a:pt x="276" y="1157"/>
                  </a:lnTo>
                  <a:lnTo>
                    <a:pt x="278" y="1163"/>
                  </a:lnTo>
                  <a:lnTo>
                    <a:pt x="282" y="1192"/>
                  </a:lnTo>
                  <a:lnTo>
                    <a:pt x="284" y="1201"/>
                  </a:lnTo>
                  <a:lnTo>
                    <a:pt x="289" y="1212"/>
                  </a:lnTo>
                  <a:lnTo>
                    <a:pt x="293" y="1214"/>
                  </a:lnTo>
                  <a:lnTo>
                    <a:pt x="295" y="1225"/>
                  </a:lnTo>
                  <a:lnTo>
                    <a:pt x="304" y="123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02" name="Freeform 100">
              <a:extLst>
                <a:ext uri="{FF2B5EF4-FFF2-40B4-BE49-F238E27FC236}">
                  <a16:creationId xmlns:a16="http://schemas.microsoft.com/office/drawing/2014/main" id="{BEB427B7-157D-12BE-7580-37F6274D2D2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550552" y="3106380"/>
              <a:ext cx="492473" cy="477079"/>
            </a:xfrm>
            <a:custGeom>
              <a:avLst/>
              <a:gdLst>
                <a:gd name="T0" fmla="*/ 0 w 921"/>
                <a:gd name="T1" fmla="*/ 2147483647 h 842"/>
                <a:gd name="T2" fmla="*/ 0 w 921"/>
                <a:gd name="T3" fmla="*/ 2147483647 h 842"/>
                <a:gd name="T4" fmla="*/ 0 w 921"/>
                <a:gd name="T5" fmla="*/ 2147483647 h 842"/>
                <a:gd name="T6" fmla="*/ 0 w 921"/>
                <a:gd name="T7" fmla="*/ 2147483647 h 842"/>
                <a:gd name="T8" fmla="*/ 0 w 921"/>
                <a:gd name="T9" fmla="*/ 2147483647 h 842"/>
                <a:gd name="T10" fmla="*/ 0 w 921"/>
                <a:gd name="T11" fmla="*/ 2147483647 h 842"/>
                <a:gd name="T12" fmla="*/ 2147483647 w 921"/>
                <a:gd name="T13" fmla="*/ 2147483647 h 842"/>
                <a:gd name="T14" fmla="*/ 2147483647 w 921"/>
                <a:gd name="T15" fmla="*/ 2147483647 h 842"/>
                <a:gd name="T16" fmla="*/ 2147483647 w 921"/>
                <a:gd name="T17" fmla="*/ 2147483647 h 842"/>
                <a:gd name="T18" fmla="*/ 2147483647 w 921"/>
                <a:gd name="T19" fmla="*/ 2147483647 h 842"/>
                <a:gd name="T20" fmla="*/ 2147483647 w 921"/>
                <a:gd name="T21" fmla="*/ 0 h 842"/>
                <a:gd name="T22" fmla="*/ 2147483647 w 921"/>
                <a:gd name="T23" fmla="*/ 0 h 842"/>
                <a:gd name="T24" fmla="*/ 2147483647 w 921"/>
                <a:gd name="T25" fmla="*/ 0 h 842"/>
                <a:gd name="T26" fmla="*/ 2147483647 w 921"/>
                <a:gd name="T27" fmla="*/ 0 h 842"/>
                <a:gd name="T28" fmla="*/ 2147483647 w 921"/>
                <a:gd name="T29" fmla="*/ 0 h 842"/>
                <a:gd name="T30" fmla="*/ 2147483647 w 921"/>
                <a:gd name="T31" fmla="*/ 0 h 842"/>
                <a:gd name="T32" fmla="*/ 2147483647 w 921"/>
                <a:gd name="T33" fmla="*/ 0 h 842"/>
                <a:gd name="T34" fmla="*/ 2147483647 w 921"/>
                <a:gd name="T35" fmla="*/ 0 h 842"/>
                <a:gd name="T36" fmla="*/ 2147483647 w 921"/>
                <a:gd name="T37" fmla="*/ 0 h 842"/>
                <a:gd name="T38" fmla="*/ 2147483647 w 921"/>
                <a:gd name="T39" fmla="*/ 0 h 842"/>
                <a:gd name="T40" fmla="*/ 2147483647 w 921"/>
                <a:gd name="T41" fmla="*/ 0 h 842"/>
                <a:gd name="T42" fmla="*/ 2147483647 w 921"/>
                <a:gd name="T43" fmla="*/ 0 h 842"/>
                <a:gd name="T44" fmla="*/ 2147483647 w 921"/>
                <a:gd name="T45" fmla="*/ 0 h 842"/>
                <a:gd name="T46" fmla="*/ 2147483647 w 921"/>
                <a:gd name="T47" fmla="*/ 0 h 842"/>
                <a:gd name="T48" fmla="*/ 2147483647 w 921"/>
                <a:gd name="T49" fmla="*/ 0 h 842"/>
                <a:gd name="T50" fmla="*/ 2147483647 w 921"/>
                <a:gd name="T51" fmla="*/ 0 h 842"/>
                <a:gd name="T52" fmla="*/ 2147483647 w 921"/>
                <a:gd name="T53" fmla="*/ 0 h 842"/>
                <a:gd name="T54" fmla="*/ 2147483647 w 921"/>
                <a:gd name="T55" fmla="*/ 0 h 842"/>
                <a:gd name="T56" fmla="*/ 2147483647 w 921"/>
                <a:gd name="T57" fmla="*/ 0 h 842"/>
                <a:gd name="T58" fmla="*/ 2147483647 w 921"/>
                <a:gd name="T59" fmla="*/ 0 h 842"/>
                <a:gd name="T60" fmla="*/ 2147483647 w 921"/>
                <a:gd name="T61" fmla="*/ 0 h 842"/>
                <a:gd name="T62" fmla="*/ 2147483647 w 921"/>
                <a:gd name="T63" fmla="*/ 0 h 842"/>
                <a:gd name="T64" fmla="*/ 2147483647 w 921"/>
                <a:gd name="T65" fmla="*/ 0 h 842"/>
                <a:gd name="T66" fmla="*/ 2147483647 w 921"/>
                <a:gd name="T67" fmla="*/ 0 h 842"/>
                <a:gd name="T68" fmla="*/ 2147483647 w 921"/>
                <a:gd name="T69" fmla="*/ 2147483647 h 842"/>
                <a:gd name="T70" fmla="*/ 2147483647 w 921"/>
                <a:gd name="T71" fmla="*/ 2147483647 h 842"/>
                <a:gd name="T72" fmla="*/ 2147483647 w 921"/>
                <a:gd name="T73" fmla="*/ 2147483647 h 842"/>
                <a:gd name="T74" fmla="*/ 2147483647 w 921"/>
                <a:gd name="T75" fmla="*/ 2147483647 h 842"/>
                <a:gd name="T76" fmla="*/ 2147483647 w 921"/>
                <a:gd name="T77" fmla="*/ 2147483647 h 842"/>
                <a:gd name="T78" fmla="*/ 2147483647 w 921"/>
                <a:gd name="T79" fmla="*/ 2147483647 h 842"/>
                <a:gd name="T80" fmla="*/ 2147483647 w 921"/>
                <a:gd name="T81" fmla="*/ 2147483647 h 842"/>
                <a:gd name="T82" fmla="*/ 2147483647 w 921"/>
                <a:gd name="T83" fmla="*/ 2147483647 h 842"/>
                <a:gd name="T84" fmla="*/ 2147483647 w 921"/>
                <a:gd name="T85" fmla="*/ 2147483647 h 842"/>
                <a:gd name="T86" fmla="*/ 2147483647 w 921"/>
                <a:gd name="T87" fmla="*/ 2147483647 h 842"/>
                <a:gd name="T88" fmla="*/ 2147483647 w 921"/>
                <a:gd name="T89" fmla="*/ 2147483647 h 842"/>
                <a:gd name="T90" fmla="*/ 2147483647 w 921"/>
                <a:gd name="T91" fmla="*/ 2147483647 h 842"/>
                <a:gd name="T92" fmla="*/ 2147483647 w 921"/>
                <a:gd name="T93" fmla="*/ 2147483647 h 842"/>
                <a:gd name="T94" fmla="*/ 2147483647 w 921"/>
                <a:gd name="T95" fmla="*/ 2147483647 h 842"/>
                <a:gd name="T96" fmla="*/ 2147483647 w 921"/>
                <a:gd name="T97" fmla="*/ 2147483647 h 842"/>
                <a:gd name="T98" fmla="*/ 2147483647 w 921"/>
                <a:gd name="T99" fmla="*/ 2147483647 h 842"/>
                <a:gd name="T100" fmla="*/ 2147483647 w 921"/>
                <a:gd name="T101" fmla="*/ 2147483647 h 842"/>
                <a:gd name="T102" fmla="*/ 2147483647 w 921"/>
                <a:gd name="T103" fmla="*/ 2147483647 h 842"/>
                <a:gd name="T104" fmla="*/ 2147483647 w 921"/>
                <a:gd name="T105" fmla="*/ 2147483647 h 842"/>
                <a:gd name="T106" fmla="*/ 0 w 921"/>
                <a:gd name="T107" fmla="*/ 2147483647 h 842"/>
                <a:gd name="T108" fmla="*/ 0 w 921"/>
                <a:gd name="T109" fmla="*/ 2147483647 h 842"/>
                <a:gd name="T110" fmla="*/ 0 w 921"/>
                <a:gd name="T111" fmla="*/ 2147483647 h 84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921"/>
                <a:gd name="T169" fmla="*/ 0 h 842"/>
                <a:gd name="T170" fmla="*/ 921 w 921"/>
                <a:gd name="T171" fmla="*/ 842 h 84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921" h="842">
                  <a:moveTo>
                    <a:pt x="42" y="757"/>
                  </a:moveTo>
                  <a:lnTo>
                    <a:pt x="42" y="743"/>
                  </a:lnTo>
                  <a:lnTo>
                    <a:pt x="44" y="730"/>
                  </a:lnTo>
                  <a:lnTo>
                    <a:pt x="55" y="701"/>
                  </a:lnTo>
                  <a:lnTo>
                    <a:pt x="64" y="689"/>
                  </a:lnTo>
                  <a:lnTo>
                    <a:pt x="77" y="679"/>
                  </a:lnTo>
                  <a:lnTo>
                    <a:pt x="91" y="674"/>
                  </a:lnTo>
                  <a:lnTo>
                    <a:pt x="106" y="668"/>
                  </a:lnTo>
                  <a:lnTo>
                    <a:pt x="118" y="665"/>
                  </a:lnTo>
                  <a:lnTo>
                    <a:pt x="131" y="653"/>
                  </a:lnTo>
                  <a:lnTo>
                    <a:pt x="134" y="647"/>
                  </a:lnTo>
                  <a:lnTo>
                    <a:pt x="133" y="637"/>
                  </a:lnTo>
                  <a:lnTo>
                    <a:pt x="128" y="632"/>
                  </a:lnTo>
                  <a:lnTo>
                    <a:pt x="108" y="628"/>
                  </a:lnTo>
                  <a:lnTo>
                    <a:pt x="109" y="614"/>
                  </a:lnTo>
                  <a:lnTo>
                    <a:pt x="108" y="599"/>
                  </a:lnTo>
                  <a:lnTo>
                    <a:pt x="103" y="573"/>
                  </a:lnTo>
                  <a:lnTo>
                    <a:pt x="98" y="567"/>
                  </a:lnTo>
                  <a:lnTo>
                    <a:pt x="71" y="558"/>
                  </a:lnTo>
                  <a:lnTo>
                    <a:pt x="55" y="550"/>
                  </a:lnTo>
                  <a:lnTo>
                    <a:pt x="43" y="540"/>
                  </a:lnTo>
                  <a:lnTo>
                    <a:pt x="22" y="497"/>
                  </a:lnTo>
                  <a:lnTo>
                    <a:pt x="8" y="485"/>
                  </a:lnTo>
                  <a:lnTo>
                    <a:pt x="0" y="475"/>
                  </a:lnTo>
                  <a:lnTo>
                    <a:pt x="4" y="470"/>
                  </a:lnTo>
                  <a:lnTo>
                    <a:pt x="63" y="486"/>
                  </a:lnTo>
                  <a:lnTo>
                    <a:pt x="81" y="496"/>
                  </a:lnTo>
                  <a:lnTo>
                    <a:pt x="88" y="497"/>
                  </a:lnTo>
                  <a:lnTo>
                    <a:pt x="92" y="496"/>
                  </a:lnTo>
                  <a:lnTo>
                    <a:pt x="96" y="493"/>
                  </a:lnTo>
                  <a:lnTo>
                    <a:pt x="99" y="492"/>
                  </a:lnTo>
                  <a:lnTo>
                    <a:pt x="109" y="492"/>
                  </a:lnTo>
                  <a:lnTo>
                    <a:pt x="118" y="491"/>
                  </a:lnTo>
                  <a:lnTo>
                    <a:pt x="130" y="491"/>
                  </a:lnTo>
                  <a:lnTo>
                    <a:pt x="144" y="490"/>
                  </a:lnTo>
                  <a:lnTo>
                    <a:pt x="161" y="490"/>
                  </a:lnTo>
                  <a:lnTo>
                    <a:pt x="177" y="497"/>
                  </a:lnTo>
                  <a:lnTo>
                    <a:pt x="180" y="495"/>
                  </a:lnTo>
                  <a:lnTo>
                    <a:pt x="184" y="490"/>
                  </a:lnTo>
                  <a:lnTo>
                    <a:pt x="187" y="487"/>
                  </a:lnTo>
                  <a:lnTo>
                    <a:pt x="194" y="485"/>
                  </a:lnTo>
                  <a:lnTo>
                    <a:pt x="206" y="485"/>
                  </a:lnTo>
                  <a:lnTo>
                    <a:pt x="232" y="486"/>
                  </a:lnTo>
                  <a:lnTo>
                    <a:pt x="248" y="482"/>
                  </a:lnTo>
                  <a:lnTo>
                    <a:pt x="268" y="475"/>
                  </a:lnTo>
                  <a:lnTo>
                    <a:pt x="293" y="470"/>
                  </a:lnTo>
                  <a:lnTo>
                    <a:pt x="302" y="464"/>
                  </a:lnTo>
                  <a:lnTo>
                    <a:pt x="302" y="458"/>
                  </a:lnTo>
                  <a:lnTo>
                    <a:pt x="298" y="454"/>
                  </a:lnTo>
                  <a:lnTo>
                    <a:pt x="298" y="450"/>
                  </a:lnTo>
                  <a:lnTo>
                    <a:pt x="302" y="431"/>
                  </a:lnTo>
                  <a:lnTo>
                    <a:pt x="301" y="418"/>
                  </a:lnTo>
                  <a:lnTo>
                    <a:pt x="305" y="404"/>
                  </a:lnTo>
                  <a:lnTo>
                    <a:pt x="308" y="398"/>
                  </a:lnTo>
                  <a:lnTo>
                    <a:pt x="319" y="389"/>
                  </a:lnTo>
                  <a:lnTo>
                    <a:pt x="325" y="378"/>
                  </a:lnTo>
                  <a:lnTo>
                    <a:pt x="333" y="374"/>
                  </a:lnTo>
                  <a:lnTo>
                    <a:pt x="336" y="377"/>
                  </a:lnTo>
                  <a:lnTo>
                    <a:pt x="336" y="380"/>
                  </a:lnTo>
                  <a:lnTo>
                    <a:pt x="348" y="382"/>
                  </a:lnTo>
                  <a:lnTo>
                    <a:pt x="359" y="379"/>
                  </a:lnTo>
                  <a:lnTo>
                    <a:pt x="370" y="377"/>
                  </a:lnTo>
                  <a:lnTo>
                    <a:pt x="377" y="375"/>
                  </a:lnTo>
                  <a:lnTo>
                    <a:pt x="379" y="373"/>
                  </a:lnTo>
                  <a:lnTo>
                    <a:pt x="379" y="371"/>
                  </a:lnTo>
                  <a:lnTo>
                    <a:pt x="372" y="368"/>
                  </a:lnTo>
                  <a:lnTo>
                    <a:pt x="371" y="366"/>
                  </a:lnTo>
                  <a:lnTo>
                    <a:pt x="375" y="362"/>
                  </a:lnTo>
                  <a:lnTo>
                    <a:pt x="392" y="353"/>
                  </a:lnTo>
                  <a:lnTo>
                    <a:pt x="394" y="348"/>
                  </a:lnTo>
                  <a:lnTo>
                    <a:pt x="399" y="346"/>
                  </a:lnTo>
                  <a:lnTo>
                    <a:pt x="405" y="346"/>
                  </a:lnTo>
                  <a:lnTo>
                    <a:pt x="421" y="351"/>
                  </a:lnTo>
                  <a:lnTo>
                    <a:pt x="421" y="348"/>
                  </a:lnTo>
                  <a:lnTo>
                    <a:pt x="418" y="347"/>
                  </a:lnTo>
                  <a:lnTo>
                    <a:pt x="420" y="343"/>
                  </a:lnTo>
                  <a:lnTo>
                    <a:pt x="424" y="343"/>
                  </a:lnTo>
                  <a:lnTo>
                    <a:pt x="431" y="348"/>
                  </a:lnTo>
                  <a:lnTo>
                    <a:pt x="432" y="352"/>
                  </a:lnTo>
                  <a:lnTo>
                    <a:pt x="435" y="356"/>
                  </a:lnTo>
                  <a:lnTo>
                    <a:pt x="441" y="358"/>
                  </a:lnTo>
                  <a:lnTo>
                    <a:pt x="443" y="358"/>
                  </a:lnTo>
                  <a:lnTo>
                    <a:pt x="463" y="337"/>
                  </a:lnTo>
                  <a:lnTo>
                    <a:pt x="463" y="334"/>
                  </a:lnTo>
                  <a:lnTo>
                    <a:pt x="461" y="323"/>
                  </a:lnTo>
                  <a:lnTo>
                    <a:pt x="459" y="305"/>
                  </a:lnTo>
                  <a:lnTo>
                    <a:pt x="461" y="302"/>
                  </a:lnTo>
                  <a:lnTo>
                    <a:pt x="464" y="297"/>
                  </a:lnTo>
                  <a:lnTo>
                    <a:pt x="467" y="292"/>
                  </a:lnTo>
                  <a:lnTo>
                    <a:pt x="469" y="292"/>
                  </a:lnTo>
                  <a:lnTo>
                    <a:pt x="470" y="288"/>
                  </a:lnTo>
                  <a:lnTo>
                    <a:pt x="469" y="282"/>
                  </a:lnTo>
                  <a:lnTo>
                    <a:pt x="470" y="277"/>
                  </a:lnTo>
                  <a:lnTo>
                    <a:pt x="476" y="275"/>
                  </a:lnTo>
                  <a:lnTo>
                    <a:pt x="478" y="261"/>
                  </a:lnTo>
                  <a:lnTo>
                    <a:pt x="490" y="258"/>
                  </a:lnTo>
                  <a:lnTo>
                    <a:pt x="497" y="259"/>
                  </a:lnTo>
                  <a:lnTo>
                    <a:pt x="507" y="251"/>
                  </a:lnTo>
                  <a:lnTo>
                    <a:pt x="515" y="249"/>
                  </a:lnTo>
                  <a:lnTo>
                    <a:pt x="519" y="243"/>
                  </a:lnTo>
                  <a:lnTo>
                    <a:pt x="519" y="239"/>
                  </a:lnTo>
                  <a:lnTo>
                    <a:pt x="515" y="234"/>
                  </a:lnTo>
                  <a:lnTo>
                    <a:pt x="510" y="218"/>
                  </a:lnTo>
                  <a:lnTo>
                    <a:pt x="506" y="218"/>
                  </a:lnTo>
                  <a:lnTo>
                    <a:pt x="500" y="208"/>
                  </a:lnTo>
                  <a:lnTo>
                    <a:pt x="499" y="205"/>
                  </a:lnTo>
                  <a:lnTo>
                    <a:pt x="500" y="200"/>
                  </a:lnTo>
                  <a:lnTo>
                    <a:pt x="504" y="197"/>
                  </a:lnTo>
                  <a:lnTo>
                    <a:pt x="508" y="199"/>
                  </a:lnTo>
                  <a:lnTo>
                    <a:pt x="527" y="203"/>
                  </a:lnTo>
                  <a:lnTo>
                    <a:pt x="538" y="205"/>
                  </a:lnTo>
                  <a:lnTo>
                    <a:pt x="549" y="202"/>
                  </a:lnTo>
                  <a:lnTo>
                    <a:pt x="555" y="199"/>
                  </a:lnTo>
                  <a:lnTo>
                    <a:pt x="562" y="189"/>
                  </a:lnTo>
                  <a:lnTo>
                    <a:pt x="562" y="181"/>
                  </a:lnTo>
                  <a:lnTo>
                    <a:pt x="566" y="178"/>
                  </a:lnTo>
                  <a:lnTo>
                    <a:pt x="562" y="175"/>
                  </a:lnTo>
                  <a:lnTo>
                    <a:pt x="558" y="173"/>
                  </a:lnTo>
                  <a:lnTo>
                    <a:pt x="558" y="167"/>
                  </a:lnTo>
                  <a:lnTo>
                    <a:pt x="561" y="163"/>
                  </a:lnTo>
                  <a:lnTo>
                    <a:pt x="565" y="156"/>
                  </a:lnTo>
                  <a:lnTo>
                    <a:pt x="572" y="147"/>
                  </a:lnTo>
                  <a:lnTo>
                    <a:pt x="581" y="141"/>
                  </a:lnTo>
                  <a:lnTo>
                    <a:pt x="587" y="133"/>
                  </a:lnTo>
                  <a:lnTo>
                    <a:pt x="591" y="126"/>
                  </a:lnTo>
                  <a:lnTo>
                    <a:pt x="591" y="120"/>
                  </a:lnTo>
                  <a:lnTo>
                    <a:pt x="588" y="116"/>
                  </a:lnTo>
                  <a:lnTo>
                    <a:pt x="588" y="114"/>
                  </a:lnTo>
                  <a:lnTo>
                    <a:pt x="593" y="105"/>
                  </a:lnTo>
                  <a:lnTo>
                    <a:pt x="593" y="104"/>
                  </a:lnTo>
                  <a:lnTo>
                    <a:pt x="588" y="94"/>
                  </a:lnTo>
                  <a:lnTo>
                    <a:pt x="585" y="81"/>
                  </a:lnTo>
                  <a:lnTo>
                    <a:pt x="578" y="73"/>
                  </a:lnTo>
                  <a:lnTo>
                    <a:pt x="570" y="67"/>
                  </a:lnTo>
                  <a:lnTo>
                    <a:pt x="569" y="66"/>
                  </a:lnTo>
                  <a:lnTo>
                    <a:pt x="570" y="60"/>
                  </a:lnTo>
                  <a:lnTo>
                    <a:pt x="574" y="56"/>
                  </a:lnTo>
                  <a:lnTo>
                    <a:pt x="591" y="43"/>
                  </a:lnTo>
                  <a:lnTo>
                    <a:pt x="591" y="38"/>
                  </a:lnTo>
                  <a:lnTo>
                    <a:pt x="592" y="36"/>
                  </a:lnTo>
                  <a:lnTo>
                    <a:pt x="597" y="36"/>
                  </a:lnTo>
                  <a:lnTo>
                    <a:pt x="602" y="39"/>
                  </a:lnTo>
                  <a:lnTo>
                    <a:pt x="605" y="38"/>
                  </a:lnTo>
                  <a:lnTo>
                    <a:pt x="604" y="34"/>
                  </a:lnTo>
                  <a:lnTo>
                    <a:pt x="605" y="32"/>
                  </a:lnTo>
                  <a:lnTo>
                    <a:pt x="615" y="29"/>
                  </a:lnTo>
                  <a:lnTo>
                    <a:pt x="619" y="25"/>
                  </a:lnTo>
                  <a:lnTo>
                    <a:pt x="619" y="23"/>
                  </a:lnTo>
                  <a:lnTo>
                    <a:pt x="624" y="22"/>
                  </a:lnTo>
                  <a:lnTo>
                    <a:pt x="628" y="19"/>
                  </a:lnTo>
                  <a:lnTo>
                    <a:pt x="636" y="18"/>
                  </a:lnTo>
                  <a:lnTo>
                    <a:pt x="645" y="12"/>
                  </a:lnTo>
                  <a:lnTo>
                    <a:pt x="652" y="12"/>
                  </a:lnTo>
                  <a:lnTo>
                    <a:pt x="662" y="7"/>
                  </a:lnTo>
                  <a:lnTo>
                    <a:pt x="666" y="8"/>
                  </a:lnTo>
                  <a:lnTo>
                    <a:pt x="701" y="6"/>
                  </a:lnTo>
                  <a:lnTo>
                    <a:pt x="705" y="7"/>
                  </a:lnTo>
                  <a:lnTo>
                    <a:pt x="712" y="6"/>
                  </a:lnTo>
                  <a:lnTo>
                    <a:pt x="726" y="11"/>
                  </a:lnTo>
                  <a:lnTo>
                    <a:pt x="731" y="11"/>
                  </a:lnTo>
                  <a:lnTo>
                    <a:pt x="737" y="6"/>
                  </a:lnTo>
                  <a:lnTo>
                    <a:pt x="741" y="6"/>
                  </a:lnTo>
                  <a:lnTo>
                    <a:pt x="746" y="2"/>
                  </a:lnTo>
                  <a:lnTo>
                    <a:pt x="755" y="4"/>
                  </a:lnTo>
                  <a:lnTo>
                    <a:pt x="757" y="0"/>
                  </a:lnTo>
                  <a:lnTo>
                    <a:pt x="755" y="1"/>
                  </a:lnTo>
                  <a:lnTo>
                    <a:pt x="766" y="4"/>
                  </a:lnTo>
                  <a:lnTo>
                    <a:pt x="780" y="2"/>
                  </a:lnTo>
                  <a:lnTo>
                    <a:pt x="784" y="3"/>
                  </a:lnTo>
                  <a:lnTo>
                    <a:pt x="789" y="6"/>
                  </a:lnTo>
                  <a:lnTo>
                    <a:pt x="796" y="4"/>
                  </a:lnTo>
                  <a:lnTo>
                    <a:pt x="798" y="7"/>
                  </a:lnTo>
                  <a:lnTo>
                    <a:pt x="798" y="19"/>
                  </a:lnTo>
                  <a:lnTo>
                    <a:pt x="800" y="20"/>
                  </a:lnTo>
                  <a:lnTo>
                    <a:pt x="806" y="16"/>
                  </a:lnTo>
                  <a:lnTo>
                    <a:pt x="811" y="16"/>
                  </a:lnTo>
                  <a:lnTo>
                    <a:pt x="822" y="23"/>
                  </a:lnTo>
                  <a:lnTo>
                    <a:pt x="828" y="29"/>
                  </a:lnTo>
                  <a:lnTo>
                    <a:pt x="830" y="35"/>
                  </a:lnTo>
                  <a:lnTo>
                    <a:pt x="830" y="41"/>
                  </a:lnTo>
                  <a:lnTo>
                    <a:pt x="828" y="47"/>
                  </a:lnTo>
                  <a:lnTo>
                    <a:pt x="830" y="50"/>
                  </a:lnTo>
                  <a:lnTo>
                    <a:pt x="832" y="55"/>
                  </a:lnTo>
                  <a:lnTo>
                    <a:pt x="830" y="59"/>
                  </a:lnTo>
                  <a:lnTo>
                    <a:pt x="825" y="60"/>
                  </a:lnTo>
                  <a:lnTo>
                    <a:pt x="825" y="62"/>
                  </a:lnTo>
                  <a:lnTo>
                    <a:pt x="827" y="66"/>
                  </a:lnTo>
                  <a:lnTo>
                    <a:pt x="834" y="67"/>
                  </a:lnTo>
                  <a:lnTo>
                    <a:pt x="840" y="78"/>
                  </a:lnTo>
                  <a:lnTo>
                    <a:pt x="844" y="79"/>
                  </a:lnTo>
                  <a:lnTo>
                    <a:pt x="849" y="78"/>
                  </a:lnTo>
                  <a:lnTo>
                    <a:pt x="852" y="78"/>
                  </a:lnTo>
                  <a:lnTo>
                    <a:pt x="857" y="74"/>
                  </a:lnTo>
                  <a:lnTo>
                    <a:pt x="861" y="73"/>
                  </a:lnTo>
                  <a:lnTo>
                    <a:pt x="862" y="77"/>
                  </a:lnTo>
                  <a:lnTo>
                    <a:pt x="862" y="83"/>
                  </a:lnTo>
                  <a:lnTo>
                    <a:pt x="872" y="89"/>
                  </a:lnTo>
                  <a:lnTo>
                    <a:pt x="889" y="95"/>
                  </a:lnTo>
                  <a:lnTo>
                    <a:pt x="897" y="100"/>
                  </a:lnTo>
                  <a:lnTo>
                    <a:pt x="903" y="99"/>
                  </a:lnTo>
                  <a:lnTo>
                    <a:pt x="910" y="104"/>
                  </a:lnTo>
                  <a:lnTo>
                    <a:pt x="921" y="105"/>
                  </a:lnTo>
                  <a:lnTo>
                    <a:pt x="887" y="130"/>
                  </a:lnTo>
                  <a:lnTo>
                    <a:pt x="883" y="136"/>
                  </a:lnTo>
                  <a:lnTo>
                    <a:pt x="884" y="138"/>
                  </a:lnTo>
                  <a:lnTo>
                    <a:pt x="884" y="141"/>
                  </a:lnTo>
                  <a:lnTo>
                    <a:pt x="881" y="149"/>
                  </a:lnTo>
                  <a:lnTo>
                    <a:pt x="877" y="153"/>
                  </a:lnTo>
                  <a:lnTo>
                    <a:pt x="873" y="152"/>
                  </a:lnTo>
                  <a:lnTo>
                    <a:pt x="870" y="148"/>
                  </a:lnTo>
                  <a:lnTo>
                    <a:pt x="851" y="149"/>
                  </a:lnTo>
                  <a:lnTo>
                    <a:pt x="849" y="151"/>
                  </a:lnTo>
                  <a:lnTo>
                    <a:pt x="844" y="157"/>
                  </a:lnTo>
                  <a:lnTo>
                    <a:pt x="841" y="158"/>
                  </a:lnTo>
                  <a:lnTo>
                    <a:pt x="835" y="158"/>
                  </a:lnTo>
                  <a:lnTo>
                    <a:pt x="828" y="156"/>
                  </a:lnTo>
                  <a:lnTo>
                    <a:pt x="824" y="158"/>
                  </a:lnTo>
                  <a:lnTo>
                    <a:pt x="822" y="162"/>
                  </a:lnTo>
                  <a:lnTo>
                    <a:pt x="818" y="164"/>
                  </a:lnTo>
                  <a:lnTo>
                    <a:pt x="816" y="165"/>
                  </a:lnTo>
                  <a:lnTo>
                    <a:pt x="809" y="164"/>
                  </a:lnTo>
                  <a:lnTo>
                    <a:pt x="806" y="165"/>
                  </a:lnTo>
                  <a:lnTo>
                    <a:pt x="802" y="163"/>
                  </a:lnTo>
                  <a:lnTo>
                    <a:pt x="790" y="163"/>
                  </a:lnTo>
                  <a:lnTo>
                    <a:pt x="785" y="162"/>
                  </a:lnTo>
                  <a:lnTo>
                    <a:pt x="780" y="162"/>
                  </a:lnTo>
                  <a:lnTo>
                    <a:pt x="765" y="153"/>
                  </a:lnTo>
                  <a:lnTo>
                    <a:pt x="755" y="151"/>
                  </a:lnTo>
                  <a:lnTo>
                    <a:pt x="737" y="143"/>
                  </a:lnTo>
                  <a:lnTo>
                    <a:pt x="732" y="146"/>
                  </a:lnTo>
                  <a:lnTo>
                    <a:pt x="728" y="149"/>
                  </a:lnTo>
                  <a:lnTo>
                    <a:pt x="721" y="148"/>
                  </a:lnTo>
                  <a:lnTo>
                    <a:pt x="717" y="149"/>
                  </a:lnTo>
                  <a:lnTo>
                    <a:pt x="716" y="152"/>
                  </a:lnTo>
                  <a:lnTo>
                    <a:pt x="715" y="160"/>
                  </a:lnTo>
                  <a:lnTo>
                    <a:pt x="707" y="174"/>
                  </a:lnTo>
                  <a:lnTo>
                    <a:pt x="707" y="176"/>
                  </a:lnTo>
                  <a:lnTo>
                    <a:pt x="716" y="176"/>
                  </a:lnTo>
                  <a:lnTo>
                    <a:pt x="718" y="181"/>
                  </a:lnTo>
                  <a:lnTo>
                    <a:pt x="718" y="185"/>
                  </a:lnTo>
                  <a:lnTo>
                    <a:pt x="714" y="187"/>
                  </a:lnTo>
                  <a:lnTo>
                    <a:pt x="712" y="189"/>
                  </a:lnTo>
                  <a:lnTo>
                    <a:pt x="712" y="192"/>
                  </a:lnTo>
                  <a:lnTo>
                    <a:pt x="715" y="196"/>
                  </a:lnTo>
                  <a:lnTo>
                    <a:pt x="717" y="197"/>
                  </a:lnTo>
                  <a:lnTo>
                    <a:pt x="728" y="196"/>
                  </a:lnTo>
                  <a:lnTo>
                    <a:pt x="731" y="199"/>
                  </a:lnTo>
                  <a:lnTo>
                    <a:pt x="732" y="202"/>
                  </a:lnTo>
                  <a:lnTo>
                    <a:pt x="732" y="203"/>
                  </a:lnTo>
                  <a:lnTo>
                    <a:pt x="727" y="208"/>
                  </a:lnTo>
                  <a:lnTo>
                    <a:pt x="721" y="211"/>
                  </a:lnTo>
                  <a:lnTo>
                    <a:pt x="720" y="217"/>
                  </a:lnTo>
                  <a:lnTo>
                    <a:pt x="732" y="228"/>
                  </a:lnTo>
                  <a:lnTo>
                    <a:pt x="732" y="234"/>
                  </a:lnTo>
                  <a:lnTo>
                    <a:pt x="731" y="239"/>
                  </a:lnTo>
                  <a:lnTo>
                    <a:pt x="717" y="248"/>
                  </a:lnTo>
                  <a:lnTo>
                    <a:pt x="716" y="251"/>
                  </a:lnTo>
                  <a:lnTo>
                    <a:pt x="725" y="255"/>
                  </a:lnTo>
                  <a:lnTo>
                    <a:pt x="728" y="264"/>
                  </a:lnTo>
                  <a:lnTo>
                    <a:pt x="738" y="270"/>
                  </a:lnTo>
                  <a:lnTo>
                    <a:pt x="737" y="277"/>
                  </a:lnTo>
                  <a:lnTo>
                    <a:pt x="744" y="278"/>
                  </a:lnTo>
                  <a:lnTo>
                    <a:pt x="747" y="282"/>
                  </a:lnTo>
                  <a:lnTo>
                    <a:pt x="753" y="280"/>
                  </a:lnTo>
                  <a:lnTo>
                    <a:pt x="758" y="281"/>
                  </a:lnTo>
                  <a:lnTo>
                    <a:pt x="758" y="286"/>
                  </a:lnTo>
                  <a:lnTo>
                    <a:pt x="757" y="292"/>
                  </a:lnTo>
                  <a:lnTo>
                    <a:pt x="760" y="299"/>
                  </a:lnTo>
                  <a:lnTo>
                    <a:pt x="761" y="300"/>
                  </a:lnTo>
                  <a:lnTo>
                    <a:pt x="779" y="302"/>
                  </a:lnTo>
                  <a:lnTo>
                    <a:pt x="784" y="305"/>
                  </a:lnTo>
                  <a:lnTo>
                    <a:pt x="789" y="304"/>
                  </a:lnTo>
                  <a:lnTo>
                    <a:pt x="795" y="312"/>
                  </a:lnTo>
                  <a:lnTo>
                    <a:pt x="793" y="316"/>
                  </a:lnTo>
                  <a:lnTo>
                    <a:pt x="796" y="320"/>
                  </a:lnTo>
                  <a:lnTo>
                    <a:pt x="791" y="325"/>
                  </a:lnTo>
                  <a:lnTo>
                    <a:pt x="789" y="329"/>
                  </a:lnTo>
                  <a:lnTo>
                    <a:pt x="781" y="330"/>
                  </a:lnTo>
                  <a:lnTo>
                    <a:pt x="777" y="330"/>
                  </a:lnTo>
                  <a:lnTo>
                    <a:pt x="775" y="329"/>
                  </a:lnTo>
                  <a:lnTo>
                    <a:pt x="770" y="330"/>
                  </a:lnTo>
                  <a:lnTo>
                    <a:pt x="768" y="332"/>
                  </a:lnTo>
                  <a:lnTo>
                    <a:pt x="757" y="337"/>
                  </a:lnTo>
                  <a:lnTo>
                    <a:pt x="753" y="345"/>
                  </a:lnTo>
                  <a:lnTo>
                    <a:pt x="752" y="356"/>
                  </a:lnTo>
                  <a:lnTo>
                    <a:pt x="757" y="362"/>
                  </a:lnTo>
                  <a:lnTo>
                    <a:pt x="755" y="367"/>
                  </a:lnTo>
                  <a:lnTo>
                    <a:pt x="758" y="368"/>
                  </a:lnTo>
                  <a:lnTo>
                    <a:pt x="759" y="371"/>
                  </a:lnTo>
                  <a:lnTo>
                    <a:pt x="758" y="374"/>
                  </a:lnTo>
                  <a:lnTo>
                    <a:pt x="753" y="378"/>
                  </a:lnTo>
                  <a:lnTo>
                    <a:pt x="752" y="384"/>
                  </a:lnTo>
                  <a:lnTo>
                    <a:pt x="752" y="386"/>
                  </a:lnTo>
                  <a:lnTo>
                    <a:pt x="754" y="388"/>
                  </a:lnTo>
                  <a:lnTo>
                    <a:pt x="764" y="388"/>
                  </a:lnTo>
                  <a:lnTo>
                    <a:pt x="766" y="394"/>
                  </a:lnTo>
                  <a:lnTo>
                    <a:pt x="764" y="396"/>
                  </a:lnTo>
                  <a:lnTo>
                    <a:pt x="760" y="398"/>
                  </a:lnTo>
                  <a:lnTo>
                    <a:pt x="757" y="396"/>
                  </a:lnTo>
                  <a:lnTo>
                    <a:pt x="754" y="394"/>
                  </a:lnTo>
                  <a:lnTo>
                    <a:pt x="752" y="401"/>
                  </a:lnTo>
                  <a:lnTo>
                    <a:pt x="738" y="406"/>
                  </a:lnTo>
                  <a:lnTo>
                    <a:pt x="726" y="422"/>
                  </a:lnTo>
                  <a:lnTo>
                    <a:pt x="721" y="425"/>
                  </a:lnTo>
                  <a:lnTo>
                    <a:pt x="716" y="431"/>
                  </a:lnTo>
                  <a:lnTo>
                    <a:pt x="712" y="436"/>
                  </a:lnTo>
                  <a:lnTo>
                    <a:pt x="711" y="442"/>
                  </a:lnTo>
                  <a:lnTo>
                    <a:pt x="712" y="450"/>
                  </a:lnTo>
                  <a:lnTo>
                    <a:pt x="709" y="458"/>
                  </a:lnTo>
                  <a:lnTo>
                    <a:pt x="700" y="463"/>
                  </a:lnTo>
                  <a:lnTo>
                    <a:pt x="693" y="463"/>
                  </a:lnTo>
                  <a:lnTo>
                    <a:pt x="687" y="468"/>
                  </a:lnTo>
                  <a:lnTo>
                    <a:pt x="682" y="476"/>
                  </a:lnTo>
                  <a:lnTo>
                    <a:pt x="678" y="487"/>
                  </a:lnTo>
                  <a:lnTo>
                    <a:pt x="672" y="498"/>
                  </a:lnTo>
                  <a:lnTo>
                    <a:pt x="657" y="520"/>
                  </a:lnTo>
                  <a:lnTo>
                    <a:pt x="651" y="527"/>
                  </a:lnTo>
                  <a:lnTo>
                    <a:pt x="639" y="534"/>
                  </a:lnTo>
                  <a:lnTo>
                    <a:pt x="628" y="544"/>
                  </a:lnTo>
                  <a:lnTo>
                    <a:pt x="624" y="549"/>
                  </a:lnTo>
                  <a:lnTo>
                    <a:pt x="614" y="565"/>
                  </a:lnTo>
                  <a:lnTo>
                    <a:pt x="607" y="574"/>
                  </a:lnTo>
                  <a:lnTo>
                    <a:pt x="599" y="589"/>
                  </a:lnTo>
                  <a:lnTo>
                    <a:pt x="594" y="592"/>
                  </a:lnTo>
                  <a:lnTo>
                    <a:pt x="590" y="593"/>
                  </a:lnTo>
                  <a:lnTo>
                    <a:pt x="567" y="593"/>
                  </a:lnTo>
                  <a:lnTo>
                    <a:pt x="564" y="594"/>
                  </a:lnTo>
                  <a:lnTo>
                    <a:pt x="556" y="597"/>
                  </a:lnTo>
                  <a:lnTo>
                    <a:pt x="551" y="603"/>
                  </a:lnTo>
                  <a:lnTo>
                    <a:pt x="547" y="604"/>
                  </a:lnTo>
                  <a:lnTo>
                    <a:pt x="544" y="603"/>
                  </a:lnTo>
                  <a:lnTo>
                    <a:pt x="542" y="598"/>
                  </a:lnTo>
                  <a:lnTo>
                    <a:pt x="534" y="584"/>
                  </a:lnTo>
                  <a:lnTo>
                    <a:pt x="531" y="582"/>
                  </a:lnTo>
                  <a:lnTo>
                    <a:pt x="527" y="583"/>
                  </a:lnTo>
                  <a:lnTo>
                    <a:pt x="517" y="592"/>
                  </a:lnTo>
                  <a:lnTo>
                    <a:pt x="513" y="598"/>
                  </a:lnTo>
                  <a:lnTo>
                    <a:pt x="502" y="608"/>
                  </a:lnTo>
                  <a:lnTo>
                    <a:pt x="488" y="626"/>
                  </a:lnTo>
                  <a:lnTo>
                    <a:pt x="480" y="633"/>
                  </a:lnTo>
                  <a:lnTo>
                    <a:pt x="478" y="640"/>
                  </a:lnTo>
                  <a:lnTo>
                    <a:pt x="474" y="658"/>
                  </a:lnTo>
                  <a:lnTo>
                    <a:pt x="474" y="663"/>
                  </a:lnTo>
                  <a:lnTo>
                    <a:pt x="476" y="668"/>
                  </a:lnTo>
                  <a:lnTo>
                    <a:pt x="483" y="671"/>
                  </a:lnTo>
                  <a:lnTo>
                    <a:pt x="489" y="670"/>
                  </a:lnTo>
                  <a:lnTo>
                    <a:pt x="496" y="673"/>
                  </a:lnTo>
                  <a:lnTo>
                    <a:pt x="506" y="673"/>
                  </a:lnTo>
                  <a:lnTo>
                    <a:pt x="508" y="674"/>
                  </a:lnTo>
                  <a:lnTo>
                    <a:pt x="512" y="678"/>
                  </a:lnTo>
                  <a:lnTo>
                    <a:pt x="513" y="681"/>
                  </a:lnTo>
                  <a:lnTo>
                    <a:pt x="513" y="686"/>
                  </a:lnTo>
                  <a:lnTo>
                    <a:pt x="507" y="706"/>
                  </a:lnTo>
                  <a:lnTo>
                    <a:pt x="507" y="711"/>
                  </a:lnTo>
                  <a:lnTo>
                    <a:pt x="508" y="716"/>
                  </a:lnTo>
                  <a:lnTo>
                    <a:pt x="518" y="727"/>
                  </a:lnTo>
                  <a:lnTo>
                    <a:pt x="522" y="728"/>
                  </a:lnTo>
                  <a:lnTo>
                    <a:pt x="532" y="724"/>
                  </a:lnTo>
                  <a:lnTo>
                    <a:pt x="534" y="725"/>
                  </a:lnTo>
                  <a:lnTo>
                    <a:pt x="537" y="728"/>
                  </a:lnTo>
                  <a:lnTo>
                    <a:pt x="537" y="739"/>
                  </a:lnTo>
                  <a:lnTo>
                    <a:pt x="538" y="748"/>
                  </a:lnTo>
                  <a:lnTo>
                    <a:pt x="543" y="755"/>
                  </a:lnTo>
                  <a:lnTo>
                    <a:pt x="545" y="762"/>
                  </a:lnTo>
                  <a:lnTo>
                    <a:pt x="550" y="768"/>
                  </a:lnTo>
                  <a:lnTo>
                    <a:pt x="555" y="773"/>
                  </a:lnTo>
                  <a:lnTo>
                    <a:pt x="555" y="776"/>
                  </a:lnTo>
                  <a:lnTo>
                    <a:pt x="559" y="781"/>
                  </a:lnTo>
                  <a:lnTo>
                    <a:pt x="560" y="784"/>
                  </a:lnTo>
                  <a:lnTo>
                    <a:pt x="555" y="786"/>
                  </a:lnTo>
                  <a:lnTo>
                    <a:pt x="555" y="788"/>
                  </a:lnTo>
                  <a:lnTo>
                    <a:pt x="555" y="798"/>
                  </a:lnTo>
                  <a:lnTo>
                    <a:pt x="554" y="802"/>
                  </a:lnTo>
                  <a:lnTo>
                    <a:pt x="561" y="803"/>
                  </a:lnTo>
                  <a:lnTo>
                    <a:pt x="561" y="805"/>
                  </a:lnTo>
                  <a:lnTo>
                    <a:pt x="554" y="805"/>
                  </a:lnTo>
                  <a:lnTo>
                    <a:pt x="549" y="809"/>
                  </a:lnTo>
                  <a:lnTo>
                    <a:pt x="549" y="811"/>
                  </a:lnTo>
                  <a:lnTo>
                    <a:pt x="545" y="813"/>
                  </a:lnTo>
                  <a:lnTo>
                    <a:pt x="542" y="813"/>
                  </a:lnTo>
                  <a:lnTo>
                    <a:pt x="535" y="813"/>
                  </a:lnTo>
                  <a:lnTo>
                    <a:pt x="534" y="810"/>
                  </a:lnTo>
                  <a:lnTo>
                    <a:pt x="533" y="809"/>
                  </a:lnTo>
                  <a:lnTo>
                    <a:pt x="534" y="803"/>
                  </a:lnTo>
                  <a:lnTo>
                    <a:pt x="534" y="802"/>
                  </a:lnTo>
                  <a:lnTo>
                    <a:pt x="527" y="800"/>
                  </a:lnTo>
                  <a:lnTo>
                    <a:pt x="522" y="804"/>
                  </a:lnTo>
                  <a:lnTo>
                    <a:pt x="510" y="808"/>
                  </a:lnTo>
                  <a:lnTo>
                    <a:pt x="506" y="815"/>
                  </a:lnTo>
                  <a:lnTo>
                    <a:pt x="505" y="816"/>
                  </a:lnTo>
                  <a:lnTo>
                    <a:pt x="502" y="816"/>
                  </a:lnTo>
                  <a:lnTo>
                    <a:pt x="488" y="816"/>
                  </a:lnTo>
                  <a:lnTo>
                    <a:pt x="479" y="809"/>
                  </a:lnTo>
                  <a:lnTo>
                    <a:pt x="473" y="811"/>
                  </a:lnTo>
                  <a:lnTo>
                    <a:pt x="469" y="809"/>
                  </a:lnTo>
                  <a:lnTo>
                    <a:pt x="457" y="810"/>
                  </a:lnTo>
                  <a:lnTo>
                    <a:pt x="453" y="809"/>
                  </a:lnTo>
                  <a:lnTo>
                    <a:pt x="447" y="810"/>
                  </a:lnTo>
                  <a:lnTo>
                    <a:pt x="443" y="809"/>
                  </a:lnTo>
                  <a:lnTo>
                    <a:pt x="442" y="810"/>
                  </a:lnTo>
                  <a:lnTo>
                    <a:pt x="441" y="810"/>
                  </a:lnTo>
                  <a:lnTo>
                    <a:pt x="438" y="805"/>
                  </a:lnTo>
                  <a:lnTo>
                    <a:pt x="436" y="805"/>
                  </a:lnTo>
                  <a:lnTo>
                    <a:pt x="435" y="810"/>
                  </a:lnTo>
                  <a:lnTo>
                    <a:pt x="435" y="827"/>
                  </a:lnTo>
                  <a:lnTo>
                    <a:pt x="415" y="827"/>
                  </a:lnTo>
                  <a:lnTo>
                    <a:pt x="411" y="829"/>
                  </a:lnTo>
                  <a:lnTo>
                    <a:pt x="406" y="827"/>
                  </a:lnTo>
                  <a:lnTo>
                    <a:pt x="404" y="832"/>
                  </a:lnTo>
                  <a:lnTo>
                    <a:pt x="402" y="834"/>
                  </a:lnTo>
                  <a:lnTo>
                    <a:pt x="400" y="837"/>
                  </a:lnTo>
                  <a:lnTo>
                    <a:pt x="395" y="841"/>
                  </a:lnTo>
                  <a:lnTo>
                    <a:pt x="391" y="842"/>
                  </a:lnTo>
                  <a:lnTo>
                    <a:pt x="378" y="837"/>
                  </a:lnTo>
                  <a:lnTo>
                    <a:pt x="367" y="836"/>
                  </a:lnTo>
                  <a:lnTo>
                    <a:pt x="363" y="834"/>
                  </a:lnTo>
                  <a:lnTo>
                    <a:pt x="362" y="827"/>
                  </a:lnTo>
                  <a:lnTo>
                    <a:pt x="360" y="824"/>
                  </a:lnTo>
                  <a:lnTo>
                    <a:pt x="355" y="820"/>
                  </a:lnTo>
                  <a:lnTo>
                    <a:pt x="350" y="808"/>
                  </a:lnTo>
                  <a:lnTo>
                    <a:pt x="344" y="791"/>
                  </a:lnTo>
                  <a:lnTo>
                    <a:pt x="344" y="784"/>
                  </a:lnTo>
                  <a:lnTo>
                    <a:pt x="340" y="784"/>
                  </a:lnTo>
                  <a:lnTo>
                    <a:pt x="329" y="781"/>
                  </a:lnTo>
                  <a:lnTo>
                    <a:pt x="322" y="776"/>
                  </a:lnTo>
                  <a:lnTo>
                    <a:pt x="318" y="756"/>
                  </a:lnTo>
                  <a:lnTo>
                    <a:pt x="316" y="751"/>
                  </a:lnTo>
                  <a:lnTo>
                    <a:pt x="308" y="745"/>
                  </a:lnTo>
                  <a:lnTo>
                    <a:pt x="302" y="741"/>
                  </a:lnTo>
                  <a:lnTo>
                    <a:pt x="292" y="740"/>
                  </a:lnTo>
                  <a:lnTo>
                    <a:pt x="271" y="744"/>
                  </a:lnTo>
                  <a:lnTo>
                    <a:pt x="250" y="744"/>
                  </a:lnTo>
                  <a:lnTo>
                    <a:pt x="236" y="750"/>
                  </a:lnTo>
                  <a:lnTo>
                    <a:pt x="227" y="748"/>
                  </a:lnTo>
                  <a:lnTo>
                    <a:pt x="212" y="746"/>
                  </a:lnTo>
                  <a:lnTo>
                    <a:pt x="205" y="759"/>
                  </a:lnTo>
                  <a:lnTo>
                    <a:pt x="200" y="753"/>
                  </a:lnTo>
                  <a:lnTo>
                    <a:pt x="188" y="753"/>
                  </a:lnTo>
                  <a:lnTo>
                    <a:pt x="178" y="745"/>
                  </a:lnTo>
                  <a:lnTo>
                    <a:pt x="164" y="746"/>
                  </a:lnTo>
                  <a:lnTo>
                    <a:pt x="151" y="745"/>
                  </a:lnTo>
                  <a:lnTo>
                    <a:pt x="144" y="753"/>
                  </a:lnTo>
                  <a:lnTo>
                    <a:pt x="130" y="755"/>
                  </a:lnTo>
                  <a:lnTo>
                    <a:pt x="102" y="751"/>
                  </a:lnTo>
                  <a:lnTo>
                    <a:pt x="91" y="751"/>
                  </a:lnTo>
                  <a:lnTo>
                    <a:pt x="76" y="759"/>
                  </a:lnTo>
                  <a:lnTo>
                    <a:pt x="69" y="755"/>
                  </a:lnTo>
                  <a:lnTo>
                    <a:pt x="61" y="761"/>
                  </a:lnTo>
                  <a:lnTo>
                    <a:pt x="53" y="761"/>
                  </a:lnTo>
                  <a:lnTo>
                    <a:pt x="48" y="765"/>
                  </a:lnTo>
                  <a:lnTo>
                    <a:pt x="45" y="759"/>
                  </a:lnTo>
                  <a:lnTo>
                    <a:pt x="42" y="75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03" name="Freeform 101">
              <a:extLst>
                <a:ext uri="{FF2B5EF4-FFF2-40B4-BE49-F238E27FC236}">
                  <a16:creationId xmlns:a16="http://schemas.microsoft.com/office/drawing/2014/main" id="{126F009E-624C-495A-CEAD-AA96E434DA5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368355" y="3426466"/>
              <a:ext cx="97003" cy="56396"/>
            </a:xfrm>
            <a:custGeom>
              <a:avLst/>
              <a:gdLst>
                <a:gd name="T0" fmla="*/ 0 w 187"/>
                <a:gd name="T1" fmla="*/ 0 h 98"/>
                <a:gd name="T2" fmla="*/ 0 w 187"/>
                <a:gd name="T3" fmla="*/ 0 h 98"/>
                <a:gd name="T4" fmla="*/ 0 w 187"/>
                <a:gd name="T5" fmla="*/ 0 h 98"/>
                <a:gd name="T6" fmla="*/ 0 w 187"/>
                <a:gd name="T7" fmla="*/ 0 h 98"/>
                <a:gd name="T8" fmla="*/ 0 w 187"/>
                <a:gd name="T9" fmla="*/ 0 h 98"/>
                <a:gd name="T10" fmla="*/ 0 w 187"/>
                <a:gd name="T11" fmla="*/ 0 h 98"/>
                <a:gd name="T12" fmla="*/ 0 w 187"/>
                <a:gd name="T13" fmla="*/ 0 h 98"/>
                <a:gd name="T14" fmla="*/ 0 w 187"/>
                <a:gd name="T15" fmla="*/ 0 h 98"/>
                <a:gd name="T16" fmla="*/ 0 w 187"/>
                <a:gd name="T17" fmla="*/ 0 h 98"/>
                <a:gd name="T18" fmla="*/ 0 w 187"/>
                <a:gd name="T19" fmla="*/ 0 h 98"/>
                <a:gd name="T20" fmla="*/ 0 w 187"/>
                <a:gd name="T21" fmla="*/ 0 h 98"/>
                <a:gd name="T22" fmla="*/ 0 w 187"/>
                <a:gd name="T23" fmla="*/ 0 h 98"/>
                <a:gd name="T24" fmla="*/ 0 w 187"/>
                <a:gd name="T25" fmla="*/ 0 h 98"/>
                <a:gd name="T26" fmla="*/ 0 w 187"/>
                <a:gd name="T27" fmla="*/ 0 h 98"/>
                <a:gd name="T28" fmla="*/ 0 w 187"/>
                <a:gd name="T29" fmla="*/ 0 h 98"/>
                <a:gd name="T30" fmla="*/ 0 w 187"/>
                <a:gd name="T31" fmla="*/ 0 h 98"/>
                <a:gd name="T32" fmla="*/ 0 w 187"/>
                <a:gd name="T33" fmla="*/ 0 h 98"/>
                <a:gd name="T34" fmla="*/ 0 w 187"/>
                <a:gd name="T35" fmla="*/ 0 h 98"/>
                <a:gd name="T36" fmla="*/ 0 w 187"/>
                <a:gd name="T37" fmla="*/ 0 h 98"/>
                <a:gd name="T38" fmla="*/ 0 w 187"/>
                <a:gd name="T39" fmla="*/ 0 h 98"/>
                <a:gd name="T40" fmla="*/ 0 w 187"/>
                <a:gd name="T41" fmla="*/ 0 h 98"/>
                <a:gd name="T42" fmla="*/ 0 w 187"/>
                <a:gd name="T43" fmla="*/ 0 h 98"/>
                <a:gd name="T44" fmla="*/ 0 w 187"/>
                <a:gd name="T45" fmla="*/ 0 h 98"/>
                <a:gd name="T46" fmla="*/ 0 w 187"/>
                <a:gd name="T47" fmla="*/ 0 h 98"/>
                <a:gd name="T48" fmla="*/ 0 w 187"/>
                <a:gd name="T49" fmla="*/ 0 h 98"/>
                <a:gd name="T50" fmla="*/ 0 w 187"/>
                <a:gd name="T51" fmla="*/ 0 h 98"/>
                <a:gd name="T52" fmla="*/ 0 w 187"/>
                <a:gd name="T53" fmla="*/ 0 h 98"/>
                <a:gd name="T54" fmla="*/ 0 w 187"/>
                <a:gd name="T55" fmla="*/ 0 h 98"/>
                <a:gd name="T56" fmla="*/ 0 w 187"/>
                <a:gd name="T57" fmla="*/ 0 h 98"/>
                <a:gd name="T58" fmla="*/ 0 w 187"/>
                <a:gd name="T59" fmla="*/ 0 h 98"/>
                <a:gd name="T60" fmla="*/ 0 w 187"/>
                <a:gd name="T61" fmla="*/ 0 h 98"/>
                <a:gd name="T62" fmla="*/ 0 w 187"/>
                <a:gd name="T63" fmla="*/ 0 h 98"/>
                <a:gd name="T64" fmla="*/ 0 w 187"/>
                <a:gd name="T65" fmla="*/ 0 h 98"/>
                <a:gd name="T66" fmla="*/ 0 w 187"/>
                <a:gd name="T67" fmla="*/ 0 h 98"/>
                <a:gd name="T68" fmla="*/ 0 w 187"/>
                <a:gd name="T69" fmla="*/ 0 h 98"/>
                <a:gd name="T70" fmla="*/ 0 w 187"/>
                <a:gd name="T71" fmla="*/ 0 h 98"/>
                <a:gd name="T72" fmla="*/ 0 w 187"/>
                <a:gd name="T73" fmla="*/ 0 h 98"/>
                <a:gd name="T74" fmla="*/ 0 w 187"/>
                <a:gd name="T75" fmla="*/ 0 h 98"/>
                <a:gd name="T76" fmla="*/ 0 w 187"/>
                <a:gd name="T77" fmla="*/ 0 h 98"/>
                <a:gd name="T78" fmla="*/ 0 w 187"/>
                <a:gd name="T79" fmla="*/ 0 h 98"/>
                <a:gd name="T80" fmla="*/ 0 w 187"/>
                <a:gd name="T81" fmla="*/ 0 h 98"/>
                <a:gd name="T82" fmla="*/ 0 w 187"/>
                <a:gd name="T83" fmla="*/ 0 h 98"/>
                <a:gd name="T84" fmla="*/ 0 w 187"/>
                <a:gd name="T85" fmla="*/ 0 h 98"/>
                <a:gd name="T86" fmla="*/ 0 w 187"/>
                <a:gd name="T87" fmla="*/ 0 h 98"/>
                <a:gd name="T88" fmla="*/ 0 w 187"/>
                <a:gd name="T89" fmla="*/ 0 h 98"/>
                <a:gd name="T90" fmla="*/ 0 w 187"/>
                <a:gd name="T91" fmla="*/ 0 h 98"/>
                <a:gd name="T92" fmla="*/ 0 w 187"/>
                <a:gd name="T93" fmla="*/ 0 h 98"/>
                <a:gd name="T94" fmla="*/ 0 w 187"/>
                <a:gd name="T95" fmla="*/ 0 h 98"/>
                <a:gd name="T96" fmla="*/ 0 w 187"/>
                <a:gd name="T97" fmla="*/ 0 h 9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87"/>
                <a:gd name="T148" fmla="*/ 0 h 98"/>
                <a:gd name="T149" fmla="*/ 187 w 187"/>
                <a:gd name="T150" fmla="*/ 98 h 98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87" h="98">
                  <a:moveTo>
                    <a:pt x="164" y="32"/>
                  </a:moveTo>
                  <a:lnTo>
                    <a:pt x="164" y="30"/>
                  </a:lnTo>
                  <a:lnTo>
                    <a:pt x="150" y="22"/>
                  </a:lnTo>
                  <a:lnTo>
                    <a:pt x="148" y="18"/>
                  </a:lnTo>
                  <a:lnTo>
                    <a:pt x="145" y="17"/>
                  </a:lnTo>
                  <a:lnTo>
                    <a:pt x="130" y="21"/>
                  </a:lnTo>
                  <a:lnTo>
                    <a:pt x="126" y="21"/>
                  </a:lnTo>
                  <a:lnTo>
                    <a:pt x="112" y="16"/>
                  </a:lnTo>
                  <a:lnTo>
                    <a:pt x="96" y="15"/>
                  </a:lnTo>
                  <a:lnTo>
                    <a:pt x="89" y="10"/>
                  </a:lnTo>
                  <a:lnTo>
                    <a:pt x="89" y="7"/>
                  </a:lnTo>
                  <a:lnTo>
                    <a:pt x="85" y="1"/>
                  </a:lnTo>
                  <a:lnTo>
                    <a:pt x="79" y="0"/>
                  </a:lnTo>
                  <a:lnTo>
                    <a:pt x="65" y="1"/>
                  </a:lnTo>
                  <a:lnTo>
                    <a:pt x="53" y="6"/>
                  </a:lnTo>
                  <a:lnTo>
                    <a:pt x="42" y="17"/>
                  </a:lnTo>
                  <a:lnTo>
                    <a:pt x="32" y="33"/>
                  </a:lnTo>
                  <a:lnTo>
                    <a:pt x="11" y="53"/>
                  </a:lnTo>
                  <a:lnTo>
                    <a:pt x="10" y="59"/>
                  </a:lnTo>
                  <a:lnTo>
                    <a:pt x="9" y="63"/>
                  </a:lnTo>
                  <a:lnTo>
                    <a:pt x="0" y="71"/>
                  </a:lnTo>
                  <a:lnTo>
                    <a:pt x="0" y="76"/>
                  </a:lnTo>
                  <a:lnTo>
                    <a:pt x="5" y="77"/>
                  </a:lnTo>
                  <a:lnTo>
                    <a:pt x="6" y="80"/>
                  </a:lnTo>
                  <a:lnTo>
                    <a:pt x="6" y="87"/>
                  </a:lnTo>
                  <a:lnTo>
                    <a:pt x="8" y="88"/>
                  </a:lnTo>
                  <a:lnTo>
                    <a:pt x="11" y="88"/>
                  </a:lnTo>
                  <a:lnTo>
                    <a:pt x="15" y="91"/>
                  </a:lnTo>
                  <a:lnTo>
                    <a:pt x="26" y="95"/>
                  </a:lnTo>
                  <a:lnTo>
                    <a:pt x="49" y="98"/>
                  </a:lnTo>
                  <a:lnTo>
                    <a:pt x="68" y="98"/>
                  </a:lnTo>
                  <a:lnTo>
                    <a:pt x="91" y="90"/>
                  </a:lnTo>
                  <a:lnTo>
                    <a:pt x="96" y="90"/>
                  </a:lnTo>
                  <a:lnTo>
                    <a:pt x="106" y="93"/>
                  </a:lnTo>
                  <a:lnTo>
                    <a:pt x="115" y="93"/>
                  </a:lnTo>
                  <a:lnTo>
                    <a:pt x="123" y="92"/>
                  </a:lnTo>
                  <a:lnTo>
                    <a:pt x="144" y="88"/>
                  </a:lnTo>
                  <a:lnTo>
                    <a:pt x="158" y="87"/>
                  </a:lnTo>
                  <a:lnTo>
                    <a:pt x="178" y="84"/>
                  </a:lnTo>
                  <a:lnTo>
                    <a:pt x="186" y="80"/>
                  </a:lnTo>
                  <a:lnTo>
                    <a:pt x="186" y="77"/>
                  </a:lnTo>
                  <a:lnTo>
                    <a:pt x="185" y="73"/>
                  </a:lnTo>
                  <a:lnTo>
                    <a:pt x="187" y="59"/>
                  </a:lnTo>
                  <a:lnTo>
                    <a:pt x="181" y="53"/>
                  </a:lnTo>
                  <a:lnTo>
                    <a:pt x="162" y="45"/>
                  </a:lnTo>
                  <a:lnTo>
                    <a:pt x="161" y="43"/>
                  </a:lnTo>
                  <a:lnTo>
                    <a:pt x="161" y="41"/>
                  </a:lnTo>
                  <a:lnTo>
                    <a:pt x="164" y="34"/>
                  </a:lnTo>
                  <a:lnTo>
                    <a:pt x="164" y="3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04" name="Freeform 102">
              <a:extLst>
                <a:ext uri="{FF2B5EF4-FFF2-40B4-BE49-F238E27FC236}">
                  <a16:creationId xmlns:a16="http://schemas.microsoft.com/office/drawing/2014/main" id="{D3B31A2F-55E8-C9C5-09C5-552676C097A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114657" y="3354827"/>
              <a:ext cx="234298" cy="140228"/>
            </a:xfrm>
            <a:custGeom>
              <a:avLst/>
              <a:gdLst>
                <a:gd name="T0" fmla="*/ 2147483647 w 441"/>
                <a:gd name="T1" fmla="*/ 0 h 244"/>
                <a:gd name="T2" fmla="*/ 2147483647 w 441"/>
                <a:gd name="T3" fmla="*/ 0 h 244"/>
                <a:gd name="T4" fmla="*/ 2147483647 w 441"/>
                <a:gd name="T5" fmla="*/ 0 h 244"/>
                <a:gd name="T6" fmla="*/ 2147483647 w 441"/>
                <a:gd name="T7" fmla="*/ 0 h 244"/>
                <a:gd name="T8" fmla="*/ 2147483647 w 441"/>
                <a:gd name="T9" fmla="*/ 0 h 244"/>
                <a:gd name="T10" fmla="*/ 2147483647 w 441"/>
                <a:gd name="T11" fmla="*/ 0 h 244"/>
                <a:gd name="T12" fmla="*/ 0 w 441"/>
                <a:gd name="T13" fmla="*/ 0 h 244"/>
                <a:gd name="T14" fmla="*/ 0 w 441"/>
                <a:gd name="T15" fmla="*/ 0 h 244"/>
                <a:gd name="T16" fmla="*/ 0 w 441"/>
                <a:gd name="T17" fmla="*/ 0 h 244"/>
                <a:gd name="T18" fmla="*/ 0 w 441"/>
                <a:gd name="T19" fmla="*/ 0 h 244"/>
                <a:gd name="T20" fmla="*/ 0 w 441"/>
                <a:gd name="T21" fmla="*/ 0 h 244"/>
                <a:gd name="T22" fmla="*/ 0 w 441"/>
                <a:gd name="T23" fmla="*/ 0 h 244"/>
                <a:gd name="T24" fmla="*/ 0 w 441"/>
                <a:gd name="T25" fmla="*/ 0 h 244"/>
                <a:gd name="T26" fmla="*/ 0 w 441"/>
                <a:gd name="T27" fmla="*/ 0 h 244"/>
                <a:gd name="T28" fmla="*/ 0 w 441"/>
                <a:gd name="T29" fmla="*/ 0 h 244"/>
                <a:gd name="T30" fmla="*/ 0 w 441"/>
                <a:gd name="T31" fmla="*/ 0 h 244"/>
                <a:gd name="T32" fmla="*/ 0 w 441"/>
                <a:gd name="T33" fmla="*/ 0 h 244"/>
                <a:gd name="T34" fmla="*/ 0 w 441"/>
                <a:gd name="T35" fmla="*/ 0 h 244"/>
                <a:gd name="T36" fmla="*/ 0 w 441"/>
                <a:gd name="T37" fmla="*/ 0 h 244"/>
                <a:gd name="T38" fmla="*/ 0 w 441"/>
                <a:gd name="T39" fmla="*/ 0 h 244"/>
                <a:gd name="T40" fmla="*/ 0 w 441"/>
                <a:gd name="T41" fmla="*/ 0 h 244"/>
                <a:gd name="T42" fmla="*/ 0 w 441"/>
                <a:gd name="T43" fmla="*/ 0 h 244"/>
                <a:gd name="T44" fmla="*/ 0 w 441"/>
                <a:gd name="T45" fmla="*/ 0 h 244"/>
                <a:gd name="T46" fmla="*/ 0 w 441"/>
                <a:gd name="T47" fmla="*/ 0 h 244"/>
                <a:gd name="T48" fmla="*/ 0 w 441"/>
                <a:gd name="T49" fmla="*/ 0 h 244"/>
                <a:gd name="T50" fmla="*/ 0 w 441"/>
                <a:gd name="T51" fmla="*/ 0 h 244"/>
                <a:gd name="T52" fmla="*/ 0 w 441"/>
                <a:gd name="T53" fmla="*/ 0 h 244"/>
                <a:gd name="T54" fmla="*/ 0 w 441"/>
                <a:gd name="T55" fmla="*/ 0 h 244"/>
                <a:gd name="T56" fmla="*/ 0 w 441"/>
                <a:gd name="T57" fmla="*/ 0 h 244"/>
                <a:gd name="T58" fmla="*/ 0 w 441"/>
                <a:gd name="T59" fmla="*/ 0 h 244"/>
                <a:gd name="T60" fmla="*/ 0 w 441"/>
                <a:gd name="T61" fmla="*/ 0 h 244"/>
                <a:gd name="T62" fmla="*/ 0 w 441"/>
                <a:gd name="T63" fmla="*/ 0 h 244"/>
                <a:gd name="T64" fmla="*/ 0 w 441"/>
                <a:gd name="T65" fmla="*/ 0 h 244"/>
                <a:gd name="T66" fmla="*/ 0 w 441"/>
                <a:gd name="T67" fmla="*/ 0 h 244"/>
                <a:gd name="T68" fmla="*/ 0 w 441"/>
                <a:gd name="T69" fmla="*/ 0 h 244"/>
                <a:gd name="T70" fmla="*/ 0 w 441"/>
                <a:gd name="T71" fmla="*/ 0 h 244"/>
                <a:gd name="T72" fmla="*/ 0 w 441"/>
                <a:gd name="T73" fmla="*/ 0 h 244"/>
                <a:gd name="T74" fmla="*/ 0 w 441"/>
                <a:gd name="T75" fmla="*/ 0 h 244"/>
                <a:gd name="T76" fmla="*/ 0 w 441"/>
                <a:gd name="T77" fmla="*/ 0 h 244"/>
                <a:gd name="T78" fmla="*/ 0 w 441"/>
                <a:gd name="T79" fmla="*/ 0 h 244"/>
                <a:gd name="T80" fmla="*/ 0 w 441"/>
                <a:gd name="T81" fmla="*/ 0 h 244"/>
                <a:gd name="T82" fmla="*/ 0 w 441"/>
                <a:gd name="T83" fmla="*/ 0 h 244"/>
                <a:gd name="T84" fmla="*/ 0 w 441"/>
                <a:gd name="T85" fmla="*/ 0 h 244"/>
                <a:gd name="T86" fmla="*/ 2147483647 w 441"/>
                <a:gd name="T87" fmla="*/ 0 h 244"/>
                <a:gd name="T88" fmla="*/ 2147483647 w 441"/>
                <a:gd name="T89" fmla="*/ 0 h 244"/>
                <a:gd name="T90" fmla="*/ 2147483647 w 441"/>
                <a:gd name="T91" fmla="*/ 0 h 244"/>
                <a:gd name="T92" fmla="*/ 2147483647 w 441"/>
                <a:gd name="T93" fmla="*/ 0 h 244"/>
                <a:gd name="T94" fmla="*/ 2147483647 w 441"/>
                <a:gd name="T95" fmla="*/ 0 h 244"/>
                <a:gd name="T96" fmla="*/ 2147483647 w 441"/>
                <a:gd name="T97" fmla="*/ 0 h 244"/>
                <a:gd name="T98" fmla="*/ 2147483647 w 441"/>
                <a:gd name="T99" fmla="*/ 0 h 244"/>
                <a:gd name="T100" fmla="*/ 2147483647 w 441"/>
                <a:gd name="T101" fmla="*/ 0 h 24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244"/>
                <a:gd name="T155" fmla="*/ 441 w 441"/>
                <a:gd name="T156" fmla="*/ 244 h 24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244">
                  <a:moveTo>
                    <a:pt x="439" y="151"/>
                  </a:moveTo>
                  <a:lnTo>
                    <a:pt x="436" y="158"/>
                  </a:lnTo>
                  <a:lnTo>
                    <a:pt x="432" y="170"/>
                  </a:lnTo>
                  <a:lnTo>
                    <a:pt x="433" y="185"/>
                  </a:lnTo>
                  <a:lnTo>
                    <a:pt x="432" y="199"/>
                  </a:lnTo>
                  <a:lnTo>
                    <a:pt x="428" y="203"/>
                  </a:lnTo>
                  <a:lnTo>
                    <a:pt x="428" y="207"/>
                  </a:lnTo>
                  <a:lnTo>
                    <a:pt x="436" y="211"/>
                  </a:lnTo>
                  <a:lnTo>
                    <a:pt x="441" y="221"/>
                  </a:lnTo>
                  <a:lnTo>
                    <a:pt x="441" y="228"/>
                  </a:lnTo>
                  <a:lnTo>
                    <a:pt x="434" y="239"/>
                  </a:lnTo>
                  <a:lnTo>
                    <a:pt x="434" y="242"/>
                  </a:lnTo>
                  <a:lnTo>
                    <a:pt x="422" y="240"/>
                  </a:lnTo>
                  <a:lnTo>
                    <a:pt x="411" y="243"/>
                  </a:lnTo>
                  <a:lnTo>
                    <a:pt x="396" y="242"/>
                  </a:lnTo>
                  <a:lnTo>
                    <a:pt x="388" y="244"/>
                  </a:lnTo>
                  <a:lnTo>
                    <a:pt x="378" y="239"/>
                  </a:lnTo>
                  <a:lnTo>
                    <a:pt x="368" y="238"/>
                  </a:lnTo>
                  <a:lnTo>
                    <a:pt x="362" y="238"/>
                  </a:lnTo>
                  <a:lnTo>
                    <a:pt x="315" y="230"/>
                  </a:lnTo>
                  <a:lnTo>
                    <a:pt x="308" y="224"/>
                  </a:lnTo>
                  <a:lnTo>
                    <a:pt x="299" y="221"/>
                  </a:lnTo>
                  <a:lnTo>
                    <a:pt x="287" y="222"/>
                  </a:lnTo>
                  <a:lnTo>
                    <a:pt x="267" y="218"/>
                  </a:lnTo>
                  <a:lnTo>
                    <a:pt x="255" y="210"/>
                  </a:lnTo>
                  <a:lnTo>
                    <a:pt x="249" y="205"/>
                  </a:lnTo>
                  <a:lnTo>
                    <a:pt x="239" y="191"/>
                  </a:lnTo>
                  <a:lnTo>
                    <a:pt x="232" y="187"/>
                  </a:lnTo>
                  <a:lnTo>
                    <a:pt x="213" y="184"/>
                  </a:lnTo>
                  <a:lnTo>
                    <a:pt x="211" y="184"/>
                  </a:lnTo>
                  <a:lnTo>
                    <a:pt x="208" y="187"/>
                  </a:lnTo>
                  <a:lnTo>
                    <a:pt x="202" y="186"/>
                  </a:lnTo>
                  <a:lnTo>
                    <a:pt x="192" y="184"/>
                  </a:lnTo>
                  <a:lnTo>
                    <a:pt x="183" y="183"/>
                  </a:lnTo>
                  <a:lnTo>
                    <a:pt x="173" y="187"/>
                  </a:lnTo>
                  <a:lnTo>
                    <a:pt x="168" y="187"/>
                  </a:lnTo>
                  <a:lnTo>
                    <a:pt x="148" y="183"/>
                  </a:lnTo>
                  <a:lnTo>
                    <a:pt x="138" y="170"/>
                  </a:lnTo>
                  <a:lnTo>
                    <a:pt x="136" y="168"/>
                  </a:lnTo>
                  <a:lnTo>
                    <a:pt x="127" y="167"/>
                  </a:lnTo>
                  <a:lnTo>
                    <a:pt x="124" y="167"/>
                  </a:lnTo>
                  <a:lnTo>
                    <a:pt x="114" y="159"/>
                  </a:lnTo>
                  <a:lnTo>
                    <a:pt x="103" y="154"/>
                  </a:lnTo>
                  <a:lnTo>
                    <a:pt x="93" y="153"/>
                  </a:lnTo>
                  <a:lnTo>
                    <a:pt x="83" y="148"/>
                  </a:lnTo>
                  <a:lnTo>
                    <a:pt x="78" y="144"/>
                  </a:lnTo>
                  <a:lnTo>
                    <a:pt x="66" y="130"/>
                  </a:lnTo>
                  <a:lnTo>
                    <a:pt x="57" y="124"/>
                  </a:lnTo>
                  <a:lnTo>
                    <a:pt x="49" y="120"/>
                  </a:lnTo>
                  <a:lnTo>
                    <a:pt x="45" y="116"/>
                  </a:lnTo>
                  <a:lnTo>
                    <a:pt x="32" y="109"/>
                  </a:lnTo>
                  <a:lnTo>
                    <a:pt x="28" y="109"/>
                  </a:lnTo>
                  <a:lnTo>
                    <a:pt x="28" y="113"/>
                  </a:lnTo>
                  <a:lnTo>
                    <a:pt x="23" y="113"/>
                  </a:lnTo>
                  <a:lnTo>
                    <a:pt x="18" y="109"/>
                  </a:lnTo>
                  <a:lnTo>
                    <a:pt x="17" y="103"/>
                  </a:lnTo>
                  <a:lnTo>
                    <a:pt x="12" y="98"/>
                  </a:lnTo>
                  <a:lnTo>
                    <a:pt x="1" y="97"/>
                  </a:lnTo>
                  <a:lnTo>
                    <a:pt x="0" y="94"/>
                  </a:lnTo>
                  <a:lnTo>
                    <a:pt x="1" y="87"/>
                  </a:lnTo>
                  <a:lnTo>
                    <a:pt x="6" y="79"/>
                  </a:lnTo>
                  <a:lnTo>
                    <a:pt x="9" y="78"/>
                  </a:lnTo>
                  <a:lnTo>
                    <a:pt x="11" y="71"/>
                  </a:lnTo>
                  <a:lnTo>
                    <a:pt x="14" y="67"/>
                  </a:lnTo>
                  <a:lnTo>
                    <a:pt x="11" y="58"/>
                  </a:lnTo>
                  <a:lnTo>
                    <a:pt x="14" y="51"/>
                  </a:lnTo>
                  <a:lnTo>
                    <a:pt x="19" y="45"/>
                  </a:lnTo>
                  <a:lnTo>
                    <a:pt x="17" y="38"/>
                  </a:lnTo>
                  <a:lnTo>
                    <a:pt x="17" y="34"/>
                  </a:lnTo>
                  <a:lnTo>
                    <a:pt x="21" y="29"/>
                  </a:lnTo>
                  <a:lnTo>
                    <a:pt x="27" y="29"/>
                  </a:lnTo>
                  <a:lnTo>
                    <a:pt x="30" y="22"/>
                  </a:lnTo>
                  <a:lnTo>
                    <a:pt x="38" y="17"/>
                  </a:lnTo>
                  <a:lnTo>
                    <a:pt x="41" y="11"/>
                  </a:lnTo>
                  <a:lnTo>
                    <a:pt x="43" y="6"/>
                  </a:lnTo>
                  <a:lnTo>
                    <a:pt x="45" y="4"/>
                  </a:lnTo>
                  <a:lnTo>
                    <a:pt x="48" y="7"/>
                  </a:lnTo>
                  <a:lnTo>
                    <a:pt x="54" y="4"/>
                  </a:lnTo>
                  <a:lnTo>
                    <a:pt x="56" y="6"/>
                  </a:lnTo>
                  <a:lnTo>
                    <a:pt x="59" y="11"/>
                  </a:lnTo>
                  <a:lnTo>
                    <a:pt x="67" y="18"/>
                  </a:lnTo>
                  <a:lnTo>
                    <a:pt x="68" y="14"/>
                  </a:lnTo>
                  <a:lnTo>
                    <a:pt x="67" y="12"/>
                  </a:lnTo>
                  <a:lnTo>
                    <a:pt x="71" y="8"/>
                  </a:lnTo>
                  <a:lnTo>
                    <a:pt x="71" y="2"/>
                  </a:lnTo>
                  <a:lnTo>
                    <a:pt x="71" y="1"/>
                  </a:lnTo>
                  <a:lnTo>
                    <a:pt x="73" y="0"/>
                  </a:lnTo>
                  <a:lnTo>
                    <a:pt x="89" y="2"/>
                  </a:lnTo>
                  <a:lnTo>
                    <a:pt x="92" y="3"/>
                  </a:lnTo>
                  <a:lnTo>
                    <a:pt x="110" y="7"/>
                  </a:lnTo>
                  <a:lnTo>
                    <a:pt x="130" y="13"/>
                  </a:lnTo>
                  <a:lnTo>
                    <a:pt x="135" y="15"/>
                  </a:lnTo>
                  <a:lnTo>
                    <a:pt x="141" y="24"/>
                  </a:lnTo>
                  <a:lnTo>
                    <a:pt x="151" y="33"/>
                  </a:lnTo>
                  <a:lnTo>
                    <a:pt x="163" y="36"/>
                  </a:lnTo>
                  <a:lnTo>
                    <a:pt x="174" y="46"/>
                  </a:lnTo>
                  <a:lnTo>
                    <a:pt x="181" y="55"/>
                  </a:lnTo>
                  <a:lnTo>
                    <a:pt x="184" y="72"/>
                  </a:lnTo>
                  <a:lnTo>
                    <a:pt x="186" y="77"/>
                  </a:lnTo>
                  <a:lnTo>
                    <a:pt x="192" y="79"/>
                  </a:lnTo>
                  <a:lnTo>
                    <a:pt x="196" y="79"/>
                  </a:lnTo>
                  <a:lnTo>
                    <a:pt x="200" y="74"/>
                  </a:lnTo>
                  <a:lnTo>
                    <a:pt x="204" y="73"/>
                  </a:lnTo>
                  <a:lnTo>
                    <a:pt x="207" y="70"/>
                  </a:lnTo>
                  <a:lnTo>
                    <a:pt x="207" y="67"/>
                  </a:lnTo>
                  <a:lnTo>
                    <a:pt x="211" y="63"/>
                  </a:lnTo>
                  <a:lnTo>
                    <a:pt x="215" y="65"/>
                  </a:lnTo>
                  <a:lnTo>
                    <a:pt x="221" y="63"/>
                  </a:lnTo>
                  <a:lnTo>
                    <a:pt x="227" y="65"/>
                  </a:lnTo>
                  <a:lnTo>
                    <a:pt x="229" y="67"/>
                  </a:lnTo>
                  <a:lnTo>
                    <a:pt x="226" y="73"/>
                  </a:lnTo>
                  <a:lnTo>
                    <a:pt x="227" y="79"/>
                  </a:lnTo>
                  <a:lnTo>
                    <a:pt x="224" y="92"/>
                  </a:lnTo>
                  <a:lnTo>
                    <a:pt x="226" y="95"/>
                  </a:lnTo>
                  <a:lnTo>
                    <a:pt x="231" y="93"/>
                  </a:lnTo>
                  <a:lnTo>
                    <a:pt x="233" y="98"/>
                  </a:lnTo>
                  <a:lnTo>
                    <a:pt x="235" y="101"/>
                  </a:lnTo>
                  <a:lnTo>
                    <a:pt x="240" y="101"/>
                  </a:lnTo>
                  <a:lnTo>
                    <a:pt x="245" y="105"/>
                  </a:lnTo>
                  <a:lnTo>
                    <a:pt x="251" y="104"/>
                  </a:lnTo>
                  <a:lnTo>
                    <a:pt x="259" y="106"/>
                  </a:lnTo>
                  <a:lnTo>
                    <a:pt x="267" y="108"/>
                  </a:lnTo>
                  <a:lnTo>
                    <a:pt x="272" y="106"/>
                  </a:lnTo>
                  <a:lnTo>
                    <a:pt x="277" y="103"/>
                  </a:lnTo>
                  <a:lnTo>
                    <a:pt x="280" y="104"/>
                  </a:lnTo>
                  <a:lnTo>
                    <a:pt x="277" y="117"/>
                  </a:lnTo>
                  <a:lnTo>
                    <a:pt x="278" y="124"/>
                  </a:lnTo>
                  <a:lnTo>
                    <a:pt x="293" y="133"/>
                  </a:lnTo>
                  <a:lnTo>
                    <a:pt x="301" y="131"/>
                  </a:lnTo>
                  <a:lnTo>
                    <a:pt x="308" y="132"/>
                  </a:lnTo>
                  <a:lnTo>
                    <a:pt x="314" y="138"/>
                  </a:lnTo>
                  <a:lnTo>
                    <a:pt x="315" y="142"/>
                  </a:lnTo>
                  <a:lnTo>
                    <a:pt x="319" y="148"/>
                  </a:lnTo>
                  <a:lnTo>
                    <a:pt x="323" y="151"/>
                  </a:lnTo>
                  <a:lnTo>
                    <a:pt x="329" y="149"/>
                  </a:lnTo>
                  <a:lnTo>
                    <a:pt x="333" y="147"/>
                  </a:lnTo>
                  <a:lnTo>
                    <a:pt x="339" y="151"/>
                  </a:lnTo>
                  <a:lnTo>
                    <a:pt x="344" y="149"/>
                  </a:lnTo>
                  <a:lnTo>
                    <a:pt x="350" y="152"/>
                  </a:lnTo>
                  <a:lnTo>
                    <a:pt x="352" y="151"/>
                  </a:lnTo>
                  <a:lnTo>
                    <a:pt x="356" y="144"/>
                  </a:lnTo>
                  <a:lnTo>
                    <a:pt x="361" y="143"/>
                  </a:lnTo>
                  <a:lnTo>
                    <a:pt x="369" y="144"/>
                  </a:lnTo>
                  <a:lnTo>
                    <a:pt x="377" y="151"/>
                  </a:lnTo>
                  <a:lnTo>
                    <a:pt x="387" y="153"/>
                  </a:lnTo>
                  <a:lnTo>
                    <a:pt x="394" y="157"/>
                  </a:lnTo>
                  <a:lnTo>
                    <a:pt x="398" y="158"/>
                  </a:lnTo>
                  <a:lnTo>
                    <a:pt x="405" y="156"/>
                  </a:lnTo>
                  <a:lnTo>
                    <a:pt x="419" y="159"/>
                  </a:lnTo>
                  <a:lnTo>
                    <a:pt x="422" y="159"/>
                  </a:lnTo>
                  <a:lnTo>
                    <a:pt x="428" y="151"/>
                  </a:lnTo>
                  <a:lnTo>
                    <a:pt x="436" y="149"/>
                  </a:lnTo>
                  <a:lnTo>
                    <a:pt x="439" y="15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05" name="Freeform 103">
              <a:extLst>
                <a:ext uri="{FF2B5EF4-FFF2-40B4-BE49-F238E27FC236}">
                  <a16:creationId xmlns:a16="http://schemas.microsoft.com/office/drawing/2014/main" id="{1499197F-8420-BBE1-1DE4-200A525C352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341493" y="3488958"/>
              <a:ext cx="138788" cy="189003"/>
            </a:xfrm>
            <a:custGeom>
              <a:avLst/>
              <a:gdLst>
                <a:gd name="T0" fmla="*/ 0 w 262"/>
                <a:gd name="T1" fmla="*/ 2147483647 h 337"/>
                <a:gd name="T2" fmla="*/ 0 w 262"/>
                <a:gd name="T3" fmla="*/ 0 h 337"/>
                <a:gd name="T4" fmla="*/ 0 w 262"/>
                <a:gd name="T5" fmla="*/ 0 h 337"/>
                <a:gd name="T6" fmla="*/ 0 w 262"/>
                <a:gd name="T7" fmla="*/ 0 h 337"/>
                <a:gd name="T8" fmla="*/ 0 w 262"/>
                <a:gd name="T9" fmla="*/ 0 h 337"/>
                <a:gd name="T10" fmla="*/ 0 w 262"/>
                <a:gd name="T11" fmla="*/ 0 h 337"/>
                <a:gd name="T12" fmla="*/ 0 w 262"/>
                <a:gd name="T13" fmla="*/ 0 h 337"/>
                <a:gd name="T14" fmla="*/ 0 w 262"/>
                <a:gd name="T15" fmla="*/ 0 h 337"/>
                <a:gd name="T16" fmla="*/ 0 w 262"/>
                <a:gd name="T17" fmla="*/ 0 h 337"/>
                <a:gd name="T18" fmla="*/ 0 w 262"/>
                <a:gd name="T19" fmla="*/ 0 h 337"/>
                <a:gd name="T20" fmla="*/ 0 w 262"/>
                <a:gd name="T21" fmla="*/ 0 h 337"/>
                <a:gd name="T22" fmla="*/ 0 w 262"/>
                <a:gd name="T23" fmla="*/ 0 h 337"/>
                <a:gd name="T24" fmla="*/ 0 w 262"/>
                <a:gd name="T25" fmla="*/ 0 h 337"/>
                <a:gd name="T26" fmla="*/ 0 w 262"/>
                <a:gd name="T27" fmla="*/ 0 h 337"/>
                <a:gd name="T28" fmla="*/ 0 w 262"/>
                <a:gd name="T29" fmla="*/ 0 h 337"/>
                <a:gd name="T30" fmla="*/ 0 w 262"/>
                <a:gd name="T31" fmla="*/ 0 h 337"/>
                <a:gd name="T32" fmla="*/ 0 w 262"/>
                <a:gd name="T33" fmla="*/ 0 h 337"/>
                <a:gd name="T34" fmla="*/ 0 w 262"/>
                <a:gd name="T35" fmla="*/ 0 h 337"/>
                <a:gd name="T36" fmla="*/ 0 w 262"/>
                <a:gd name="T37" fmla="*/ 0 h 337"/>
                <a:gd name="T38" fmla="*/ 0 w 262"/>
                <a:gd name="T39" fmla="*/ 0 h 337"/>
                <a:gd name="T40" fmla="*/ 0 w 262"/>
                <a:gd name="T41" fmla="*/ 0 h 337"/>
                <a:gd name="T42" fmla="*/ 0 w 262"/>
                <a:gd name="T43" fmla="*/ 0 h 337"/>
                <a:gd name="T44" fmla="*/ 0 w 262"/>
                <a:gd name="T45" fmla="*/ 0 h 337"/>
                <a:gd name="T46" fmla="*/ 0 w 262"/>
                <a:gd name="T47" fmla="*/ 0 h 337"/>
                <a:gd name="T48" fmla="*/ 0 w 262"/>
                <a:gd name="T49" fmla="*/ 0 h 337"/>
                <a:gd name="T50" fmla="*/ 0 w 262"/>
                <a:gd name="T51" fmla="*/ 0 h 337"/>
                <a:gd name="T52" fmla="*/ 0 w 262"/>
                <a:gd name="T53" fmla="*/ 0 h 337"/>
                <a:gd name="T54" fmla="*/ 0 w 262"/>
                <a:gd name="T55" fmla="*/ 0 h 337"/>
                <a:gd name="T56" fmla="*/ 0 w 262"/>
                <a:gd name="T57" fmla="*/ 0 h 337"/>
                <a:gd name="T58" fmla="*/ 0 w 262"/>
                <a:gd name="T59" fmla="*/ 0 h 337"/>
                <a:gd name="T60" fmla="*/ 0 w 262"/>
                <a:gd name="T61" fmla="*/ 0 h 337"/>
                <a:gd name="T62" fmla="*/ 0 w 262"/>
                <a:gd name="T63" fmla="*/ 0 h 337"/>
                <a:gd name="T64" fmla="*/ 0 w 262"/>
                <a:gd name="T65" fmla="*/ 0 h 337"/>
                <a:gd name="T66" fmla="*/ 0 w 262"/>
                <a:gd name="T67" fmla="*/ 0 h 337"/>
                <a:gd name="T68" fmla="*/ 0 w 262"/>
                <a:gd name="T69" fmla="*/ 0 h 337"/>
                <a:gd name="T70" fmla="*/ 0 w 262"/>
                <a:gd name="T71" fmla="*/ 0 h 337"/>
                <a:gd name="T72" fmla="*/ 0 w 262"/>
                <a:gd name="T73" fmla="*/ 0 h 337"/>
                <a:gd name="T74" fmla="*/ 0 w 262"/>
                <a:gd name="T75" fmla="*/ 0 h 337"/>
                <a:gd name="T76" fmla="*/ 0 w 262"/>
                <a:gd name="T77" fmla="*/ 0 h 337"/>
                <a:gd name="T78" fmla="*/ 0 w 262"/>
                <a:gd name="T79" fmla="*/ 0 h 337"/>
                <a:gd name="T80" fmla="*/ 0 w 262"/>
                <a:gd name="T81" fmla="*/ 0 h 337"/>
                <a:gd name="T82" fmla="*/ 0 w 262"/>
                <a:gd name="T83" fmla="*/ 0 h 337"/>
                <a:gd name="T84" fmla="*/ 0 w 262"/>
                <a:gd name="T85" fmla="*/ 0 h 337"/>
                <a:gd name="T86" fmla="*/ 0 w 262"/>
                <a:gd name="T87" fmla="*/ 0 h 337"/>
                <a:gd name="T88" fmla="*/ 0 w 262"/>
                <a:gd name="T89" fmla="*/ 0 h 337"/>
                <a:gd name="T90" fmla="*/ 0 w 262"/>
                <a:gd name="T91" fmla="*/ 0 h 337"/>
                <a:gd name="T92" fmla="*/ 0 w 262"/>
                <a:gd name="T93" fmla="*/ 0 h 337"/>
                <a:gd name="T94" fmla="*/ 0 w 262"/>
                <a:gd name="T95" fmla="*/ 0 h 337"/>
                <a:gd name="T96" fmla="*/ 0 w 262"/>
                <a:gd name="T97" fmla="*/ 0 h 337"/>
                <a:gd name="T98" fmla="*/ 0 w 262"/>
                <a:gd name="T99" fmla="*/ 0 h 337"/>
                <a:gd name="T100" fmla="*/ 0 w 262"/>
                <a:gd name="T101" fmla="*/ 0 h 337"/>
                <a:gd name="T102" fmla="*/ 0 w 262"/>
                <a:gd name="T103" fmla="*/ 0 h 337"/>
                <a:gd name="T104" fmla="*/ 0 w 262"/>
                <a:gd name="T105" fmla="*/ 0 h 337"/>
                <a:gd name="T106" fmla="*/ 0 w 262"/>
                <a:gd name="T107" fmla="*/ 0 h 337"/>
                <a:gd name="T108" fmla="*/ 0 w 262"/>
                <a:gd name="T109" fmla="*/ 0 h 337"/>
                <a:gd name="T110" fmla="*/ 0 w 262"/>
                <a:gd name="T111" fmla="*/ 0 h 337"/>
                <a:gd name="T112" fmla="*/ 0 w 262"/>
                <a:gd name="T113" fmla="*/ 0 h 337"/>
                <a:gd name="T114" fmla="*/ 0 w 262"/>
                <a:gd name="T115" fmla="*/ 0 h 337"/>
                <a:gd name="T116" fmla="*/ 0 w 262"/>
                <a:gd name="T117" fmla="*/ 0 h 337"/>
                <a:gd name="T118" fmla="*/ 0 w 262"/>
                <a:gd name="T119" fmla="*/ 2147483647 h 33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62"/>
                <a:gd name="T181" fmla="*/ 0 h 337"/>
                <a:gd name="T182" fmla="*/ 262 w 262"/>
                <a:gd name="T183" fmla="*/ 337 h 337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62" h="337">
                  <a:moveTo>
                    <a:pt x="243" y="335"/>
                  </a:moveTo>
                  <a:lnTo>
                    <a:pt x="241" y="337"/>
                  </a:lnTo>
                  <a:lnTo>
                    <a:pt x="233" y="319"/>
                  </a:lnTo>
                  <a:lnTo>
                    <a:pt x="226" y="291"/>
                  </a:lnTo>
                  <a:lnTo>
                    <a:pt x="225" y="276"/>
                  </a:lnTo>
                  <a:lnTo>
                    <a:pt x="221" y="257"/>
                  </a:lnTo>
                  <a:lnTo>
                    <a:pt x="204" y="230"/>
                  </a:lnTo>
                  <a:lnTo>
                    <a:pt x="198" y="225"/>
                  </a:lnTo>
                  <a:lnTo>
                    <a:pt x="187" y="229"/>
                  </a:lnTo>
                  <a:lnTo>
                    <a:pt x="174" y="230"/>
                  </a:lnTo>
                  <a:lnTo>
                    <a:pt x="166" y="225"/>
                  </a:lnTo>
                  <a:lnTo>
                    <a:pt x="161" y="215"/>
                  </a:lnTo>
                  <a:lnTo>
                    <a:pt x="157" y="218"/>
                  </a:lnTo>
                  <a:lnTo>
                    <a:pt x="153" y="227"/>
                  </a:lnTo>
                  <a:lnTo>
                    <a:pt x="146" y="234"/>
                  </a:lnTo>
                  <a:lnTo>
                    <a:pt x="149" y="246"/>
                  </a:lnTo>
                  <a:lnTo>
                    <a:pt x="149" y="257"/>
                  </a:lnTo>
                  <a:lnTo>
                    <a:pt x="129" y="283"/>
                  </a:lnTo>
                  <a:lnTo>
                    <a:pt x="125" y="280"/>
                  </a:lnTo>
                  <a:lnTo>
                    <a:pt x="115" y="267"/>
                  </a:lnTo>
                  <a:lnTo>
                    <a:pt x="110" y="274"/>
                  </a:lnTo>
                  <a:lnTo>
                    <a:pt x="108" y="279"/>
                  </a:lnTo>
                  <a:lnTo>
                    <a:pt x="99" y="288"/>
                  </a:lnTo>
                  <a:lnTo>
                    <a:pt x="96" y="280"/>
                  </a:lnTo>
                  <a:lnTo>
                    <a:pt x="91" y="285"/>
                  </a:lnTo>
                  <a:lnTo>
                    <a:pt x="80" y="284"/>
                  </a:lnTo>
                  <a:lnTo>
                    <a:pt x="79" y="289"/>
                  </a:lnTo>
                  <a:lnTo>
                    <a:pt x="75" y="286"/>
                  </a:lnTo>
                  <a:lnTo>
                    <a:pt x="71" y="288"/>
                  </a:lnTo>
                  <a:lnTo>
                    <a:pt x="69" y="291"/>
                  </a:lnTo>
                  <a:lnTo>
                    <a:pt x="65" y="294"/>
                  </a:lnTo>
                  <a:lnTo>
                    <a:pt x="58" y="292"/>
                  </a:lnTo>
                  <a:lnTo>
                    <a:pt x="51" y="279"/>
                  </a:lnTo>
                  <a:lnTo>
                    <a:pt x="53" y="273"/>
                  </a:lnTo>
                  <a:lnTo>
                    <a:pt x="51" y="269"/>
                  </a:lnTo>
                  <a:lnTo>
                    <a:pt x="49" y="258"/>
                  </a:lnTo>
                  <a:lnTo>
                    <a:pt x="50" y="251"/>
                  </a:lnTo>
                  <a:lnTo>
                    <a:pt x="48" y="241"/>
                  </a:lnTo>
                  <a:lnTo>
                    <a:pt x="43" y="236"/>
                  </a:lnTo>
                  <a:lnTo>
                    <a:pt x="40" y="227"/>
                  </a:lnTo>
                  <a:lnTo>
                    <a:pt x="40" y="218"/>
                  </a:lnTo>
                  <a:lnTo>
                    <a:pt x="42" y="215"/>
                  </a:lnTo>
                  <a:lnTo>
                    <a:pt x="43" y="199"/>
                  </a:lnTo>
                  <a:lnTo>
                    <a:pt x="42" y="195"/>
                  </a:lnTo>
                  <a:lnTo>
                    <a:pt x="38" y="194"/>
                  </a:lnTo>
                  <a:lnTo>
                    <a:pt x="38" y="179"/>
                  </a:lnTo>
                  <a:lnTo>
                    <a:pt x="32" y="173"/>
                  </a:lnTo>
                  <a:lnTo>
                    <a:pt x="32" y="165"/>
                  </a:lnTo>
                  <a:lnTo>
                    <a:pt x="34" y="154"/>
                  </a:lnTo>
                  <a:lnTo>
                    <a:pt x="36" y="133"/>
                  </a:lnTo>
                  <a:lnTo>
                    <a:pt x="27" y="123"/>
                  </a:lnTo>
                  <a:lnTo>
                    <a:pt x="21" y="118"/>
                  </a:lnTo>
                  <a:lnTo>
                    <a:pt x="10" y="113"/>
                  </a:lnTo>
                  <a:lnTo>
                    <a:pt x="1" y="109"/>
                  </a:lnTo>
                  <a:lnTo>
                    <a:pt x="0" y="103"/>
                  </a:lnTo>
                  <a:lnTo>
                    <a:pt x="1" y="98"/>
                  </a:lnTo>
                  <a:lnTo>
                    <a:pt x="6" y="90"/>
                  </a:lnTo>
                  <a:lnTo>
                    <a:pt x="13" y="89"/>
                  </a:lnTo>
                  <a:lnTo>
                    <a:pt x="20" y="85"/>
                  </a:lnTo>
                  <a:lnTo>
                    <a:pt x="22" y="78"/>
                  </a:lnTo>
                  <a:lnTo>
                    <a:pt x="42" y="76"/>
                  </a:lnTo>
                  <a:lnTo>
                    <a:pt x="42" y="68"/>
                  </a:lnTo>
                  <a:lnTo>
                    <a:pt x="38" y="64"/>
                  </a:lnTo>
                  <a:lnTo>
                    <a:pt x="39" y="60"/>
                  </a:lnTo>
                  <a:lnTo>
                    <a:pt x="24" y="62"/>
                  </a:lnTo>
                  <a:lnTo>
                    <a:pt x="17" y="57"/>
                  </a:lnTo>
                  <a:lnTo>
                    <a:pt x="15" y="43"/>
                  </a:lnTo>
                  <a:lnTo>
                    <a:pt x="11" y="39"/>
                  </a:lnTo>
                  <a:lnTo>
                    <a:pt x="26" y="15"/>
                  </a:lnTo>
                  <a:lnTo>
                    <a:pt x="28" y="3"/>
                  </a:lnTo>
                  <a:lnTo>
                    <a:pt x="32" y="0"/>
                  </a:lnTo>
                  <a:lnTo>
                    <a:pt x="42" y="17"/>
                  </a:lnTo>
                  <a:lnTo>
                    <a:pt x="48" y="25"/>
                  </a:lnTo>
                  <a:lnTo>
                    <a:pt x="49" y="17"/>
                  </a:lnTo>
                  <a:lnTo>
                    <a:pt x="53" y="5"/>
                  </a:lnTo>
                  <a:lnTo>
                    <a:pt x="59" y="8"/>
                  </a:lnTo>
                  <a:lnTo>
                    <a:pt x="61" y="22"/>
                  </a:lnTo>
                  <a:lnTo>
                    <a:pt x="69" y="31"/>
                  </a:lnTo>
                  <a:lnTo>
                    <a:pt x="74" y="27"/>
                  </a:lnTo>
                  <a:lnTo>
                    <a:pt x="82" y="33"/>
                  </a:lnTo>
                  <a:lnTo>
                    <a:pt x="91" y="19"/>
                  </a:lnTo>
                  <a:lnTo>
                    <a:pt x="93" y="23"/>
                  </a:lnTo>
                  <a:lnTo>
                    <a:pt x="96" y="43"/>
                  </a:lnTo>
                  <a:lnTo>
                    <a:pt x="101" y="62"/>
                  </a:lnTo>
                  <a:lnTo>
                    <a:pt x="107" y="70"/>
                  </a:lnTo>
                  <a:lnTo>
                    <a:pt x="118" y="75"/>
                  </a:lnTo>
                  <a:lnTo>
                    <a:pt x="162" y="79"/>
                  </a:lnTo>
                  <a:lnTo>
                    <a:pt x="166" y="76"/>
                  </a:lnTo>
                  <a:lnTo>
                    <a:pt x="180" y="74"/>
                  </a:lnTo>
                  <a:lnTo>
                    <a:pt x="203" y="76"/>
                  </a:lnTo>
                  <a:lnTo>
                    <a:pt x="227" y="80"/>
                  </a:lnTo>
                  <a:lnTo>
                    <a:pt x="242" y="86"/>
                  </a:lnTo>
                  <a:lnTo>
                    <a:pt x="239" y="91"/>
                  </a:lnTo>
                  <a:lnTo>
                    <a:pt x="231" y="96"/>
                  </a:lnTo>
                  <a:lnTo>
                    <a:pt x="226" y="109"/>
                  </a:lnTo>
                  <a:lnTo>
                    <a:pt x="214" y="124"/>
                  </a:lnTo>
                  <a:lnTo>
                    <a:pt x="203" y="134"/>
                  </a:lnTo>
                  <a:lnTo>
                    <a:pt x="192" y="140"/>
                  </a:lnTo>
                  <a:lnTo>
                    <a:pt x="178" y="149"/>
                  </a:lnTo>
                  <a:lnTo>
                    <a:pt x="176" y="157"/>
                  </a:lnTo>
                  <a:lnTo>
                    <a:pt x="177" y="173"/>
                  </a:lnTo>
                  <a:lnTo>
                    <a:pt x="184" y="193"/>
                  </a:lnTo>
                  <a:lnTo>
                    <a:pt x="194" y="194"/>
                  </a:lnTo>
                  <a:lnTo>
                    <a:pt x="199" y="204"/>
                  </a:lnTo>
                  <a:lnTo>
                    <a:pt x="206" y="210"/>
                  </a:lnTo>
                  <a:lnTo>
                    <a:pt x="211" y="202"/>
                  </a:lnTo>
                  <a:lnTo>
                    <a:pt x="217" y="181"/>
                  </a:lnTo>
                  <a:lnTo>
                    <a:pt x="228" y="166"/>
                  </a:lnTo>
                  <a:lnTo>
                    <a:pt x="233" y="167"/>
                  </a:lnTo>
                  <a:lnTo>
                    <a:pt x="241" y="181"/>
                  </a:lnTo>
                  <a:lnTo>
                    <a:pt x="246" y="198"/>
                  </a:lnTo>
                  <a:lnTo>
                    <a:pt x="249" y="206"/>
                  </a:lnTo>
                  <a:lnTo>
                    <a:pt x="252" y="215"/>
                  </a:lnTo>
                  <a:lnTo>
                    <a:pt x="258" y="243"/>
                  </a:lnTo>
                  <a:lnTo>
                    <a:pt x="262" y="276"/>
                  </a:lnTo>
                  <a:lnTo>
                    <a:pt x="260" y="279"/>
                  </a:lnTo>
                  <a:lnTo>
                    <a:pt x="262" y="308"/>
                  </a:lnTo>
                  <a:lnTo>
                    <a:pt x="250" y="305"/>
                  </a:lnTo>
                  <a:lnTo>
                    <a:pt x="244" y="310"/>
                  </a:lnTo>
                  <a:lnTo>
                    <a:pt x="243" y="318"/>
                  </a:lnTo>
                  <a:lnTo>
                    <a:pt x="243" y="33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06" name="Freeform 104">
              <a:extLst>
                <a:ext uri="{FF2B5EF4-FFF2-40B4-BE49-F238E27FC236}">
                  <a16:creationId xmlns:a16="http://schemas.microsoft.com/office/drawing/2014/main" id="{12EDB569-2F66-0C0D-985D-ACB7797143E2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104211" y="4034628"/>
              <a:ext cx="61186" cy="121938"/>
            </a:xfrm>
            <a:custGeom>
              <a:avLst/>
              <a:gdLst>
                <a:gd name="T0" fmla="*/ 0 w 116"/>
                <a:gd name="T1" fmla="*/ 0 h 211"/>
                <a:gd name="T2" fmla="*/ 0 w 116"/>
                <a:gd name="T3" fmla="*/ 0 h 211"/>
                <a:gd name="T4" fmla="*/ 0 w 116"/>
                <a:gd name="T5" fmla="*/ 0 h 211"/>
                <a:gd name="T6" fmla="*/ 0 w 116"/>
                <a:gd name="T7" fmla="*/ 0 h 211"/>
                <a:gd name="T8" fmla="*/ 0 w 116"/>
                <a:gd name="T9" fmla="*/ 0 h 211"/>
                <a:gd name="T10" fmla="*/ 0 w 116"/>
                <a:gd name="T11" fmla="*/ 0 h 211"/>
                <a:gd name="T12" fmla="*/ 0 w 116"/>
                <a:gd name="T13" fmla="*/ 0 h 211"/>
                <a:gd name="T14" fmla="*/ 0 w 116"/>
                <a:gd name="T15" fmla="*/ 0 h 211"/>
                <a:gd name="T16" fmla="*/ 0 w 116"/>
                <a:gd name="T17" fmla="*/ 0 h 211"/>
                <a:gd name="T18" fmla="*/ 0 w 116"/>
                <a:gd name="T19" fmla="*/ 0 h 211"/>
                <a:gd name="T20" fmla="*/ 0 w 116"/>
                <a:gd name="T21" fmla="*/ 0 h 211"/>
                <a:gd name="T22" fmla="*/ 0 w 116"/>
                <a:gd name="T23" fmla="*/ 0 h 211"/>
                <a:gd name="T24" fmla="*/ 0 w 116"/>
                <a:gd name="T25" fmla="*/ 0 h 211"/>
                <a:gd name="T26" fmla="*/ 0 w 116"/>
                <a:gd name="T27" fmla="*/ 0 h 211"/>
                <a:gd name="T28" fmla="*/ 0 w 116"/>
                <a:gd name="T29" fmla="*/ 0 h 211"/>
                <a:gd name="T30" fmla="*/ 0 w 116"/>
                <a:gd name="T31" fmla="*/ 0 h 211"/>
                <a:gd name="T32" fmla="*/ 0 w 116"/>
                <a:gd name="T33" fmla="*/ 0 h 211"/>
                <a:gd name="T34" fmla="*/ 0 w 116"/>
                <a:gd name="T35" fmla="*/ 0 h 211"/>
                <a:gd name="T36" fmla="*/ 0 w 116"/>
                <a:gd name="T37" fmla="*/ 0 h 211"/>
                <a:gd name="T38" fmla="*/ 0 w 116"/>
                <a:gd name="T39" fmla="*/ 0 h 211"/>
                <a:gd name="T40" fmla="*/ 0 w 116"/>
                <a:gd name="T41" fmla="*/ 0 h 211"/>
                <a:gd name="T42" fmla="*/ 0 w 116"/>
                <a:gd name="T43" fmla="*/ 0 h 211"/>
                <a:gd name="T44" fmla="*/ 0 w 116"/>
                <a:gd name="T45" fmla="*/ 0 h 211"/>
                <a:gd name="T46" fmla="*/ 0 w 116"/>
                <a:gd name="T47" fmla="*/ 0 h 211"/>
                <a:gd name="T48" fmla="*/ 0 w 116"/>
                <a:gd name="T49" fmla="*/ 0 h 211"/>
                <a:gd name="T50" fmla="*/ 0 w 116"/>
                <a:gd name="T51" fmla="*/ 0 h 211"/>
                <a:gd name="T52" fmla="*/ 0 w 116"/>
                <a:gd name="T53" fmla="*/ 0 h 211"/>
                <a:gd name="T54" fmla="*/ 0 w 116"/>
                <a:gd name="T55" fmla="*/ 0 h 211"/>
                <a:gd name="T56" fmla="*/ 0 w 116"/>
                <a:gd name="T57" fmla="*/ 0 h 211"/>
                <a:gd name="T58" fmla="*/ 0 w 116"/>
                <a:gd name="T59" fmla="*/ 0 h 211"/>
                <a:gd name="T60" fmla="*/ 0 w 116"/>
                <a:gd name="T61" fmla="*/ 0 h 211"/>
                <a:gd name="T62" fmla="*/ 0 w 116"/>
                <a:gd name="T63" fmla="*/ 0 h 211"/>
                <a:gd name="T64" fmla="*/ 0 w 116"/>
                <a:gd name="T65" fmla="*/ 0 h 211"/>
                <a:gd name="T66" fmla="*/ 0 w 116"/>
                <a:gd name="T67" fmla="*/ 0 h 211"/>
                <a:gd name="T68" fmla="*/ 0 w 116"/>
                <a:gd name="T69" fmla="*/ 0 h 211"/>
                <a:gd name="T70" fmla="*/ 0 w 116"/>
                <a:gd name="T71" fmla="*/ 0 h 211"/>
                <a:gd name="T72" fmla="*/ 0 w 116"/>
                <a:gd name="T73" fmla="*/ 0 h 211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16"/>
                <a:gd name="T112" fmla="*/ 0 h 211"/>
                <a:gd name="T113" fmla="*/ 116 w 116"/>
                <a:gd name="T114" fmla="*/ 211 h 211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16" h="211">
                  <a:moveTo>
                    <a:pt x="18" y="0"/>
                  </a:moveTo>
                  <a:lnTo>
                    <a:pt x="13" y="4"/>
                  </a:lnTo>
                  <a:lnTo>
                    <a:pt x="19" y="9"/>
                  </a:lnTo>
                  <a:lnTo>
                    <a:pt x="28" y="12"/>
                  </a:lnTo>
                  <a:lnTo>
                    <a:pt x="33" y="19"/>
                  </a:lnTo>
                  <a:lnTo>
                    <a:pt x="28" y="19"/>
                  </a:lnTo>
                  <a:lnTo>
                    <a:pt x="22" y="25"/>
                  </a:lnTo>
                  <a:lnTo>
                    <a:pt x="19" y="38"/>
                  </a:lnTo>
                  <a:lnTo>
                    <a:pt x="13" y="47"/>
                  </a:lnTo>
                  <a:lnTo>
                    <a:pt x="7" y="95"/>
                  </a:lnTo>
                  <a:lnTo>
                    <a:pt x="2" y="91"/>
                  </a:lnTo>
                  <a:lnTo>
                    <a:pt x="0" y="95"/>
                  </a:lnTo>
                  <a:lnTo>
                    <a:pt x="0" y="111"/>
                  </a:lnTo>
                  <a:lnTo>
                    <a:pt x="7" y="166"/>
                  </a:lnTo>
                  <a:lnTo>
                    <a:pt x="11" y="182"/>
                  </a:lnTo>
                  <a:lnTo>
                    <a:pt x="19" y="198"/>
                  </a:lnTo>
                  <a:lnTo>
                    <a:pt x="29" y="209"/>
                  </a:lnTo>
                  <a:lnTo>
                    <a:pt x="45" y="211"/>
                  </a:lnTo>
                  <a:lnTo>
                    <a:pt x="59" y="211"/>
                  </a:lnTo>
                  <a:lnTo>
                    <a:pt x="86" y="197"/>
                  </a:lnTo>
                  <a:lnTo>
                    <a:pt x="100" y="187"/>
                  </a:lnTo>
                  <a:lnTo>
                    <a:pt x="113" y="170"/>
                  </a:lnTo>
                  <a:lnTo>
                    <a:pt x="115" y="145"/>
                  </a:lnTo>
                  <a:lnTo>
                    <a:pt x="116" y="125"/>
                  </a:lnTo>
                  <a:lnTo>
                    <a:pt x="115" y="117"/>
                  </a:lnTo>
                  <a:lnTo>
                    <a:pt x="108" y="114"/>
                  </a:lnTo>
                  <a:lnTo>
                    <a:pt x="98" y="87"/>
                  </a:lnTo>
                  <a:lnTo>
                    <a:pt x="92" y="75"/>
                  </a:lnTo>
                  <a:lnTo>
                    <a:pt x="86" y="69"/>
                  </a:lnTo>
                  <a:lnTo>
                    <a:pt x="83" y="62"/>
                  </a:lnTo>
                  <a:lnTo>
                    <a:pt x="80" y="55"/>
                  </a:lnTo>
                  <a:lnTo>
                    <a:pt x="67" y="44"/>
                  </a:lnTo>
                  <a:lnTo>
                    <a:pt x="64" y="33"/>
                  </a:lnTo>
                  <a:lnTo>
                    <a:pt x="45" y="12"/>
                  </a:lnTo>
                  <a:lnTo>
                    <a:pt x="35" y="4"/>
                  </a:lnTo>
                  <a:lnTo>
                    <a:pt x="27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07" name="Freeform 105">
              <a:extLst>
                <a:ext uri="{FF2B5EF4-FFF2-40B4-BE49-F238E27FC236}">
                  <a16:creationId xmlns:a16="http://schemas.microsoft.com/office/drawing/2014/main" id="{C53E242B-7D34-FBE6-26B8-9220A272C1D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286146" y="3531637"/>
              <a:ext cx="50740" cy="114317"/>
            </a:xfrm>
            <a:custGeom>
              <a:avLst/>
              <a:gdLst>
                <a:gd name="T0" fmla="*/ 2147483647 w 97"/>
                <a:gd name="T1" fmla="*/ 0 h 199"/>
                <a:gd name="T2" fmla="*/ 2147483647 w 97"/>
                <a:gd name="T3" fmla="*/ 0 h 199"/>
                <a:gd name="T4" fmla="*/ 2147483647 w 97"/>
                <a:gd name="T5" fmla="*/ 0 h 199"/>
                <a:gd name="T6" fmla="*/ 2147483647 w 97"/>
                <a:gd name="T7" fmla="*/ 0 h 199"/>
                <a:gd name="T8" fmla="*/ 2147483647 w 97"/>
                <a:gd name="T9" fmla="*/ 0 h 199"/>
                <a:gd name="T10" fmla="*/ 2147483647 w 97"/>
                <a:gd name="T11" fmla="*/ 0 h 199"/>
                <a:gd name="T12" fmla="*/ 2147483647 w 97"/>
                <a:gd name="T13" fmla="*/ 0 h 199"/>
                <a:gd name="T14" fmla="*/ 2147483647 w 97"/>
                <a:gd name="T15" fmla="*/ 0 h 199"/>
                <a:gd name="T16" fmla="*/ 2147483647 w 97"/>
                <a:gd name="T17" fmla="*/ 0 h 199"/>
                <a:gd name="T18" fmla="*/ 2147483647 w 97"/>
                <a:gd name="T19" fmla="*/ 0 h 199"/>
                <a:gd name="T20" fmla="*/ 2147483647 w 97"/>
                <a:gd name="T21" fmla="*/ 0 h 199"/>
                <a:gd name="T22" fmla="*/ 2147483647 w 97"/>
                <a:gd name="T23" fmla="*/ 0 h 199"/>
                <a:gd name="T24" fmla="*/ 2147483647 w 97"/>
                <a:gd name="T25" fmla="*/ 2147483647 h 199"/>
                <a:gd name="T26" fmla="*/ 2147483647 w 97"/>
                <a:gd name="T27" fmla="*/ 2147483647 h 199"/>
                <a:gd name="T28" fmla="*/ 2147483647 w 97"/>
                <a:gd name="T29" fmla="*/ 2147483647 h 199"/>
                <a:gd name="T30" fmla="*/ 0 w 97"/>
                <a:gd name="T31" fmla="*/ 2147483647 h 199"/>
                <a:gd name="T32" fmla="*/ 0 w 97"/>
                <a:gd name="T33" fmla="*/ 2147483647 h 199"/>
                <a:gd name="T34" fmla="*/ 0 w 97"/>
                <a:gd name="T35" fmla="*/ 2147483647 h 199"/>
                <a:gd name="T36" fmla="*/ 0 w 97"/>
                <a:gd name="T37" fmla="*/ 2147483647 h 199"/>
                <a:gd name="T38" fmla="*/ 0 w 97"/>
                <a:gd name="T39" fmla="*/ 2147483647 h 199"/>
                <a:gd name="T40" fmla="*/ 0 w 97"/>
                <a:gd name="T41" fmla="*/ 2147483647 h 199"/>
                <a:gd name="T42" fmla="*/ 0 w 97"/>
                <a:gd name="T43" fmla="*/ 2147483647 h 199"/>
                <a:gd name="T44" fmla="*/ 0 w 97"/>
                <a:gd name="T45" fmla="*/ 2147483647 h 199"/>
                <a:gd name="T46" fmla="*/ 0 w 97"/>
                <a:gd name="T47" fmla="*/ 2147483647 h 199"/>
                <a:gd name="T48" fmla="*/ 0 w 97"/>
                <a:gd name="T49" fmla="*/ 2147483647 h 199"/>
                <a:gd name="T50" fmla="*/ 0 w 97"/>
                <a:gd name="T51" fmla="*/ 2147483647 h 199"/>
                <a:gd name="T52" fmla="*/ 0 w 97"/>
                <a:gd name="T53" fmla="*/ 2147483647 h 199"/>
                <a:gd name="T54" fmla="*/ 0 w 97"/>
                <a:gd name="T55" fmla="*/ 2147483647 h 199"/>
                <a:gd name="T56" fmla="*/ 0 w 97"/>
                <a:gd name="T57" fmla="*/ 0 h 199"/>
                <a:gd name="T58" fmla="*/ 2147483647 w 97"/>
                <a:gd name="T59" fmla="*/ 0 h 199"/>
                <a:gd name="T60" fmla="*/ 2147483647 w 97"/>
                <a:gd name="T61" fmla="*/ 0 h 199"/>
                <a:gd name="T62" fmla="*/ 2147483647 w 97"/>
                <a:gd name="T63" fmla="*/ 0 h 1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7"/>
                <a:gd name="T97" fmla="*/ 0 h 199"/>
                <a:gd name="T98" fmla="*/ 97 w 97"/>
                <a:gd name="T99" fmla="*/ 199 h 199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7" h="199">
                  <a:moveTo>
                    <a:pt x="75" y="0"/>
                  </a:moveTo>
                  <a:lnTo>
                    <a:pt x="82" y="4"/>
                  </a:lnTo>
                  <a:lnTo>
                    <a:pt x="87" y="9"/>
                  </a:lnTo>
                  <a:lnTo>
                    <a:pt x="92" y="9"/>
                  </a:lnTo>
                  <a:lnTo>
                    <a:pt x="94" y="10"/>
                  </a:lnTo>
                  <a:lnTo>
                    <a:pt x="97" y="15"/>
                  </a:lnTo>
                  <a:lnTo>
                    <a:pt x="97" y="18"/>
                  </a:lnTo>
                  <a:lnTo>
                    <a:pt x="93" y="26"/>
                  </a:lnTo>
                  <a:lnTo>
                    <a:pt x="93" y="32"/>
                  </a:lnTo>
                  <a:lnTo>
                    <a:pt x="94" y="41"/>
                  </a:lnTo>
                  <a:lnTo>
                    <a:pt x="92" y="50"/>
                  </a:lnTo>
                  <a:lnTo>
                    <a:pt x="83" y="69"/>
                  </a:lnTo>
                  <a:lnTo>
                    <a:pt x="79" y="95"/>
                  </a:lnTo>
                  <a:lnTo>
                    <a:pt x="76" y="114"/>
                  </a:lnTo>
                  <a:lnTo>
                    <a:pt x="68" y="131"/>
                  </a:lnTo>
                  <a:lnTo>
                    <a:pt x="57" y="150"/>
                  </a:lnTo>
                  <a:lnTo>
                    <a:pt x="51" y="159"/>
                  </a:lnTo>
                  <a:lnTo>
                    <a:pt x="48" y="168"/>
                  </a:lnTo>
                  <a:lnTo>
                    <a:pt x="40" y="199"/>
                  </a:lnTo>
                  <a:lnTo>
                    <a:pt x="36" y="195"/>
                  </a:lnTo>
                  <a:lnTo>
                    <a:pt x="33" y="182"/>
                  </a:lnTo>
                  <a:lnTo>
                    <a:pt x="25" y="170"/>
                  </a:lnTo>
                  <a:lnTo>
                    <a:pt x="16" y="163"/>
                  </a:lnTo>
                  <a:lnTo>
                    <a:pt x="6" y="147"/>
                  </a:lnTo>
                  <a:lnTo>
                    <a:pt x="1" y="122"/>
                  </a:lnTo>
                  <a:lnTo>
                    <a:pt x="0" y="102"/>
                  </a:lnTo>
                  <a:lnTo>
                    <a:pt x="2" y="92"/>
                  </a:lnTo>
                  <a:lnTo>
                    <a:pt x="9" y="76"/>
                  </a:lnTo>
                  <a:lnTo>
                    <a:pt x="48" y="17"/>
                  </a:lnTo>
                  <a:lnTo>
                    <a:pt x="65" y="7"/>
                  </a:lnTo>
                  <a:lnTo>
                    <a:pt x="68" y="3"/>
                  </a:lnTo>
                  <a:lnTo>
                    <a:pt x="75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08" name="Freeform 107">
              <a:extLst>
                <a:ext uri="{FF2B5EF4-FFF2-40B4-BE49-F238E27FC236}">
                  <a16:creationId xmlns:a16="http://schemas.microsoft.com/office/drawing/2014/main" id="{A7AC7A8C-89A4-C1D1-3F01-84D6C615C97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865174" y="2755809"/>
              <a:ext cx="176096" cy="173761"/>
            </a:xfrm>
            <a:custGeom>
              <a:avLst/>
              <a:gdLst>
                <a:gd name="T0" fmla="*/ 0 w 330"/>
                <a:gd name="T1" fmla="*/ 0 h 307"/>
                <a:gd name="T2" fmla="*/ 0 w 330"/>
                <a:gd name="T3" fmla="*/ 0 h 307"/>
                <a:gd name="T4" fmla="*/ 0 w 330"/>
                <a:gd name="T5" fmla="*/ 0 h 307"/>
                <a:gd name="T6" fmla="*/ 0 w 330"/>
                <a:gd name="T7" fmla="*/ 0 h 307"/>
                <a:gd name="T8" fmla="*/ 2147483647 w 330"/>
                <a:gd name="T9" fmla="*/ 0 h 307"/>
                <a:gd name="T10" fmla="*/ 0 w 330"/>
                <a:gd name="T11" fmla="*/ 0 h 307"/>
                <a:gd name="T12" fmla="*/ 0 w 330"/>
                <a:gd name="T13" fmla="*/ 0 h 307"/>
                <a:gd name="T14" fmla="*/ 0 w 330"/>
                <a:gd name="T15" fmla="*/ 0 h 307"/>
                <a:gd name="T16" fmla="*/ 0 w 330"/>
                <a:gd name="T17" fmla="*/ 0 h 307"/>
                <a:gd name="T18" fmla="*/ 0 w 330"/>
                <a:gd name="T19" fmla="*/ 0 h 307"/>
                <a:gd name="T20" fmla="*/ 0 w 330"/>
                <a:gd name="T21" fmla="*/ 0 h 307"/>
                <a:gd name="T22" fmla="*/ 0 w 330"/>
                <a:gd name="T23" fmla="*/ 0 h 307"/>
                <a:gd name="T24" fmla="*/ 0 w 330"/>
                <a:gd name="T25" fmla="*/ 0 h 307"/>
                <a:gd name="T26" fmla="*/ 0 w 330"/>
                <a:gd name="T27" fmla="*/ 0 h 307"/>
                <a:gd name="T28" fmla="*/ 0 w 330"/>
                <a:gd name="T29" fmla="*/ 0 h 307"/>
                <a:gd name="T30" fmla="*/ 0 w 330"/>
                <a:gd name="T31" fmla="*/ 0 h 307"/>
                <a:gd name="T32" fmla="*/ 0 w 330"/>
                <a:gd name="T33" fmla="*/ 0 h 307"/>
                <a:gd name="T34" fmla="*/ 0 w 330"/>
                <a:gd name="T35" fmla="*/ 0 h 307"/>
                <a:gd name="T36" fmla="*/ 0 w 330"/>
                <a:gd name="T37" fmla="*/ 0 h 307"/>
                <a:gd name="T38" fmla="*/ 0 w 330"/>
                <a:gd name="T39" fmla="*/ 0 h 307"/>
                <a:gd name="T40" fmla="*/ 0 w 330"/>
                <a:gd name="T41" fmla="*/ 0 h 307"/>
                <a:gd name="T42" fmla="*/ 0 w 330"/>
                <a:gd name="T43" fmla="*/ 0 h 307"/>
                <a:gd name="T44" fmla="*/ 0 w 330"/>
                <a:gd name="T45" fmla="*/ 0 h 307"/>
                <a:gd name="T46" fmla="*/ 0 w 330"/>
                <a:gd name="T47" fmla="*/ 0 h 307"/>
                <a:gd name="T48" fmla="*/ 0 w 330"/>
                <a:gd name="T49" fmla="*/ 0 h 307"/>
                <a:gd name="T50" fmla="*/ 0 w 330"/>
                <a:gd name="T51" fmla="*/ 0 h 307"/>
                <a:gd name="T52" fmla="*/ 0 w 330"/>
                <a:gd name="T53" fmla="*/ 0 h 307"/>
                <a:gd name="T54" fmla="*/ 0 w 330"/>
                <a:gd name="T55" fmla="*/ 0 h 307"/>
                <a:gd name="T56" fmla="*/ 0 w 330"/>
                <a:gd name="T57" fmla="*/ 0 h 307"/>
                <a:gd name="T58" fmla="*/ 0 w 330"/>
                <a:gd name="T59" fmla="*/ 0 h 307"/>
                <a:gd name="T60" fmla="*/ 0 w 330"/>
                <a:gd name="T61" fmla="*/ 0 h 307"/>
                <a:gd name="T62" fmla="*/ 0 w 330"/>
                <a:gd name="T63" fmla="*/ 0 h 307"/>
                <a:gd name="T64" fmla="*/ 0 w 330"/>
                <a:gd name="T65" fmla="*/ 0 h 307"/>
                <a:gd name="T66" fmla="*/ 0 w 330"/>
                <a:gd name="T67" fmla="*/ 0 h 307"/>
                <a:gd name="T68" fmla="*/ 0 w 330"/>
                <a:gd name="T69" fmla="*/ 0 h 307"/>
                <a:gd name="T70" fmla="*/ 0 w 330"/>
                <a:gd name="T71" fmla="*/ 0 h 307"/>
                <a:gd name="T72" fmla="*/ 0 w 330"/>
                <a:gd name="T73" fmla="*/ 0 h 307"/>
                <a:gd name="T74" fmla="*/ 0 w 330"/>
                <a:gd name="T75" fmla="*/ 0 h 307"/>
                <a:gd name="T76" fmla="*/ 0 w 330"/>
                <a:gd name="T77" fmla="*/ 0 h 30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30"/>
                <a:gd name="T118" fmla="*/ 0 h 307"/>
                <a:gd name="T119" fmla="*/ 330 w 330"/>
                <a:gd name="T120" fmla="*/ 307 h 307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30" h="307">
                  <a:moveTo>
                    <a:pt x="285" y="108"/>
                  </a:moveTo>
                  <a:lnTo>
                    <a:pt x="301" y="94"/>
                  </a:lnTo>
                  <a:lnTo>
                    <a:pt x="305" y="97"/>
                  </a:lnTo>
                  <a:lnTo>
                    <a:pt x="299" y="113"/>
                  </a:lnTo>
                  <a:lnTo>
                    <a:pt x="291" y="129"/>
                  </a:lnTo>
                  <a:lnTo>
                    <a:pt x="294" y="141"/>
                  </a:lnTo>
                  <a:lnTo>
                    <a:pt x="304" y="148"/>
                  </a:lnTo>
                  <a:lnTo>
                    <a:pt x="304" y="164"/>
                  </a:lnTo>
                  <a:lnTo>
                    <a:pt x="315" y="164"/>
                  </a:lnTo>
                  <a:lnTo>
                    <a:pt x="330" y="159"/>
                  </a:lnTo>
                  <a:lnTo>
                    <a:pt x="325" y="170"/>
                  </a:lnTo>
                  <a:lnTo>
                    <a:pt x="308" y="177"/>
                  </a:lnTo>
                  <a:lnTo>
                    <a:pt x="293" y="188"/>
                  </a:lnTo>
                  <a:lnTo>
                    <a:pt x="283" y="191"/>
                  </a:lnTo>
                  <a:lnTo>
                    <a:pt x="277" y="187"/>
                  </a:lnTo>
                  <a:lnTo>
                    <a:pt x="271" y="195"/>
                  </a:lnTo>
                  <a:lnTo>
                    <a:pt x="254" y="193"/>
                  </a:lnTo>
                  <a:lnTo>
                    <a:pt x="238" y="195"/>
                  </a:lnTo>
                  <a:lnTo>
                    <a:pt x="223" y="204"/>
                  </a:lnTo>
                  <a:lnTo>
                    <a:pt x="208" y="223"/>
                  </a:lnTo>
                  <a:lnTo>
                    <a:pt x="199" y="241"/>
                  </a:lnTo>
                  <a:lnTo>
                    <a:pt x="195" y="259"/>
                  </a:lnTo>
                  <a:lnTo>
                    <a:pt x="189" y="268"/>
                  </a:lnTo>
                  <a:lnTo>
                    <a:pt x="162" y="248"/>
                  </a:lnTo>
                  <a:lnTo>
                    <a:pt x="142" y="241"/>
                  </a:lnTo>
                  <a:lnTo>
                    <a:pt x="114" y="224"/>
                  </a:lnTo>
                  <a:lnTo>
                    <a:pt x="97" y="221"/>
                  </a:lnTo>
                  <a:lnTo>
                    <a:pt x="84" y="227"/>
                  </a:lnTo>
                  <a:lnTo>
                    <a:pt x="74" y="236"/>
                  </a:lnTo>
                  <a:lnTo>
                    <a:pt x="63" y="235"/>
                  </a:lnTo>
                  <a:lnTo>
                    <a:pt x="52" y="225"/>
                  </a:lnTo>
                  <a:lnTo>
                    <a:pt x="36" y="226"/>
                  </a:lnTo>
                  <a:lnTo>
                    <a:pt x="28" y="240"/>
                  </a:lnTo>
                  <a:lnTo>
                    <a:pt x="34" y="251"/>
                  </a:lnTo>
                  <a:lnTo>
                    <a:pt x="57" y="262"/>
                  </a:lnTo>
                  <a:lnTo>
                    <a:pt x="74" y="277"/>
                  </a:lnTo>
                  <a:lnTo>
                    <a:pt x="71" y="284"/>
                  </a:lnTo>
                  <a:lnTo>
                    <a:pt x="59" y="283"/>
                  </a:lnTo>
                  <a:lnTo>
                    <a:pt x="50" y="283"/>
                  </a:lnTo>
                  <a:lnTo>
                    <a:pt x="40" y="289"/>
                  </a:lnTo>
                  <a:lnTo>
                    <a:pt x="35" y="297"/>
                  </a:lnTo>
                  <a:lnTo>
                    <a:pt x="22" y="307"/>
                  </a:lnTo>
                  <a:lnTo>
                    <a:pt x="14" y="305"/>
                  </a:lnTo>
                  <a:lnTo>
                    <a:pt x="11" y="295"/>
                  </a:lnTo>
                  <a:lnTo>
                    <a:pt x="18" y="264"/>
                  </a:lnTo>
                  <a:lnTo>
                    <a:pt x="0" y="247"/>
                  </a:lnTo>
                  <a:lnTo>
                    <a:pt x="2" y="224"/>
                  </a:lnTo>
                  <a:lnTo>
                    <a:pt x="11" y="214"/>
                  </a:lnTo>
                  <a:lnTo>
                    <a:pt x="24" y="207"/>
                  </a:lnTo>
                  <a:lnTo>
                    <a:pt x="34" y="195"/>
                  </a:lnTo>
                  <a:lnTo>
                    <a:pt x="38" y="184"/>
                  </a:lnTo>
                  <a:lnTo>
                    <a:pt x="31" y="176"/>
                  </a:lnTo>
                  <a:lnTo>
                    <a:pt x="34" y="167"/>
                  </a:lnTo>
                  <a:lnTo>
                    <a:pt x="47" y="171"/>
                  </a:lnTo>
                  <a:lnTo>
                    <a:pt x="60" y="175"/>
                  </a:lnTo>
                  <a:lnTo>
                    <a:pt x="81" y="175"/>
                  </a:lnTo>
                  <a:lnTo>
                    <a:pt x="88" y="160"/>
                  </a:lnTo>
                  <a:lnTo>
                    <a:pt x="87" y="146"/>
                  </a:lnTo>
                  <a:lnTo>
                    <a:pt x="87" y="135"/>
                  </a:lnTo>
                  <a:lnTo>
                    <a:pt x="94" y="127"/>
                  </a:lnTo>
                  <a:lnTo>
                    <a:pt x="100" y="110"/>
                  </a:lnTo>
                  <a:lnTo>
                    <a:pt x="102" y="90"/>
                  </a:lnTo>
                  <a:lnTo>
                    <a:pt x="109" y="58"/>
                  </a:lnTo>
                  <a:lnTo>
                    <a:pt x="99" y="25"/>
                  </a:lnTo>
                  <a:lnTo>
                    <a:pt x="99" y="15"/>
                  </a:lnTo>
                  <a:lnTo>
                    <a:pt x="110" y="3"/>
                  </a:lnTo>
                  <a:lnTo>
                    <a:pt x="115" y="0"/>
                  </a:lnTo>
                  <a:lnTo>
                    <a:pt x="122" y="8"/>
                  </a:lnTo>
                  <a:lnTo>
                    <a:pt x="126" y="15"/>
                  </a:lnTo>
                  <a:lnTo>
                    <a:pt x="135" y="22"/>
                  </a:lnTo>
                  <a:lnTo>
                    <a:pt x="158" y="54"/>
                  </a:lnTo>
                  <a:lnTo>
                    <a:pt x="179" y="75"/>
                  </a:lnTo>
                  <a:lnTo>
                    <a:pt x="199" y="92"/>
                  </a:lnTo>
                  <a:lnTo>
                    <a:pt x="222" y="103"/>
                  </a:lnTo>
                  <a:lnTo>
                    <a:pt x="244" y="108"/>
                  </a:lnTo>
                  <a:lnTo>
                    <a:pt x="250" y="116"/>
                  </a:lnTo>
                  <a:lnTo>
                    <a:pt x="261" y="121"/>
                  </a:lnTo>
                  <a:lnTo>
                    <a:pt x="272" y="118"/>
                  </a:lnTo>
                  <a:lnTo>
                    <a:pt x="285" y="10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09" name="Freeform 108">
              <a:extLst>
                <a:ext uri="{FF2B5EF4-FFF2-40B4-BE49-F238E27FC236}">
                  <a16:creationId xmlns:a16="http://schemas.microsoft.com/office/drawing/2014/main" id="{0AF5CAF0-B631-168D-42FC-E2E0340630F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602522" y="2926522"/>
              <a:ext cx="328315" cy="312464"/>
            </a:xfrm>
            <a:custGeom>
              <a:avLst/>
              <a:gdLst>
                <a:gd name="T0" fmla="*/ 2147483647 w 613"/>
                <a:gd name="T1" fmla="*/ 0 h 552"/>
                <a:gd name="T2" fmla="*/ 2147483647 w 613"/>
                <a:gd name="T3" fmla="*/ 0 h 552"/>
                <a:gd name="T4" fmla="*/ 2147483647 w 613"/>
                <a:gd name="T5" fmla="*/ 0 h 552"/>
                <a:gd name="T6" fmla="*/ 2147483647 w 613"/>
                <a:gd name="T7" fmla="*/ 0 h 552"/>
                <a:gd name="T8" fmla="*/ 2147483647 w 613"/>
                <a:gd name="T9" fmla="*/ 0 h 552"/>
                <a:gd name="T10" fmla="*/ 2147483647 w 613"/>
                <a:gd name="T11" fmla="*/ 0 h 552"/>
                <a:gd name="T12" fmla="*/ 2147483647 w 613"/>
                <a:gd name="T13" fmla="*/ 0 h 552"/>
                <a:gd name="T14" fmla="*/ 2147483647 w 613"/>
                <a:gd name="T15" fmla="*/ 2147483647 h 552"/>
                <a:gd name="T16" fmla="*/ 2147483647 w 613"/>
                <a:gd name="T17" fmla="*/ 2147483647 h 552"/>
                <a:gd name="T18" fmla="*/ 2147483647 w 613"/>
                <a:gd name="T19" fmla="*/ 2147483647 h 552"/>
                <a:gd name="T20" fmla="*/ 2147483647 w 613"/>
                <a:gd name="T21" fmla="*/ 2147483647 h 552"/>
                <a:gd name="T22" fmla="*/ 2147483647 w 613"/>
                <a:gd name="T23" fmla="*/ 2147483647 h 552"/>
                <a:gd name="T24" fmla="*/ 2147483647 w 613"/>
                <a:gd name="T25" fmla="*/ 2147483647 h 552"/>
                <a:gd name="T26" fmla="*/ 2147483647 w 613"/>
                <a:gd name="T27" fmla="*/ 2147483647 h 552"/>
                <a:gd name="T28" fmla="*/ 2147483647 w 613"/>
                <a:gd name="T29" fmla="*/ 2147483647 h 552"/>
                <a:gd name="T30" fmla="*/ 2147483647 w 613"/>
                <a:gd name="T31" fmla="*/ 2147483647 h 552"/>
                <a:gd name="T32" fmla="*/ 2147483647 w 613"/>
                <a:gd name="T33" fmla="*/ 2147483647 h 552"/>
                <a:gd name="T34" fmla="*/ 2147483647 w 613"/>
                <a:gd name="T35" fmla="*/ 2147483647 h 552"/>
                <a:gd name="T36" fmla="*/ 2147483647 w 613"/>
                <a:gd name="T37" fmla="*/ 2147483647 h 552"/>
                <a:gd name="T38" fmla="*/ 2147483647 w 613"/>
                <a:gd name="T39" fmla="*/ 2147483647 h 552"/>
                <a:gd name="T40" fmla="*/ 2147483647 w 613"/>
                <a:gd name="T41" fmla="*/ 2147483647 h 552"/>
                <a:gd name="T42" fmla="*/ 2147483647 w 613"/>
                <a:gd name="T43" fmla="*/ 2147483647 h 552"/>
                <a:gd name="T44" fmla="*/ 2147483647 w 613"/>
                <a:gd name="T45" fmla="*/ 2147483647 h 552"/>
                <a:gd name="T46" fmla="*/ 0 w 613"/>
                <a:gd name="T47" fmla="*/ 2147483647 h 552"/>
                <a:gd name="T48" fmla="*/ 0 w 613"/>
                <a:gd name="T49" fmla="*/ 2147483647 h 552"/>
                <a:gd name="T50" fmla="*/ 0 w 613"/>
                <a:gd name="T51" fmla="*/ 2147483647 h 552"/>
                <a:gd name="T52" fmla="*/ 0 w 613"/>
                <a:gd name="T53" fmla="*/ 2147483647 h 552"/>
                <a:gd name="T54" fmla="*/ 0 w 613"/>
                <a:gd name="T55" fmla="*/ 2147483647 h 552"/>
                <a:gd name="T56" fmla="*/ 0 w 613"/>
                <a:gd name="T57" fmla="*/ 2147483647 h 552"/>
                <a:gd name="T58" fmla="*/ 0 w 613"/>
                <a:gd name="T59" fmla="*/ 2147483647 h 552"/>
                <a:gd name="T60" fmla="*/ 0 w 613"/>
                <a:gd name="T61" fmla="*/ 2147483647 h 552"/>
                <a:gd name="T62" fmla="*/ 0 w 613"/>
                <a:gd name="T63" fmla="*/ 2147483647 h 552"/>
                <a:gd name="T64" fmla="*/ 0 w 613"/>
                <a:gd name="T65" fmla="*/ 2147483647 h 552"/>
                <a:gd name="T66" fmla="*/ 0 w 613"/>
                <a:gd name="T67" fmla="*/ 2147483647 h 552"/>
                <a:gd name="T68" fmla="*/ 0 w 613"/>
                <a:gd name="T69" fmla="*/ 2147483647 h 552"/>
                <a:gd name="T70" fmla="*/ 0 w 613"/>
                <a:gd name="T71" fmla="*/ 2147483647 h 552"/>
                <a:gd name="T72" fmla="*/ 0 w 613"/>
                <a:gd name="T73" fmla="*/ 2147483647 h 552"/>
                <a:gd name="T74" fmla="*/ 0 w 613"/>
                <a:gd name="T75" fmla="*/ 2147483647 h 552"/>
                <a:gd name="T76" fmla="*/ 0 w 613"/>
                <a:gd name="T77" fmla="*/ 2147483647 h 552"/>
                <a:gd name="T78" fmla="*/ 0 w 613"/>
                <a:gd name="T79" fmla="*/ 2147483647 h 552"/>
                <a:gd name="T80" fmla="*/ 0 w 613"/>
                <a:gd name="T81" fmla="*/ 2147483647 h 552"/>
                <a:gd name="T82" fmla="*/ 0 w 613"/>
                <a:gd name="T83" fmla="*/ 2147483647 h 552"/>
                <a:gd name="T84" fmla="*/ 0 w 613"/>
                <a:gd name="T85" fmla="*/ 2147483647 h 552"/>
                <a:gd name="T86" fmla="*/ 0 w 613"/>
                <a:gd name="T87" fmla="*/ 2147483647 h 552"/>
                <a:gd name="T88" fmla="*/ 0 w 613"/>
                <a:gd name="T89" fmla="*/ 2147483647 h 552"/>
                <a:gd name="T90" fmla="*/ 2147483647 w 613"/>
                <a:gd name="T91" fmla="*/ 0 h 552"/>
                <a:gd name="T92" fmla="*/ 2147483647 w 613"/>
                <a:gd name="T93" fmla="*/ 0 h 552"/>
                <a:gd name="T94" fmla="*/ 2147483647 w 613"/>
                <a:gd name="T95" fmla="*/ 0 h 552"/>
                <a:gd name="T96" fmla="*/ 2147483647 w 613"/>
                <a:gd name="T97" fmla="*/ 2147483647 h 552"/>
                <a:gd name="T98" fmla="*/ 2147483647 w 613"/>
                <a:gd name="T99" fmla="*/ 2147483647 h 552"/>
                <a:gd name="T100" fmla="*/ 2147483647 w 613"/>
                <a:gd name="T101" fmla="*/ 0 h 552"/>
                <a:gd name="T102" fmla="*/ 2147483647 w 613"/>
                <a:gd name="T103" fmla="*/ 0 h 552"/>
                <a:gd name="T104" fmla="*/ 2147483647 w 613"/>
                <a:gd name="T105" fmla="*/ 0 h 552"/>
                <a:gd name="T106" fmla="*/ 2147483647 w 613"/>
                <a:gd name="T107" fmla="*/ 0 h 552"/>
                <a:gd name="T108" fmla="*/ 2147483647 w 613"/>
                <a:gd name="T109" fmla="*/ 0 h 552"/>
                <a:gd name="T110" fmla="*/ 2147483647 w 613"/>
                <a:gd name="T111" fmla="*/ 0 h 552"/>
                <a:gd name="T112" fmla="*/ 2147483647 w 613"/>
                <a:gd name="T113" fmla="*/ 0 h 552"/>
                <a:gd name="T114" fmla="*/ 2147483647 w 613"/>
                <a:gd name="T115" fmla="*/ 0 h 552"/>
                <a:gd name="T116" fmla="*/ 2147483647 w 613"/>
                <a:gd name="T117" fmla="*/ 0 h 552"/>
                <a:gd name="T118" fmla="*/ 2147483647 w 613"/>
                <a:gd name="T119" fmla="*/ 0 h 552"/>
                <a:gd name="T120" fmla="*/ 2147483647 w 613"/>
                <a:gd name="T121" fmla="*/ 0 h 552"/>
                <a:gd name="T122" fmla="*/ 2147483647 w 613"/>
                <a:gd name="T123" fmla="*/ 0 h 552"/>
                <a:gd name="T124" fmla="*/ 2147483647 w 613"/>
                <a:gd name="T125" fmla="*/ 0 h 55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613"/>
                <a:gd name="T190" fmla="*/ 0 h 552"/>
                <a:gd name="T191" fmla="*/ 613 w 613"/>
                <a:gd name="T192" fmla="*/ 552 h 55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613" h="552">
                  <a:moveTo>
                    <a:pt x="560" y="6"/>
                  </a:moveTo>
                  <a:lnTo>
                    <a:pt x="576" y="6"/>
                  </a:lnTo>
                  <a:lnTo>
                    <a:pt x="578" y="13"/>
                  </a:lnTo>
                  <a:lnTo>
                    <a:pt x="576" y="37"/>
                  </a:lnTo>
                  <a:lnTo>
                    <a:pt x="577" y="53"/>
                  </a:lnTo>
                  <a:lnTo>
                    <a:pt x="582" y="69"/>
                  </a:lnTo>
                  <a:lnTo>
                    <a:pt x="592" y="83"/>
                  </a:lnTo>
                  <a:lnTo>
                    <a:pt x="598" y="96"/>
                  </a:lnTo>
                  <a:lnTo>
                    <a:pt x="607" y="118"/>
                  </a:lnTo>
                  <a:lnTo>
                    <a:pt x="613" y="143"/>
                  </a:lnTo>
                  <a:lnTo>
                    <a:pt x="612" y="153"/>
                  </a:lnTo>
                  <a:lnTo>
                    <a:pt x="608" y="160"/>
                  </a:lnTo>
                  <a:lnTo>
                    <a:pt x="607" y="171"/>
                  </a:lnTo>
                  <a:lnTo>
                    <a:pt x="599" y="180"/>
                  </a:lnTo>
                  <a:lnTo>
                    <a:pt x="593" y="180"/>
                  </a:lnTo>
                  <a:lnTo>
                    <a:pt x="585" y="208"/>
                  </a:lnTo>
                  <a:lnTo>
                    <a:pt x="583" y="224"/>
                  </a:lnTo>
                  <a:lnTo>
                    <a:pt x="571" y="223"/>
                  </a:lnTo>
                  <a:lnTo>
                    <a:pt x="556" y="232"/>
                  </a:lnTo>
                  <a:lnTo>
                    <a:pt x="551" y="251"/>
                  </a:lnTo>
                  <a:lnTo>
                    <a:pt x="554" y="268"/>
                  </a:lnTo>
                  <a:lnTo>
                    <a:pt x="556" y="284"/>
                  </a:lnTo>
                  <a:lnTo>
                    <a:pt x="556" y="305"/>
                  </a:lnTo>
                  <a:lnTo>
                    <a:pt x="558" y="317"/>
                  </a:lnTo>
                  <a:lnTo>
                    <a:pt x="548" y="327"/>
                  </a:lnTo>
                  <a:lnTo>
                    <a:pt x="539" y="347"/>
                  </a:lnTo>
                  <a:lnTo>
                    <a:pt x="535" y="365"/>
                  </a:lnTo>
                  <a:lnTo>
                    <a:pt x="535" y="386"/>
                  </a:lnTo>
                  <a:lnTo>
                    <a:pt x="543" y="397"/>
                  </a:lnTo>
                  <a:lnTo>
                    <a:pt x="545" y="404"/>
                  </a:lnTo>
                  <a:lnTo>
                    <a:pt x="537" y="409"/>
                  </a:lnTo>
                  <a:lnTo>
                    <a:pt x="527" y="425"/>
                  </a:lnTo>
                  <a:lnTo>
                    <a:pt x="521" y="439"/>
                  </a:lnTo>
                  <a:lnTo>
                    <a:pt x="494" y="459"/>
                  </a:lnTo>
                  <a:lnTo>
                    <a:pt x="491" y="449"/>
                  </a:lnTo>
                  <a:lnTo>
                    <a:pt x="495" y="425"/>
                  </a:lnTo>
                  <a:lnTo>
                    <a:pt x="502" y="417"/>
                  </a:lnTo>
                  <a:lnTo>
                    <a:pt x="505" y="408"/>
                  </a:lnTo>
                  <a:lnTo>
                    <a:pt x="491" y="408"/>
                  </a:lnTo>
                  <a:lnTo>
                    <a:pt x="489" y="419"/>
                  </a:lnTo>
                  <a:lnTo>
                    <a:pt x="484" y="429"/>
                  </a:lnTo>
                  <a:lnTo>
                    <a:pt x="483" y="440"/>
                  </a:lnTo>
                  <a:lnTo>
                    <a:pt x="475" y="434"/>
                  </a:lnTo>
                  <a:lnTo>
                    <a:pt x="462" y="433"/>
                  </a:lnTo>
                  <a:lnTo>
                    <a:pt x="456" y="443"/>
                  </a:lnTo>
                  <a:lnTo>
                    <a:pt x="451" y="468"/>
                  </a:lnTo>
                  <a:lnTo>
                    <a:pt x="445" y="476"/>
                  </a:lnTo>
                  <a:lnTo>
                    <a:pt x="437" y="474"/>
                  </a:lnTo>
                  <a:lnTo>
                    <a:pt x="435" y="459"/>
                  </a:lnTo>
                  <a:lnTo>
                    <a:pt x="436" y="447"/>
                  </a:lnTo>
                  <a:lnTo>
                    <a:pt x="427" y="446"/>
                  </a:lnTo>
                  <a:lnTo>
                    <a:pt x="419" y="455"/>
                  </a:lnTo>
                  <a:lnTo>
                    <a:pt x="410" y="466"/>
                  </a:lnTo>
                  <a:lnTo>
                    <a:pt x="404" y="478"/>
                  </a:lnTo>
                  <a:lnTo>
                    <a:pt x="402" y="479"/>
                  </a:lnTo>
                  <a:lnTo>
                    <a:pt x="384" y="476"/>
                  </a:lnTo>
                  <a:lnTo>
                    <a:pt x="356" y="476"/>
                  </a:lnTo>
                  <a:lnTo>
                    <a:pt x="341" y="479"/>
                  </a:lnTo>
                  <a:lnTo>
                    <a:pt x="345" y="474"/>
                  </a:lnTo>
                  <a:lnTo>
                    <a:pt x="351" y="470"/>
                  </a:lnTo>
                  <a:lnTo>
                    <a:pt x="339" y="467"/>
                  </a:lnTo>
                  <a:lnTo>
                    <a:pt x="336" y="463"/>
                  </a:lnTo>
                  <a:lnTo>
                    <a:pt x="333" y="470"/>
                  </a:lnTo>
                  <a:lnTo>
                    <a:pt x="327" y="462"/>
                  </a:lnTo>
                  <a:lnTo>
                    <a:pt x="325" y="449"/>
                  </a:lnTo>
                  <a:lnTo>
                    <a:pt x="320" y="451"/>
                  </a:lnTo>
                  <a:lnTo>
                    <a:pt x="309" y="476"/>
                  </a:lnTo>
                  <a:lnTo>
                    <a:pt x="328" y="488"/>
                  </a:lnTo>
                  <a:lnTo>
                    <a:pt x="328" y="504"/>
                  </a:lnTo>
                  <a:lnTo>
                    <a:pt x="320" y="498"/>
                  </a:lnTo>
                  <a:lnTo>
                    <a:pt x="314" y="501"/>
                  </a:lnTo>
                  <a:lnTo>
                    <a:pt x="307" y="503"/>
                  </a:lnTo>
                  <a:lnTo>
                    <a:pt x="300" y="508"/>
                  </a:lnTo>
                  <a:lnTo>
                    <a:pt x="296" y="514"/>
                  </a:lnTo>
                  <a:lnTo>
                    <a:pt x="295" y="517"/>
                  </a:lnTo>
                  <a:lnTo>
                    <a:pt x="279" y="546"/>
                  </a:lnTo>
                  <a:lnTo>
                    <a:pt x="268" y="552"/>
                  </a:lnTo>
                  <a:lnTo>
                    <a:pt x="252" y="546"/>
                  </a:lnTo>
                  <a:lnTo>
                    <a:pt x="247" y="536"/>
                  </a:lnTo>
                  <a:lnTo>
                    <a:pt x="236" y="529"/>
                  </a:lnTo>
                  <a:lnTo>
                    <a:pt x="233" y="517"/>
                  </a:lnTo>
                  <a:lnTo>
                    <a:pt x="233" y="499"/>
                  </a:lnTo>
                  <a:lnTo>
                    <a:pt x="238" y="494"/>
                  </a:lnTo>
                  <a:lnTo>
                    <a:pt x="248" y="479"/>
                  </a:lnTo>
                  <a:lnTo>
                    <a:pt x="249" y="474"/>
                  </a:lnTo>
                  <a:lnTo>
                    <a:pt x="247" y="472"/>
                  </a:lnTo>
                  <a:lnTo>
                    <a:pt x="228" y="476"/>
                  </a:lnTo>
                  <a:lnTo>
                    <a:pt x="216" y="471"/>
                  </a:lnTo>
                  <a:lnTo>
                    <a:pt x="203" y="468"/>
                  </a:lnTo>
                  <a:lnTo>
                    <a:pt x="190" y="468"/>
                  </a:lnTo>
                  <a:lnTo>
                    <a:pt x="179" y="478"/>
                  </a:lnTo>
                  <a:lnTo>
                    <a:pt x="163" y="488"/>
                  </a:lnTo>
                  <a:lnTo>
                    <a:pt x="156" y="483"/>
                  </a:lnTo>
                  <a:lnTo>
                    <a:pt x="147" y="487"/>
                  </a:lnTo>
                  <a:lnTo>
                    <a:pt x="142" y="487"/>
                  </a:lnTo>
                  <a:lnTo>
                    <a:pt x="133" y="492"/>
                  </a:lnTo>
                  <a:lnTo>
                    <a:pt x="126" y="492"/>
                  </a:lnTo>
                  <a:lnTo>
                    <a:pt x="119" y="495"/>
                  </a:lnTo>
                  <a:lnTo>
                    <a:pt x="92" y="503"/>
                  </a:lnTo>
                  <a:lnTo>
                    <a:pt x="85" y="497"/>
                  </a:lnTo>
                  <a:lnTo>
                    <a:pt x="78" y="498"/>
                  </a:lnTo>
                  <a:lnTo>
                    <a:pt x="69" y="524"/>
                  </a:lnTo>
                  <a:lnTo>
                    <a:pt x="64" y="525"/>
                  </a:lnTo>
                  <a:lnTo>
                    <a:pt x="51" y="520"/>
                  </a:lnTo>
                  <a:lnTo>
                    <a:pt x="43" y="515"/>
                  </a:lnTo>
                  <a:lnTo>
                    <a:pt x="32" y="519"/>
                  </a:lnTo>
                  <a:lnTo>
                    <a:pt x="24" y="519"/>
                  </a:lnTo>
                  <a:lnTo>
                    <a:pt x="20" y="521"/>
                  </a:lnTo>
                  <a:lnTo>
                    <a:pt x="10" y="517"/>
                  </a:lnTo>
                  <a:lnTo>
                    <a:pt x="0" y="516"/>
                  </a:lnTo>
                  <a:lnTo>
                    <a:pt x="0" y="503"/>
                  </a:lnTo>
                  <a:lnTo>
                    <a:pt x="1" y="495"/>
                  </a:lnTo>
                  <a:lnTo>
                    <a:pt x="26" y="488"/>
                  </a:lnTo>
                  <a:lnTo>
                    <a:pt x="35" y="478"/>
                  </a:lnTo>
                  <a:lnTo>
                    <a:pt x="45" y="471"/>
                  </a:lnTo>
                  <a:lnTo>
                    <a:pt x="63" y="461"/>
                  </a:lnTo>
                  <a:lnTo>
                    <a:pt x="74" y="446"/>
                  </a:lnTo>
                  <a:lnTo>
                    <a:pt x="87" y="438"/>
                  </a:lnTo>
                  <a:lnTo>
                    <a:pt x="94" y="424"/>
                  </a:lnTo>
                  <a:lnTo>
                    <a:pt x="106" y="417"/>
                  </a:lnTo>
                  <a:lnTo>
                    <a:pt x="118" y="413"/>
                  </a:lnTo>
                  <a:lnTo>
                    <a:pt x="136" y="418"/>
                  </a:lnTo>
                  <a:lnTo>
                    <a:pt x="155" y="416"/>
                  </a:lnTo>
                  <a:lnTo>
                    <a:pt x="169" y="417"/>
                  </a:lnTo>
                  <a:lnTo>
                    <a:pt x="209" y="408"/>
                  </a:lnTo>
                  <a:lnTo>
                    <a:pt x="219" y="407"/>
                  </a:lnTo>
                  <a:lnTo>
                    <a:pt x="228" y="403"/>
                  </a:lnTo>
                  <a:lnTo>
                    <a:pt x="238" y="403"/>
                  </a:lnTo>
                  <a:lnTo>
                    <a:pt x="237" y="412"/>
                  </a:lnTo>
                  <a:lnTo>
                    <a:pt x="260" y="418"/>
                  </a:lnTo>
                  <a:lnTo>
                    <a:pt x="265" y="417"/>
                  </a:lnTo>
                  <a:lnTo>
                    <a:pt x="270" y="412"/>
                  </a:lnTo>
                  <a:lnTo>
                    <a:pt x="282" y="403"/>
                  </a:lnTo>
                  <a:lnTo>
                    <a:pt x="284" y="371"/>
                  </a:lnTo>
                  <a:lnTo>
                    <a:pt x="300" y="357"/>
                  </a:lnTo>
                  <a:lnTo>
                    <a:pt x="312" y="339"/>
                  </a:lnTo>
                  <a:lnTo>
                    <a:pt x="320" y="320"/>
                  </a:lnTo>
                  <a:lnTo>
                    <a:pt x="322" y="305"/>
                  </a:lnTo>
                  <a:lnTo>
                    <a:pt x="324" y="294"/>
                  </a:lnTo>
                  <a:lnTo>
                    <a:pt x="343" y="283"/>
                  </a:lnTo>
                  <a:lnTo>
                    <a:pt x="351" y="284"/>
                  </a:lnTo>
                  <a:lnTo>
                    <a:pt x="350" y="294"/>
                  </a:lnTo>
                  <a:lnTo>
                    <a:pt x="341" y="298"/>
                  </a:lnTo>
                  <a:lnTo>
                    <a:pt x="333" y="306"/>
                  </a:lnTo>
                  <a:lnTo>
                    <a:pt x="332" y="309"/>
                  </a:lnTo>
                  <a:lnTo>
                    <a:pt x="336" y="321"/>
                  </a:lnTo>
                  <a:lnTo>
                    <a:pt x="336" y="333"/>
                  </a:lnTo>
                  <a:lnTo>
                    <a:pt x="341" y="333"/>
                  </a:lnTo>
                  <a:lnTo>
                    <a:pt x="354" y="332"/>
                  </a:lnTo>
                  <a:lnTo>
                    <a:pt x="363" y="321"/>
                  </a:lnTo>
                  <a:lnTo>
                    <a:pt x="377" y="314"/>
                  </a:lnTo>
                  <a:lnTo>
                    <a:pt x="393" y="309"/>
                  </a:lnTo>
                  <a:lnTo>
                    <a:pt x="410" y="295"/>
                  </a:lnTo>
                  <a:lnTo>
                    <a:pt x="422" y="284"/>
                  </a:lnTo>
                  <a:lnTo>
                    <a:pt x="430" y="269"/>
                  </a:lnTo>
                  <a:lnTo>
                    <a:pt x="440" y="257"/>
                  </a:lnTo>
                  <a:lnTo>
                    <a:pt x="453" y="247"/>
                  </a:lnTo>
                  <a:lnTo>
                    <a:pt x="459" y="247"/>
                  </a:lnTo>
                  <a:lnTo>
                    <a:pt x="467" y="235"/>
                  </a:lnTo>
                  <a:lnTo>
                    <a:pt x="468" y="225"/>
                  </a:lnTo>
                  <a:lnTo>
                    <a:pt x="470" y="215"/>
                  </a:lnTo>
                  <a:lnTo>
                    <a:pt x="486" y="188"/>
                  </a:lnTo>
                  <a:lnTo>
                    <a:pt x="490" y="176"/>
                  </a:lnTo>
                  <a:lnTo>
                    <a:pt x="492" y="165"/>
                  </a:lnTo>
                  <a:lnTo>
                    <a:pt x="499" y="154"/>
                  </a:lnTo>
                  <a:lnTo>
                    <a:pt x="502" y="139"/>
                  </a:lnTo>
                  <a:lnTo>
                    <a:pt x="502" y="123"/>
                  </a:lnTo>
                  <a:lnTo>
                    <a:pt x="495" y="117"/>
                  </a:lnTo>
                  <a:lnTo>
                    <a:pt x="484" y="112"/>
                  </a:lnTo>
                  <a:lnTo>
                    <a:pt x="489" y="107"/>
                  </a:lnTo>
                  <a:lnTo>
                    <a:pt x="499" y="92"/>
                  </a:lnTo>
                  <a:lnTo>
                    <a:pt x="497" y="62"/>
                  </a:lnTo>
                  <a:lnTo>
                    <a:pt x="502" y="53"/>
                  </a:lnTo>
                  <a:lnTo>
                    <a:pt x="512" y="49"/>
                  </a:lnTo>
                  <a:lnTo>
                    <a:pt x="513" y="32"/>
                  </a:lnTo>
                  <a:lnTo>
                    <a:pt x="517" y="24"/>
                  </a:lnTo>
                  <a:lnTo>
                    <a:pt x="524" y="20"/>
                  </a:lnTo>
                  <a:lnTo>
                    <a:pt x="531" y="29"/>
                  </a:lnTo>
                  <a:lnTo>
                    <a:pt x="535" y="42"/>
                  </a:lnTo>
                  <a:lnTo>
                    <a:pt x="539" y="48"/>
                  </a:lnTo>
                  <a:lnTo>
                    <a:pt x="547" y="38"/>
                  </a:lnTo>
                  <a:lnTo>
                    <a:pt x="553" y="42"/>
                  </a:lnTo>
                  <a:lnTo>
                    <a:pt x="560" y="41"/>
                  </a:lnTo>
                  <a:lnTo>
                    <a:pt x="566" y="27"/>
                  </a:lnTo>
                  <a:lnTo>
                    <a:pt x="567" y="15"/>
                  </a:lnTo>
                  <a:lnTo>
                    <a:pt x="559" y="22"/>
                  </a:lnTo>
                  <a:lnTo>
                    <a:pt x="547" y="26"/>
                  </a:lnTo>
                  <a:lnTo>
                    <a:pt x="543" y="14"/>
                  </a:lnTo>
                  <a:lnTo>
                    <a:pt x="547" y="3"/>
                  </a:lnTo>
                  <a:lnTo>
                    <a:pt x="551" y="0"/>
                  </a:lnTo>
                  <a:lnTo>
                    <a:pt x="560" y="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10" name="Freeform 109">
              <a:extLst>
                <a:ext uri="{FF2B5EF4-FFF2-40B4-BE49-F238E27FC236}">
                  <a16:creationId xmlns:a16="http://schemas.microsoft.com/office/drawing/2014/main" id="{8E4C91DA-A63E-6EBD-8DAA-51E03500CA5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641323" y="3208502"/>
              <a:ext cx="74617" cy="59445"/>
            </a:xfrm>
            <a:custGeom>
              <a:avLst/>
              <a:gdLst>
                <a:gd name="T0" fmla="*/ 0 w 140"/>
                <a:gd name="T1" fmla="*/ 0 h 107"/>
                <a:gd name="T2" fmla="*/ 0 w 140"/>
                <a:gd name="T3" fmla="*/ 0 h 107"/>
                <a:gd name="T4" fmla="*/ 0 w 140"/>
                <a:gd name="T5" fmla="*/ 0 h 107"/>
                <a:gd name="T6" fmla="*/ 0 w 140"/>
                <a:gd name="T7" fmla="*/ 0 h 107"/>
                <a:gd name="T8" fmla="*/ 0 w 140"/>
                <a:gd name="T9" fmla="*/ 0 h 107"/>
                <a:gd name="T10" fmla="*/ 0 w 140"/>
                <a:gd name="T11" fmla="*/ 0 h 107"/>
                <a:gd name="T12" fmla="*/ 0 w 140"/>
                <a:gd name="T13" fmla="*/ 0 h 107"/>
                <a:gd name="T14" fmla="*/ 0 w 140"/>
                <a:gd name="T15" fmla="*/ 0 h 107"/>
                <a:gd name="T16" fmla="*/ 0 w 140"/>
                <a:gd name="T17" fmla="*/ 0 h 107"/>
                <a:gd name="T18" fmla="*/ 0 w 140"/>
                <a:gd name="T19" fmla="*/ 0 h 107"/>
                <a:gd name="T20" fmla="*/ 0 w 140"/>
                <a:gd name="T21" fmla="*/ 0 h 107"/>
                <a:gd name="T22" fmla="*/ 0 w 140"/>
                <a:gd name="T23" fmla="*/ 0 h 107"/>
                <a:gd name="T24" fmla="*/ 0 w 140"/>
                <a:gd name="T25" fmla="*/ 0 h 107"/>
                <a:gd name="T26" fmla="*/ 0 w 140"/>
                <a:gd name="T27" fmla="*/ 0 h 107"/>
                <a:gd name="T28" fmla="*/ 0 w 140"/>
                <a:gd name="T29" fmla="*/ 0 h 107"/>
                <a:gd name="T30" fmla="*/ 0 w 140"/>
                <a:gd name="T31" fmla="*/ 0 h 107"/>
                <a:gd name="T32" fmla="*/ 0 w 140"/>
                <a:gd name="T33" fmla="*/ 0 h 107"/>
                <a:gd name="T34" fmla="*/ 0 w 140"/>
                <a:gd name="T35" fmla="*/ 0 h 107"/>
                <a:gd name="T36" fmla="*/ 0 w 140"/>
                <a:gd name="T37" fmla="*/ 0 h 107"/>
                <a:gd name="T38" fmla="*/ 0 w 140"/>
                <a:gd name="T39" fmla="*/ 0 h 107"/>
                <a:gd name="T40" fmla="*/ 0 w 140"/>
                <a:gd name="T41" fmla="*/ 0 h 107"/>
                <a:gd name="T42" fmla="*/ 0 w 140"/>
                <a:gd name="T43" fmla="*/ 0 h 107"/>
                <a:gd name="T44" fmla="*/ 0 w 140"/>
                <a:gd name="T45" fmla="*/ 0 h 107"/>
                <a:gd name="T46" fmla="*/ 0 w 140"/>
                <a:gd name="T47" fmla="*/ 0 h 107"/>
                <a:gd name="T48" fmla="*/ 0 w 140"/>
                <a:gd name="T49" fmla="*/ 0 h 107"/>
                <a:gd name="T50" fmla="*/ 0 w 140"/>
                <a:gd name="T51" fmla="*/ 0 h 107"/>
                <a:gd name="T52" fmla="*/ 0 w 140"/>
                <a:gd name="T53" fmla="*/ 0 h 107"/>
                <a:gd name="T54" fmla="*/ 0 w 140"/>
                <a:gd name="T55" fmla="*/ 0 h 107"/>
                <a:gd name="T56" fmla="*/ 0 w 140"/>
                <a:gd name="T57" fmla="*/ 0 h 107"/>
                <a:gd name="T58" fmla="*/ 0 w 140"/>
                <a:gd name="T59" fmla="*/ 0 h 107"/>
                <a:gd name="T60" fmla="*/ 0 w 140"/>
                <a:gd name="T61" fmla="*/ 0 h 107"/>
                <a:gd name="T62" fmla="*/ 0 w 140"/>
                <a:gd name="T63" fmla="*/ 0 h 107"/>
                <a:gd name="T64" fmla="*/ 0 w 140"/>
                <a:gd name="T65" fmla="*/ 0 h 107"/>
                <a:gd name="T66" fmla="*/ 0 w 140"/>
                <a:gd name="T67" fmla="*/ 0 h 107"/>
                <a:gd name="T68" fmla="*/ 0 w 140"/>
                <a:gd name="T69" fmla="*/ 0 h 1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40"/>
                <a:gd name="T106" fmla="*/ 0 h 107"/>
                <a:gd name="T107" fmla="*/ 140 w 140"/>
                <a:gd name="T108" fmla="*/ 107 h 10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40" h="107">
                  <a:moveTo>
                    <a:pt x="113" y="70"/>
                  </a:moveTo>
                  <a:lnTo>
                    <a:pt x="102" y="63"/>
                  </a:lnTo>
                  <a:lnTo>
                    <a:pt x="88" y="58"/>
                  </a:lnTo>
                  <a:lnTo>
                    <a:pt x="74" y="62"/>
                  </a:lnTo>
                  <a:lnTo>
                    <a:pt x="66" y="68"/>
                  </a:lnTo>
                  <a:lnTo>
                    <a:pt x="59" y="80"/>
                  </a:lnTo>
                  <a:lnTo>
                    <a:pt x="50" y="95"/>
                  </a:lnTo>
                  <a:lnTo>
                    <a:pt x="48" y="106"/>
                  </a:lnTo>
                  <a:lnTo>
                    <a:pt x="39" y="107"/>
                  </a:lnTo>
                  <a:lnTo>
                    <a:pt x="30" y="100"/>
                  </a:lnTo>
                  <a:lnTo>
                    <a:pt x="26" y="95"/>
                  </a:lnTo>
                  <a:lnTo>
                    <a:pt x="19" y="82"/>
                  </a:lnTo>
                  <a:lnTo>
                    <a:pt x="20" y="76"/>
                  </a:lnTo>
                  <a:lnTo>
                    <a:pt x="16" y="69"/>
                  </a:lnTo>
                  <a:lnTo>
                    <a:pt x="10" y="64"/>
                  </a:lnTo>
                  <a:lnTo>
                    <a:pt x="0" y="64"/>
                  </a:lnTo>
                  <a:lnTo>
                    <a:pt x="15" y="53"/>
                  </a:lnTo>
                  <a:lnTo>
                    <a:pt x="37" y="23"/>
                  </a:lnTo>
                  <a:lnTo>
                    <a:pt x="50" y="25"/>
                  </a:lnTo>
                  <a:lnTo>
                    <a:pt x="57" y="28"/>
                  </a:lnTo>
                  <a:lnTo>
                    <a:pt x="68" y="26"/>
                  </a:lnTo>
                  <a:lnTo>
                    <a:pt x="78" y="21"/>
                  </a:lnTo>
                  <a:lnTo>
                    <a:pt x="82" y="14"/>
                  </a:lnTo>
                  <a:lnTo>
                    <a:pt x="95" y="1"/>
                  </a:lnTo>
                  <a:lnTo>
                    <a:pt x="102" y="0"/>
                  </a:lnTo>
                  <a:lnTo>
                    <a:pt x="112" y="3"/>
                  </a:lnTo>
                  <a:lnTo>
                    <a:pt x="123" y="9"/>
                  </a:lnTo>
                  <a:lnTo>
                    <a:pt x="132" y="10"/>
                  </a:lnTo>
                  <a:lnTo>
                    <a:pt x="138" y="33"/>
                  </a:lnTo>
                  <a:lnTo>
                    <a:pt x="140" y="36"/>
                  </a:lnTo>
                  <a:lnTo>
                    <a:pt x="134" y="44"/>
                  </a:lnTo>
                  <a:lnTo>
                    <a:pt x="128" y="47"/>
                  </a:lnTo>
                  <a:lnTo>
                    <a:pt x="123" y="54"/>
                  </a:lnTo>
                  <a:lnTo>
                    <a:pt x="118" y="63"/>
                  </a:lnTo>
                  <a:lnTo>
                    <a:pt x="113" y="7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11" name="Freeform 110">
              <a:extLst>
                <a:ext uri="{FF2B5EF4-FFF2-40B4-BE49-F238E27FC236}">
                  <a16:creationId xmlns:a16="http://schemas.microsoft.com/office/drawing/2014/main" id="{A72B038E-6FE2-06C2-F72A-06AC95BD5CA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565213" y="3222220"/>
              <a:ext cx="70141" cy="108219"/>
            </a:xfrm>
            <a:custGeom>
              <a:avLst/>
              <a:gdLst>
                <a:gd name="T0" fmla="*/ 0 w 131"/>
                <a:gd name="T1" fmla="*/ 0 h 187"/>
                <a:gd name="T2" fmla="*/ 0 w 131"/>
                <a:gd name="T3" fmla="*/ 0 h 187"/>
                <a:gd name="T4" fmla="*/ 0 w 131"/>
                <a:gd name="T5" fmla="*/ 0 h 187"/>
                <a:gd name="T6" fmla="*/ 0 w 131"/>
                <a:gd name="T7" fmla="*/ 0 h 187"/>
                <a:gd name="T8" fmla="*/ 0 w 131"/>
                <a:gd name="T9" fmla="*/ 0 h 187"/>
                <a:gd name="T10" fmla="*/ 0 w 131"/>
                <a:gd name="T11" fmla="*/ 0 h 187"/>
                <a:gd name="T12" fmla="*/ 0 w 131"/>
                <a:gd name="T13" fmla="*/ 0 h 187"/>
                <a:gd name="T14" fmla="*/ 0 w 131"/>
                <a:gd name="T15" fmla="*/ 0 h 187"/>
                <a:gd name="T16" fmla="*/ 0 w 131"/>
                <a:gd name="T17" fmla="*/ 0 h 187"/>
                <a:gd name="T18" fmla="*/ 0 w 131"/>
                <a:gd name="T19" fmla="*/ 0 h 187"/>
                <a:gd name="T20" fmla="*/ 0 w 131"/>
                <a:gd name="T21" fmla="*/ 0 h 187"/>
                <a:gd name="T22" fmla="*/ 0 w 131"/>
                <a:gd name="T23" fmla="*/ 0 h 187"/>
                <a:gd name="T24" fmla="*/ 0 w 131"/>
                <a:gd name="T25" fmla="*/ 0 h 187"/>
                <a:gd name="T26" fmla="*/ 0 w 131"/>
                <a:gd name="T27" fmla="*/ 0 h 187"/>
                <a:gd name="T28" fmla="*/ 0 w 131"/>
                <a:gd name="T29" fmla="*/ 0 h 187"/>
                <a:gd name="T30" fmla="*/ 0 w 131"/>
                <a:gd name="T31" fmla="*/ 0 h 187"/>
                <a:gd name="T32" fmla="*/ 0 w 131"/>
                <a:gd name="T33" fmla="*/ 0 h 187"/>
                <a:gd name="T34" fmla="*/ 0 w 131"/>
                <a:gd name="T35" fmla="*/ 0 h 187"/>
                <a:gd name="T36" fmla="*/ 0 w 131"/>
                <a:gd name="T37" fmla="*/ 0 h 187"/>
                <a:gd name="T38" fmla="*/ 0 w 131"/>
                <a:gd name="T39" fmla="*/ 0 h 187"/>
                <a:gd name="T40" fmla="*/ 0 w 131"/>
                <a:gd name="T41" fmla="*/ 0 h 187"/>
                <a:gd name="T42" fmla="*/ 0 w 131"/>
                <a:gd name="T43" fmla="*/ 0 h 187"/>
                <a:gd name="T44" fmla="*/ 0 w 131"/>
                <a:gd name="T45" fmla="*/ 0 h 187"/>
                <a:gd name="T46" fmla="*/ 0 w 131"/>
                <a:gd name="T47" fmla="*/ 0 h 187"/>
                <a:gd name="T48" fmla="*/ 0 w 131"/>
                <a:gd name="T49" fmla="*/ 0 h 187"/>
                <a:gd name="T50" fmla="*/ 0 w 131"/>
                <a:gd name="T51" fmla="*/ 0 h 187"/>
                <a:gd name="T52" fmla="*/ 0 w 131"/>
                <a:gd name="T53" fmla="*/ 0 h 187"/>
                <a:gd name="T54" fmla="*/ 0 w 131"/>
                <a:gd name="T55" fmla="*/ 0 h 187"/>
                <a:gd name="T56" fmla="*/ 0 w 131"/>
                <a:gd name="T57" fmla="*/ 0 h 187"/>
                <a:gd name="T58" fmla="*/ 0 w 131"/>
                <a:gd name="T59" fmla="*/ 0 h 187"/>
                <a:gd name="T60" fmla="*/ 0 w 131"/>
                <a:gd name="T61" fmla="*/ 0 h 187"/>
                <a:gd name="T62" fmla="*/ 0 w 131"/>
                <a:gd name="T63" fmla="*/ 0 h 187"/>
                <a:gd name="T64" fmla="*/ 0 w 131"/>
                <a:gd name="T65" fmla="*/ 0 h 187"/>
                <a:gd name="T66" fmla="*/ 0 w 131"/>
                <a:gd name="T67" fmla="*/ 0 h 187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31"/>
                <a:gd name="T103" fmla="*/ 0 h 187"/>
                <a:gd name="T104" fmla="*/ 131 w 131"/>
                <a:gd name="T105" fmla="*/ 187 h 187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31" h="187">
                  <a:moveTo>
                    <a:pt x="67" y="2"/>
                  </a:moveTo>
                  <a:lnTo>
                    <a:pt x="69" y="2"/>
                  </a:lnTo>
                  <a:lnTo>
                    <a:pt x="64" y="0"/>
                  </a:lnTo>
                  <a:lnTo>
                    <a:pt x="56" y="4"/>
                  </a:lnTo>
                  <a:lnTo>
                    <a:pt x="47" y="13"/>
                  </a:lnTo>
                  <a:lnTo>
                    <a:pt x="42" y="22"/>
                  </a:lnTo>
                  <a:lnTo>
                    <a:pt x="35" y="22"/>
                  </a:lnTo>
                  <a:lnTo>
                    <a:pt x="29" y="29"/>
                  </a:lnTo>
                  <a:lnTo>
                    <a:pt x="21" y="32"/>
                  </a:lnTo>
                  <a:lnTo>
                    <a:pt x="18" y="29"/>
                  </a:lnTo>
                  <a:lnTo>
                    <a:pt x="11" y="34"/>
                  </a:lnTo>
                  <a:lnTo>
                    <a:pt x="0" y="48"/>
                  </a:lnTo>
                  <a:lnTo>
                    <a:pt x="10" y="56"/>
                  </a:lnTo>
                  <a:lnTo>
                    <a:pt x="16" y="64"/>
                  </a:lnTo>
                  <a:lnTo>
                    <a:pt x="16" y="72"/>
                  </a:lnTo>
                  <a:lnTo>
                    <a:pt x="11" y="62"/>
                  </a:lnTo>
                  <a:lnTo>
                    <a:pt x="5" y="62"/>
                  </a:lnTo>
                  <a:lnTo>
                    <a:pt x="9" y="88"/>
                  </a:lnTo>
                  <a:lnTo>
                    <a:pt x="14" y="81"/>
                  </a:lnTo>
                  <a:lnTo>
                    <a:pt x="27" y="78"/>
                  </a:lnTo>
                  <a:lnTo>
                    <a:pt x="37" y="84"/>
                  </a:lnTo>
                  <a:lnTo>
                    <a:pt x="41" y="75"/>
                  </a:lnTo>
                  <a:lnTo>
                    <a:pt x="35" y="72"/>
                  </a:lnTo>
                  <a:lnTo>
                    <a:pt x="32" y="65"/>
                  </a:lnTo>
                  <a:lnTo>
                    <a:pt x="32" y="54"/>
                  </a:lnTo>
                  <a:lnTo>
                    <a:pt x="37" y="50"/>
                  </a:lnTo>
                  <a:lnTo>
                    <a:pt x="43" y="63"/>
                  </a:lnTo>
                  <a:lnTo>
                    <a:pt x="51" y="74"/>
                  </a:lnTo>
                  <a:lnTo>
                    <a:pt x="51" y="85"/>
                  </a:lnTo>
                  <a:lnTo>
                    <a:pt x="53" y="86"/>
                  </a:lnTo>
                  <a:lnTo>
                    <a:pt x="53" y="100"/>
                  </a:lnTo>
                  <a:lnTo>
                    <a:pt x="47" y="112"/>
                  </a:lnTo>
                  <a:lnTo>
                    <a:pt x="41" y="118"/>
                  </a:lnTo>
                  <a:lnTo>
                    <a:pt x="36" y="128"/>
                  </a:lnTo>
                  <a:lnTo>
                    <a:pt x="35" y="143"/>
                  </a:lnTo>
                  <a:lnTo>
                    <a:pt x="38" y="159"/>
                  </a:lnTo>
                  <a:lnTo>
                    <a:pt x="35" y="167"/>
                  </a:lnTo>
                  <a:lnTo>
                    <a:pt x="41" y="174"/>
                  </a:lnTo>
                  <a:lnTo>
                    <a:pt x="54" y="180"/>
                  </a:lnTo>
                  <a:lnTo>
                    <a:pt x="58" y="166"/>
                  </a:lnTo>
                  <a:lnTo>
                    <a:pt x="53" y="155"/>
                  </a:lnTo>
                  <a:lnTo>
                    <a:pt x="57" y="145"/>
                  </a:lnTo>
                  <a:lnTo>
                    <a:pt x="65" y="148"/>
                  </a:lnTo>
                  <a:lnTo>
                    <a:pt x="62" y="151"/>
                  </a:lnTo>
                  <a:lnTo>
                    <a:pt x="61" y="160"/>
                  </a:lnTo>
                  <a:lnTo>
                    <a:pt x="63" y="172"/>
                  </a:lnTo>
                  <a:lnTo>
                    <a:pt x="63" y="187"/>
                  </a:lnTo>
                  <a:lnTo>
                    <a:pt x="70" y="185"/>
                  </a:lnTo>
                  <a:lnTo>
                    <a:pt x="79" y="177"/>
                  </a:lnTo>
                  <a:lnTo>
                    <a:pt x="79" y="169"/>
                  </a:lnTo>
                  <a:lnTo>
                    <a:pt x="88" y="160"/>
                  </a:lnTo>
                  <a:lnTo>
                    <a:pt x="94" y="164"/>
                  </a:lnTo>
                  <a:lnTo>
                    <a:pt x="100" y="148"/>
                  </a:lnTo>
                  <a:lnTo>
                    <a:pt x="107" y="117"/>
                  </a:lnTo>
                  <a:lnTo>
                    <a:pt x="113" y="100"/>
                  </a:lnTo>
                  <a:lnTo>
                    <a:pt x="120" y="89"/>
                  </a:lnTo>
                  <a:lnTo>
                    <a:pt x="127" y="78"/>
                  </a:lnTo>
                  <a:lnTo>
                    <a:pt x="131" y="69"/>
                  </a:lnTo>
                  <a:lnTo>
                    <a:pt x="129" y="59"/>
                  </a:lnTo>
                  <a:lnTo>
                    <a:pt x="124" y="48"/>
                  </a:lnTo>
                  <a:lnTo>
                    <a:pt x="111" y="45"/>
                  </a:lnTo>
                  <a:lnTo>
                    <a:pt x="110" y="40"/>
                  </a:lnTo>
                  <a:lnTo>
                    <a:pt x="115" y="26"/>
                  </a:lnTo>
                  <a:lnTo>
                    <a:pt x="112" y="19"/>
                  </a:lnTo>
                  <a:lnTo>
                    <a:pt x="104" y="21"/>
                  </a:lnTo>
                  <a:lnTo>
                    <a:pt x="86" y="22"/>
                  </a:lnTo>
                  <a:lnTo>
                    <a:pt x="77" y="9"/>
                  </a:lnTo>
                  <a:lnTo>
                    <a:pt x="77" y="3"/>
                  </a:lnTo>
                  <a:lnTo>
                    <a:pt x="67" y="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12" name="Freeform 111">
              <a:extLst>
                <a:ext uri="{FF2B5EF4-FFF2-40B4-BE49-F238E27FC236}">
                  <a16:creationId xmlns:a16="http://schemas.microsoft.com/office/drawing/2014/main" id="{45C5C117-9BEB-C970-15CE-230E795904C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462242" y="3045411"/>
              <a:ext cx="101479" cy="161567"/>
            </a:xfrm>
            <a:custGeom>
              <a:avLst/>
              <a:gdLst>
                <a:gd name="T0" fmla="*/ 2147483647 w 190"/>
                <a:gd name="T1" fmla="*/ 0 h 285"/>
                <a:gd name="T2" fmla="*/ 2147483647 w 190"/>
                <a:gd name="T3" fmla="*/ 0 h 285"/>
                <a:gd name="T4" fmla="*/ 2147483647 w 190"/>
                <a:gd name="T5" fmla="*/ 0 h 285"/>
                <a:gd name="T6" fmla="*/ 2147483647 w 190"/>
                <a:gd name="T7" fmla="*/ 2147483647 h 285"/>
                <a:gd name="T8" fmla="*/ 2147483647 w 190"/>
                <a:gd name="T9" fmla="*/ 2147483647 h 285"/>
                <a:gd name="T10" fmla="*/ 2147483647 w 190"/>
                <a:gd name="T11" fmla="*/ 2147483647 h 285"/>
                <a:gd name="T12" fmla="*/ 2147483647 w 190"/>
                <a:gd name="T13" fmla="*/ 2147483647 h 285"/>
                <a:gd name="T14" fmla="*/ 2147483647 w 190"/>
                <a:gd name="T15" fmla="*/ 2147483647 h 285"/>
                <a:gd name="T16" fmla="*/ 2147483647 w 190"/>
                <a:gd name="T17" fmla="*/ 2147483647 h 285"/>
                <a:gd name="T18" fmla="*/ 2147483647 w 190"/>
                <a:gd name="T19" fmla="*/ 2147483647 h 285"/>
                <a:gd name="T20" fmla="*/ 2147483647 w 190"/>
                <a:gd name="T21" fmla="*/ 2147483647 h 285"/>
                <a:gd name="T22" fmla="*/ 2147483647 w 190"/>
                <a:gd name="T23" fmla="*/ 2147483647 h 285"/>
                <a:gd name="T24" fmla="*/ 2147483647 w 190"/>
                <a:gd name="T25" fmla="*/ 2147483647 h 285"/>
                <a:gd name="T26" fmla="*/ 2147483647 w 190"/>
                <a:gd name="T27" fmla="*/ 2147483647 h 285"/>
                <a:gd name="T28" fmla="*/ 2147483647 w 190"/>
                <a:gd name="T29" fmla="*/ 2147483647 h 285"/>
                <a:gd name="T30" fmla="*/ 2147483647 w 190"/>
                <a:gd name="T31" fmla="*/ 2147483647 h 285"/>
                <a:gd name="T32" fmla="*/ 2147483647 w 190"/>
                <a:gd name="T33" fmla="*/ 2147483647 h 285"/>
                <a:gd name="T34" fmla="*/ 2147483647 w 190"/>
                <a:gd name="T35" fmla="*/ 2147483647 h 285"/>
                <a:gd name="T36" fmla="*/ 2147483647 w 190"/>
                <a:gd name="T37" fmla="*/ 2147483647 h 285"/>
                <a:gd name="T38" fmla="*/ 0 w 190"/>
                <a:gd name="T39" fmla="*/ 2147483647 h 285"/>
                <a:gd name="T40" fmla="*/ 0 w 190"/>
                <a:gd name="T41" fmla="*/ 2147483647 h 285"/>
                <a:gd name="T42" fmla="*/ 0 w 190"/>
                <a:gd name="T43" fmla="*/ 2147483647 h 285"/>
                <a:gd name="T44" fmla="*/ 0 w 190"/>
                <a:gd name="T45" fmla="*/ 2147483647 h 285"/>
                <a:gd name="T46" fmla="*/ 0 w 190"/>
                <a:gd name="T47" fmla="*/ 2147483647 h 285"/>
                <a:gd name="T48" fmla="*/ 0 w 190"/>
                <a:gd name="T49" fmla="*/ 2147483647 h 285"/>
                <a:gd name="T50" fmla="*/ 0 w 190"/>
                <a:gd name="T51" fmla="*/ 2147483647 h 285"/>
                <a:gd name="T52" fmla="*/ 0 w 190"/>
                <a:gd name="T53" fmla="*/ 2147483647 h 285"/>
                <a:gd name="T54" fmla="*/ 0 w 190"/>
                <a:gd name="T55" fmla="*/ 2147483647 h 285"/>
                <a:gd name="T56" fmla="*/ 0 w 190"/>
                <a:gd name="T57" fmla="*/ 2147483647 h 285"/>
                <a:gd name="T58" fmla="*/ 0 w 190"/>
                <a:gd name="T59" fmla="*/ 2147483647 h 285"/>
                <a:gd name="T60" fmla="*/ 0 w 190"/>
                <a:gd name="T61" fmla="*/ 2147483647 h 285"/>
                <a:gd name="T62" fmla="*/ 0 w 190"/>
                <a:gd name="T63" fmla="*/ 2147483647 h 285"/>
                <a:gd name="T64" fmla="*/ 0 w 190"/>
                <a:gd name="T65" fmla="*/ 2147483647 h 285"/>
                <a:gd name="T66" fmla="*/ 0 w 190"/>
                <a:gd name="T67" fmla="*/ 2147483647 h 285"/>
                <a:gd name="T68" fmla="*/ 0 w 190"/>
                <a:gd name="T69" fmla="*/ 2147483647 h 285"/>
                <a:gd name="T70" fmla="*/ 0 w 190"/>
                <a:gd name="T71" fmla="*/ 2147483647 h 285"/>
                <a:gd name="T72" fmla="*/ 0 w 190"/>
                <a:gd name="T73" fmla="*/ 2147483647 h 285"/>
                <a:gd name="T74" fmla="*/ 0 w 190"/>
                <a:gd name="T75" fmla="*/ 2147483647 h 285"/>
                <a:gd name="T76" fmla="*/ 0 w 190"/>
                <a:gd name="T77" fmla="*/ 2147483647 h 285"/>
                <a:gd name="T78" fmla="*/ 0 w 190"/>
                <a:gd name="T79" fmla="*/ 2147483647 h 285"/>
                <a:gd name="T80" fmla="*/ 0 w 190"/>
                <a:gd name="T81" fmla="*/ 2147483647 h 285"/>
                <a:gd name="T82" fmla="*/ 0 w 190"/>
                <a:gd name="T83" fmla="*/ 2147483647 h 285"/>
                <a:gd name="T84" fmla="*/ 0 w 190"/>
                <a:gd name="T85" fmla="*/ 2147483647 h 285"/>
                <a:gd name="T86" fmla="*/ 0 w 190"/>
                <a:gd name="T87" fmla="*/ 0 h 285"/>
                <a:gd name="T88" fmla="*/ 0 w 190"/>
                <a:gd name="T89" fmla="*/ 0 h 285"/>
                <a:gd name="T90" fmla="*/ 0 w 190"/>
                <a:gd name="T91" fmla="*/ 0 h 285"/>
                <a:gd name="T92" fmla="*/ 0 w 190"/>
                <a:gd name="T93" fmla="*/ 0 h 285"/>
                <a:gd name="T94" fmla="*/ 2147483647 w 190"/>
                <a:gd name="T95" fmla="*/ 0 h 285"/>
                <a:gd name="T96" fmla="*/ 2147483647 w 190"/>
                <a:gd name="T97" fmla="*/ 0 h 28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90"/>
                <a:gd name="T148" fmla="*/ 0 h 285"/>
                <a:gd name="T149" fmla="*/ 190 w 190"/>
                <a:gd name="T150" fmla="*/ 285 h 28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90" h="285">
                  <a:moveTo>
                    <a:pt x="125" y="0"/>
                  </a:moveTo>
                  <a:lnTo>
                    <a:pt x="130" y="5"/>
                  </a:lnTo>
                  <a:lnTo>
                    <a:pt x="146" y="36"/>
                  </a:lnTo>
                  <a:lnTo>
                    <a:pt x="156" y="46"/>
                  </a:lnTo>
                  <a:lnTo>
                    <a:pt x="165" y="58"/>
                  </a:lnTo>
                  <a:lnTo>
                    <a:pt x="173" y="73"/>
                  </a:lnTo>
                  <a:lnTo>
                    <a:pt x="180" y="91"/>
                  </a:lnTo>
                  <a:lnTo>
                    <a:pt x="184" y="113"/>
                  </a:lnTo>
                  <a:lnTo>
                    <a:pt x="183" y="150"/>
                  </a:lnTo>
                  <a:lnTo>
                    <a:pt x="184" y="170"/>
                  </a:lnTo>
                  <a:lnTo>
                    <a:pt x="190" y="171"/>
                  </a:lnTo>
                  <a:lnTo>
                    <a:pt x="181" y="201"/>
                  </a:lnTo>
                  <a:lnTo>
                    <a:pt x="174" y="217"/>
                  </a:lnTo>
                  <a:lnTo>
                    <a:pt x="163" y="228"/>
                  </a:lnTo>
                  <a:lnTo>
                    <a:pt x="154" y="230"/>
                  </a:lnTo>
                  <a:lnTo>
                    <a:pt x="142" y="233"/>
                  </a:lnTo>
                  <a:lnTo>
                    <a:pt x="135" y="230"/>
                  </a:lnTo>
                  <a:lnTo>
                    <a:pt x="131" y="235"/>
                  </a:lnTo>
                  <a:lnTo>
                    <a:pt x="127" y="242"/>
                  </a:lnTo>
                  <a:lnTo>
                    <a:pt x="120" y="252"/>
                  </a:lnTo>
                  <a:lnTo>
                    <a:pt x="116" y="245"/>
                  </a:lnTo>
                  <a:lnTo>
                    <a:pt x="111" y="245"/>
                  </a:lnTo>
                  <a:lnTo>
                    <a:pt x="101" y="240"/>
                  </a:lnTo>
                  <a:lnTo>
                    <a:pt x="95" y="241"/>
                  </a:lnTo>
                  <a:lnTo>
                    <a:pt x="83" y="246"/>
                  </a:lnTo>
                  <a:lnTo>
                    <a:pt x="88" y="252"/>
                  </a:lnTo>
                  <a:lnTo>
                    <a:pt x="86" y="260"/>
                  </a:lnTo>
                  <a:lnTo>
                    <a:pt x="79" y="263"/>
                  </a:lnTo>
                  <a:lnTo>
                    <a:pt x="76" y="256"/>
                  </a:lnTo>
                  <a:lnTo>
                    <a:pt x="72" y="252"/>
                  </a:lnTo>
                  <a:lnTo>
                    <a:pt x="71" y="268"/>
                  </a:lnTo>
                  <a:lnTo>
                    <a:pt x="66" y="272"/>
                  </a:lnTo>
                  <a:lnTo>
                    <a:pt x="61" y="273"/>
                  </a:lnTo>
                  <a:lnTo>
                    <a:pt x="57" y="269"/>
                  </a:lnTo>
                  <a:lnTo>
                    <a:pt x="65" y="263"/>
                  </a:lnTo>
                  <a:lnTo>
                    <a:pt x="66" y="257"/>
                  </a:lnTo>
                  <a:lnTo>
                    <a:pt x="60" y="260"/>
                  </a:lnTo>
                  <a:lnTo>
                    <a:pt x="51" y="264"/>
                  </a:lnTo>
                  <a:lnTo>
                    <a:pt x="41" y="276"/>
                  </a:lnTo>
                  <a:lnTo>
                    <a:pt x="38" y="276"/>
                  </a:lnTo>
                  <a:lnTo>
                    <a:pt x="35" y="269"/>
                  </a:lnTo>
                  <a:lnTo>
                    <a:pt x="31" y="274"/>
                  </a:lnTo>
                  <a:lnTo>
                    <a:pt x="22" y="283"/>
                  </a:lnTo>
                  <a:lnTo>
                    <a:pt x="20" y="274"/>
                  </a:lnTo>
                  <a:lnTo>
                    <a:pt x="12" y="277"/>
                  </a:lnTo>
                  <a:lnTo>
                    <a:pt x="8" y="285"/>
                  </a:lnTo>
                  <a:lnTo>
                    <a:pt x="4" y="282"/>
                  </a:lnTo>
                  <a:lnTo>
                    <a:pt x="9" y="273"/>
                  </a:lnTo>
                  <a:lnTo>
                    <a:pt x="11" y="263"/>
                  </a:lnTo>
                  <a:lnTo>
                    <a:pt x="22" y="267"/>
                  </a:lnTo>
                  <a:lnTo>
                    <a:pt x="20" y="261"/>
                  </a:lnTo>
                  <a:lnTo>
                    <a:pt x="24" y="253"/>
                  </a:lnTo>
                  <a:lnTo>
                    <a:pt x="19" y="250"/>
                  </a:lnTo>
                  <a:lnTo>
                    <a:pt x="13" y="256"/>
                  </a:lnTo>
                  <a:lnTo>
                    <a:pt x="11" y="247"/>
                  </a:lnTo>
                  <a:lnTo>
                    <a:pt x="15" y="235"/>
                  </a:lnTo>
                  <a:lnTo>
                    <a:pt x="15" y="225"/>
                  </a:lnTo>
                  <a:lnTo>
                    <a:pt x="20" y="212"/>
                  </a:lnTo>
                  <a:lnTo>
                    <a:pt x="27" y="203"/>
                  </a:lnTo>
                  <a:lnTo>
                    <a:pt x="23" y="199"/>
                  </a:lnTo>
                  <a:lnTo>
                    <a:pt x="31" y="193"/>
                  </a:lnTo>
                  <a:lnTo>
                    <a:pt x="34" y="186"/>
                  </a:lnTo>
                  <a:lnTo>
                    <a:pt x="30" y="180"/>
                  </a:lnTo>
                  <a:lnTo>
                    <a:pt x="30" y="174"/>
                  </a:lnTo>
                  <a:lnTo>
                    <a:pt x="24" y="167"/>
                  </a:lnTo>
                  <a:lnTo>
                    <a:pt x="23" y="155"/>
                  </a:lnTo>
                  <a:lnTo>
                    <a:pt x="20" y="143"/>
                  </a:lnTo>
                  <a:lnTo>
                    <a:pt x="19" y="129"/>
                  </a:lnTo>
                  <a:lnTo>
                    <a:pt x="13" y="127"/>
                  </a:lnTo>
                  <a:lnTo>
                    <a:pt x="15" y="139"/>
                  </a:lnTo>
                  <a:lnTo>
                    <a:pt x="11" y="14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1" y="123"/>
                  </a:lnTo>
                  <a:lnTo>
                    <a:pt x="8" y="115"/>
                  </a:lnTo>
                  <a:lnTo>
                    <a:pt x="17" y="115"/>
                  </a:lnTo>
                  <a:lnTo>
                    <a:pt x="29" y="110"/>
                  </a:lnTo>
                  <a:lnTo>
                    <a:pt x="39" y="117"/>
                  </a:lnTo>
                  <a:lnTo>
                    <a:pt x="43" y="118"/>
                  </a:lnTo>
                  <a:lnTo>
                    <a:pt x="38" y="108"/>
                  </a:lnTo>
                  <a:lnTo>
                    <a:pt x="38" y="100"/>
                  </a:lnTo>
                  <a:lnTo>
                    <a:pt x="34" y="95"/>
                  </a:lnTo>
                  <a:lnTo>
                    <a:pt x="35" y="89"/>
                  </a:lnTo>
                  <a:lnTo>
                    <a:pt x="38" y="86"/>
                  </a:lnTo>
                  <a:lnTo>
                    <a:pt x="31" y="81"/>
                  </a:lnTo>
                  <a:lnTo>
                    <a:pt x="29" y="83"/>
                  </a:lnTo>
                  <a:lnTo>
                    <a:pt x="25" y="77"/>
                  </a:lnTo>
                  <a:lnTo>
                    <a:pt x="24" y="72"/>
                  </a:lnTo>
                  <a:lnTo>
                    <a:pt x="28" y="72"/>
                  </a:lnTo>
                  <a:lnTo>
                    <a:pt x="22" y="64"/>
                  </a:lnTo>
                  <a:lnTo>
                    <a:pt x="19" y="58"/>
                  </a:lnTo>
                  <a:lnTo>
                    <a:pt x="19" y="53"/>
                  </a:lnTo>
                  <a:lnTo>
                    <a:pt x="23" y="56"/>
                  </a:lnTo>
                  <a:lnTo>
                    <a:pt x="36" y="45"/>
                  </a:lnTo>
                  <a:lnTo>
                    <a:pt x="58" y="22"/>
                  </a:lnTo>
                  <a:lnTo>
                    <a:pt x="76" y="21"/>
                  </a:lnTo>
                  <a:lnTo>
                    <a:pt x="93" y="22"/>
                  </a:lnTo>
                  <a:lnTo>
                    <a:pt x="108" y="16"/>
                  </a:lnTo>
                  <a:lnTo>
                    <a:pt x="125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13" name="Freeform 112">
              <a:extLst>
                <a:ext uri="{FF2B5EF4-FFF2-40B4-BE49-F238E27FC236}">
                  <a16:creationId xmlns:a16="http://schemas.microsoft.com/office/drawing/2014/main" id="{AEB68A84-385B-0B2D-7B2D-08FBAE6DB46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341493" y="2438773"/>
              <a:ext cx="925252" cy="481653"/>
            </a:xfrm>
            <a:custGeom>
              <a:avLst/>
              <a:gdLst>
                <a:gd name="T0" fmla="*/ 0 w 1734"/>
                <a:gd name="T1" fmla="*/ 2147483647 h 848"/>
                <a:gd name="T2" fmla="*/ 2147483647 w 1734"/>
                <a:gd name="T3" fmla="*/ 2147483647 h 848"/>
                <a:gd name="T4" fmla="*/ 2147483647 w 1734"/>
                <a:gd name="T5" fmla="*/ 2147483647 h 848"/>
                <a:gd name="T6" fmla="*/ 2147483647 w 1734"/>
                <a:gd name="T7" fmla="*/ 2147483647 h 848"/>
                <a:gd name="T8" fmla="*/ 2147483647 w 1734"/>
                <a:gd name="T9" fmla="*/ 2147483647 h 848"/>
                <a:gd name="T10" fmla="*/ 2147483647 w 1734"/>
                <a:gd name="T11" fmla="*/ 2147483647 h 848"/>
                <a:gd name="T12" fmla="*/ 2147483647 w 1734"/>
                <a:gd name="T13" fmla="*/ 2147483647 h 848"/>
                <a:gd name="T14" fmla="*/ 2147483647 w 1734"/>
                <a:gd name="T15" fmla="*/ 2147483647 h 848"/>
                <a:gd name="T16" fmla="*/ 2147483647 w 1734"/>
                <a:gd name="T17" fmla="*/ 0 h 848"/>
                <a:gd name="T18" fmla="*/ 2147483647 w 1734"/>
                <a:gd name="T19" fmla="*/ 0 h 848"/>
                <a:gd name="T20" fmla="*/ 2147483647 w 1734"/>
                <a:gd name="T21" fmla="*/ 0 h 848"/>
                <a:gd name="T22" fmla="*/ 2147483647 w 1734"/>
                <a:gd name="T23" fmla="*/ 2147483647 h 848"/>
                <a:gd name="T24" fmla="*/ 2147483647 w 1734"/>
                <a:gd name="T25" fmla="*/ 2147483647 h 848"/>
                <a:gd name="T26" fmla="*/ 2147483647 w 1734"/>
                <a:gd name="T27" fmla="*/ 2147483647 h 848"/>
                <a:gd name="T28" fmla="*/ 2147483647 w 1734"/>
                <a:gd name="T29" fmla="*/ 2147483647 h 848"/>
                <a:gd name="T30" fmla="*/ 2147483647 w 1734"/>
                <a:gd name="T31" fmla="*/ 2147483647 h 848"/>
                <a:gd name="T32" fmla="*/ 2147483647 w 1734"/>
                <a:gd name="T33" fmla="*/ 2147483647 h 848"/>
                <a:gd name="T34" fmla="*/ 2147483647 w 1734"/>
                <a:gd name="T35" fmla="*/ 2147483647 h 848"/>
                <a:gd name="T36" fmla="*/ 2147483647 w 1734"/>
                <a:gd name="T37" fmla="*/ 2147483647 h 848"/>
                <a:gd name="T38" fmla="*/ 2147483647 w 1734"/>
                <a:gd name="T39" fmla="*/ 2147483647 h 848"/>
                <a:gd name="T40" fmla="*/ 2147483647 w 1734"/>
                <a:gd name="T41" fmla="*/ 2147483647 h 848"/>
                <a:gd name="T42" fmla="*/ 2147483647 w 1734"/>
                <a:gd name="T43" fmla="*/ 2147483647 h 848"/>
                <a:gd name="T44" fmla="*/ 2147483647 w 1734"/>
                <a:gd name="T45" fmla="*/ 2147483647 h 848"/>
                <a:gd name="T46" fmla="*/ 2147483647 w 1734"/>
                <a:gd name="T47" fmla="*/ 2147483647 h 848"/>
                <a:gd name="T48" fmla="*/ 2147483647 w 1734"/>
                <a:gd name="T49" fmla="*/ 2147483647 h 848"/>
                <a:gd name="T50" fmla="*/ 2147483647 w 1734"/>
                <a:gd name="T51" fmla="*/ 2147483647 h 848"/>
                <a:gd name="T52" fmla="*/ 2147483647 w 1734"/>
                <a:gd name="T53" fmla="*/ 2147483647 h 848"/>
                <a:gd name="T54" fmla="*/ 2147483647 w 1734"/>
                <a:gd name="T55" fmla="*/ 2147483647 h 848"/>
                <a:gd name="T56" fmla="*/ 2147483647 w 1734"/>
                <a:gd name="T57" fmla="*/ 2147483647 h 848"/>
                <a:gd name="T58" fmla="*/ 2147483647 w 1734"/>
                <a:gd name="T59" fmla="*/ 2147483647 h 848"/>
                <a:gd name="T60" fmla="*/ 2147483647 w 1734"/>
                <a:gd name="T61" fmla="*/ 2147483647 h 848"/>
                <a:gd name="T62" fmla="*/ 2147483647 w 1734"/>
                <a:gd name="T63" fmla="*/ 2147483647 h 848"/>
                <a:gd name="T64" fmla="*/ 2147483647 w 1734"/>
                <a:gd name="T65" fmla="*/ 2147483647 h 848"/>
                <a:gd name="T66" fmla="*/ 2147483647 w 1734"/>
                <a:gd name="T67" fmla="*/ 2147483647 h 848"/>
                <a:gd name="T68" fmla="*/ 2147483647 w 1734"/>
                <a:gd name="T69" fmla="*/ 2147483647 h 848"/>
                <a:gd name="T70" fmla="*/ 2147483647 w 1734"/>
                <a:gd name="T71" fmla="*/ 2147483647 h 848"/>
                <a:gd name="T72" fmla="*/ 2147483647 w 1734"/>
                <a:gd name="T73" fmla="*/ 2147483647 h 848"/>
                <a:gd name="T74" fmla="*/ 2147483647 w 1734"/>
                <a:gd name="T75" fmla="*/ 2147483647 h 848"/>
                <a:gd name="T76" fmla="*/ 2147483647 w 1734"/>
                <a:gd name="T77" fmla="*/ 2147483647 h 848"/>
                <a:gd name="T78" fmla="*/ 2147483647 w 1734"/>
                <a:gd name="T79" fmla="*/ 2147483647 h 848"/>
                <a:gd name="T80" fmla="*/ 2147483647 w 1734"/>
                <a:gd name="T81" fmla="*/ 2147483647 h 848"/>
                <a:gd name="T82" fmla="*/ 2147483647 w 1734"/>
                <a:gd name="T83" fmla="*/ 2147483647 h 848"/>
                <a:gd name="T84" fmla="*/ 2147483647 w 1734"/>
                <a:gd name="T85" fmla="*/ 2147483647 h 848"/>
                <a:gd name="T86" fmla="*/ 2147483647 w 1734"/>
                <a:gd name="T87" fmla="*/ 2147483647 h 848"/>
                <a:gd name="T88" fmla="*/ 2147483647 w 1734"/>
                <a:gd name="T89" fmla="*/ 2147483647 h 848"/>
                <a:gd name="T90" fmla="*/ 2147483647 w 1734"/>
                <a:gd name="T91" fmla="*/ 2147483647 h 848"/>
                <a:gd name="T92" fmla="*/ 2147483647 w 1734"/>
                <a:gd name="T93" fmla="*/ 2147483647 h 848"/>
                <a:gd name="T94" fmla="*/ 2147483647 w 1734"/>
                <a:gd name="T95" fmla="*/ 2147483647 h 848"/>
                <a:gd name="T96" fmla="*/ 2147483647 w 1734"/>
                <a:gd name="T97" fmla="*/ 2147483647 h 848"/>
                <a:gd name="T98" fmla="*/ 2147483647 w 1734"/>
                <a:gd name="T99" fmla="*/ 2147483647 h 848"/>
                <a:gd name="T100" fmla="*/ 2147483647 w 1734"/>
                <a:gd name="T101" fmla="*/ 2147483647 h 848"/>
                <a:gd name="T102" fmla="*/ 0 w 1734"/>
                <a:gd name="T103" fmla="*/ 2147483647 h 84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734"/>
                <a:gd name="T157" fmla="*/ 0 h 848"/>
                <a:gd name="T158" fmla="*/ 1734 w 1734"/>
                <a:gd name="T159" fmla="*/ 848 h 84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734" h="848">
                  <a:moveTo>
                    <a:pt x="0" y="273"/>
                  </a:moveTo>
                  <a:lnTo>
                    <a:pt x="12" y="251"/>
                  </a:lnTo>
                  <a:lnTo>
                    <a:pt x="28" y="234"/>
                  </a:lnTo>
                  <a:lnTo>
                    <a:pt x="46" y="227"/>
                  </a:lnTo>
                  <a:lnTo>
                    <a:pt x="65" y="221"/>
                  </a:lnTo>
                  <a:lnTo>
                    <a:pt x="84" y="208"/>
                  </a:lnTo>
                  <a:lnTo>
                    <a:pt x="104" y="192"/>
                  </a:lnTo>
                  <a:lnTo>
                    <a:pt x="129" y="180"/>
                  </a:lnTo>
                  <a:lnTo>
                    <a:pt x="154" y="158"/>
                  </a:lnTo>
                  <a:lnTo>
                    <a:pt x="195" y="146"/>
                  </a:lnTo>
                  <a:lnTo>
                    <a:pt x="220" y="135"/>
                  </a:lnTo>
                  <a:lnTo>
                    <a:pt x="243" y="132"/>
                  </a:lnTo>
                  <a:lnTo>
                    <a:pt x="265" y="136"/>
                  </a:lnTo>
                  <a:lnTo>
                    <a:pt x="281" y="142"/>
                  </a:lnTo>
                  <a:lnTo>
                    <a:pt x="294" y="153"/>
                  </a:lnTo>
                  <a:lnTo>
                    <a:pt x="313" y="149"/>
                  </a:lnTo>
                  <a:lnTo>
                    <a:pt x="334" y="148"/>
                  </a:lnTo>
                  <a:lnTo>
                    <a:pt x="351" y="151"/>
                  </a:lnTo>
                  <a:lnTo>
                    <a:pt x="382" y="180"/>
                  </a:lnTo>
                  <a:lnTo>
                    <a:pt x="387" y="187"/>
                  </a:lnTo>
                  <a:lnTo>
                    <a:pt x="404" y="190"/>
                  </a:lnTo>
                  <a:lnTo>
                    <a:pt x="451" y="183"/>
                  </a:lnTo>
                  <a:lnTo>
                    <a:pt x="464" y="189"/>
                  </a:lnTo>
                  <a:lnTo>
                    <a:pt x="508" y="190"/>
                  </a:lnTo>
                  <a:lnTo>
                    <a:pt x="546" y="185"/>
                  </a:lnTo>
                  <a:lnTo>
                    <a:pt x="556" y="180"/>
                  </a:lnTo>
                  <a:lnTo>
                    <a:pt x="556" y="172"/>
                  </a:lnTo>
                  <a:lnTo>
                    <a:pt x="552" y="160"/>
                  </a:lnTo>
                  <a:lnTo>
                    <a:pt x="555" y="146"/>
                  </a:lnTo>
                  <a:lnTo>
                    <a:pt x="565" y="130"/>
                  </a:lnTo>
                  <a:lnTo>
                    <a:pt x="565" y="114"/>
                  </a:lnTo>
                  <a:lnTo>
                    <a:pt x="554" y="99"/>
                  </a:lnTo>
                  <a:lnTo>
                    <a:pt x="550" y="81"/>
                  </a:lnTo>
                  <a:lnTo>
                    <a:pt x="552" y="63"/>
                  </a:lnTo>
                  <a:lnTo>
                    <a:pt x="568" y="49"/>
                  </a:lnTo>
                  <a:lnTo>
                    <a:pt x="582" y="33"/>
                  </a:lnTo>
                  <a:lnTo>
                    <a:pt x="600" y="18"/>
                  </a:lnTo>
                  <a:lnTo>
                    <a:pt x="611" y="1"/>
                  </a:lnTo>
                  <a:lnTo>
                    <a:pt x="625" y="0"/>
                  </a:lnTo>
                  <a:lnTo>
                    <a:pt x="645" y="6"/>
                  </a:lnTo>
                  <a:lnTo>
                    <a:pt x="659" y="17"/>
                  </a:lnTo>
                  <a:lnTo>
                    <a:pt x="696" y="27"/>
                  </a:lnTo>
                  <a:lnTo>
                    <a:pt x="707" y="41"/>
                  </a:lnTo>
                  <a:lnTo>
                    <a:pt x="731" y="47"/>
                  </a:lnTo>
                  <a:lnTo>
                    <a:pt x="755" y="50"/>
                  </a:lnTo>
                  <a:lnTo>
                    <a:pt x="772" y="57"/>
                  </a:lnTo>
                  <a:lnTo>
                    <a:pt x="782" y="73"/>
                  </a:lnTo>
                  <a:lnTo>
                    <a:pt x="787" y="103"/>
                  </a:lnTo>
                  <a:lnTo>
                    <a:pt x="787" y="124"/>
                  </a:lnTo>
                  <a:lnTo>
                    <a:pt x="792" y="124"/>
                  </a:lnTo>
                  <a:lnTo>
                    <a:pt x="807" y="138"/>
                  </a:lnTo>
                  <a:lnTo>
                    <a:pt x="830" y="154"/>
                  </a:lnTo>
                  <a:lnTo>
                    <a:pt x="864" y="165"/>
                  </a:lnTo>
                  <a:lnTo>
                    <a:pt x="892" y="159"/>
                  </a:lnTo>
                  <a:lnTo>
                    <a:pt x="919" y="144"/>
                  </a:lnTo>
                  <a:lnTo>
                    <a:pt x="944" y="132"/>
                  </a:lnTo>
                  <a:lnTo>
                    <a:pt x="975" y="140"/>
                  </a:lnTo>
                  <a:lnTo>
                    <a:pt x="1023" y="157"/>
                  </a:lnTo>
                  <a:lnTo>
                    <a:pt x="1033" y="169"/>
                  </a:lnTo>
                  <a:lnTo>
                    <a:pt x="1034" y="169"/>
                  </a:lnTo>
                  <a:lnTo>
                    <a:pt x="1040" y="174"/>
                  </a:lnTo>
                  <a:lnTo>
                    <a:pt x="1062" y="186"/>
                  </a:lnTo>
                  <a:lnTo>
                    <a:pt x="1083" y="192"/>
                  </a:lnTo>
                  <a:lnTo>
                    <a:pt x="1104" y="201"/>
                  </a:lnTo>
                  <a:lnTo>
                    <a:pt x="1118" y="221"/>
                  </a:lnTo>
                  <a:lnTo>
                    <a:pt x="1145" y="237"/>
                  </a:lnTo>
                  <a:lnTo>
                    <a:pt x="1177" y="242"/>
                  </a:lnTo>
                  <a:lnTo>
                    <a:pt x="1200" y="249"/>
                  </a:lnTo>
                  <a:lnTo>
                    <a:pt x="1218" y="250"/>
                  </a:lnTo>
                  <a:lnTo>
                    <a:pt x="1243" y="248"/>
                  </a:lnTo>
                  <a:lnTo>
                    <a:pt x="1261" y="256"/>
                  </a:lnTo>
                  <a:lnTo>
                    <a:pt x="1317" y="237"/>
                  </a:lnTo>
                  <a:lnTo>
                    <a:pt x="1351" y="229"/>
                  </a:lnTo>
                  <a:lnTo>
                    <a:pt x="1378" y="224"/>
                  </a:lnTo>
                  <a:lnTo>
                    <a:pt x="1415" y="195"/>
                  </a:lnTo>
                  <a:lnTo>
                    <a:pt x="1439" y="179"/>
                  </a:lnTo>
                  <a:lnTo>
                    <a:pt x="1464" y="170"/>
                  </a:lnTo>
                  <a:lnTo>
                    <a:pt x="1489" y="180"/>
                  </a:lnTo>
                  <a:lnTo>
                    <a:pt x="1507" y="195"/>
                  </a:lnTo>
                  <a:lnTo>
                    <a:pt x="1528" y="199"/>
                  </a:lnTo>
                  <a:lnTo>
                    <a:pt x="1545" y="195"/>
                  </a:lnTo>
                  <a:lnTo>
                    <a:pt x="1559" y="187"/>
                  </a:lnTo>
                  <a:lnTo>
                    <a:pt x="1565" y="190"/>
                  </a:lnTo>
                  <a:lnTo>
                    <a:pt x="1565" y="195"/>
                  </a:lnTo>
                  <a:lnTo>
                    <a:pt x="1556" y="203"/>
                  </a:lnTo>
                  <a:lnTo>
                    <a:pt x="1540" y="232"/>
                  </a:lnTo>
                  <a:lnTo>
                    <a:pt x="1529" y="246"/>
                  </a:lnTo>
                  <a:lnTo>
                    <a:pt x="1525" y="255"/>
                  </a:lnTo>
                  <a:lnTo>
                    <a:pt x="1525" y="271"/>
                  </a:lnTo>
                  <a:lnTo>
                    <a:pt x="1528" y="288"/>
                  </a:lnTo>
                  <a:lnTo>
                    <a:pt x="1525" y="308"/>
                  </a:lnTo>
                  <a:lnTo>
                    <a:pt x="1517" y="325"/>
                  </a:lnTo>
                  <a:lnTo>
                    <a:pt x="1517" y="347"/>
                  </a:lnTo>
                  <a:lnTo>
                    <a:pt x="1520" y="367"/>
                  </a:lnTo>
                  <a:lnTo>
                    <a:pt x="1529" y="382"/>
                  </a:lnTo>
                  <a:lnTo>
                    <a:pt x="1570" y="391"/>
                  </a:lnTo>
                  <a:lnTo>
                    <a:pt x="1595" y="389"/>
                  </a:lnTo>
                  <a:lnTo>
                    <a:pt x="1620" y="382"/>
                  </a:lnTo>
                  <a:lnTo>
                    <a:pt x="1638" y="369"/>
                  </a:lnTo>
                  <a:lnTo>
                    <a:pt x="1667" y="348"/>
                  </a:lnTo>
                  <a:lnTo>
                    <a:pt x="1673" y="362"/>
                  </a:lnTo>
                  <a:lnTo>
                    <a:pt x="1686" y="377"/>
                  </a:lnTo>
                  <a:lnTo>
                    <a:pt x="1715" y="401"/>
                  </a:lnTo>
                  <a:lnTo>
                    <a:pt x="1721" y="415"/>
                  </a:lnTo>
                  <a:lnTo>
                    <a:pt x="1719" y="428"/>
                  </a:lnTo>
                  <a:lnTo>
                    <a:pt x="1719" y="437"/>
                  </a:lnTo>
                  <a:lnTo>
                    <a:pt x="1733" y="445"/>
                  </a:lnTo>
                  <a:lnTo>
                    <a:pt x="1734" y="458"/>
                  </a:lnTo>
                  <a:lnTo>
                    <a:pt x="1724" y="464"/>
                  </a:lnTo>
                  <a:lnTo>
                    <a:pt x="1707" y="461"/>
                  </a:lnTo>
                  <a:lnTo>
                    <a:pt x="1688" y="456"/>
                  </a:lnTo>
                  <a:lnTo>
                    <a:pt x="1663" y="461"/>
                  </a:lnTo>
                  <a:lnTo>
                    <a:pt x="1638" y="465"/>
                  </a:lnTo>
                  <a:lnTo>
                    <a:pt x="1613" y="464"/>
                  </a:lnTo>
                  <a:lnTo>
                    <a:pt x="1592" y="468"/>
                  </a:lnTo>
                  <a:lnTo>
                    <a:pt x="1576" y="482"/>
                  </a:lnTo>
                  <a:lnTo>
                    <a:pt x="1525" y="538"/>
                  </a:lnTo>
                  <a:lnTo>
                    <a:pt x="1507" y="550"/>
                  </a:lnTo>
                  <a:lnTo>
                    <a:pt x="1500" y="552"/>
                  </a:lnTo>
                  <a:lnTo>
                    <a:pt x="1489" y="551"/>
                  </a:lnTo>
                  <a:lnTo>
                    <a:pt x="1477" y="551"/>
                  </a:lnTo>
                  <a:lnTo>
                    <a:pt x="1457" y="573"/>
                  </a:lnTo>
                  <a:lnTo>
                    <a:pt x="1438" y="594"/>
                  </a:lnTo>
                  <a:lnTo>
                    <a:pt x="1411" y="611"/>
                  </a:lnTo>
                  <a:lnTo>
                    <a:pt x="1393" y="611"/>
                  </a:lnTo>
                  <a:lnTo>
                    <a:pt x="1372" y="606"/>
                  </a:lnTo>
                  <a:lnTo>
                    <a:pt x="1360" y="593"/>
                  </a:lnTo>
                  <a:lnTo>
                    <a:pt x="1344" y="588"/>
                  </a:lnTo>
                  <a:lnTo>
                    <a:pt x="1323" y="594"/>
                  </a:lnTo>
                  <a:lnTo>
                    <a:pt x="1314" y="611"/>
                  </a:lnTo>
                  <a:lnTo>
                    <a:pt x="1301" y="631"/>
                  </a:lnTo>
                  <a:lnTo>
                    <a:pt x="1298" y="646"/>
                  </a:lnTo>
                  <a:lnTo>
                    <a:pt x="1320" y="675"/>
                  </a:lnTo>
                  <a:lnTo>
                    <a:pt x="1323" y="689"/>
                  </a:lnTo>
                  <a:lnTo>
                    <a:pt x="1265" y="738"/>
                  </a:lnTo>
                  <a:lnTo>
                    <a:pt x="1255" y="752"/>
                  </a:lnTo>
                  <a:lnTo>
                    <a:pt x="1235" y="767"/>
                  </a:lnTo>
                  <a:lnTo>
                    <a:pt x="1221" y="776"/>
                  </a:lnTo>
                  <a:lnTo>
                    <a:pt x="1191" y="787"/>
                  </a:lnTo>
                  <a:lnTo>
                    <a:pt x="1163" y="789"/>
                  </a:lnTo>
                  <a:lnTo>
                    <a:pt x="1158" y="792"/>
                  </a:lnTo>
                  <a:lnTo>
                    <a:pt x="1130" y="783"/>
                  </a:lnTo>
                  <a:lnTo>
                    <a:pt x="1114" y="789"/>
                  </a:lnTo>
                  <a:lnTo>
                    <a:pt x="1088" y="788"/>
                  </a:lnTo>
                  <a:lnTo>
                    <a:pt x="1070" y="795"/>
                  </a:lnTo>
                  <a:lnTo>
                    <a:pt x="1033" y="802"/>
                  </a:lnTo>
                  <a:lnTo>
                    <a:pt x="1022" y="805"/>
                  </a:lnTo>
                  <a:lnTo>
                    <a:pt x="1014" y="815"/>
                  </a:lnTo>
                  <a:lnTo>
                    <a:pt x="1003" y="819"/>
                  </a:lnTo>
                  <a:lnTo>
                    <a:pt x="990" y="821"/>
                  </a:lnTo>
                  <a:lnTo>
                    <a:pt x="960" y="832"/>
                  </a:lnTo>
                  <a:lnTo>
                    <a:pt x="942" y="847"/>
                  </a:lnTo>
                  <a:lnTo>
                    <a:pt x="932" y="848"/>
                  </a:lnTo>
                  <a:lnTo>
                    <a:pt x="920" y="845"/>
                  </a:lnTo>
                  <a:lnTo>
                    <a:pt x="909" y="836"/>
                  </a:lnTo>
                  <a:lnTo>
                    <a:pt x="903" y="834"/>
                  </a:lnTo>
                  <a:lnTo>
                    <a:pt x="874" y="832"/>
                  </a:lnTo>
                  <a:lnTo>
                    <a:pt x="852" y="825"/>
                  </a:lnTo>
                  <a:lnTo>
                    <a:pt x="834" y="815"/>
                  </a:lnTo>
                  <a:lnTo>
                    <a:pt x="801" y="805"/>
                  </a:lnTo>
                  <a:lnTo>
                    <a:pt x="778" y="795"/>
                  </a:lnTo>
                  <a:lnTo>
                    <a:pt x="763" y="782"/>
                  </a:lnTo>
                  <a:lnTo>
                    <a:pt x="754" y="771"/>
                  </a:lnTo>
                  <a:lnTo>
                    <a:pt x="744" y="767"/>
                  </a:lnTo>
                  <a:lnTo>
                    <a:pt x="710" y="756"/>
                  </a:lnTo>
                  <a:lnTo>
                    <a:pt x="693" y="754"/>
                  </a:lnTo>
                  <a:lnTo>
                    <a:pt x="675" y="756"/>
                  </a:lnTo>
                  <a:lnTo>
                    <a:pt x="527" y="766"/>
                  </a:lnTo>
                  <a:lnTo>
                    <a:pt x="506" y="766"/>
                  </a:lnTo>
                  <a:lnTo>
                    <a:pt x="492" y="760"/>
                  </a:lnTo>
                  <a:lnTo>
                    <a:pt x="476" y="746"/>
                  </a:lnTo>
                  <a:lnTo>
                    <a:pt x="463" y="730"/>
                  </a:lnTo>
                  <a:lnTo>
                    <a:pt x="451" y="716"/>
                  </a:lnTo>
                  <a:lnTo>
                    <a:pt x="439" y="696"/>
                  </a:lnTo>
                  <a:lnTo>
                    <a:pt x="432" y="676"/>
                  </a:lnTo>
                  <a:lnTo>
                    <a:pt x="421" y="659"/>
                  </a:lnTo>
                  <a:lnTo>
                    <a:pt x="410" y="644"/>
                  </a:lnTo>
                  <a:lnTo>
                    <a:pt x="398" y="643"/>
                  </a:lnTo>
                  <a:lnTo>
                    <a:pt x="385" y="633"/>
                  </a:lnTo>
                  <a:lnTo>
                    <a:pt x="353" y="625"/>
                  </a:lnTo>
                  <a:lnTo>
                    <a:pt x="337" y="616"/>
                  </a:lnTo>
                  <a:lnTo>
                    <a:pt x="322" y="606"/>
                  </a:lnTo>
                  <a:lnTo>
                    <a:pt x="292" y="596"/>
                  </a:lnTo>
                  <a:lnTo>
                    <a:pt x="280" y="590"/>
                  </a:lnTo>
                  <a:lnTo>
                    <a:pt x="267" y="590"/>
                  </a:lnTo>
                  <a:lnTo>
                    <a:pt x="254" y="595"/>
                  </a:lnTo>
                  <a:lnTo>
                    <a:pt x="245" y="595"/>
                  </a:lnTo>
                  <a:lnTo>
                    <a:pt x="211" y="584"/>
                  </a:lnTo>
                  <a:lnTo>
                    <a:pt x="180" y="581"/>
                  </a:lnTo>
                  <a:lnTo>
                    <a:pt x="164" y="574"/>
                  </a:lnTo>
                  <a:lnTo>
                    <a:pt x="157" y="567"/>
                  </a:lnTo>
                  <a:lnTo>
                    <a:pt x="158" y="552"/>
                  </a:lnTo>
                  <a:lnTo>
                    <a:pt x="166" y="536"/>
                  </a:lnTo>
                  <a:lnTo>
                    <a:pt x="167" y="517"/>
                  </a:lnTo>
                  <a:lnTo>
                    <a:pt x="163" y="498"/>
                  </a:lnTo>
                  <a:lnTo>
                    <a:pt x="163" y="470"/>
                  </a:lnTo>
                  <a:lnTo>
                    <a:pt x="151" y="427"/>
                  </a:lnTo>
                  <a:lnTo>
                    <a:pt x="141" y="410"/>
                  </a:lnTo>
                  <a:lnTo>
                    <a:pt x="134" y="388"/>
                  </a:lnTo>
                  <a:lnTo>
                    <a:pt x="124" y="372"/>
                  </a:lnTo>
                  <a:lnTo>
                    <a:pt x="108" y="369"/>
                  </a:lnTo>
                  <a:lnTo>
                    <a:pt x="93" y="361"/>
                  </a:lnTo>
                  <a:lnTo>
                    <a:pt x="77" y="358"/>
                  </a:lnTo>
                  <a:lnTo>
                    <a:pt x="70" y="369"/>
                  </a:lnTo>
                  <a:lnTo>
                    <a:pt x="55" y="358"/>
                  </a:lnTo>
                  <a:lnTo>
                    <a:pt x="44" y="337"/>
                  </a:lnTo>
                  <a:lnTo>
                    <a:pt x="14" y="314"/>
                  </a:lnTo>
                  <a:lnTo>
                    <a:pt x="3" y="288"/>
                  </a:lnTo>
                  <a:lnTo>
                    <a:pt x="0" y="277"/>
                  </a:lnTo>
                  <a:lnTo>
                    <a:pt x="0" y="27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14" name="Freeform 113">
              <a:extLst>
                <a:ext uri="{FF2B5EF4-FFF2-40B4-BE49-F238E27FC236}">
                  <a16:creationId xmlns:a16="http://schemas.microsoft.com/office/drawing/2014/main" id="{CCC6E7F2-BBDD-5C23-F782-B1540E946FC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950368" y="3702348"/>
              <a:ext cx="70141" cy="65542"/>
            </a:xfrm>
            <a:custGeom>
              <a:avLst/>
              <a:gdLst>
                <a:gd name="T0" fmla="*/ 2147483647 w 127"/>
                <a:gd name="T1" fmla="*/ 0 h 113"/>
                <a:gd name="T2" fmla="*/ 2147483647 w 127"/>
                <a:gd name="T3" fmla="*/ 0 h 113"/>
                <a:gd name="T4" fmla="*/ 2147483647 w 127"/>
                <a:gd name="T5" fmla="*/ 0 h 113"/>
                <a:gd name="T6" fmla="*/ 2147483647 w 127"/>
                <a:gd name="T7" fmla="*/ 0 h 113"/>
                <a:gd name="T8" fmla="*/ 2147483647 w 127"/>
                <a:gd name="T9" fmla="*/ 0 h 113"/>
                <a:gd name="T10" fmla="*/ 2147483647 w 127"/>
                <a:gd name="T11" fmla="*/ 0 h 113"/>
                <a:gd name="T12" fmla="*/ 2147483647 w 127"/>
                <a:gd name="T13" fmla="*/ 0 h 113"/>
                <a:gd name="T14" fmla="*/ 2147483647 w 127"/>
                <a:gd name="T15" fmla="*/ 0 h 113"/>
                <a:gd name="T16" fmla="*/ 2147483647 w 127"/>
                <a:gd name="T17" fmla="*/ 0 h 113"/>
                <a:gd name="T18" fmla="*/ 2147483647 w 127"/>
                <a:gd name="T19" fmla="*/ 2147483647 h 113"/>
                <a:gd name="T20" fmla="*/ 2147483647 w 127"/>
                <a:gd name="T21" fmla="*/ 2147483647 h 113"/>
                <a:gd name="T22" fmla="*/ 2147483647 w 127"/>
                <a:gd name="T23" fmla="*/ 2147483647 h 113"/>
                <a:gd name="T24" fmla="*/ 2147483647 w 127"/>
                <a:gd name="T25" fmla="*/ 2147483647 h 113"/>
                <a:gd name="T26" fmla="*/ 2147483647 w 127"/>
                <a:gd name="T27" fmla="*/ 2147483647 h 113"/>
                <a:gd name="T28" fmla="*/ 2147483647 w 127"/>
                <a:gd name="T29" fmla="*/ 2147483647 h 113"/>
                <a:gd name="T30" fmla="*/ 2147483647 w 127"/>
                <a:gd name="T31" fmla="*/ 2147483647 h 113"/>
                <a:gd name="T32" fmla="*/ 0 w 127"/>
                <a:gd name="T33" fmla="*/ 2147483647 h 113"/>
                <a:gd name="T34" fmla="*/ 0 w 127"/>
                <a:gd name="T35" fmla="*/ 2147483647 h 113"/>
                <a:gd name="T36" fmla="*/ 0 w 127"/>
                <a:gd name="T37" fmla="*/ 0 h 113"/>
                <a:gd name="T38" fmla="*/ 0 w 127"/>
                <a:gd name="T39" fmla="*/ 0 h 113"/>
                <a:gd name="T40" fmla="*/ 0 w 127"/>
                <a:gd name="T41" fmla="*/ 0 h 113"/>
                <a:gd name="T42" fmla="*/ 0 w 127"/>
                <a:gd name="T43" fmla="*/ 0 h 113"/>
                <a:gd name="T44" fmla="*/ 0 w 127"/>
                <a:gd name="T45" fmla="*/ 0 h 113"/>
                <a:gd name="T46" fmla="*/ 0 w 127"/>
                <a:gd name="T47" fmla="*/ 0 h 113"/>
                <a:gd name="T48" fmla="*/ 2147483647 w 127"/>
                <a:gd name="T49" fmla="*/ 0 h 113"/>
                <a:gd name="T50" fmla="*/ 2147483647 w 127"/>
                <a:gd name="T51" fmla="*/ 0 h 113"/>
                <a:gd name="T52" fmla="*/ 2147483647 w 127"/>
                <a:gd name="T53" fmla="*/ 0 h 113"/>
                <a:gd name="T54" fmla="*/ 2147483647 w 127"/>
                <a:gd name="T55" fmla="*/ 0 h 113"/>
                <a:gd name="T56" fmla="*/ 2147483647 w 127"/>
                <a:gd name="T57" fmla="*/ 0 h 113"/>
                <a:gd name="T58" fmla="*/ 2147483647 w 127"/>
                <a:gd name="T59" fmla="*/ 0 h 113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27"/>
                <a:gd name="T91" fmla="*/ 0 h 113"/>
                <a:gd name="T92" fmla="*/ 127 w 127"/>
                <a:gd name="T93" fmla="*/ 113 h 113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27" h="113">
                  <a:moveTo>
                    <a:pt x="102" y="5"/>
                  </a:moveTo>
                  <a:lnTo>
                    <a:pt x="100" y="5"/>
                  </a:lnTo>
                  <a:lnTo>
                    <a:pt x="105" y="0"/>
                  </a:lnTo>
                  <a:lnTo>
                    <a:pt x="112" y="5"/>
                  </a:lnTo>
                  <a:lnTo>
                    <a:pt x="123" y="8"/>
                  </a:lnTo>
                  <a:lnTo>
                    <a:pt x="127" y="20"/>
                  </a:lnTo>
                  <a:lnTo>
                    <a:pt x="127" y="27"/>
                  </a:lnTo>
                  <a:lnTo>
                    <a:pt x="117" y="37"/>
                  </a:lnTo>
                  <a:lnTo>
                    <a:pt x="105" y="61"/>
                  </a:lnTo>
                  <a:lnTo>
                    <a:pt x="100" y="79"/>
                  </a:lnTo>
                  <a:lnTo>
                    <a:pt x="91" y="85"/>
                  </a:lnTo>
                  <a:lnTo>
                    <a:pt x="78" y="99"/>
                  </a:lnTo>
                  <a:lnTo>
                    <a:pt x="66" y="101"/>
                  </a:lnTo>
                  <a:lnTo>
                    <a:pt x="59" y="113"/>
                  </a:lnTo>
                  <a:lnTo>
                    <a:pt x="53" y="112"/>
                  </a:lnTo>
                  <a:lnTo>
                    <a:pt x="48" y="109"/>
                  </a:lnTo>
                  <a:lnTo>
                    <a:pt x="11" y="97"/>
                  </a:lnTo>
                  <a:lnTo>
                    <a:pt x="3" y="86"/>
                  </a:lnTo>
                  <a:lnTo>
                    <a:pt x="0" y="50"/>
                  </a:lnTo>
                  <a:lnTo>
                    <a:pt x="6" y="45"/>
                  </a:lnTo>
                  <a:lnTo>
                    <a:pt x="19" y="31"/>
                  </a:lnTo>
                  <a:lnTo>
                    <a:pt x="28" y="24"/>
                  </a:lnTo>
                  <a:lnTo>
                    <a:pt x="30" y="20"/>
                  </a:lnTo>
                  <a:lnTo>
                    <a:pt x="37" y="15"/>
                  </a:lnTo>
                  <a:lnTo>
                    <a:pt x="49" y="10"/>
                  </a:lnTo>
                  <a:lnTo>
                    <a:pt x="78" y="9"/>
                  </a:lnTo>
                  <a:lnTo>
                    <a:pt x="85" y="4"/>
                  </a:lnTo>
                  <a:lnTo>
                    <a:pt x="92" y="5"/>
                  </a:lnTo>
                  <a:lnTo>
                    <a:pt x="97" y="4"/>
                  </a:lnTo>
                  <a:lnTo>
                    <a:pt x="102" y="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15" name="Freeform 114">
              <a:extLst>
                <a:ext uri="{FF2B5EF4-FFF2-40B4-BE49-F238E27FC236}">
                  <a16:creationId xmlns:a16="http://schemas.microsoft.com/office/drawing/2014/main" id="{1583ED70-6059-86A2-BE3C-25250AE0F52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925130" y="2371707"/>
              <a:ext cx="1792302" cy="1327593"/>
            </a:xfrm>
            <a:custGeom>
              <a:avLst/>
              <a:gdLst>
                <a:gd name="T0" fmla="*/ 2147483647 w 3356"/>
                <a:gd name="T1" fmla="*/ 2147483647 h 2335"/>
                <a:gd name="T2" fmla="*/ 2147483647 w 3356"/>
                <a:gd name="T3" fmla="*/ 2147483647 h 2335"/>
                <a:gd name="T4" fmla="*/ 2147483647 w 3356"/>
                <a:gd name="T5" fmla="*/ 2147483647 h 2335"/>
                <a:gd name="T6" fmla="*/ 2147483647 w 3356"/>
                <a:gd name="T7" fmla="*/ 2147483647 h 2335"/>
                <a:gd name="T8" fmla="*/ 2147483647 w 3356"/>
                <a:gd name="T9" fmla="*/ 2147483647 h 2335"/>
                <a:gd name="T10" fmla="*/ 2147483647 w 3356"/>
                <a:gd name="T11" fmla="*/ 2147483647 h 2335"/>
                <a:gd name="T12" fmla="*/ 2147483647 w 3356"/>
                <a:gd name="T13" fmla="*/ 2147483647 h 2335"/>
                <a:gd name="T14" fmla="*/ 2147483647 w 3356"/>
                <a:gd name="T15" fmla="*/ 2147483647 h 2335"/>
                <a:gd name="T16" fmla="*/ 2147483647 w 3356"/>
                <a:gd name="T17" fmla="*/ 2147483647 h 2335"/>
                <a:gd name="T18" fmla="*/ 2147483647 w 3356"/>
                <a:gd name="T19" fmla="*/ 2147483647 h 2335"/>
                <a:gd name="T20" fmla="*/ 2147483647 w 3356"/>
                <a:gd name="T21" fmla="*/ 2147483647 h 2335"/>
                <a:gd name="T22" fmla="*/ 2147483647 w 3356"/>
                <a:gd name="T23" fmla="*/ 2147483647 h 2335"/>
                <a:gd name="T24" fmla="*/ 2147483647 w 3356"/>
                <a:gd name="T25" fmla="*/ 2147483647 h 2335"/>
                <a:gd name="T26" fmla="*/ 2147483647 w 3356"/>
                <a:gd name="T27" fmla="*/ 2147483647 h 2335"/>
                <a:gd name="T28" fmla="*/ 2147483647 w 3356"/>
                <a:gd name="T29" fmla="*/ 2147483647 h 2335"/>
                <a:gd name="T30" fmla="*/ 2147483647 w 3356"/>
                <a:gd name="T31" fmla="*/ 2147483647 h 2335"/>
                <a:gd name="T32" fmla="*/ 2147483647 w 3356"/>
                <a:gd name="T33" fmla="*/ 2147483647 h 2335"/>
                <a:gd name="T34" fmla="*/ 2147483647 w 3356"/>
                <a:gd name="T35" fmla="*/ 2147483647 h 2335"/>
                <a:gd name="T36" fmla="*/ 2147483647 w 3356"/>
                <a:gd name="T37" fmla="*/ 2147483647 h 2335"/>
                <a:gd name="T38" fmla="*/ 2147483647 w 3356"/>
                <a:gd name="T39" fmla="*/ 2147483647 h 2335"/>
                <a:gd name="T40" fmla="*/ 2147483647 w 3356"/>
                <a:gd name="T41" fmla="*/ 2147483647 h 2335"/>
                <a:gd name="T42" fmla="*/ 2147483647 w 3356"/>
                <a:gd name="T43" fmla="*/ 2147483647 h 2335"/>
                <a:gd name="T44" fmla="*/ 2147483647 w 3356"/>
                <a:gd name="T45" fmla="*/ 2147483647 h 2335"/>
                <a:gd name="T46" fmla="*/ 2147483647 w 3356"/>
                <a:gd name="T47" fmla="*/ 2147483647 h 2335"/>
                <a:gd name="T48" fmla="*/ 2147483647 w 3356"/>
                <a:gd name="T49" fmla="*/ 2147483647 h 2335"/>
                <a:gd name="T50" fmla="*/ 2147483647 w 3356"/>
                <a:gd name="T51" fmla="*/ 2147483647 h 2335"/>
                <a:gd name="T52" fmla="*/ 2147483647 w 3356"/>
                <a:gd name="T53" fmla="*/ 2147483647 h 2335"/>
                <a:gd name="T54" fmla="*/ 2147483647 w 3356"/>
                <a:gd name="T55" fmla="*/ 2147483647 h 2335"/>
                <a:gd name="T56" fmla="*/ 2147483647 w 3356"/>
                <a:gd name="T57" fmla="*/ 2147483647 h 2335"/>
                <a:gd name="T58" fmla="*/ 2147483647 w 3356"/>
                <a:gd name="T59" fmla="*/ 2147483647 h 2335"/>
                <a:gd name="T60" fmla="*/ 2147483647 w 3356"/>
                <a:gd name="T61" fmla="*/ 2147483647 h 2335"/>
                <a:gd name="T62" fmla="*/ 2147483647 w 3356"/>
                <a:gd name="T63" fmla="*/ 2147483647 h 2335"/>
                <a:gd name="T64" fmla="*/ 2147483647 w 3356"/>
                <a:gd name="T65" fmla="*/ 2147483647 h 2335"/>
                <a:gd name="T66" fmla="*/ 2147483647 w 3356"/>
                <a:gd name="T67" fmla="*/ 2147483647 h 2335"/>
                <a:gd name="T68" fmla="*/ 2147483647 w 3356"/>
                <a:gd name="T69" fmla="*/ 2147483647 h 2335"/>
                <a:gd name="T70" fmla="*/ 2147483647 w 3356"/>
                <a:gd name="T71" fmla="*/ 2147483647 h 2335"/>
                <a:gd name="T72" fmla="*/ 2147483647 w 3356"/>
                <a:gd name="T73" fmla="*/ 2147483647 h 2335"/>
                <a:gd name="T74" fmla="*/ 2147483647 w 3356"/>
                <a:gd name="T75" fmla="*/ 2147483647 h 2335"/>
                <a:gd name="T76" fmla="*/ 2147483647 w 3356"/>
                <a:gd name="T77" fmla="*/ 2147483647 h 2335"/>
                <a:gd name="T78" fmla="*/ 2147483647 w 3356"/>
                <a:gd name="T79" fmla="*/ 2147483647 h 2335"/>
                <a:gd name="T80" fmla="*/ 2147483647 w 3356"/>
                <a:gd name="T81" fmla="*/ 2147483647 h 2335"/>
                <a:gd name="T82" fmla="*/ 2147483647 w 3356"/>
                <a:gd name="T83" fmla="*/ 0 h 2335"/>
                <a:gd name="T84" fmla="*/ 2147483647 w 3356"/>
                <a:gd name="T85" fmla="*/ 2147483647 h 2335"/>
                <a:gd name="T86" fmla="*/ 2147483647 w 3356"/>
                <a:gd name="T87" fmla="*/ 2147483647 h 2335"/>
                <a:gd name="T88" fmla="*/ 2147483647 w 3356"/>
                <a:gd name="T89" fmla="*/ 2147483647 h 2335"/>
                <a:gd name="T90" fmla="*/ 2147483647 w 3356"/>
                <a:gd name="T91" fmla="*/ 2147483647 h 2335"/>
                <a:gd name="T92" fmla="*/ 2147483647 w 3356"/>
                <a:gd name="T93" fmla="*/ 2147483647 h 2335"/>
                <a:gd name="T94" fmla="*/ 2147483647 w 3356"/>
                <a:gd name="T95" fmla="*/ 2147483647 h 2335"/>
                <a:gd name="T96" fmla="*/ 2147483647 w 3356"/>
                <a:gd name="T97" fmla="*/ 2147483647 h 2335"/>
                <a:gd name="T98" fmla="*/ 2147483647 w 3356"/>
                <a:gd name="T99" fmla="*/ 2147483647 h 2335"/>
                <a:gd name="T100" fmla="*/ 2147483647 w 3356"/>
                <a:gd name="T101" fmla="*/ 2147483647 h 2335"/>
                <a:gd name="T102" fmla="*/ 2147483647 w 3356"/>
                <a:gd name="T103" fmla="*/ 2147483647 h 2335"/>
                <a:gd name="T104" fmla="*/ 2147483647 w 3356"/>
                <a:gd name="T105" fmla="*/ 2147483647 h 2335"/>
                <a:gd name="T106" fmla="*/ 2147483647 w 3356"/>
                <a:gd name="T107" fmla="*/ 2147483647 h 2335"/>
                <a:gd name="T108" fmla="*/ 2147483647 w 3356"/>
                <a:gd name="T109" fmla="*/ 2147483647 h 2335"/>
                <a:gd name="T110" fmla="*/ 2147483647 w 3356"/>
                <a:gd name="T111" fmla="*/ 2147483647 h 2335"/>
                <a:gd name="T112" fmla="*/ 2147483647 w 3356"/>
                <a:gd name="T113" fmla="*/ 2147483647 h 2335"/>
                <a:gd name="T114" fmla="*/ 2147483647 w 3356"/>
                <a:gd name="T115" fmla="*/ 2147483647 h 2335"/>
                <a:gd name="T116" fmla="*/ 2147483647 w 3356"/>
                <a:gd name="T117" fmla="*/ 2147483647 h 2335"/>
                <a:gd name="T118" fmla="*/ 2147483647 w 3356"/>
                <a:gd name="T119" fmla="*/ 2147483647 h 2335"/>
                <a:gd name="T120" fmla="*/ 2147483647 w 3356"/>
                <a:gd name="T121" fmla="*/ 2147483647 h 2335"/>
                <a:gd name="T122" fmla="*/ 2147483647 w 3356"/>
                <a:gd name="T123" fmla="*/ 2147483647 h 2335"/>
                <a:gd name="T124" fmla="*/ 2147483647 w 3356"/>
                <a:gd name="T125" fmla="*/ 2147483647 h 233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356"/>
                <a:gd name="T190" fmla="*/ 0 h 2335"/>
                <a:gd name="T191" fmla="*/ 3356 w 3356"/>
                <a:gd name="T192" fmla="*/ 2335 h 233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356" h="2335">
                  <a:moveTo>
                    <a:pt x="2243" y="2202"/>
                  </a:moveTo>
                  <a:lnTo>
                    <a:pt x="2240" y="2209"/>
                  </a:lnTo>
                  <a:lnTo>
                    <a:pt x="2239" y="2206"/>
                  </a:lnTo>
                  <a:lnTo>
                    <a:pt x="2239" y="2202"/>
                  </a:lnTo>
                  <a:lnTo>
                    <a:pt x="2235" y="2199"/>
                  </a:lnTo>
                  <a:lnTo>
                    <a:pt x="2226" y="2201"/>
                  </a:lnTo>
                  <a:lnTo>
                    <a:pt x="2225" y="2202"/>
                  </a:lnTo>
                  <a:lnTo>
                    <a:pt x="2224" y="2202"/>
                  </a:lnTo>
                  <a:lnTo>
                    <a:pt x="2224" y="2205"/>
                  </a:lnTo>
                  <a:lnTo>
                    <a:pt x="2229" y="2211"/>
                  </a:lnTo>
                  <a:lnTo>
                    <a:pt x="2224" y="2212"/>
                  </a:lnTo>
                  <a:lnTo>
                    <a:pt x="2211" y="2213"/>
                  </a:lnTo>
                  <a:lnTo>
                    <a:pt x="2210" y="2209"/>
                  </a:lnTo>
                  <a:lnTo>
                    <a:pt x="2211" y="2206"/>
                  </a:lnTo>
                  <a:lnTo>
                    <a:pt x="2209" y="2202"/>
                  </a:lnTo>
                  <a:lnTo>
                    <a:pt x="2199" y="2194"/>
                  </a:lnTo>
                  <a:lnTo>
                    <a:pt x="2191" y="2191"/>
                  </a:lnTo>
                  <a:lnTo>
                    <a:pt x="2188" y="2185"/>
                  </a:lnTo>
                  <a:lnTo>
                    <a:pt x="2186" y="2198"/>
                  </a:lnTo>
                  <a:lnTo>
                    <a:pt x="2186" y="2209"/>
                  </a:lnTo>
                  <a:lnTo>
                    <a:pt x="2187" y="2216"/>
                  </a:lnTo>
                  <a:lnTo>
                    <a:pt x="2187" y="2218"/>
                  </a:lnTo>
                  <a:lnTo>
                    <a:pt x="2183" y="2220"/>
                  </a:lnTo>
                  <a:lnTo>
                    <a:pt x="2180" y="2220"/>
                  </a:lnTo>
                  <a:lnTo>
                    <a:pt x="2171" y="2209"/>
                  </a:lnTo>
                  <a:lnTo>
                    <a:pt x="2164" y="2204"/>
                  </a:lnTo>
                  <a:lnTo>
                    <a:pt x="2161" y="2198"/>
                  </a:lnTo>
                  <a:lnTo>
                    <a:pt x="2155" y="2215"/>
                  </a:lnTo>
                  <a:lnTo>
                    <a:pt x="2155" y="2222"/>
                  </a:lnTo>
                  <a:lnTo>
                    <a:pt x="2156" y="2227"/>
                  </a:lnTo>
                  <a:lnTo>
                    <a:pt x="2156" y="2236"/>
                  </a:lnTo>
                  <a:lnTo>
                    <a:pt x="2153" y="2239"/>
                  </a:lnTo>
                  <a:lnTo>
                    <a:pt x="2149" y="2237"/>
                  </a:lnTo>
                  <a:lnTo>
                    <a:pt x="2134" y="2244"/>
                  </a:lnTo>
                  <a:lnTo>
                    <a:pt x="2123" y="2245"/>
                  </a:lnTo>
                  <a:lnTo>
                    <a:pt x="2116" y="2249"/>
                  </a:lnTo>
                  <a:lnTo>
                    <a:pt x="2107" y="2249"/>
                  </a:lnTo>
                  <a:lnTo>
                    <a:pt x="2105" y="2247"/>
                  </a:lnTo>
                  <a:lnTo>
                    <a:pt x="2094" y="2249"/>
                  </a:lnTo>
                  <a:lnTo>
                    <a:pt x="2084" y="2258"/>
                  </a:lnTo>
                  <a:lnTo>
                    <a:pt x="2073" y="2261"/>
                  </a:lnTo>
                  <a:lnTo>
                    <a:pt x="2059" y="2263"/>
                  </a:lnTo>
                  <a:lnTo>
                    <a:pt x="2051" y="2261"/>
                  </a:lnTo>
                  <a:lnTo>
                    <a:pt x="2048" y="2265"/>
                  </a:lnTo>
                  <a:lnTo>
                    <a:pt x="2038" y="2270"/>
                  </a:lnTo>
                  <a:lnTo>
                    <a:pt x="2024" y="2274"/>
                  </a:lnTo>
                  <a:lnTo>
                    <a:pt x="2015" y="2271"/>
                  </a:lnTo>
                  <a:lnTo>
                    <a:pt x="2004" y="2297"/>
                  </a:lnTo>
                  <a:lnTo>
                    <a:pt x="2011" y="2309"/>
                  </a:lnTo>
                  <a:lnTo>
                    <a:pt x="2015" y="2317"/>
                  </a:lnTo>
                  <a:lnTo>
                    <a:pt x="2015" y="2329"/>
                  </a:lnTo>
                  <a:lnTo>
                    <a:pt x="1999" y="2335"/>
                  </a:lnTo>
                  <a:lnTo>
                    <a:pt x="1988" y="2329"/>
                  </a:lnTo>
                  <a:lnTo>
                    <a:pt x="1973" y="2298"/>
                  </a:lnTo>
                  <a:lnTo>
                    <a:pt x="1971" y="2291"/>
                  </a:lnTo>
                  <a:lnTo>
                    <a:pt x="1972" y="2288"/>
                  </a:lnTo>
                  <a:lnTo>
                    <a:pt x="1978" y="2266"/>
                  </a:lnTo>
                  <a:lnTo>
                    <a:pt x="1974" y="2259"/>
                  </a:lnTo>
                  <a:lnTo>
                    <a:pt x="1968" y="2261"/>
                  </a:lnTo>
                  <a:lnTo>
                    <a:pt x="1958" y="2269"/>
                  </a:lnTo>
                  <a:lnTo>
                    <a:pt x="1947" y="2269"/>
                  </a:lnTo>
                  <a:lnTo>
                    <a:pt x="1942" y="2264"/>
                  </a:lnTo>
                  <a:lnTo>
                    <a:pt x="1941" y="2259"/>
                  </a:lnTo>
                  <a:lnTo>
                    <a:pt x="1923" y="2254"/>
                  </a:lnTo>
                  <a:lnTo>
                    <a:pt x="1915" y="2252"/>
                  </a:lnTo>
                  <a:lnTo>
                    <a:pt x="1911" y="2252"/>
                  </a:lnTo>
                  <a:lnTo>
                    <a:pt x="1907" y="2260"/>
                  </a:lnTo>
                  <a:lnTo>
                    <a:pt x="1898" y="2261"/>
                  </a:lnTo>
                  <a:lnTo>
                    <a:pt x="1898" y="2269"/>
                  </a:lnTo>
                  <a:lnTo>
                    <a:pt x="1895" y="2258"/>
                  </a:lnTo>
                  <a:lnTo>
                    <a:pt x="1890" y="2261"/>
                  </a:lnTo>
                  <a:lnTo>
                    <a:pt x="1881" y="2265"/>
                  </a:lnTo>
                  <a:lnTo>
                    <a:pt x="1874" y="2260"/>
                  </a:lnTo>
                  <a:lnTo>
                    <a:pt x="1855" y="2261"/>
                  </a:lnTo>
                  <a:lnTo>
                    <a:pt x="1845" y="2259"/>
                  </a:lnTo>
                  <a:lnTo>
                    <a:pt x="1840" y="2254"/>
                  </a:lnTo>
                  <a:lnTo>
                    <a:pt x="1817" y="2240"/>
                  </a:lnTo>
                  <a:lnTo>
                    <a:pt x="1810" y="2228"/>
                  </a:lnTo>
                  <a:lnTo>
                    <a:pt x="1805" y="2213"/>
                  </a:lnTo>
                  <a:lnTo>
                    <a:pt x="1810" y="2198"/>
                  </a:lnTo>
                  <a:lnTo>
                    <a:pt x="1806" y="2189"/>
                  </a:lnTo>
                  <a:lnTo>
                    <a:pt x="1786" y="2188"/>
                  </a:lnTo>
                  <a:lnTo>
                    <a:pt x="1773" y="2184"/>
                  </a:lnTo>
                  <a:lnTo>
                    <a:pt x="1758" y="2178"/>
                  </a:lnTo>
                  <a:lnTo>
                    <a:pt x="1746" y="2168"/>
                  </a:lnTo>
                  <a:lnTo>
                    <a:pt x="1731" y="2163"/>
                  </a:lnTo>
                  <a:lnTo>
                    <a:pt x="1724" y="2164"/>
                  </a:lnTo>
                  <a:lnTo>
                    <a:pt x="1714" y="2175"/>
                  </a:lnTo>
                  <a:lnTo>
                    <a:pt x="1704" y="2182"/>
                  </a:lnTo>
                  <a:lnTo>
                    <a:pt x="1689" y="2190"/>
                  </a:lnTo>
                  <a:lnTo>
                    <a:pt x="1683" y="2191"/>
                  </a:lnTo>
                  <a:lnTo>
                    <a:pt x="1675" y="2189"/>
                  </a:lnTo>
                  <a:lnTo>
                    <a:pt x="1666" y="2196"/>
                  </a:lnTo>
                  <a:lnTo>
                    <a:pt x="1656" y="2201"/>
                  </a:lnTo>
                  <a:lnTo>
                    <a:pt x="1653" y="2195"/>
                  </a:lnTo>
                  <a:lnTo>
                    <a:pt x="1639" y="2199"/>
                  </a:lnTo>
                  <a:lnTo>
                    <a:pt x="1633" y="2194"/>
                  </a:lnTo>
                  <a:lnTo>
                    <a:pt x="1627" y="2195"/>
                  </a:lnTo>
                  <a:lnTo>
                    <a:pt x="1612" y="2205"/>
                  </a:lnTo>
                  <a:lnTo>
                    <a:pt x="1606" y="2204"/>
                  </a:lnTo>
                  <a:lnTo>
                    <a:pt x="1598" y="2196"/>
                  </a:lnTo>
                  <a:lnTo>
                    <a:pt x="1585" y="2194"/>
                  </a:lnTo>
                  <a:lnTo>
                    <a:pt x="1583" y="2191"/>
                  </a:lnTo>
                  <a:lnTo>
                    <a:pt x="1579" y="2194"/>
                  </a:lnTo>
                  <a:lnTo>
                    <a:pt x="1575" y="2200"/>
                  </a:lnTo>
                  <a:lnTo>
                    <a:pt x="1569" y="2207"/>
                  </a:lnTo>
                  <a:lnTo>
                    <a:pt x="1569" y="2211"/>
                  </a:lnTo>
                  <a:lnTo>
                    <a:pt x="1562" y="2207"/>
                  </a:lnTo>
                  <a:lnTo>
                    <a:pt x="1562" y="2205"/>
                  </a:lnTo>
                  <a:lnTo>
                    <a:pt x="1542" y="2204"/>
                  </a:lnTo>
                  <a:lnTo>
                    <a:pt x="1533" y="2211"/>
                  </a:lnTo>
                  <a:lnTo>
                    <a:pt x="1532" y="2223"/>
                  </a:lnTo>
                  <a:lnTo>
                    <a:pt x="1535" y="2240"/>
                  </a:lnTo>
                  <a:lnTo>
                    <a:pt x="1541" y="2256"/>
                  </a:lnTo>
                  <a:lnTo>
                    <a:pt x="1540" y="2271"/>
                  </a:lnTo>
                  <a:lnTo>
                    <a:pt x="1536" y="2275"/>
                  </a:lnTo>
                  <a:lnTo>
                    <a:pt x="1515" y="2280"/>
                  </a:lnTo>
                  <a:lnTo>
                    <a:pt x="1510" y="2253"/>
                  </a:lnTo>
                  <a:lnTo>
                    <a:pt x="1509" y="2247"/>
                  </a:lnTo>
                  <a:lnTo>
                    <a:pt x="1497" y="2245"/>
                  </a:lnTo>
                  <a:lnTo>
                    <a:pt x="1482" y="2258"/>
                  </a:lnTo>
                  <a:lnTo>
                    <a:pt x="1462" y="2260"/>
                  </a:lnTo>
                  <a:lnTo>
                    <a:pt x="1444" y="2243"/>
                  </a:lnTo>
                  <a:lnTo>
                    <a:pt x="1441" y="2231"/>
                  </a:lnTo>
                  <a:lnTo>
                    <a:pt x="1423" y="2225"/>
                  </a:lnTo>
                  <a:lnTo>
                    <a:pt x="1408" y="2222"/>
                  </a:lnTo>
                  <a:lnTo>
                    <a:pt x="1412" y="2202"/>
                  </a:lnTo>
                  <a:lnTo>
                    <a:pt x="1418" y="2175"/>
                  </a:lnTo>
                  <a:lnTo>
                    <a:pt x="1402" y="2167"/>
                  </a:lnTo>
                  <a:lnTo>
                    <a:pt x="1388" y="2157"/>
                  </a:lnTo>
                  <a:lnTo>
                    <a:pt x="1387" y="2137"/>
                  </a:lnTo>
                  <a:lnTo>
                    <a:pt x="1382" y="2123"/>
                  </a:lnTo>
                  <a:lnTo>
                    <a:pt x="1382" y="2112"/>
                  </a:lnTo>
                  <a:lnTo>
                    <a:pt x="1363" y="2113"/>
                  </a:lnTo>
                  <a:lnTo>
                    <a:pt x="1344" y="2114"/>
                  </a:lnTo>
                  <a:lnTo>
                    <a:pt x="1333" y="2120"/>
                  </a:lnTo>
                  <a:lnTo>
                    <a:pt x="1320" y="2134"/>
                  </a:lnTo>
                  <a:lnTo>
                    <a:pt x="1315" y="2129"/>
                  </a:lnTo>
                  <a:lnTo>
                    <a:pt x="1325" y="2112"/>
                  </a:lnTo>
                  <a:lnTo>
                    <a:pt x="1326" y="2103"/>
                  </a:lnTo>
                  <a:lnTo>
                    <a:pt x="1322" y="2087"/>
                  </a:lnTo>
                  <a:lnTo>
                    <a:pt x="1328" y="2073"/>
                  </a:lnTo>
                  <a:lnTo>
                    <a:pt x="1332" y="2054"/>
                  </a:lnTo>
                  <a:lnTo>
                    <a:pt x="1343" y="2043"/>
                  </a:lnTo>
                  <a:lnTo>
                    <a:pt x="1347" y="2033"/>
                  </a:lnTo>
                  <a:lnTo>
                    <a:pt x="1354" y="2030"/>
                  </a:lnTo>
                  <a:lnTo>
                    <a:pt x="1363" y="2019"/>
                  </a:lnTo>
                  <a:lnTo>
                    <a:pt x="1372" y="1992"/>
                  </a:lnTo>
                  <a:lnTo>
                    <a:pt x="1372" y="1984"/>
                  </a:lnTo>
                  <a:lnTo>
                    <a:pt x="1376" y="1956"/>
                  </a:lnTo>
                  <a:lnTo>
                    <a:pt x="1375" y="1935"/>
                  </a:lnTo>
                  <a:lnTo>
                    <a:pt x="1368" y="1903"/>
                  </a:lnTo>
                  <a:lnTo>
                    <a:pt x="1352" y="1901"/>
                  </a:lnTo>
                  <a:lnTo>
                    <a:pt x="1347" y="1893"/>
                  </a:lnTo>
                  <a:lnTo>
                    <a:pt x="1343" y="1876"/>
                  </a:lnTo>
                  <a:lnTo>
                    <a:pt x="1331" y="1862"/>
                  </a:lnTo>
                  <a:lnTo>
                    <a:pt x="1318" y="1856"/>
                  </a:lnTo>
                  <a:lnTo>
                    <a:pt x="1315" y="1856"/>
                  </a:lnTo>
                  <a:lnTo>
                    <a:pt x="1311" y="1861"/>
                  </a:lnTo>
                  <a:lnTo>
                    <a:pt x="1302" y="1865"/>
                  </a:lnTo>
                  <a:lnTo>
                    <a:pt x="1298" y="1852"/>
                  </a:lnTo>
                  <a:lnTo>
                    <a:pt x="1288" y="1849"/>
                  </a:lnTo>
                  <a:lnTo>
                    <a:pt x="1274" y="1849"/>
                  </a:lnTo>
                  <a:lnTo>
                    <a:pt x="1264" y="1845"/>
                  </a:lnTo>
                  <a:lnTo>
                    <a:pt x="1246" y="1845"/>
                  </a:lnTo>
                  <a:lnTo>
                    <a:pt x="1248" y="1829"/>
                  </a:lnTo>
                  <a:lnTo>
                    <a:pt x="1250" y="1814"/>
                  </a:lnTo>
                  <a:lnTo>
                    <a:pt x="1237" y="1812"/>
                  </a:lnTo>
                  <a:lnTo>
                    <a:pt x="1235" y="1801"/>
                  </a:lnTo>
                  <a:lnTo>
                    <a:pt x="1237" y="1793"/>
                  </a:lnTo>
                  <a:lnTo>
                    <a:pt x="1226" y="1781"/>
                  </a:lnTo>
                  <a:lnTo>
                    <a:pt x="1214" y="1785"/>
                  </a:lnTo>
                  <a:lnTo>
                    <a:pt x="1199" y="1795"/>
                  </a:lnTo>
                  <a:lnTo>
                    <a:pt x="1186" y="1798"/>
                  </a:lnTo>
                  <a:lnTo>
                    <a:pt x="1166" y="1800"/>
                  </a:lnTo>
                  <a:lnTo>
                    <a:pt x="1157" y="1798"/>
                  </a:lnTo>
                  <a:lnTo>
                    <a:pt x="1151" y="1793"/>
                  </a:lnTo>
                  <a:lnTo>
                    <a:pt x="1146" y="1792"/>
                  </a:lnTo>
                  <a:lnTo>
                    <a:pt x="1137" y="1797"/>
                  </a:lnTo>
                  <a:lnTo>
                    <a:pt x="1128" y="1803"/>
                  </a:lnTo>
                  <a:lnTo>
                    <a:pt x="1122" y="1814"/>
                  </a:lnTo>
                  <a:lnTo>
                    <a:pt x="1102" y="1831"/>
                  </a:lnTo>
                  <a:lnTo>
                    <a:pt x="1087" y="1835"/>
                  </a:lnTo>
                  <a:lnTo>
                    <a:pt x="1073" y="1851"/>
                  </a:lnTo>
                  <a:lnTo>
                    <a:pt x="1063" y="1858"/>
                  </a:lnTo>
                  <a:lnTo>
                    <a:pt x="1048" y="1866"/>
                  </a:lnTo>
                  <a:lnTo>
                    <a:pt x="1036" y="1874"/>
                  </a:lnTo>
                  <a:lnTo>
                    <a:pt x="1008" y="1881"/>
                  </a:lnTo>
                  <a:lnTo>
                    <a:pt x="990" y="1886"/>
                  </a:lnTo>
                  <a:lnTo>
                    <a:pt x="992" y="1888"/>
                  </a:lnTo>
                  <a:lnTo>
                    <a:pt x="992" y="1886"/>
                  </a:lnTo>
                  <a:lnTo>
                    <a:pt x="978" y="1878"/>
                  </a:lnTo>
                  <a:lnTo>
                    <a:pt x="976" y="1874"/>
                  </a:lnTo>
                  <a:lnTo>
                    <a:pt x="973" y="1873"/>
                  </a:lnTo>
                  <a:lnTo>
                    <a:pt x="958" y="1877"/>
                  </a:lnTo>
                  <a:lnTo>
                    <a:pt x="954" y="1877"/>
                  </a:lnTo>
                  <a:lnTo>
                    <a:pt x="940" y="1872"/>
                  </a:lnTo>
                  <a:lnTo>
                    <a:pt x="924" y="1871"/>
                  </a:lnTo>
                  <a:lnTo>
                    <a:pt x="917" y="1866"/>
                  </a:lnTo>
                  <a:lnTo>
                    <a:pt x="917" y="1863"/>
                  </a:lnTo>
                  <a:lnTo>
                    <a:pt x="913" y="1857"/>
                  </a:lnTo>
                  <a:lnTo>
                    <a:pt x="907" y="1856"/>
                  </a:lnTo>
                  <a:lnTo>
                    <a:pt x="893" y="1857"/>
                  </a:lnTo>
                  <a:lnTo>
                    <a:pt x="881" y="1862"/>
                  </a:lnTo>
                  <a:lnTo>
                    <a:pt x="870" y="1873"/>
                  </a:lnTo>
                  <a:lnTo>
                    <a:pt x="860" y="1889"/>
                  </a:lnTo>
                  <a:lnTo>
                    <a:pt x="839" y="1909"/>
                  </a:lnTo>
                  <a:lnTo>
                    <a:pt x="838" y="1915"/>
                  </a:lnTo>
                  <a:lnTo>
                    <a:pt x="833" y="1915"/>
                  </a:lnTo>
                  <a:lnTo>
                    <a:pt x="829" y="1913"/>
                  </a:lnTo>
                  <a:lnTo>
                    <a:pt x="827" y="1910"/>
                  </a:lnTo>
                  <a:lnTo>
                    <a:pt x="827" y="1903"/>
                  </a:lnTo>
                  <a:lnTo>
                    <a:pt x="831" y="1890"/>
                  </a:lnTo>
                  <a:lnTo>
                    <a:pt x="831" y="1884"/>
                  </a:lnTo>
                  <a:lnTo>
                    <a:pt x="828" y="1874"/>
                  </a:lnTo>
                  <a:lnTo>
                    <a:pt x="827" y="1871"/>
                  </a:lnTo>
                  <a:lnTo>
                    <a:pt x="822" y="1868"/>
                  </a:lnTo>
                  <a:lnTo>
                    <a:pt x="817" y="1870"/>
                  </a:lnTo>
                  <a:lnTo>
                    <a:pt x="809" y="1876"/>
                  </a:lnTo>
                  <a:lnTo>
                    <a:pt x="801" y="1876"/>
                  </a:lnTo>
                  <a:lnTo>
                    <a:pt x="793" y="1879"/>
                  </a:lnTo>
                  <a:lnTo>
                    <a:pt x="791" y="1881"/>
                  </a:lnTo>
                  <a:lnTo>
                    <a:pt x="788" y="1879"/>
                  </a:lnTo>
                  <a:lnTo>
                    <a:pt x="780" y="1881"/>
                  </a:lnTo>
                  <a:lnTo>
                    <a:pt x="774" y="1889"/>
                  </a:lnTo>
                  <a:lnTo>
                    <a:pt x="771" y="1889"/>
                  </a:lnTo>
                  <a:lnTo>
                    <a:pt x="757" y="1886"/>
                  </a:lnTo>
                  <a:lnTo>
                    <a:pt x="750" y="1888"/>
                  </a:lnTo>
                  <a:lnTo>
                    <a:pt x="746" y="1887"/>
                  </a:lnTo>
                  <a:lnTo>
                    <a:pt x="739" y="1883"/>
                  </a:lnTo>
                  <a:lnTo>
                    <a:pt x="729" y="1881"/>
                  </a:lnTo>
                  <a:lnTo>
                    <a:pt x="723" y="1873"/>
                  </a:lnTo>
                  <a:lnTo>
                    <a:pt x="713" y="1873"/>
                  </a:lnTo>
                  <a:lnTo>
                    <a:pt x="708" y="1874"/>
                  </a:lnTo>
                  <a:lnTo>
                    <a:pt x="704" y="1881"/>
                  </a:lnTo>
                  <a:lnTo>
                    <a:pt x="702" y="1882"/>
                  </a:lnTo>
                  <a:lnTo>
                    <a:pt x="696" y="1879"/>
                  </a:lnTo>
                  <a:lnTo>
                    <a:pt x="691" y="1881"/>
                  </a:lnTo>
                  <a:lnTo>
                    <a:pt x="685" y="1877"/>
                  </a:lnTo>
                  <a:lnTo>
                    <a:pt x="681" y="1879"/>
                  </a:lnTo>
                  <a:lnTo>
                    <a:pt x="675" y="1881"/>
                  </a:lnTo>
                  <a:lnTo>
                    <a:pt x="671" y="1878"/>
                  </a:lnTo>
                  <a:lnTo>
                    <a:pt x="667" y="1872"/>
                  </a:lnTo>
                  <a:lnTo>
                    <a:pt x="666" y="1868"/>
                  </a:lnTo>
                  <a:lnTo>
                    <a:pt x="661" y="1862"/>
                  </a:lnTo>
                  <a:lnTo>
                    <a:pt x="653" y="1861"/>
                  </a:lnTo>
                  <a:lnTo>
                    <a:pt x="645" y="1863"/>
                  </a:lnTo>
                  <a:lnTo>
                    <a:pt x="630" y="1854"/>
                  </a:lnTo>
                  <a:lnTo>
                    <a:pt x="629" y="1847"/>
                  </a:lnTo>
                  <a:lnTo>
                    <a:pt x="632" y="1834"/>
                  </a:lnTo>
                  <a:lnTo>
                    <a:pt x="629" y="1833"/>
                  </a:lnTo>
                  <a:lnTo>
                    <a:pt x="624" y="1836"/>
                  </a:lnTo>
                  <a:lnTo>
                    <a:pt x="619" y="1838"/>
                  </a:lnTo>
                  <a:lnTo>
                    <a:pt x="611" y="1836"/>
                  </a:lnTo>
                  <a:lnTo>
                    <a:pt x="603" y="1834"/>
                  </a:lnTo>
                  <a:lnTo>
                    <a:pt x="599" y="1835"/>
                  </a:lnTo>
                  <a:lnTo>
                    <a:pt x="592" y="1831"/>
                  </a:lnTo>
                  <a:lnTo>
                    <a:pt x="589" y="1831"/>
                  </a:lnTo>
                  <a:lnTo>
                    <a:pt x="585" y="1828"/>
                  </a:lnTo>
                  <a:lnTo>
                    <a:pt x="583" y="1823"/>
                  </a:lnTo>
                  <a:lnTo>
                    <a:pt x="578" y="1825"/>
                  </a:lnTo>
                  <a:lnTo>
                    <a:pt x="576" y="1822"/>
                  </a:lnTo>
                  <a:lnTo>
                    <a:pt x="579" y="1809"/>
                  </a:lnTo>
                  <a:lnTo>
                    <a:pt x="578" y="1803"/>
                  </a:lnTo>
                  <a:lnTo>
                    <a:pt x="581" y="1797"/>
                  </a:lnTo>
                  <a:lnTo>
                    <a:pt x="579" y="1795"/>
                  </a:lnTo>
                  <a:lnTo>
                    <a:pt x="573" y="1793"/>
                  </a:lnTo>
                  <a:lnTo>
                    <a:pt x="567" y="1795"/>
                  </a:lnTo>
                  <a:lnTo>
                    <a:pt x="563" y="1793"/>
                  </a:lnTo>
                  <a:lnTo>
                    <a:pt x="560" y="1797"/>
                  </a:lnTo>
                  <a:lnTo>
                    <a:pt x="559" y="1800"/>
                  </a:lnTo>
                  <a:lnTo>
                    <a:pt x="556" y="1803"/>
                  </a:lnTo>
                  <a:lnTo>
                    <a:pt x="553" y="1804"/>
                  </a:lnTo>
                  <a:lnTo>
                    <a:pt x="548" y="1809"/>
                  </a:lnTo>
                  <a:lnTo>
                    <a:pt x="544" y="1808"/>
                  </a:lnTo>
                  <a:lnTo>
                    <a:pt x="538" y="1807"/>
                  </a:lnTo>
                  <a:lnTo>
                    <a:pt x="536" y="1802"/>
                  </a:lnTo>
                  <a:lnTo>
                    <a:pt x="533" y="1785"/>
                  </a:lnTo>
                  <a:lnTo>
                    <a:pt x="527" y="1776"/>
                  </a:lnTo>
                  <a:lnTo>
                    <a:pt x="515" y="1766"/>
                  </a:lnTo>
                  <a:lnTo>
                    <a:pt x="503" y="1763"/>
                  </a:lnTo>
                  <a:lnTo>
                    <a:pt x="493" y="1754"/>
                  </a:lnTo>
                  <a:lnTo>
                    <a:pt x="487" y="1745"/>
                  </a:lnTo>
                  <a:lnTo>
                    <a:pt x="482" y="1743"/>
                  </a:lnTo>
                  <a:lnTo>
                    <a:pt x="462" y="1737"/>
                  </a:lnTo>
                  <a:lnTo>
                    <a:pt x="444" y="1733"/>
                  </a:lnTo>
                  <a:lnTo>
                    <a:pt x="441" y="1732"/>
                  </a:lnTo>
                  <a:lnTo>
                    <a:pt x="425" y="1730"/>
                  </a:lnTo>
                  <a:lnTo>
                    <a:pt x="423" y="1731"/>
                  </a:lnTo>
                  <a:lnTo>
                    <a:pt x="423" y="1732"/>
                  </a:lnTo>
                  <a:lnTo>
                    <a:pt x="423" y="1737"/>
                  </a:lnTo>
                  <a:lnTo>
                    <a:pt x="419" y="1742"/>
                  </a:lnTo>
                  <a:lnTo>
                    <a:pt x="420" y="1744"/>
                  </a:lnTo>
                  <a:lnTo>
                    <a:pt x="419" y="1748"/>
                  </a:lnTo>
                  <a:lnTo>
                    <a:pt x="411" y="1741"/>
                  </a:lnTo>
                  <a:lnTo>
                    <a:pt x="408" y="1736"/>
                  </a:lnTo>
                  <a:lnTo>
                    <a:pt x="406" y="1734"/>
                  </a:lnTo>
                  <a:lnTo>
                    <a:pt x="403" y="1733"/>
                  </a:lnTo>
                  <a:lnTo>
                    <a:pt x="386" y="1728"/>
                  </a:lnTo>
                  <a:lnTo>
                    <a:pt x="384" y="1726"/>
                  </a:lnTo>
                  <a:lnTo>
                    <a:pt x="380" y="1720"/>
                  </a:lnTo>
                  <a:lnTo>
                    <a:pt x="375" y="1718"/>
                  </a:lnTo>
                  <a:lnTo>
                    <a:pt x="363" y="1709"/>
                  </a:lnTo>
                  <a:lnTo>
                    <a:pt x="357" y="1709"/>
                  </a:lnTo>
                  <a:lnTo>
                    <a:pt x="350" y="1705"/>
                  </a:lnTo>
                  <a:lnTo>
                    <a:pt x="348" y="1701"/>
                  </a:lnTo>
                  <a:lnTo>
                    <a:pt x="348" y="1698"/>
                  </a:lnTo>
                  <a:lnTo>
                    <a:pt x="345" y="1694"/>
                  </a:lnTo>
                  <a:lnTo>
                    <a:pt x="341" y="1694"/>
                  </a:lnTo>
                  <a:lnTo>
                    <a:pt x="339" y="1691"/>
                  </a:lnTo>
                  <a:lnTo>
                    <a:pt x="334" y="1689"/>
                  </a:lnTo>
                  <a:lnTo>
                    <a:pt x="326" y="1693"/>
                  </a:lnTo>
                  <a:lnTo>
                    <a:pt x="325" y="1691"/>
                  </a:lnTo>
                  <a:lnTo>
                    <a:pt x="323" y="1685"/>
                  </a:lnTo>
                  <a:lnTo>
                    <a:pt x="322" y="1684"/>
                  </a:lnTo>
                  <a:lnTo>
                    <a:pt x="318" y="1683"/>
                  </a:lnTo>
                  <a:lnTo>
                    <a:pt x="315" y="1684"/>
                  </a:lnTo>
                  <a:lnTo>
                    <a:pt x="306" y="1683"/>
                  </a:lnTo>
                  <a:lnTo>
                    <a:pt x="302" y="1684"/>
                  </a:lnTo>
                  <a:lnTo>
                    <a:pt x="296" y="1688"/>
                  </a:lnTo>
                  <a:lnTo>
                    <a:pt x="293" y="1688"/>
                  </a:lnTo>
                  <a:lnTo>
                    <a:pt x="290" y="1685"/>
                  </a:lnTo>
                  <a:lnTo>
                    <a:pt x="291" y="1675"/>
                  </a:lnTo>
                  <a:lnTo>
                    <a:pt x="287" y="1672"/>
                  </a:lnTo>
                  <a:lnTo>
                    <a:pt x="283" y="1666"/>
                  </a:lnTo>
                  <a:lnTo>
                    <a:pt x="283" y="1663"/>
                  </a:lnTo>
                  <a:lnTo>
                    <a:pt x="278" y="1658"/>
                  </a:lnTo>
                  <a:lnTo>
                    <a:pt x="278" y="1653"/>
                  </a:lnTo>
                  <a:lnTo>
                    <a:pt x="280" y="1646"/>
                  </a:lnTo>
                  <a:lnTo>
                    <a:pt x="277" y="1640"/>
                  </a:lnTo>
                  <a:lnTo>
                    <a:pt x="277" y="1636"/>
                  </a:lnTo>
                  <a:lnTo>
                    <a:pt x="278" y="1629"/>
                  </a:lnTo>
                  <a:lnTo>
                    <a:pt x="280" y="1623"/>
                  </a:lnTo>
                  <a:lnTo>
                    <a:pt x="273" y="1613"/>
                  </a:lnTo>
                  <a:lnTo>
                    <a:pt x="266" y="1605"/>
                  </a:lnTo>
                  <a:lnTo>
                    <a:pt x="266" y="1596"/>
                  </a:lnTo>
                  <a:lnTo>
                    <a:pt x="263" y="1588"/>
                  </a:lnTo>
                  <a:lnTo>
                    <a:pt x="264" y="1585"/>
                  </a:lnTo>
                  <a:lnTo>
                    <a:pt x="275" y="1583"/>
                  </a:lnTo>
                  <a:lnTo>
                    <a:pt x="278" y="1580"/>
                  </a:lnTo>
                  <a:lnTo>
                    <a:pt x="279" y="1581"/>
                  </a:lnTo>
                  <a:lnTo>
                    <a:pt x="280" y="1588"/>
                  </a:lnTo>
                  <a:lnTo>
                    <a:pt x="283" y="1593"/>
                  </a:lnTo>
                  <a:lnTo>
                    <a:pt x="285" y="1596"/>
                  </a:lnTo>
                  <a:lnTo>
                    <a:pt x="293" y="1598"/>
                  </a:lnTo>
                  <a:lnTo>
                    <a:pt x="295" y="1597"/>
                  </a:lnTo>
                  <a:lnTo>
                    <a:pt x="298" y="1596"/>
                  </a:lnTo>
                  <a:lnTo>
                    <a:pt x="301" y="1597"/>
                  </a:lnTo>
                  <a:lnTo>
                    <a:pt x="302" y="1591"/>
                  </a:lnTo>
                  <a:lnTo>
                    <a:pt x="306" y="1588"/>
                  </a:lnTo>
                  <a:lnTo>
                    <a:pt x="310" y="1582"/>
                  </a:lnTo>
                  <a:lnTo>
                    <a:pt x="311" y="1582"/>
                  </a:lnTo>
                  <a:lnTo>
                    <a:pt x="315" y="1587"/>
                  </a:lnTo>
                  <a:lnTo>
                    <a:pt x="317" y="1587"/>
                  </a:lnTo>
                  <a:lnTo>
                    <a:pt x="326" y="1576"/>
                  </a:lnTo>
                  <a:lnTo>
                    <a:pt x="326" y="1574"/>
                  </a:lnTo>
                  <a:lnTo>
                    <a:pt x="322" y="1567"/>
                  </a:lnTo>
                  <a:lnTo>
                    <a:pt x="316" y="1559"/>
                  </a:lnTo>
                  <a:lnTo>
                    <a:pt x="315" y="1554"/>
                  </a:lnTo>
                  <a:lnTo>
                    <a:pt x="316" y="1551"/>
                  </a:lnTo>
                  <a:lnTo>
                    <a:pt x="316" y="1548"/>
                  </a:lnTo>
                  <a:lnTo>
                    <a:pt x="306" y="1543"/>
                  </a:lnTo>
                  <a:lnTo>
                    <a:pt x="301" y="1544"/>
                  </a:lnTo>
                  <a:lnTo>
                    <a:pt x="300" y="1540"/>
                  </a:lnTo>
                  <a:lnTo>
                    <a:pt x="291" y="1533"/>
                  </a:lnTo>
                  <a:lnTo>
                    <a:pt x="291" y="1518"/>
                  </a:lnTo>
                  <a:lnTo>
                    <a:pt x="296" y="1517"/>
                  </a:lnTo>
                  <a:lnTo>
                    <a:pt x="294" y="1511"/>
                  </a:lnTo>
                  <a:lnTo>
                    <a:pt x="295" y="1508"/>
                  </a:lnTo>
                  <a:lnTo>
                    <a:pt x="296" y="1507"/>
                  </a:lnTo>
                  <a:lnTo>
                    <a:pt x="289" y="1500"/>
                  </a:lnTo>
                  <a:lnTo>
                    <a:pt x="290" y="1494"/>
                  </a:lnTo>
                  <a:lnTo>
                    <a:pt x="290" y="1492"/>
                  </a:lnTo>
                  <a:lnTo>
                    <a:pt x="300" y="1492"/>
                  </a:lnTo>
                  <a:lnTo>
                    <a:pt x="304" y="1489"/>
                  </a:lnTo>
                  <a:lnTo>
                    <a:pt x="315" y="1492"/>
                  </a:lnTo>
                  <a:lnTo>
                    <a:pt x="317" y="1490"/>
                  </a:lnTo>
                  <a:lnTo>
                    <a:pt x="322" y="1485"/>
                  </a:lnTo>
                  <a:lnTo>
                    <a:pt x="327" y="1475"/>
                  </a:lnTo>
                  <a:lnTo>
                    <a:pt x="327" y="1464"/>
                  </a:lnTo>
                  <a:lnTo>
                    <a:pt x="337" y="1463"/>
                  </a:lnTo>
                  <a:lnTo>
                    <a:pt x="338" y="1462"/>
                  </a:lnTo>
                  <a:lnTo>
                    <a:pt x="336" y="1459"/>
                  </a:lnTo>
                  <a:lnTo>
                    <a:pt x="337" y="1456"/>
                  </a:lnTo>
                  <a:lnTo>
                    <a:pt x="341" y="1453"/>
                  </a:lnTo>
                  <a:lnTo>
                    <a:pt x="342" y="1451"/>
                  </a:lnTo>
                  <a:lnTo>
                    <a:pt x="345" y="1447"/>
                  </a:lnTo>
                  <a:lnTo>
                    <a:pt x="352" y="1442"/>
                  </a:lnTo>
                  <a:lnTo>
                    <a:pt x="352" y="1436"/>
                  </a:lnTo>
                  <a:lnTo>
                    <a:pt x="358" y="1430"/>
                  </a:lnTo>
                  <a:lnTo>
                    <a:pt x="360" y="1411"/>
                  </a:lnTo>
                  <a:lnTo>
                    <a:pt x="363" y="1409"/>
                  </a:lnTo>
                  <a:lnTo>
                    <a:pt x="363" y="1402"/>
                  </a:lnTo>
                  <a:lnTo>
                    <a:pt x="369" y="1394"/>
                  </a:lnTo>
                  <a:lnTo>
                    <a:pt x="369" y="1391"/>
                  </a:lnTo>
                  <a:lnTo>
                    <a:pt x="365" y="1388"/>
                  </a:lnTo>
                  <a:lnTo>
                    <a:pt x="361" y="1388"/>
                  </a:lnTo>
                  <a:lnTo>
                    <a:pt x="354" y="1397"/>
                  </a:lnTo>
                  <a:lnTo>
                    <a:pt x="352" y="1397"/>
                  </a:lnTo>
                  <a:lnTo>
                    <a:pt x="349" y="1393"/>
                  </a:lnTo>
                  <a:lnTo>
                    <a:pt x="347" y="1382"/>
                  </a:lnTo>
                  <a:lnTo>
                    <a:pt x="342" y="1386"/>
                  </a:lnTo>
                  <a:lnTo>
                    <a:pt x="338" y="1386"/>
                  </a:lnTo>
                  <a:lnTo>
                    <a:pt x="336" y="1381"/>
                  </a:lnTo>
                  <a:lnTo>
                    <a:pt x="333" y="1381"/>
                  </a:lnTo>
                  <a:lnTo>
                    <a:pt x="331" y="1379"/>
                  </a:lnTo>
                  <a:lnTo>
                    <a:pt x="330" y="1370"/>
                  </a:lnTo>
                  <a:lnTo>
                    <a:pt x="326" y="1368"/>
                  </a:lnTo>
                  <a:lnTo>
                    <a:pt x="325" y="1366"/>
                  </a:lnTo>
                  <a:lnTo>
                    <a:pt x="322" y="1365"/>
                  </a:lnTo>
                  <a:lnTo>
                    <a:pt x="318" y="1365"/>
                  </a:lnTo>
                  <a:lnTo>
                    <a:pt x="315" y="1360"/>
                  </a:lnTo>
                  <a:lnTo>
                    <a:pt x="312" y="1359"/>
                  </a:lnTo>
                  <a:lnTo>
                    <a:pt x="309" y="1359"/>
                  </a:lnTo>
                  <a:lnTo>
                    <a:pt x="304" y="1361"/>
                  </a:lnTo>
                  <a:lnTo>
                    <a:pt x="298" y="1361"/>
                  </a:lnTo>
                  <a:lnTo>
                    <a:pt x="293" y="1365"/>
                  </a:lnTo>
                  <a:lnTo>
                    <a:pt x="279" y="1365"/>
                  </a:lnTo>
                  <a:lnTo>
                    <a:pt x="269" y="1372"/>
                  </a:lnTo>
                  <a:lnTo>
                    <a:pt x="258" y="1378"/>
                  </a:lnTo>
                  <a:lnTo>
                    <a:pt x="251" y="1383"/>
                  </a:lnTo>
                  <a:lnTo>
                    <a:pt x="246" y="1388"/>
                  </a:lnTo>
                  <a:lnTo>
                    <a:pt x="241" y="1389"/>
                  </a:lnTo>
                  <a:lnTo>
                    <a:pt x="237" y="1394"/>
                  </a:lnTo>
                  <a:lnTo>
                    <a:pt x="230" y="1391"/>
                  </a:lnTo>
                  <a:lnTo>
                    <a:pt x="225" y="1394"/>
                  </a:lnTo>
                  <a:lnTo>
                    <a:pt x="220" y="1394"/>
                  </a:lnTo>
                  <a:lnTo>
                    <a:pt x="209" y="1393"/>
                  </a:lnTo>
                  <a:lnTo>
                    <a:pt x="202" y="1388"/>
                  </a:lnTo>
                  <a:lnTo>
                    <a:pt x="196" y="1389"/>
                  </a:lnTo>
                  <a:lnTo>
                    <a:pt x="188" y="1384"/>
                  </a:lnTo>
                  <a:lnTo>
                    <a:pt x="171" y="1378"/>
                  </a:lnTo>
                  <a:lnTo>
                    <a:pt x="161" y="1372"/>
                  </a:lnTo>
                  <a:lnTo>
                    <a:pt x="161" y="1366"/>
                  </a:lnTo>
                  <a:lnTo>
                    <a:pt x="160" y="1362"/>
                  </a:lnTo>
                  <a:lnTo>
                    <a:pt x="156" y="1363"/>
                  </a:lnTo>
                  <a:lnTo>
                    <a:pt x="151" y="1367"/>
                  </a:lnTo>
                  <a:lnTo>
                    <a:pt x="148" y="1367"/>
                  </a:lnTo>
                  <a:lnTo>
                    <a:pt x="143" y="1368"/>
                  </a:lnTo>
                  <a:lnTo>
                    <a:pt x="139" y="1367"/>
                  </a:lnTo>
                  <a:lnTo>
                    <a:pt x="133" y="1356"/>
                  </a:lnTo>
                  <a:lnTo>
                    <a:pt x="126" y="1355"/>
                  </a:lnTo>
                  <a:lnTo>
                    <a:pt x="124" y="1351"/>
                  </a:lnTo>
                  <a:lnTo>
                    <a:pt x="124" y="1349"/>
                  </a:lnTo>
                  <a:lnTo>
                    <a:pt x="129" y="1348"/>
                  </a:lnTo>
                  <a:lnTo>
                    <a:pt x="131" y="1344"/>
                  </a:lnTo>
                  <a:lnTo>
                    <a:pt x="129" y="1339"/>
                  </a:lnTo>
                  <a:lnTo>
                    <a:pt x="127" y="1336"/>
                  </a:lnTo>
                  <a:lnTo>
                    <a:pt x="129" y="1330"/>
                  </a:lnTo>
                  <a:lnTo>
                    <a:pt x="129" y="1324"/>
                  </a:lnTo>
                  <a:lnTo>
                    <a:pt x="127" y="1318"/>
                  </a:lnTo>
                  <a:lnTo>
                    <a:pt x="121" y="1312"/>
                  </a:lnTo>
                  <a:lnTo>
                    <a:pt x="110" y="1305"/>
                  </a:lnTo>
                  <a:lnTo>
                    <a:pt x="105" y="1305"/>
                  </a:lnTo>
                  <a:lnTo>
                    <a:pt x="99" y="1309"/>
                  </a:lnTo>
                  <a:lnTo>
                    <a:pt x="97" y="1308"/>
                  </a:lnTo>
                  <a:lnTo>
                    <a:pt x="97" y="1296"/>
                  </a:lnTo>
                  <a:lnTo>
                    <a:pt x="95" y="1293"/>
                  </a:lnTo>
                  <a:lnTo>
                    <a:pt x="88" y="1295"/>
                  </a:lnTo>
                  <a:lnTo>
                    <a:pt x="83" y="1292"/>
                  </a:lnTo>
                  <a:lnTo>
                    <a:pt x="79" y="1291"/>
                  </a:lnTo>
                  <a:lnTo>
                    <a:pt x="65" y="1293"/>
                  </a:lnTo>
                  <a:lnTo>
                    <a:pt x="54" y="1290"/>
                  </a:lnTo>
                  <a:lnTo>
                    <a:pt x="56" y="1289"/>
                  </a:lnTo>
                  <a:lnTo>
                    <a:pt x="53" y="1284"/>
                  </a:lnTo>
                  <a:lnTo>
                    <a:pt x="47" y="1281"/>
                  </a:lnTo>
                  <a:lnTo>
                    <a:pt x="46" y="1278"/>
                  </a:lnTo>
                  <a:lnTo>
                    <a:pt x="53" y="1270"/>
                  </a:lnTo>
                  <a:lnTo>
                    <a:pt x="57" y="1269"/>
                  </a:lnTo>
                  <a:lnTo>
                    <a:pt x="62" y="1271"/>
                  </a:lnTo>
                  <a:lnTo>
                    <a:pt x="65" y="1271"/>
                  </a:lnTo>
                  <a:lnTo>
                    <a:pt x="62" y="1271"/>
                  </a:lnTo>
                  <a:lnTo>
                    <a:pt x="70" y="1274"/>
                  </a:lnTo>
                  <a:lnTo>
                    <a:pt x="73" y="1273"/>
                  </a:lnTo>
                  <a:lnTo>
                    <a:pt x="73" y="1237"/>
                  </a:lnTo>
                  <a:lnTo>
                    <a:pt x="63" y="1212"/>
                  </a:lnTo>
                  <a:lnTo>
                    <a:pt x="63" y="1193"/>
                  </a:lnTo>
                  <a:lnTo>
                    <a:pt x="56" y="1182"/>
                  </a:lnTo>
                  <a:lnTo>
                    <a:pt x="37" y="1180"/>
                  </a:lnTo>
                  <a:lnTo>
                    <a:pt x="17" y="1187"/>
                  </a:lnTo>
                  <a:lnTo>
                    <a:pt x="6" y="1179"/>
                  </a:lnTo>
                  <a:lnTo>
                    <a:pt x="2" y="1162"/>
                  </a:lnTo>
                  <a:lnTo>
                    <a:pt x="0" y="1142"/>
                  </a:lnTo>
                  <a:lnTo>
                    <a:pt x="11" y="1108"/>
                  </a:lnTo>
                  <a:lnTo>
                    <a:pt x="10" y="1097"/>
                  </a:lnTo>
                  <a:lnTo>
                    <a:pt x="19" y="1079"/>
                  </a:lnTo>
                  <a:lnTo>
                    <a:pt x="51" y="1064"/>
                  </a:lnTo>
                  <a:lnTo>
                    <a:pt x="56" y="1059"/>
                  </a:lnTo>
                  <a:lnTo>
                    <a:pt x="63" y="1059"/>
                  </a:lnTo>
                  <a:lnTo>
                    <a:pt x="69" y="1044"/>
                  </a:lnTo>
                  <a:lnTo>
                    <a:pt x="79" y="1048"/>
                  </a:lnTo>
                  <a:lnTo>
                    <a:pt x="94" y="1042"/>
                  </a:lnTo>
                  <a:lnTo>
                    <a:pt x="105" y="1043"/>
                  </a:lnTo>
                  <a:lnTo>
                    <a:pt x="111" y="1056"/>
                  </a:lnTo>
                  <a:lnTo>
                    <a:pt x="122" y="1058"/>
                  </a:lnTo>
                  <a:lnTo>
                    <a:pt x="138" y="1054"/>
                  </a:lnTo>
                  <a:lnTo>
                    <a:pt x="148" y="1055"/>
                  </a:lnTo>
                  <a:lnTo>
                    <a:pt x="161" y="1045"/>
                  </a:lnTo>
                  <a:lnTo>
                    <a:pt x="167" y="1027"/>
                  </a:lnTo>
                  <a:lnTo>
                    <a:pt x="176" y="1016"/>
                  </a:lnTo>
                  <a:lnTo>
                    <a:pt x="193" y="1011"/>
                  </a:lnTo>
                  <a:lnTo>
                    <a:pt x="212" y="1010"/>
                  </a:lnTo>
                  <a:lnTo>
                    <a:pt x="239" y="1005"/>
                  </a:lnTo>
                  <a:lnTo>
                    <a:pt x="251" y="1000"/>
                  </a:lnTo>
                  <a:lnTo>
                    <a:pt x="259" y="986"/>
                  </a:lnTo>
                  <a:lnTo>
                    <a:pt x="274" y="973"/>
                  </a:lnTo>
                  <a:lnTo>
                    <a:pt x="310" y="953"/>
                  </a:lnTo>
                  <a:lnTo>
                    <a:pt x="348" y="941"/>
                  </a:lnTo>
                  <a:lnTo>
                    <a:pt x="358" y="934"/>
                  </a:lnTo>
                  <a:lnTo>
                    <a:pt x="364" y="920"/>
                  </a:lnTo>
                  <a:lnTo>
                    <a:pt x="364" y="892"/>
                  </a:lnTo>
                  <a:lnTo>
                    <a:pt x="366" y="881"/>
                  </a:lnTo>
                  <a:lnTo>
                    <a:pt x="374" y="871"/>
                  </a:lnTo>
                  <a:lnTo>
                    <a:pt x="373" y="859"/>
                  </a:lnTo>
                  <a:lnTo>
                    <a:pt x="386" y="849"/>
                  </a:lnTo>
                  <a:lnTo>
                    <a:pt x="386" y="834"/>
                  </a:lnTo>
                  <a:lnTo>
                    <a:pt x="377" y="807"/>
                  </a:lnTo>
                  <a:lnTo>
                    <a:pt x="370" y="795"/>
                  </a:lnTo>
                  <a:lnTo>
                    <a:pt x="366" y="780"/>
                  </a:lnTo>
                  <a:lnTo>
                    <a:pt x="361" y="742"/>
                  </a:lnTo>
                  <a:lnTo>
                    <a:pt x="354" y="727"/>
                  </a:lnTo>
                  <a:lnTo>
                    <a:pt x="347" y="720"/>
                  </a:lnTo>
                  <a:lnTo>
                    <a:pt x="355" y="712"/>
                  </a:lnTo>
                  <a:lnTo>
                    <a:pt x="375" y="705"/>
                  </a:lnTo>
                  <a:lnTo>
                    <a:pt x="393" y="703"/>
                  </a:lnTo>
                  <a:lnTo>
                    <a:pt x="416" y="695"/>
                  </a:lnTo>
                  <a:lnTo>
                    <a:pt x="471" y="693"/>
                  </a:lnTo>
                  <a:lnTo>
                    <a:pt x="478" y="688"/>
                  </a:lnTo>
                  <a:lnTo>
                    <a:pt x="472" y="670"/>
                  </a:lnTo>
                  <a:lnTo>
                    <a:pt x="470" y="655"/>
                  </a:lnTo>
                  <a:lnTo>
                    <a:pt x="473" y="635"/>
                  </a:lnTo>
                  <a:lnTo>
                    <a:pt x="479" y="611"/>
                  </a:lnTo>
                  <a:lnTo>
                    <a:pt x="492" y="584"/>
                  </a:lnTo>
                  <a:lnTo>
                    <a:pt x="500" y="558"/>
                  </a:lnTo>
                  <a:lnTo>
                    <a:pt x="511" y="537"/>
                  </a:lnTo>
                  <a:lnTo>
                    <a:pt x="535" y="537"/>
                  </a:lnTo>
                  <a:lnTo>
                    <a:pt x="544" y="544"/>
                  </a:lnTo>
                  <a:lnTo>
                    <a:pt x="563" y="550"/>
                  </a:lnTo>
                  <a:lnTo>
                    <a:pt x="597" y="547"/>
                  </a:lnTo>
                  <a:lnTo>
                    <a:pt x="606" y="556"/>
                  </a:lnTo>
                  <a:lnTo>
                    <a:pt x="616" y="563"/>
                  </a:lnTo>
                  <a:lnTo>
                    <a:pt x="630" y="552"/>
                  </a:lnTo>
                  <a:lnTo>
                    <a:pt x="653" y="544"/>
                  </a:lnTo>
                  <a:lnTo>
                    <a:pt x="656" y="507"/>
                  </a:lnTo>
                  <a:lnTo>
                    <a:pt x="654" y="484"/>
                  </a:lnTo>
                  <a:lnTo>
                    <a:pt x="659" y="459"/>
                  </a:lnTo>
                  <a:lnTo>
                    <a:pt x="670" y="439"/>
                  </a:lnTo>
                  <a:lnTo>
                    <a:pt x="686" y="440"/>
                  </a:lnTo>
                  <a:lnTo>
                    <a:pt x="705" y="434"/>
                  </a:lnTo>
                  <a:lnTo>
                    <a:pt x="721" y="418"/>
                  </a:lnTo>
                  <a:lnTo>
                    <a:pt x="731" y="398"/>
                  </a:lnTo>
                  <a:lnTo>
                    <a:pt x="756" y="405"/>
                  </a:lnTo>
                  <a:lnTo>
                    <a:pt x="772" y="389"/>
                  </a:lnTo>
                  <a:lnTo>
                    <a:pt x="777" y="389"/>
                  </a:lnTo>
                  <a:lnTo>
                    <a:pt x="777" y="393"/>
                  </a:lnTo>
                  <a:lnTo>
                    <a:pt x="780" y="404"/>
                  </a:lnTo>
                  <a:lnTo>
                    <a:pt x="791" y="430"/>
                  </a:lnTo>
                  <a:lnTo>
                    <a:pt x="821" y="453"/>
                  </a:lnTo>
                  <a:lnTo>
                    <a:pt x="832" y="474"/>
                  </a:lnTo>
                  <a:lnTo>
                    <a:pt x="847" y="485"/>
                  </a:lnTo>
                  <a:lnTo>
                    <a:pt x="854" y="474"/>
                  </a:lnTo>
                  <a:lnTo>
                    <a:pt x="870" y="477"/>
                  </a:lnTo>
                  <a:lnTo>
                    <a:pt x="885" y="485"/>
                  </a:lnTo>
                  <a:lnTo>
                    <a:pt x="901" y="488"/>
                  </a:lnTo>
                  <a:lnTo>
                    <a:pt x="911" y="504"/>
                  </a:lnTo>
                  <a:lnTo>
                    <a:pt x="918" y="526"/>
                  </a:lnTo>
                  <a:lnTo>
                    <a:pt x="928" y="543"/>
                  </a:lnTo>
                  <a:lnTo>
                    <a:pt x="940" y="586"/>
                  </a:lnTo>
                  <a:lnTo>
                    <a:pt x="940" y="614"/>
                  </a:lnTo>
                  <a:lnTo>
                    <a:pt x="944" y="633"/>
                  </a:lnTo>
                  <a:lnTo>
                    <a:pt x="943" y="652"/>
                  </a:lnTo>
                  <a:lnTo>
                    <a:pt x="935" y="668"/>
                  </a:lnTo>
                  <a:lnTo>
                    <a:pt x="934" y="683"/>
                  </a:lnTo>
                  <a:lnTo>
                    <a:pt x="941" y="690"/>
                  </a:lnTo>
                  <a:lnTo>
                    <a:pt x="957" y="697"/>
                  </a:lnTo>
                  <a:lnTo>
                    <a:pt x="988" y="700"/>
                  </a:lnTo>
                  <a:lnTo>
                    <a:pt x="1022" y="711"/>
                  </a:lnTo>
                  <a:lnTo>
                    <a:pt x="1031" y="711"/>
                  </a:lnTo>
                  <a:lnTo>
                    <a:pt x="1044" y="706"/>
                  </a:lnTo>
                  <a:lnTo>
                    <a:pt x="1057" y="706"/>
                  </a:lnTo>
                  <a:lnTo>
                    <a:pt x="1069" y="712"/>
                  </a:lnTo>
                  <a:lnTo>
                    <a:pt x="1099" y="722"/>
                  </a:lnTo>
                  <a:lnTo>
                    <a:pt x="1114" y="732"/>
                  </a:lnTo>
                  <a:lnTo>
                    <a:pt x="1130" y="741"/>
                  </a:lnTo>
                  <a:lnTo>
                    <a:pt x="1162" y="749"/>
                  </a:lnTo>
                  <a:lnTo>
                    <a:pt x="1175" y="759"/>
                  </a:lnTo>
                  <a:lnTo>
                    <a:pt x="1187" y="760"/>
                  </a:lnTo>
                  <a:lnTo>
                    <a:pt x="1198" y="775"/>
                  </a:lnTo>
                  <a:lnTo>
                    <a:pt x="1209" y="792"/>
                  </a:lnTo>
                  <a:lnTo>
                    <a:pt x="1216" y="812"/>
                  </a:lnTo>
                  <a:lnTo>
                    <a:pt x="1228" y="832"/>
                  </a:lnTo>
                  <a:lnTo>
                    <a:pt x="1240" y="846"/>
                  </a:lnTo>
                  <a:lnTo>
                    <a:pt x="1253" y="862"/>
                  </a:lnTo>
                  <a:lnTo>
                    <a:pt x="1269" y="876"/>
                  </a:lnTo>
                  <a:lnTo>
                    <a:pt x="1283" y="882"/>
                  </a:lnTo>
                  <a:lnTo>
                    <a:pt x="1304" y="882"/>
                  </a:lnTo>
                  <a:lnTo>
                    <a:pt x="1452" y="872"/>
                  </a:lnTo>
                  <a:lnTo>
                    <a:pt x="1470" y="870"/>
                  </a:lnTo>
                  <a:lnTo>
                    <a:pt x="1487" y="872"/>
                  </a:lnTo>
                  <a:lnTo>
                    <a:pt x="1521" y="883"/>
                  </a:lnTo>
                  <a:lnTo>
                    <a:pt x="1531" y="887"/>
                  </a:lnTo>
                  <a:lnTo>
                    <a:pt x="1540" y="898"/>
                  </a:lnTo>
                  <a:lnTo>
                    <a:pt x="1555" y="911"/>
                  </a:lnTo>
                  <a:lnTo>
                    <a:pt x="1578" y="921"/>
                  </a:lnTo>
                  <a:lnTo>
                    <a:pt x="1611" y="931"/>
                  </a:lnTo>
                  <a:lnTo>
                    <a:pt x="1629" y="941"/>
                  </a:lnTo>
                  <a:lnTo>
                    <a:pt x="1651" y="948"/>
                  </a:lnTo>
                  <a:lnTo>
                    <a:pt x="1680" y="950"/>
                  </a:lnTo>
                  <a:lnTo>
                    <a:pt x="1686" y="952"/>
                  </a:lnTo>
                  <a:lnTo>
                    <a:pt x="1697" y="961"/>
                  </a:lnTo>
                  <a:lnTo>
                    <a:pt x="1709" y="964"/>
                  </a:lnTo>
                  <a:lnTo>
                    <a:pt x="1719" y="963"/>
                  </a:lnTo>
                  <a:lnTo>
                    <a:pt x="1737" y="948"/>
                  </a:lnTo>
                  <a:lnTo>
                    <a:pt x="1767" y="937"/>
                  </a:lnTo>
                  <a:lnTo>
                    <a:pt x="1780" y="935"/>
                  </a:lnTo>
                  <a:lnTo>
                    <a:pt x="1791" y="931"/>
                  </a:lnTo>
                  <a:lnTo>
                    <a:pt x="1799" y="921"/>
                  </a:lnTo>
                  <a:lnTo>
                    <a:pt x="1810" y="918"/>
                  </a:lnTo>
                  <a:lnTo>
                    <a:pt x="1847" y="911"/>
                  </a:lnTo>
                  <a:lnTo>
                    <a:pt x="1865" y="904"/>
                  </a:lnTo>
                  <a:lnTo>
                    <a:pt x="1891" y="905"/>
                  </a:lnTo>
                  <a:lnTo>
                    <a:pt x="1907" y="899"/>
                  </a:lnTo>
                  <a:lnTo>
                    <a:pt x="1935" y="908"/>
                  </a:lnTo>
                  <a:lnTo>
                    <a:pt x="1940" y="905"/>
                  </a:lnTo>
                  <a:lnTo>
                    <a:pt x="1968" y="903"/>
                  </a:lnTo>
                  <a:lnTo>
                    <a:pt x="1998" y="892"/>
                  </a:lnTo>
                  <a:lnTo>
                    <a:pt x="2012" y="883"/>
                  </a:lnTo>
                  <a:lnTo>
                    <a:pt x="2032" y="868"/>
                  </a:lnTo>
                  <a:lnTo>
                    <a:pt x="2042" y="854"/>
                  </a:lnTo>
                  <a:lnTo>
                    <a:pt x="2100" y="805"/>
                  </a:lnTo>
                  <a:lnTo>
                    <a:pt x="2097" y="791"/>
                  </a:lnTo>
                  <a:lnTo>
                    <a:pt x="2075" y="762"/>
                  </a:lnTo>
                  <a:lnTo>
                    <a:pt x="2078" y="747"/>
                  </a:lnTo>
                  <a:lnTo>
                    <a:pt x="2091" y="727"/>
                  </a:lnTo>
                  <a:lnTo>
                    <a:pt x="2100" y="710"/>
                  </a:lnTo>
                  <a:lnTo>
                    <a:pt x="2121" y="704"/>
                  </a:lnTo>
                  <a:lnTo>
                    <a:pt x="2137" y="709"/>
                  </a:lnTo>
                  <a:lnTo>
                    <a:pt x="2149" y="722"/>
                  </a:lnTo>
                  <a:lnTo>
                    <a:pt x="2170" y="727"/>
                  </a:lnTo>
                  <a:lnTo>
                    <a:pt x="2188" y="727"/>
                  </a:lnTo>
                  <a:lnTo>
                    <a:pt x="2215" y="710"/>
                  </a:lnTo>
                  <a:lnTo>
                    <a:pt x="2234" y="689"/>
                  </a:lnTo>
                  <a:lnTo>
                    <a:pt x="2254" y="667"/>
                  </a:lnTo>
                  <a:lnTo>
                    <a:pt x="2266" y="667"/>
                  </a:lnTo>
                  <a:lnTo>
                    <a:pt x="2277" y="668"/>
                  </a:lnTo>
                  <a:lnTo>
                    <a:pt x="2284" y="666"/>
                  </a:lnTo>
                  <a:lnTo>
                    <a:pt x="2302" y="654"/>
                  </a:lnTo>
                  <a:lnTo>
                    <a:pt x="2353" y="598"/>
                  </a:lnTo>
                  <a:lnTo>
                    <a:pt x="2369" y="584"/>
                  </a:lnTo>
                  <a:lnTo>
                    <a:pt x="2390" y="580"/>
                  </a:lnTo>
                  <a:lnTo>
                    <a:pt x="2415" y="581"/>
                  </a:lnTo>
                  <a:lnTo>
                    <a:pt x="2440" y="577"/>
                  </a:lnTo>
                  <a:lnTo>
                    <a:pt x="2465" y="572"/>
                  </a:lnTo>
                  <a:lnTo>
                    <a:pt x="2484" y="577"/>
                  </a:lnTo>
                  <a:lnTo>
                    <a:pt x="2501" y="580"/>
                  </a:lnTo>
                  <a:lnTo>
                    <a:pt x="2511" y="574"/>
                  </a:lnTo>
                  <a:lnTo>
                    <a:pt x="2510" y="561"/>
                  </a:lnTo>
                  <a:lnTo>
                    <a:pt x="2496" y="553"/>
                  </a:lnTo>
                  <a:lnTo>
                    <a:pt x="2496" y="544"/>
                  </a:lnTo>
                  <a:lnTo>
                    <a:pt x="2498" y="531"/>
                  </a:lnTo>
                  <a:lnTo>
                    <a:pt x="2492" y="517"/>
                  </a:lnTo>
                  <a:lnTo>
                    <a:pt x="2463" y="493"/>
                  </a:lnTo>
                  <a:lnTo>
                    <a:pt x="2450" y="478"/>
                  </a:lnTo>
                  <a:lnTo>
                    <a:pt x="2444" y="464"/>
                  </a:lnTo>
                  <a:lnTo>
                    <a:pt x="2415" y="485"/>
                  </a:lnTo>
                  <a:lnTo>
                    <a:pt x="2397" y="498"/>
                  </a:lnTo>
                  <a:lnTo>
                    <a:pt x="2372" y="505"/>
                  </a:lnTo>
                  <a:lnTo>
                    <a:pt x="2347" y="507"/>
                  </a:lnTo>
                  <a:lnTo>
                    <a:pt x="2306" y="498"/>
                  </a:lnTo>
                  <a:lnTo>
                    <a:pt x="2297" y="483"/>
                  </a:lnTo>
                  <a:lnTo>
                    <a:pt x="2294" y="463"/>
                  </a:lnTo>
                  <a:lnTo>
                    <a:pt x="2294" y="441"/>
                  </a:lnTo>
                  <a:lnTo>
                    <a:pt x="2302" y="424"/>
                  </a:lnTo>
                  <a:lnTo>
                    <a:pt x="2305" y="404"/>
                  </a:lnTo>
                  <a:lnTo>
                    <a:pt x="2302" y="387"/>
                  </a:lnTo>
                  <a:lnTo>
                    <a:pt x="2302" y="371"/>
                  </a:lnTo>
                  <a:lnTo>
                    <a:pt x="2306" y="362"/>
                  </a:lnTo>
                  <a:lnTo>
                    <a:pt x="2317" y="348"/>
                  </a:lnTo>
                  <a:lnTo>
                    <a:pt x="2333" y="319"/>
                  </a:lnTo>
                  <a:lnTo>
                    <a:pt x="2342" y="311"/>
                  </a:lnTo>
                  <a:lnTo>
                    <a:pt x="2342" y="306"/>
                  </a:lnTo>
                  <a:lnTo>
                    <a:pt x="2353" y="308"/>
                  </a:lnTo>
                  <a:lnTo>
                    <a:pt x="2366" y="318"/>
                  </a:lnTo>
                  <a:lnTo>
                    <a:pt x="2398" y="328"/>
                  </a:lnTo>
                  <a:lnTo>
                    <a:pt x="2423" y="340"/>
                  </a:lnTo>
                  <a:lnTo>
                    <a:pt x="2434" y="338"/>
                  </a:lnTo>
                  <a:lnTo>
                    <a:pt x="2449" y="327"/>
                  </a:lnTo>
                  <a:lnTo>
                    <a:pt x="2499" y="296"/>
                  </a:lnTo>
                  <a:lnTo>
                    <a:pt x="2500" y="289"/>
                  </a:lnTo>
                  <a:lnTo>
                    <a:pt x="2498" y="276"/>
                  </a:lnTo>
                  <a:lnTo>
                    <a:pt x="2501" y="264"/>
                  </a:lnTo>
                  <a:lnTo>
                    <a:pt x="2512" y="251"/>
                  </a:lnTo>
                  <a:lnTo>
                    <a:pt x="2519" y="240"/>
                  </a:lnTo>
                  <a:lnTo>
                    <a:pt x="2526" y="210"/>
                  </a:lnTo>
                  <a:lnTo>
                    <a:pt x="2531" y="188"/>
                  </a:lnTo>
                  <a:lnTo>
                    <a:pt x="2538" y="171"/>
                  </a:lnTo>
                  <a:lnTo>
                    <a:pt x="2557" y="161"/>
                  </a:lnTo>
                  <a:lnTo>
                    <a:pt x="2581" y="134"/>
                  </a:lnTo>
                  <a:lnTo>
                    <a:pt x="2581" y="129"/>
                  </a:lnTo>
                  <a:lnTo>
                    <a:pt x="2576" y="118"/>
                  </a:lnTo>
                  <a:lnTo>
                    <a:pt x="2578" y="91"/>
                  </a:lnTo>
                  <a:lnTo>
                    <a:pt x="2571" y="87"/>
                  </a:lnTo>
                  <a:lnTo>
                    <a:pt x="2560" y="87"/>
                  </a:lnTo>
                  <a:lnTo>
                    <a:pt x="2542" y="92"/>
                  </a:lnTo>
                  <a:lnTo>
                    <a:pt x="2538" y="87"/>
                  </a:lnTo>
                  <a:lnTo>
                    <a:pt x="2543" y="74"/>
                  </a:lnTo>
                  <a:lnTo>
                    <a:pt x="2567" y="50"/>
                  </a:lnTo>
                  <a:lnTo>
                    <a:pt x="2575" y="38"/>
                  </a:lnTo>
                  <a:lnTo>
                    <a:pt x="2591" y="26"/>
                  </a:lnTo>
                  <a:lnTo>
                    <a:pt x="2625" y="20"/>
                  </a:lnTo>
                  <a:lnTo>
                    <a:pt x="2666" y="5"/>
                  </a:lnTo>
                  <a:lnTo>
                    <a:pt x="2691" y="6"/>
                  </a:lnTo>
                  <a:lnTo>
                    <a:pt x="2726" y="0"/>
                  </a:lnTo>
                  <a:lnTo>
                    <a:pt x="2738" y="0"/>
                  </a:lnTo>
                  <a:lnTo>
                    <a:pt x="2757" y="9"/>
                  </a:lnTo>
                  <a:lnTo>
                    <a:pt x="2774" y="21"/>
                  </a:lnTo>
                  <a:lnTo>
                    <a:pt x="2785" y="33"/>
                  </a:lnTo>
                  <a:lnTo>
                    <a:pt x="2801" y="37"/>
                  </a:lnTo>
                  <a:lnTo>
                    <a:pt x="2820" y="34"/>
                  </a:lnTo>
                  <a:lnTo>
                    <a:pt x="2836" y="38"/>
                  </a:lnTo>
                  <a:lnTo>
                    <a:pt x="2850" y="44"/>
                  </a:lnTo>
                  <a:lnTo>
                    <a:pt x="2858" y="58"/>
                  </a:lnTo>
                  <a:lnTo>
                    <a:pt x="2870" y="76"/>
                  </a:lnTo>
                  <a:lnTo>
                    <a:pt x="2871" y="89"/>
                  </a:lnTo>
                  <a:lnTo>
                    <a:pt x="2879" y="96"/>
                  </a:lnTo>
                  <a:lnTo>
                    <a:pt x="2888" y="102"/>
                  </a:lnTo>
                  <a:lnTo>
                    <a:pt x="2890" y="111"/>
                  </a:lnTo>
                  <a:lnTo>
                    <a:pt x="2891" y="106"/>
                  </a:lnTo>
                  <a:lnTo>
                    <a:pt x="2893" y="119"/>
                  </a:lnTo>
                  <a:lnTo>
                    <a:pt x="2898" y="134"/>
                  </a:lnTo>
                  <a:lnTo>
                    <a:pt x="2901" y="155"/>
                  </a:lnTo>
                  <a:lnTo>
                    <a:pt x="2909" y="172"/>
                  </a:lnTo>
                  <a:lnTo>
                    <a:pt x="2914" y="189"/>
                  </a:lnTo>
                  <a:lnTo>
                    <a:pt x="2935" y="229"/>
                  </a:lnTo>
                  <a:lnTo>
                    <a:pt x="2941" y="270"/>
                  </a:lnTo>
                  <a:lnTo>
                    <a:pt x="2950" y="289"/>
                  </a:lnTo>
                  <a:lnTo>
                    <a:pt x="2949" y="294"/>
                  </a:lnTo>
                  <a:lnTo>
                    <a:pt x="2950" y="295"/>
                  </a:lnTo>
                  <a:lnTo>
                    <a:pt x="2952" y="313"/>
                  </a:lnTo>
                  <a:lnTo>
                    <a:pt x="2952" y="334"/>
                  </a:lnTo>
                  <a:lnTo>
                    <a:pt x="2965" y="345"/>
                  </a:lnTo>
                  <a:lnTo>
                    <a:pt x="2988" y="348"/>
                  </a:lnTo>
                  <a:lnTo>
                    <a:pt x="3009" y="340"/>
                  </a:lnTo>
                  <a:lnTo>
                    <a:pt x="3025" y="348"/>
                  </a:lnTo>
                  <a:lnTo>
                    <a:pt x="3044" y="350"/>
                  </a:lnTo>
                  <a:lnTo>
                    <a:pt x="3062" y="359"/>
                  </a:lnTo>
                  <a:lnTo>
                    <a:pt x="3094" y="387"/>
                  </a:lnTo>
                  <a:lnTo>
                    <a:pt x="3109" y="394"/>
                  </a:lnTo>
                  <a:lnTo>
                    <a:pt x="3121" y="396"/>
                  </a:lnTo>
                  <a:lnTo>
                    <a:pt x="3125" y="403"/>
                  </a:lnTo>
                  <a:lnTo>
                    <a:pt x="3125" y="408"/>
                  </a:lnTo>
                  <a:lnTo>
                    <a:pt x="3127" y="407"/>
                  </a:lnTo>
                  <a:lnTo>
                    <a:pt x="3128" y="423"/>
                  </a:lnTo>
                  <a:lnTo>
                    <a:pt x="3135" y="432"/>
                  </a:lnTo>
                  <a:lnTo>
                    <a:pt x="3134" y="448"/>
                  </a:lnTo>
                  <a:lnTo>
                    <a:pt x="3135" y="466"/>
                  </a:lnTo>
                  <a:lnTo>
                    <a:pt x="3145" y="482"/>
                  </a:lnTo>
                  <a:lnTo>
                    <a:pt x="3151" y="495"/>
                  </a:lnTo>
                  <a:lnTo>
                    <a:pt x="3170" y="494"/>
                  </a:lnTo>
                  <a:lnTo>
                    <a:pt x="3189" y="500"/>
                  </a:lnTo>
                  <a:lnTo>
                    <a:pt x="3207" y="498"/>
                  </a:lnTo>
                  <a:lnTo>
                    <a:pt x="3238" y="483"/>
                  </a:lnTo>
                  <a:lnTo>
                    <a:pt x="3272" y="461"/>
                  </a:lnTo>
                  <a:lnTo>
                    <a:pt x="3290" y="459"/>
                  </a:lnTo>
                  <a:lnTo>
                    <a:pt x="3323" y="441"/>
                  </a:lnTo>
                  <a:lnTo>
                    <a:pt x="3355" y="432"/>
                  </a:lnTo>
                  <a:lnTo>
                    <a:pt x="3356" y="435"/>
                  </a:lnTo>
                  <a:lnTo>
                    <a:pt x="3348" y="448"/>
                  </a:lnTo>
                  <a:lnTo>
                    <a:pt x="3348" y="468"/>
                  </a:lnTo>
                  <a:lnTo>
                    <a:pt x="3353" y="484"/>
                  </a:lnTo>
                  <a:lnTo>
                    <a:pt x="3350" y="504"/>
                  </a:lnTo>
                  <a:lnTo>
                    <a:pt x="3338" y="514"/>
                  </a:lnTo>
                  <a:lnTo>
                    <a:pt x="3324" y="527"/>
                  </a:lnTo>
                  <a:lnTo>
                    <a:pt x="3322" y="548"/>
                  </a:lnTo>
                  <a:lnTo>
                    <a:pt x="3308" y="581"/>
                  </a:lnTo>
                  <a:lnTo>
                    <a:pt x="3300" y="623"/>
                  </a:lnTo>
                  <a:lnTo>
                    <a:pt x="3281" y="661"/>
                  </a:lnTo>
                  <a:lnTo>
                    <a:pt x="3268" y="679"/>
                  </a:lnTo>
                  <a:lnTo>
                    <a:pt x="3263" y="699"/>
                  </a:lnTo>
                  <a:lnTo>
                    <a:pt x="3251" y="709"/>
                  </a:lnTo>
                  <a:lnTo>
                    <a:pt x="3246" y="705"/>
                  </a:lnTo>
                  <a:lnTo>
                    <a:pt x="3195" y="693"/>
                  </a:lnTo>
                  <a:lnTo>
                    <a:pt x="3182" y="700"/>
                  </a:lnTo>
                  <a:lnTo>
                    <a:pt x="3146" y="735"/>
                  </a:lnTo>
                  <a:lnTo>
                    <a:pt x="3154" y="748"/>
                  </a:lnTo>
                  <a:lnTo>
                    <a:pt x="3160" y="775"/>
                  </a:lnTo>
                  <a:lnTo>
                    <a:pt x="3160" y="834"/>
                  </a:lnTo>
                  <a:lnTo>
                    <a:pt x="3144" y="859"/>
                  </a:lnTo>
                  <a:lnTo>
                    <a:pt x="3124" y="876"/>
                  </a:lnTo>
                  <a:lnTo>
                    <a:pt x="3124" y="894"/>
                  </a:lnTo>
                  <a:lnTo>
                    <a:pt x="3116" y="893"/>
                  </a:lnTo>
                  <a:lnTo>
                    <a:pt x="3108" y="878"/>
                  </a:lnTo>
                  <a:lnTo>
                    <a:pt x="3097" y="867"/>
                  </a:lnTo>
                  <a:lnTo>
                    <a:pt x="3086" y="876"/>
                  </a:lnTo>
                  <a:lnTo>
                    <a:pt x="3079" y="896"/>
                  </a:lnTo>
                  <a:lnTo>
                    <a:pt x="3069" y="911"/>
                  </a:lnTo>
                  <a:lnTo>
                    <a:pt x="3038" y="935"/>
                  </a:lnTo>
                  <a:lnTo>
                    <a:pt x="3014" y="941"/>
                  </a:lnTo>
                  <a:lnTo>
                    <a:pt x="2994" y="941"/>
                  </a:lnTo>
                  <a:lnTo>
                    <a:pt x="2989" y="950"/>
                  </a:lnTo>
                  <a:lnTo>
                    <a:pt x="2995" y="981"/>
                  </a:lnTo>
                  <a:lnTo>
                    <a:pt x="2953" y="985"/>
                  </a:lnTo>
                  <a:lnTo>
                    <a:pt x="2939" y="975"/>
                  </a:lnTo>
                  <a:lnTo>
                    <a:pt x="2920" y="970"/>
                  </a:lnTo>
                  <a:lnTo>
                    <a:pt x="2908" y="980"/>
                  </a:lnTo>
                  <a:lnTo>
                    <a:pt x="2883" y="1009"/>
                  </a:lnTo>
                  <a:lnTo>
                    <a:pt x="2865" y="1024"/>
                  </a:lnTo>
                  <a:lnTo>
                    <a:pt x="2826" y="1045"/>
                  </a:lnTo>
                  <a:lnTo>
                    <a:pt x="2811" y="1052"/>
                  </a:lnTo>
                  <a:lnTo>
                    <a:pt x="2783" y="1087"/>
                  </a:lnTo>
                  <a:lnTo>
                    <a:pt x="2781" y="1091"/>
                  </a:lnTo>
                  <a:lnTo>
                    <a:pt x="2774" y="1094"/>
                  </a:lnTo>
                  <a:lnTo>
                    <a:pt x="2767" y="1097"/>
                  </a:lnTo>
                  <a:lnTo>
                    <a:pt x="2756" y="1097"/>
                  </a:lnTo>
                  <a:lnTo>
                    <a:pt x="2734" y="1104"/>
                  </a:lnTo>
                  <a:lnTo>
                    <a:pt x="2729" y="1097"/>
                  </a:lnTo>
                  <a:lnTo>
                    <a:pt x="2724" y="1102"/>
                  </a:lnTo>
                  <a:lnTo>
                    <a:pt x="2709" y="1113"/>
                  </a:lnTo>
                  <a:lnTo>
                    <a:pt x="2673" y="1128"/>
                  </a:lnTo>
                  <a:lnTo>
                    <a:pt x="2665" y="1136"/>
                  </a:lnTo>
                  <a:lnTo>
                    <a:pt x="2657" y="1149"/>
                  </a:lnTo>
                  <a:lnTo>
                    <a:pt x="2646" y="1157"/>
                  </a:lnTo>
                  <a:lnTo>
                    <a:pt x="2638" y="1157"/>
                  </a:lnTo>
                  <a:lnTo>
                    <a:pt x="2632" y="1163"/>
                  </a:lnTo>
                  <a:lnTo>
                    <a:pt x="2613" y="1172"/>
                  </a:lnTo>
                  <a:lnTo>
                    <a:pt x="2607" y="1168"/>
                  </a:lnTo>
                  <a:lnTo>
                    <a:pt x="2616" y="1156"/>
                  </a:lnTo>
                  <a:lnTo>
                    <a:pt x="2630" y="1151"/>
                  </a:lnTo>
                  <a:lnTo>
                    <a:pt x="2635" y="1140"/>
                  </a:lnTo>
                  <a:lnTo>
                    <a:pt x="2638" y="1129"/>
                  </a:lnTo>
                  <a:lnTo>
                    <a:pt x="2630" y="1126"/>
                  </a:lnTo>
                  <a:lnTo>
                    <a:pt x="2622" y="1119"/>
                  </a:lnTo>
                  <a:lnTo>
                    <a:pt x="2616" y="1118"/>
                  </a:lnTo>
                  <a:lnTo>
                    <a:pt x="2625" y="1112"/>
                  </a:lnTo>
                  <a:lnTo>
                    <a:pt x="2627" y="1101"/>
                  </a:lnTo>
                  <a:lnTo>
                    <a:pt x="2638" y="1093"/>
                  </a:lnTo>
                  <a:lnTo>
                    <a:pt x="2660" y="1063"/>
                  </a:lnTo>
                  <a:lnTo>
                    <a:pt x="2667" y="1050"/>
                  </a:lnTo>
                  <a:lnTo>
                    <a:pt x="2665" y="1042"/>
                  </a:lnTo>
                  <a:lnTo>
                    <a:pt x="2652" y="1028"/>
                  </a:lnTo>
                  <a:lnTo>
                    <a:pt x="2649" y="1016"/>
                  </a:lnTo>
                  <a:lnTo>
                    <a:pt x="2644" y="1010"/>
                  </a:lnTo>
                  <a:lnTo>
                    <a:pt x="2639" y="1016"/>
                  </a:lnTo>
                  <a:lnTo>
                    <a:pt x="2616" y="1017"/>
                  </a:lnTo>
                  <a:lnTo>
                    <a:pt x="2606" y="1021"/>
                  </a:lnTo>
                  <a:lnTo>
                    <a:pt x="2590" y="1038"/>
                  </a:lnTo>
                  <a:lnTo>
                    <a:pt x="2578" y="1053"/>
                  </a:lnTo>
                  <a:lnTo>
                    <a:pt x="2571" y="1065"/>
                  </a:lnTo>
                  <a:lnTo>
                    <a:pt x="2568" y="1070"/>
                  </a:lnTo>
                  <a:lnTo>
                    <a:pt x="2542" y="1082"/>
                  </a:lnTo>
                  <a:lnTo>
                    <a:pt x="2524" y="1096"/>
                  </a:lnTo>
                  <a:lnTo>
                    <a:pt x="2516" y="1098"/>
                  </a:lnTo>
                  <a:lnTo>
                    <a:pt x="2509" y="1112"/>
                  </a:lnTo>
                  <a:lnTo>
                    <a:pt x="2506" y="1126"/>
                  </a:lnTo>
                  <a:lnTo>
                    <a:pt x="2498" y="1135"/>
                  </a:lnTo>
                  <a:lnTo>
                    <a:pt x="2488" y="1141"/>
                  </a:lnTo>
                  <a:lnTo>
                    <a:pt x="2473" y="1144"/>
                  </a:lnTo>
                  <a:lnTo>
                    <a:pt x="2462" y="1147"/>
                  </a:lnTo>
                  <a:lnTo>
                    <a:pt x="2451" y="1147"/>
                  </a:lnTo>
                  <a:lnTo>
                    <a:pt x="2445" y="1144"/>
                  </a:lnTo>
                  <a:lnTo>
                    <a:pt x="2433" y="1142"/>
                  </a:lnTo>
                  <a:lnTo>
                    <a:pt x="2423" y="1152"/>
                  </a:lnTo>
                  <a:lnTo>
                    <a:pt x="2417" y="1172"/>
                  </a:lnTo>
                  <a:lnTo>
                    <a:pt x="2414" y="1189"/>
                  </a:lnTo>
                  <a:lnTo>
                    <a:pt x="2431" y="1207"/>
                  </a:lnTo>
                  <a:lnTo>
                    <a:pt x="2435" y="1216"/>
                  </a:lnTo>
                  <a:lnTo>
                    <a:pt x="2444" y="1221"/>
                  </a:lnTo>
                  <a:lnTo>
                    <a:pt x="2451" y="1221"/>
                  </a:lnTo>
                  <a:lnTo>
                    <a:pt x="2456" y="1228"/>
                  </a:lnTo>
                  <a:lnTo>
                    <a:pt x="2465" y="1228"/>
                  </a:lnTo>
                  <a:lnTo>
                    <a:pt x="2469" y="1239"/>
                  </a:lnTo>
                  <a:lnTo>
                    <a:pt x="2479" y="1247"/>
                  </a:lnTo>
                  <a:lnTo>
                    <a:pt x="2482" y="1255"/>
                  </a:lnTo>
                  <a:lnTo>
                    <a:pt x="2482" y="1265"/>
                  </a:lnTo>
                  <a:lnTo>
                    <a:pt x="2490" y="1276"/>
                  </a:lnTo>
                  <a:lnTo>
                    <a:pt x="2517" y="1286"/>
                  </a:lnTo>
                  <a:lnTo>
                    <a:pt x="2531" y="1285"/>
                  </a:lnTo>
                  <a:lnTo>
                    <a:pt x="2543" y="1269"/>
                  </a:lnTo>
                  <a:lnTo>
                    <a:pt x="2554" y="1260"/>
                  </a:lnTo>
                  <a:lnTo>
                    <a:pt x="2562" y="1249"/>
                  </a:lnTo>
                  <a:lnTo>
                    <a:pt x="2584" y="1239"/>
                  </a:lnTo>
                  <a:lnTo>
                    <a:pt x="2591" y="1238"/>
                  </a:lnTo>
                  <a:lnTo>
                    <a:pt x="2602" y="1249"/>
                  </a:lnTo>
                  <a:lnTo>
                    <a:pt x="2611" y="1254"/>
                  </a:lnTo>
                  <a:lnTo>
                    <a:pt x="2622" y="1255"/>
                  </a:lnTo>
                  <a:lnTo>
                    <a:pt x="2629" y="1264"/>
                  </a:lnTo>
                  <a:lnTo>
                    <a:pt x="2637" y="1265"/>
                  </a:lnTo>
                  <a:lnTo>
                    <a:pt x="2649" y="1263"/>
                  </a:lnTo>
                  <a:lnTo>
                    <a:pt x="2657" y="1258"/>
                  </a:lnTo>
                  <a:lnTo>
                    <a:pt x="2671" y="1264"/>
                  </a:lnTo>
                  <a:lnTo>
                    <a:pt x="2683" y="1266"/>
                  </a:lnTo>
                  <a:lnTo>
                    <a:pt x="2687" y="1268"/>
                  </a:lnTo>
                  <a:lnTo>
                    <a:pt x="2684" y="1281"/>
                  </a:lnTo>
                  <a:lnTo>
                    <a:pt x="2680" y="1290"/>
                  </a:lnTo>
                  <a:lnTo>
                    <a:pt x="2680" y="1295"/>
                  </a:lnTo>
                  <a:lnTo>
                    <a:pt x="2670" y="1307"/>
                  </a:lnTo>
                  <a:lnTo>
                    <a:pt x="2666" y="1303"/>
                  </a:lnTo>
                  <a:lnTo>
                    <a:pt x="2662" y="1293"/>
                  </a:lnTo>
                  <a:lnTo>
                    <a:pt x="2656" y="1297"/>
                  </a:lnTo>
                  <a:lnTo>
                    <a:pt x="2650" y="1295"/>
                  </a:lnTo>
                  <a:lnTo>
                    <a:pt x="2643" y="1301"/>
                  </a:lnTo>
                  <a:lnTo>
                    <a:pt x="2637" y="1311"/>
                  </a:lnTo>
                  <a:lnTo>
                    <a:pt x="2614" y="1313"/>
                  </a:lnTo>
                  <a:lnTo>
                    <a:pt x="2602" y="1319"/>
                  </a:lnTo>
                  <a:lnTo>
                    <a:pt x="2591" y="1319"/>
                  </a:lnTo>
                  <a:lnTo>
                    <a:pt x="2594" y="1333"/>
                  </a:lnTo>
                  <a:lnTo>
                    <a:pt x="2590" y="1333"/>
                  </a:lnTo>
                  <a:lnTo>
                    <a:pt x="2585" y="1338"/>
                  </a:lnTo>
                  <a:lnTo>
                    <a:pt x="2578" y="1355"/>
                  </a:lnTo>
                  <a:lnTo>
                    <a:pt x="2568" y="1356"/>
                  </a:lnTo>
                  <a:lnTo>
                    <a:pt x="2564" y="1345"/>
                  </a:lnTo>
                  <a:lnTo>
                    <a:pt x="2555" y="1345"/>
                  </a:lnTo>
                  <a:lnTo>
                    <a:pt x="2548" y="1354"/>
                  </a:lnTo>
                  <a:lnTo>
                    <a:pt x="2555" y="1362"/>
                  </a:lnTo>
                  <a:lnTo>
                    <a:pt x="2552" y="1371"/>
                  </a:lnTo>
                  <a:lnTo>
                    <a:pt x="2544" y="1381"/>
                  </a:lnTo>
                  <a:lnTo>
                    <a:pt x="2526" y="1391"/>
                  </a:lnTo>
                  <a:lnTo>
                    <a:pt x="2521" y="1404"/>
                  </a:lnTo>
                  <a:lnTo>
                    <a:pt x="2509" y="1421"/>
                  </a:lnTo>
                  <a:lnTo>
                    <a:pt x="2500" y="1437"/>
                  </a:lnTo>
                  <a:lnTo>
                    <a:pt x="2503" y="1446"/>
                  </a:lnTo>
                  <a:lnTo>
                    <a:pt x="2514" y="1448"/>
                  </a:lnTo>
                  <a:lnTo>
                    <a:pt x="2522" y="1456"/>
                  </a:lnTo>
                  <a:lnTo>
                    <a:pt x="2555" y="1473"/>
                  </a:lnTo>
                  <a:lnTo>
                    <a:pt x="2562" y="1483"/>
                  </a:lnTo>
                  <a:lnTo>
                    <a:pt x="2567" y="1499"/>
                  </a:lnTo>
                  <a:lnTo>
                    <a:pt x="2574" y="1508"/>
                  </a:lnTo>
                  <a:lnTo>
                    <a:pt x="2584" y="1548"/>
                  </a:lnTo>
                  <a:lnTo>
                    <a:pt x="2590" y="1561"/>
                  </a:lnTo>
                  <a:lnTo>
                    <a:pt x="2594" y="1578"/>
                  </a:lnTo>
                  <a:lnTo>
                    <a:pt x="2603" y="1592"/>
                  </a:lnTo>
                  <a:lnTo>
                    <a:pt x="2617" y="1598"/>
                  </a:lnTo>
                  <a:lnTo>
                    <a:pt x="2618" y="1608"/>
                  </a:lnTo>
                  <a:lnTo>
                    <a:pt x="2635" y="1625"/>
                  </a:lnTo>
                  <a:lnTo>
                    <a:pt x="2646" y="1642"/>
                  </a:lnTo>
                  <a:lnTo>
                    <a:pt x="2646" y="1646"/>
                  </a:lnTo>
                  <a:lnTo>
                    <a:pt x="2628" y="1637"/>
                  </a:lnTo>
                  <a:lnTo>
                    <a:pt x="2613" y="1632"/>
                  </a:lnTo>
                  <a:lnTo>
                    <a:pt x="2602" y="1632"/>
                  </a:lnTo>
                  <a:lnTo>
                    <a:pt x="2590" y="1624"/>
                  </a:lnTo>
                  <a:lnTo>
                    <a:pt x="2576" y="1620"/>
                  </a:lnTo>
                  <a:lnTo>
                    <a:pt x="2551" y="1625"/>
                  </a:lnTo>
                  <a:lnTo>
                    <a:pt x="2551" y="1631"/>
                  </a:lnTo>
                  <a:lnTo>
                    <a:pt x="2576" y="1626"/>
                  </a:lnTo>
                  <a:lnTo>
                    <a:pt x="2581" y="1630"/>
                  </a:lnTo>
                  <a:lnTo>
                    <a:pt x="2584" y="1637"/>
                  </a:lnTo>
                  <a:lnTo>
                    <a:pt x="2595" y="1639"/>
                  </a:lnTo>
                  <a:lnTo>
                    <a:pt x="2607" y="1647"/>
                  </a:lnTo>
                  <a:lnTo>
                    <a:pt x="2618" y="1660"/>
                  </a:lnTo>
                  <a:lnTo>
                    <a:pt x="2627" y="1664"/>
                  </a:lnTo>
                  <a:lnTo>
                    <a:pt x="2632" y="1667"/>
                  </a:lnTo>
                  <a:lnTo>
                    <a:pt x="2640" y="1677"/>
                  </a:lnTo>
                  <a:lnTo>
                    <a:pt x="2648" y="1690"/>
                  </a:lnTo>
                  <a:lnTo>
                    <a:pt x="2646" y="1695"/>
                  </a:lnTo>
                  <a:lnTo>
                    <a:pt x="2633" y="1696"/>
                  </a:lnTo>
                  <a:lnTo>
                    <a:pt x="2622" y="1706"/>
                  </a:lnTo>
                  <a:lnTo>
                    <a:pt x="2611" y="1710"/>
                  </a:lnTo>
                  <a:lnTo>
                    <a:pt x="2603" y="1715"/>
                  </a:lnTo>
                  <a:lnTo>
                    <a:pt x="2600" y="1720"/>
                  </a:lnTo>
                  <a:lnTo>
                    <a:pt x="2589" y="1727"/>
                  </a:lnTo>
                  <a:lnTo>
                    <a:pt x="2573" y="1727"/>
                  </a:lnTo>
                  <a:lnTo>
                    <a:pt x="2562" y="1730"/>
                  </a:lnTo>
                  <a:lnTo>
                    <a:pt x="2551" y="1734"/>
                  </a:lnTo>
                  <a:lnTo>
                    <a:pt x="2563" y="1733"/>
                  </a:lnTo>
                  <a:lnTo>
                    <a:pt x="2575" y="1737"/>
                  </a:lnTo>
                  <a:lnTo>
                    <a:pt x="2586" y="1742"/>
                  </a:lnTo>
                  <a:lnTo>
                    <a:pt x="2607" y="1733"/>
                  </a:lnTo>
                  <a:lnTo>
                    <a:pt x="2616" y="1736"/>
                  </a:lnTo>
                  <a:lnTo>
                    <a:pt x="2624" y="1743"/>
                  </a:lnTo>
                  <a:lnTo>
                    <a:pt x="2628" y="1749"/>
                  </a:lnTo>
                  <a:lnTo>
                    <a:pt x="2633" y="1753"/>
                  </a:lnTo>
                  <a:lnTo>
                    <a:pt x="2640" y="1755"/>
                  </a:lnTo>
                  <a:lnTo>
                    <a:pt x="2648" y="1755"/>
                  </a:lnTo>
                  <a:lnTo>
                    <a:pt x="2652" y="1758"/>
                  </a:lnTo>
                  <a:lnTo>
                    <a:pt x="2646" y="1761"/>
                  </a:lnTo>
                  <a:lnTo>
                    <a:pt x="2633" y="1776"/>
                  </a:lnTo>
                  <a:lnTo>
                    <a:pt x="2623" y="1781"/>
                  </a:lnTo>
                  <a:lnTo>
                    <a:pt x="2627" y="1782"/>
                  </a:lnTo>
                  <a:lnTo>
                    <a:pt x="2643" y="1775"/>
                  </a:lnTo>
                  <a:lnTo>
                    <a:pt x="2643" y="1788"/>
                  </a:lnTo>
                  <a:lnTo>
                    <a:pt x="2641" y="1798"/>
                  </a:lnTo>
                  <a:lnTo>
                    <a:pt x="2640" y="1795"/>
                  </a:lnTo>
                  <a:lnTo>
                    <a:pt x="2635" y="1798"/>
                  </a:lnTo>
                  <a:lnTo>
                    <a:pt x="2623" y="1802"/>
                  </a:lnTo>
                  <a:lnTo>
                    <a:pt x="2623" y="1804"/>
                  </a:lnTo>
                  <a:lnTo>
                    <a:pt x="2628" y="1814"/>
                  </a:lnTo>
                  <a:lnTo>
                    <a:pt x="2625" y="1829"/>
                  </a:lnTo>
                  <a:lnTo>
                    <a:pt x="2622" y="1833"/>
                  </a:lnTo>
                  <a:lnTo>
                    <a:pt x="2622" y="1850"/>
                  </a:lnTo>
                  <a:lnTo>
                    <a:pt x="2616" y="1865"/>
                  </a:lnTo>
                  <a:lnTo>
                    <a:pt x="2611" y="1862"/>
                  </a:lnTo>
                  <a:lnTo>
                    <a:pt x="2606" y="1856"/>
                  </a:lnTo>
                  <a:lnTo>
                    <a:pt x="2601" y="1860"/>
                  </a:lnTo>
                  <a:lnTo>
                    <a:pt x="2594" y="1871"/>
                  </a:lnTo>
                  <a:lnTo>
                    <a:pt x="2587" y="1879"/>
                  </a:lnTo>
                  <a:lnTo>
                    <a:pt x="2582" y="1887"/>
                  </a:lnTo>
                  <a:lnTo>
                    <a:pt x="2578" y="1890"/>
                  </a:lnTo>
                  <a:lnTo>
                    <a:pt x="2574" y="1897"/>
                  </a:lnTo>
                  <a:lnTo>
                    <a:pt x="2571" y="1904"/>
                  </a:lnTo>
                  <a:lnTo>
                    <a:pt x="2571" y="1911"/>
                  </a:lnTo>
                  <a:lnTo>
                    <a:pt x="2567" y="1921"/>
                  </a:lnTo>
                  <a:lnTo>
                    <a:pt x="2560" y="1930"/>
                  </a:lnTo>
                  <a:lnTo>
                    <a:pt x="2555" y="1933"/>
                  </a:lnTo>
                  <a:lnTo>
                    <a:pt x="2546" y="1943"/>
                  </a:lnTo>
                  <a:lnTo>
                    <a:pt x="2543" y="1957"/>
                  </a:lnTo>
                  <a:lnTo>
                    <a:pt x="2537" y="1964"/>
                  </a:lnTo>
                  <a:lnTo>
                    <a:pt x="2535" y="1962"/>
                  </a:lnTo>
                  <a:lnTo>
                    <a:pt x="2533" y="1948"/>
                  </a:lnTo>
                  <a:lnTo>
                    <a:pt x="2525" y="1949"/>
                  </a:lnTo>
                  <a:lnTo>
                    <a:pt x="2517" y="1956"/>
                  </a:lnTo>
                  <a:lnTo>
                    <a:pt x="2526" y="1973"/>
                  </a:lnTo>
                  <a:lnTo>
                    <a:pt x="2526" y="1976"/>
                  </a:lnTo>
                  <a:lnTo>
                    <a:pt x="2521" y="1992"/>
                  </a:lnTo>
                  <a:lnTo>
                    <a:pt x="2521" y="1997"/>
                  </a:lnTo>
                  <a:lnTo>
                    <a:pt x="2520" y="2003"/>
                  </a:lnTo>
                  <a:lnTo>
                    <a:pt x="2517" y="2010"/>
                  </a:lnTo>
                  <a:lnTo>
                    <a:pt x="2515" y="2013"/>
                  </a:lnTo>
                  <a:lnTo>
                    <a:pt x="2511" y="2014"/>
                  </a:lnTo>
                  <a:lnTo>
                    <a:pt x="2511" y="2021"/>
                  </a:lnTo>
                  <a:lnTo>
                    <a:pt x="2512" y="2028"/>
                  </a:lnTo>
                  <a:lnTo>
                    <a:pt x="2511" y="2030"/>
                  </a:lnTo>
                  <a:lnTo>
                    <a:pt x="2506" y="2028"/>
                  </a:lnTo>
                  <a:lnTo>
                    <a:pt x="2500" y="2028"/>
                  </a:lnTo>
                  <a:lnTo>
                    <a:pt x="2495" y="2033"/>
                  </a:lnTo>
                  <a:lnTo>
                    <a:pt x="2498" y="2040"/>
                  </a:lnTo>
                  <a:lnTo>
                    <a:pt x="2494" y="2046"/>
                  </a:lnTo>
                  <a:lnTo>
                    <a:pt x="2490" y="2044"/>
                  </a:lnTo>
                  <a:lnTo>
                    <a:pt x="2484" y="2045"/>
                  </a:lnTo>
                  <a:lnTo>
                    <a:pt x="2478" y="2060"/>
                  </a:lnTo>
                  <a:lnTo>
                    <a:pt x="2471" y="2065"/>
                  </a:lnTo>
                  <a:lnTo>
                    <a:pt x="2469" y="2075"/>
                  </a:lnTo>
                  <a:lnTo>
                    <a:pt x="2465" y="2081"/>
                  </a:lnTo>
                  <a:lnTo>
                    <a:pt x="2447" y="2083"/>
                  </a:lnTo>
                  <a:lnTo>
                    <a:pt x="2440" y="2081"/>
                  </a:lnTo>
                  <a:lnTo>
                    <a:pt x="2431" y="2088"/>
                  </a:lnTo>
                  <a:lnTo>
                    <a:pt x="2433" y="2091"/>
                  </a:lnTo>
                  <a:lnTo>
                    <a:pt x="2435" y="2097"/>
                  </a:lnTo>
                  <a:lnTo>
                    <a:pt x="2433" y="2105"/>
                  </a:lnTo>
                  <a:lnTo>
                    <a:pt x="2418" y="2119"/>
                  </a:lnTo>
                  <a:lnTo>
                    <a:pt x="2413" y="2119"/>
                  </a:lnTo>
                  <a:lnTo>
                    <a:pt x="2410" y="2131"/>
                  </a:lnTo>
                  <a:lnTo>
                    <a:pt x="2408" y="2123"/>
                  </a:lnTo>
                  <a:lnTo>
                    <a:pt x="2402" y="2127"/>
                  </a:lnTo>
                  <a:lnTo>
                    <a:pt x="2401" y="2135"/>
                  </a:lnTo>
                  <a:lnTo>
                    <a:pt x="2398" y="2134"/>
                  </a:lnTo>
                  <a:lnTo>
                    <a:pt x="2395" y="2134"/>
                  </a:lnTo>
                  <a:lnTo>
                    <a:pt x="2385" y="2141"/>
                  </a:lnTo>
                  <a:lnTo>
                    <a:pt x="2380" y="2140"/>
                  </a:lnTo>
                  <a:lnTo>
                    <a:pt x="2372" y="2141"/>
                  </a:lnTo>
                  <a:lnTo>
                    <a:pt x="2365" y="2152"/>
                  </a:lnTo>
                  <a:lnTo>
                    <a:pt x="2361" y="2159"/>
                  </a:lnTo>
                  <a:lnTo>
                    <a:pt x="2356" y="2164"/>
                  </a:lnTo>
                  <a:lnTo>
                    <a:pt x="2354" y="2170"/>
                  </a:lnTo>
                  <a:lnTo>
                    <a:pt x="2344" y="2177"/>
                  </a:lnTo>
                  <a:lnTo>
                    <a:pt x="2328" y="2183"/>
                  </a:lnTo>
                  <a:lnTo>
                    <a:pt x="2316" y="2189"/>
                  </a:lnTo>
                  <a:lnTo>
                    <a:pt x="2309" y="2186"/>
                  </a:lnTo>
                  <a:lnTo>
                    <a:pt x="2302" y="2184"/>
                  </a:lnTo>
                  <a:lnTo>
                    <a:pt x="2299" y="2189"/>
                  </a:lnTo>
                  <a:lnTo>
                    <a:pt x="2297" y="2193"/>
                  </a:lnTo>
                  <a:lnTo>
                    <a:pt x="2291" y="2195"/>
                  </a:lnTo>
                  <a:lnTo>
                    <a:pt x="2285" y="2193"/>
                  </a:lnTo>
                  <a:lnTo>
                    <a:pt x="2285" y="2188"/>
                  </a:lnTo>
                  <a:lnTo>
                    <a:pt x="2277" y="2184"/>
                  </a:lnTo>
                  <a:lnTo>
                    <a:pt x="2268" y="2190"/>
                  </a:lnTo>
                  <a:lnTo>
                    <a:pt x="2263" y="2199"/>
                  </a:lnTo>
                  <a:lnTo>
                    <a:pt x="2256" y="2199"/>
                  </a:lnTo>
                  <a:lnTo>
                    <a:pt x="2253" y="2193"/>
                  </a:lnTo>
                  <a:lnTo>
                    <a:pt x="2253" y="2189"/>
                  </a:lnTo>
                  <a:lnTo>
                    <a:pt x="2245" y="2191"/>
                  </a:lnTo>
                  <a:lnTo>
                    <a:pt x="2245" y="2202"/>
                  </a:lnTo>
                  <a:lnTo>
                    <a:pt x="2243" y="220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16" name="Freeform 115">
              <a:extLst>
                <a:ext uri="{FF2B5EF4-FFF2-40B4-BE49-F238E27FC236}">
                  <a16:creationId xmlns:a16="http://schemas.microsoft.com/office/drawing/2014/main" id="{34EC3E9E-27BA-551D-D707-81BF250C695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411502" y="2862505"/>
              <a:ext cx="183558" cy="217963"/>
            </a:xfrm>
            <a:custGeom>
              <a:avLst/>
              <a:gdLst>
                <a:gd name="T0" fmla="*/ 2147483647 w 349"/>
                <a:gd name="T1" fmla="*/ 2147483647 h 377"/>
                <a:gd name="T2" fmla="*/ 2147483647 w 349"/>
                <a:gd name="T3" fmla="*/ 2147483647 h 377"/>
                <a:gd name="T4" fmla="*/ 2147483647 w 349"/>
                <a:gd name="T5" fmla="*/ 2147483647 h 377"/>
                <a:gd name="T6" fmla="*/ 2147483647 w 349"/>
                <a:gd name="T7" fmla="*/ 2147483647 h 377"/>
                <a:gd name="T8" fmla="*/ 2147483647 w 349"/>
                <a:gd name="T9" fmla="*/ 2147483647 h 377"/>
                <a:gd name="T10" fmla="*/ 2147483647 w 349"/>
                <a:gd name="T11" fmla="*/ 2147483647 h 377"/>
                <a:gd name="T12" fmla="*/ 2147483647 w 349"/>
                <a:gd name="T13" fmla="*/ 2147483647 h 377"/>
                <a:gd name="T14" fmla="*/ 2147483647 w 349"/>
                <a:gd name="T15" fmla="*/ 2147483647 h 377"/>
                <a:gd name="T16" fmla="*/ 2147483647 w 349"/>
                <a:gd name="T17" fmla="*/ 2147483647 h 377"/>
                <a:gd name="T18" fmla="*/ 2147483647 w 349"/>
                <a:gd name="T19" fmla="*/ 2147483647 h 377"/>
                <a:gd name="T20" fmla="*/ 2147483647 w 349"/>
                <a:gd name="T21" fmla="*/ 2147483647 h 377"/>
                <a:gd name="T22" fmla="*/ 2147483647 w 349"/>
                <a:gd name="T23" fmla="*/ 2147483647 h 377"/>
                <a:gd name="T24" fmla="*/ 2147483647 w 349"/>
                <a:gd name="T25" fmla="*/ 2147483647 h 377"/>
                <a:gd name="T26" fmla="*/ 2147483647 w 349"/>
                <a:gd name="T27" fmla="*/ 0 h 377"/>
                <a:gd name="T28" fmla="*/ 2147483647 w 349"/>
                <a:gd name="T29" fmla="*/ 0 h 377"/>
                <a:gd name="T30" fmla="*/ 2147483647 w 349"/>
                <a:gd name="T31" fmla="*/ 0 h 377"/>
                <a:gd name="T32" fmla="*/ 2147483647 w 349"/>
                <a:gd name="T33" fmla="*/ 0 h 377"/>
                <a:gd name="T34" fmla="*/ 2147483647 w 349"/>
                <a:gd name="T35" fmla="*/ 0 h 377"/>
                <a:gd name="T36" fmla="*/ 2147483647 w 349"/>
                <a:gd name="T37" fmla="*/ 0 h 377"/>
                <a:gd name="T38" fmla="*/ 2147483647 w 349"/>
                <a:gd name="T39" fmla="*/ 0 h 377"/>
                <a:gd name="T40" fmla="*/ 2147483647 w 349"/>
                <a:gd name="T41" fmla="*/ 2147483647 h 377"/>
                <a:gd name="T42" fmla="*/ 2147483647 w 349"/>
                <a:gd name="T43" fmla="*/ 2147483647 h 377"/>
                <a:gd name="T44" fmla="*/ 2147483647 w 349"/>
                <a:gd name="T45" fmla="*/ 2147483647 h 377"/>
                <a:gd name="T46" fmla="*/ 2147483647 w 349"/>
                <a:gd name="T47" fmla="*/ 2147483647 h 377"/>
                <a:gd name="T48" fmla="*/ 0 w 349"/>
                <a:gd name="T49" fmla="*/ 2147483647 h 377"/>
                <a:gd name="T50" fmla="*/ 0 w 349"/>
                <a:gd name="T51" fmla="*/ 2147483647 h 377"/>
                <a:gd name="T52" fmla="*/ 0 w 349"/>
                <a:gd name="T53" fmla="*/ 2147483647 h 377"/>
                <a:gd name="T54" fmla="*/ 0 w 349"/>
                <a:gd name="T55" fmla="*/ 2147483647 h 377"/>
                <a:gd name="T56" fmla="*/ 2147483647 w 349"/>
                <a:gd name="T57" fmla="*/ 2147483647 h 377"/>
                <a:gd name="T58" fmla="*/ 2147483647 w 349"/>
                <a:gd name="T59" fmla="*/ 2147483647 h 377"/>
                <a:gd name="T60" fmla="*/ 2147483647 w 349"/>
                <a:gd name="T61" fmla="*/ 2147483647 h 377"/>
                <a:gd name="T62" fmla="*/ 2147483647 w 349"/>
                <a:gd name="T63" fmla="*/ 2147483647 h 377"/>
                <a:gd name="T64" fmla="*/ 0 w 349"/>
                <a:gd name="T65" fmla="*/ 2147483647 h 377"/>
                <a:gd name="T66" fmla="*/ 0 w 349"/>
                <a:gd name="T67" fmla="*/ 2147483647 h 377"/>
                <a:gd name="T68" fmla="*/ 0 w 349"/>
                <a:gd name="T69" fmla="*/ 2147483647 h 377"/>
                <a:gd name="T70" fmla="*/ 0 w 349"/>
                <a:gd name="T71" fmla="*/ 2147483647 h 377"/>
                <a:gd name="T72" fmla="*/ 0 w 349"/>
                <a:gd name="T73" fmla="*/ 2147483647 h 377"/>
                <a:gd name="T74" fmla="*/ 0 w 349"/>
                <a:gd name="T75" fmla="*/ 2147483647 h 377"/>
                <a:gd name="T76" fmla="*/ 2147483647 w 349"/>
                <a:gd name="T77" fmla="*/ 2147483647 h 377"/>
                <a:gd name="T78" fmla="*/ 2147483647 w 349"/>
                <a:gd name="T79" fmla="*/ 2147483647 h 377"/>
                <a:gd name="T80" fmla="*/ 2147483647 w 349"/>
                <a:gd name="T81" fmla="*/ 2147483647 h 377"/>
                <a:gd name="T82" fmla="*/ 2147483647 w 349"/>
                <a:gd name="T83" fmla="*/ 2147483647 h 377"/>
                <a:gd name="T84" fmla="*/ 2147483647 w 349"/>
                <a:gd name="T85" fmla="*/ 2147483647 h 377"/>
                <a:gd name="T86" fmla="*/ 2147483647 w 349"/>
                <a:gd name="T87" fmla="*/ 2147483647 h 377"/>
                <a:gd name="T88" fmla="*/ 2147483647 w 349"/>
                <a:gd name="T89" fmla="*/ 2147483647 h 377"/>
                <a:gd name="T90" fmla="*/ 2147483647 w 349"/>
                <a:gd name="T91" fmla="*/ 2147483647 h 377"/>
                <a:gd name="T92" fmla="*/ 2147483647 w 349"/>
                <a:gd name="T93" fmla="*/ 2147483647 h 377"/>
                <a:gd name="T94" fmla="*/ 2147483647 w 349"/>
                <a:gd name="T95" fmla="*/ 2147483647 h 37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49"/>
                <a:gd name="T145" fmla="*/ 0 h 377"/>
                <a:gd name="T146" fmla="*/ 349 w 349"/>
                <a:gd name="T147" fmla="*/ 377 h 37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49" h="377">
                  <a:moveTo>
                    <a:pt x="223" y="318"/>
                  </a:moveTo>
                  <a:lnTo>
                    <a:pt x="220" y="310"/>
                  </a:lnTo>
                  <a:lnTo>
                    <a:pt x="196" y="290"/>
                  </a:lnTo>
                  <a:lnTo>
                    <a:pt x="185" y="277"/>
                  </a:lnTo>
                  <a:lnTo>
                    <a:pt x="171" y="272"/>
                  </a:lnTo>
                  <a:lnTo>
                    <a:pt x="169" y="266"/>
                  </a:lnTo>
                  <a:lnTo>
                    <a:pt x="174" y="253"/>
                  </a:lnTo>
                  <a:lnTo>
                    <a:pt x="174" y="262"/>
                  </a:lnTo>
                  <a:lnTo>
                    <a:pt x="175" y="255"/>
                  </a:lnTo>
                  <a:lnTo>
                    <a:pt x="174" y="236"/>
                  </a:lnTo>
                  <a:lnTo>
                    <a:pt x="175" y="229"/>
                  </a:lnTo>
                  <a:lnTo>
                    <a:pt x="186" y="226"/>
                  </a:lnTo>
                  <a:lnTo>
                    <a:pt x="196" y="220"/>
                  </a:lnTo>
                  <a:lnTo>
                    <a:pt x="199" y="212"/>
                  </a:lnTo>
                  <a:lnTo>
                    <a:pt x="223" y="209"/>
                  </a:lnTo>
                  <a:lnTo>
                    <a:pt x="235" y="200"/>
                  </a:lnTo>
                  <a:lnTo>
                    <a:pt x="239" y="194"/>
                  </a:lnTo>
                  <a:lnTo>
                    <a:pt x="257" y="181"/>
                  </a:lnTo>
                  <a:lnTo>
                    <a:pt x="274" y="162"/>
                  </a:lnTo>
                  <a:lnTo>
                    <a:pt x="289" y="155"/>
                  </a:lnTo>
                  <a:lnTo>
                    <a:pt x="295" y="150"/>
                  </a:lnTo>
                  <a:lnTo>
                    <a:pt x="297" y="121"/>
                  </a:lnTo>
                  <a:lnTo>
                    <a:pt x="293" y="112"/>
                  </a:lnTo>
                  <a:lnTo>
                    <a:pt x="295" y="101"/>
                  </a:lnTo>
                  <a:lnTo>
                    <a:pt x="304" y="87"/>
                  </a:lnTo>
                  <a:lnTo>
                    <a:pt x="308" y="80"/>
                  </a:lnTo>
                  <a:lnTo>
                    <a:pt x="335" y="49"/>
                  </a:lnTo>
                  <a:lnTo>
                    <a:pt x="342" y="46"/>
                  </a:lnTo>
                  <a:lnTo>
                    <a:pt x="349" y="48"/>
                  </a:lnTo>
                  <a:lnTo>
                    <a:pt x="347" y="41"/>
                  </a:lnTo>
                  <a:lnTo>
                    <a:pt x="343" y="33"/>
                  </a:lnTo>
                  <a:lnTo>
                    <a:pt x="343" y="27"/>
                  </a:lnTo>
                  <a:lnTo>
                    <a:pt x="335" y="26"/>
                  </a:lnTo>
                  <a:lnTo>
                    <a:pt x="327" y="11"/>
                  </a:lnTo>
                  <a:lnTo>
                    <a:pt x="316" y="0"/>
                  </a:lnTo>
                  <a:lnTo>
                    <a:pt x="305" y="9"/>
                  </a:lnTo>
                  <a:lnTo>
                    <a:pt x="298" y="29"/>
                  </a:lnTo>
                  <a:lnTo>
                    <a:pt x="288" y="44"/>
                  </a:lnTo>
                  <a:lnTo>
                    <a:pt x="257" y="68"/>
                  </a:lnTo>
                  <a:lnTo>
                    <a:pt x="233" y="74"/>
                  </a:lnTo>
                  <a:lnTo>
                    <a:pt x="213" y="74"/>
                  </a:lnTo>
                  <a:lnTo>
                    <a:pt x="208" y="83"/>
                  </a:lnTo>
                  <a:lnTo>
                    <a:pt x="214" y="114"/>
                  </a:lnTo>
                  <a:lnTo>
                    <a:pt x="172" y="118"/>
                  </a:lnTo>
                  <a:lnTo>
                    <a:pt x="158" y="108"/>
                  </a:lnTo>
                  <a:lnTo>
                    <a:pt x="139" y="103"/>
                  </a:lnTo>
                  <a:lnTo>
                    <a:pt x="127" y="113"/>
                  </a:lnTo>
                  <a:lnTo>
                    <a:pt x="102" y="142"/>
                  </a:lnTo>
                  <a:lnTo>
                    <a:pt x="84" y="157"/>
                  </a:lnTo>
                  <a:lnTo>
                    <a:pt x="45" y="178"/>
                  </a:lnTo>
                  <a:lnTo>
                    <a:pt x="30" y="185"/>
                  </a:lnTo>
                  <a:lnTo>
                    <a:pt x="2" y="220"/>
                  </a:lnTo>
                  <a:lnTo>
                    <a:pt x="0" y="224"/>
                  </a:lnTo>
                  <a:lnTo>
                    <a:pt x="13" y="235"/>
                  </a:lnTo>
                  <a:lnTo>
                    <a:pt x="16" y="246"/>
                  </a:lnTo>
                  <a:lnTo>
                    <a:pt x="30" y="239"/>
                  </a:lnTo>
                  <a:lnTo>
                    <a:pt x="42" y="243"/>
                  </a:lnTo>
                  <a:lnTo>
                    <a:pt x="57" y="245"/>
                  </a:lnTo>
                  <a:lnTo>
                    <a:pt x="63" y="248"/>
                  </a:lnTo>
                  <a:lnTo>
                    <a:pt x="59" y="258"/>
                  </a:lnTo>
                  <a:lnTo>
                    <a:pt x="56" y="278"/>
                  </a:lnTo>
                  <a:lnTo>
                    <a:pt x="50" y="301"/>
                  </a:lnTo>
                  <a:lnTo>
                    <a:pt x="52" y="307"/>
                  </a:lnTo>
                  <a:lnTo>
                    <a:pt x="59" y="307"/>
                  </a:lnTo>
                  <a:lnTo>
                    <a:pt x="45" y="315"/>
                  </a:lnTo>
                  <a:lnTo>
                    <a:pt x="43" y="320"/>
                  </a:lnTo>
                  <a:lnTo>
                    <a:pt x="37" y="323"/>
                  </a:lnTo>
                  <a:lnTo>
                    <a:pt x="32" y="339"/>
                  </a:lnTo>
                  <a:lnTo>
                    <a:pt x="24" y="352"/>
                  </a:lnTo>
                  <a:lnTo>
                    <a:pt x="40" y="353"/>
                  </a:lnTo>
                  <a:lnTo>
                    <a:pt x="50" y="350"/>
                  </a:lnTo>
                  <a:lnTo>
                    <a:pt x="48" y="355"/>
                  </a:lnTo>
                  <a:lnTo>
                    <a:pt x="45" y="361"/>
                  </a:lnTo>
                  <a:lnTo>
                    <a:pt x="40" y="361"/>
                  </a:lnTo>
                  <a:lnTo>
                    <a:pt x="41" y="368"/>
                  </a:lnTo>
                  <a:lnTo>
                    <a:pt x="47" y="366"/>
                  </a:lnTo>
                  <a:lnTo>
                    <a:pt x="51" y="376"/>
                  </a:lnTo>
                  <a:lnTo>
                    <a:pt x="53" y="377"/>
                  </a:lnTo>
                  <a:lnTo>
                    <a:pt x="61" y="377"/>
                  </a:lnTo>
                  <a:lnTo>
                    <a:pt x="64" y="372"/>
                  </a:lnTo>
                  <a:lnTo>
                    <a:pt x="71" y="370"/>
                  </a:lnTo>
                  <a:lnTo>
                    <a:pt x="74" y="360"/>
                  </a:lnTo>
                  <a:lnTo>
                    <a:pt x="72" y="355"/>
                  </a:lnTo>
                  <a:lnTo>
                    <a:pt x="78" y="356"/>
                  </a:lnTo>
                  <a:lnTo>
                    <a:pt x="84" y="365"/>
                  </a:lnTo>
                  <a:lnTo>
                    <a:pt x="91" y="368"/>
                  </a:lnTo>
                  <a:lnTo>
                    <a:pt x="99" y="374"/>
                  </a:lnTo>
                  <a:lnTo>
                    <a:pt x="102" y="369"/>
                  </a:lnTo>
                  <a:lnTo>
                    <a:pt x="113" y="365"/>
                  </a:lnTo>
                  <a:lnTo>
                    <a:pt x="121" y="374"/>
                  </a:lnTo>
                  <a:lnTo>
                    <a:pt x="134" y="363"/>
                  </a:lnTo>
                  <a:lnTo>
                    <a:pt x="156" y="340"/>
                  </a:lnTo>
                  <a:lnTo>
                    <a:pt x="174" y="339"/>
                  </a:lnTo>
                  <a:lnTo>
                    <a:pt x="191" y="340"/>
                  </a:lnTo>
                  <a:lnTo>
                    <a:pt x="206" y="334"/>
                  </a:lnTo>
                  <a:lnTo>
                    <a:pt x="223" y="31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17" name="Freeform 118">
              <a:extLst>
                <a:ext uri="{FF2B5EF4-FFF2-40B4-BE49-F238E27FC236}">
                  <a16:creationId xmlns:a16="http://schemas.microsoft.com/office/drawing/2014/main" id="{96D59047-556C-88A9-5D7C-E2627C4D883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180171" y="1297016"/>
              <a:ext cx="61389" cy="71108"/>
            </a:xfrm>
            <a:custGeom>
              <a:avLst/>
              <a:gdLst>
                <a:gd name="T0" fmla="*/ 0 w 116"/>
                <a:gd name="T1" fmla="*/ 0 h 126"/>
                <a:gd name="T2" fmla="*/ 0 w 116"/>
                <a:gd name="T3" fmla="*/ 0 h 126"/>
                <a:gd name="T4" fmla="*/ 0 w 116"/>
                <a:gd name="T5" fmla="*/ 0 h 126"/>
                <a:gd name="T6" fmla="*/ 0 w 116"/>
                <a:gd name="T7" fmla="*/ 0 h 126"/>
                <a:gd name="T8" fmla="*/ 0 w 116"/>
                <a:gd name="T9" fmla="*/ 0 h 126"/>
                <a:gd name="T10" fmla="*/ 0 w 116"/>
                <a:gd name="T11" fmla="*/ 0 h 126"/>
                <a:gd name="T12" fmla="*/ 0 w 116"/>
                <a:gd name="T13" fmla="*/ 0 h 126"/>
                <a:gd name="T14" fmla="*/ 0 w 116"/>
                <a:gd name="T15" fmla="*/ 0 h 126"/>
                <a:gd name="T16" fmla="*/ 0 w 116"/>
                <a:gd name="T17" fmla="*/ 0 h 126"/>
                <a:gd name="T18" fmla="*/ 0 w 116"/>
                <a:gd name="T19" fmla="*/ 0 h 126"/>
                <a:gd name="T20" fmla="*/ 0 w 116"/>
                <a:gd name="T21" fmla="*/ 0 h 126"/>
                <a:gd name="T22" fmla="*/ 0 w 116"/>
                <a:gd name="T23" fmla="*/ 0 h 126"/>
                <a:gd name="T24" fmla="*/ 0 w 116"/>
                <a:gd name="T25" fmla="*/ 0 h 126"/>
                <a:gd name="T26" fmla="*/ 0 w 116"/>
                <a:gd name="T27" fmla="*/ 0 h 126"/>
                <a:gd name="T28" fmla="*/ 0 w 116"/>
                <a:gd name="T29" fmla="*/ 0 h 126"/>
                <a:gd name="T30" fmla="*/ 0 w 116"/>
                <a:gd name="T31" fmla="*/ 0 h 126"/>
                <a:gd name="T32" fmla="*/ 0 w 116"/>
                <a:gd name="T33" fmla="*/ 0 h 126"/>
                <a:gd name="T34" fmla="*/ 0 w 116"/>
                <a:gd name="T35" fmla="*/ 0 h 126"/>
                <a:gd name="T36" fmla="*/ 0 w 116"/>
                <a:gd name="T37" fmla="*/ 0 h 126"/>
                <a:gd name="T38" fmla="*/ 0 w 116"/>
                <a:gd name="T39" fmla="*/ 0 h 126"/>
                <a:gd name="T40" fmla="*/ 0 w 116"/>
                <a:gd name="T41" fmla="*/ 0 h 126"/>
                <a:gd name="T42" fmla="*/ 0 w 116"/>
                <a:gd name="T43" fmla="*/ 0 h 126"/>
                <a:gd name="T44" fmla="*/ 0 w 116"/>
                <a:gd name="T45" fmla="*/ 0 h 126"/>
                <a:gd name="T46" fmla="*/ 0 w 116"/>
                <a:gd name="T47" fmla="*/ 0 h 126"/>
                <a:gd name="T48" fmla="*/ 0 w 116"/>
                <a:gd name="T49" fmla="*/ 0 h 126"/>
                <a:gd name="T50" fmla="*/ 0 w 116"/>
                <a:gd name="T51" fmla="*/ 0 h 126"/>
                <a:gd name="T52" fmla="*/ 0 w 116"/>
                <a:gd name="T53" fmla="*/ 0 h 126"/>
                <a:gd name="T54" fmla="*/ 0 w 116"/>
                <a:gd name="T55" fmla="*/ 0 h 126"/>
                <a:gd name="T56" fmla="*/ 0 w 116"/>
                <a:gd name="T57" fmla="*/ 0 h 126"/>
                <a:gd name="T58" fmla="*/ 0 w 116"/>
                <a:gd name="T59" fmla="*/ 0 h 126"/>
                <a:gd name="T60" fmla="*/ 0 w 116"/>
                <a:gd name="T61" fmla="*/ 0 h 126"/>
                <a:gd name="T62" fmla="*/ 0 w 116"/>
                <a:gd name="T63" fmla="*/ 0 h 126"/>
                <a:gd name="T64" fmla="*/ 0 w 116"/>
                <a:gd name="T65" fmla="*/ 0 h 126"/>
                <a:gd name="T66" fmla="*/ 0 w 116"/>
                <a:gd name="T67" fmla="*/ 0 h 12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16"/>
                <a:gd name="T103" fmla="*/ 0 h 126"/>
                <a:gd name="T104" fmla="*/ 116 w 116"/>
                <a:gd name="T105" fmla="*/ 126 h 12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16" h="126">
                  <a:moveTo>
                    <a:pt x="27" y="8"/>
                  </a:moveTo>
                  <a:lnTo>
                    <a:pt x="29" y="5"/>
                  </a:lnTo>
                  <a:lnTo>
                    <a:pt x="34" y="3"/>
                  </a:lnTo>
                  <a:lnTo>
                    <a:pt x="38" y="7"/>
                  </a:lnTo>
                  <a:lnTo>
                    <a:pt x="49" y="0"/>
                  </a:lnTo>
                  <a:lnTo>
                    <a:pt x="54" y="0"/>
                  </a:lnTo>
                  <a:lnTo>
                    <a:pt x="94" y="37"/>
                  </a:lnTo>
                  <a:lnTo>
                    <a:pt x="100" y="51"/>
                  </a:lnTo>
                  <a:lnTo>
                    <a:pt x="105" y="53"/>
                  </a:lnTo>
                  <a:lnTo>
                    <a:pt x="105" y="34"/>
                  </a:lnTo>
                  <a:lnTo>
                    <a:pt x="109" y="49"/>
                  </a:lnTo>
                  <a:lnTo>
                    <a:pt x="116" y="65"/>
                  </a:lnTo>
                  <a:lnTo>
                    <a:pt x="115" y="78"/>
                  </a:lnTo>
                  <a:lnTo>
                    <a:pt x="109" y="64"/>
                  </a:lnTo>
                  <a:lnTo>
                    <a:pt x="97" y="76"/>
                  </a:lnTo>
                  <a:lnTo>
                    <a:pt x="77" y="105"/>
                  </a:lnTo>
                  <a:lnTo>
                    <a:pt x="63" y="113"/>
                  </a:lnTo>
                  <a:lnTo>
                    <a:pt x="55" y="113"/>
                  </a:lnTo>
                  <a:lnTo>
                    <a:pt x="45" y="124"/>
                  </a:lnTo>
                  <a:lnTo>
                    <a:pt x="35" y="125"/>
                  </a:lnTo>
                  <a:lnTo>
                    <a:pt x="30" y="118"/>
                  </a:lnTo>
                  <a:lnTo>
                    <a:pt x="28" y="126"/>
                  </a:lnTo>
                  <a:lnTo>
                    <a:pt x="19" y="118"/>
                  </a:lnTo>
                  <a:lnTo>
                    <a:pt x="12" y="105"/>
                  </a:lnTo>
                  <a:lnTo>
                    <a:pt x="6" y="105"/>
                  </a:lnTo>
                  <a:lnTo>
                    <a:pt x="4" y="118"/>
                  </a:lnTo>
                  <a:lnTo>
                    <a:pt x="8" y="125"/>
                  </a:lnTo>
                  <a:lnTo>
                    <a:pt x="2" y="115"/>
                  </a:lnTo>
                  <a:lnTo>
                    <a:pt x="0" y="104"/>
                  </a:lnTo>
                  <a:lnTo>
                    <a:pt x="2" y="91"/>
                  </a:lnTo>
                  <a:lnTo>
                    <a:pt x="3" y="56"/>
                  </a:lnTo>
                  <a:lnTo>
                    <a:pt x="7" y="41"/>
                  </a:lnTo>
                  <a:lnTo>
                    <a:pt x="19" y="17"/>
                  </a:lnTo>
                  <a:lnTo>
                    <a:pt x="27" y="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18" name="Freeform 119">
              <a:extLst>
                <a:ext uri="{FF2B5EF4-FFF2-40B4-BE49-F238E27FC236}">
                  <a16:creationId xmlns:a16="http://schemas.microsoft.com/office/drawing/2014/main" id="{C9AC9C94-8359-2093-010F-5D1A689FD2C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677515" y="99551"/>
              <a:ext cx="178827" cy="238924"/>
            </a:xfrm>
            <a:custGeom>
              <a:avLst/>
              <a:gdLst>
                <a:gd name="T0" fmla="*/ 0 w 337"/>
                <a:gd name="T1" fmla="*/ 0 h 418"/>
                <a:gd name="T2" fmla="*/ 0 w 337"/>
                <a:gd name="T3" fmla="*/ 0 h 418"/>
                <a:gd name="T4" fmla="*/ 0 w 337"/>
                <a:gd name="T5" fmla="*/ 0 h 418"/>
                <a:gd name="T6" fmla="*/ 0 w 337"/>
                <a:gd name="T7" fmla="*/ 0 h 418"/>
                <a:gd name="T8" fmla="*/ 0 w 337"/>
                <a:gd name="T9" fmla="*/ 0 h 418"/>
                <a:gd name="T10" fmla="*/ 0 w 337"/>
                <a:gd name="T11" fmla="*/ 0 h 418"/>
                <a:gd name="T12" fmla="*/ 0 w 337"/>
                <a:gd name="T13" fmla="*/ 0 h 418"/>
                <a:gd name="T14" fmla="*/ 0 w 337"/>
                <a:gd name="T15" fmla="*/ 0 h 418"/>
                <a:gd name="T16" fmla="*/ 0 w 337"/>
                <a:gd name="T17" fmla="*/ 0 h 418"/>
                <a:gd name="T18" fmla="*/ 0 w 337"/>
                <a:gd name="T19" fmla="*/ 0 h 418"/>
                <a:gd name="T20" fmla="*/ 0 w 337"/>
                <a:gd name="T21" fmla="*/ 0 h 418"/>
                <a:gd name="T22" fmla="*/ 0 w 337"/>
                <a:gd name="T23" fmla="*/ 0 h 418"/>
                <a:gd name="T24" fmla="*/ 0 w 337"/>
                <a:gd name="T25" fmla="*/ 0 h 418"/>
                <a:gd name="T26" fmla="*/ 0 w 337"/>
                <a:gd name="T27" fmla="*/ 0 h 418"/>
                <a:gd name="T28" fmla="*/ 0 w 337"/>
                <a:gd name="T29" fmla="*/ 0 h 418"/>
                <a:gd name="T30" fmla="*/ 0 w 337"/>
                <a:gd name="T31" fmla="*/ 0 h 418"/>
                <a:gd name="T32" fmla="*/ 0 w 337"/>
                <a:gd name="T33" fmla="*/ 0 h 418"/>
                <a:gd name="T34" fmla="*/ 0 w 337"/>
                <a:gd name="T35" fmla="*/ 0 h 418"/>
                <a:gd name="T36" fmla="*/ 0 w 337"/>
                <a:gd name="T37" fmla="*/ 0 h 418"/>
                <a:gd name="T38" fmla="*/ 0 w 337"/>
                <a:gd name="T39" fmla="*/ 0 h 418"/>
                <a:gd name="T40" fmla="*/ 0 w 337"/>
                <a:gd name="T41" fmla="*/ 0 h 418"/>
                <a:gd name="T42" fmla="*/ 0 w 337"/>
                <a:gd name="T43" fmla="*/ 0 h 418"/>
                <a:gd name="T44" fmla="*/ 0 w 337"/>
                <a:gd name="T45" fmla="*/ 0 h 418"/>
                <a:gd name="T46" fmla="*/ 0 w 337"/>
                <a:gd name="T47" fmla="*/ 0 h 418"/>
                <a:gd name="T48" fmla="*/ 0 w 337"/>
                <a:gd name="T49" fmla="*/ 0 h 418"/>
                <a:gd name="T50" fmla="*/ 0 w 337"/>
                <a:gd name="T51" fmla="*/ 0 h 418"/>
                <a:gd name="T52" fmla="*/ 0 w 337"/>
                <a:gd name="T53" fmla="*/ 0 h 418"/>
                <a:gd name="T54" fmla="*/ 0 w 337"/>
                <a:gd name="T55" fmla="*/ 0 h 418"/>
                <a:gd name="T56" fmla="*/ 0 w 337"/>
                <a:gd name="T57" fmla="*/ 0 h 418"/>
                <a:gd name="T58" fmla="*/ 0 w 337"/>
                <a:gd name="T59" fmla="*/ 0 h 418"/>
                <a:gd name="T60" fmla="*/ 0 w 337"/>
                <a:gd name="T61" fmla="*/ 0 h 418"/>
                <a:gd name="T62" fmla="*/ 0 w 337"/>
                <a:gd name="T63" fmla="*/ 0 h 418"/>
                <a:gd name="T64" fmla="*/ 0 w 337"/>
                <a:gd name="T65" fmla="*/ 0 h 418"/>
                <a:gd name="T66" fmla="*/ 0 w 337"/>
                <a:gd name="T67" fmla="*/ 0 h 418"/>
                <a:gd name="T68" fmla="*/ 0 w 337"/>
                <a:gd name="T69" fmla="*/ 0 h 418"/>
                <a:gd name="T70" fmla="*/ 0 w 337"/>
                <a:gd name="T71" fmla="*/ 0 h 418"/>
                <a:gd name="T72" fmla="*/ 0 w 337"/>
                <a:gd name="T73" fmla="*/ 0 h 418"/>
                <a:gd name="T74" fmla="*/ 0 w 337"/>
                <a:gd name="T75" fmla="*/ 0 h 418"/>
                <a:gd name="T76" fmla="*/ 0 w 337"/>
                <a:gd name="T77" fmla="*/ 0 h 418"/>
                <a:gd name="T78" fmla="*/ 0 w 337"/>
                <a:gd name="T79" fmla="*/ 0 h 418"/>
                <a:gd name="T80" fmla="*/ 0 w 337"/>
                <a:gd name="T81" fmla="*/ 0 h 418"/>
                <a:gd name="T82" fmla="*/ 0 w 337"/>
                <a:gd name="T83" fmla="*/ 0 h 418"/>
                <a:gd name="T84" fmla="*/ 0 w 337"/>
                <a:gd name="T85" fmla="*/ 0 h 418"/>
                <a:gd name="T86" fmla="*/ 0 w 337"/>
                <a:gd name="T87" fmla="*/ 0 h 418"/>
                <a:gd name="T88" fmla="*/ 0 w 337"/>
                <a:gd name="T89" fmla="*/ 0 h 418"/>
                <a:gd name="T90" fmla="*/ 0 w 337"/>
                <a:gd name="T91" fmla="*/ 0 h 418"/>
                <a:gd name="T92" fmla="*/ 0 w 337"/>
                <a:gd name="T93" fmla="*/ 0 h 418"/>
                <a:gd name="T94" fmla="*/ 0 w 337"/>
                <a:gd name="T95" fmla="*/ 0 h 41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37"/>
                <a:gd name="T145" fmla="*/ 0 h 418"/>
                <a:gd name="T146" fmla="*/ 337 w 337"/>
                <a:gd name="T147" fmla="*/ 418 h 41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37" h="418">
                  <a:moveTo>
                    <a:pt x="33" y="286"/>
                  </a:moveTo>
                  <a:lnTo>
                    <a:pt x="42" y="277"/>
                  </a:lnTo>
                  <a:lnTo>
                    <a:pt x="42" y="269"/>
                  </a:lnTo>
                  <a:lnTo>
                    <a:pt x="52" y="238"/>
                  </a:lnTo>
                  <a:lnTo>
                    <a:pt x="49" y="228"/>
                  </a:lnTo>
                  <a:lnTo>
                    <a:pt x="66" y="185"/>
                  </a:lnTo>
                  <a:lnTo>
                    <a:pt x="85" y="202"/>
                  </a:lnTo>
                  <a:lnTo>
                    <a:pt x="96" y="201"/>
                  </a:lnTo>
                  <a:lnTo>
                    <a:pt x="80" y="183"/>
                  </a:lnTo>
                  <a:lnTo>
                    <a:pt x="80" y="149"/>
                  </a:lnTo>
                  <a:lnTo>
                    <a:pt x="81" y="131"/>
                  </a:lnTo>
                  <a:lnTo>
                    <a:pt x="92" y="119"/>
                  </a:lnTo>
                  <a:lnTo>
                    <a:pt x="100" y="118"/>
                  </a:lnTo>
                  <a:lnTo>
                    <a:pt x="93" y="115"/>
                  </a:lnTo>
                  <a:lnTo>
                    <a:pt x="93" y="103"/>
                  </a:lnTo>
                  <a:lnTo>
                    <a:pt x="100" y="94"/>
                  </a:lnTo>
                  <a:lnTo>
                    <a:pt x="109" y="92"/>
                  </a:lnTo>
                  <a:lnTo>
                    <a:pt x="105" y="88"/>
                  </a:lnTo>
                  <a:lnTo>
                    <a:pt x="105" y="73"/>
                  </a:lnTo>
                  <a:lnTo>
                    <a:pt x="124" y="52"/>
                  </a:lnTo>
                  <a:lnTo>
                    <a:pt x="125" y="44"/>
                  </a:lnTo>
                  <a:lnTo>
                    <a:pt x="124" y="29"/>
                  </a:lnTo>
                  <a:lnTo>
                    <a:pt x="130" y="24"/>
                  </a:lnTo>
                  <a:lnTo>
                    <a:pt x="136" y="39"/>
                  </a:lnTo>
                  <a:lnTo>
                    <a:pt x="139" y="56"/>
                  </a:lnTo>
                  <a:lnTo>
                    <a:pt x="155" y="62"/>
                  </a:lnTo>
                  <a:lnTo>
                    <a:pt x="157" y="48"/>
                  </a:lnTo>
                  <a:lnTo>
                    <a:pt x="155" y="16"/>
                  </a:lnTo>
                  <a:lnTo>
                    <a:pt x="166" y="0"/>
                  </a:lnTo>
                  <a:lnTo>
                    <a:pt x="194" y="12"/>
                  </a:lnTo>
                  <a:lnTo>
                    <a:pt x="194" y="36"/>
                  </a:lnTo>
                  <a:lnTo>
                    <a:pt x="195" y="29"/>
                  </a:lnTo>
                  <a:lnTo>
                    <a:pt x="200" y="23"/>
                  </a:lnTo>
                  <a:lnTo>
                    <a:pt x="208" y="30"/>
                  </a:lnTo>
                  <a:lnTo>
                    <a:pt x="208" y="43"/>
                  </a:lnTo>
                  <a:lnTo>
                    <a:pt x="195" y="73"/>
                  </a:lnTo>
                  <a:lnTo>
                    <a:pt x="197" y="94"/>
                  </a:lnTo>
                  <a:lnTo>
                    <a:pt x="194" y="108"/>
                  </a:lnTo>
                  <a:lnTo>
                    <a:pt x="194" y="122"/>
                  </a:lnTo>
                  <a:lnTo>
                    <a:pt x="209" y="103"/>
                  </a:lnTo>
                  <a:lnTo>
                    <a:pt x="219" y="84"/>
                  </a:lnTo>
                  <a:lnTo>
                    <a:pt x="219" y="66"/>
                  </a:lnTo>
                  <a:lnTo>
                    <a:pt x="224" y="65"/>
                  </a:lnTo>
                  <a:lnTo>
                    <a:pt x="233" y="79"/>
                  </a:lnTo>
                  <a:lnTo>
                    <a:pt x="236" y="94"/>
                  </a:lnTo>
                  <a:lnTo>
                    <a:pt x="238" y="99"/>
                  </a:lnTo>
                  <a:lnTo>
                    <a:pt x="245" y="88"/>
                  </a:lnTo>
                  <a:lnTo>
                    <a:pt x="249" y="72"/>
                  </a:lnTo>
                  <a:lnTo>
                    <a:pt x="258" y="77"/>
                  </a:lnTo>
                  <a:lnTo>
                    <a:pt x="262" y="95"/>
                  </a:lnTo>
                  <a:lnTo>
                    <a:pt x="259" y="110"/>
                  </a:lnTo>
                  <a:lnTo>
                    <a:pt x="261" y="119"/>
                  </a:lnTo>
                  <a:lnTo>
                    <a:pt x="267" y="131"/>
                  </a:lnTo>
                  <a:lnTo>
                    <a:pt x="273" y="131"/>
                  </a:lnTo>
                  <a:lnTo>
                    <a:pt x="272" y="118"/>
                  </a:lnTo>
                  <a:lnTo>
                    <a:pt x="279" y="110"/>
                  </a:lnTo>
                  <a:lnTo>
                    <a:pt x="284" y="137"/>
                  </a:lnTo>
                  <a:lnTo>
                    <a:pt x="292" y="163"/>
                  </a:lnTo>
                  <a:lnTo>
                    <a:pt x="326" y="184"/>
                  </a:lnTo>
                  <a:lnTo>
                    <a:pt x="334" y="195"/>
                  </a:lnTo>
                  <a:lnTo>
                    <a:pt x="337" y="217"/>
                  </a:lnTo>
                  <a:lnTo>
                    <a:pt x="337" y="234"/>
                  </a:lnTo>
                  <a:lnTo>
                    <a:pt x="333" y="245"/>
                  </a:lnTo>
                  <a:lnTo>
                    <a:pt x="337" y="259"/>
                  </a:lnTo>
                  <a:lnTo>
                    <a:pt x="337" y="276"/>
                  </a:lnTo>
                  <a:lnTo>
                    <a:pt x="318" y="312"/>
                  </a:lnTo>
                  <a:lnTo>
                    <a:pt x="307" y="323"/>
                  </a:lnTo>
                  <a:lnTo>
                    <a:pt x="301" y="317"/>
                  </a:lnTo>
                  <a:lnTo>
                    <a:pt x="280" y="321"/>
                  </a:lnTo>
                  <a:lnTo>
                    <a:pt x="242" y="344"/>
                  </a:lnTo>
                  <a:lnTo>
                    <a:pt x="226" y="341"/>
                  </a:lnTo>
                  <a:lnTo>
                    <a:pt x="216" y="347"/>
                  </a:lnTo>
                  <a:lnTo>
                    <a:pt x="205" y="344"/>
                  </a:lnTo>
                  <a:lnTo>
                    <a:pt x="200" y="346"/>
                  </a:lnTo>
                  <a:lnTo>
                    <a:pt x="199" y="355"/>
                  </a:lnTo>
                  <a:lnTo>
                    <a:pt x="190" y="360"/>
                  </a:lnTo>
                  <a:lnTo>
                    <a:pt x="176" y="342"/>
                  </a:lnTo>
                  <a:lnTo>
                    <a:pt x="149" y="352"/>
                  </a:lnTo>
                  <a:lnTo>
                    <a:pt x="143" y="346"/>
                  </a:lnTo>
                  <a:lnTo>
                    <a:pt x="133" y="352"/>
                  </a:lnTo>
                  <a:lnTo>
                    <a:pt x="98" y="350"/>
                  </a:lnTo>
                  <a:lnTo>
                    <a:pt x="92" y="368"/>
                  </a:lnTo>
                  <a:lnTo>
                    <a:pt x="86" y="371"/>
                  </a:lnTo>
                  <a:lnTo>
                    <a:pt x="77" y="385"/>
                  </a:lnTo>
                  <a:lnTo>
                    <a:pt x="53" y="396"/>
                  </a:lnTo>
                  <a:lnTo>
                    <a:pt x="41" y="409"/>
                  </a:lnTo>
                  <a:lnTo>
                    <a:pt x="33" y="418"/>
                  </a:lnTo>
                  <a:lnTo>
                    <a:pt x="6" y="416"/>
                  </a:lnTo>
                  <a:lnTo>
                    <a:pt x="7" y="409"/>
                  </a:lnTo>
                  <a:lnTo>
                    <a:pt x="12" y="398"/>
                  </a:lnTo>
                  <a:lnTo>
                    <a:pt x="11" y="387"/>
                  </a:lnTo>
                  <a:lnTo>
                    <a:pt x="0" y="393"/>
                  </a:lnTo>
                  <a:lnTo>
                    <a:pt x="4" y="366"/>
                  </a:lnTo>
                  <a:lnTo>
                    <a:pt x="9" y="355"/>
                  </a:lnTo>
                  <a:lnTo>
                    <a:pt x="38" y="302"/>
                  </a:lnTo>
                  <a:lnTo>
                    <a:pt x="33" y="297"/>
                  </a:lnTo>
                  <a:lnTo>
                    <a:pt x="33" y="28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19" name="Freeform 120">
              <a:extLst>
                <a:ext uri="{FF2B5EF4-FFF2-40B4-BE49-F238E27FC236}">
                  <a16:creationId xmlns:a16="http://schemas.microsoft.com/office/drawing/2014/main" id="{5B5E9F2C-14B1-4325-8025-0F03BC2970A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771830" y="577400"/>
              <a:ext cx="194841" cy="190570"/>
            </a:xfrm>
            <a:custGeom>
              <a:avLst/>
              <a:gdLst>
                <a:gd name="T0" fmla="*/ 0 w 365"/>
                <a:gd name="T1" fmla="*/ 0 h 334"/>
                <a:gd name="T2" fmla="*/ 0 w 365"/>
                <a:gd name="T3" fmla="*/ 0 h 334"/>
                <a:gd name="T4" fmla="*/ 0 w 365"/>
                <a:gd name="T5" fmla="*/ 0 h 334"/>
                <a:gd name="T6" fmla="*/ 0 w 365"/>
                <a:gd name="T7" fmla="*/ 0 h 334"/>
                <a:gd name="T8" fmla="*/ 0 w 365"/>
                <a:gd name="T9" fmla="*/ 0 h 334"/>
                <a:gd name="T10" fmla="*/ 0 w 365"/>
                <a:gd name="T11" fmla="*/ 0 h 334"/>
                <a:gd name="T12" fmla="*/ 0 w 365"/>
                <a:gd name="T13" fmla="*/ 0 h 334"/>
                <a:gd name="T14" fmla="*/ 0 w 365"/>
                <a:gd name="T15" fmla="*/ 0 h 334"/>
                <a:gd name="T16" fmla="*/ 0 w 365"/>
                <a:gd name="T17" fmla="*/ 0 h 334"/>
                <a:gd name="T18" fmla="*/ 0 w 365"/>
                <a:gd name="T19" fmla="*/ 0 h 334"/>
                <a:gd name="T20" fmla="*/ 0 w 365"/>
                <a:gd name="T21" fmla="*/ 0 h 334"/>
                <a:gd name="T22" fmla="*/ 0 w 365"/>
                <a:gd name="T23" fmla="*/ 0 h 334"/>
                <a:gd name="T24" fmla="*/ 0 w 365"/>
                <a:gd name="T25" fmla="*/ 0 h 334"/>
                <a:gd name="T26" fmla="*/ 0 w 365"/>
                <a:gd name="T27" fmla="*/ 0 h 334"/>
                <a:gd name="T28" fmla="*/ 0 w 365"/>
                <a:gd name="T29" fmla="*/ 0 h 334"/>
                <a:gd name="T30" fmla="*/ 0 w 365"/>
                <a:gd name="T31" fmla="*/ 0 h 334"/>
                <a:gd name="T32" fmla="*/ 0 w 365"/>
                <a:gd name="T33" fmla="*/ 0 h 334"/>
                <a:gd name="T34" fmla="*/ 0 w 365"/>
                <a:gd name="T35" fmla="*/ 0 h 334"/>
                <a:gd name="T36" fmla="*/ 0 w 365"/>
                <a:gd name="T37" fmla="*/ 0 h 334"/>
                <a:gd name="T38" fmla="*/ 0 w 365"/>
                <a:gd name="T39" fmla="*/ 0 h 334"/>
                <a:gd name="T40" fmla="*/ 0 w 365"/>
                <a:gd name="T41" fmla="*/ 0 h 334"/>
                <a:gd name="T42" fmla="*/ 0 w 365"/>
                <a:gd name="T43" fmla="*/ 0 h 334"/>
                <a:gd name="T44" fmla="*/ 0 w 365"/>
                <a:gd name="T45" fmla="*/ 0 h 334"/>
                <a:gd name="T46" fmla="*/ 0 w 365"/>
                <a:gd name="T47" fmla="*/ 0 h 334"/>
                <a:gd name="T48" fmla="*/ 0 w 365"/>
                <a:gd name="T49" fmla="*/ 0 h 334"/>
                <a:gd name="T50" fmla="*/ 0 w 365"/>
                <a:gd name="T51" fmla="*/ 0 h 334"/>
                <a:gd name="T52" fmla="*/ 0 w 365"/>
                <a:gd name="T53" fmla="*/ 0 h 334"/>
                <a:gd name="T54" fmla="*/ 0 w 365"/>
                <a:gd name="T55" fmla="*/ 0 h 334"/>
                <a:gd name="T56" fmla="*/ 0 w 365"/>
                <a:gd name="T57" fmla="*/ 0 h 334"/>
                <a:gd name="T58" fmla="*/ 0 w 365"/>
                <a:gd name="T59" fmla="*/ 0 h 334"/>
                <a:gd name="T60" fmla="*/ 0 w 365"/>
                <a:gd name="T61" fmla="*/ 0 h 334"/>
                <a:gd name="T62" fmla="*/ 0 w 365"/>
                <a:gd name="T63" fmla="*/ 0 h 334"/>
                <a:gd name="T64" fmla="*/ 0 w 365"/>
                <a:gd name="T65" fmla="*/ 0 h 334"/>
                <a:gd name="T66" fmla="*/ 0 w 365"/>
                <a:gd name="T67" fmla="*/ 0 h 334"/>
                <a:gd name="T68" fmla="*/ 0 w 365"/>
                <a:gd name="T69" fmla="*/ 0 h 334"/>
                <a:gd name="T70" fmla="*/ 0 w 365"/>
                <a:gd name="T71" fmla="*/ 0 h 334"/>
                <a:gd name="T72" fmla="*/ 0 w 365"/>
                <a:gd name="T73" fmla="*/ 0 h 334"/>
                <a:gd name="T74" fmla="*/ 0 w 365"/>
                <a:gd name="T75" fmla="*/ 0 h 334"/>
                <a:gd name="T76" fmla="*/ 0 w 365"/>
                <a:gd name="T77" fmla="*/ 0 h 334"/>
                <a:gd name="T78" fmla="*/ 0 w 365"/>
                <a:gd name="T79" fmla="*/ 0 h 334"/>
                <a:gd name="T80" fmla="*/ 0 w 365"/>
                <a:gd name="T81" fmla="*/ 0 h 334"/>
                <a:gd name="T82" fmla="*/ 0 w 365"/>
                <a:gd name="T83" fmla="*/ 0 h 334"/>
                <a:gd name="T84" fmla="*/ 0 w 365"/>
                <a:gd name="T85" fmla="*/ 0 h 334"/>
                <a:gd name="T86" fmla="*/ 0 w 365"/>
                <a:gd name="T87" fmla="*/ 0 h 334"/>
                <a:gd name="T88" fmla="*/ 0 w 365"/>
                <a:gd name="T89" fmla="*/ 0 h 334"/>
                <a:gd name="T90" fmla="*/ 0 w 365"/>
                <a:gd name="T91" fmla="*/ 0 h 334"/>
                <a:gd name="T92" fmla="*/ 0 w 365"/>
                <a:gd name="T93" fmla="*/ 0 h 334"/>
                <a:gd name="T94" fmla="*/ 0 w 365"/>
                <a:gd name="T95" fmla="*/ 0 h 334"/>
                <a:gd name="T96" fmla="*/ 0 w 365"/>
                <a:gd name="T97" fmla="*/ 0 h 334"/>
                <a:gd name="T98" fmla="*/ 0 w 365"/>
                <a:gd name="T99" fmla="*/ 0 h 334"/>
                <a:gd name="T100" fmla="*/ 0 w 365"/>
                <a:gd name="T101" fmla="*/ 0 h 334"/>
                <a:gd name="T102" fmla="*/ 0 w 365"/>
                <a:gd name="T103" fmla="*/ 0 h 334"/>
                <a:gd name="T104" fmla="*/ 0 w 365"/>
                <a:gd name="T105" fmla="*/ 0 h 334"/>
                <a:gd name="T106" fmla="*/ 0 w 365"/>
                <a:gd name="T107" fmla="*/ 0 h 334"/>
                <a:gd name="T108" fmla="*/ 0 w 365"/>
                <a:gd name="T109" fmla="*/ 0 h 334"/>
                <a:gd name="T110" fmla="*/ 0 w 365"/>
                <a:gd name="T111" fmla="*/ 0 h 334"/>
                <a:gd name="T112" fmla="*/ 0 w 365"/>
                <a:gd name="T113" fmla="*/ 0 h 334"/>
                <a:gd name="T114" fmla="*/ 0 w 365"/>
                <a:gd name="T115" fmla="*/ 0 h 334"/>
                <a:gd name="T116" fmla="*/ 0 w 365"/>
                <a:gd name="T117" fmla="*/ 0 h 334"/>
                <a:gd name="T118" fmla="*/ 0 w 365"/>
                <a:gd name="T119" fmla="*/ 0 h 334"/>
                <a:gd name="T120" fmla="*/ 0 w 365"/>
                <a:gd name="T121" fmla="*/ 0 h 33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5"/>
                <a:gd name="T184" fmla="*/ 0 h 334"/>
                <a:gd name="T185" fmla="*/ 365 w 365"/>
                <a:gd name="T186" fmla="*/ 334 h 33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5" h="334">
                  <a:moveTo>
                    <a:pt x="178" y="86"/>
                  </a:moveTo>
                  <a:lnTo>
                    <a:pt x="179" y="89"/>
                  </a:lnTo>
                  <a:lnTo>
                    <a:pt x="180" y="95"/>
                  </a:lnTo>
                  <a:lnTo>
                    <a:pt x="185" y="89"/>
                  </a:lnTo>
                  <a:lnTo>
                    <a:pt x="201" y="94"/>
                  </a:lnTo>
                  <a:lnTo>
                    <a:pt x="200" y="103"/>
                  </a:lnTo>
                  <a:lnTo>
                    <a:pt x="201" y="106"/>
                  </a:lnTo>
                  <a:lnTo>
                    <a:pt x="194" y="120"/>
                  </a:lnTo>
                  <a:lnTo>
                    <a:pt x="196" y="121"/>
                  </a:lnTo>
                  <a:lnTo>
                    <a:pt x="195" y="127"/>
                  </a:lnTo>
                  <a:lnTo>
                    <a:pt x="198" y="135"/>
                  </a:lnTo>
                  <a:lnTo>
                    <a:pt x="205" y="132"/>
                  </a:lnTo>
                  <a:lnTo>
                    <a:pt x="210" y="138"/>
                  </a:lnTo>
                  <a:lnTo>
                    <a:pt x="216" y="133"/>
                  </a:lnTo>
                  <a:lnTo>
                    <a:pt x="226" y="137"/>
                  </a:lnTo>
                  <a:lnTo>
                    <a:pt x="228" y="133"/>
                  </a:lnTo>
                  <a:lnTo>
                    <a:pt x="228" y="109"/>
                  </a:lnTo>
                  <a:lnTo>
                    <a:pt x="233" y="103"/>
                  </a:lnTo>
                  <a:lnTo>
                    <a:pt x="226" y="92"/>
                  </a:lnTo>
                  <a:lnTo>
                    <a:pt x="225" y="60"/>
                  </a:lnTo>
                  <a:lnTo>
                    <a:pt x="225" y="47"/>
                  </a:lnTo>
                  <a:lnTo>
                    <a:pt x="235" y="34"/>
                  </a:lnTo>
                  <a:lnTo>
                    <a:pt x="242" y="30"/>
                  </a:lnTo>
                  <a:lnTo>
                    <a:pt x="268" y="49"/>
                  </a:lnTo>
                  <a:lnTo>
                    <a:pt x="287" y="78"/>
                  </a:lnTo>
                  <a:lnTo>
                    <a:pt x="290" y="89"/>
                  </a:lnTo>
                  <a:lnTo>
                    <a:pt x="297" y="109"/>
                  </a:lnTo>
                  <a:lnTo>
                    <a:pt x="307" y="109"/>
                  </a:lnTo>
                  <a:lnTo>
                    <a:pt x="314" y="115"/>
                  </a:lnTo>
                  <a:lnTo>
                    <a:pt x="314" y="127"/>
                  </a:lnTo>
                  <a:lnTo>
                    <a:pt x="311" y="138"/>
                  </a:lnTo>
                  <a:lnTo>
                    <a:pt x="309" y="151"/>
                  </a:lnTo>
                  <a:lnTo>
                    <a:pt x="305" y="163"/>
                  </a:lnTo>
                  <a:lnTo>
                    <a:pt x="300" y="170"/>
                  </a:lnTo>
                  <a:lnTo>
                    <a:pt x="296" y="181"/>
                  </a:lnTo>
                  <a:lnTo>
                    <a:pt x="296" y="191"/>
                  </a:lnTo>
                  <a:lnTo>
                    <a:pt x="298" y="201"/>
                  </a:lnTo>
                  <a:lnTo>
                    <a:pt x="309" y="234"/>
                  </a:lnTo>
                  <a:lnTo>
                    <a:pt x="323" y="254"/>
                  </a:lnTo>
                  <a:lnTo>
                    <a:pt x="344" y="259"/>
                  </a:lnTo>
                  <a:lnTo>
                    <a:pt x="361" y="272"/>
                  </a:lnTo>
                  <a:lnTo>
                    <a:pt x="365" y="280"/>
                  </a:lnTo>
                  <a:lnTo>
                    <a:pt x="364" y="283"/>
                  </a:lnTo>
                  <a:lnTo>
                    <a:pt x="343" y="289"/>
                  </a:lnTo>
                  <a:lnTo>
                    <a:pt x="317" y="277"/>
                  </a:lnTo>
                  <a:lnTo>
                    <a:pt x="314" y="287"/>
                  </a:lnTo>
                  <a:lnTo>
                    <a:pt x="314" y="296"/>
                  </a:lnTo>
                  <a:lnTo>
                    <a:pt x="305" y="302"/>
                  </a:lnTo>
                  <a:lnTo>
                    <a:pt x="281" y="273"/>
                  </a:lnTo>
                  <a:lnTo>
                    <a:pt x="287" y="272"/>
                  </a:lnTo>
                  <a:lnTo>
                    <a:pt x="289" y="261"/>
                  </a:lnTo>
                  <a:lnTo>
                    <a:pt x="279" y="253"/>
                  </a:lnTo>
                  <a:lnTo>
                    <a:pt x="265" y="272"/>
                  </a:lnTo>
                  <a:lnTo>
                    <a:pt x="238" y="280"/>
                  </a:lnTo>
                  <a:lnTo>
                    <a:pt x="225" y="287"/>
                  </a:lnTo>
                  <a:lnTo>
                    <a:pt x="211" y="301"/>
                  </a:lnTo>
                  <a:lnTo>
                    <a:pt x="183" y="312"/>
                  </a:lnTo>
                  <a:lnTo>
                    <a:pt x="174" y="310"/>
                  </a:lnTo>
                  <a:lnTo>
                    <a:pt x="165" y="302"/>
                  </a:lnTo>
                  <a:lnTo>
                    <a:pt x="172" y="303"/>
                  </a:lnTo>
                  <a:lnTo>
                    <a:pt x="179" y="296"/>
                  </a:lnTo>
                  <a:lnTo>
                    <a:pt x="169" y="289"/>
                  </a:lnTo>
                  <a:lnTo>
                    <a:pt x="162" y="276"/>
                  </a:lnTo>
                  <a:lnTo>
                    <a:pt x="162" y="256"/>
                  </a:lnTo>
                  <a:lnTo>
                    <a:pt x="149" y="265"/>
                  </a:lnTo>
                  <a:lnTo>
                    <a:pt x="146" y="288"/>
                  </a:lnTo>
                  <a:lnTo>
                    <a:pt x="155" y="285"/>
                  </a:lnTo>
                  <a:lnTo>
                    <a:pt x="150" y="298"/>
                  </a:lnTo>
                  <a:lnTo>
                    <a:pt x="146" y="320"/>
                  </a:lnTo>
                  <a:lnTo>
                    <a:pt x="140" y="331"/>
                  </a:lnTo>
                  <a:lnTo>
                    <a:pt x="130" y="334"/>
                  </a:lnTo>
                  <a:lnTo>
                    <a:pt x="113" y="324"/>
                  </a:lnTo>
                  <a:lnTo>
                    <a:pt x="90" y="320"/>
                  </a:lnTo>
                  <a:lnTo>
                    <a:pt x="70" y="307"/>
                  </a:lnTo>
                  <a:lnTo>
                    <a:pt x="61" y="289"/>
                  </a:lnTo>
                  <a:lnTo>
                    <a:pt x="54" y="260"/>
                  </a:lnTo>
                  <a:lnTo>
                    <a:pt x="42" y="262"/>
                  </a:lnTo>
                  <a:lnTo>
                    <a:pt x="15" y="242"/>
                  </a:lnTo>
                  <a:lnTo>
                    <a:pt x="10" y="223"/>
                  </a:lnTo>
                  <a:lnTo>
                    <a:pt x="0" y="196"/>
                  </a:lnTo>
                  <a:lnTo>
                    <a:pt x="10" y="190"/>
                  </a:lnTo>
                  <a:lnTo>
                    <a:pt x="20" y="196"/>
                  </a:lnTo>
                  <a:lnTo>
                    <a:pt x="32" y="190"/>
                  </a:lnTo>
                  <a:lnTo>
                    <a:pt x="27" y="179"/>
                  </a:lnTo>
                  <a:lnTo>
                    <a:pt x="17" y="181"/>
                  </a:lnTo>
                  <a:lnTo>
                    <a:pt x="15" y="176"/>
                  </a:lnTo>
                  <a:lnTo>
                    <a:pt x="17" y="173"/>
                  </a:lnTo>
                  <a:lnTo>
                    <a:pt x="26" y="173"/>
                  </a:lnTo>
                  <a:lnTo>
                    <a:pt x="24" y="159"/>
                  </a:lnTo>
                  <a:lnTo>
                    <a:pt x="13" y="152"/>
                  </a:lnTo>
                  <a:lnTo>
                    <a:pt x="7" y="141"/>
                  </a:lnTo>
                  <a:lnTo>
                    <a:pt x="8" y="140"/>
                  </a:lnTo>
                  <a:lnTo>
                    <a:pt x="17" y="151"/>
                  </a:lnTo>
                  <a:lnTo>
                    <a:pt x="21" y="143"/>
                  </a:lnTo>
                  <a:lnTo>
                    <a:pt x="22" y="132"/>
                  </a:lnTo>
                  <a:lnTo>
                    <a:pt x="17" y="122"/>
                  </a:lnTo>
                  <a:lnTo>
                    <a:pt x="17" y="106"/>
                  </a:lnTo>
                  <a:lnTo>
                    <a:pt x="26" y="99"/>
                  </a:lnTo>
                  <a:lnTo>
                    <a:pt x="39" y="103"/>
                  </a:lnTo>
                  <a:lnTo>
                    <a:pt x="44" y="95"/>
                  </a:lnTo>
                  <a:lnTo>
                    <a:pt x="38" y="83"/>
                  </a:lnTo>
                  <a:lnTo>
                    <a:pt x="33" y="88"/>
                  </a:lnTo>
                  <a:lnTo>
                    <a:pt x="29" y="82"/>
                  </a:lnTo>
                  <a:lnTo>
                    <a:pt x="26" y="67"/>
                  </a:lnTo>
                  <a:lnTo>
                    <a:pt x="28" y="62"/>
                  </a:lnTo>
                  <a:lnTo>
                    <a:pt x="36" y="51"/>
                  </a:lnTo>
                  <a:lnTo>
                    <a:pt x="42" y="55"/>
                  </a:lnTo>
                  <a:lnTo>
                    <a:pt x="67" y="43"/>
                  </a:lnTo>
                  <a:lnTo>
                    <a:pt x="77" y="18"/>
                  </a:lnTo>
                  <a:lnTo>
                    <a:pt x="80" y="22"/>
                  </a:lnTo>
                  <a:lnTo>
                    <a:pt x="103" y="4"/>
                  </a:lnTo>
                  <a:lnTo>
                    <a:pt x="119" y="0"/>
                  </a:lnTo>
                  <a:lnTo>
                    <a:pt x="123" y="1"/>
                  </a:lnTo>
                  <a:lnTo>
                    <a:pt x="117" y="13"/>
                  </a:lnTo>
                  <a:lnTo>
                    <a:pt x="119" y="24"/>
                  </a:lnTo>
                  <a:lnTo>
                    <a:pt x="146" y="54"/>
                  </a:lnTo>
                  <a:lnTo>
                    <a:pt x="151" y="57"/>
                  </a:lnTo>
                  <a:lnTo>
                    <a:pt x="160" y="54"/>
                  </a:lnTo>
                  <a:lnTo>
                    <a:pt x="162" y="62"/>
                  </a:lnTo>
                  <a:lnTo>
                    <a:pt x="169" y="68"/>
                  </a:lnTo>
                  <a:lnTo>
                    <a:pt x="163" y="78"/>
                  </a:lnTo>
                  <a:lnTo>
                    <a:pt x="168" y="87"/>
                  </a:lnTo>
                  <a:lnTo>
                    <a:pt x="178" y="8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20" name="Freeform 121">
              <a:extLst>
                <a:ext uri="{FF2B5EF4-FFF2-40B4-BE49-F238E27FC236}">
                  <a16:creationId xmlns:a16="http://schemas.microsoft.com/office/drawing/2014/main" id="{C6F64529-05F3-167D-F8D6-64153404C99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907953" y="585933"/>
              <a:ext cx="117439" cy="142217"/>
            </a:xfrm>
            <a:custGeom>
              <a:avLst/>
              <a:gdLst>
                <a:gd name="T0" fmla="*/ 0 w 224"/>
                <a:gd name="T1" fmla="*/ 0 h 248"/>
                <a:gd name="T2" fmla="*/ 0 w 224"/>
                <a:gd name="T3" fmla="*/ 0 h 248"/>
                <a:gd name="T4" fmla="*/ 0 w 224"/>
                <a:gd name="T5" fmla="*/ 0 h 248"/>
                <a:gd name="T6" fmla="*/ 0 w 224"/>
                <a:gd name="T7" fmla="*/ 0 h 248"/>
                <a:gd name="T8" fmla="*/ 0 w 224"/>
                <a:gd name="T9" fmla="*/ 0 h 248"/>
                <a:gd name="T10" fmla="*/ 0 w 224"/>
                <a:gd name="T11" fmla="*/ 0 h 248"/>
                <a:gd name="T12" fmla="*/ 0 w 224"/>
                <a:gd name="T13" fmla="*/ 0 h 248"/>
                <a:gd name="T14" fmla="*/ 0 w 224"/>
                <a:gd name="T15" fmla="*/ 0 h 248"/>
                <a:gd name="T16" fmla="*/ 0 w 224"/>
                <a:gd name="T17" fmla="*/ 0 h 248"/>
                <a:gd name="T18" fmla="*/ 0 w 224"/>
                <a:gd name="T19" fmla="*/ 0 h 248"/>
                <a:gd name="T20" fmla="*/ 0 w 224"/>
                <a:gd name="T21" fmla="*/ 0 h 248"/>
                <a:gd name="T22" fmla="*/ 0 w 224"/>
                <a:gd name="T23" fmla="*/ 0 h 248"/>
                <a:gd name="T24" fmla="*/ 0 w 224"/>
                <a:gd name="T25" fmla="*/ 0 h 248"/>
                <a:gd name="T26" fmla="*/ 0 w 224"/>
                <a:gd name="T27" fmla="*/ 0 h 248"/>
                <a:gd name="T28" fmla="*/ 0 w 224"/>
                <a:gd name="T29" fmla="*/ 0 h 248"/>
                <a:gd name="T30" fmla="*/ 0 w 224"/>
                <a:gd name="T31" fmla="*/ 0 h 248"/>
                <a:gd name="T32" fmla="*/ 0 w 224"/>
                <a:gd name="T33" fmla="*/ 0 h 248"/>
                <a:gd name="T34" fmla="*/ 0 w 224"/>
                <a:gd name="T35" fmla="*/ 0 h 248"/>
                <a:gd name="T36" fmla="*/ 0 w 224"/>
                <a:gd name="T37" fmla="*/ 0 h 248"/>
                <a:gd name="T38" fmla="*/ 0 w 224"/>
                <a:gd name="T39" fmla="*/ 0 h 248"/>
                <a:gd name="T40" fmla="*/ 0 w 224"/>
                <a:gd name="T41" fmla="*/ 0 h 248"/>
                <a:gd name="T42" fmla="*/ 0 w 224"/>
                <a:gd name="T43" fmla="*/ 0 h 248"/>
                <a:gd name="T44" fmla="*/ 0 w 224"/>
                <a:gd name="T45" fmla="*/ 0 h 248"/>
                <a:gd name="T46" fmla="*/ 0 w 224"/>
                <a:gd name="T47" fmla="*/ 0 h 248"/>
                <a:gd name="T48" fmla="*/ 0 w 224"/>
                <a:gd name="T49" fmla="*/ 0 h 248"/>
                <a:gd name="T50" fmla="*/ 0 w 224"/>
                <a:gd name="T51" fmla="*/ 0 h 248"/>
                <a:gd name="T52" fmla="*/ 0 w 224"/>
                <a:gd name="T53" fmla="*/ 0 h 248"/>
                <a:gd name="T54" fmla="*/ 0 w 224"/>
                <a:gd name="T55" fmla="*/ 0 h 248"/>
                <a:gd name="T56" fmla="*/ 0 w 224"/>
                <a:gd name="T57" fmla="*/ 0 h 248"/>
                <a:gd name="T58" fmla="*/ 0 w 224"/>
                <a:gd name="T59" fmla="*/ 0 h 248"/>
                <a:gd name="T60" fmla="*/ 0 w 224"/>
                <a:gd name="T61" fmla="*/ 0 h 248"/>
                <a:gd name="T62" fmla="*/ 0 w 224"/>
                <a:gd name="T63" fmla="*/ 0 h 248"/>
                <a:gd name="T64" fmla="*/ 0 w 224"/>
                <a:gd name="T65" fmla="*/ 0 h 248"/>
                <a:gd name="T66" fmla="*/ 0 w 224"/>
                <a:gd name="T67" fmla="*/ 0 h 248"/>
                <a:gd name="T68" fmla="*/ 0 w 224"/>
                <a:gd name="T69" fmla="*/ 0 h 248"/>
                <a:gd name="T70" fmla="*/ 0 w 224"/>
                <a:gd name="T71" fmla="*/ 0 h 248"/>
                <a:gd name="T72" fmla="*/ 0 w 224"/>
                <a:gd name="T73" fmla="*/ 0 h 248"/>
                <a:gd name="T74" fmla="*/ 0 w 224"/>
                <a:gd name="T75" fmla="*/ 0 h 248"/>
                <a:gd name="T76" fmla="*/ 0 w 224"/>
                <a:gd name="T77" fmla="*/ 0 h 248"/>
                <a:gd name="T78" fmla="*/ 0 w 224"/>
                <a:gd name="T79" fmla="*/ 0 h 248"/>
                <a:gd name="T80" fmla="*/ 0 w 224"/>
                <a:gd name="T81" fmla="*/ 0 h 248"/>
                <a:gd name="T82" fmla="*/ 0 w 224"/>
                <a:gd name="T83" fmla="*/ 0 h 24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4"/>
                <a:gd name="T127" fmla="*/ 0 h 248"/>
                <a:gd name="T128" fmla="*/ 224 w 224"/>
                <a:gd name="T129" fmla="*/ 248 h 248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4" h="248">
                  <a:moveTo>
                    <a:pt x="0" y="0"/>
                  </a:moveTo>
                  <a:lnTo>
                    <a:pt x="16" y="8"/>
                  </a:lnTo>
                  <a:lnTo>
                    <a:pt x="32" y="30"/>
                  </a:lnTo>
                  <a:lnTo>
                    <a:pt x="42" y="38"/>
                  </a:lnTo>
                  <a:lnTo>
                    <a:pt x="56" y="59"/>
                  </a:lnTo>
                  <a:lnTo>
                    <a:pt x="64" y="66"/>
                  </a:lnTo>
                  <a:lnTo>
                    <a:pt x="89" y="71"/>
                  </a:lnTo>
                  <a:lnTo>
                    <a:pt x="106" y="59"/>
                  </a:lnTo>
                  <a:lnTo>
                    <a:pt x="116" y="56"/>
                  </a:lnTo>
                  <a:lnTo>
                    <a:pt x="138" y="64"/>
                  </a:lnTo>
                  <a:lnTo>
                    <a:pt x="152" y="89"/>
                  </a:lnTo>
                  <a:lnTo>
                    <a:pt x="169" y="97"/>
                  </a:lnTo>
                  <a:lnTo>
                    <a:pt x="182" y="110"/>
                  </a:lnTo>
                  <a:lnTo>
                    <a:pt x="201" y="120"/>
                  </a:lnTo>
                  <a:lnTo>
                    <a:pt x="215" y="136"/>
                  </a:lnTo>
                  <a:lnTo>
                    <a:pt x="222" y="136"/>
                  </a:lnTo>
                  <a:lnTo>
                    <a:pt x="224" y="145"/>
                  </a:lnTo>
                  <a:lnTo>
                    <a:pt x="206" y="142"/>
                  </a:lnTo>
                  <a:lnTo>
                    <a:pt x="197" y="146"/>
                  </a:lnTo>
                  <a:lnTo>
                    <a:pt x="193" y="155"/>
                  </a:lnTo>
                  <a:lnTo>
                    <a:pt x="181" y="156"/>
                  </a:lnTo>
                  <a:lnTo>
                    <a:pt x="185" y="161"/>
                  </a:lnTo>
                  <a:lnTo>
                    <a:pt x="182" y="169"/>
                  </a:lnTo>
                  <a:lnTo>
                    <a:pt x="182" y="183"/>
                  </a:lnTo>
                  <a:lnTo>
                    <a:pt x="188" y="194"/>
                  </a:lnTo>
                  <a:lnTo>
                    <a:pt x="183" y="200"/>
                  </a:lnTo>
                  <a:lnTo>
                    <a:pt x="180" y="217"/>
                  </a:lnTo>
                  <a:lnTo>
                    <a:pt x="167" y="226"/>
                  </a:lnTo>
                  <a:lnTo>
                    <a:pt x="163" y="232"/>
                  </a:lnTo>
                  <a:lnTo>
                    <a:pt x="138" y="248"/>
                  </a:lnTo>
                  <a:lnTo>
                    <a:pt x="128" y="241"/>
                  </a:lnTo>
                  <a:lnTo>
                    <a:pt x="91" y="233"/>
                  </a:lnTo>
                  <a:lnTo>
                    <a:pt x="77" y="222"/>
                  </a:lnTo>
                  <a:lnTo>
                    <a:pt x="54" y="164"/>
                  </a:lnTo>
                  <a:lnTo>
                    <a:pt x="56" y="147"/>
                  </a:lnTo>
                  <a:lnTo>
                    <a:pt x="69" y="108"/>
                  </a:lnTo>
                  <a:lnTo>
                    <a:pt x="73" y="85"/>
                  </a:lnTo>
                  <a:lnTo>
                    <a:pt x="64" y="85"/>
                  </a:lnTo>
                  <a:lnTo>
                    <a:pt x="61" y="73"/>
                  </a:lnTo>
                  <a:lnTo>
                    <a:pt x="16" y="19"/>
                  </a:lnTo>
                  <a:lnTo>
                    <a:pt x="8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21" name="Freeform 122">
              <a:extLst>
                <a:ext uri="{FF2B5EF4-FFF2-40B4-BE49-F238E27FC236}">
                  <a16:creationId xmlns:a16="http://schemas.microsoft.com/office/drawing/2014/main" id="{9A4FA815-23D6-D677-F7BA-71B633D092B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0049413" y="662730"/>
              <a:ext cx="144130" cy="102396"/>
            </a:xfrm>
            <a:custGeom>
              <a:avLst/>
              <a:gdLst>
                <a:gd name="T0" fmla="*/ 0 w 266"/>
                <a:gd name="T1" fmla="*/ 0 h 180"/>
                <a:gd name="T2" fmla="*/ 0 w 266"/>
                <a:gd name="T3" fmla="*/ 0 h 180"/>
                <a:gd name="T4" fmla="*/ 0 w 266"/>
                <a:gd name="T5" fmla="*/ 0 h 180"/>
                <a:gd name="T6" fmla="*/ 0 w 266"/>
                <a:gd name="T7" fmla="*/ 0 h 180"/>
                <a:gd name="T8" fmla="*/ 0 w 266"/>
                <a:gd name="T9" fmla="*/ 0 h 180"/>
                <a:gd name="T10" fmla="*/ 0 w 266"/>
                <a:gd name="T11" fmla="*/ 0 h 180"/>
                <a:gd name="T12" fmla="*/ 0 w 266"/>
                <a:gd name="T13" fmla="*/ 0 h 180"/>
                <a:gd name="T14" fmla="*/ 0 w 266"/>
                <a:gd name="T15" fmla="*/ 0 h 180"/>
                <a:gd name="T16" fmla="*/ 0 w 266"/>
                <a:gd name="T17" fmla="*/ 0 h 180"/>
                <a:gd name="T18" fmla="*/ 0 w 266"/>
                <a:gd name="T19" fmla="*/ 0 h 180"/>
                <a:gd name="T20" fmla="*/ 0 w 266"/>
                <a:gd name="T21" fmla="*/ 0 h 180"/>
                <a:gd name="T22" fmla="*/ 0 w 266"/>
                <a:gd name="T23" fmla="*/ 0 h 180"/>
                <a:gd name="T24" fmla="*/ 0 w 266"/>
                <a:gd name="T25" fmla="*/ 0 h 180"/>
                <a:gd name="T26" fmla="*/ 0 w 266"/>
                <a:gd name="T27" fmla="*/ 0 h 180"/>
                <a:gd name="T28" fmla="*/ 0 w 266"/>
                <a:gd name="T29" fmla="*/ 0 h 180"/>
                <a:gd name="T30" fmla="*/ 0 w 266"/>
                <a:gd name="T31" fmla="*/ 0 h 180"/>
                <a:gd name="T32" fmla="*/ 0 w 266"/>
                <a:gd name="T33" fmla="*/ 0 h 180"/>
                <a:gd name="T34" fmla="*/ 0 w 266"/>
                <a:gd name="T35" fmla="*/ 0 h 180"/>
                <a:gd name="T36" fmla="*/ 0 w 266"/>
                <a:gd name="T37" fmla="*/ 0 h 180"/>
                <a:gd name="T38" fmla="*/ 0 w 266"/>
                <a:gd name="T39" fmla="*/ 0 h 180"/>
                <a:gd name="T40" fmla="*/ 0 w 266"/>
                <a:gd name="T41" fmla="*/ 0 h 180"/>
                <a:gd name="T42" fmla="*/ 0 w 266"/>
                <a:gd name="T43" fmla="*/ 0 h 180"/>
                <a:gd name="T44" fmla="*/ 0 w 266"/>
                <a:gd name="T45" fmla="*/ 0 h 180"/>
                <a:gd name="T46" fmla="*/ 0 w 266"/>
                <a:gd name="T47" fmla="*/ 0 h 180"/>
                <a:gd name="T48" fmla="*/ 0 w 266"/>
                <a:gd name="T49" fmla="*/ 0 h 180"/>
                <a:gd name="T50" fmla="*/ 0 w 266"/>
                <a:gd name="T51" fmla="*/ 0 h 180"/>
                <a:gd name="T52" fmla="*/ 0 w 266"/>
                <a:gd name="T53" fmla="*/ 0 h 180"/>
                <a:gd name="T54" fmla="*/ 0 w 266"/>
                <a:gd name="T55" fmla="*/ 0 h 180"/>
                <a:gd name="T56" fmla="*/ 0 w 266"/>
                <a:gd name="T57" fmla="*/ 0 h 180"/>
                <a:gd name="T58" fmla="*/ 0 w 266"/>
                <a:gd name="T59" fmla="*/ 0 h 180"/>
                <a:gd name="T60" fmla="*/ 0 w 266"/>
                <a:gd name="T61" fmla="*/ 0 h 180"/>
                <a:gd name="T62" fmla="*/ 0 w 266"/>
                <a:gd name="T63" fmla="*/ 0 h 180"/>
                <a:gd name="T64" fmla="*/ 0 w 266"/>
                <a:gd name="T65" fmla="*/ 0 h 180"/>
                <a:gd name="T66" fmla="*/ 0 w 266"/>
                <a:gd name="T67" fmla="*/ 0 h 180"/>
                <a:gd name="T68" fmla="*/ 0 w 266"/>
                <a:gd name="T69" fmla="*/ 0 h 180"/>
                <a:gd name="T70" fmla="*/ 0 w 266"/>
                <a:gd name="T71" fmla="*/ 0 h 180"/>
                <a:gd name="T72" fmla="*/ 0 w 266"/>
                <a:gd name="T73" fmla="*/ 0 h 180"/>
                <a:gd name="T74" fmla="*/ 0 w 266"/>
                <a:gd name="T75" fmla="*/ 0 h 180"/>
                <a:gd name="T76" fmla="*/ 0 w 266"/>
                <a:gd name="T77" fmla="*/ 0 h 180"/>
                <a:gd name="T78" fmla="*/ 0 w 266"/>
                <a:gd name="T79" fmla="*/ 0 h 180"/>
                <a:gd name="T80" fmla="*/ 0 w 266"/>
                <a:gd name="T81" fmla="*/ 0 h 180"/>
                <a:gd name="T82" fmla="*/ 0 w 266"/>
                <a:gd name="T83" fmla="*/ 0 h 180"/>
                <a:gd name="T84" fmla="*/ 0 w 266"/>
                <a:gd name="T85" fmla="*/ 0 h 180"/>
                <a:gd name="T86" fmla="*/ 0 w 266"/>
                <a:gd name="T87" fmla="*/ 0 h 180"/>
                <a:gd name="T88" fmla="*/ 0 w 266"/>
                <a:gd name="T89" fmla="*/ 0 h 180"/>
                <a:gd name="T90" fmla="*/ 0 w 266"/>
                <a:gd name="T91" fmla="*/ 0 h 180"/>
                <a:gd name="T92" fmla="*/ 0 w 266"/>
                <a:gd name="T93" fmla="*/ 0 h 180"/>
                <a:gd name="T94" fmla="*/ 0 w 266"/>
                <a:gd name="T95" fmla="*/ 0 h 180"/>
                <a:gd name="T96" fmla="*/ 0 w 266"/>
                <a:gd name="T97" fmla="*/ 0 h 180"/>
                <a:gd name="T98" fmla="*/ 0 w 266"/>
                <a:gd name="T99" fmla="*/ 0 h 18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66"/>
                <a:gd name="T151" fmla="*/ 0 h 180"/>
                <a:gd name="T152" fmla="*/ 266 w 266"/>
                <a:gd name="T153" fmla="*/ 180 h 18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66" h="180">
                  <a:moveTo>
                    <a:pt x="3" y="0"/>
                  </a:moveTo>
                  <a:lnTo>
                    <a:pt x="9" y="6"/>
                  </a:lnTo>
                  <a:lnTo>
                    <a:pt x="19" y="10"/>
                  </a:lnTo>
                  <a:lnTo>
                    <a:pt x="24" y="15"/>
                  </a:lnTo>
                  <a:lnTo>
                    <a:pt x="26" y="25"/>
                  </a:lnTo>
                  <a:lnTo>
                    <a:pt x="36" y="30"/>
                  </a:lnTo>
                  <a:lnTo>
                    <a:pt x="51" y="33"/>
                  </a:lnTo>
                  <a:lnTo>
                    <a:pt x="66" y="35"/>
                  </a:lnTo>
                  <a:lnTo>
                    <a:pt x="73" y="31"/>
                  </a:lnTo>
                  <a:lnTo>
                    <a:pt x="127" y="41"/>
                  </a:lnTo>
                  <a:lnTo>
                    <a:pt x="129" y="49"/>
                  </a:lnTo>
                  <a:lnTo>
                    <a:pt x="122" y="49"/>
                  </a:lnTo>
                  <a:lnTo>
                    <a:pt x="121" y="55"/>
                  </a:lnTo>
                  <a:lnTo>
                    <a:pt x="109" y="67"/>
                  </a:lnTo>
                  <a:lnTo>
                    <a:pt x="132" y="64"/>
                  </a:lnTo>
                  <a:lnTo>
                    <a:pt x="154" y="68"/>
                  </a:lnTo>
                  <a:lnTo>
                    <a:pt x="163" y="62"/>
                  </a:lnTo>
                  <a:lnTo>
                    <a:pt x="172" y="62"/>
                  </a:lnTo>
                  <a:lnTo>
                    <a:pt x="182" y="68"/>
                  </a:lnTo>
                  <a:lnTo>
                    <a:pt x="188" y="79"/>
                  </a:lnTo>
                  <a:lnTo>
                    <a:pt x="207" y="75"/>
                  </a:lnTo>
                  <a:lnTo>
                    <a:pt x="218" y="79"/>
                  </a:lnTo>
                  <a:lnTo>
                    <a:pt x="225" y="91"/>
                  </a:lnTo>
                  <a:lnTo>
                    <a:pt x="266" y="100"/>
                  </a:lnTo>
                  <a:lnTo>
                    <a:pt x="256" y="108"/>
                  </a:lnTo>
                  <a:lnTo>
                    <a:pt x="257" y="135"/>
                  </a:lnTo>
                  <a:lnTo>
                    <a:pt x="245" y="154"/>
                  </a:lnTo>
                  <a:lnTo>
                    <a:pt x="208" y="176"/>
                  </a:lnTo>
                  <a:lnTo>
                    <a:pt x="198" y="180"/>
                  </a:lnTo>
                  <a:lnTo>
                    <a:pt x="191" y="171"/>
                  </a:lnTo>
                  <a:lnTo>
                    <a:pt x="186" y="176"/>
                  </a:lnTo>
                  <a:lnTo>
                    <a:pt x="179" y="173"/>
                  </a:lnTo>
                  <a:lnTo>
                    <a:pt x="174" y="164"/>
                  </a:lnTo>
                  <a:lnTo>
                    <a:pt x="171" y="175"/>
                  </a:lnTo>
                  <a:lnTo>
                    <a:pt x="160" y="175"/>
                  </a:lnTo>
                  <a:lnTo>
                    <a:pt x="144" y="170"/>
                  </a:lnTo>
                  <a:lnTo>
                    <a:pt x="133" y="156"/>
                  </a:lnTo>
                  <a:lnTo>
                    <a:pt x="117" y="156"/>
                  </a:lnTo>
                  <a:lnTo>
                    <a:pt x="104" y="151"/>
                  </a:lnTo>
                  <a:lnTo>
                    <a:pt x="95" y="140"/>
                  </a:lnTo>
                  <a:lnTo>
                    <a:pt x="85" y="135"/>
                  </a:lnTo>
                  <a:lnTo>
                    <a:pt x="75" y="123"/>
                  </a:lnTo>
                  <a:lnTo>
                    <a:pt x="57" y="118"/>
                  </a:lnTo>
                  <a:lnTo>
                    <a:pt x="46" y="110"/>
                  </a:lnTo>
                  <a:lnTo>
                    <a:pt x="45" y="81"/>
                  </a:lnTo>
                  <a:lnTo>
                    <a:pt x="31" y="67"/>
                  </a:lnTo>
                  <a:lnTo>
                    <a:pt x="26" y="47"/>
                  </a:lnTo>
                  <a:lnTo>
                    <a:pt x="5" y="20"/>
                  </a:ln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22" name="Freeform 123">
              <a:extLst>
                <a:ext uri="{FF2B5EF4-FFF2-40B4-BE49-F238E27FC236}">
                  <a16:creationId xmlns:a16="http://schemas.microsoft.com/office/drawing/2014/main" id="{EBC39F87-AF32-AB19-750A-CCE38AA7F0F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857240" y="856144"/>
              <a:ext cx="114770" cy="76797"/>
            </a:xfrm>
            <a:custGeom>
              <a:avLst/>
              <a:gdLst>
                <a:gd name="T0" fmla="*/ 0 w 212"/>
                <a:gd name="T1" fmla="*/ 0 h 136"/>
                <a:gd name="T2" fmla="*/ 0 w 212"/>
                <a:gd name="T3" fmla="*/ 0 h 136"/>
                <a:gd name="T4" fmla="*/ 0 w 212"/>
                <a:gd name="T5" fmla="*/ 0 h 136"/>
                <a:gd name="T6" fmla="*/ 0 w 212"/>
                <a:gd name="T7" fmla="*/ 0 h 136"/>
                <a:gd name="T8" fmla="*/ 0 w 212"/>
                <a:gd name="T9" fmla="*/ 0 h 136"/>
                <a:gd name="T10" fmla="*/ 0 w 212"/>
                <a:gd name="T11" fmla="*/ 0 h 136"/>
                <a:gd name="T12" fmla="*/ 0 w 212"/>
                <a:gd name="T13" fmla="*/ 0 h 136"/>
                <a:gd name="T14" fmla="*/ 0 w 212"/>
                <a:gd name="T15" fmla="*/ 0 h 136"/>
                <a:gd name="T16" fmla="*/ 0 w 212"/>
                <a:gd name="T17" fmla="*/ 0 h 136"/>
                <a:gd name="T18" fmla="*/ 0 w 212"/>
                <a:gd name="T19" fmla="*/ 0 h 136"/>
                <a:gd name="T20" fmla="*/ 0 w 212"/>
                <a:gd name="T21" fmla="*/ 0 h 136"/>
                <a:gd name="T22" fmla="*/ 0 w 212"/>
                <a:gd name="T23" fmla="*/ 0 h 136"/>
                <a:gd name="T24" fmla="*/ 0 w 212"/>
                <a:gd name="T25" fmla="*/ 0 h 136"/>
                <a:gd name="T26" fmla="*/ 0 w 212"/>
                <a:gd name="T27" fmla="*/ 0 h 136"/>
                <a:gd name="T28" fmla="*/ 0 w 212"/>
                <a:gd name="T29" fmla="*/ 0 h 136"/>
                <a:gd name="T30" fmla="*/ 0 w 212"/>
                <a:gd name="T31" fmla="*/ 0 h 136"/>
                <a:gd name="T32" fmla="*/ 0 w 212"/>
                <a:gd name="T33" fmla="*/ 0 h 136"/>
                <a:gd name="T34" fmla="*/ 0 w 212"/>
                <a:gd name="T35" fmla="*/ 0 h 136"/>
                <a:gd name="T36" fmla="*/ 0 w 212"/>
                <a:gd name="T37" fmla="*/ 0 h 136"/>
                <a:gd name="T38" fmla="*/ 0 w 212"/>
                <a:gd name="T39" fmla="*/ 0 h 136"/>
                <a:gd name="T40" fmla="*/ 0 w 212"/>
                <a:gd name="T41" fmla="*/ 0 h 136"/>
                <a:gd name="T42" fmla="*/ 0 w 212"/>
                <a:gd name="T43" fmla="*/ 0 h 136"/>
                <a:gd name="T44" fmla="*/ 0 w 212"/>
                <a:gd name="T45" fmla="*/ 0 h 136"/>
                <a:gd name="T46" fmla="*/ 0 w 212"/>
                <a:gd name="T47" fmla="*/ 0 h 136"/>
                <a:gd name="T48" fmla="*/ 0 w 212"/>
                <a:gd name="T49" fmla="*/ 0 h 136"/>
                <a:gd name="T50" fmla="*/ 0 w 212"/>
                <a:gd name="T51" fmla="*/ 0 h 136"/>
                <a:gd name="T52" fmla="*/ 0 w 212"/>
                <a:gd name="T53" fmla="*/ 0 h 136"/>
                <a:gd name="T54" fmla="*/ 0 w 212"/>
                <a:gd name="T55" fmla="*/ 0 h 136"/>
                <a:gd name="T56" fmla="*/ 0 w 212"/>
                <a:gd name="T57" fmla="*/ 0 h 136"/>
                <a:gd name="T58" fmla="*/ 0 w 212"/>
                <a:gd name="T59" fmla="*/ 0 h 136"/>
                <a:gd name="T60" fmla="*/ 0 w 212"/>
                <a:gd name="T61" fmla="*/ 0 h 136"/>
                <a:gd name="T62" fmla="*/ 0 w 212"/>
                <a:gd name="T63" fmla="*/ 0 h 136"/>
                <a:gd name="T64" fmla="*/ 0 w 212"/>
                <a:gd name="T65" fmla="*/ 0 h 136"/>
                <a:gd name="T66" fmla="*/ 0 w 212"/>
                <a:gd name="T67" fmla="*/ 0 h 136"/>
                <a:gd name="T68" fmla="*/ 0 w 212"/>
                <a:gd name="T69" fmla="*/ 0 h 1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12"/>
                <a:gd name="T106" fmla="*/ 0 h 136"/>
                <a:gd name="T107" fmla="*/ 212 w 212"/>
                <a:gd name="T108" fmla="*/ 136 h 1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12" h="136">
                  <a:moveTo>
                    <a:pt x="92" y="7"/>
                  </a:moveTo>
                  <a:lnTo>
                    <a:pt x="110" y="0"/>
                  </a:lnTo>
                  <a:lnTo>
                    <a:pt x="126" y="2"/>
                  </a:lnTo>
                  <a:lnTo>
                    <a:pt x="137" y="5"/>
                  </a:lnTo>
                  <a:lnTo>
                    <a:pt x="148" y="16"/>
                  </a:lnTo>
                  <a:lnTo>
                    <a:pt x="156" y="18"/>
                  </a:lnTo>
                  <a:lnTo>
                    <a:pt x="169" y="36"/>
                  </a:lnTo>
                  <a:lnTo>
                    <a:pt x="187" y="51"/>
                  </a:lnTo>
                  <a:lnTo>
                    <a:pt x="203" y="78"/>
                  </a:lnTo>
                  <a:lnTo>
                    <a:pt x="207" y="93"/>
                  </a:lnTo>
                  <a:lnTo>
                    <a:pt x="207" y="112"/>
                  </a:lnTo>
                  <a:lnTo>
                    <a:pt x="212" y="126"/>
                  </a:lnTo>
                  <a:lnTo>
                    <a:pt x="212" y="136"/>
                  </a:lnTo>
                  <a:lnTo>
                    <a:pt x="202" y="132"/>
                  </a:lnTo>
                  <a:lnTo>
                    <a:pt x="193" y="136"/>
                  </a:lnTo>
                  <a:lnTo>
                    <a:pt x="181" y="134"/>
                  </a:lnTo>
                  <a:lnTo>
                    <a:pt x="167" y="127"/>
                  </a:lnTo>
                  <a:lnTo>
                    <a:pt x="139" y="128"/>
                  </a:lnTo>
                  <a:lnTo>
                    <a:pt x="122" y="120"/>
                  </a:lnTo>
                  <a:lnTo>
                    <a:pt x="115" y="112"/>
                  </a:lnTo>
                  <a:lnTo>
                    <a:pt x="102" y="115"/>
                  </a:lnTo>
                  <a:lnTo>
                    <a:pt x="85" y="110"/>
                  </a:lnTo>
                  <a:lnTo>
                    <a:pt x="68" y="99"/>
                  </a:lnTo>
                  <a:lnTo>
                    <a:pt x="48" y="95"/>
                  </a:lnTo>
                  <a:lnTo>
                    <a:pt x="21" y="110"/>
                  </a:lnTo>
                  <a:lnTo>
                    <a:pt x="10" y="109"/>
                  </a:lnTo>
                  <a:lnTo>
                    <a:pt x="0" y="95"/>
                  </a:lnTo>
                  <a:lnTo>
                    <a:pt x="8" y="89"/>
                  </a:lnTo>
                  <a:lnTo>
                    <a:pt x="37" y="86"/>
                  </a:lnTo>
                  <a:lnTo>
                    <a:pt x="41" y="79"/>
                  </a:lnTo>
                  <a:lnTo>
                    <a:pt x="48" y="62"/>
                  </a:lnTo>
                  <a:lnTo>
                    <a:pt x="60" y="31"/>
                  </a:lnTo>
                  <a:lnTo>
                    <a:pt x="60" y="19"/>
                  </a:lnTo>
                  <a:lnTo>
                    <a:pt x="65" y="10"/>
                  </a:lnTo>
                  <a:lnTo>
                    <a:pt x="92" y="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23" name="Freeform 124">
              <a:extLst>
                <a:ext uri="{FF2B5EF4-FFF2-40B4-BE49-F238E27FC236}">
                  <a16:creationId xmlns:a16="http://schemas.microsoft.com/office/drawing/2014/main" id="{57A215C7-D599-A07A-F201-90D063D294B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276257" y="915875"/>
              <a:ext cx="181496" cy="290122"/>
            </a:xfrm>
            <a:custGeom>
              <a:avLst/>
              <a:gdLst>
                <a:gd name="T0" fmla="*/ 0 w 338"/>
                <a:gd name="T1" fmla="*/ 0 h 508"/>
                <a:gd name="T2" fmla="*/ 0 w 338"/>
                <a:gd name="T3" fmla="*/ 0 h 508"/>
                <a:gd name="T4" fmla="*/ 0 w 338"/>
                <a:gd name="T5" fmla="*/ 0 h 508"/>
                <a:gd name="T6" fmla="*/ 0 w 338"/>
                <a:gd name="T7" fmla="*/ 0 h 508"/>
                <a:gd name="T8" fmla="*/ 0 w 338"/>
                <a:gd name="T9" fmla="*/ 0 h 508"/>
                <a:gd name="T10" fmla="*/ 0 w 338"/>
                <a:gd name="T11" fmla="*/ 0 h 508"/>
                <a:gd name="T12" fmla="*/ 0 w 338"/>
                <a:gd name="T13" fmla="*/ 0 h 508"/>
                <a:gd name="T14" fmla="*/ 0 w 338"/>
                <a:gd name="T15" fmla="*/ 0 h 508"/>
                <a:gd name="T16" fmla="*/ 0 w 338"/>
                <a:gd name="T17" fmla="*/ 0 h 508"/>
                <a:gd name="T18" fmla="*/ 0 w 338"/>
                <a:gd name="T19" fmla="*/ 0 h 508"/>
                <a:gd name="T20" fmla="*/ 0 w 338"/>
                <a:gd name="T21" fmla="*/ 0 h 508"/>
                <a:gd name="T22" fmla="*/ 0 w 338"/>
                <a:gd name="T23" fmla="*/ 0 h 508"/>
                <a:gd name="T24" fmla="*/ 0 w 338"/>
                <a:gd name="T25" fmla="*/ 0 h 508"/>
                <a:gd name="T26" fmla="*/ 0 w 338"/>
                <a:gd name="T27" fmla="*/ 0 h 508"/>
                <a:gd name="T28" fmla="*/ 0 w 338"/>
                <a:gd name="T29" fmla="*/ 0 h 508"/>
                <a:gd name="T30" fmla="*/ 0 w 338"/>
                <a:gd name="T31" fmla="*/ 0 h 508"/>
                <a:gd name="T32" fmla="*/ 0 w 338"/>
                <a:gd name="T33" fmla="*/ 0 h 508"/>
                <a:gd name="T34" fmla="*/ 0 w 338"/>
                <a:gd name="T35" fmla="*/ 0 h 508"/>
                <a:gd name="T36" fmla="*/ 0 w 338"/>
                <a:gd name="T37" fmla="*/ 0 h 508"/>
                <a:gd name="T38" fmla="*/ 0 w 338"/>
                <a:gd name="T39" fmla="*/ 0 h 508"/>
                <a:gd name="T40" fmla="*/ 0 w 338"/>
                <a:gd name="T41" fmla="*/ 0 h 508"/>
                <a:gd name="T42" fmla="*/ 0 w 338"/>
                <a:gd name="T43" fmla="*/ 0 h 508"/>
                <a:gd name="T44" fmla="*/ 0 w 338"/>
                <a:gd name="T45" fmla="*/ 0 h 508"/>
                <a:gd name="T46" fmla="*/ 0 w 338"/>
                <a:gd name="T47" fmla="*/ 0 h 508"/>
                <a:gd name="T48" fmla="*/ 0 w 338"/>
                <a:gd name="T49" fmla="*/ 0 h 508"/>
                <a:gd name="T50" fmla="*/ 0 w 338"/>
                <a:gd name="T51" fmla="*/ 0 h 508"/>
                <a:gd name="T52" fmla="*/ 0 w 338"/>
                <a:gd name="T53" fmla="*/ 0 h 508"/>
                <a:gd name="T54" fmla="*/ 0 w 338"/>
                <a:gd name="T55" fmla="*/ 0 h 508"/>
                <a:gd name="T56" fmla="*/ 0 w 338"/>
                <a:gd name="T57" fmla="*/ 0 h 508"/>
                <a:gd name="T58" fmla="*/ 0 w 338"/>
                <a:gd name="T59" fmla="*/ 0 h 508"/>
                <a:gd name="T60" fmla="*/ 0 w 338"/>
                <a:gd name="T61" fmla="*/ 0 h 508"/>
                <a:gd name="T62" fmla="*/ 0 w 338"/>
                <a:gd name="T63" fmla="*/ 0 h 508"/>
                <a:gd name="T64" fmla="*/ 0 w 338"/>
                <a:gd name="T65" fmla="*/ 0 h 508"/>
                <a:gd name="T66" fmla="*/ 0 w 338"/>
                <a:gd name="T67" fmla="*/ 0 h 508"/>
                <a:gd name="T68" fmla="*/ 0 w 338"/>
                <a:gd name="T69" fmla="*/ 0 h 508"/>
                <a:gd name="T70" fmla="*/ 0 w 338"/>
                <a:gd name="T71" fmla="*/ 0 h 508"/>
                <a:gd name="T72" fmla="*/ 0 w 338"/>
                <a:gd name="T73" fmla="*/ 0 h 508"/>
                <a:gd name="T74" fmla="*/ 0 w 338"/>
                <a:gd name="T75" fmla="*/ 0 h 508"/>
                <a:gd name="T76" fmla="*/ 0 w 338"/>
                <a:gd name="T77" fmla="*/ 0 h 508"/>
                <a:gd name="T78" fmla="*/ 0 w 338"/>
                <a:gd name="T79" fmla="*/ 0 h 508"/>
                <a:gd name="T80" fmla="*/ 0 w 338"/>
                <a:gd name="T81" fmla="*/ 0 h 508"/>
                <a:gd name="T82" fmla="*/ 0 w 338"/>
                <a:gd name="T83" fmla="*/ 0 h 508"/>
                <a:gd name="T84" fmla="*/ 0 w 338"/>
                <a:gd name="T85" fmla="*/ 0 h 508"/>
                <a:gd name="T86" fmla="*/ 0 w 338"/>
                <a:gd name="T87" fmla="*/ 0 h 508"/>
                <a:gd name="T88" fmla="*/ 0 w 338"/>
                <a:gd name="T89" fmla="*/ 0 h 508"/>
                <a:gd name="T90" fmla="*/ 0 w 338"/>
                <a:gd name="T91" fmla="*/ 0 h 508"/>
                <a:gd name="T92" fmla="*/ 0 w 338"/>
                <a:gd name="T93" fmla="*/ 0 h 508"/>
                <a:gd name="T94" fmla="*/ 0 w 338"/>
                <a:gd name="T95" fmla="*/ 0 h 508"/>
                <a:gd name="T96" fmla="*/ 0 w 338"/>
                <a:gd name="T97" fmla="*/ 0 h 508"/>
                <a:gd name="T98" fmla="*/ 0 w 338"/>
                <a:gd name="T99" fmla="*/ 0 h 508"/>
                <a:gd name="T100" fmla="*/ 0 w 338"/>
                <a:gd name="T101" fmla="*/ 0 h 508"/>
                <a:gd name="T102" fmla="*/ 0 w 338"/>
                <a:gd name="T103" fmla="*/ 0 h 508"/>
                <a:gd name="T104" fmla="*/ 0 w 338"/>
                <a:gd name="T105" fmla="*/ 0 h 508"/>
                <a:gd name="T106" fmla="*/ 0 w 338"/>
                <a:gd name="T107" fmla="*/ 0 h 508"/>
                <a:gd name="T108" fmla="*/ 0 w 338"/>
                <a:gd name="T109" fmla="*/ 0 h 508"/>
                <a:gd name="T110" fmla="*/ 0 w 338"/>
                <a:gd name="T111" fmla="*/ 0 h 508"/>
                <a:gd name="T112" fmla="*/ 0 w 338"/>
                <a:gd name="T113" fmla="*/ 0 h 508"/>
                <a:gd name="T114" fmla="*/ 0 w 338"/>
                <a:gd name="T115" fmla="*/ 0 h 508"/>
                <a:gd name="T116" fmla="*/ 0 w 338"/>
                <a:gd name="T117" fmla="*/ 0 h 508"/>
                <a:gd name="T118" fmla="*/ 0 w 338"/>
                <a:gd name="T119" fmla="*/ 0 h 508"/>
                <a:gd name="T120" fmla="*/ 0 w 338"/>
                <a:gd name="T121" fmla="*/ 0 h 508"/>
                <a:gd name="T122" fmla="*/ 0 w 338"/>
                <a:gd name="T123" fmla="*/ 0 h 508"/>
                <a:gd name="T124" fmla="*/ 0 w 338"/>
                <a:gd name="T125" fmla="*/ 0 h 50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38"/>
                <a:gd name="T190" fmla="*/ 0 h 508"/>
                <a:gd name="T191" fmla="*/ 338 w 338"/>
                <a:gd name="T192" fmla="*/ 508 h 50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38" h="508">
                  <a:moveTo>
                    <a:pt x="124" y="20"/>
                  </a:moveTo>
                  <a:lnTo>
                    <a:pt x="128" y="17"/>
                  </a:lnTo>
                  <a:lnTo>
                    <a:pt x="152" y="22"/>
                  </a:lnTo>
                  <a:lnTo>
                    <a:pt x="161" y="12"/>
                  </a:lnTo>
                  <a:lnTo>
                    <a:pt x="187" y="0"/>
                  </a:lnTo>
                  <a:lnTo>
                    <a:pt x="199" y="0"/>
                  </a:lnTo>
                  <a:lnTo>
                    <a:pt x="210" y="9"/>
                  </a:lnTo>
                  <a:lnTo>
                    <a:pt x="219" y="14"/>
                  </a:lnTo>
                  <a:lnTo>
                    <a:pt x="234" y="15"/>
                  </a:lnTo>
                  <a:lnTo>
                    <a:pt x="256" y="33"/>
                  </a:lnTo>
                  <a:lnTo>
                    <a:pt x="268" y="34"/>
                  </a:lnTo>
                  <a:lnTo>
                    <a:pt x="277" y="45"/>
                  </a:lnTo>
                  <a:lnTo>
                    <a:pt x="279" y="55"/>
                  </a:lnTo>
                  <a:lnTo>
                    <a:pt x="245" y="63"/>
                  </a:lnTo>
                  <a:lnTo>
                    <a:pt x="272" y="68"/>
                  </a:lnTo>
                  <a:lnTo>
                    <a:pt x="268" y="74"/>
                  </a:lnTo>
                  <a:lnTo>
                    <a:pt x="256" y="73"/>
                  </a:lnTo>
                  <a:lnTo>
                    <a:pt x="234" y="86"/>
                  </a:lnTo>
                  <a:lnTo>
                    <a:pt x="246" y="88"/>
                  </a:lnTo>
                  <a:lnTo>
                    <a:pt x="265" y="82"/>
                  </a:lnTo>
                  <a:lnTo>
                    <a:pt x="267" y="94"/>
                  </a:lnTo>
                  <a:lnTo>
                    <a:pt x="262" y="103"/>
                  </a:lnTo>
                  <a:lnTo>
                    <a:pt x="253" y="111"/>
                  </a:lnTo>
                  <a:lnTo>
                    <a:pt x="245" y="114"/>
                  </a:lnTo>
                  <a:lnTo>
                    <a:pt x="225" y="111"/>
                  </a:lnTo>
                  <a:lnTo>
                    <a:pt x="222" y="121"/>
                  </a:lnTo>
                  <a:lnTo>
                    <a:pt x="238" y="119"/>
                  </a:lnTo>
                  <a:lnTo>
                    <a:pt x="242" y="131"/>
                  </a:lnTo>
                  <a:lnTo>
                    <a:pt x="235" y="143"/>
                  </a:lnTo>
                  <a:lnTo>
                    <a:pt x="232" y="158"/>
                  </a:lnTo>
                  <a:lnTo>
                    <a:pt x="226" y="156"/>
                  </a:lnTo>
                  <a:lnTo>
                    <a:pt x="222" y="160"/>
                  </a:lnTo>
                  <a:lnTo>
                    <a:pt x="226" y="165"/>
                  </a:lnTo>
                  <a:lnTo>
                    <a:pt x="225" y="176"/>
                  </a:lnTo>
                  <a:lnTo>
                    <a:pt x="219" y="178"/>
                  </a:lnTo>
                  <a:lnTo>
                    <a:pt x="219" y="189"/>
                  </a:lnTo>
                  <a:lnTo>
                    <a:pt x="218" y="201"/>
                  </a:lnTo>
                  <a:lnTo>
                    <a:pt x="219" y="214"/>
                  </a:lnTo>
                  <a:lnTo>
                    <a:pt x="224" y="226"/>
                  </a:lnTo>
                  <a:lnTo>
                    <a:pt x="224" y="235"/>
                  </a:lnTo>
                  <a:lnTo>
                    <a:pt x="216" y="255"/>
                  </a:lnTo>
                  <a:lnTo>
                    <a:pt x="218" y="267"/>
                  </a:lnTo>
                  <a:lnTo>
                    <a:pt x="222" y="273"/>
                  </a:lnTo>
                  <a:lnTo>
                    <a:pt x="226" y="313"/>
                  </a:lnTo>
                  <a:lnTo>
                    <a:pt x="230" y="331"/>
                  </a:lnTo>
                  <a:lnTo>
                    <a:pt x="234" y="341"/>
                  </a:lnTo>
                  <a:lnTo>
                    <a:pt x="242" y="353"/>
                  </a:lnTo>
                  <a:lnTo>
                    <a:pt x="250" y="373"/>
                  </a:lnTo>
                  <a:lnTo>
                    <a:pt x="253" y="382"/>
                  </a:lnTo>
                  <a:lnTo>
                    <a:pt x="254" y="394"/>
                  </a:lnTo>
                  <a:lnTo>
                    <a:pt x="278" y="426"/>
                  </a:lnTo>
                  <a:lnTo>
                    <a:pt x="288" y="436"/>
                  </a:lnTo>
                  <a:lnTo>
                    <a:pt x="296" y="439"/>
                  </a:lnTo>
                  <a:lnTo>
                    <a:pt x="306" y="450"/>
                  </a:lnTo>
                  <a:lnTo>
                    <a:pt x="322" y="464"/>
                  </a:lnTo>
                  <a:lnTo>
                    <a:pt x="327" y="463"/>
                  </a:lnTo>
                  <a:lnTo>
                    <a:pt x="338" y="472"/>
                  </a:lnTo>
                  <a:lnTo>
                    <a:pt x="332" y="475"/>
                  </a:lnTo>
                  <a:lnTo>
                    <a:pt x="332" y="485"/>
                  </a:lnTo>
                  <a:lnTo>
                    <a:pt x="322" y="490"/>
                  </a:lnTo>
                  <a:lnTo>
                    <a:pt x="301" y="486"/>
                  </a:lnTo>
                  <a:lnTo>
                    <a:pt x="296" y="491"/>
                  </a:lnTo>
                  <a:lnTo>
                    <a:pt x="320" y="498"/>
                  </a:lnTo>
                  <a:lnTo>
                    <a:pt x="311" y="499"/>
                  </a:lnTo>
                  <a:lnTo>
                    <a:pt x="310" y="508"/>
                  </a:lnTo>
                  <a:lnTo>
                    <a:pt x="301" y="502"/>
                  </a:lnTo>
                  <a:lnTo>
                    <a:pt x="286" y="486"/>
                  </a:lnTo>
                  <a:lnTo>
                    <a:pt x="281" y="482"/>
                  </a:lnTo>
                  <a:lnTo>
                    <a:pt x="284" y="470"/>
                  </a:lnTo>
                  <a:lnTo>
                    <a:pt x="274" y="475"/>
                  </a:lnTo>
                  <a:lnTo>
                    <a:pt x="265" y="475"/>
                  </a:lnTo>
                  <a:lnTo>
                    <a:pt x="261" y="481"/>
                  </a:lnTo>
                  <a:lnTo>
                    <a:pt x="262" y="487"/>
                  </a:lnTo>
                  <a:lnTo>
                    <a:pt x="268" y="491"/>
                  </a:lnTo>
                  <a:lnTo>
                    <a:pt x="273" y="487"/>
                  </a:lnTo>
                  <a:lnTo>
                    <a:pt x="275" y="498"/>
                  </a:lnTo>
                  <a:lnTo>
                    <a:pt x="261" y="499"/>
                  </a:lnTo>
                  <a:lnTo>
                    <a:pt x="251" y="491"/>
                  </a:lnTo>
                  <a:lnTo>
                    <a:pt x="246" y="491"/>
                  </a:lnTo>
                  <a:lnTo>
                    <a:pt x="248" y="498"/>
                  </a:lnTo>
                  <a:lnTo>
                    <a:pt x="243" y="495"/>
                  </a:lnTo>
                  <a:lnTo>
                    <a:pt x="237" y="481"/>
                  </a:lnTo>
                  <a:lnTo>
                    <a:pt x="229" y="482"/>
                  </a:lnTo>
                  <a:lnTo>
                    <a:pt x="220" y="476"/>
                  </a:lnTo>
                  <a:lnTo>
                    <a:pt x="216" y="487"/>
                  </a:lnTo>
                  <a:lnTo>
                    <a:pt x="213" y="483"/>
                  </a:lnTo>
                  <a:lnTo>
                    <a:pt x="210" y="488"/>
                  </a:lnTo>
                  <a:lnTo>
                    <a:pt x="209" y="499"/>
                  </a:lnTo>
                  <a:lnTo>
                    <a:pt x="204" y="499"/>
                  </a:lnTo>
                  <a:lnTo>
                    <a:pt x="182" y="480"/>
                  </a:lnTo>
                  <a:lnTo>
                    <a:pt x="178" y="471"/>
                  </a:lnTo>
                  <a:lnTo>
                    <a:pt x="191" y="471"/>
                  </a:lnTo>
                  <a:lnTo>
                    <a:pt x="189" y="466"/>
                  </a:lnTo>
                  <a:lnTo>
                    <a:pt x="173" y="465"/>
                  </a:lnTo>
                  <a:lnTo>
                    <a:pt x="151" y="472"/>
                  </a:lnTo>
                  <a:lnTo>
                    <a:pt x="144" y="470"/>
                  </a:lnTo>
                  <a:lnTo>
                    <a:pt x="139" y="461"/>
                  </a:lnTo>
                  <a:lnTo>
                    <a:pt x="134" y="465"/>
                  </a:lnTo>
                  <a:lnTo>
                    <a:pt x="127" y="461"/>
                  </a:lnTo>
                  <a:lnTo>
                    <a:pt x="125" y="458"/>
                  </a:lnTo>
                  <a:lnTo>
                    <a:pt x="124" y="449"/>
                  </a:lnTo>
                  <a:lnTo>
                    <a:pt x="125" y="438"/>
                  </a:lnTo>
                  <a:lnTo>
                    <a:pt x="125" y="431"/>
                  </a:lnTo>
                  <a:lnTo>
                    <a:pt x="122" y="423"/>
                  </a:lnTo>
                  <a:lnTo>
                    <a:pt x="124" y="421"/>
                  </a:lnTo>
                  <a:lnTo>
                    <a:pt x="137" y="427"/>
                  </a:lnTo>
                  <a:lnTo>
                    <a:pt x="139" y="422"/>
                  </a:lnTo>
                  <a:lnTo>
                    <a:pt x="135" y="413"/>
                  </a:lnTo>
                  <a:lnTo>
                    <a:pt x="144" y="418"/>
                  </a:lnTo>
                  <a:lnTo>
                    <a:pt x="156" y="416"/>
                  </a:lnTo>
                  <a:lnTo>
                    <a:pt x="157" y="412"/>
                  </a:lnTo>
                  <a:lnTo>
                    <a:pt x="145" y="410"/>
                  </a:lnTo>
                  <a:lnTo>
                    <a:pt x="150" y="404"/>
                  </a:lnTo>
                  <a:lnTo>
                    <a:pt x="143" y="400"/>
                  </a:lnTo>
                  <a:lnTo>
                    <a:pt x="124" y="397"/>
                  </a:lnTo>
                  <a:lnTo>
                    <a:pt x="116" y="388"/>
                  </a:lnTo>
                  <a:lnTo>
                    <a:pt x="116" y="380"/>
                  </a:lnTo>
                  <a:lnTo>
                    <a:pt x="119" y="382"/>
                  </a:lnTo>
                  <a:lnTo>
                    <a:pt x="121" y="372"/>
                  </a:lnTo>
                  <a:lnTo>
                    <a:pt x="138" y="348"/>
                  </a:lnTo>
                  <a:lnTo>
                    <a:pt x="124" y="357"/>
                  </a:lnTo>
                  <a:lnTo>
                    <a:pt x="116" y="373"/>
                  </a:lnTo>
                  <a:lnTo>
                    <a:pt x="109" y="380"/>
                  </a:lnTo>
                  <a:lnTo>
                    <a:pt x="109" y="364"/>
                  </a:lnTo>
                  <a:lnTo>
                    <a:pt x="107" y="356"/>
                  </a:lnTo>
                  <a:lnTo>
                    <a:pt x="107" y="345"/>
                  </a:lnTo>
                  <a:lnTo>
                    <a:pt x="109" y="336"/>
                  </a:lnTo>
                  <a:lnTo>
                    <a:pt x="97" y="348"/>
                  </a:lnTo>
                  <a:lnTo>
                    <a:pt x="90" y="342"/>
                  </a:lnTo>
                  <a:lnTo>
                    <a:pt x="86" y="352"/>
                  </a:lnTo>
                  <a:lnTo>
                    <a:pt x="80" y="348"/>
                  </a:lnTo>
                  <a:lnTo>
                    <a:pt x="76" y="353"/>
                  </a:lnTo>
                  <a:lnTo>
                    <a:pt x="73" y="341"/>
                  </a:lnTo>
                  <a:lnTo>
                    <a:pt x="73" y="325"/>
                  </a:lnTo>
                  <a:lnTo>
                    <a:pt x="65" y="319"/>
                  </a:lnTo>
                  <a:lnTo>
                    <a:pt x="57" y="335"/>
                  </a:lnTo>
                  <a:lnTo>
                    <a:pt x="55" y="346"/>
                  </a:lnTo>
                  <a:lnTo>
                    <a:pt x="51" y="331"/>
                  </a:lnTo>
                  <a:lnTo>
                    <a:pt x="46" y="336"/>
                  </a:lnTo>
                  <a:lnTo>
                    <a:pt x="44" y="347"/>
                  </a:lnTo>
                  <a:lnTo>
                    <a:pt x="32" y="347"/>
                  </a:lnTo>
                  <a:lnTo>
                    <a:pt x="26" y="346"/>
                  </a:lnTo>
                  <a:lnTo>
                    <a:pt x="22" y="341"/>
                  </a:lnTo>
                  <a:lnTo>
                    <a:pt x="16" y="340"/>
                  </a:lnTo>
                  <a:lnTo>
                    <a:pt x="10" y="330"/>
                  </a:lnTo>
                  <a:lnTo>
                    <a:pt x="3" y="309"/>
                  </a:lnTo>
                  <a:lnTo>
                    <a:pt x="1" y="294"/>
                  </a:lnTo>
                  <a:lnTo>
                    <a:pt x="0" y="280"/>
                  </a:lnTo>
                  <a:lnTo>
                    <a:pt x="3" y="269"/>
                  </a:lnTo>
                  <a:lnTo>
                    <a:pt x="3" y="255"/>
                  </a:lnTo>
                  <a:lnTo>
                    <a:pt x="6" y="246"/>
                  </a:lnTo>
                  <a:lnTo>
                    <a:pt x="21" y="234"/>
                  </a:lnTo>
                  <a:lnTo>
                    <a:pt x="27" y="242"/>
                  </a:lnTo>
                  <a:lnTo>
                    <a:pt x="33" y="235"/>
                  </a:lnTo>
                  <a:lnTo>
                    <a:pt x="43" y="234"/>
                  </a:lnTo>
                  <a:lnTo>
                    <a:pt x="42" y="244"/>
                  </a:lnTo>
                  <a:lnTo>
                    <a:pt x="48" y="249"/>
                  </a:lnTo>
                  <a:lnTo>
                    <a:pt x="52" y="240"/>
                  </a:lnTo>
                  <a:lnTo>
                    <a:pt x="53" y="230"/>
                  </a:lnTo>
                  <a:lnTo>
                    <a:pt x="57" y="228"/>
                  </a:lnTo>
                  <a:lnTo>
                    <a:pt x="58" y="206"/>
                  </a:lnTo>
                  <a:lnTo>
                    <a:pt x="64" y="206"/>
                  </a:lnTo>
                  <a:lnTo>
                    <a:pt x="65" y="199"/>
                  </a:lnTo>
                  <a:lnTo>
                    <a:pt x="62" y="189"/>
                  </a:lnTo>
                  <a:lnTo>
                    <a:pt x="70" y="186"/>
                  </a:lnTo>
                  <a:lnTo>
                    <a:pt x="70" y="174"/>
                  </a:lnTo>
                  <a:lnTo>
                    <a:pt x="74" y="171"/>
                  </a:lnTo>
                  <a:lnTo>
                    <a:pt x="79" y="162"/>
                  </a:lnTo>
                  <a:lnTo>
                    <a:pt x="85" y="156"/>
                  </a:lnTo>
                  <a:lnTo>
                    <a:pt x="86" y="149"/>
                  </a:lnTo>
                  <a:lnTo>
                    <a:pt x="75" y="158"/>
                  </a:lnTo>
                  <a:lnTo>
                    <a:pt x="71" y="152"/>
                  </a:lnTo>
                  <a:lnTo>
                    <a:pt x="76" y="140"/>
                  </a:lnTo>
                  <a:lnTo>
                    <a:pt x="68" y="141"/>
                  </a:lnTo>
                  <a:lnTo>
                    <a:pt x="52" y="126"/>
                  </a:lnTo>
                  <a:lnTo>
                    <a:pt x="55" y="111"/>
                  </a:lnTo>
                  <a:lnTo>
                    <a:pt x="73" y="97"/>
                  </a:lnTo>
                  <a:lnTo>
                    <a:pt x="85" y="90"/>
                  </a:lnTo>
                  <a:lnTo>
                    <a:pt x="91" y="95"/>
                  </a:lnTo>
                  <a:lnTo>
                    <a:pt x="103" y="87"/>
                  </a:lnTo>
                  <a:lnTo>
                    <a:pt x="95" y="87"/>
                  </a:lnTo>
                  <a:lnTo>
                    <a:pt x="90" y="81"/>
                  </a:lnTo>
                  <a:lnTo>
                    <a:pt x="94" y="74"/>
                  </a:lnTo>
                  <a:lnTo>
                    <a:pt x="100" y="72"/>
                  </a:lnTo>
                  <a:lnTo>
                    <a:pt x="97" y="66"/>
                  </a:lnTo>
                  <a:lnTo>
                    <a:pt x="92" y="61"/>
                  </a:lnTo>
                  <a:lnTo>
                    <a:pt x="91" y="52"/>
                  </a:lnTo>
                  <a:lnTo>
                    <a:pt x="109" y="30"/>
                  </a:lnTo>
                  <a:lnTo>
                    <a:pt x="124" y="2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24" name="Freeform 125">
              <a:extLst>
                <a:ext uri="{FF2B5EF4-FFF2-40B4-BE49-F238E27FC236}">
                  <a16:creationId xmlns:a16="http://schemas.microsoft.com/office/drawing/2014/main" id="{3692F0DB-8008-9A21-3B71-2156629F73A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340314" y="480692"/>
              <a:ext cx="451072" cy="452249"/>
            </a:xfrm>
            <a:custGeom>
              <a:avLst/>
              <a:gdLst>
                <a:gd name="T0" fmla="*/ 0 w 843"/>
                <a:gd name="T1" fmla="*/ 0 h 796"/>
                <a:gd name="T2" fmla="*/ 0 w 843"/>
                <a:gd name="T3" fmla="*/ 0 h 796"/>
                <a:gd name="T4" fmla="*/ 0 w 843"/>
                <a:gd name="T5" fmla="*/ 0 h 796"/>
                <a:gd name="T6" fmla="*/ 0 w 843"/>
                <a:gd name="T7" fmla="*/ 0 h 796"/>
                <a:gd name="T8" fmla="*/ 0 w 843"/>
                <a:gd name="T9" fmla="*/ 0 h 796"/>
                <a:gd name="T10" fmla="*/ 0 w 843"/>
                <a:gd name="T11" fmla="*/ 0 h 796"/>
                <a:gd name="T12" fmla="*/ 0 w 843"/>
                <a:gd name="T13" fmla="*/ 0 h 796"/>
                <a:gd name="T14" fmla="*/ 0 w 843"/>
                <a:gd name="T15" fmla="*/ 0 h 796"/>
                <a:gd name="T16" fmla="*/ 0 w 843"/>
                <a:gd name="T17" fmla="*/ 0 h 796"/>
                <a:gd name="T18" fmla="*/ 0 w 843"/>
                <a:gd name="T19" fmla="*/ 0 h 796"/>
                <a:gd name="T20" fmla="*/ 0 w 843"/>
                <a:gd name="T21" fmla="*/ 0 h 796"/>
                <a:gd name="T22" fmla="*/ 0 w 843"/>
                <a:gd name="T23" fmla="*/ 0 h 796"/>
                <a:gd name="T24" fmla="*/ 0 w 843"/>
                <a:gd name="T25" fmla="*/ 0 h 796"/>
                <a:gd name="T26" fmla="*/ 0 w 843"/>
                <a:gd name="T27" fmla="*/ 0 h 796"/>
                <a:gd name="T28" fmla="*/ 0 w 843"/>
                <a:gd name="T29" fmla="*/ 0 h 796"/>
                <a:gd name="T30" fmla="*/ 0 w 843"/>
                <a:gd name="T31" fmla="*/ 0 h 796"/>
                <a:gd name="T32" fmla="*/ 0 w 843"/>
                <a:gd name="T33" fmla="*/ 0 h 796"/>
                <a:gd name="T34" fmla="*/ 0 w 843"/>
                <a:gd name="T35" fmla="*/ 0 h 796"/>
                <a:gd name="T36" fmla="*/ 0 w 843"/>
                <a:gd name="T37" fmla="*/ 0 h 796"/>
                <a:gd name="T38" fmla="*/ 0 w 843"/>
                <a:gd name="T39" fmla="*/ 0 h 796"/>
                <a:gd name="T40" fmla="*/ 0 w 843"/>
                <a:gd name="T41" fmla="*/ 0 h 796"/>
                <a:gd name="T42" fmla="*/ 0 w 843"/>
                <a:gd name="T43" fmla="*/ 0 h 796"/>
                <a:gd name="T44" fmla="*/ 0 w 843"/>
                <a:gd name="T45" fmla="*/ 0 h 796"/>
                <a:gd name="T46" fmla="*/ 0 w 843"/>
                <a:gd name="T47" fmla="*/ 0 h 796"/>
                <a:gd name="T48" fmla="*/ 0 w 843"/>
                <a:gd name="T49" fmla="*/ 0 h 796"/>
                <a:gd name="T50" fmla="*/ 0 w 843"/>
                <a:gd name="T51" fmla="*/ 0 h 796"/>
                <a:gd name="T52" fmla="*/ 0 w 843"/>
                <a:gd name="T53" fmla="*/ 0 h 796"/>
                <a:gd name="T54" fmla="*/ 0 w 843"/>
                <a:gd name="T55" fmla="*/ 0 h 796"/>
                <a:gd name="T56" fmla="*/ 0 w 843"/>
                <a:gd name="T57" fmla="*/ 0 h 796"/>
                <a:gd name="T58" fmla="*/ 0 w 843"/>
                <a:gd name="T59" fmla="*/ 0 h 796"/>
                <a:gd name="T60" fmla="*/ 0 w 843"/>
                <a:gd name="T61" fmla="*/ 0 h 796"/>
                <a:gd name="T62" fmla="*/ 0 w 843"/>
                <a:gd name="T63" fmla="*/ 0 h 796"/>
                <a:gd name="T64" fmla="*/ 0 w 843"/>
                <a:gd name="T65" fmla="*/ 0 h 796"/>
                <a:gd name="T66" fmla="*/ 0 w 843"/>
                <a:gd name="T67" fmla="*/ 0 h 796"/>
                <a:gd name="T68" fmla="*/ 0 w 843"/>
                <a:gd name="T69" fmla="*/ 0 h 796"/>
                <a:gd name="T70" fmla="*/ 0 w 843"/>
                <a:gd name="T71" fmla="*/ 0 h 796"/>
                <a:gd name="T72" fmla="*/ 0 w 843"/>
                <a:gd name="T73" fmla="*/ 0 h 796"/>
                <a:gd name="T74" fmla="*/ 0 w 843"/>
                <a:gd name="T75" fmla="*/ 0 h 796"/>
                <a:gd name="T76" fmla="*/ 0 w 843"/>
                <a:gd name="T77" fmla="*/ 0 h 796"/>
                <a:gd name="T78" fmla="*/ 0 w 843"/>
                <a:gd name="T79" fmla="*/ 0 h 796"/>
                <a:gd name="T80" fmla="*/ 0 w 843"/>
                <a:gd name="T81" fmla="*/ 0 h 796"/>
                <a:gd name="T82" fmla="*/ 0 w 843"/>
                <a:gd name="T83" fmla="*/ 0 h 796"/>
                <a:gd name="T84" fmla="*/ 0 w 843"/>
                <a:gd name="T85" fmla="*/ 0 h 796"/>
                <a:gd name="T86" fmla="*/ 0 w 843"/>
                <a:gd name="T87" fmla="*/ 0 h 796"/>
                <a:gd name="T88" fmla="*/ 0 w 843"/>
                <a:gd name="T89" fmla="*/ 0 h 796"/>
                <a:gd name="T90" fmla="*/ 0 w 843"/>
                <a:gd name="T91" fmla="*/ 0 h 796"/>
                <a:gd name="T92" fmla="*/ 0 w 843"/>
                <a:gd name="T93" fmla="*/ 0 h 796"/>
                <a:gd name="T94" fmla="*/ 0 w 843"/>
                <a:gd name="T95" fmla="*/ 0 h 796"/>
                <a:gd name="T96" fmla="*/ 0 w 843"/>
                <a:gd name="T97" fmla="*/ 0 h 796"/>
                <a:gd name="T98" fmla="*/ 0 w 843"/>
                <a:gd name="T99" fmla="*/ 0 h 796"/>
                <a:gd name="T100" fmla="*/ 0 w 843"/>
                <a:gd name="T101" fmla="*/ 0 h 796"/>
                <a:gd name="T102" fmla="*/ 0 w 843"/>
                <a:gd name="T103" fmla="*/ 0 h 796"/>
                <a:gd name="T104" fmla="*/ 0 w 843"/>
                <a:gd name="T105" fmla="*/ 0 h 796"/>
                <a:gd name="T106" fmla="*/ 0 w 843"/>
                <a:gd name="T107" fmla="*/ 0 h 796"/>
                <a:gd name="T108" fmla="*/ 0 w 843"/>
                <a:gd name="T109" fmla="*/ 0 h 79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43"/>
                <a:gd name="T166" fmla="*/ 0 h 796"/>
                <a:gd name="T167" fmla="*/ 843 w 843"/>
                <a:gd name="T168" fmla="*/ 796 h 79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43" h="796">
                  <a:moveTo>
                    <a:pt x="0" y="692"/>
                  </a:moveTo>
                  <a:lnTo>
                    <a:pt x="0" y="687"/>
                  </a:lnTo>
                  <a:lnTo>
                    <a:pt x="4" y="692"/>
                  </a:lnTo>
                  <a:lnTo>
                    <a:pt x="17" y="689"/>
                  </a:lnTo>
                  <a:lnTo>
                    <a:pt x="31" y="669"/>
                  </a:lnTo>
                  <a:lnTo>
                    <a:pt x="60" y="659"/>
                  </a:lnTo>
                  <a:lnTo>
                    <a:pt x="55" y="653"/>
                  </a:lnTo>
                  <a:lnTo>
                    <a:pt x="60" y="636"/>
                  </a:lnTo>
                  <a:lnTo>
                    <a:pt x="77" y="621"/>
                  </a:lnTo>
                  <a:lnTo>
                    <a:pt x="88" y="629"/>
                  </a:lnTo>
                  <a:lnTo>
                    <a:pt x="101" y="631"/>
                  </a:lnTo>
                  <a:lnTo>
                    <a:pt x="116" y="641"/>
                  </a:lnTo>
                  <a:lnTo>
                    <a:pt x="133" y="644"/>
                  </a:lnTo>
                  <a:lnTo>
                    <a:pt x="124" y="631"/>
                  </a:lnTo>
                  <a:lnTo>
                    <a:pt x="84" y="616"/>
                  </a:lnTo>
                  <a:lnTo>
                    <a:pt x="77" y="604"/>
                  </a:lnTo>
                  <a:lnTo>
                    <a:pt x="86" y="606"/>
                  </a:lnTo>
                  <a:lnTo>
                    <a:pt x="103" y="604"/>
                  </a:lnTo>
                  <a:lnTo>
                    <a:pt x="108" y="593"/>
                  </a:lnTo>
                  <a:lnTo>
                    <a:pt x="83" y="578"/>
                  </a:lnTo>
                  <a:lnTo>
                    <a:pt x="86" y="572"/>
                  </a:lnTo>
                  <a:lnTo>
                    <a:pt x="120" y="570"/>
                  </a:lnTo>
                  <a:lnTo>
                    <a:pt x="127" y="565"/>
                  </a:lnTo>
                  <a:lnTo>
                    <a:pt x="121" y="556"/>
                  </a:lnTo>
                  <a:lnTo>
                    <a:pt x="109" y="554"/>
                  </a:lnTo>
                  <a:lnTo>
                    <a:pt x="103" y="545"/>
                  </a:lnTo>
                  <a:lnTo>
                    <a:pt x="98" y="536"/>
                  </a:lnTo>
                  <a:lnTo>
                    <a:pt x="98" y="523"/>
                  </a:lnTo>
                  <a:lnTo>
                    <a:pt x="100" y="519"/>
                  </a:lnTo>
                  <a:lnTo>
                    <a:pt x="106" y="527"/>
                  </a:lnTo>
                  <a:lnTo>
                    <a:pt x="129" y="513"/>
                  </a:lnTo>
                  <a:lnTo>
                    <a:pt x="151" y="519"/>
                  </a:lnTo>
                  <a:lnTo>
                    <a:pt x="163" y="511"/>
                  </a:lnTo>
                  <a:lnTo>
                    <a:pt x="152" y="513"/>
                  </a:lnTo>
                  <a:lnTo>
                    <a:pt x="144" y="509"/>
                  </a:lnTo>
                  <a:lnTo>
                    <a:pt x="138" y="496"/>
                  </a:lnTo>
                  <a:lnTo>
                    <a:pt x="127" y="493"/>
                  </a:lnTo>
                  <a:lnTo>
                    <a:pt x="108" y="498"/>
                  </a:lnTo>
                  <a:lnTo>
                    <a:pt x="105" y="490"/>
                  </a:lnTo>
                  <a:lnTo>
                    <a:pt x="113" y="481"/>
                  </a:lnTo>
                  <a:lnTo>
                    <a:pt x="122" y="455"/>
                  </a:lnTo>
                  <a:lnTo>
                    <a:pt x="117" y="457"/>
                  </a:lnTo>
                  <a:lnTo>
                    <a:pt x="116" y="452"/>
                  </a:lnTo>
                  <a:lnTo>
                    <a:pt x="113" y="443"/>
                  </a:lnTo>
                  <a:lnTo>
                    <a:pt x="103" y="457"/>
                  </a:lnTo>
                  <a:lnTo>
                    <a:pt x="103" y="442"/>
                  </a:lnTo>
                  <a:lnTo>
                    <a:pt x="97" y="437"/>
                  </a:lnTo>
                  <a:lnTo>
                    <a:pt x="103" y="426"/>
                  </a:lnTo>
                  <a:lnTo>
                    <a:pt x="100" y="421"/>
                  </a:lnTo>
                  <a:lnTo>
                    <a:pt x="105" y="410"/>
                  </a:lnTo>
                  <a:lnTo>
                    <a:pt x="124" y="410"/>
                  </a:lnTo>
                  <a:lnTo>
                    <a:pt x="124" y="426"/>
                  </a:lnTo>
                  <a:lnTo>
                    <a:pt x="131" y="431"/>
                  </a:lnTo>
                  <a:lnTo>
                    <a:pt x="153" y="418"/>
                  </a:lnTo>
                  <a:lnTo>
                    <a:pt x="163" y="404"/>
                  </a:lnTo>
                  <a:lnTo>
                    <a:pt x="165" y="387"/>
                  </a:lnTo>
                  <a:lnTo>
                    <a:pt x="184" y="378"/>
                  </a:lnTo>
                  <a:lnTo>
                    <a:pt x="208" y="383"/>
                  </a:lnTo>
                  <a:lnTo>
                    <a:pt x="229" y="362"/>
                  </a:lnTo>
                  <a:lnTo>
                    <a:pt x="230" y="351"/>
                  </a:lnTo>
                  <a:lnTo>
                    <a:pt x="226" y="340"/>
                  </a:lnTo>
                  <a:lnTo>
                    <a:pt x="237" y="332"/>
                  </a:lnTo>
                  <a:lnTo>
                    <a:pt x="234" y="320"/>
                  </a:lnTo>
                  <a:lnTo>
                    <a:pt x="249" y="308"/>
                  </a:lnTo>
                  <a:lnTo>
                    <a:pt x="259" y="310"/>
                  </a:lnTo>
                  <a:lnTo>
                    <a:pt x="269" y="304"/>
                  </a:lnTo>
                  <a:lnTo>
                    <a:pt x="265" y="298"/>
                  </a:lnTo>
                  <a:lnTo>
                    <a:pt x="271" y="277"/>
                  </a:lnTo>
                  <a:lnTo>
                    <a:pt x="278" y="269"/>
                  </a:lnTo>
                  <a:lnTo>
                    <a:pt x="302" y="253"/>
                  </a:lnTo>
                  <a:lnTo>
                    <a:pt x="334" y="240"/>
                  </a:lnTo>
                  <a:lnTo>
                    <a:pt x="341" y="233"/>
                  </a:lnTo>
                  <a:lnTo>
                    <a:pt x="343" y="222"/>
                  </a:lnTo>
                  <a:lnTo>
                    <a:pt x="348" y="211"/>
                  </a:lnTo>
                  <a:lnTo>
                    <a:pt x="372" y="196"/>
                  </a:lnTo>
                  <a:lnTo>
                    <a:pt x="383" y="201"/>
                  </a:lnTo>
                  <a:lnTo>
                    <a:pt x="377" y="212"/>
                  </a:lnTo>
                  <a:lnTo>
                    <a:pt x="371" y="229"/>
                  </a:lnTo>
                  <a:lnTo>
                    <a:pt x="380" y="232"/>
                  </a:lnTo>
                  <a:lnTo>
                    <a:pt x="385" y="219"/>
                  </a:lnTo>
                  <a:lnTo>
                    <a:pt x="404" y="212"/>
                  </a:lnTo>
                  <a:lnTo>
                    <a:pt x="409" y="201"/>
                  </a:lnTo>
                  <a:lnTo>
                    <a:pt x="401" y="195"/>
                  </a:lnTo>
                  <a:lnTo>
                    <a:pt x="398" y="184"/>
                  </a:lnTo>
                  <a:lnTo>
                    <a:pt x="398" y="169"/>
                  </a:lnTo>
                  <a:lnTo>
                    <a:pt x="404" y="170"/>
                  </a:lnTo>
                  <a:lnTo>
                    <a:pt x="407" y="162"/>
                  </a:lnTo>
                  <a:lnTo>
                    <a:pt x="402" y="157"/>
                  </a:lnTo>
                  <a:lnTo>
                    <a:pt x="423" y="152"/>
                  </a:lnTo>
                  <a:lnTo>
                    <a:pt x="426" y="161"/>
                  </a:lnTo>
                  <a:lnTo>
                    <a:pt x="470" y="165"/>
                  </a:lnTo>
                  <a:lnTo>
                    <a:pt x="470" y="185"/>
                  </a:lnTo>
                  <a:lnTo>
                    <a:pt x="481" y="190"/>
                  </a:lnTo>
                  <a:lnTo>
                    <a:pt x="488" y="178"/>
                  </a:lnTo>
                  <a:lnTo>
                    <a:pt x="502" y="184"/>
                  </a:lnTo>
                  <a:lnTo>
                    <a:pt x="546" y="152"/>
                  </a:lnTo>
                  <a:lnTo>
                    <a:pt x="557" y="152"/>
                  </a:lnTo>
                  <a:lnTo>
                    <a:pt x="560" y="161"/>
                  </a:lnTo>
                  <a:lnTo>
                    <a:pt x="562" y="162"/>
                  </a:lnTo>
                  <a:lnTo>
                    <a:pt x="572" y="161"/>
                  </a:lnTo>
                  <a:lnTo>
                    <a:pt x="577" y="154"/>
                  </a:lnTo>
                  <a:lnTo>
                    <a:pt x="583" y="156"/>
                  </a:lnTo>
                  <a:lnTo>
                    <a:pt x="588" y="147"/>
                  </a:lnTo>
                  <a:lnTo>
                    <a:pt x="595" y="146"/>
                  </a:lnTo>
                  <a:lnTo>
                    <a:pt x="615" y="124"/>
                  </a:lnTo>
                  <a:lnTo>
                    <a:pt x="633" y="124"/>
                  </a:lnTo>
                  <a:lnTo>
                    <a:pt x="638" y="118"/>
                  </a:lnTo>
                  <a:lnTo>
                    <a:pt x="643" y="102"/>
                  </a:lnTo>
                  <a:lnTo>
                    <a:pt x="653" y="109"/>
                  </a:lnTo>
                  <a:lnTo>
                    <a:pt x="660" y="105"/>
                  </a:lnTo>
                  <a:lnTo>
                    <a:pt x="667" y="97"/>
                  </a:lnTo>
                  <a:lnTo>
                    <a:pt x="663" y="70"/>
                  </a:lnTo>
                  <a:lnTo>
                    <a:pt x="668" y="56"/>
                  </a:lnTo>
                  <a:lnTo>
                    <a:pt x="680" y="51"/>
                  </a:lnTo>
                  <a:lnTo>
                    <a:pt x="689" y="39"/>
                  </a:lnTo>
                  <a:lnTo>
                    <a:pt x="697" y="39"/>
                  </a:lnTo>
                  <a:lnTo>
                    <a:pt x="708" y="25"/>
                  </a:lnTo>
                  <a:lnTo>
                    <a:pt x="713" y="14"/>
                  </a:lnTo>
                  <a:lnTo>
                    <a:pt x="726" y="20"/>
                  </a:lnTo>
                  <a:lnTo>
                    <a:pt x="750" y="0"/>
                  </a:lnTo>
                  <a:lnTo>
                    <a:pt x="782" y="1"/>
                  </a:lnTo>
                  <a:lnTo>
                    <a:pt x="812" y="12"/>
                  </a:lnTo>
                  <a:lnTo>
                    <a:pt x="820" y="20"/>
                  </a:lnTo>
                  <a:lnTo>
                    <a:pt x="825" y="29"/>
                  </a:lnTo>
                  <a:lnTo>
                    <a:pt x="832" y="36"/>
                  </a:lnTo>
                  <a:lnTo>
                    <a:pt x="831" y="46"/>
                  </a:lnTo>
                  <a:lnTo>
                    <a:pt x="842" y="76"/>
                  </a:lnTo>
                  <a:lnTo>
                    <a:pt x="842" y="87"/>
                  </a:lnTo>
                  <a:lnTo>
                    <a:pt x="834" y="93"/>
                  </a:lnTo>
                  <a:lnTo>
                    <a:pt x="829" y="110"/>
                  </a:lnTo>
                  <a:lnTo>
                    <a:pt x="843" y="111"/>
                  </a:lnTo>
                  <a:lnTo>
                    <a:pt x="841" y="119"/>
                  </a:lnTo>
                  <a:lnTo>
                    <a:pt x="829" y="127"/>
                  </a:lnTo>
                  <a:lnTo>
                    <a:pt x="819" y="141"/>
                  </a:lnTo>
                  <a:lnTo>
                    <a:pt x="799" y="176"/>
                  </a:lnTo>
                  <a:lnTo>
                    <a:pt x="807" y="189"/>
                  </a:lnTo>
                  <a:lnTo>
                    <a:pt x="789" y="180"/>
                  </a:lnTo>
                  <a:lnTo>
                    <a:pt x="781" y="180"/>
                  </a:lnTo>
                  <a:lnTo>
                    <a:pt x="772" y="184"/>
                  </a:lnTo>
                  <a:lnTo>
                    <a:pt x="733" y="221"/>
                  </a:lnTo>
                  <a:lnTo>
                    <a:pt x="712" y="229"/>
                  </a:lnTo>
                  <a:lnTo>
                    <a:pt x="702" y="229"/>
                  </a:lnTo>
                  <a:lnTo>
                    <a:pt x="680" y="240"/>
                  </a:lnTo>
                  <a:lnTo>
                    <a:pt x="669" y="238"/>
                  </a:lnTo>
                  <a:lnTo>
                    <a:pt x="648" y="244"/>
                  </a:lnTo>
                  <a:lnTo>
                    <a:pt x="641" y="251"/>
                  </a:lnTo>
                  <a:lnTo>
                    <a:pt x="638" y="261"/>
                  </a:lnTo>
                  <a:lnTo>
                    <a:pt x="628" y="271"/>
                  </a:lnTo>
                  <a:lnTo>
                    <a:pt x="624" y="260"/>
                  </a:lnTo>
                  <a:lnTo>
                    <a:pt x="614" y="276"/>
                  </a:lnTo>
                  <a:lnTo>
                    <a:pt x="558" y="310"/>
                  </a:lnTo>
                  <a:lnTo>
                    <a:pt x="552" y="309"/>
                  </a:lnTo>
                  <a:lnTo>
                    <a:pt x="545" y="289"/>
                  </a:lnTo>
                  <a:lnTo>
                    <a:pt x="539" y="294"/>
                  </a:lnTo>
                  <a:lnTo>
                    <a:pt x="540" y="304"/>
                  </a:lnTo>
                  <a:lnTo>
                    <a:pt x="538" y="308"/>
                  </a:lnTo>
                  <a:lnTo>
                    <a:pt x="534" y="318"/>
                  </a:lnTo>
                  <a:lnTo>
                    <a:pt x="506" y="350"/>
                  </a:lnTo>
                  <a:lnTo>
                    <a:pt x="481" y="356"/>
                  </a:lnTo>
                  <a:lnTo>
                    <a:pt x="472" y="372"/>
                  </a:lnTo>
                  <a:lnTo>
                    <a:pt x="469" y="363"/>
                  </a:lnTo>
                  <a:lnTo>
                    <a:pt x="449" y="398"/>
                  </a:lnTo>
                  <a:lnTo>
                    <a:pt x="422" y="431"/>
                  </a:lnTo>
                  <a:lnTo>
                    <a:pt x="395" y="436"/>
                  </a:lnTo>
                  <a:lnTo>
                    <a:pt x="391" y="442"/>
                  </a:lnTo>
                  <a:lnTo>
                    <a:pt x="389" y="434"/>
                  </a:lnTo>
                  <a:lnTo>
                    <a:pt x="378" y="436"/>
                  </a:lnTo>
                  <a:lnTo>
                    <a:pt x="373" y="430"/>
                  </a:lnTo>
                  <a:lnTo>
                    <a:pt x="367" y="445"/>
                  </a:lnTo>
                  <a:lnTo>
                    <a:pt x="374" y="453"/>
                  </a:lnTo>
                  <a:lnTo>
                    <a:pt x="383" y="454"/>
                  </a:lnTo>
                  <a:lnTo>
                    <a:pt x="385" y="465"/>
                  </a:lnTo>
                  <a:lnTo>
                    <a:pt x="359" y="491"/>
                  </a:lnTo>
                  <a:lnTo>
                    <a:pt x="362" y="501"/>
                  </a:lnTo>
                  <a:lnTo>
                    <a:pt x="358" y="511"/>
                  </a:lnTo>
                  <a:lnTo>
                    <a:pt x="340" y="514"/>
                  </a:lnTo>
                  <a:lnTo>
                    <a:pt x="331" y="504"/>
                  </a:lnTo>
                  <a:lnTo>
                    <a:pt x="316" y="498"/>
                  </a:lnTo>
                  <a:lnTo>
                    <a:pt x="319" y="506"/>
                  </a:lnTo>
                  <a:lnTo>
                    <a:pt x="331" y="520"/>
                  </a:lnTo>
                  <a:lnTo>
                    <a:pt x="341" y="543"/>
                  </a:lnTo>
                  <a:lnTo>
                    <a:pt x="304" y="517"/>
                  </a:lnTo>
                  <a:lnTo>
                    <a:pt x="294" y="520"/>
                  </a:lnTo>
                  <a:lnTo>
                    <a:pt x="296" y="524"/>
                  </a:lnTo>
                  <a:lnTo>
                    <a:pt x="294" y="530"/>
                  </a:lnTo>
                  <a:lnTo>
                    <a:pt x="299" y="544"/>
                  </a:lnTo>
                  <a:lnTo>
                    <a:pt x="304" y="549"/>
                  </a:lnTo>
                  <a:lnTo>
                    <a:pt x="293" y="541"/>
                  </a:lnTo>
                  <a:lnTo>
                    <a:pt x="291" y="547"/>
                  </a:lnTo>
                  <a:lnTo>
                    <a:pt x="297" y="562"/>
                  </a:lnTo>
                  <a:lnTo>
                    <a:pt x="293" y="570"/>
                  </a:lnTo>
                  <a:lnTo>
                    <a:pt x="285" y="571"/>
                  </a:lnTo>
                  <a:lnTo>
                    <a:pt x="280" y="561"/>
                  </a:lnTo>
                  <a:lnTo>
                    <a:pt x="251" y="538"/>
                  </a:lnTo>
                  <a:lnTo>
                    <a:pt x="249" y="547"/>
                  </a:lnTo>
                  <a:lnTo>
                    <a:pt x="262" y="561"/>
                  </a:lnTo>
                  <a:lnTo>
                    <a:pt x="270" y="574"/>
                  </a:lnTo>
                  <a:lnTo>
                    <a:pt x="278" y="593"/>
                  </a:lnTo>
                  <a:lnTo>
                    <a:pt x="278" y="604"/>
                  </a:lnTo>
                  <a:lnTo>
                    <a:pt x="273" y="603"/>
                  </a:lnTo>
                  <a:lnTo>
                    <a:pt x="271" y="610"/>
                  </a:lnTo>
                  <a:lnTo>
                    <a:pt x="270" y="620"/>
                  </a:lnTo>
                  <a:lnTo>
                    <a:pt x="264" y="613"/>
                  </a:lnTo>
                  <a:lnTo>
                    <a:pt x="261" y="613"/>
                  </a:lnTo>
                  <a:lnTo>
                    <a:pt x="262" y="625"/>
                  </a:lnTo>
                  <a:lnTo>
                    <a:pt x="265" y="629"/>
                  </a:lnTo>
                  <a:lnTo>
                    <a:pt x="260" y="633"/>
                  </a:lnTo>
                  <a:lnTo>
                    <a:pt x="251" y="625"/>
                  </a:lnTo>
                  <a:lnTo>
                    <a:pt x="249" y="636"/>
                  </a:lnTo>
                  <a:lnTo>
                    <a:pt x="251" y="651"/>
                  </a:lnTo>
                  <a:lnTo>
                    <a:pt x="244" y="653"/>
                  </a:lnTo>
                  <a:lnTo>
                    <a:pt x="239" y="644"/>
                  </a:lnTo>
                  <a:lnTo>
                    <a:pt x="232" y="643"/>
                  </a:lnTo>
                  <a:lnTo>
                    <a:pt x="228" y="630"/>
                  </a:lnTo>
                  <a:lnTo>
                    <a:pt x="213" y="601"/>
                  </a:lnTo>
                  <a:lnTo>
                    <a:pt x="207" y="621"/>
                  </a:lnTo>
                  <a:lnTo>
                    <a:pt x="210" y="633"/>
                  </a:lnTo>
                  <a:lnTo>
                    <a:pt x="197" y="640"/>
                  </a:lnTo>
                  <a:lnTo>
                    <a:pt x="213" y="646"/>
                  </a:lnTo>
                  <a:lnTo>
                    <a:pt x="221" y="652"/>
                  </a:lnTo>
                  <a:lnTo>
                    <a:pt x="221" y="663"/>
                  </a:lnTo>
                  <a:lnTo>
                    <a:pt x="230" y="668"/>
                  </a:lnTo>
                  <a:lnTo>
                    <a:pt x="226" y="671"/>
                  </a:lnTo>
                  <a:lnTo>
                    <a:pt x="228" y="678"/>
                  </a:lnTo>
                  <a:lnTo>
                    <a:pt x="228" y="687"/>
                  </a:lnTo>
                  <a:lnTo>
                    <a:pt x="226" y="700"/>
                  </a:lnTo>
                  <a:lnTo>
                    <a:pt x="216" y="701"/>
                  </a:lnTo>
                  <a:lnTo>
                    <a:pt x="211" y="686"/>
                  </a:lnTo>
                  <a:lnTo>
                    <a:pt x="205" y="684"/>
                  </a:lnTo>
                  <a:lnTo>
                    <a:pt x="179" y="679"/>
                  </a:lnTo>
                  <a:lnTo>
                    <a:pt x="170" y="681"/>
                  </a:lnTo>
                  <a:lnTo>
                    <a:pt x="179" y="689"/>
                  </a:lnTo>
                  <a:lnTo>
                    <a:pt x="194" y="691"/>
                  </a:lnTo>
                  <a:lnTo>
                    <a:pt x="207" y="712"/>
                  </a:lnTo>
                  <a:lnTo>
                    <a:pt x="211" y="723"/>
                  </a:lnTo>
                  <a:lnTo>
                    <a:pt x="207" y="730"/>
                  </a:lnTo>
                  <a:lnTo>
                    <a:pt x="202" y="733"/>
                  </a:lnTo>
                  <a:lnTo>
                    <a:pt x="200" y="739"/>
                  </a:lnTo>
                  <a:lnTo>
                    <a:pt x="190" y="730"/>
                  </a:lnTo>
                  <a:lnTo>
                    <a:pt x="185" y="718"/>
                  </a:lnTo>
                  <a:lnTo>
                    <a:pt x="174" y="714"/>
                  </a:lnTo>
                  <a:lnTo>
                    <a:pt x="179" y="732"/>
                  </a:lnTo>
                  <a:lnTo>
                    <a:pt x="184" y="744"/>
                  </a:lnTo>
                  <a:lnTo>
                    <a:pt x="191" y="751"/>
                  </a:lnTo>
                  <a:lnTo>
                    <a:pt x="192" y="760"/>
                  </a:lnTo>
                  <a:lnTo>
                    <a:pt x="185" y="769"/>
                  </a:lnTo>
                  <a:lnTo>
                    <a:pt x="180" y="781"/>
                  </a:lnTo>
                  <a:lnTo>
                    <a:pt x="174" y="782"/>
                  </a:lnTo>
                  <a:lnTo>
                    <a:pt x="167" y="796"/>
                  </a:lnTo>
                  <a:lnTo>
                    <a:pt x="159" y="794"/>
                  </a:lnTo>
                  <a:lnTo>
                    <a:pt x="152" y="788"/>
                  </a:lnTo>
                  <a:lnTo>
                    <a:pt x="133" y="789"/>
                  </a:lnTo>
                  <a:lnTo>
                    <a:pt x="115" y="777"/>
                  </a:lnTo>
                  <a:lnTo>
                    <a:pt x="97" y="776"/>
                  </a:lnTo>
                  <a:lnTo>
                    <a:pt x="82" y="761"/>
                  </a:lnTo>
                  <a:lnTo>
                    <a:pt x="61" y="764"/>
                  </a:lnTo>
                  <a:lnTo>
                    <a:pt x="39" y="777"/>
                  </a:lnTo>
                  <a:lnTo>
                    <a:pt x="24" y="776"/>
                  </a:lnTo>
                  <a:lnTo>
                    <a:pt x="35" y="766"/>
                  </a:lnTo>
                  <a:lnTo>
                    <a:pt x="39" y="757"/>
                  </a:lnTo>
                  <a:lnTo>
                    <a:pt x="33" y="757"/>
                  </a:lnTo>
                  <a:lnTo>
                    <a:pt x="34" y="745"/>
                  </a:lnTo>
                  <a:lnTo>
                    <a:pt x="39" y="738"/>
                  </a:lnTo>
                  <a:lnTo>
                    <a:pt x="56" y="723"/>
                  </a:lnTo>
                  <a:lnTo>
                    <a:pt x="63" y="724"/>
                  </a:lnTo>
                  <a:lnTo>
                    <a:pt x="78" y="713"/>
                  </a:lnTo>
                  <a:lnTo>
                    <a:pt x="77" y="711"/>
                  </a:lnTo>
                  <a:lnTo>
                    <a:pt x="68" y="703"/>
                  </a:lnTo>
                  <a:lnTo>
                    <a:pt x="63" y="711"/>
                  </a:lnTo>
                  <a:lnTo>
                    <a:pt x="52" y="713"/>
                  </a:lnTo>
                  <a:lnTo>
                    <a:pt x="40" y="727"/>
                  </a:lnTo>
                  <a:lnTo>
                    <a:pt x="18" y="724"/>
                  </a:lnTo>
                  <a:lnTo>
                    <a:pt x="17" y="714"/>
                  </a:lnTo>
                  <a:lnTo>
                    <a:pt x="4" y="706"/>
                  </a:lnTo>
                  <a:lnTo>
                    <a:pt x="0" y="69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25" name="Freeform 126">
              <a:extLst>
                <a:ext uri="{FF2B5EF4-FFF2-40B4-BE49-F238E27FC236}">
                  <a16:creationId xmlns:a16="http://schemas.microsoft.com/office/drawing/2014/main" id="{DCD39319-E6A9-227F-45E5-A0A6FA6F58D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302948" y="1123511"/>
              <a:ext cx="24021" cy="45509"/>
            </a:xfrm>
            <a:custGeom>
              <a:avLst/>
              <a:gdLst>
                <a:gd name="T0" fmla="*/ 0 w 48"/>
                <a:gd name="T1" fmla="*/ 0 h 81"/>
                <a:gd name="T2" fmla="*/ 0 w 48"/>
                <a:gd name="T3" fmla="*/ 0 h 81"/>
                <a:gd name="T4" fmla="*/ 0 w 48"/>
                <a:gd name="T5" fmla="*/ 0 h 81"/>
                <a:gd name="T6" fmla="*/ 0 w 48"/>
                <a:gd name="T7" fmla="*/ 0 h 81"/>
                <a:gd name="T8" fmla="*/ 0 w 48"/>
                <a:gd name="T9" fmla="*/ 0 h 81"/>
                <a:gd name="T10" fmla="*/ 0 w 48"/>
                <a:gd name="T11" fmla="*/ 0 h 81"/>
                <a:gd name="T12" fmla="*/ 0 w 48"/>
                <a:gd name="T13" fmla="*/ 0 h 81"/>
                <a:gd name="T14" fmla="*/ 0 w 48"/>
                <a:gd name="T15" fmla="*/ 0 h 81"/>
                <a:gd name="T16" fmla="*/ 0 w 48"/>
                <a:gd name="T17" fmla="*/ 0 h 81"/>
                <a:gd name="T18" fmla="*/ 0 w 48"/>
                <a:gd name="T19" fmla="*/ 0 h 81"/>
                <a:gd name="T20" fmla="*/ 0 w 48"/>
                <a:gd name="T21" fmla="*/ 0 h 81"/>
                <a:gd name="T22" fmla="*/ 0 w 48"/>
                <a:gd name="T23" fmla="*/ 0 h 81"/>
                <a:gd name="T24" fmla="*/ 0 w 48"/>
                <a:gd name="T25" fmla="*/ 0 h 81"/>
                <a:gd name="T26" fmla="*/ 0 w 48"/>
                <a:gd name="T27" fmla="*/ 0 h 81"/>
                <a:gd name="T28" fmla="*/ 0 w 48"/>
                <a:gd name="T29" fmla="*/ 0 h 81"/>
                <a:gd name="T30" fmla="*/ 0 w 48"/>
                <a:gd name="T31" fmla="*/ 0 h 81"/>
                <a:gd name="T32" fmla="*/ 0 w 48"/>
                <a:gd name="T33" fmla="*/ 0 h 81"/>
                <a:gd name="T34" fmla="*/ 0 w 48"/>
                <a:gd name="T35" fmla="*/ 0 h 81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8"/>
                <a:gd name="T55" fmla="*/ 0 h 81"/>
                <a:gd name="T56" fmla="*/ 48 w 48"/>
                <a:gd name="T57" fmla="*/ 81 h 81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8" h="81">
                  <a:moveTo>
                    <a:pt x="0" y="11"/>
                  </a:moveTo>
                  <a:lnTo>
                    <a:pt x="0" y="8"/>
                  </a:lnTo>
                  <a:lnTo>
                    <a:pt x="13" y="0"/>
                  </a:lnTo>
                  <a:lnTo>
                    <a:pt x="23" y="5"/>
                  </a:lnTo>
                  <a:lnTo>
                    <a:pt x="33" y="16"/>
                  </a:lnTo>
                  <a:lnTo>
                    <a:pt x="35" y="10"/>
                  </a:lnTo>
                  <a:lnTo>
                    <a:pt x="47" y="30"/>
                  </a:lnTo>
                  <a:lnTo>
                    <a:pt x="48" y="40"/>
                  </a:lnTo>
                  <a:lnTo>
                    <a:pt x="47" y="53"/>
                  </a:lnTo>
                  <a:lnTo>
                    <a:pt x="44" y="57"/>
                  </a:lnTo>
                  <a:lnTo>
                    <a:pt x="45" y="68"/>
                  </a:lnTo>
                  <a:lnTo>
                    <a:pt x="48" y="78"/>
                  </a:lnTo>
                  <a:lnTo>
                    <a:pt x="44" y="81"/>
                  </a:lnTo>
                  <a:lnTo>
                    <a:pt x="38" y="59"/>
                  </a:lnTo>
                  <a:lnTo>
                    <a:pt x="31" y="46"/>
                  </a:lnTo>
                  <a:lnTo>
                    <a:pt x="24" y="27"/>
                  </a:lnTo>
                  <a:lnTo>
                    <a:pt x="4" y="19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26" name="Freeform 127">
              <a:extLst>
                <a:ext uri="{FF2B5EF4-FFF2-40B4-BE49-F238E27FC236}">
                  <a16:creationId xmlns:a16="http://schemas.microsoft.com/office/drawing/2014/main" id="{4CC0D312-A148-5F02-9818-0019C674FBF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843895" y="1006893"/>
              <a:ext cx="45374" cy="36976"/>
            </a:xfrm>
            <a:custGeom>
              <a:avLst/>
              <a:gdLst>
                <a:gd name="T0" fmla="*/ 0 w 85"/>
                <a:gd name="T1" fmla="*/ 0 h 61"/>
                <a:gd name="T2" fmla="*/ 0 w 85"/>
                <a:gd name="T3" fmla="*/ 0 h 61"/>
                <a:gd name="T4" fmla="*/ 0 w 85"/>
                <a:gd name="T5" fmla="*/ 0 h 61"/>
                <a:gd name="T6" fmla="*/ 0 w 85"/>
                <a:gd name="T7" fmla="*/ 0 h 61"/>
                <a:gd name="T8" fmla="*/ 0 w 85"/>
                <a:gd name="T9" fmla="*/ 0 h 61"/>
                <a:gd name="T10" fmla="*/ 0 w 85"/>
                <a:gd name="T11" fmla="*/ 0 h 61"/>
                <a:gd name="T12" fmla="*/ 0 w 85"/>
                <a:gd name="T13" fmla="*/ 0 h 61"/>
                <a:gd name="T14" fmla="*/ 0 w 85"/>
                <a:gd name="T15" fmla="*/ 0 h 61"/>
                <a:gd name="T16" fmla="*/ 0 w 85"/>
                <a:gd name="T17" fmla="*/ 0 h 61"/>
                <a:gd name="T18" fmla="*/ 0 w 85"/>
                <a:gd name="T19" fmla="*/ 0 h 61"/>
                <a:gd name="T20" fmla="*/ 0 w 85"/>
                <a:gd name="T21" fmla="*/ 0 h 61"/>
                <a:gd name="T22" fmla="*/ 0 w 85"/>
                <a:gd name="T23" fmla="*/ 0 h 61"/>
                <a:gd name="T24" fmla="*/ 0 w 85"/>
                <a:gd name="T25" fmla="*/ 0 h 61"/>
                <a:gd name="T26" fmla="*/ 0 w 85"/>
                <a:gd name="T27" fmla="*/ 0 h 61"/>
                <a:gd name="T28" fmla="*/ 0 w 85"/>
                <a:gd name="T29" fmla="*/ 0 h 61"/>
                <a:gd name="T30" fmla="*/ 0 w 85"/>
                <a:gd name="T31" fmla="*/ 0 h 61"/>
                <a:gd name="T32" fmla="*/ 0 w 85"/>
                <a:gd name="T33" fmla="*/ 0 h 61"/>
                <a:gd name="T34" fmla="*/ 0 w 85"/>
                <a:gd name="T35" fmla="*/ 0 h 61"/>
                <a:gd name="T36" fmla="*/ 0 w 85"/>
                <a:gd name="T37" fmla="*/ 0 h 61"/>
                <a:gd name="T38" fmla="*/ 0 w 85"/>
                <a:gd name="T39" fmla="*/ 0 h 61"/>
                <a:gd name="T40" fmla="*/ 0 w 85"/>
                <a:gd name="T41" fmla="*/ 0 h 61"/>
                <a:gd name="T42" fmla="*/ 0 w 85"/>
                <a:gd name="T43" fmla="*/ 0 h 61"/>
                <a:gd name="T44" fmla="*/ 0 w 85"/>
                <a:gd name="T45" fmla="*/ 0 h 61"/>
                <a:gd name="T46" fmla="*/ 0 w 85"/>
                <a:gd name="T47" fmla="*/ 0 h 61"/>
                <a:gd name="T48" fmla="*/ 0 w 85"/>
                <a:gd name="T49" fmla="*/ 0 h 61"/>
                <a:gd name="T50" fmla="*/ 0 w 85"/>
                <a:gd name="T51" fmla="*/ 0 h 61"/>
                <a:gd name="T52" fmla="*/ 0 w 85"/>
                <a:gd name="T53" fmla="*/ 0 h 61"/>
                <a:gd name="T54" fmla="*/ 0 w 85"/>
                <a:gd name="T55" fmla="*/ 0 h 61"/>
                <a:gd name="T56" fmla="*/ 0 w 85"/>
                <a:gd name="T57" fmla="*/ 0 h 6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85"/>
                <a:gd name="T88" fmla="*/ 0 h 61"/>
                <a:gd name="T89" fmla="*/ 85 w 85"/>
                <a:gd name="T90" fmla="*/ 61 h 61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85" h="61">
                  <a:moveTo>
                    <a:pt x="44" y="7"/>
                  </a:moveTo>
                  <a:lnTo>
                    <a:pt x="57" y="9"/>
                  </a:lnTo>
                  <a:lnTo>
                    <a:pt x="84" y="4"/>
                  </a:lnTo>
                  <a:lnTo>
                    <a:pt x="85" y="7"/>
                  </a:lnTo>
                  <a:lnTo>
                    <a:pt x="84" y="14"/>
                  </a:lnTo>
                  <a:lnTo>
                    <a:pt x="79" y="27"/>
                  </a:lnTo>
                  <a:lnTo>
                    <a:pt x="76" y="37"/>
                  </a:lnTo>
                  <a:lnTo>
                    <a:pt x="71" y="45"/>
                  </a:lnTo>
                  <a:lnTo>
                    <a:pt x="70" y="40"/>
                  </a:lnTo>
                  <a:lnTo>
                    <a:pt x="70" y="26"/>
                  </a:lnTo>
                  <a:lnTo>
                    <a:pt x="62" y="51"/>
                  </a:lnTo>
                  <a:lnTo>
                    <a:pt x="54" y="50"/>
                  </a:lnTo>
                  <a:lnTo>
                    <a:pt x="44" y="42"/>
                  </a:lnTo>
                  <a:lnTo>
                    <a:pt x="36" y="52"/>
                  </a:lnTo>
                  <a:lnTo>
                    <a:pt x="20" y="51"/>
                  </a:lnTo>
                  <a:lnTo>
                    <a:pt x="17" y="57"/>
                  </a:lnTo>
                  <a:lnTo>
                    <a:pt x="13" y="61"/>
                  </a:lnTo>
                  <a:lnTo>
                    <a:pt x="0" y="46"/>
                  </a:lnTo>
                  <a:lnTo>
                    <a:pt x="4" y="40"/>
                  </a:lnTo>
                  <a:lnTo>
                    <a:pt x="11" y="37"/>
                  </a:lnTo>
                  <a:lnTo>
                    <a:pt x="10" y="29"/>
                  </a:lnTo>
                  <a:lnTo>
                    <a:pt x="13" y="23"/>
                  </a:lnTo>
                  <a:lnTo>
                    <a:pt x="19" y="20"/>
                  </a:lnTo>
                  <a:lnTo>
                    <a:pt x="19" y="14"/>
                  </a:lnTo>
                  <a:lnTo>
                    <a:pt x="16" y="4"/>
                  </a:lnTo>
                  <a:lnTo>
                    <a:pt x="25" y="0"/>
                  </a:lnTo>
                  <a:lnTo>
                    <a:pt x="41" y="2"/>
                  </a:lnTo>
                  <a:lnTo>
                    <a:pt x="44" y="3"/>
                  </a:lnTo>
                  <a:lnTo>
                    <a:pt x="44" y="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27" name="Freeform 128">
              <a:extLst>
                <a:ext uri="{FF2B5EF4-FFF2-40B4-BE49-F238E27FC236}">
                  <a16:creationId xmlns:a16="http://schemas.microsoft.com/office/drawing/2014/main" id="{1B9DABEC-B12E-88DD-D985-1428DDC926F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484444" y="1211686"/>
              <a:ext cx="58720" cy="71108"/>
            </a:xfrm>
            <a:custGeom>
              <a:avLst/>
              <a:gdLst>
                <a:gd name="T0" fmla="*/ 0 w 112"/>
                <a:gd name="T1" fmla="*/ 0 h 123"/>
                <a:gd name="T2" fmla="*/ 0 w 112"/>
                <a:gd name="T3" fmla="*/ 0 h 123"/>
                <a:gd name="T4" fmla="*/ 0 w 112"/>
                <a:gd name="T5" fmla="*/ 0 h 123"/>
                <a:gd name="T6" fmla="*/ 0 w 112"/>
                <a:gd name="T7" fmla="*/ 0 h 123"/>
                <a:gd name="T8" fmla="*/ 0 w 112"/>
                <a:gd name="T9" fmla="*/ 0 h 123"/>
                <a:gd name="T10" fmla="*/ 0 w 112"/>
                <a:gd name="T11" fmla="*/ 0 h 123"/>
                <a:gd name="T12" fmla="*/ 0 w 112"/>
                <a:gd name="T13" fmla="*/ 0 h 123"/>
                <a:gd name="T14" fmla="*/ 0 w 112"/>
                <a:gd name="T15" fmla="*/ 0 h 123"/>
                <a:gd name="T16" fmla="*/ 0 w 112"/>
                <a:gd name="T17" fmla="*/ 0 h 123"/>
                <a:gd name="T18" fmla="*/ 0 w 112"/>
                <a:gd name="T19" fmla="*/ 0 h 123"/>
                <a:gd name="T20" fmla="*/ 0 w 112"/>
                <a:gd name="T21" fmla="*/ 0 h 123"/>
                <a:gd name="T22" fmla="*/ 0 w 112"/>
                <a:gd name="T23" fmla="*/ 0 h 123"/>
                <a:gd name="T24" fmla="*/ 0 w 112"/>
                <a:gd name="T25" fmla="*/ 0 h 123"/>
                <a:gd name="T26" fmla="*/ 0 w 112"/>
                <a:gd name="T27" fmla="*/ 0 h 123"/>
                <a:gd name="T28" fmla="*/ 0 w 112"/>
                <a:gd name="T29" fmla="*/ 0 h 123"/>
                <a:gd name="T30" fmla="*/ 0 w 112"/>
                <a:gd name="T31" fmla="*/ 0 h 123"/>
                <a:gd name="T32" fmla="*/ 0 w 112"/>
                <a:gd name="T33" fmla="*/ 0 h 123"/>
                <a:gd name="T34" fmla="*/ 0 w 112"/>
                <a:gd name="T35" fmla="*/ 0 h 123"/>
                <a:gd name="T36" fmla="*/ 0 w 112"/>
                <a:gd name="T37" fmla="*/ 0 h 123"/>
                <a:gd name="T38" fmla="*/ 0 w 112"/>
                <a:gd name="T39" fmla="*/ 0 h 123"/>
                <a:gd name="T40" fmla="*/ 0 w 112"/>
                <a:gd name="T41" fmla="*/ 0 h 123"/>
                <a:gd name="T42" fmla="*/ 0 w 112"/>
                <a:gd name="T43" fmla="*/ 0 h 123"/>
                <a:gd name="T44" fmla="*/ 0 w 112"/>
                <a:gd name="T45" fmla="*/ 0 h 123"/>
                <a:gd name="T46" fmla="*/ 0 w 112"/>
                <a:gd name="T47" fmla="*/ 0 h 123"/>
                <a:gd name="T48" fmla="*/ 0 w 112"/>
                <a:gd name="T49" fmla="*/ 0 h 123"/>
                <a:gd name="T50" fmla="*/ 0 w 112"/>
                <a:gd name="T51" fmla="*/ 0 h 123"/>
                <a:gd name="T52" fmla="*/ 0 w 112"/>
                <a:gd name="T53" fmla="*/ 0 h 123"/>
                <a:gd name="T54" fmla="*/ 0 w 112"/>
                <a:gd name="T55" fmla="*/ 0 h 123"/>
                <a:gd name="T56" fmla="*/ 0 w 112"/>
                <a:gd name="T57" fmla="*/ 0 h 123"/>
                <a:gd name="T58" fmla="*/ 0 w 112"/>
                <a:gd name="T59" fmla="*/ 0 h 123"/>
                <a:gd name="T60" fmla="*/ 0 w 112"/>
                <a:gd name="T61" fmla="*/ 0 h 123"/>
                <a:gd name="T62" fmla="*/ 0 w 112"/>
                <a:gd name="T63" fmla="*/ 0 h 123"/>
                <a:gd name="T64" fmla="*/ 0 w 112"/>
                <a:gd name="T65" fmla="*/ 0 h 123"/>
                <a:gd name="T66" fmla="*/ 0 w 112"/>
                <a:gd name="T67" fmla="*/ 0 h 123"/>
                <a:gd name="T68" fmla="*/ 0 w 112"/>
                <a:gd name="T69" fmla="*/ 0 h 12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12"/>
                <a:gd name="T106" fmla="*/ 0 h 123"/>
                <a:gd name="T107" fmla="*/ 112 w 112"/>
                <a:gd name="T108" fmla="*/ 123 h 12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12" h="123">
                  <a:moveTo>
                    <a:pt x="15" y="75"/>
                  </a:moveTo>
                  <a:lnTo>
                    <a:pt x="12" y="75"/>
                  </a:lnTo>
                  <a:lnTo>
                    <a:pt x="7" y="57"/>
                  </a:lnTo>
                  <a:lnTo>
                    <a:pt x="7" y="49"/>
                  </a:lnTo>
                  <a:lnTo>
                    <a:pt x="3" y="47"/>
                  </a:lnTo>
                  <a:lnTo>
                    <a:pt x="0" y="36"/>
                  </a:lnTo>
                  <a:lnTo>
                    <a:pt x="10" y="41"/>
                  </a:lnTo>
                  <a:lnTo>
                    <a:pt x="19" y="38"/>
                  </a:lnTo>
                  <a:lnTo>
                    <a:pt x="6" y="25"/>
                  </a:lnTo>
                  <a:lnTo>
                    <a:pt x="10" y="23"/>
                  </a:lnTo>
                  <a:lnTo>
                    <a:pt x="15" y="15"/>
                  </a:lnTo>
                  <a:lnTo>
                    <a:pt x="19" y="3"/>
                  </a:lnTo>
                  <a:lnTo>
                    <a:pt x="27" y="0"/>
                  </a:lnTo>
                  <a:lnTo>
                    <a:pt x="37" y="16"/>
                  </a:lnTo>
                  <a:lnTo>
                    <a:pt x="46" y="23"/>
                  </a:lnTo>
                  <a:lnTo>
                    <a:pt x="52" y="38"/>
                  </a:lnTo>
                  <a:lnTo>
                    <a:pt x="68" y="46"/>
                  </a:lnTo>
                  <a:lnTo>
                    <a:pt x="82" y="62"/>
                  </a:lnTo>
                  <a:lnTo>
                    <a:pt x="109" y="98"/>
                  </a:lnTo>
                  <a:lnTo>
                    <a:pt x="112" y="108"/>
                  </a:lnTo>
                  <a:lnTo>
                    <a:pt x="103" y="123"/>
                  </a:lnTo>
                  <a:lnTo>
                    <a:pt x="96" y="118"/>
                  </a:lnTo>
                  <a:lnTo>
                    <a:pt x="89" y="117"/>
                  </a:lnTo>
                  <a:lnTo>
                    <a:pt x="85" y="122"/>
                  </a:lnTo>
                  <a:lnTo>
                    <a:pt x="74" y="122"/>
                  </a:lnTo>
                  <a:lnTo>
                    <a:pt x="60" y="112"/>
                  </a:lnTo>
                  <a:lnTo>
                    <a:pt x="64" y="103"/>
                  </a:lnTo>
                  <a:lnTo>
                    <a:pt x="54" y="96"/>
                  </a:lnTo>
                  <a:lnTo>
                    <a:pt x="44" y="95"/>
                  </a:lnTo>
                  <a:lnTo>
                    <a:pt x="26" y="82"/>
                  </a:lnTo>
                  <a:lnTo>
                    <a:pt x="31" y="95"/>
                  </a:lnTo>
                  <a:lnTo>
                    <a:pt x="39" y="106"/>
                  </a:lnTo>
                  <a:lnTo>
                    <a:pt x="37" y="113"/>
                  </a:lnTo>
                  <a:lnTo>
                    <a:pt x="28" y="95"/>
                  </a:lnTo>
                  <a:lnTo>
                    <a:pt x="15" y="7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28" name="Freeform 129">
              <a:extLst>
                <a:ext uri="{FF2B5EF4-FFF2-40B4-BE49-F238E27FC236}">
                  <a16:creationId xmlns:a16="http://schemas.microsoft.com/office/drawing/2014/main" id="{B0E0B236-8796-1979-812C-A6109AC6051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488011" y="0"/>
              <a:ext cx="216195" cy="213325"/>
            </a:xfrm>
            <a:custGeom>
              <a:avLst/>
              <a:gdLst>
                <a:gd name="T0" fmla="*/ 0 w 405"/>
                <a:gd name="T1" fmla="*/ 0 h 373"/>
                <a:gd name="T2" fmla="*/ 0 w 405"/>
                <a:gd name="T3" fmla="*/ 0 h 373"/>
                <a:gd name="T4" fmla="*/ 0 w 405"/>
                <a:gd name="T5" fmla="*/ 0 h 373"/>
                <a:gd name="T6" fmla="*/ 0 w 405"/>
                <a:gd name="T7" fmla="*/ 0 h 373"/>
                <a:gd name="T8" fmla="*/ 0 w 405"/>
                <a:gd name="T9" fmla="*/ 0 h 373"/>
                <a:gd name="T10" fmla="*/ 0 w 405"/>
                <a:gd name="T11" fmla="*/ 0 h 373"/>
                <a:gd name="T12" fmla="*/ 0 w 405"/>
                <a:gd name="T13" fmla="*/ 0 h 373"/>
                <a:gd name="T14" fmla="*/ 0 w 405"/>
                <a:gd name="T15" fmla="*/ 0 h 373"/>
                <a:gd name="T16" fmla="*/ 0 w 405"/>
                <a:gd name="T17" fmla="*/ 0 h 373"/>
                <a:gd name="T18" fmla="*/ 0 w 405"/>
                <a:gd name="T19" fmla="*/ 0 h 373"/>
                <a:gd name="T20" fmla="*/ 0 w 405"/>
                <a:gd name="T21" fmla="*/ 0 h 373"/>
                <a:gd name="T22" fmla="*/ 0 w 405"/>
                <a:gd name="T23" fmla="*/ 0 h 373"/>
                <a:gd name="T24" fmla="*/ 0 w 405"/>
                <a:gd name="T25" fmla="*/ 0 h 373"/>
                <a:gd name="T26" fmla="*/ 0 w 405"/>
                <a:gd name="T27" fmla="*/ 0 h 373"/>
                <a:gd name="T28" fmla="*/ 0 w 405"/>
                <a:gd name="T29" fmla="*/ 0 h 373"/>
                <a:gd name="T30" fmla="*/ 0 w 405"/>
                <a:gd name="T31" fmla="*/ 0 h 373"/>
                <a:gd name="T32" fmla="*/ 0 w 405"/>
                <a:gd name="T33" fmla="*/ 0 h 373"/>
                <a:gd name="T34" fmla="*/ 0 w 405"/>
                <a:gd name="T35" fmla="*/ 0 h 373"/>
                <a:gd name="T36" fmla="*/ 0 w 405"/>
                <a:gd name="T37" fmla="*/ 0 h 373"/>
                <a:gd name="T38" fmla="*/ 0 w 405"/>
                <a:gd name="T39" fmla="*/ 0 h 373"/>
                <a:gd name="T40" fmla="*/ 0 w 405"/>
                <a:gd name="T41" fmla="*/ 0 h 373"/>
                <a:gd name="T42" fmla="*/ 0 w 405"/>
                <a:gd name="T43" fmla="*/ 0 h 373"/>
                <a:gd name="T44" fmla="*/ 0 w 405"/>
                <a:gd name="T45" fmla="*/ 0 h 373"/>
                <a:gd name="T46" fmla="*/ 0 w 405"/>
                <a:gd name="T47" fmla="*/ 0 h 373"/>
                <a:gd name="T48" fmla="*/ 0 w 405"/>
                <a:gd name="T49" fmla="*/ 0 h 373"/>
                <a:gd name="T50" fmla="*/ 0 w 405"/>
                <a:gd name="T51" fmla="*/ 0 h 373"/>
                <a:gd name="T52" fmla="*/ 0 w 405"/>
                <a:gd name="T53" fmla="*/ 0 h 373"/>
                <a:gd name="T54" fmla="*/ 0 w 405"/>
                <a:gd name="T55" fmla="*/ 0 h 373"/>
                <a:gd name="T56" fmla="*/ 0 w 405"/>
                <a:gd name="T57" fmla="*/ 0 h 373"/>
                <a:gd name="T58" fmla="*/ 0 w 405"/>
                <a:gd name="T59" fmla="*/ 0 h 373"/>
                <a:gd name="T60" fmla="*/ 0 w 405"/>
                <a:gd name="T61" fmla="*/ 0 h 373"/>
                <a:gd name="T62" fmla="*/ 0 w 405"/>
                <a:gd name="T63" fmla="*/ 0 h 373"/>
                <a:gd name="T64" fmla="*/ 0 w 405"/>
                <a:gd name="T65" fmla="*/ 0 h 373"/>
                <a:gd name="T66" fmla="*/ 0 w 405"/>
                <a:gd name="T67" fmla="*/ 0 h 373"/>
                <a:gd name="T68" fmla="*/ 0 w 405"/>
                <a:gd name="T69" fmla="*/ 0 h 373"/>
                <a:gd name="T70" fmla="*/ 0 w 405"/>
                <a:gd name="T71" fmla="*/ 0 h 373"/>
                <a:gd name="T72" fmla="*/ 0 w 405"/>
                <a:gd name="T73" fmla="*/ 0 h 373"/>
                <a:gd name="T74" fmla="*/ 0 w 405"/>
                <a:gd name="T75" fmla="*/ 0 h 373"/>
                <a:gd name="T76" fmla="*/ 0 w 405"/>
                <a:gd name="T77" fmla="*/ 0 h 373"/>
                <a:gd name="T78" fmla="*/ 0 w 405"/>
                <a:gd name="T79" fmla="*/ 0 h 373"/>
                <a:gd name="T80" fmla="*/ 0 w 405"/>
                <a:gd name="T81" fmla="*/ 0 h 373"/>
                <a:gd name="T82" fmla="*/ 0 w 405"/>
                <a:gd name="T83" fmla="*/ 0 h 373"/>
                <a:gd name="T84" fmla="*/ 0 w 405"/>
                <a:gd name="T85" fmla="*/ 0 h 373"/>
                <a:gd name="T86" fmla="*/ 0 w 405"/>
                <a:gd name="T87" fmla="*/ 0 h 373"/>
                <a:gd name="T88" fmla="*/ 0 w 405"/>
                <a:gd name="T89" fmla="*/ 0 h 373"/>
                <a:gd name="T90" fmla="*/ 0 w 405"/>
                <a:gd name="T91" fmla="*/ 0 h 373"/>
                <a:gd name="T92" fmla="*/ 0 w 405"/>
                <a:gd name="T93" fmla="*/ 0 h 373"/>
                <a:gd name="T94" fmla="*/ 0 w 405"/>
                <a:gd name="T95" fmla="*/ 0 h 373"/>
                <a:gd name="T96" fmla="*/ 0 w 405"/>
                <a:gd name="T97" fmla="*/ 0 h 37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05"/>
                <a:gd name="T148" fmla="*/ 0 h 373"/>
                <a:gd name="T149" fmla="*/ 405 w 405"/>
                <a:gd name="T150" fmla="*/ 373 h 37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05" h="373">
                  <a:moveTo>
                    <a:pt x="77" y="32"/>
                  </a:moveTo>
                  <a:lnTo>
                    <a:pt x="81" y="49"/>
                  </a:lnTo>
                  <a:lnTo>
                    <a:pt x="91" y="55"/>
                  </a:lnTo>
                  <a:lnTo>
                    <a:pt x="90" y="63"/>
                  </a:lnTo>
                  <a:lnTo>
                    <a:pt x="80" y="72"/>
                  </a:lnTo>
                  <a:lnTo>
                    <a:pt x="54" y="79"/>
                  </a:lnTo>
                  <a:lnTo>
                    <a:pt x="49" y="91"/>
                  </a:lnTo>
                  <a:lnTo>
                    <a:pt x="47" y="106"/>
                  </a:lnTo>
                  <a:lnTo>
                    <a:pt x="16" y="141"/>
                  </a:lnTo>
                  <a:lnTo>
                    <a:pt x="0" y="138"/>
                  </a:lnTo>
                  <a:lnTo>
                    <a:pt x="13" y="149"/>
                  </a:lnTo>
                  <a:lnTo>
                    <a:pt x="17" y="168"/>
                  </a:lnTo>
                  <a:lnTo>
                    <a:pt x="21" y="163"/>
                  </a:lnTo>
                  <a:lnTo>
                    <a:pt x="19" y="154"/>
                  </a:lnTo>
                  <a:lnTo>
                    <a:pt x="21" y="146"/>
                  </a:lnTo>
                  <a:lnTo>
                    <a:pt x="31" y="142"/>
                  </a:lnTo>
                  <a:lnTo>
                    <a:pt x="38" y="160"/>
                  </a:lnTo>
                  <a:lnTo>
                    <a:pt x="45" y="154"/>
                  </a:lnTo>
                  <a:lnTo>
                    <a:pt x="50" y="158"/>
                  </a:lnTo>
                  <a:lnTo>
                    <a:pt x="51" y="168"/>
                  </a:lnTo>
                  <a:lnTo>
                    <a:pt x="64" y="160"/>
                  </a:lnTo>
                  <a:lnTo>
                    <a:pt x="71" y="160"/>
                  </a:lnTo>
                  <a:lnTo>
                    <a:pt x="71" y="168"/>
                  </a:lnTo>
                  <a:lnTo>
                    <a:pt x="75" y="181"/>
                  </a:lnTo>
                  <a:lnTo>
                    <a:pt x="76" y="192"/>
                  </a:lnTo>
                  <a:lnTo>
                    <a:pt x="76" y="220"/>
                  </a:lnTo>
                  <a:lnTo>
                    <a:pt x="77" y="236"/>
                  </a:lnTo>
                  <a:lnTo>
                    <a:pt x="83" y="247"/>
                  </a:lnTo>
                  <a:lnTo>
                    <a:pt x="97" y="257"/>
                  </a:lnTo>
                  <a:lnTo>
                    <a:pt x="103" y="276"/>
                  </a:lnTo>
                  <a:lnTo>
                    <a:pt x="115" y="289"/>
                  </a:lnTo>
                  <a:lnTo>
                    <a:pt x="120" y="302"/>
                  </a:lnTo>
                  <a:lnTo>
                    <a:pt x="144" y="278"/>
                  </a:lnTo>
                  <a:lnTo>
                    <a:pt x="157" y="255"/>
                  </a:lnTo>
                  <a:lnTo>
                    <a:pt x="160" y="269"/>
                  </a:lnTo>
                  <a:lnTo>
                    <a:pt x="161" y="298"/>
                  </a:lnTo>
                  <a:lnTo>
                    <a:pt x="166" y="306"/>
                  </a:lnTo>
                  <a:lnTo>
                    <a:pt x="176" y="300"/>
                  </a:lnTo>
                  <a:lnTo>
                    <a:pt x="187" y="303"/>
                  </a:lnTo>
                  <a:lnTo>
                    <a:pt x="185" y="313"/>
                  </a:lnTo>
                  <a:lnTo>
                    <a:pt x="228" y="327"/>
                  </a:lnTo>
                  <a:lnTo>
                    <a:pt x="233" y="338"/>
                  </a:lnTo>
                  <a:lnTo>
                    <a:pt x="254" y="348"/>
                  </a:lnTo>
                  <a:lnTo>
                    <a:pt x="260" y="354"/>
                  </a:lnTo>
                  <a:lnTo>
                    <a:pt x="265" y="366"/>
                  </a:lnTo>
                  <a:lnTo>
                    <a:pt x="327" y="373"/>
                  </a:lnTo>
                  <a:lnTo>
                    <a:pt x="338" y="365"/>
                  </a:lnTo>
                  <a:lnTo>
                    <a:pt x="350" y="366"/>
                  </a:lnTo>
                  <a:lnTo>
                    <a:pt x="351" y="351"/>
                  </a:lnTo>
                  <a:lnTo>
                    <a:pt x="365" y="348"/>
                  </a:lnTo>
                  <a:lnTo>
                    <a:pt x="376" y="338"/>
                  </a:lnTo>
                  <a:lnTo>
                    <a:pt x="375" y="322"/>
                  </a:lnTo>
                  <a:lnTo>
                    <a:pt x="377" y="313"/>
                  </a:lnTo>
                  <a:lnTo>
                    <a:pt x="377" y="295"/>
                  </a:lnTo>
                  <a:lnTo>
                    <a:pt x="365" y="275"/>
                  </a:lnTo>
                  <a:lnTo>
                    <a:pt x="366" y="262"/>
                  </a:lnTo>
                  <a:lnTo>
                    <a:pt x="356" y="259"/>
                  </a:lnTo>
                  <a:lnTo>
                    <a:pt x="339" y="232"/>
                  </a:lnTo>
                  <a:lnTo>
                    <a:pt x="336" y="212"/>
                  </a:lnTo>
                  <a:lnTo>
                    <a:pt x="371" y="232"/>
                  </a:lnTo>
                  <a:lnTo>
                    <a:pt x="376" y="216"/>
                  </a:lnTo>
                  <a:lnTo>
                    <a:pt x="376" y="190"/>
                  </a:lnTo>
                  <a:lnTo>
                    <a:pt x="375" y="163"/>
                  </a:lnTo>
                  <a:lnTo>
                    <a:pt x="377" y="160"/>
                  </a:lnTo>
                  <a:lnTo>
                    <a:pt x="378" y="147"/>
                  </a:lnTo>
                  <a:lnTo>
                    <a:pt x="383" y="139"/>
                  </a:lnTo>
                  <a:lnTo>
                    <a:pt x="388" y="113"/>
                  </a:lnTo>
                  <a:lnTo>
                    <a:pt x="405" y="107"/>
                  </a:lnTo>
                  <a:lnTo>
                    <a:pt x="399" y="102"/>
                  </a:lnTo>
                  <a:lnTo>
                    <a:pt x="386" y="103"/>
                  </a:lnTo>
                  <a:lnTo>
                    <a:pt x="384" y="90"/>
                  </a:lnTo>
                  <a:lnTo>
                    <a:pt x="390" y="72"/>
                  </a:lnTo>
                  <a:lnTo>
                    <a:pt x="392" y="60"/>
                  </a:lnTo>
                  <a:lnTo>
                    <a:pt x="384" y="65"/>
                  </a:lnTo>
                  <a:lnTo>
                    <a:pt x="386" y="53"/>
                  </a:lnTo>
                  <a:lnTo>
                    <a:pt x="367" y="18"/>
                  </a:lnTo>
                  <a:lnTo>
                    <a:pt x="366" y="6"/>
                  </a:lnTo>
                  <a:lnTo>
                    <a:pt x="359" y="0"/>
                  </a:lnTo>
                  <a:lnTo>
                    <a:pt x="344" y="0"/>
                  </a:lnTo>
                  <a:lnTo>
                    <a:pt x="335" y="2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8" y="2"/>
                  </a:lnTo>
                  <a:lnTo>
                    <a:pt x="306" y="32"/>
                  </a:lnTo>
                  <a:lnTo>
                    <a:pt x="282" y="50"/>
                  </a:lnTo>
                  <a:lnTo>
                    <a:pt x="269" y="75"/>
                  </a:lnTo>
                  <a:lnTo>
                    <a:pt x="253" y="77"/>
                  </a:lnTo>
                  <a:lnTo>
                    <a:pt x="237" y="95"/>
                  </a:lnTo>
                  <a:lnTo>
                    <a:pt x="223" y="92"/>
                  </a:lnTo>
                  <a:lnTo>
                    <a:pt x="255" y="66"/>
                  </a:lnTo>
                  <a:lnTo>
                    <a:pt x="265" y="68"/>
                  </a:lnTo>
                  <a:lnTo>
                    <a:pt x="265" y="45"/>
                  </a:lnTo>
                  <a:lnTo>
                    <a:pt x="290" y="33"/>
                  </a:lnTo>
                  <a:lnTo>
                    <a:pt x="291" y="2"/>
                  </a:lnTo>
                  <a:lnTo>
                    <a:pt x="290" y="0"/>
                  </a:lnTo>
                  <a:lnTo>
                    <a:pt x="97" y="0"/>
                  </a:lnTo>
                  <a:lnTo>
                    <a:pt x="83" y="15"/>
                  </a:lnTo>
                  <a:lnTo>
                    <a:pt x="77" y="3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29" name="Freeform 130">
              <a:extLst>
                <a:ext uri="{FF2B5EF4-FFF2-40B4-BE49-F238E27FC236}">
                  <a16:creationId xmlns:a16="http://schemas.microsoft.com/office/drawing/2014/main" id="{8F43E6BF-3830-944D-AC6A-78BFF564D23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0994261" y="1103601"/>
              <a:ext cx="117439" cy="71108"/>
            </a:xfrm>
            <a:custGeom>
              <a:avLst/>
              <a:gdLst>
                <a:gd name="T0" fmla="*/ 0 w 218"/>
                <a:gd name="T1" fmla="*/ 0 h 125"/>
                <a:gd name="T2" fmla="*/ 0 w 218"/>
                <a:gd name="T3" fmla="*/ 0 h 125"/>
                <a:gd name="T4" fmla="*/ 0 w 218"/>
                <a:gd name="T5" fmla="*/ 0 h 125"/>
                <a:gd name="T6" fmla="*/ 0 w 218"/>
                <a:gd name="T7" fmla="*/ 0 h 125"/>
                <a:gd name="T8" fmla="*/ 0 w 218"/>
                <a:gd name="T9" fmla="*/ 0 h 125"/>
                <a:gd name="T10" fmla="*/ 0 w 218"/>
                <a:gd name="T11" fmla="*/ 0 h 125"/>
                <a:gd name="T12" fmla="*/ 0 w 218"/>
                <a:gd name="T13" fmla="*/ 0 h 125"/>
                <a:gd name="T14" fmla="*/ 0 w 218"/>
                <a:gd name="T15" fmla="*/ 0 h 125"/>
                <a:gd name="T16" fmla="*/ 0 w 218"/>
                <a:gd name="T17" fmla="*/ 0 h 125"/>
                <a:gd name="T18" fmla="*/ 0 w 218"/>
                <a:gd name="T19" fmla="*/ 0 h 125"/>
                <a:gd name="T20" fmla="*/ 0 w 218"/>
                <a:gd name="T21" fmla="*/ 0 h 125"/>
                <a:gd name="T22" fmla="*/ 0 w 218"/>
                <a:gd name="T23" fmla="*/ 0 h 125"/>
                <a:gd name="T24" fmla="*/ 0 w 218"/>
                <a:gd name="T25" fmla="*/ 0 h 125"/>
                <a:gd name="T26" fmla="*/ 0 w 218"/>
                <a:gd name="T27" fmla="*/ 0 h 125"/>
                <a:gd name="T28" fmla="*/ 0 w 218"/>
                <a:gd name="T29" fmla="*/ 0 h 125"/>
                <a:gd name="T30" fmla="*/ 0 w 218"/>
                <a:gd name="T31" fmla="*/ 0 h 125"/>
                <a:gd name="T32" fmla="*/ 0 w 218"/>
                <a:gd name="T33" fmla="*/ 0 h 125"/>
                <a:gd name="T34" fmla="*/ 0 w 218"/>
                <a:gd name="T35" fmla="*/ 0 h 125"/>
                <a:gd name="T36" fmla="*/ 0 w 218"/>
                <a:gd name="T37" fmla="*/ 0 h 125"/>
                <a:gd name="T38" fmla="*/ 0 w 218"/>
                <a:gd name="T39" fmla="*/ 0 h 125"/>
                <a:gd name="T40" fmla="*/ 0 w 218"/>
                <a:gd name="T41" fmla="*/ 0 h 125"/>
                <a:gd name="T42" fmla="*/ 0 w 218"/>
                <a:gd name="T43" fmla="*/ 0 h 125"/>
                <a:gd name="T44" fmla="*/ 0 w 218"/>
                <a:gd name="T45" fmla="*/ 0 h 125"/>
                <a:gd name="T46" fmla="*/ 0 w 218"/>
                <a:gd name="T47" fmla="*/ 0 h 125"/>
                <a:gd name="T48" fmla="*/ 0 w 218"/>
                <a:gd name="T49" fmla="*/ 0 h 125"/>
                <a:gd name="T50" fmla="*/ 0 w 218"/>
                <a:gd name="T51" fmla="*/ 0 h 125"/>
                <a:gd name="T52" fmla="*/ 0 w 218"/>
                <a:gd name="T53" fmla="*/ 0 h 125"/>
                <a:gd name="T54" fmla="*/ 0 w 218"/>
                <a:gd name="T55" fmla="*/ 0 h 125"/>
                <a:gd name="T56" fmla="*/ 0 w 218"/>
                <a:gd name="T57" fmla="*/ 0 h 125"/>
                <a:gd name="T58" fmla="*/ 0 w 218"/>
                <a:gd name="T59" fmla="*/ 0 h 125"/>
                <a:gd name="T60" fmla="*/ 0 w 218"/>
                <a:gd name="T61" fmla="*/ 0 h 125"/>
                <a:gd name="T62" fmla="*/ 0 w 218"/>
                <a:gd name="T63" fmla="*/ 0 h 125"/>
                <a:gd name="T64" fmla="*/ 0 w 218"/>
                <a:gd name="T65" fmla="*/ 0 h 125"/>
                <a:gd name="T66" fmla="*/ 0 w 218"/>
                <a:gd name="T67" fmla="*/ 0 h 125"/>
                <a:gd name="T68" fmla="*/ 0 w 218"/>
                <a:gd name="T69" fmla="*/ 0 h 125"/>
                <a:gd name="T70" fmla="*/ 0 w 218"/>
                <a:gd name="T71" fmla="*/ 0 h 125"/>
                <a:gd name="T72" fmla="*/ 0 w 218"/>
                <a:gd name="T73" fmla="*/ 0 h 125"/>
                <a:gd name="T74" fmla="*/ 0 w 218"/>
                <a:gd name="T75" fmla="*/ 0 h 125"/>
                <a:gd name="T76" fmla="*/ 0 w 218"/>
                <a:gd name="T77" fmla="*/ 0 h 125"/>
                <a:gd name="T78" fmla="*/ 0 w 218"/>
                <a:gd name="T79" fmla="*/ 0 h 125"/>
                <a:gd name="T80" fmla="*/ 0 w 218"/>
                <a:gd name="T81" fmla="*/ 0 h 125"/>
                <a:gd name="T82" fmla="*/ 0 w 218"/>
                <a:gd name="T83" fmla="*/ 0 h 125"/>
                <a:gd name="T84" fmla="*/ 0 w 218"/>
                <a:gd name="T85" fmla="*/ 0 h 125"/>
                <a:gd name="T86" fmla="*/ 0 w 218"/>
                <a:gd name="T87" fmla="*/ 0 h 125"/>
                <a:gd name="T88" fmla="*/ 0 w 218"/>
                <a:gd name="T89" fmla="*/ 0 h 12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18"/>
                <a:gd name="T136" fmla="*/ 0 h 125"/>
                <a:gd name="T137" fmla="*/ 218 w 218"/>
                <a:gd name="T138" fmla="*/ 125 h 125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18" h="125">
                  <a:moveTo>
                    <a:pt x="82" y="99"/>
                  </a:moveTo>
                  <a:lnTo>
                    <a:pt x="78" y="98"/>
                  </a:lnTo>
                  <a:lnTo>
                    <a:pt x="69" y="103"/>
                  </a:lnTo>
                  <a:lnTo>
                    <a:pt x="63" y="110"/>
                  </a:lnTo>
                  <a:lnTo>
                    <a:pt x="60" y="119"/>
                  </a:lnTo>
                  <a:lnTo>
                    <a:pt x="38" y="121"/>
                  </a:lnTo>
                  <a:lnTo>
                    <a:pt x="36" y="118"/>
                  </a:lnTo>
                  <a:lnTo>
                    <a:pt x="16" y="125"/>
                  </a:lnTo>
                  <a:lnTo>
                    <a:pt x="15" y="116"/>
                  </a:lnTo>
                  <a:lnTo>
                    <a:pt x="4" y="100"/>
                  </a:lnTo>
                  <a:lnTo>
                    <a:pt x="0" y="91"/>
                  </a:lnTo>
                  <a:lnTo>
                    <a:pt x="4" y="78"/>
                  </a:lnTo>
                  <a:lnTo>
                    <a:pt x="12" y="72"/>
                  </a:lnTo>
                  <a:lnTo>
                    <a:pt x="16" y="60"/>
                  </a:lnTo>
                  <a:lnTo>
                    <a:pt x="36" y="43"/>
                  </a:lnTo>
                  <a:lnTo>
                    <a:pt x="42" y="33"/>
                  </a:lnTo>
                  <a:lnTo>
                    <a:pt x="55" y="19"/>
                  </a:lnTo>
                  <a:lnTo>
                    <a:pt x="63" y="19"/>
                  </a:lnTo>
                  <a:lnTo>
                    <a:pt x="66" y="10"/>
                  </a:lnTo>
                  <a:lnTo>
                    <a:pt x="82" y="5"/>
                  </a:lnTo>
                  <a:lnTo>
                    <a:pt x="82" y="3"/>
                  </a:lnTo>
                  <a:lnTo>
                    <a:pt x="82" y="5"/>
                  </a:lnTo>
                  <a:lnTo>
                    <a:pt x="84" y="3"/>
                  </a:lnTo>
                  <a:lnTo>
                    <a:pt x="84" y="5"/>
                  </a:lnTo>
                  <a:lnTo>
                    <a:pt x="90" y="6"/>
                  </a:lnTo>
                  <a:lnTo>
                    <a:pt x="101" y="1"/>
                  </a:lnTo>
                  <a:lnTo>
                    <a:pt x="114" y="10"/>
                  </a:lnTo>
                  <a:lnTo>
                    <a:pt x="127" y="1"/>
                  </a:lnTo>
                  <a:lnTo>
                    <a:pt x="133" y="3"/>
                  </a:lnTo>
                  <a:lnTo>
                    <a:pt x="135" y="0"/>
                  </a:lnTo>
                  <a:lnTo>
                    <a:pt x="156" y="11"/>
                  </a:lnTo>
                  <a:lnTo>
                    <a:pt x="184" y="19"/>
                  </a:lnTo>
                  <a:lnTo>
                    <a:pt x="188" y="24"/>
                  </a:lnTo>
                  <a:lnTo>
                    <a:pt x="186" y="28"/>
                  </a:lnTo>
                  <a:lnTo>
                    <a:pt x="186" y="32"/>
                  </a:lnTo>
                  <a:lnTo>
                    <a:pt x="214" y="55"/>
                  </a:lnTo>
                  <a:lnTo>
                    <a:pt x="218" y="67"/>
                  </a:lnTo>
                  <a:lnTo>
                    <a:pt x="214" y="77"/>
                  </a:lnTo>
                  <a:lnTo>
                    <a:pt x="193" y="91"/>
                  </a:lnTo>
                  <a:lnTo>
                    <a:pt x="143" y="107"/>
                  </a:lnTo>
                  <a:lnTo>
                    <a:pt x="133" y="113"/>
                  </a:lnTo>
                  <a:lnTo>
                    <a:pt x="113" y="109"/>
                  </a:lnTo>
                  <a:lnTo>
                    <a:pt x="107" y="104"/>
                  </a:lnTo>
                  <a:lnTo>
                    <a:pt x="82" y="100"/>
                  </a:lnTo>
                  <a:lnTo>
                    <a:pt x="82" y="9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30" name="Freeform 131">
              <a:extLst>
                <a:ext uri="{FF2B5EF4-FFF2-40B4-BE49-F238E27FC236}">
                  <a16:creationId xmlns:a16="http://schemas.microsoft.com/office/drawing/2014/main" id="{7688F3CA-7F6D-EDC2-8795-D336D20A7FE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920391" y="2324455"/>
              <a:ext cx="91033" cy="410015"/>
            </a:xfrm>
            <a:custGeom>
              <a:avLst/>
              <a:gdLst>
                <a:gd name="T0" fmla="*/ 0 w 170"/>
                <a:gd name="T1" fmla="*/ 0 h 721"/>
                <a:gd name="T2" fmla="*/ 0 w 170"/>
                <a:gd name="T3" fmla="*/ 0 h 721"/>
                <a:gd name="T4" fmla="*/ 0 w 170"/>
                <a:gd name="T5" fmla="*/ 0 h 721"/>
                <a:gd name="T6" fmla="*/ 0 w 170"/>
                <a:gd name="T7" fmla="*/ 0 h 721"/>
                <a:gd name="T8" fmla="*/ 0 w 170"/>
                <a:gd name="T9" fmla="*/ 0 h 721"/>
                <a:gd name="T10" fmla="*/ 0 w 170"/>
                <a:gd name="T11" fmla="*/ 0 h 721"/>
                <a:gd name="T12" fmla="*/ 0 w 170"/>
                <a:gd name="T13" fmla="*/ 0 h 721"/>
                <a:gd name="T14" fmla="*/ 0 w 170"/>
                <a:gd name="T15" fmla="*/ 0 h 721"/>
                <a:gd name="T16" fmla="*/ 0 w 170"/>
                <a:gd name="T17" fmla="*/ 0 h 721"/>
                <a:gd name="T18" fmla="*/ 0 w 170"/>
                <a:gd name="T19" fmla="*/ 2147483647 h 721"/>
                <a:gd name="T20" fmla="*/ 0 w 170"/>
                <a:gd name="T21" fmla="*/ 2147483647 h 721"/>
                <a:gd name="T22" fmla="*/ 0 w 170"/>
                <a:gd name="T23" fmla="*/ 2147483647 h 721"/>
                <a:gd name="T24" fmla="*/ 0 w 170"/>
                <a:gd name="T25" fmla="*/ 2147483647 h 721"/>
                <a:gd name="T26" fmla="*/ 0 w 170"/>
                <a:gd name="T27" fmla="*/ 2147483647 h 721"/>
                <a:gd name="T28" fmla="*/ 0 w 170"/>
                <a:gd name="T29" fmla="*/ 2147483647 h 721"/>
                <a:gd name="T30" fmla="*/ 0 w 170"/>
                <a:gd name="T31" fmla="*/ 2147483647 h 721"/>
                <a:gd name="T32" fmla="*/ 0 w 170"/>
                <a:gd name="T33" fmla="*/ 2147483647 h 721"/>
                <a:gd name="T34" fmla="*/ 0 w 170"/>
                <a:gd name="T35" fmla="*/ 2147483647 h 721"/>
                <a:gd name="T36" fmla="*/ 0 w 170"/>
                <a:gd name="T37" fmla="*/ 2147483647 h 721"/>
                <a:gd name="T38" fmla="*/ 0 w 170"/>
                <a:gd name="T39" fmla="*/ 2147483647 h 721"/>
                <a:gd name="T40" fmla="*/ 0 w 170"/>
                <a:gd name="T41" fmla="*/ 2147483647 h 721"/>
                <a:gd name="T42" fmla="*/ 0 w 170"/>
                <a:gd name="T43" fmla="*/ 2147483647 h 721"/>
                <a:gd name="T44" fmla="*/ 0 w 170"/>
                <a:gd name="T45" fmla="*/ 2147483647 h 721"/>
                <a:gd name="T46" fmla="*/ 0 w 170"/>
                <a:gd name="T47" fmla="*/ 2147483647 h 721"/>
                <a:gd name="T48" fmla="*/ 0 w 170"/>
                <a:gd name="T49" fmla="*/ 2147483647 h 721"/>
                <a:gd name="T50" fmla="*/ 0 w 170"/>
                <a:gd name="T51" fmla="*/ 2147483647 h 721"/>
                <a:gd name="T52" fmla="*/ 0 w 170"/>
                <a:gd name="T53" fmla="*/ 2147483647 h 721"/>
                <a:gd name="T54" fmla="*/ 0 w 170"/>
                <a:gd name="T55" fmla="*/ 2147483647 h 721"/>
                <a:gd name="T56" fmla="*/ 0 w 170"/>
                <a:gd name="T57" fmla="*/ 2147483647 h 721"/>
                <a:gd name="T58" fmla="*/ 0 w 170"/>
                <a:gd name="T59" fmla="*/ 2147483647 h 721"/>
                <a:gd name="T60" fmla="*/ 0 w 170"/>
                <a:gd name="T61" fmla="*/ 2147483647 h 721"/>
                <a:gd name="T62" fmla="*/ 0 w 170"/>
                <a:gd name="T63" fmla="*/ 2147483647 h 721"/>
                <a:gd name="T64" fmla="*/ 0 w 170"/>
                <a:gd name="T65" fmla="*/ 2147483647 h 721"/>
                <a:gd name="T66" fmla="*/ 0 w 170"/>
                <a:gd name="T67" fmla="*/ 2147483647 h 721"/>
                <a:gd name="T68" fmla="*/ 0 w 170"/>
                <a:gd name="T69" fmla="*/ 2147483647 h 721"/>
                <a:gd name="T70" fmla="*/ 0 w 170"/>
                <a:gd name="T71" fmla="*/ 2147483647 h 721"/>
                <a:gd name="T72" fmla="*/ 0 w 170"/>
                <a:gd name="T73" fmla="*/ 2147483647 h 721"/>
                <a:gd name="T74" fmla="*/ 0 w 170"/>
                <a:gd name="T75" fmla="*/ 0 h 721"/>
                <a:gd name="T76" fmla="*/ 0 w 170"/>
                <a:gd name="T77" fmla="*/ 0 h 721"/>
                <a:gd name="T78" fmla="*/ 0 w 170"/>
                <a:gd name="T79" fmla="*/ 0 h 721"/>
                <a:gd name="T80" fmla="*/ 0 w 170"/>
                <a:gd name="T81" fmla="*/ 0 h 721"/>
                <a:gd name="T82" fmla="*/ 0 w 170"/>
                <a:gd name="T83" fmla="*/ 0 h 721"/>
                <a:gd name="T84" fmla="*/ 0 w 170"/>
                <a:gd name="T85" fmla="*/ 0 h 721"/>
                <a:gd name="T86" fmla="*/ 0 w 170"/>
                <a:gd name="T87" fmla="*/ 0 h 721"/>
                <a:gd name="T88" fmla="*/ 0 w 170"/>
                <a:gd name="T89" fmla="*/ 0 h 721"/>
                <a:gd name="T90" fmla="*/ 0 w 170"/>
                <a:gd name="T91" fmla="*/ 0 h 721"/>
                <a:gd name="T92" fmla="*/ 0 w 170"/>
                <a:gd name="T93" fmla="*/ 0 h 721"/>
                <a:gd name="T94" fmla="*/ 0 w 170"/>
                <a:gd name="T95" fmla="*/ 0 h 721"/>
                <a:gd name="T96" fmla="*/ 0 w 170"/>
                <a:gd name="T97" fmla="*/ 0 h 721"/>
                <a:gd name="T98" fmla="*/ 0 w 170"/>
                <a:gd name="T99" fmla="*/ 0 h 721"/>
                <a:gd name="T100" fmla="*/ 0 w 170"/>
                <a:gd name="T101" fmla="*/ 0 h 721"/>
                <a:gd name="T102" fmla="*/ 0 w 170"/>
                <a:gd name="T103" fmla="*/ 0 h 7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70"/>
                <a:gd name="T157" fmla="*/ 0 h 721"/>
                <a:gd name="T158" fmla="*/ 170 w 170"/>
                <a:gd name="T159" fmla="*/ 721 h 721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70" h="721">
                  <a:moveTo>
                    <a:pt x="52" y="3"/>
                  </a:moveTo>
                  <a:lnTo>
                    <a:pt x="55" y="0"/>
                  </a:lnTo>
                  <a:lnTo>
                    <a:pt x="63" y="4"/>
                  </a:lnTo>
                  <a:lnTo>
                    <a:pt x="69" y="22"/>
                  </a:lnTo>
                  <a:lnTo>
                    <a:pt x="73" y="59"/>
                  </a:lnTo>
                  <a:lnTo>
                    <a:pt x="76" y="79"/>
                  </a:lnTo>
                  <a:lnTo>
                    <a:pt x="87" y="113"/>
                  </a:lnTo>
                  <a:lnTo>
                    <a:pt x="92" y="144"/>
                  </a:lnTo>
                  <a:lnTo>
                    <a:pt x="93" y="166"/>
                  </a:lnTo>
                  <a:lnTo>
                    <a:pt x="90" y="187"/>
                  </a:lnTo>
                  <a:lnTo>
                    <a:pt x="82" y="192"/>
                  </a:lnTo>
                  <a:lnTo>
                    <a:pt x="84" y="210"/>
                  </a:lnTo>
                  <a:lnTo>
                    <a:pt x="89" y="229"/>
                  </a:lnTo>
                  <a:lnTo>
                    <a:pt x="90" y="243"/>
                  </a:lnTo>
                  <a:lnTo>
                    <a:pt x="89" y="258"/>
                  </a:lnTo>
                  <a:lnTo>
                    <a:pt x="92" y="257"/>
                  </a:lnTo>
                  <a:lnTo>
                    <a:pt x="98" y="272"/>
                  </a:lnTo>
                  <a:lnTo>
                    <a:pt x="102" y="289"/>
                  </a:lnTo>
                  <a:lnTo>
                    <a:pt x="103" y="292"/>
                  </a:lnTo>
                  <a:lnTo>
                    <a:pt x="116" y="344"/>
                  </a:lnTo>
                  <a:lnTo>
                    <a:pt x="135" y="407"/>
                  </a:lnTo>
                  <a:lnTo>
                    <a:pt x="139" y="425"/>
                  </a:lnTo>
                  <a:lnTo>
                    <a:pt x="144" y="445"/>
                  </a:lnTo>
                  <a:lnTo>
                    <a:pt x="150" y="459"/>
                  </a:lnTo>
                  <a:lnTo>
                    <a:pt x="157" y="474"/>
                  </a:lnTo>
                  <a:lnTo>
                    <a:pt x="168" y="487"/>
                  </a:lnTo>
                  <a:lnTo>
                    <a:pt x="170" y="496"/>
                  </a:lnTo>
                  <a:lnTo>
                    <a:pt x="149" y="466"/>
                  </a:lnTo>
                  <a:lnTo>
                    <a:pt x="135" y="456"/>
                  </a:lnTo>
                  <a:lnTo>
                    <a:pt x="119" y="448"/>
                  </a:lnTo>
                  <a:lnTo>
                    <a:pt x="104" y="445"/>
                  </a:lnTo>
                  <a:lnTo>
                    <a:pt x="92" y="447"/>
                  </a:lnTo>
                  <a:lnTo>
                    <a:pt x="80" y="457"/>
                  </a:lnTo>
                  <a:lnTo>
                    <a:pt x="75" y="475"/>
                  </a:lnTo>
                  <a:lnTo>
                    <a:pt x="73" y="491"/>
                  </a:lnTo>
                  <a:lnTo>
                    <a:pt x="65" y="509"/>
                  </a:lnTo>
                  <a:lnTo>
                    <a:pt x="55" y="549"/>
                  </a:lnTo>
                  <a:lnTo>
                    <a:pt x="53" y="566"/>
                  </a:lnTo>
                  <a:lnTo>
                    <a:pt x="53" y="586"/>
                  </a:lnTo>
                  <a:lnTo>
                    <a:pt x="61" y="602"/>
                  </a:lnTo>
                  <a:lnTo>
                    <a:pt x="77" y="623"/>
                  </a:lnTo>
                  <a:lnTo>
                    <a:pt x="80" y="635"/>
                  </a:lnTo>
                  <a:lnTo>
                    <a:pt x="84" y="645"/>
                  </a:lnTo>
                  <a:lnTo>
                    <a:pt x="89" y="651"/>
                  </a:lnTo>
                  <a:lnTo>
                    <a:pt x="97" y="656"/>
                  </a:lnTo>
                  <a:lnTo>
                    <a:pt x="100" y="654"/>
                  </a:lnTo>
                  <a:lnTo>
                    <a:pt x="103" y="657"/>
                  </a:lnTo>
                  <a:lnTo>
                    <a:pt x="108" y="684"/>
                  </a:lnTo>
                  <a:lnTo>
                    <a:pt x="107" y="700"/>
                  </a:lnTo>
                  <a:lnTo>
                    <a:pt x="102" y="713"/>
                  </a:lnTo>
                  <a:lnTo>
                    <a:pt x="95" y="674"/>
                  </a:lnTo>
                  <a:lnTo>
                    <a:pt x="69" y="663"/>
                  </a:lnTo>
                  <a:lnTo>
                    <a:pt x="55" y="662"/>
                  </a:lnTo>
                  <a:lnTo>
                    <a:pt x="46" y="673"/>
                  </a:lnTo>
                  <a:lnTo>
                    <a:pt x="36" y="706"/>
                  </a:lnTo>
                  <a:lnTo>
                    <a:pt x="31" y="721"/>
                  </a:lnTo>
                  <a:lnTo>
                    <a:pt x="18" y="714"/>
                  </a:lnTo>
                  <a:lnTo>
                    <a:pt x="15" y="689"/>
                  </a:lnTo>
                  <a:lnTo>
                    <a:pt x="15" y="666"/>
                  </a:lnTo>
                  <a:lnTo>
                    <a:pt x="21" y="623"/>
                  </a:lnTo>
                  <a:lnTo>
                    <a:pt x="26" y="565"/>
                  </a:lnTo>
                  <a:lnTo>
                    <a:pt x="32" y="554"/>
                  </a:lnTo>
                  <a:lnTo>
                    <a:pt x="31" y="539"/>
                  </a:lnTo>
                  <a:lnTo>
                    <a:pt x="23" y="522"/>
                  </a:lnTo>
                  <a:lnTo>
                    <a:pt x="17" y="499"/>
                  </a:lnTo>
                  <a:lnTo>
                    <a:pt x="17" y="479"/>
                  </a:lnTo>
                  <a:lnTo>
                    <a:pt x="22" y="463"/>
                  </a:lnTo>
                  <a:lnTo>
                    <a:pt x="28" y="425"/>
                  </a:lnTo>
                  <a:lnTo>
                    <a:pt x="28" y="394"/>
                  </a:lnTo>
                  <a:lnTo>
                    <a:pt x="32" y="392"/>
                  </a:lnTo>
                  <a:lnTo>
                    <a:pt x="30" y="386"/>
                  </a:lnTo>
                  <a:lnTo>
                    <a:pt x="30" y="375"/>
                  </a:lnTo>
                  <a:lnTo>
                    <a:pt x="28" y="360"/>
                  </a:lnTo>
                  <a:lnTo>
                    <a:pt x="25" y="348"/>
                  </a:lnTo>
                  <a:lnTo>
                    <a:pt x="25" y="331"/>
                  </a:lnTo>
                  <a:lnTo>
                    <a:pt x="31" y="297"/>
                  </a:lnTo>
                  <a:lnTo>
                    <a:pt x="31" y="284"/>
                  </a:lnTo>
                  <a:lnTo>
                    <a:pt x="21" y="260"/>
                  </a:lnTo>
                  <a:lnTo>
                    <a:pt x="11" y="249"/>
                  </a:lnTo>
                  <a:lnTo>
                    <a:pt x="4" y="243"/>
                  </a:lnTo>
                  <a:lnTo>
                    <a:pt x="6" y="237"/>
                  </a:lnTo>
                  <a:lnTo>
                    <a:pt x="3" y="226"/>
                  </a:lnTo>
                  <a:lnTo>
                    <a:pt x="0" y="205"/>
                  </a:lnTo>
                  <a:lnTo>
                    <a:pt x="0" y="188"/>
                  </a:lnTo>
                  <a:lnTo>
                    <a:pt x="10" y="160"/>
                  </a:lnTo>
                  <a:lnTo>
                    <a:pt x="12" y="125"/>
                  </a:lnTo>
                  <a:lnTo>
                    <a:pt x="11" y="108"/>
                  </a:lnTo>
                  <a:lnTo>
                    <a:pt x="9" y="96"/>
                  </a:lnTo>
                  <a:lnTo>
                    <a:pt x="14" y="85"/>
                  </a:lnTo>
                  <a:lnTo>
                    <a:pt x="25" y="79"/>
                  </a:lnTo>
                  <a:lnTo>
                    <a:pt x="31" y="81"/>
                  </a:lnTo>
                  <a:lnTo>
                    <a:pt x="37" y="87"/>
                  </a:lnTo>
                  <a:lnTo>
                    <a:pt x="48" y="86"/>
                  </a:lnTo>
                  <a:lnTo>
                    <a:pt x="50" y="81"/>
                  </a:lnTo>
                  <a:lnTo>
                    <a:pt x="48" y="75"/>
                  </a:lnTo>
                  <a:lnTo>
                    <a:pt x="50" y="66"/>
                  </a:lnTo>
                  <a:lnTo>
                    <a:pt x="57" y="66"/>
                  </a:lnTo>
                  <a:lnTo>
                    <a:pt x="59" y="64"/>
                  </a:lnTo>
                  <a:lnTo>
                    <a:pt x="54" y="52"/>
                  </a:lnTo>
                  <a:lnTo>
                    <a:pt x="49" y="33"/>
                  </a:lnTo>
                  <a:lnTo>
                    <a:pt x="39" y="16"/>
                  </a:lnTo>
                  <a:lnTo>
                    <a:pt x="38" y="9"/>
                  </a:lnTo>
                  <a:lnTo>
                    <a:pt x="41" y="6"/>
                  </a:lnTo>
                  <a:lnTo>
                    <a:pt x="47" y="6"/>
                  </a:lnTo>
                  <a:lnTo>
                    <a:pt x="52" y="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31" name="Freeform 132">
              <a:extLst>
                <a:ext uri="{FF2B5EF4-FFF2-40B4-BE49-F238E27FC236}">
                  <a16:creationId xmlns:a16="http://schemas.microsoft.com/office/drawing/2014/main" id="{ADCB9269-0093-21F6-AD20-221EC306125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574560" y="373457"/>
              <a:ext cx="4766540" cy="2562211"/>
            </a:xfrm>
            <a:custGeom>
              <a:avLst/>
              <a:gdLst>
                <a:gd name="T0" fmla="*/ 2147483647 w 8931"/>
                <a:gd name="T1" fmla="*/ 2147483647 h 4504"/>
                <a:gd name="T2" fmla="*/ 2147483647 w 8931"/>
                <a:gd name="T3" fmla="*/ 2147483647 h 4504"/>
                <a:gd name="T4" fmla="*/ 2147483647 w 8931"/>
                <a:gd name="T5" fmla="*/ 2147483647 h 4504"/>
                <a:gd name="T6" fmla="*/ 2147483647 w 8931"/>
                <a:gd name="T7" fmla="*/ 2147483647 h 4504"/>
                <a:gd name="T8" fmla="*/ 2147483647 w 8931"/>
                <a:gd name="T9" fmla="*/ 2147483647 h 4504"/>
                <a:gd name="T10" fmla="*/ 2147483647 w 8931"/>
                <a:gd name="T11" fmla="*/ 2147483647 h 4504"/>
                <a:gd name="T12" fmla="*/ 2147483647 w 8931"/>
                <a:gd name="T13" fmla="*/ 2147483647 h 4504"/>
                <a:gd name="T14" fmla="*/ 2147483647 w 8931"/>
                <a:gd name="T15" fmla="*/ 2147483647 h 4504"/>
                <a:gd name="T16" fmla="*/ 2147483647 w 8931"/>
                <a:gd name="T17" fmla="*/ 2147483647 h 4504"/>
                <a:gd name="T18" fmla="*/ 2147483647 w 8931"/>
                <a:gd name="T19" fmla="*/ 2147483647 h 4504"/>
                <a:gd name="T20" fmla="*/ 2147483647 w 8931"/>
                <a:gd name="T21" fmla="*/ 2147483647 h 4504"/>
                <a:gd name="T22" fmla="*/ 2147483647 w 8931"/>
                <a:gd name="T23" fmla="*/ 2147483647 h 4504"/>
                <a:gd name="T24" fmla="*/ 2147483647 w 8931"/>
                <a:gd name="T25" fmla="*/ 2147483647 h 4504"/>
                <a:gd name="T26" fmla="*/ 2147483647 w 8931"/>
                <a:gd name="T27" fmla="*/ 2147483647 h 4504"/>
                <a:gd name="T28" fmla="*/ 2147483647 w 8931"/>
                <a:gd name="T29" fmla="*/ 2147483647 h 4504"/>
                <a:gd name="T30" fmla="*/ 2147483647 w 8931"/>
                <a:gd name="T31" fmla="*/ 2147483647 h 4504"/>
                <a:gd name="T32" fmla="*/ 2147483647 w 8931"/>
                <a:gd name="T33" fmla="*/ 2147483647 h 4504"/>
                <a:gd name="T34" fmla="*/ 2147483647 w 8931"/>
                <a:gd name="T35" fmla="*/ 2147483647 h 4504"/>
                <a:gd name="T36" fmla="*/ 2147483647 w 8931"/>
                <a:gd name="T37" fmla="*/ 2147483647 h 4504"/>
                <a:gd name="T38" fmla="*/ 2147483647 w 8931"/>
                <a:gd name="T39" fmla="*/ 2147483647 h 4504"/>
                <a:gd name="T40" fmla="*/ 2147483647 w 8931"/>
                <a:gd name="T41" fmla="*/ 2147483647 h 4504"/>
                <a:gd name="T42" fmla="*/ 2147483647 w 8931"/>
                <a:gd name="T43" fmla="*/ 2147483647 h 4504"/>
                <a:gd name="T44" fmla="*/ 2147483647 w 8931"/>
                <a:gd name="T45" fmla="*/ 2147483647 h 4504"/>
                <a:gd name="T46" fmla="*/ 2147483647 w 8931"/>
                <a:gd name="T47" fmla="*/ 2147483647 h 4504"/>
                <a:gd name="T48" fmla="*/ 2147483647 w 8931"/>
                <a:gd name="T49" fmla="*/ 2147483647 h 4504"/>
                <a:gd name="T50" fmla="*/ 2147483647 w 8931"/>
                <a:gd name="T51" fmla="*/ 2147483647 h 4504"/>
                <a:gd name="T52" fmla="*/ 2147483647 w 8931"/>
                <a:gd name="T53" fmla="*/ 2147483647 h 4504"/>
                <a:gd name="T54" fmla="*/ 2147483647 w 8931"/>
                <a:gd name="T55" fmla="*/ 2147483647 h 4504"/>
                <a:gd name="T56" fmla="*/ 2147483647 w 8931"/>
                <a:gd name="T57" fmla="*/ 2147483647 h 4504"/>
                <a:gd name="T58" fmla="*/ 2147483647 w 8931"/>
                <a:gd name="T59" fmla="*/ 2147483647 h 4504"/>
                <a:gd name="T60" fmla="*/ 2147483647 w 8931"/>
                <a:gd name="T61" fmla="*/ 2147483647 h 4504"/>
                <a:gd name="T62" fmla="*/ 2147483647 w 8931"/>
                <a:gd name="T63" fmla="*/ 0 h 4504"/>
                <a:gd name="T64" fmla="*/ 2147483647 w 8931"/>
                <a:gd name="T65" fmla="*/ 0 h 4504"/>
                <a:gd name="T66" fmla="*/ 2147483647 w 8931"/>
                <a:gd name="T67" fmla="*/ 2147483647 h 4504"/>
                <a:gd name="T68" fmla="*/ 2147483647 w 8931"/>
                <a:gd name="T69" fmla="*/ 2147483647 h 4504"/>
                <a:gd name="T70" fmla="*/ 2147483647 w 8931"/>
                <a:gd name="T71" fmla="*/ 2147483647 h 4504"/>
                <a:gd name="T72" fmla="*/ 2147483647 w 8931"/>
                <a:gd name="T73" fmla="*/ 2147483647 h 4504"/>
                <a:gd name="T74" fmla="*/ 2147483647 w 8931"/>
                <a:gd name="T75" fmla="*/ 2147483647 h 4504"/>
                <a:gd name="T76" fmla="*/ 2147483647 w 8931"/>
                <a:gd name="T77" fmla="*/ 2147483647 h 4504"/>
                <a:gd name="T78" fmla="*/ 2147483647 w 8931"/>
                <a:gd name="T79" fmla="*/ 2147483647 h 4504"/>
                <a:gd name="T80" fmla="*/ 2147483647 w 8931"/>
                <a:gd name="T81" fmla="*/ 2147483647 h 4504"/>
                <a:gd name="T82" fmla="*/ 2147483647 w 8931"/>
                <a:gd name="T83" fmla="*/ 2147483647 h 4504"/>
                <a:gd name="T84" fmla="*/ 2147483647 w 8931"/>
                <a:gd name="T85" fmla="*/ 2147483647 h 4504"/>
                <a:gd name="T86" fmla="*/ 2147483647 w 8931"/>
                <a:gd name="T87" fmla="*/ 2147483647 h 4504"/>
                <a:gd name="T88" fmla="*/ 2147483647 w 8931"/>
                <a:gd name="T89" fmla="*/ 2147483647 h 4504"/>
                <a:gd name="T90" fmla="*/ 2147483647 w 8931"/>
                <a:gd name="T91" fmla="*/ 2147483647 h 4504"/>
                <a:gd name="T92" fmla="*/ 2147483647 w 8931"/>
                <a:gd name="T93" fmla="*/ 2147483647 h 4504"/>
                <a:gd name="T94" fmla="*/ 2147483647 w 8931"/>
                <a:gd name="T95" fmla="*/ 2147483647 h 4504"/>
                <a:gd name="T96" fmla="*/ 0 w 8931"/>
                <a:gd name="T97" fmla="*/ 2147483647 h 4504"/>
                <a:gd name="T98" fmla="*/ 2147483647 w 8931"/>
                <a:gd name="T99" fmla="*/ 2147483647 h 4504"/>
                <a:gd name="T100" fmla="*/ 0 w 8931"/>
                <a:gd name="T101" fmla="*/ 2147483647 h 4504"/>
                <a:gd name="T102" fmla="*/ 0 w 8931"/>
                <a:gd name="T103" fmla="*/ 2147483647 h 4504"/>
                <a:gd name="T104" fmla="*/ 0 w 8931"/>
                <a:gd name="T105" fmla="*/ 2147483647 h 4504"/>
                <a:gd name="T106" fmla="*/ 0 w 8931"/>
                <a:gd name="T107" fmla="*/ 2147483647 h 4504"/>
                <a:gd name="T108" fmla="*/ 2147483647 w 8931"/>
                <a:gd name="T109" fmla="*/ 2147483647 h 4504"/>
                <a:gd name="T110" fmla="*/ 2147483647 w 8931"/>
                <a:gd name="T111" fmla="*/ 2147483647 h 4504"/>
                <a:gd name="T112" fmla="*/ 2147483647 w 8931"/>
                <a:gd name="T113" fmla="*/ 2147483647 h 4504"/>
                <a:gd name="T114" fmla="*/ 2147483647 w 8931"/>
                <a:gd name="T115" fmla="*/ 2147483647 h 4504"/>
                <a:gd name="T116" fmla="*/ 2147483647 w 8931"/>
                <a:gd name="T117" fmla="*/ 2147483647 h 4504"/>
                <a:gd name="T118" fmla="*/ 2147483647 w 8931"/>
                <a:gd name="T119" fmla="*/ 2147483647 h 4504"/>
                <a:gd name="T120" fmla="*/ 2147483647 w 8931"/>
                <a:gd name="T121" fmla="*/ 2147483647 h 4504"/>
                <a:gd name="T122" fmla="*/ 2147483647 w 8931"/>
                <a:gd name="T123" fmla="*/ 2147483647 h 4504"/>
                <a:gd name="T124" fmla="*/ 2147483647 w 8931"/>
                <a:gd name="T125" fmla="*/ 2147483647 h 45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8931"/>
                <a:gd name="T190" fmla="*/ 0 h 4504"/>
                <a:gd name="T191" fmla="*/ 8931 w 8931"/>
                <a:gd name="T192" fmla="*/ 4504 h 450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8931" h="4504">
                  <a:moveTo>
                    <a:pt x="2688" y="3454"/>
                  </a:moveTo>
                  <a:lnTo>
                    <a:pt x="2691" y="3461"/>
                  </a:lnTo>
                  <a:lnTo>
                    <a:pt x="2695" y="3463"/>
                  </a:lnTo>
                  <a:lnTo>
                    <a:pt x="2768" y="3530"/>
                  </a:lnTo>
                  <a:lnTo>
                    <a:pt x="2887" y="3748"/>
                  </a:lnTo>
                  <a:lnTo>
                    <a:pt x="2902" y="3737"/>
                  </a:lnTo>
                  <a:lnTo>
                    <a:pt x="2904" y="3730"/>
                  </a:lnTo>
                  <a:lnTo>
                    <a:pt x="2904" y="3723"/>
                  </a:lnTo>
                  <a:lnTo>
                    <a:pt x="2915" y="3709"/>
                  </a:lnTo>
                  <a:lnTo>
                    <a:pt x="2923" y="3708"/>
                  </a:lnTo>
                  <a:lnTo>
                    <a:pt x="2928" y="3714"/>
                  </a:lnTo>
                  <a:lnTo>
                    <a:pt x="2936" y="3717"/>
                  </a:lnTo>
                  <a:lnTo>
                    <a:pt x="2950" y="3725"/>
                  </a:lnTo>
                  <a:lnTo>
                    <a:pt x="2946" y="3732"/>
                  </a:lnTo>
                  <a:lnTo>
                    <a:pt x="2951" y="3739"/>
                  </a:lnTo>
                  <a:lnTo>
                    <a:pt x="2956" y="3740"/>
                  </a:lnTo>
                  <a:lnTo>
                    <a:pt x="2961" y="3753"/>
                  </a:lnTo>
                  <a:lnTo>
                    <a:pt x="2985" y="3751"/>
                  </a:lnTo>
                  <a:lnTo>
                    <a:pt x="3003" y="3756"/>
                  </a:lnTo>
                  <a:lnTo>
                    <a:pt x="3010" y="3753"/>
                  </a:lnTo>
                  <a:lnTo>
                    <a:pt x="3026" y="3753"/>
                  </a:lnTo>
                  <a:lnTo>
                    <a:pt x="3028" y="3746"/>
                  </a:lnTo>
                  <a:lnTo>
                    <a:pt x="3033" y="3740"/>
                  </a:lnTo>
                  <a:lnTo>
                    <a:pt x="3042" y="3741"/>
                  </a:lnTo>
                  <a:lnTo>
                    <a:pt x="3049" y="3741"/>
                  </a:lnTo>
                  <a:lnTo>
                    <a:pt x="3053" y="3734"/>
                  </a:lnTo>
                  <a:lnTo>
                    <a:pt x="3060" y="3729"/>
                  </a:lnTo>
                  <a:lnTo>
                    <a:pt x="3075" y="3734"/>
                  </a:lnTo>
                  <a:lnTo>
                    <a:pt x="3082" y="3737"/>
                  </a:lnTo>
                  <a:lnTo>
                    <a:pt x="3086" y="3745"/>
                  </a:lnTo>
                  <a:lnTo>
                    <a:pt x="3093" y="3748"/>
                  </a:lnTo>
                  <a:lnTo>
                    <a:pt x="3103" y="3761"/>
                  </a:lnTo>
                  <a:lnTo>
                    <a:pt x="3112" y="3764"/>
                  </a:lnTo>
                  <a:lnTo>
                    <a:pt x="3114" y="3772"/>
                  </a:lnTo>
                  <a:lnTo>
                    <a:pt x="3112" y="3779"/>
                  </a:lnTo>
                  <a:lnTo>
                    <a:pt x="3113" y="3788"/>
                  </a:lnTo>
                  <a:lnTo>
                    <a:pt x="3117" y="3795"/>
                  </a:lnTo>
                  <a:lnTo>
                    <a:pt x="3125" y="3796"/>
                  </a:lnTo>
                  <a:lnTo>
                    <a:pt x="3146" y="3807"/>
                  </a:lnTo>
                  <a:lnTo>
                    <a:pt x="3150" y="3815"/>
                  </a:lnTo>
                  <a:lnTo>
                    <a:pt x="3150" y="3822"/>
                  </a:lnTo>
                  <a:lnTo>
                    <a:pt x="3157" y="3826"/>
                  </a:lnTo>
                  <a:lnTo>
                    <a:pt x="3162" y="3831"/>
                  </a:lnTo>
                  <a:lnTo>
                    <a:pt x="3170" y="3845"/>
                  </a:lnTo>
                  <a:lnTo>
                    <a:pt x="3176" y="3849"/>
                  </a:lnTo>
                  <a:lnTo>
                    <a:pt x="3193" y="3852"/>
                  </a:lnTo>
                  <a:lnTo>
                    <a:pt x="3199" y="3857"/>
                  </a:lnTo>
                  <a:lnTo>
                    <a:pt x="3208" y="3859"/>
                  </a:lnTo>
                  <a:lnTo>
                    <a:pt x="3215" y="3860"/>
                  </a:lnTo>
                  <a:lnTo>
                    <a:pt x="3224" y="3860"/>
                  </a:lnTo>
                  <a:lnTo>
                    <a:pt x="3226" y="3853"/>
                  </a:lnTo>
                  <a:lnTo>
                    <a:pt x="3231" y="3847"/>
                  </a:lnTo>
                  <a:lnTo>
                    <a:pt x="3246" y="3841"/>
                  </a:lnTo>
                  <a:lnTo>
                    <a:pt x="3248" y="3849"/>
                  </a:lnTo>
                  <a:lnTo>
                    <a:pt x="3252" y="3857"/>
                  </a:lnTo>
                  <a:lnTo>
                    <a:pt x="3259" y="3861"/>
                  </a:lnTo>
                  <a:lnTo>
                    <a:pt x="3267" y="3875"/>
                  </a:lnTo>
                  <a:lnTo>
                    <a:pt x="3273" y="3880"/>
                  </a:lnTo>
                  <a:lnTo>
                    <a:pt x="3277" y="3887"/>
                  </a:lnTo>
                  <a:lnTo>
                    <a:pt x="3264" y="3913"/>
                  </a:lnTo>
                  <a:lnTo>
                    <a:pt x="3289" y="3920"/>
                  </a:lnTo>
                  <a:lnTo>
                    <a:pt x="3305" y="3904"/>
                  </a:lnTo>
                  <a:lnTo>
                    <a:pt x="3310" y="3904"/>
                  </a:lnTo>
                  <a:lnTo>
                    <a:pt x="3322" y="3882"/>
                  </a:lnTo>
                  <a:lnTo>
                    <a:pt x="3338" y="3865"/>
                  </a:lnTo>
                  <a:lnTo>
                    <a:pt x="3356" y="3858"/>
                  </a:lnTo>
                  <a:lnTo>
                    <a:pt x="3375" y="3852"/>
                  </a:lnTo>
                  <a:lnTo>
                    <a:pt x="3394" y="3839"/>
                  </a:lnTo>
                  <a:lnTo>
                    <a:pt x="3414" y="3823"/>
                  </a:lnTo>
                  <a:lnTo>
                    <a:pt x="3439" y="3811"/>
                  </a:lnTo>
                  <a:lnTo>
                    <a:pt x="3464" y="3789"/>
                  </a:lnTo>
                  <a:lnTo>
                    <a:pt x="3505" y="3777"/>
                  </a:lnTo>
                  <a:lnTo>
                    <a:pt x="3530" y="3766"/>
                  </a:lnTo>
                  <a:lnTo>
                    <a:pt x="3553" y="3763"/>
                  </a:lnTo>
                  <a:lnTo>
                    <a:pt x="3575" y="3767"/>
                  </a:lnTo>
                  <a:lnTo>
                    <a:pt x="3591" y="3773"/>
                  </a:lnTo>
                  <a:lnTo>
                    <a:pt x="3604" y="3784"/>
                  </a:lnTo>
                  <a:lnTo>
                    <a:pt x="3623" y="3780"/>
                  </a:lnTo>
                  <a:lnTo>
                    <a:pt x="3644" y="3779"/>
                  </a:lnTo>
                  <a:lnTo>
                    <a:pt x="3661" y="3782"/>
                  </a:lnTo>
                  <a:lnTo>
                    <a:pt x="3692" y="3811"/>
                  </a:lnTo>
                  <a:lnTo>
                    <a:pt x="3697" y="3818"/>
                  </a:lnTo>
                  <a:lnTo>
                    <a:pt x="3714" y="3821"/>
                  </a:lnTo>
                  <a:lnTo>
                    <a:pt x="3761" y="3814"/>
                  </a:lnTo>
                  <a:lnTo>
                    <a:pt x="3774" y="3820"/>
                  </a:lnTo>
                  <a:lnTo>
                    <a:pt x="3818" y="3821"/>
                  </a:lnTo>
                  <a:lnTo>
                    <a:pt x="3856" y="3816"/>
                  </a:lnTo>
                  <a:lnTo>
                    <a:pt x="3866" y="3811"/>
                  </a:lnTo>
                  <a:lnTo>
                    <a:pt x="3866" y="3803"/>
                  </a:lnTo>
                  <a:lnTo>
                    <a:pt x="3862" y="3791"/>
                  </a:lnTo>
                  <a:lnTo>
                    <a:pt x="3865" y="3777"/>
                  </a:lnTo>
                  <a:lnTo>
                    <a:pt x="3875" y="3761"/>
                  </a:lnTo>
                  <a:lnTo>
                    <a:pt x="3875" y="3745"/>
                  </a:lnTo>
                  <a:lnTo>
                    <a:pt x="3864" y="3730"/>
                  </a:lnTo>
                  <a:lnTo>
                    <a:pt x="3860" y="3712"/>
                  </a:lnTo>
                  <a:lnTo>
                    <a:pt x="3862" y="3694"/>
                  </a:lnTo>
                  <a:lnTo>
                    <a:pt x="3878" y="3680"/>
                  </a:lnTo>
                  <a:lnTo>
                    <a:pt x="3892" y="3664"/>
                  </a:lnTo>
                  <a:lnTo>
                    <a:pt x="3910" y="3649"/>
                  </a:lnTo>
                  <a:lnTo>
                    <a:pt x="3921" y="3632"/>
                  </a:lnTo>
                  <a:lnTo>
                    <a:pt x="3935" y="3631"/>
                  </a:lnTo>
                  <a:lnTo>
                    <a:pt x="3955" y="3637"/>
                  </a:lnTo>
                  <a:lnTo>
                    <a:pt x="3969" y="3648"/>
                  </a:lnTo>
                  <a:lnTo>
                    <a:pt x="4006" y="3658"/>
                  </a:lnTo>
                  <a:lnTo>
                    <a:pt x="4017" y="3672"/>
                  </a:lnTo>
                  <a:lnTo>
                    <a:pt x="4041" y="3678"/>
                  </a:lnTo>
                  <a:lnTo>
                    <a:pt x="4065" y="3681"/>
                  </a:lnTo>
                  <a:lnTo>
                    <a:pt x="4082" y="3688"/>
                  </a:lnTo>
                  <a:lnTo>
                    <a:pt x="4092" y="3704"/>
                  </a:lnTo>
                  <a:lnTo>
                    <a:pt x="4097" y="3734"/>
                  </a:lnTo>
                  <a:lnTo>
                    <a:pt x="4097" y="3755"/>
                  </a:lnTo>
                  <a:lnTo>
                    <a:pt x="4102" y="3755"/>
                  </a:lnTo>
                  <a:lnTo>
                    <a:pt x="4117" y="3769"/>
                  </a:lnTo>
                  <a:lnTo>
                    <a:pt x="4140" y="3785"/>
                  </a:lnTo>
                  <a:lnTo>
                    <a:pt x="4174" y="3796"/>
                  </a:lnTo>
                  <a:lnTo>
                    <a:pt x="4202" y="3790"/>
                  </a:lnTo>
                  <a:lnTo>
                    <a:pt x="4229" y="3775"/>
                  </a:lnTo>
                  <a:lnTo>
                    <a:pt x="4254" y="3763"/>
                  </a:lnTo>
                  <a:lnTo>
                    <a:pt x="4285" y="3771"/>
                  </a:lnTo>
                  <a:lnTo>
                    <a:pt x="4333" y="3788"/>
                  </a:lnTo>
                  <a:lnTo>
                    <a:pt x="4343" y="3800"/>
                  </a:lnTo>
                  <a:lnTo>
                    <a:pt x="4344" y="3800"/>
                  </a:lnTo>
                  <a:lnTo>
                    <a:pt x="4350" y="3805"/>
                  </a:lnTo>
                  <a:lnTo>
                    <a:pt x="4372" y="3817"/>
                  </a:lnTo>
                  <a:lnTo>
                    <a:pt x="4393" y="3823"/>
                  </a:lnTo>
                  <a:lnTo>
                    <a:pt x="4414" y="3832"/>
                  </a:lnTo>
                  <a:lnTo>
                    <a:pt x="4428" y="3852"/>
                  </a:lnTo>
                  <a:lnTo>
                    <a:pt x="4455" y="3868"/>
                  </a:lnTo>
                  <a:lnTo>
                    <a:pt x="4487" y="3873"/>
                  </a:lnTo>
                  <a:lnTo>
                    <a:pt x="4510" y="3880"/>
                  </a:lnTo>
                  <a:lnTo>
                    <a:pt x="4528" y="3881"/>
                  </a:lnTo>
                  <a:lnTo>
                    <a:pt x="4553" y="3879"/>
                  </a:lnTo>
                  <a:lnTo>
                    <a:pt x="4571" y="3887"/>
                  </a:lnTo>
                  <a:lnTo>
                    <a:pt x="4627" y="3868"/>
                  </a:lnTo>
                  <a:lnTo>
                    <a:pt x="4661" y="3860"/>
                  </a:lnTo>
                  <a:lnTo>
                    <a:pt x="4688" y="3855"/>
                  </a:lnTo>
                  <a:lnTo>
                    <a:pt x="4725" y="3826"/>
                  </a:lnTo>
                  <a:lnTo>
                    <a:pt x="4749" y="3810"/>
                  </a:lnTo>
                  <a:lnTo>
                    <a:pt x="4774" y="3801"/>
                  </a:lnTo>
                  <a:lnTo>
                    <a:pt x="4799" y="3811"/>
                  </a:lnTo>
                  <a:lnTo>
                    <a:pt x="4817" y="3826"/>
                  </a:lnTo>
                  <a:lnTo>
                    <a:pt x="4838" y="3830"/>
                  </a:lnTo>
                  <a:lnTo>
                    <a:pt x="4855" y="3826"/>
                  </a:lnTo>
                  <a:lnTo>
                    <a:pt x="4869" y="3818"/>
                  </a:lnTo>
                  <a:lnTo>
                    <a:pt x="4875" y="3821"/>
                  </a:lnTo>
                  <a:lnTo>
                    <a:pt x="4886" y="3823"/>
                  </a:lnTo>
                  <a:lnTo>
                    <a:pt x="4899" y="3833"/>
                  </a:lnTo>
                  <a:lnTo>
                    <a:pt x="4931" y="3843"/>
                  </a:lnTo>
                  <a:lnTo>
                    <a:pt x="4956" y="3855"/>
                  </a:lnTo>
                  <a:lnTo>
                    <a:pt x="4967" y="3853"/>
                  </a:lnTo>
                  <a:lnTo>
                    <a:pt x="4982" y="3842"/>
                  </a:lnTo>
                  <a:lnTo>
                    <a:pt x="5032" y="3811"/>
                  </a:lnTo>
                  <a:lnTo>
                    <a:pt x="5033" y="3804"/>
                  </a:lnTo>
                  <a:lnTo>
                    <a:pt x="5031" y="3791"/>
                  </a:lnTo>
                  <a:lnTo>
                    <a:pt x="5034" y="3779"/>
                  </a:lnTo>
                  <a:lnTo>
                    <a:pt x="5045" y="3766"/>
                  </a:lnTo>
                  <a:lnTo>
                    <a:pt x="5052" y="3755"/>
                  </a:lnTo>
                  <a:lnTo>
                    <a:pt x="5059" y="3725"/>
                  </a:lnTo>
                  <a:lnTo>
                    <a:pt x="5064" y="3703"/>
                  </a:lnTo>
                  <a:lnTo>
                    <a:pt x="5071" y="3686"/>
                  </a:lnTo>
                  <a:lnTo>
                    <a:pt x="5090" y="3676"/>
                  </a:lnTo>
                  <a:lnTo>
                    <a:pt x="5114" y="3649"/>
                  </a:lnTo>
                  <a:lnTo>
                    <a:pt x="5114" y="3644"/>
                  </a:lnTo>
                  <a:lnTo>
                    <a:pt x="5109" y="3633"/>
                  </a:lnTo>
                  <a:lnTo>
                    <a:pt x="5111" y="3606"/>
                  </a:lnTo>
                  <a:lnTo>
                    <a:pt x="5104" y="3602"/>
                  </a:lnTo>
                  <a:lnTo>
                    <a:pt x="5093" y="3602"/>
                  </a:lnTo>
                  <a:lnTo>
                    <a:pt x="5075" y="3607"/>
                  </a:lnTo>
                  <a:lnTo>
                    <a:pt x="5071" y="3602"/>
                  </a:lnTo>
                  <a:lnTo>
                    <a:pt x="5076" y="3589"/>
                  </a:lnTo>
                  <a:lnTo>
                    <a:pt x="5100" y="3565"/>
                  </a:lnTo>
                  <a:lnTo>
                    <a:pt x="5108" y="3553"/>
                  </a:lnTo>
                  <a:lnTo>
                    <a:pt x="5124" y="3541"/>
                  </a:lnTo>
                  <a:lnTo>
                    <a:pt x="5158" y="3535"/>
                  </a:lnTo>
                  <a:lnTo>
                    <a:pt x="5199" y="3520"/>
                  </a:lnTo>
                  <a:lnTo>
                    <a:pt x="5224" y="3521"/>
                  </a:lnTo>
                  <a:lnTo>
                    <a:pt x="5259" y="3515"/>
                  </a:lnTo>
                  <a:lnTo>
                    <a:pt x="5271" y="3515"/>
                  </a:lnTo>
                  <a:lnTo>
                    <a:pt x="5290" y="3524"/>
                  </a:lnTo>
                  <a:lnTo>
                    <a:pt x="5307" y="3536"/>
                  </a:lnTo>
                  <a:lnTo>
                    <a:pt x="5318" y="3548"/>
                  </a:lnTo>
                  <a:lnTo>
                    <a:pt x="5334" y="3552"/>
                  </a:lnTo>
                  <a:lnTo>
                    <a:pt x="5353" y="3549"/>
                  </a:lnTo>
                  <a:lnTo>
                    <a:pt x="5369" y="3553"/>
                  </a:lnTo>
                  <a:lnTo>
                    <a:pt x="5383" y="3559"/>
                  </a:lnTo>
                  <a:lnTo>
                    <a:pt x="5391" y="3573"/>
                  </a:lnTo>
                  <a:lnTo>
                    <a:pt x="5403" y="3591"/>
                  </a:lnTo>
                  <a:lnTo>
                    <a:pt x="5404" y="3604"/>
                  </a:lnTo>
                  <a:lnTo>
                    <a:pt x="5412" y="3611"/>
                  </a:lnTo>
                  <a:lnTo>
                    <a:pt x="5421" y="3617"/>
                  </a:lnTo>
                  <a:lnTo>
                    <a:pt x="5423" y="3626"/>
                  </a:lnTo>
                  <a:lnTo>
                    <a:pt x="5424" y="3621"/>
                  </a:lnTo>
                  <a:lnTo>
                    <a:pt x="5426" y="3634"/>
                  </a:lnTo>
                  <a:lnTo>
                    <a:pt x="5431" y="3649"/>
                  </a:lnTo>
                  <a:lnTo>
                    <a:pt x="5434" y="3670"/>
                  </a:lnTo>
                  <a:lnTo>
                    <a:pt x="5442" y="3687"/>
                  </a:lnTo>
                  <a:lnTo>
                    <a:pt x="5447" y="3704"/>
                  </a:lnTo>
                  <a:lnTo>
                    <a:pt x="5468" y="3744"/>
                  </a:lnTo>
                  <a:lnTo>
                    <a:pt x="5474" y="3785"/>
                  </a:lnTo>
                  <a:lnTo>
                    <a:pt x="5483" y="3804"/>
                  </a:lnTo>
                  <a:lnTo>
                    <a:pt x="5482" y="3809"/>
                  </a:lnTo>
                  <a:lnTo>
                    <a:pt x="5483" y="3810"/>
                  </a:lnTo>
                  <a:lnTo>
                    <a:pt x="5485" y="3828"/>
                  </a:lnTo>
                  <a:lnTo>
                    <a:pt x="5485" y="3849"/>
                  </a:lnTo>
                  <a:lnTo>
                    <a:pt x="5498" y="3860"/>
                  </a:lnTo>
                  <a:lnTo>
                    <a:pt x="5521" y="3863"/>
                  </a:lnTo>
                  <a:lnTo>
                    <a:pt x="5542" y="3855"/>
                  </a:lnTo>
                  <a:lnTo>
                    <a:pt x="5558" y="3863"/>
                  </a:lnTo>
                  <a:lnTo>
                    <a:pt x="5577" y="3865"/>
                  </a:lnTo>
                  <a:lnTo>
                    <a:pt x="5595" y="3874"/>
                  </a:lnTo>
                  <a:lnTo>
                    <a:pt x="5627" y="3902"/>
                  </a:lnTo>
                  <a:lnTo>
                    <a:pt x="5642" y="3909"/>
                  </a:lnTo>
                  <a:lnTo>
                    <a:pt x="5654" y="3911"/>
                  </a:lnTo>
                  <a:lnTo>
                    <a:pt x="5658" y="3918"/>
                  </a:lnTo>
                  <a:lnTo>
                    <a:pt x="5658" y="3923"/>
                  </a:lnTo>
                  <a:lnTo>
                    <a:pt x="5660" y="3922"/>
                  </a:lnTo>
                  <a:lnTo>
                    <a:pt x="5661" y="3938"/>
                  </a:lnTo>
                  <a:lnTo>
                    <a:pt x="5668" y="3947"/>
                  </a:lnTo>
                  <a:lnTo>
                    <a:pt x="5667" y="3963"/>
                  </a:lnTo>
                  <a:lnTo>
                    <a:pt x="5668" y="3981"/>
                  </a:lnTo>
                  <a:lnTo>
                    <a:pt x="5678" y="3997"/>
                  </a:lnTo>
                  <a:lnTo>
                    <a:pt x="5684" y="4010"/>
                  </a:lnTo>
                  <a:lnTo>
                    <a:pt x="5703" y="4009"/>
                  </a:lnTo>
                  <a:lnTo>
                    <a:pt x="5722" y="4015"/>
                  </a:lnTo>
                  <a:lnTo>
                    <a:pt x="5740" y="4013"/>
                  </a:lnTo>
                  <a:lnTo>
                    <a:pt x="5771" y="3998"/>
                  </a:lnTo>
                  <a:lnTo>
                    <a:pt x="5805" y="3976"/>
                  </a:lnTo>
                  <a:lnTo>
                    <a:pt x="5823" y="3974"/>
                  </a:lnTo>
                  <a:lnTo>
                    <a:pt x="5856" y="3956"/>
                  </a:lnTo>
                  <a:lnTo>
                    <a:pt x="5888" y="3947"/>
                  </a:lnTo>
                  <a:lnTo>
                    <a:pt x="5889" y="3950"/>
                  </a:lnTo>
                  <a:lnTo>
                    <a:pt x="5881" y="3963"/>
                  </a:lnTo>
                  <a:lnTo>
                    <a:pt x="5881" y="3983"/>
                  </a:lnTo>
                  <a:lnTo>
                    <a:pt x="5886" y="3999"/>
                  </a:lnTo>
                  <a:lnTo>
                    <a:pt x="5883" y="4019"/>
                  </a:lnTo>
                  <a:lnTo>
                    <a:pt x="5871" y="4029"/>
                  </a:lnTo>
                  <a:lnTo>
                    <a:pt x="5857" y="4042"/>
                  </a:lnTo>
                  <a:lnTo>
                    <a:pt x="5855" y="4063"/>
                  </a:lnTo>
                  <a:lnTo>
                    <a:pt x="5841" y="4096"/>
                  </a:lnTo>
                  <a:lnTo>
                    <a:pt x="5833" y="4138"/>
                  </a:lnTo>
                  <a:lnTo>
                    <a:pt x="5814" y="4176"/>
                  </a:lnTo>
                  <a:lnTo>
                    <a:pt x="5801" y="4194"/>
                  </a:lnTo>
                  <a:lnTo>
                    <a:pt x="5796" y="4214"/>
                  </a:lnTo>
                  <a:lnTo>
                    <a:pt x="5784" y="4224"/>
                  </a:lnTo>
                  <a:lnTo>
                    <a:pt x="5779" y="4220"/>
                  </a:lnTo>
                  <a:lnTo>
                    <a:pt x="5728" y="4208"/>
                  </a:lnTo>
                  <a:lnTo>
                    <a:pt x="5715" y="4215"/>
                  </a:lnTo>
                  <a:lnTo>
                    <a:pt x="5679" y="4250"/>
                  </a:lnTo>
                  <a:lnTo>
                    <a:pt x="5687" y="4263"/>
                  </a:lnTo>
                  <a:lnTo>
                    <a:pt x="5693" y="4290"/>
                  </a:lnTo>
                  <a:lnTo>
                    <a:pt x="5693" y="4349"/>
                  </a:lnTo>
                  <a:lnTo>
                    <a:pt x="5677" y="4374"/>
                  </a:lnTo>
                  <a:lnTo>
                    <a:pt x="5657" y="4391"/>
                  </a:lnTo>
                  <a:lnTo>
                    <a:pt x="5657" y="4409"/>
                  </a:lnTo>
                  <a:lnTo>
                    <a:pt x="5657" y="4415"/>
                  </a:lnTo>
                  <a:lnTo>
                    <a:pt x="5661" y="4423"/>
                  </a:lnTo>
                  <a:lnTo>
                    <a:pt x="5669" y="4419"/>
                  </a:lnTo>
                  <a:lnTo>
                    <a:pt x="5667" y="4412"/>
                  </a:lnTo>
                  <a:lnTo>
                    <a:pt x="5665" y="4407"/>
                  </a:lnTo>
                  <a:lnTo>
                    <a:pt x="5673" y="4404"/>
                  </a:lnTo>
                  <a:lnTo>
                    <a:pt x="5693" y="4406"/>
                  </a:lnTo>
                  <a:lnTo>
                    <a:pt x="5699" y="4396"/>
                  </a:lnTo>
                  <a:lnTo>
                    <a:pt x="5705" y="4390"/>
                  </a:lnTo>
                  <a:lnTo>
                    <a:pt x="5709" y="4382"/>
                  </a:lnTo>
                  <a:lnTo>
                    <a:pt x="5721" y="4369"/>
                  </a:lnTo>
                  <a:lnTo>
                    <a:pt x="5728" y="4345"/>
                  </a:lnTo>
                  <a:lnTo>
                    <a:pt x="5730" y="4354"/>
                  </a:lnTo>
                  <a:lnTo>
                    <a:pt x="5737" y="4355"/>
                  </a:lnTo>
                  <a:lnTo>
                    <a:pt x="5732" y="4365"/>
                  </a:lnTo>
                  <a:lnTo>
                    <a:pt x="5736" y="4370"/>
                  </a:lnTo>
                  <a:lnTo>
                    <a:pt x="5748" y="4361"/>
                  </a:lnTo>
                  <a:lnTo>
                    <a:pt x="5754" y="4359"/>
                  </a:lnTo>
                  <a:lnTo>
                    <a:pt x="5754" y="4366"/>
                  </a:lnTo>
                  <a:lnTo>
                    <a:pt x="5753" y="4374"/>
                  </a:lnTo>
                  <a:lnTo>
                    <a:pt x="5753" y="4385"/>
                  </a:lnTo>
                  <a:lnTo>
                    <a:pt x="5755" y="4387"/>
                  </a:lnTo>
                  <a:lnTo>
                    <a:pt x="5764" y="4387"/>
                  </a:lnTo>
                  <a:lnTo>
                    <a:pt x="5774" y="4390"/>
                  </a:lnTo>
                  <a:lnTo>
                    <a:pt x="5784" y="4396"/>
                  </a:lnTo>
                  <a:lnTo>
                    <a:pt x="5787" y="4395"/>
                  </a:lnTo>
                  <a:lnTo>
                    <a:pt x="5794" y="4398"/>
                  </a:lnTo>
                  <a:lnTo>
                    <a:pt x="5806" y="4401"/>
                  </a:lnTo>
                  <a:lnTo>
                    <a:pt x="5828" y="4393"/>
                  </a:lnTo>
                  <a:lnTo>
                    <a:pt x="5835" y="4393"/>
                  </a:lnTo>
                  <a:lnTo>
                    <a:pt x="5846" y="4387"/>
                  </a:lnTo>
                  <a:lnTo>
                    <a:pt x="5860" y="4376"/>
                  </a:lnTo>
                  <a:lnTo>
                    <a:pt x="5903" y="4347"/>
                  </a:lnTo>
                  <a:lnTo>
                    <a:pt x="5916" y="4332"/>
                  </a:lnTo>
                  <a:lnTo>
                    <a:pt x="5925" y="4318"/>
                  </a:lnTo>
                  <a:lnTo>
                    <a:pt x="5939" y="4299"/>
                  </a:lnTo>
                  <a:lnTo>
                    <a:pt x="5940" y="4290"/>
                  </a:lnTo>
                  <a:lnTo>
                    <a:pt x="5947" y="4279"/>
                  </a:lnTo>
                  <a:lnTo>
                    <a:pt x="5957" y="4269"/>
                  </a:lnTo>
                  <a:lnTo>
                    <a:pt x="5968" y="4263"/>
                  </a:lnTo>
                  <a:lnTo>
                    <a:pt x="5982" y="4240"/>
                  </a:lnTo>
                  <a:lnTo>
                    <a:pt x="5989" y="4232"/>
                  </a:lnTo>
                  <a:lnTo>
                    <a:pt x="6000" y="4215"/>
                  </a:lnTo>
                  <a:lnTo>
                    <a:pt x="6050" y="4161"/>
                  </a:lnTo>
                  <a:lnTo>
                    <a:pt x="6055" y="4148"/>
                  </a:lnTo>
                  <a:lnTo>
                    <a:pt x="6066" y="4138"/>
                  </a:lnTo>
                  <a:lnTo>
                    <a:pt x="6069" y="4134"/>
                  </a:lnTo>
                  <a:lnTo>
                    <a:pt x="6083" y="4106"/>
                  </a:lnTo>
                  <a:lnTo>
                    <a:pt x="6095" y="4070"/>
                  </a:lnTo>
                  <a:lnTo>
                    <a:pt x="6102" y="4056"/>
                  </a:lnTo>
                  <a:lnTo>
                    <a:pt x="6123" y="4031"/>
                  </a:lnTo>
                  <a:lnTo>
                    <a:pt x="6140" y="4001"/>
                  </a:lnTo>
                  <a:lnTo>
                    <a:pt x="6160" y="3979"/>
                  </a:lnTo>
                  <a:lnTo>
                    <a:pt x="6169" y="3967"/>
                  </a:lnTo>
                  <a:lnTo>
                    <a:pt x="6172" y="3961"/>
                  </a:lnTo>
                  <a:lnTo>
                    <a:pt x="6179" y="3957"/>
                  </a:lnTo>
                  <a:lnTo>
                    <a:pt x="6188" y="3949"/>
                  </a:lnTo>
                  <a:lnTo>
                    <a:pt x="6192" y="3924"/>
                  </a:lnTo>
                  <a:lnTo>
                    <a:pt x="6194" y="3912"/>
                  </a:lnTo>
                  <a:lnTo>
                    <a:pt x="6193" y="3902"/>
                  </a:lnTo>
                  <a:lnTo>
                    <a:pt x="6195" y="3890"/>
                  </a:lnTo>
                  <a:lnTo>
                    <a:pt x="6204" y="3871"/>
                  </a:lnTo>
                  <a:lnTo>
                    <a:pt x="6205" y="3861"/>
                  </a:lnTo>
                  <a:lnTo>
                    <a:pt x="6201" y="3827"/>
                  </a:lnTo>
                  <a:lnTo>
                    <a:pt x="6210" y="3816"/>
                  </a:lnTo>
                  <a:lnTo>
                    <a:pt x="6209" y="3810"/>
                  </a:lnTo>
                  <a:lnTo>
                    <a:pt x="6205" y="3806"/>
                  </a:lnTo>
                  <a:lnTo>
                    <a:pt x="6199" y="3778"/>
                  </a:lnTo>
                  <a:lnTo>
                    <a:pt x="6199" y="3757"/>
                  </a:lnTo>
                  <a:lnTo>
                    <a:pt x="6205" y="3747"/>
                  </a:lnTo>
                  <a:lnTo>
                    <a:pt x="6208" y="3734"/>
                  </a:lnTo>
                  <a:lnTo>
                    <a:pt x="6209" y="3713"/>
                  </a:lnTo>
                  <a:lnTo>
                    <a:pt x="6214" y="3712"/>
                  </a:lnTo>
                  <a:lnTo>
                    <a:pt x="6214" y="3705"/>
                  </a:lnTo>
                  <a:lnTo>
                    <a:pt x="6219" y="3702"/>
                  </a:lnTo>
                  <a:lnTo>
                    <a:pt x="6216" y="3696"/>
                  </a:lnTo>
                  <a:lnTo>
                    <a:pt x="6228" y="3676"/>
                  </a:lnTo>
                  <a:lnTo>
                    <a:pt x="6236" y="3671"/>
                  </a:lnTo>
                  <a:lnTo>
                    <a:pt x="6241" y="3661"/>
                  </a:lnTo>
                  <a:lnTo>
                    <a:pt x="6247" y="3653"/>
                  </a:lnTo>
                  <a:lnTo>
                    <a:pt x="6248" y="3643"/>
                  </a:lnTo>
                  <a:lnTo>
                    <a:pt x="6253" y="3631"/>
                  </a:lnTo>
                  <a:lnTo>
                    <a:pt x="6233" y="3610"/>
                  </a:lnTo>
                  <a:lnTo>
                    <a:pt x="6241" y="3591"/>
                  </a:lnTo>
                  <a:lnTo>
                    <a:pt x="6238" y="3578"/>
                  </a:lnTo>
                  <a:lnTo>
                    <a:pt x="6235" y="3565"/>
                  </a:lnTo>
                  <a:lnTo>
                    <a:pt x="6225" y="3559"/>
                  </a:lnTo>
                  <a:lnTo>
                    <a:pt x="6214" y="3549"/>
                  </a:lnTo>
                  <a:lnTo>
                    <a:pt x="6203" y="3551"/>
                  </a:lnTo>
                  <a:lnTo>
                    <a:pt x="6190" y="3542"/>
                  </a:lnTo>
                  <a:lnTo>
                    <a:pt x="6176" y="3537"/>
                  </a:lnTo>
                  <a:lnTo>
                    <a:pt x="6168" y="3538"/>
                  </a:lnTo>
                  <a:lnTo>
                    <a:pt x="6174" y="3532"/>
                  </a:lnTo>
                  <a:lnTo>
                    <a:pt x="6188" y="3532"/>
                  </a:lnTo>
                  <a:lnTo>
                    <a:pt x="6200" y="3542"/>
                  </a:lnTo>
                  <a:lnTo>
                    <a:pt x="6209" y="3543"/>
                  </a:lnTo>
                  <a:lnTo>
                    <a:pt x="6219" y="3542"/>
                  </a:lnTo>
                  <a:lnTo>
                    <a:pt x="6237" y="3554"/>
                  </a:lnTo>
                  <a:lnTo>
                    <a:pt x="6241" y="3551"/>
                  </a:lnTo>
                  <a:lnTo>
                    <a:pt x="6249" y="3540"/>
                  </a:lnTo>
                  <a:lnTo>
                    <a:pt x="6248" y="3529"/>
                  </a:lnTo>
                  <a:lnTo>
                    <a:pt x="6241" y="3526"/>
                  </a:lnTo>
                  <a:lnTo>
                    <a:pt x="6215" y="3508"/>
                  </a:lnTo>
                  <a:lnTo>
                    <a:pt x="6203" y="3495"/>
                  </a:lnTo>
                  <a:lnTo>
                    <a:pt x="6192" y="3487"/>
                  </a:lnTo>
                  <a:lnTo>
                    <a:pt x="6189" y="3482"/>
                  </a:lnTo>
                  <a:lnTo>
                    <a:pt x="6189" y="3468"/>
                  </a:lnTo>
                  <a:lnTo>
                    <a:pt x="6182" y="3461"/>
                  </a:lnTo>
                  <a:lnTo>
                    <a:pt x="6173" y="3454"/>
                  </a:lnTo>
                  <a:lnTo>
                    <a:pt x="6163" y="3450"/>
                  </a:lnTo>
                  <a:lnTo>
                    <a:pt x="6161" y="3445"/>
                  </a:lnTo>
                  <a:lnTo>
                    <a:pt x="6161" y="3440"/>
                  </a:lnTo>
                  <a:lnTo>
                    <a:pt x="6158" y="3440"/>
                  </a:lnTo>
                  <a:lnTo>
                    <a:pt x="6150" y="3440"/>
                  </a:lnTo>
                  <a:lnTo>
                    <a:pt x="6135" y="3446"/>
                  </a:lnTo>
                  <a:lnTo>
                    <a:pt x="6124" y="3446"/>
                  </a:lnTo>
                  <a:lnTo>
                    <a:pt x="6103" y="3438"/>
                  </a:lnTo>
                  <a:lnTo>
                    <a:pt x="6103" y="3457"/>
                  </a:lnTo>
                  <a:lnTo>
                    <a:pt x="6106" y="3459"/>
                  </a:lnTo>
                  <a:lnTo>
                    <a:pt x="6103" y="3467"/>
                  </a:lnTo>
                  <a:lnTo>
                    <a:pt x="6101" y="3483"/>
                  </a:lnTo>
                  <a:lnTo>
                    <a:pt x="6093" y="3504"/>
                  </a:lnTo>
                  <a:lnTo>
                    <a:pt x="6082" y="3510"/>
                  </a:lnTo>
                  <a:lnTo>
                    <a:pt x="6086" y="3495"/>
                  </a:lnTo>
                  <a:lnTo>
                    <a:pt x="6095" y="3481"/>
                  </a:lnTo>
                  <a:lnTo>
                    <a:pt x="6090" y="3471"/>
                  </a:lnTo>
                  <a:lnTo>
                    <a:pt x="6071" y="3493"/>
                  </a:lnTo>
                  <a:lnTo>
                    <a:pt x="6058" y="3500"/>
                  </a:lnTo>
                  <a:lnTo>
                    <a:pt x="6038" y="3505"/>
                  </a:lnTo>
                  <a:lnTo>
                    <a:pt x="6023" y="3504"/>
                  </a:lnTo>
                  <a:lnTo>
                    <a:pt x="6023" y="3499"/>
                  </a:lnTo>
                  <a:lnTo>
                    <a:pt x="6032" y="3495"/>
                  </a:lnTo>
                  <a:lnTo>
                    <a:pt x="6038" y="3488"/>
                  </a:lnTo>
                  <a:lnTo>
                    <a:pt x="6045" y="3477"/>
                  </a:lnTo>
                  <a:lnTo>
                    <a:pt x="6043" y="3470"/>
                  </a:lnTo>
                  <a:lnTo>
                    <a:pt x="6033" y="3465"/>
                  </a:lnTo>
                  <a:lnTo>
                    <a:pt x="6028" y="3455"/>
                  </a:lnTo>
                  <a:lnTo>
                    <a:pt x="6034" y="3452"/>
                  </a:lnTo>
                  <a:lnTo>
                    <a:pt x="6043" y="3443"/>
                  </a:lnTo>
                  <a:lnTo>
                    <a:pt x="6044" y="3438"/>
                  </a:lnTo>
                  <a:lnTo>
                    <a:pt x="6028" y="3439"/>
                  </a:lnTo>
                  <a:lnTo>
                    <a:pt x="6018" y="3445"/>
                  </a:lnTo>
                  <a:lnTo>
                    <a:pt x="6015" y="3454"/>
                  </a:lnTo>
                  <a:lnTo>
                    <a:pt x="6021" y="3462"/>
                  </a:lnTo>
                  <a:lnTo>
                    <a:pt x="6018" y="3470"/>
                  </a:lnTo>
                  <a:lnTo>
                    <a:pt x="6010" y="3479"/>
                  </a:lnTo>
                  <a:lnTo>
                    <a:pt x="6001" y="3479"/>
                  </a:lnTo>
                  <a:lnTo>
                    <a:pt x="5996" y="3487"/>
                  </a:lnTo>
                  <a:lnTo>
                    <a:pt x="5994" y="3484"/>
                  </a:lnTo>
                  <a:lnTo>
                    <a:pt x="5993" y="3466"/>
                  </a:lnTo>
                  <a:lnTo>
                    <a:pt x="5995" y="3455"/>
                  </a:lnTo>
                  <a:lnTo>
                    <a:pt x="5996" y="3444"/>
                  </a:lnTo>
                  <a:lnTo>
                    <a:pt x="5997" y="3434"/>
                  </a:lnTo>
                  <a:lnTo>
                    <a:pt x="5996" y="3430"/>
                  </a:lnTo>
                  <a:lnTo>
                    <a:pt x="5997" y="3417"/>
                  </a:lnTo>
                  <a:lnTo>
                    <a:pt x="5995" y="3408"/>
                  </a:lnTo>
                  <a:lnTo>
                    <a:pt x="5985" y="3406"/>
                  </a:lnTo>
                  <a:lnTo>
                    <a:pt x="5962" y="3412"/>
                  </a:lnTo>
                  <a:lnTo>
                    <a:pt x="5939" y="3413"/>
                  </a:lnTo>
                  <a:lnTo>
                    <a:pt x="5929" y="3405"/>
                  </a:lnTo>
                  <a:lnTo>
                    <a:pt x="5910" y="3396"/>
                  </a:lnTo>
                  <a:lnTo>
                    <a:pt x="5910" y="3390"/>
                  </a:lnTo>
                  <a:lnTo>
                    <a:pt x="5915" y="3376"/>
                  </a:lnTo>
                  <a:lnTo>
                    <a:pt x="5942" y="3354"/>
                  </a:lnTo>
                  <a:lnTo>
                    <a:pt x="5950" y="3350"/>
                  </a:lnTo>
                  <a:lnTo>
                    <a:pt x="5968" y="3336"/>
                  </a:lnTo>
                  <a:lnTo>
                    <a:pt x="5977" y="3320"/>
                  </a:lnTo>
                  <a:lnTo>
                    <a:pt x="5983" y="3314"/>
                  </a:lnTo>
                  <a:lnTo>
                    <a:pt x="5989" y="3312"/>
                  </a:lnTo>
                  <a:lnTo>
                    <a:pt x="5999" y="3305"/>
                  </a:lnTo>
                  <a:lnTo>
                    <a:pt x="6047" y="3260"/>
                  </a:lnTo>
                  <a:lnTo>
                    <a:pt x="6056" y="3241"/>
                  </a:lnTo>
                  <a:lnTo>
                    <a:pt x="6065" y="3235"/>
                  </a:lnTo>
                  <a:lnTo>
                    <a:pt x="6069" y="3226"/>
                  </a:lnTo>
                  <a:lnTo>
                    <a:pt x="6070" y="3218"/>
                  </a:lnTo>
                  <a:lnTo>
                    <a:pt x="6076" y="3212"/>
                  </a:lnTo>
                  <a:lnTo>
                    <a:pt x="6083" y="3202"/>
                  </a:lnTo>
                  <a:lnTo>
                    <a:pt x="6087" y="3194"/>
                  </a:lnTo>
                  <a:lnTo>
                    <a:pt x="6093" y="3196"/>
                  </a:lnTo>
                  <a:lnTo>
                    <a:pt x="6099" y="3182"/>
                  </a:lnTo>
                  <a:lnTo>
                    <a:pt x="6114" y="3169"/>
                  </a:lnTo>
                  <a:lnTo>
                    <a:pt x="6130" y="3145"/>
                  </a:lnTo>
                  <a:lnTo>
                    <a:pt x="6140" y="3147"/>
                  </a:lnTo>
                  <a:lnTo>
                    <a:pt x="6158" y="3127"/>
                  </a:lnTo>
                  <a:lnTo>
                    <a:pt x="6166" y="3111"/>
                  </a:lnTo>
                  <a:lnTo>
                    <a:pt x="6169" y="3112"/>
                  </a:lnTo>
                  <a:lnTo>
                    <a:pt x="6182" y="3101"/>
                  </a:lnTo>
                  <a:lnTo>
                    <a:pt x="6193" y="3095"/>
                  </a:lnTo>
                  <a:lnTo>
                    <a:pt x="6201" y="3078"/>
                  </a:lnTo>
                  <a:lnTo>
                    <a:pt x="6204" y="3063"/>
                  </a:lnTo>
                  <a:lnTo>
                    <a:pt x="6219" y="3043"/>
                  </a:lnTo>
                  <a:lnTo>
                    <a:pt x="6258" y="3011"/>
                  </a:lnTo>
                  <a:lnTo>
                    <a:pt x="6270" y="2994"/>
                  </a:lnTo>
                  <a:lnTo>
                    <a:pt x="6280" y="2976"/>
                  </a:lnTo>
                  <a:lnTo>
                    <a:pt x="6298" y="2960"/>
                  </a:lnTo>
                  <a:lnTo>
                    <a:pt x="6316" y="2946"/>
                  </a:lnTo>
                  <a:lnTo>
                    <a:pt x="6345" y="2932"/>
                  </a:lnTo>
                  <a:lnTo>
                    <a:pt x="6400" y="2927"/>
                  </a:lnTo>
                  <a:lnTo>
                    <a:pt x="6436" y="2927"/>
                  </a:lnTo>
                  <a:lnTo>
                    <a:pt x="6456" y="2924"/>
                  </a:lnTo>
                  <a:lnTo>
                    <a:pt x="6464" y="2927"/>
                  </a:lnTo>
                  <a:lnTo>
                    <a:pt x="6475" y="2925"/>
                  </a:lnTo>
                  <a:lnTo>
                    <a:pt x="6488" y="2929"/>
                  </a:lnTo>
                  <a:lnTo>
                    <a:pt x="6495" y="2929"/>
                  </a:lnTo>
                  <a:lnTo>
                    <a:pt x="6495" y="2941"/>
                  </a:lnTo>
                  <a:lnTo>
                    <a:pt x="6500" y="2950"/>
                  </a:lnTo>
                  <a:lnTo>
                    <a:pt x="6507" y="2951"/>
                  </a:lnTo>
                  <a:lnTo>
                    <a:pt x="6518" y="2949"/>
                  </a:lnTo>
                  <a:lnTo>
                    <a:pt x="6521" y="2944"/>
                  </a:lnTo>
                  <a:lnTo>
                    <a:pt x="6522" y="2923"/>
                  </a:lnTo>
                  <a:lnTo>
                    <a:pt x="6527" y="2919"/>
                  </a:lnTo>
                  <a:lnTo>
                    <a:pt x="6585" y="2943"/>
                  </a:lnTo>
                  <a:lnTo>
                    <a:pt x="6602" y="2940"/>
                  </a:lnTo>
                  <a:lnTo>
                    <a:pt x="6602" y="2932"/>
                  </a:lnTo>
                  <a:lnTo>
                    <a:pt x="6610" y="2927"/>
                  </a:lnTo>
                  <a:lnTo>
                    <a:pt x="6630" y="2928"/>
                  </a:lnTo>
                  <a:lnTo>
                    <a:pt x="6638" y="2937"/>
                  </a:lnTo>
                  <a:lnTo>
                    <a:pt x="6641" y="2944"/>
                  </a:lnTo>
                  <a:lnTo>
                    <a:pt x="6646" y="2945"/>
                  </a:lnTo>
                  <a:lnTo>
                    <a:pt x="6660" y="2941"/>
                  </a:lnTo>
                  <a:lnTo>
                    <a:pt x="6660" y="2932"/>
                  </a:lnTo>
                  <a:lnTo>
                    <a:pt x="6656" y="2932"/>
                  </a:lnTo>
                  <a:lnTo>
                    <a:pt x="6651" y="2923"/>
                  </a:lnTo>
                  <a:lnTo>
                    <a:pt x="6660" y="2918"/>
                  </a:lnTo>
                  <a:lnTo>
                    <a:pt x="6673" y="2918"/>
                  </a:lnTo>
                  <a:lnTo>
                    <a:pt x="6672" y="2912"/>
                  </a:lnTo>
                  <a:lnTo>
                    <a:pt x="6667" y="2905"/>
                  </a:lnTo>
                  <a:lnTo>
                    <a:pt x="6668" y="2898"/>
                  </a:lnTo>
                  <a:lnTo>
                    <a:pt x="6679" y="2891"/>
                  </a:lnTo>
                  <a:lnTo>
                    <a:pt x="6692" y="2890"/>
                  </a:lnTo>
                  <a:lnTo>
                    <a:pt x="6705" y="2892"/>
                  </a:lnTo>
                  <a:lnTo>
                    <a:pt x="6737" y="2905"/>
                  </a:lnTo>
                  <a:lnTo>
                    <a:pt x="6747" y="2905"/>
                  </a:lnTo>
                  <a:lnTo>
                    <a:pt x="6760" y="2913"/>
                  </a:lnTo>
                  <a:lnTo>
                    <a:pt x="6762" y="2918"/>
                  </a:lnTo>
                  <a:lnTo>
                    <a:pt x="6770" y="2921"/>
                  </a:lnTo>
                  <a:lnTo>
                    <a:pt x="6775" y="2908"/>
                  </a:lnTo>
                  <a:lnTo>
                    <a:pt x="6785" y="2906"/>
                  </a:lnTo>
                  <a:lnTo>
                    <a:pt x="6798" y="2910"/>
                  </a:lnTo>
                  <a:lnTo>
                    <a:pt x="6808" y="2916"/>
                  </a:lnTo>
                  <a:lnTo>
                    <a:pt x="6817" y="2927"/>
                  </a:lnTo>
                  <a:lnTo>
                    <a:pt x="6822" y="2937"/>
                  </a:lnTo>
                  <a:lnTo>
                    <a:pt x="6841" y="2940"/>
                  </a:lnTo>
                  <a:lnTo>
                    <a:pt x="6845" y="2948"/>
                  </a:lnTo>
                  <a:lnTo>
                    <a:pt x="6833" y="2953"/>
                  </a:lnTo>
                  <a:lnTo>
                    <a:pt x="6817" y="2954"/>
                  </a:lnTo>
                  <a:lnTo>
                    <a:pt x="6795" y="2954"/>
                  </a:lnTo>
                  <a:lnTo>
                    <a:pt x="6784" y="2959"/>
                  </a:lnTo>
                  <a:lnTo>
                    <a:pt x="6785" y="2965"/>
                  </a:lnTo>
                  <a:lnTo>
                    <a:pt x="6800" y="2984"/>
                  </a:lnTo>
                  <a:lnTo>
                    <a:pt x="6816" y="2986"/>
                  </a:lnTo>
                  <a:lnTo>
                    <a:pt x="6829" y="2984"/>
                  </a:lnTo>
                  <a:lnTo>
                    <a:pt x="6843" y="2981"/>
                  </a:lnTo>
                  <a:lnTo>
                    <a:pt x="6849" y="2971"/>
                  </a:lnTo>
                  <a:lnTo>
                    <a:pt x="6859" y="2966"/>
                  </a:lnTo>
                  <a:lnTo>
                    <a:pt x="6866" y="2973"/>
                  </a:lnTo>
                  <a:lnTo>
                    <a:pt x="6878" y="2978"/>
                  </a:lnTo>
                  <a:lnTo>
                    <a:pt x="6886" y="2972"/>
                  </a:lnTo>
                  <a:lnTo>
                    <a:pt x="6892" y="2962"/>
                  </a:lnTo>
                  <a:lnTo>
                    <a:pt x="6905" y="2960"/>
                  </a:lnTo>
                  <a:lnTo>
                    <a:pt x="6907" y="2953"/>
                  </a:lnTo>
                  <a:lnTo>
                    <a:pt x="6919" y="2946"/>
                  </a:lnTo>
                  <a:lnTo>
                    <a:pt x="6935" y="2951"/>
                  </a:lnTo>
                  <a:lnTo>
                    <a:pt x="6942" y="2962"/>
                  </a:lnTo>
                  <a:lnTo>
                    <a:pt x="6951" y="2962"/>
                  </a:lnTo>
                  <a:lnTo>
                    <a:pt x="6963" y="2959"/>
                  </a:lnTo>
                  <a:lnTo>
                    <a:pt x="6967" y="2950"/>
                  </a:lnTo>
                  <a:lnTo>
                    <a:pt x="6981" y="2951"/>
                  </a:lnTo>
                  <a:lnTo>
                    <a:pt x="6988" y="2956"/>
                  </a:lnTo>
                  <a:lnTo>
                    <a:pt x="6991" y="2950"/>
                  </a:lnTo>
                  <a:lnTo>
                    <a:pt x="7001" y="2950"/>
                  </a:lnTo>
                  <a:lnTo>
                    <a:pt x="7002" y="2943"/>
                  </a:lnTo>
                  <a:lnTo>
                    <a:pt x="7000" y="2933"/>
                  </a:lnTo>
                  <a:lnTo>
                    <a:pt x="6993" y="2922"/>
                  </a:lnTo>
                  <a:lnTo>
                    <a:pt x="6972" y="2913"/>
                  </a:lnTo>
                  <a:lnTo>
                    <a:pt x="6951" y="2917"/>
                  </a:lnTo>
                  <a:lnTo>
                    <a:pt x="6952" y="2910"/>
                  </a:lnTo>
                  <a:lnTo>
                    <a:pt x="6958" y="2902"/>
                  </a:lnTo>
                  <a:lnTo>
                    <a:pt x="6950" y="2879"/>
                  </a:lnTo>
                  <a:lnTo>
                    <a:pt x="6953" y="2875"/>
                  </a:lnTo>
                  <a:lnTo>
                    <a:pt x="6959" y="2879"/>
                  </a:lnTo>
                  <a:lnTo>
                    <a:pt x="6962" y="2879"/>
                  </a:lnTo>
                  <a:lnTo>
                    <a:pt x="6975" y="2849"/>
                  </a:lnTo>
                  <a:lnTo>
                    <a:pt x="6983" y="2837"/>
                  </a:lnTo>
                  <a:lnTo>
                    <a:pt x="6986" y="2827"/>
                  </a:lnTo>
                  <a:lnTo>
                    <a:pt x="6999" y="2815"/>
                  </a:lnTo>
                  <a:lnTo>
                    <a:pt x="7011" y="2809"/>
                  </a:lnTo>
                  <a:lnTo>
                    <a:pt x="7047" y="2776"/>
                  </a:lnTo>
                  <a:lnTo>
                    <a:pt x="7047" y="2767"/>
                  </a:lnTo>
                  <a:lnTo>
                    <a:pt x="7051" y="2757"/>
                  </a:lnTo>
                  <a:lnTo>
                    <a:pt x="7074" y="2731"/>
                  </a:lnTo>
                  <a:lnTo>
                    <a:pt x="7083" y="2723"/>
                  </a:lnTo>
                  <a:lnTo>
                    <a:pt x="7088" y="2697"/>
                  </a:lnTo>
                  <a:lnTo>
                    <a:pt x="7099" y="2690"/>
                  </a:lnTo>
                  <a:lnTo>
                    <a:pt x="7118" y="2670"/>
                  </a:lnTo>
                  <a:lnTo>
                    <a:pt x="7128" y="2666"/>
                  </a:lnTo>
                  <a:lnTo>
                    <a:pt x="7137" y="2659"/>
                  </a:lnTo>
                  <a:lnTo>
                    <a:pt x="7165" y="2661"/>
                  </a:lnTo>
                  <a:lnTo>
                    <a:pt x="7205" y="2653"/>
                  </a:lnTo>
                  <a:lnTo>
                    <a:pt x="7211" y="2648"/>
                  </a:lnTo>
                  <a:lnTo>
                    <a:pt x="7215" y="2642"/>
                  </a:lnTo>
                  <a:lnTo>
                    <a:pt x="7221" y="2643"/>
                  </a:lnTo>
                  <a:lnTo>
                    <a:pt x="7235" y="2652"/>
                  </a:lnTo>
                  <a:lnTo>
                    <a:pt x="7241" y="2659"/>
                  </a:lnTo>
                  <a:lnTo>
                    <a:pt x="7244" y="2670"/>
                  </a:lnTo>
                  <a:lnTo>
                    <a:pt x="7260" y="2669"/>
                  </a:lnTo>
                  <a:lnTo>
                    <a:pt x="7270" y="2658"/>
                  </a:lnTo>
                  <a:lnTo>
                    <a:pt x="7290" y="2638"/>
                  </a:lnTo>
                  <a:lnTo>
                    <a:pt x="7281" y="2685"/>
                  </a:lnTo>
                  <a:lnTo>
                    <a:pt x="7273" y="2693"/>
                  </a:lnTo>
                  <a:lnTo>
                    <a:pt x="7269" y="2703"/>
                  </a:lnTo>
                  <a:lnTo>
                    <a:pt x="7263" y="2712"/>
                  </a:lnTo>
                  <a:lnTo>
                    <a:pt x="7263" y="2725"/>
                  </a:lnTo>
                  <a:lnTo>
                    <a:pt x="7269" y="2733"/>
                  </a:lnTo>
                  <a:lnTo>
                    <a:pt x="7268" y="2741"/>
                  </a:lnTo>
                  <a:lnTo>
                    <a:pt x="7263" y="2745"/>
                  </a:lnTo>
                  <a:lnTo>
                    <a:pt x="7260" y="2752"/>
                  </a:lnTo>
                  <a:lnTo>
                    <a:pt x="7265" y="2756"/>
                  </a:lnTo>
                  <a:lnTo>
                    <a:pt x="7280" y="2749"/>
                  </a:lnTo>
                  <a:lnTo>
                    <a:pt x="7292" y="2746"/>
                  </a:lnTo>
                  <a:lnTo>
                    <a:pt x="7281" y="2771"/>
                  </a:lnTo>
                  <a:lnTo>
                    <a:pt x="7278" y="2787"/>
                  </a:lnTo>
                  <a:lnTo>
                    <a:pt x="7279" y="2797"/>
                  </a:lnTo>
                  <a:lnTo>
                    <a:pt x="7286" y="2793"/>
                  </a:lnTo>
                  <a:lnTo>
                    <a:pt x="7300" y="2781"/>
                  </a:lnTo>
                  <a:lnTo>
                    <a:pt x="7309" y="2781"/>
                  </a:lnTo>
                  <a:lnTo>
                    <a:pt x="7345" y="2734"/>
                  </a:lnTo>
                  <a:lnTo>
                    <a:pt x="7355" y="2728"/>
                  </a:lnTo>
                  <a:lnTo>
                    <a:pt x="7367" y="2713"/>
                  </a:lnTo>
                  <a:lnTo>
                    <a:pt x="7378" y="2704"/>
                  </a:lnTo>
                  <a:lnTo>
                    <a:pt x="7399" y="2680"/>
                  </a:lnTo>
                  <a:lnTo>
                    <a:pt x="7414" y="2679"/>
                  </a:lnTo>
                  <a:lnTo>
                    <a:pt x="7420" y="2675"/>
                  </a:lnTo>
                  <a:lnTo>
                    <a:pt x="7422" y="2666"/>
                  </a:lnTo>
                  <a:lnTo>
                    <a:pt x="7430" y="2671"/>
                  </a:lnTo>
                  <a:lnTo>
                    <a:pt x="7429" y="2680"/>
                  </a:lnTo>
                  <a:lnTo>
                    <a:pt x="7431" y="2688"/>
                  </a:lnTo>
                  <a:lnTo>
                    <a:pt x="7438" y="2687"/>
                  </a:lnTo>
                  <a:lnTo>
                    <a:pt x="7447" y="2669"/>
                  </a:lnTo>
                  <a:lnTo>
                    <a:pt x="7437" y="2666"/>
                  </a:lnTo>
                  <a:lnTo>
                    <a:pt x="7434" y="2656"/>
                  </a:lnTo>
                  <a:lnTo>
                    <a:pt x="7437" y="2642"/>
                  </a:lnTo>
                  <a:lnTo>
                    <a:pt x="7438" y="2627"/>
                  </a:lnTo>
                  <a:lnTo>
                    <a:pt x="7438" y="2618"/>
                  </a:lnTo>
                  <a:lnTo>
                    <a:pt x="7448" y="2601"/>
                  </a:lnTo>
                  <a:lnTo>
                    <a:pt x="7448" y="2593"/>
                  </a:lnTo>
                  <a:lnTo>
                    <a:pt x="7452" y="2583"/>
                  </a:lnTo>
                  <a:lnTo>
                    <a:pt x="7467" y="2569"/>
                  </a:lnTo>
                  <a:lnTo>
                    <a:pt x="7511" y="2553"/>
                  </a:lnTo>
                  <a:lnTo>
                    <a:pt x="7526" y="2557"/>
                  </a:lnTo>
                  <a:lnTo>
                    <a:pt x="7542" y="2572"/>
                  </a:lnTo>
                  <a:lnTo>
                    <a:pt x="7535" y="2585"/>
                  </a:lnTo>
                  <a:lnTo>
                    <a:pt x="7524" y="2582"/>
                  </a:lnTo>
                  <a:lnTo>
                    <a:pt x="7506" y="2596"/>
                  </a:lnTo>
                  <a:lnTo>
                    <a:pt x="7496" y="2607"/>
                  </a:lnTo>
                  <a:lnTo>
                    <a:pt x="7494" y="2623"/>
                  </a:lnTo>
                  <a:lnTo>
                    <a:pt x="7490" y="2631"/>
                  </a:lnTo>
                  <a:lnTo>
                    <a:pt x="7489" y="2644"/>
                  </a:lnTo>
                  <a:lnTo>
                    <a:pt x="7489" y="2670"/>
                  </a:lnTo>
                  <a:lnTo>
                    <a:pt x="7478" y="2681"/>
                  </a:lnTo>
                  <a:lnTo>
                    <a:pt x="7477" y="2688"/>
                  </a:lnTo>
                  <a:lnTo>
                    <a:pt x="7478" y="2699"/>
                  </a:lnTo>
                  <a:lnTo>
                    <a:pt x="7480" y="2706"/>
                  </a:lnTo>
                  <a:lnTo>
                    <a:pt x="7479" y="2718"/>
                  </a:lnTo>
                  <a:lnTo>
                    <a:pt x="7472" y="2728"/>
                  </a:lnTo>
                  <a:lnTo>
                    <a:pt x="7465" y="2731"/>
                  </a:lnTo>
                  <a:lnTo>
                    <a:pt x="7464" y="2738"/>
                  </a:lnTo>
                  <a:lnTo>
                    <a:pt x="7463" y="2749"/>
                  </a:lnTo>
                  <a:lnTo>
                    <a:pt x="7472" y="2755"/>
                  </a:lnTo>
                  <a:lnTo>
                    <a:pt x="7472" y="2762"/>
                  </a:lnTo>
                  <a:lnTo>
                    <a:pt x="7462" y="2771"/>
                  </a:lnTo>
                  <a:lnTo>
                    <a:pt x="7451" y="2777"/>
                  </a:lnTo>
                  <a:lnTo>
                    <a:pt x="7440" y="2774"/>
                  </a:lnTo>
                  <a:lnTo>
                    <a:pt x="7427" y="2779"/>
                  </a:lnTo>
                  <a:lnTo>
                    <a:pt x="7415" y="2797"/>
                  </a:lnTo>
                  <a:lnTo>
                    <a:pt x="7402" y="2798"/>
                  </a:lnTo>
                  <a:lnTo>
                    <a:pt x="7376" y="2809"/>
                  </a:lnTo>
                  <a:lnTo>
                    <a:pt x="7372" y="2814"/>
                  </a:lnTo>
                  <a:lnTo>
                    <a:pt x="7372" y="2826"/>
                  </a:lnTo>
                  <a:lnTo>
                    <a:pt x="7367" y="2838"/>
                  </a:lnTo>
                  <a:lnTo>
                    <a:pt x="7356" y="2848"/>
                  </a:lnTo>
                  <a:lnTo>
                    <a:pt x="7343" y="2864"/>
                  </a:lnTo>
                  <a:lnTo>
                    <a:pt x="7318" y="2897"/>
                  </a:lnTo>
                  <a:lnTo>
                    <a:pt x="7293" y="2911"/>
                  </a:lnTo>
                  <a:lnTo>
                    <a:pt x="7286" y="2929"/>
                  </a:lnTo>
                  <a:lnTo>
                    <a:pt x="7276" y="2934"/>
                  </a:lnTo>
                  <a:lnTo>
                    <a:pt x="7258" y="2960"/>
                  </a:lnTo>
                  <a:lnTo>
                    <a:pt x="7255" y="2978"/>
                  </a:lnTo>
                  <a:lnTo>
                    <a:pt x="7236" y="3002"/>
                  </a:lnTo>
                  <a:lnTo>
                    <a:pt x="7225" y="3019"/>
                  </a:lnTo>
                  <a:lnTo>
                    <a:pt x="7210" y="3031"/>
                  </a:lnTo>
                  <a:lnTo>
                    <a:pt x="7195" y="3047"/>
                  </a:lnTo>
                  <a:lnTo>
                    <a:pt x="7182" y="3066"/>
                  </a:lnTo>
                  <a:lnTo>
                    <a:pt x="7162" y="3075"/>
                  </a:lnTo>
                  <a:lnTo>
                    <a:pt x="7144" y="3075"/>
                  </a:lnTo>
                  <a:lnTo>
                    <a:pt x="7137" y="3085"/>
                  </a:lnTo>
                  <a:lnTo>
                    <a:pt x="7128" y="3096"/>
                  </a:lnTo>
                  <a:lnTo>
                    <a:pt x="7108" y="3091"/>
                  </a:lnTo>
                  <a:lnTo>
                    <a:pt x="7098" y="3093"/>
                  </a:lnTo>
                  <a:lnTo>
                    <a:pt x="7103" y="3105"/>
                  </a:lnTo>
                  <a:lnTo>
                    <a:pt x="7106" y="3124"/>
                  </a:lnTo>
                  <a:lnTo>
                    <a:pt x="7093" y="3164"/>
                  </a:lnTo>
                  <a:lnTo>
                    <a:pt x="7077" y="3174"/>
                  </a:lnTo>
                  <a:lnTo>
                    <a:pt x="7065" y="3186"/>
                  </a:lnTo>
                  <a:lnTo>
                    <a:pt x="7051" y="3193"/>
                  </a:lnTo>
                  <a:lnTo>
                    <a:pt x="7045" y="3206"/>
                  </a:lnTo>
                  <a:lnTo>
                    <a:pt x="7040" y="3229"/>
                  </a:lnTo>
                  <a:lnTo>
                    <a:pt x="7028" y="3279"/>
                  </a:lnTo>
                  <a:lnTo>
                    <a:pt x="7027" y="3328"/>
                  </a:lnTo>
                  <a:lnTo>
                    <a:pt x="7028" y="3352"/>
                  </a:lnTo>
                  <a:lnTo>
                    <a:pt x="7031" y="3374"/>
                  </a:lnTo>
                  <a:lnTo>
                    <a:pt x="7032" y="3403"/>
                  </a:lnTo>
                  <a:lnTo>
                    <a:pt x="7036" y="3418"/>
                  </a:lnTo>
                  <a:lnTo>
                    <a:pt x="7040" y="3459"/>
                  </a:lnTo>
                  <a:lnTo>
                    <a:pt x="7042" y="3463"/>
                  </a:lnTo>
                  <a:lnTo>
                    <a:pt x="7044" y="3467"/>
                  </a:lnTo>
                  <a:lnTo>
                    <a:pt x="7051" y="3503"/>
                  </a:lnTo>
                  <a:lnTo>
                    <a:pt x="7056" y="3524"/>
                  </a:lnTo>
                  <a:lnTo>
                    <a:pt x="7058" y="3551"/>
                  </a:lnTo>
                  <a:lnTo>
                    <a:pt x="7061" y="3573"/>
                  </a:lnTo>
                  <a:lnTo>
                    <a:pt x="7066" y="3596"/>
                  </a:lnTo>
                  <a:lnTo>
                    <a:pt x="7075" y="3617"/>
                  </a:lnTo>
                  <a:lnTo>
                    <a:pt x="7081" y="3640"/>
                  </a:lnTo>
                  <a:lnTo>
                    <a:pt x="7081" y="3685"/>
                  </a:lnTo>
                  <a:lnTo>
                    <a:pt x="7082" y="3705"/>
                  </a:lnTo>
                  <a:lnTo>
                    <a:pt x="7092" y="3729"/>
                  </a:lnTo>
                  <a:lnTo>
                    <a:pt x="7094" y="3742"/>
                  </a:lnTo>
                  <a:lnTo>
                    <a:pt x="7108" y="3728"/>
                  </a:lnTo>
                  <a:lnTo>
                    <a:pt x="7120" y="3718"/>
                  </a:lnTo>
                  <a:lnTo>
                    <a:pt x="7131" y="3704"/>
                  </a:lnTo>
                  <a:lnTo>
                    <a:pt x="7139" y="3691"/>
                  </a:lnTo>
                  <a:lnTo>
                    <a:pt x="7150" y="3682"/>
                  </a:lnTo>
                  <a:lnTo>
                    <a:pt x="7172" y="3656"/>
                  </a:lnTo>
                  <a:lnTo>
                    <a:pt x="7184" y="3626"/>
                  </a:lnTo>
                  <a:lnTo>
                    <a:pt x="7185" y="3613"/>
                  </a:lnTo>
                  <a:lnTo>
                    <a:pt x="7184" y="3595"/>
                  </a:lnTo>
                  <a:lnTo>
                    <a:pt x="7188" y="3589"/>
                  </a:lnTo>
                  <a:lnTo>
                    <a:pt x="7192" y="3573"/>
                  </a:lnTo>
                  <a:lnTo>
                    <a:pt x="7187" y="3569"/>
                  </a:lnTo>
                  <a:lnTo>
                    <a:pt x="7192" y="3561"/>
                  </a:lnTo>
                  <a:lnTo>
                    <a:pt x="7198" y="3562"/>
                  </a:lnTo>
                  <a:lnTo>
                    <a:pt x="7203" y="3567"/>
                  </a:lnTo>
                  <a:lnTo>
                    <a:pt x="7212" y="3556"/>
                  </a:lnTo>
                  <a:lnTo>
                    <a:pt x="7228" y="3545"/>
                  </a:lnTo>
                  <a:lnTo>
                    <a:pt x="7252" y="3536"/>
                  </a:lnTo>
                  <a:lnTo>
                    <a:pt x="7269" y="3542"/>
                  </a:lnTo>
                  <a:lnTo>
                    <a:pt x="7268" y="3536"/>
                  </a:lnTo>
                  <a:lnTo>
                    <a:pt x="7264" y="3529"/>
                  </a:lnTo>
                  <a:lnTo>
                    <a:pt x="7262" y="3516"/>
                  </a:lnTo>
                  <a:lnTo>
                    <a:pt x="7262" y="3479"/>
                  </a:lnTo>
                  <a:lnTo>
                    <a:pt x="7263" y="3463"/>
                  </a:lnTo>
                  <a:lnTo>
                    <a:pt x="7273" y="3450"/>
                  </a:lnTo>
                  <a:lnTo>
                    <a:pt x="7301" y="3423"/>
                  </a:lnTo>
                  <a:lnTo>
                    <a:pt x="7319" y="3413"/>
                  </a:lnTo>
                  <a:lnTo>
                    <a:pt x="7335" y="3409"/>
                  </a:lnTo>
                  <a:lnTo>
                    <a:pt x="7341" y="3418"/>
                  </a:lnTo>
                  <a:lnTo>
                    <a:pt x="7354" y="3418"/>
                  </a:lnTo>
                  <a:lnTo>
                    <a:pt x="7366" y="3414"/>
                  </a:lnTo>
                  <a:lnTo>
                    <a:pt x="7382" y="3398"/>
                  </a:lnTo>
                  <a:lnTo>
                    <a:pt x="7384" y="3390"/>
                  </a:lnTo>
                  <a:lnTo>
                    <a:pt x="7365" y="3362"/>
                  </a:lnTo>
                  <a:lnTo>
                    <a:pt x="7360" y="3347"/>
                  </a:lnTo>
                  <a:lnTo>
                    <a:pt x="7357" y="3335"/>
                  </a:lnTo>
                  <a:lnTo>
                    <a:pt x="7359" y="3322"/>
                  </a:lnTo>
                  <a:lnTo>
                    <a:pt x="7362" y="3305"/>
                  </a:lnTo>
                  <a:lnTo>
                    <a:pt x="7368" y="3293"/>
                  </a:lnTo>
                  <a:lnTo>
                    <a:pt x="7372" y="3279"/>
                  </a:lnTo>
                  <a:lnTo>
                    <a:pt x="7381" y="3267"/>
                  </a:lnTo>
                  <a:lnTo>
                    <a:pt x="7397" y="3256"/>
                  </a:lnTo>
                  <a:lnTo>
                    <a:pt x="7394" y="3247"/>
                  </a:lnTo>
                  <a:lnTo>
                    <a:pt x="7391" y="3242"/>
                  </a:lnTo>
                  <a:lnTo>
                    <a:pt x="7389" y="3237"/>
                  </a:lnTo>
                  <a:lnTo>
                    <a:pt x="7405" y="3231"/>
                  </a:lnTo>
                  <a:lnTo>
                    <a:pt x="7422" y="3229"/>
                  </a:lnTo>
                  <a:lnTo>
                    <a:pt x="7429" y="3222"/>
                  </a:lnTo>
                  <a:lnTo>
                    <a:pt x="7431" y="3226"/>
                  </a:lnTo>
                  <a:lnTo>
                    <a:pt x="7424" y="3237"/>
                  </a:lnTo>
                  <a:lnTo>
                    <a:pt x="7416" y="3242"/>
                  </a:lnTo>
                  <a:lnTo>
                    <a:pt x="7413" y="3251"/>
                  </a:lnTo>
                  <a:lnTo>
                    <a:pt x="7422" y="3271"/>
                  </a:lnTo>
                  <a:lnTo>
                    <a:pt x="7431" y="3274"/>
                  </a:lnTo>
                  <a:lnTo>
                    <a:pt x="7435" y="3274"/>
                  </a:lnTo>
                  <a:lnTo>
                    <a:pt x="7445" y="3258"/>
                  </a:lnTo>
                  <a:lnTo>
                    <a:pt x="7447" y="3247"/>
                  </a:lnTo>
                  <a:lnTo>
                    <a:pt x="7442" y="3212"/>
                  </a:lnTo>
                  <a:lnTo>
                    <a:pt x="7437" y="3203"/>
                  </a:lnTo>
                  <a:lnTo>
                    <a:pt x="7421" y="3206"/>
                  </a:lnTo>
                  <a:lnTo>
                    <a:pt x="7419" y="3202"/>
                  </a:lnTo>
                  <a:lnTo>
                    <a:pt x="7419" y="3180"/>
                  </a:lnTo>
                  <a:lnTo>
                    <a:pt x="7416" y="3159"/>
                  </a:lnTo>
                  <a:lnTo>
                    <a:pt x="7418" y="3147"/>
                  </a:lnTo>
                  <a:lnTo>
                    <a:pt x="7421" y="3137"/>
                  </a:lnTo>
                  <a:lnTo>
                    <a:pt x="7434" y="3126"/>
                  </a:lnTo>
                  <a:lnTo>
                    <a:pt x="7445" y="3106"/>
                  </a:lnTo>
                  <a:lnTo>
                    <a:pt x="7443" y="3097"/>
                  </a:lnTo>
                  <a:lnTo>
                    <a:pt x="7413" y="3079"/>
                  </a:lnTo>
                  <a:lnTo>
                    <a:pt x="7400" y="3083"/>
                  </a:lnTo>
                  <a:lnTo>
                    <a:pt x="7397" y="3096"/>
                  </a:lnTo>
                  <a:lnTo>
                    <a:pt x="7394" y="3100"/>
                  </a:lnTo>
                  <a:lnTo>
                    <a:pt x="7387" y="3097"/>
                  </a:lnTo>
                  <a:lnTo>
                    <a:pt x="7381" y="3093"/>
                  </a:lnTo>
                  <a:lnTo>
                    <a:pt x="7377" y="3081"/>
                  </a:lnTo>
                  <a:lnTo>
                    <a:pt x="7377" y="3063"/>
                  </a:lnTo>
                  <a:lnTo>
                    <a:pt x="7381" y="3051"/>
                  </a:lnTo>
                  <a:lnTo>
                    <a:pt x="7386" y="3032"/>
                  </a:lnTo>
                  <a:lnTo>
                    <a:pt x="7393" y="3019"/>
                  </a:lnTo>
                  <a:lnTo>
                    <a:pt x="7407" y="2999"/>
                  </a:lnTo>
                  <a:lnTo>
                    <a:pt x="7420" y="2983"/>
                  </a:lnTo>
                  <a:lnTo>
                    <a:pt x="7427" y="2970"/>
                  </a:lnTo>
                  <a:lnTo>
                    <a:pt x="7426" y="2960"/>
                  </a:lnTo>
                  <a:lnTo>
                    <a:pt x="7430" y="2954"/>
                  </a:lnTo>
                  <a:lnTo>
                    <a:pt x="7440" y="2957"/>
                  </a:lnTo>
                  <a:lnTo>
                    <a:pt x="7437" y="2950"/>
                  </a:lnTo>
                  <a:lnTo>
                    <a:pt x="7437" y="2943"/>
                  </a:lnTo>
                  <a:lnTo>
                    <a:pt x="7446" y="2938"/>
                  </a:lnTo>
                  <a:lnTo>
                    <a:pt x="7450" y="2932"/>
                  </a:lnTo>
                  <a:lnTo>
                    <a:pt x="7446" y="2918"/>
                  </a:lnTo>
                  <a:lnTo>
                    <a:pt x="7447" y="2905"/>
                  </a:lnTo>
                  <a:lnTo>
                    <a:pt x="7454" y="2892"/>
                  </a:lnTo>
                  <a:lnTo>
                    <a:pt x="7456" y="2881"/>
                  </a:lnTo>
                  <a:lnTo>
                    <a:pt x="7462" y="2875"/>
                  </a:lnTo>
                  <a:lnTo>
                    <a:pt x="7472" y="2871"/>
                  </a:lnTo>
                  <a:lnTo>
                    <a:pt x="7485" y="2862"/>
                  </a:lnTo>
                  <a:lnTo>
                    <a:pt x="7492" y="2867"/>
                  </a:lnTo>
                  <a:lnTo>
                    <a:pt x="7496" y="2876"/>
                  </a:lnTo>
                  <a:lnTo>
                    <a:pt x="7505" y="2864"/>
                  </a:lnTo>
                  <a:lnTo>
                    <a:pt x="7517" y="2855"/>
                  </a:lnTo>
                  <a:lnTo>
                    <a:pt x="7527" y="2865"/>
                  </a:lnTo>
                  <a:lnTo>
                    <a:pt x="7532" y="2879"/>
                  </a:lnTo>
                  <a:lnTo>
                    <a:pt x="7542" y="2881"/>
                  </a:lnTo>
                  <a:lnTo>
                    <a:pt x="7547" y="2864"/>
                  </a:lnTo>
                  <a:lnTo>
                    <a:pt x="7547" y="2852"/>
                  </a:lnTo>
                  <a:lnTo>
                    <a:pt x="7556" y="2840"/>
                  </a:lnTo>
                  <a:lnTo>
                    <a:pt x="7563" y="2836"/>
                  </a:lnTo>
                  <a:lnTo>
                    <a:pt x="7581" y="2830"/>
                  </a:lnTo>
                  <a:lnTo>
                    <a:pt x="7588" y="2824"/>
                  </a:lnTo>
                  <a:lnTo>
                    <a:pt x="7598" y="2809"/>
                  </a:lnTo>
                  <a:lnTo>
                    <a:pt x="7604" y="2803"/>
                  </a:lnTo>
                  <a:lnTo>
                    <a:pt x="7609" y="2806"/>
                  </a:lnTo>
                  <a:lnTo>
                    <a:pt x="7612" y="2814"/>
                  </a:lnTo>
                  <a:lnTo>
                    <a:pt x="7607" y="2821"/>
                  </a:lnTo>
                  <a:lnTo>
                    <a:pt x="7610" y="2841"/>
                  </a:lnTo>
                  <a:lnTo>
                    <a:pt x="7606" y="2855"/>
                  </a:lnTo>
                  <a:lnTo>
                    <a:pt x="7606" y="2864"/>
                  </a:lnTo>
                  <a:lnTo>
                    <a:pt x="7604" y="2870"/>
                  </a:lnTo>
                  <a:lnTo>
                    <a:pt x="7602" y="2875"/>
                  </a:lnTo>
                  <a:lnTo>
                    <a:pt x="7602" y="2880"/>
                  </a:lnTo>
                  <a:lnTo>
                    <a:pt x="7606" y="2880"/>
                  </a:lnTo>
                  <a:lnTo>
                    <a:pt x="7618" y="2863"/>
                  </a:lnTo>
                  <a:lnTo>
                    <a:pt x="7647" y="2835"/>
                  </a:lnTo>
                  <a:lnTo>
                    <a:pt x="7649" y="2828"/>
                  </a:lnTo>
                  <a:lnTo>
                    <a:pt x="7647" y="2819"/>
                  </a:lnTo>
                  <a:lnTo>
                    <a:pt x="7650" y="2815"/>
                  </a:lnTo>
                  <a:lnTo>
                    <a:pt x="7658" y="2822"/>
                  </a:lnTo>
                  <a:lnTo>
                    <a:pt x="7667" y="2814"/>
                  </a:lnTo>
                  <a:lnTo>
                    <a:pt x="7678" y="2812"/>
                  </a:lnTo>
                  <a:lnTo>
                    <a:pt x="7694" y="2800"/>
                  </a:lnTo>
                  <a:lnTo>
                    <a:pt x="7706" y="2799"/>
                  </a:lnTo>
                  <a:lnTo>
                    <a:pt x="7714" y="2790"/>
                  </a:lnTo>
                  <a:lnTo>
                    <a:pt x="7720" y="2795"/>
                  </a:lnTo>
                  <a:lnTo>
                    <a:pt x="7726" y="2794"/>
                  </a:lnTo>
                  <a:lnTo>
                    <a:pt x="7755" y="2795"/>
                  </a:lnTo>
                  <a:lnTo>
                    <a:pt x="7770" y="2799"/>
                  </a:lnTo>
                  <a:lnTo>
                    <a:pt x="7781" y="2804"/>
                  </a:lnTo>
                  <a:lnTo>
                    <a:pt x="7795" y="2815"/>
                  </a:lnTo>
                  <a:lnTo>
                    <a:pt x="7800" y="2827"/>
                  </a:lnTo>
                  <a:lnTo>
                    <a:pt x="7819" y="2857"/>
                  </a:lnTo>
                  <a:lnTo>
                    <a:pt x="7820" y="2863"/>
                  </a:lnTo>
                  <a:lnTo>
                    <a:pt x="7833" y="2865"/>
                  </a:lnTo>
                  <a:lnTo>
                    <a:pt x="7836" y="2863"/>
                  </a:lnTo>
                  <a:lnTo>
                    <a:pt x="7836" y="2846"/>
                  </a:lnTo>
                  <a:lnTo>
                    <a:pt x="7848" y="2820"/>
                  </a:lnTo>
                  <a:lnTo>
                    <a:pt x="7848" y="2814"/>
                  </a:lnTo>
                  <a:lnTo>
                    <a:pt x="7845" y="2811"/>
                  </a:lnTo>
                  <a:lnTo>
                    <a:pt x="7852" y="2809"/>
                  </a:lnTo>
                  <a:lnTo>
                    <a:pt x="7865" y="2800"/>
                  </a:lnTo>
                  <a:lnTo>
                    <a:pt x="7871" y="2799"/>
                  </a:lnTo>
                  <a:lnTo>
                    <a:pt x="7875" y="2792"/>
                  </a:lnTo>
                  <a:lnTo>
                    <a:pt x="7879" y="2795"/>
                  </a:lnTo>
                  <a:lnTo>
                    <a:pt x="7886" y="2795"/>
                  </a:lnTo>
                  <a:lnTo>
                    <a:pt x="7899" y="2778"/>
                  </a:lnTo>
                  <a:lnTo>
                    <a:pt x="7903" y="2777"/>
                  </a:lnTo>
                  <a:lnTo>
                    <a:pt x="7903" y="2772"/>
                  </a:lnTo>
                  <a:lnTo>
                    <a:pt x="7913" y="2765"/>
                  </a:lnTo>
                  <a:lnTo>
                    <a:pt x="7921" y="2763"/>
                  </a:lnTo>
                  <a:lnTo>
                    <a:pt x="7925" y="2760"/>
                  </a:lnTo>
                  <a:lnTo>
                    <a:pt x="7931" y="2758"/>
                  </a:lnTo>
                  <a:lnTo>
                    <a:pt x="7932" y="2754"/>
                  </a:lnTo>
                  <a:lnTo>
                    <a:pt x="7931" y="2749"/>
                  </a:lnTo>
                  <a:lnTo>
                    <a:pt x="7926" y="2744"/>
                  </a:lnTo>
                  <a:lnTo>
                    <a:pt x="7927" y="2739"/>
                  </a:lnTo>
                  <a:lnTo>
                    <a:pt x="7936" y="2746"/>
                  </a:lnTo>
                  <a:lnTo>
                    <a:pt x="7941" y="2749"/>
                  </a:lnTo>
                  <a:lnTo>
                    <a:pt x="7946" y="2745"/>
                  </a:lnTo>
                  <a:lnTo>
                    <a:pt x="7948" y="2733"/>
                  </a:lnTo>
                  <a:lnTo>
                    <a:pt x="7946" y="2727"/>
                  </a:lnTo>
                  <a:lnTo>
                    <a:pt x="7957" y="2727"/>
                  </a:lnTo>
                  <a:lnTo>
                    <a:pt x="7968" y="2719"/>
                  </a:lnTo>
                  <a:lnTo>
                    <a:pt x="7970" y="2719"/>
                  </a:lnTo>
                  <a:lnTo>
                    <a:pt x="7973" y="2714"/>
                  </a:lnTo>
                  <a:lnTo>
                    <a:pt x="7968" y="2703"/>
                  </a:lnTo>
                  <a:lnTo>
                    <a:pt x="7972" y="2701"/>
                  </a:lnTo>
                  <a:lnTo>
                    <a:pt x="7978" y="2706"/>
                  </a:lnTo>
                  <a:lnTo>
                    <a:pt x="7981" y="2706"/>
                  </a:lnTo>
                  <a:lnTo>
                    <a:pt x="7988" y="2702"/>
                  </a:lnTo>
                  <a:lnTo>
                    <a:pt x="7992" y="2696"/>
                  </a:lnTo>
                  <a:lnTo>
                    <a:pt x="7996" y="2688"/>
                  </a:lnTo>
                  <a:lnTo>
                    <a:pt x="8000" y="2688"/>
                  </a:lnTo>
                  <a:lnTo>
                    <a:pt x="8002" y="2684"/>
                  </a:lnTo>
                  <a:lnTo>
                    <a:pt x="8004" y="2671"/>
                  </a:lnTo>
                  <a:lnTo>
                    <a:pt x="8006" y="2664"/>
                  </a:lnTo>
                  <a:lnTo>
                    <a:pt x="8012" y="2665"/>
                  </a:lnTo>
                  <a:lnTo>
                    <a:pt x="8017" y="2674"/>
                  </a:lnTo>
                  <a:lnTo>
                    <a:pt x="8022" y="2675"/>
                  </a:lnTo>
                  <a:lnTo>
                    <a:pt x="8027" y="2672"/>
                  </a:lnTo>
                  <a:lnTo>
                    <a:pt x="8040" y="2660"/>
                  </a:lnTo>
                  <a:lnTo>
                    <a:pt x="8067" y="2652"/>
                  </a:lnTo>
                  <a:lnTo>
                    <a:pt x="8075" y="2644"/>
                  </a:lnTo>
                  <a:lnTo>
                    <a:pt x="8090" y="2637"/>
                  </a:lnTo>
                  <a:lnTo>
                    <a:pt x="8093" y="2629"/>
                  </a:lnTo>
                  <a:lnTo>
                    <a:pt x="8094" y="2623"/>
                  </a:lnTo>
                  <a:lnTo>
                    <a:pt x="8094" y="2616"/>
                  </a:lnTo>
                  <a:lnTo>
                    <a:pt x="8103" y="2614"/>
                  </a:lnTo>
                  <a:lnTo>
                    <a:pt x="8102" y="2618"/>
                  </a:lnTo>
                  <a:lnTo>
                    <a:pt x="8099" y="2625"/>
                  </a:lnTo>
                  <a:lnTo>
                    <a:pt x="8103" y="2625"/>
                  </a:lnTo>
                  <a:lnTo>
                    <a:pt x="8126" y="2612"/>
                  </a:lnTo>
                  <a:lnTo>
                    <a:pt x="8133" y="2612"/>
                  </a:lnTo>
                  <a:lnTo>
                    <a:pt x="8146" y="2605"/>
                  </a:lnTo>
                  <a:lnTo>
                    <a:pt x="8182" y="2579"/>
                  </a:lnTo>
                  <a:lnTo>
                    <a:pt x="8209" y="2569"/>
                  </a:lnTo>
                  <a:lnTo>
                    <a:pt x="8212" y="2566"/>
                  </a:lnTo>
                  <a:lnTo>
                    <a:pt x="8210" y="2563"/>
                  </a:lnTo>
                  <a:lnTo>
                    <a:pt x="8205" y="2559"/>
                  </a:lnTo>
                  <a:lnTo>
                    <a:pt x="8199" y="2543"/>
                  </a:lnTo>
                  <a:lnTo>
                    <a:pt x="8196" y="2534"/>
                  </a:lnTo>
                  <a:lnTo>
                    <a:pt x="8200" y="2530"/>
                  </a:lnTo>
                  <a:lnTo>
                    <a:pt x="8204" y="2536"/>
                  </a:lnTo>
                  <a:lnTo>
                    <a:pt x="8209" y="2548"/>
                  </a:lnTo>
                  <a:lnTo>
                    <a:pt x="8215" y="2557"/>
                  </a:lnTo>
                  <a:lnTo>
                    <a:pt x="8219" y="2557"/>
                  </a:lnTo>
                  <a:lnTo>
                    <a:pt x="8219" y="2563"/>
                  </a:lnTo>
                  <a:lnTo>
                    <a:pt x="8221" y="2566"/>
                  </a:lnTo>
                  <a:lnTo>
                    <a:pt x="8232" y="2567"/>
                  </a:lnTo>
                  <a:lnTo>
                    <a:pt x="8231" y="2559"/>
                  </a:lnTo>
                  <a:lnTo>
                    <a:pt x="8227" y="2553"/>
                  </a:lnTo>
                  <a:lnTo>
                    <a:pt x="8233" y="2553"/>
                  </a:lnTo>
                  <a:lnTo>
                    <a:pt x="8237" y="2561"/>
                  </a:lnTo>
                  <a:lnTo>
                    <a:pt x="8243" y="2568"/>
                  </a:lnTo>
                  <a:lnTo>
                    <a:pt x="8253" y="2568"/>
                  </a:lnTo>
                  <a:lnTo>
                    <a:pt x="8266" y="2573"/>
                  </a:lnTo>
                  <a:lnTo>
                    <a:pt x="8275" y="2582"/>
                  </a:lnTo>
                  <a:lnTo>
                    <a:pt x="8290" y="2591"/>
                  </a:lnTo>
                  <a:lnTo>
                    <a:pt x="8306" y="2596"/>
                  </a:lnTo>
                  <a:lnTo>
                    <a:pt x="8309" y="2594"/>
                  </a:lnTo>
                  <a:lnTo>
                    <a:pt x="8313" y="2582"/>
                  </a:lnTo>
                  <a:lnTo>
                    <a:pt x="8320" y="2580"/>
                  </a:lnTo>
                  <a:lnTo>
                    <a:pt x="8334" y="2558"/>
                  </a:lnTo>
                  <a:lnTo>
                    <a:pt x="8338" y="2545"/>
                  </a:lnTo>
                  <a:lnTo>
                    <a:pt x="8334" y="2535"/>
                  </a:lnTo>
                  <a:lnTo>
                    <a:pt x="8324" y="2526"/>
                  </a:lnTo>
                  <a:lnTo>
                    <a:pt x="8311" y="2521"/>
                  </a:lnTo>
                  <a:lnTo>
                    <a:pt x="8308" y="2518"/>
                  </a:lnTo>
                  <a:lnTo>
                    <a:pt x="8307" y="2512"/>
                  </a:lnTo>
                  <a:lnTo>
                    <a:pt x="8309" y="2512"/>
                  </a:lnTo>
                  <a:lnTo>
                    <a:pt x="8316" y="2509"/>
                  </a:lnTo>
                  <a:lnTo>
                    <a:pt x="8327" y="2510"/>
                  </a:lnTo>
                  <a:lnTo>
                    <a:pt x="8332" y="2507"/>
                  </a:lnTo>
                  <a:lnTo>
                    <a:pt x="8324" y="2491"/>
                  </a:lnTo>
                  <a:lnTo>
                    <a:pt x="8317" y="2491"/>
                  </a:lnTo>
                  <a:lnTo>
                    <a:pt x="8308" y="2478"/>
                  </a:lnTo>
                  <a:lnTo>
                    <a:pt x="8301" y="2464"/>
                  </a:lnTo>
                  <a:lnTo>
                    <a:pt x="8297" y="2443"/>
                  </a:lnTo>
                  <a:lnTo>
                    <a:pt x="8295" y="2435"/>
                  </a:lnTo>
                  <a:lnTo>
                    <a:pt x="8291" y="2396"/>
                  </a:lnTo>
                  <a:lnTo>
                    <a:pt x="8280" y="2402"/>
                  </a:lnTo>
                  <a:lnTo>
                    <a:pt x="8271" y="2390"/>
                  </a:lnTo>
                  <a:lnTo>
                    <a:pt x="8270" y="2384"/>
                  </a:lnTo>
                  <a:lnTo>
                    <a:pt x="8280" y="2381"/>
                  </a:lnTo>
                  <a:lnTo>
                    <a:pt x="8284" y="2384"/>
                  </a:lnTo>
                  <a:lnTo>
                    <a:pt x="8280" y="2369"/>
                  </a:lnTo>
                  <a:lnTo>
                    <a:pt x="8273" y="2347"/>
                  </a:lnTo>
                  <a:lnTo>
                    <a:pt x="8266" y="2359"/>
                  </a:lnTo>
                  <a:lnTo>
                    <a:pt x="8260" y="2363"/>
                  </a:lnTo>
                  <a:lnTo>
                    <a:pt x="8249" y="2358"/>
                  </a:lnTo>
                  <a:lnTo>
                    <a:pt x="8242" y="2349"/>
                  </a:lnTo>
                  <a:lnTo>
                    <a:pt x="8231" y="2346"/>
                  </a:lnTo>
                  <a:lnTo>
                    <a:pt x="8222" y="2335"/>
                  </a:lnTo>
                  <a:lnTo>
                    <a:pt x="8221" y="2321"/>
                  </a:lnTo>
                  <a:lnTo>
                    <a:pt x="8221" y="2311"/>
                  </a:lnTo>
                  <a:lnTo>
                    <a:pt x="8222" y="2300"/>
                  </a:lnTo>
                  <a:lnTo>
                    <a:pt x="8230" y="2292"/>
                  </a:lnTo>
                  <a:lnTo>
                    <a:pt x="8239" y="2300"/>
                  </a:lnTo>
                  <a:lnTo>
                    <a:pt x="8258" y="2305"/>
                  </a:lnTo>
                  <a:lnTo>
                    <a:pt x="8268" y="2298"/>
                  </a:lnTo>
                  <a:lnTo>
                    <a:pt x="8266" y="2302"/>
                  </a:lnTo>
                  <a:lnTo>
                    <a:pt x="8271" y="2309"/>
                  </a:lnTo>
                  <a:lnTo>
                    <a:pt x="8289" y="2305"/>
                  </a:lnTo>
                  <a:lnTo>
                    <a:pt x="8285" y="2314"/>
                  </a:lnTo>
                  <a:lnTo>
                    <a:pt x="8286" y="2319"/>
                  </a:lnTo>
                  <a:lnTo>
                    <a:pt x="8298" y="2310"/>
                  </a:lnTo>
                  <a:lnTo>
                    <a:pt x="8306" y="2299"/>
                  </a:lnTo>
                  <a:lnTo>
                    <a:pt x="8320" y="2292"/>
                  </a:lnTo>
                  <a:lnTo>
                    <a:pt x="8335" y="2288"/>
                  </a:lnTo>
                  <a:lnTo>
                    <a:pt x="8355" y="2263"/>
                  </a:lnTo>
                  <a:lnTo>
                    <a:pt x="8363" y="2256"/>
                  </a:lnTo>
                  <a:lnTo>
                    <a:pt x="8363" y="2254"/>
                  </a:lnTo>
                  <a:lnTo>
                    <a:pt x="8377" y="2243"/>
                  </a:lnTo>
                  <a:lnTo>
                    <a:pt x="8393" y="2219"/>
                  </a:lnTo>
                  <a:lnTo>
                    <a:pt x="8395" y="2204"/>
                  </a:lnTo>
                  <a:lnTo>
                    <a:pt x="8404" y="2193"/>
                  </a:lnTo>
                  <a:lnTo>
                    <a:pt x="8403" y="2179"/>
                  </a:lnTo>
                  <a:lnTo>
                    <a:pt x="8390" y="2170"/>
                  </a:lnTo>
                  <a:lnTo>
                    <a:pt x="8373" y="2149"/>
                  </a:lnTo>
                  <a:lnTo>
                    <a:pt x="8372" y="2130"/>
                  </a:lnTo>
                  <a:lnTo>
                    <a:pt x="8370" y="2115"/>
                  </a:lnTo>
                  <a:lnTo>
                    <a:pt x="8378" y="2115"/>
                  </a:lnTo>
                  <a:lnTo>
                    <a:pt x="8384" y="2111"/>
                  </a:lnTo>
                  <a:lnTo>
                    <a:pt x="8389" y="2119"/>
                  </a:lnTo>
                  <a:lnTo>
                    <a:pt x="8402" y="2112"/>
                  </a:lnTo>
                  <a:lnTo>
                    <a:pt x="8400" y="2088"/>
                  </a:lnTo>
                  <a:lnTo>
                    <a:pt x="8408" y="2095"/>
                  </a:lnTo>
                  <a:lnTo>
                    <a:pt x="8410" y="2085"/>
                  </a:lnTo>
                  <a:lnTo>
                    <a:pt x="8413" y="2096"/>
                  </a:lnTo>
                  <a:lnTo>
                    <a:pt x="8424" y="2110"/>
                  </a:lnTo>
                  <a:lnTo>
                    <a:pt x="8431" y="2107"/>
                  </a:lnTo>
                  <a:lnTo>
                    <a:pt x="8437" y="2095"/>
                  </a:lnTo>
                  <a:lnTo>
                    <a:pt x="8440" y="2085"/>
                  </a:lnTo>
                  <a:lnTo>
                    <a:pt x="8446" y="2084"/>
                  </a:lnTo>
                  <a:lnTo>
                    <a:pt x="8447" y="2087"/>
                  </a:lnTo>
                  <a:lnTo>
                    <a:pt x="8443" y="2106"/>
                  </a:lnTo>
                  <a:lnTo>
                    <a:pt x="8445" y="2120"/>
                  </a:lnTo>
                  <a:lnTo>
                    <a:pt x="8436" y="2126"/>
                  </a:lnTo>
                  <a:lnTo>
                    <a:pt x="8430" y="2126"/>
                  </a:lnTo>
                  <a:lnTo>
                    <a:pt x="8422" y="2123"/>
                  </a:lnTo>
                  <a:lnTo>
                    <a:pt x="8427" y="2137"/>
                  </a:lnTo>
                  <a:lnTo>
                    <a:pt x="8432" y="2147"/>
                  </a:lnTo>
                  <a:lnTo>
                    <a:pt x="8437" y="2158"/>
                  </a:lnTo>
                  <a:lnTo>
                    <a:pt x="8443" y="2159"/>
                  </a:lnTo>
                  <a:lnTo>
                    <a:pt x="8448" y="2173"/>
                  </a:lnTo>
                  <a:lnTo>
                    <a:pt x="8448" y="2190"/>
                  </a:lnTo>
                  <a:lnTo>
                    <a:pt x="8459" y="2195"/>
                  </a:lnTo>
                  <a:lnTo>
                    <a:pt x="8473" y="2195"/>
                  </a:lnTo>
                  <a:lnTo>
                    <a:pt x="8491" y="2200"/>
                  </a:lnTo>
                  <a:lnTo>
                    <a:pt x="8511" y="2193"/>
                  </a:lnTo>
                  <a:lnTo>
                    <a:pt x="8516" y="2185"/>
                  </a:lnTo>
                  <a:lnTo>
                    <a:pt x="8526" y="2184"/>
                  </a:lnTo>
                  <a:lnTo>
                    <a:pt x="8546" y="2187"/>
                  </a:lnTo>
                  <a:lnTo>
                    <a:pt x="8556" y="2185"/>
                  </a:lnTo>
                  <a:lnTo>
                    <a:pt x="8564" y="2192"/>
                  </a:lnTo>
                  <a:lnTo>
                    <a:pt x="8569" y="2200"/>
                  </a:lnTo>
                  <a:lnTo>
                    <a:pt x="8578" y="2200"/>
                  </a:lnTo>
                  <a:lnTo>
                    <a:pt x="8589" y="2204"/>
                  </a:lnTo>
                  <a:lnTo>
                    <a:pt x="8588" y="2222"/>
                  </a:lnTo>
                  <a:lnTo>
                    <a:pt x="8593" y="2233"/>
                  </a:lnTo>
                  <a:lnTo>
                    <a:pt x="8593" y="2247"/>
                  </a:lnTo>
                  <a:lnTo>
                    <a:pt x="8591" y="2259"/>
                  </a:lnTo>
                  <a:lnTo>
                    <a:pt x="8613" y="2278"/>
                  </a:lnTo>
                  <a:lnTo>
                    <a:pt x="8618" y="2286"/>
                  </a:lnTo>
                  <a:lnTo>
                    <a:pt x="8619" y="2293"/>
                  </a:lnTo>
                  <a:lnTo>
                    <a:pt x="8630" y="2294"/>
                  </a:lnTo>
                  <a:lnTo>
                    <a:pt x="8640" y="2299"/>
                  </a:lnTo>
                  <a:lnTo>
                    <a:pt x="8645" y="2298"/>
                  </a:lnTo>
                  <a:lnTo>
                    <a:pt x="8637" y="2292"/>
                  </a:lnTo>
                  <a:lnTo>
                    <a:pt x="8644" y="2281"/>
                  </a:lnTo>
                  <a:lnTo>
                    <a:pt x="8646" y="2287"/>
                  </a:lnTo>
                  <a:lnTo>
                    <a:pt x="8656" y="2288"/>
                  </a:lnTo>
                  <a:lnTo>
                    <a:pt x="8656" y="2272"/>
                  </a:lnTo>
                  <a:lnTo>
                    <a:pt x="8660" y="2266"/>
                  </a:lnTo>
                  <a:lnTo>
                    <a:pt x="8661" y="2270"/>
                  </a:lnTo>
                  <a:lnTo>
                    <a:pt x="8660" y="2286"/>
                  </a:lnTo>
                  <a:lnTo>
                    <a:pt x="8652" y="2295"/>
                  </a:lnTo>
                  <a:lnTo>
                    <a:pt x="8668" y="2309"/>
                  </a:lnTo>
                  <a:lnTo>
                    <a:pt x="8678" y="2309"/>
                  </a:lnTo>
                  <a:lnTo>
                    <a:pt x="8684" y="2313"/>
                  </a:lnTo>
                  <a:lnTo>
                    <a:pt x="8682" y="2319"/>
                  </a:lnTo>
                  <a:lnTo>
                    <a:pt x="8693" y="2329"/>
                  </a:lnTo>
                  <a:lnTo>
                    <a:pt x="8693" y="2340"/>
                  </a:lnTo>
                  <a:lnTo>
                    <a:pt x="8705" y="2340"/>
                  </a:lnTo>
                  <a:lnTo>
                    <a:pt x="8709" y="2330"/>
                  </a:lnTo>
                  <a:lnTo>
                    <a:pt x="8707" y="2345"/>
                  </a:lnTo>
                  <a:lnTo>
                    <a:pt x="8718" y="2348"/>
                  </a:lnTo>
                  <a:lnTo>
                    <a:pt x="8727" y="2343"/>
                  </a:lnTo>
                  <a:lnTo>
                    <a:pt x="8731" y="2331"/>
                  </a:lnTo>
                  <a:lnTo>
                    <a:pt x="8732" y="2317"/>
                  </a:lnTo>
                  <a:lnTo>
                    <a:pt x="8737" y="2324"/>
                  </a:lnTo>
                  <a:lnTo>
                    <a:pt x="8736" y="2332"/>
                  </a:lnTo>
                  <a:lnTo>
                    <a:pt x="8728" y="2351"/>
                  </a:lnTo>
                  <a:lnTo>
                    <a:pt x="8736" y="2358"/>
                  </a:lnTo>
                  <a:lnTo>
                    <a:pt x="8744" y="2360"/>
                  </a:lnTo>
                  <a:lnTo>
                    <a:pt x="8749" y="2359"/>
                  </a:lnTo>
                  <a:lnTo>
                    <a:pt x="8757" y="2352"/>
                  </a:lnTo>
                  <a:lnTo>
                    <a:pt x="8757" y="2335"/>
                  </a:lnTo>
                  <a:lnTo>
                    <a:pt x="8747" y="2333"/>
                  </a:lnTo>
                  <a:lnTo>
                    <a:pt x="8746" y="2329"/>
                  </a:lnTo>
                  <a:lnTo>
                    <a:pt x="8755" y="2326"/>
                  </a:lnTo>
                  <a:lnTo>
                    <a:pt x="8764" y="2331"/>
                  </a:lnTo>
                  <a:lnTo>
                    <a:pt x="8773" y="2341"/>
                  </a:lnTo>
                  <a:lnTo>
                    <a:pt x="8785" y="2337"/>
                  </a:lnTo>
                  <a:lnTo>
                    <a:pt x="8776" y="2319"/>
                  </a:lnTo>
                  <a:lnTo>
                    <a:pt x="8776" y="2315"/>
                  </a:lnTo>
                  <a:lnTo>
                    <a:pt x="8770" y="2309"/>
                  </a:lnTo>
                  <a:lnTo>
                    <a:pt x="8758" y="2311"/>
                  </a:lnTo>
                  <a:lnTo>
                    <a:pt x="8758" y="2309"/>
                  </a:lnTo>
                  <a:lnTo>
                    <a:pt x="8752" y="2305"/>
                  </a:lnTo>
                  <a:lnTo>
                    <a:pt x="8750" y="2300"/>
                  </a:lnTo>
                  <a:lnTo>
                    <a:pt x="8761" y="2299"/>
                  </a:lnTo>
                  <a:lnTo>
                    <a:pt x="8764" y="2293"/>
                  </a:lnTo>
                  <a:lnTo>
                    <a:pt x="8758" y="2287"/>
                  </a:lnTo>
                  <a:lnTo>
                    <a:pt x="8744" y="2290"/>
                  </a:lnTo>
                  <a:lnTo>
                    <a:pt x="8753" y="2283"/>
                  </a:lnTo>
                  <a:lnTo>
                    <a:pt x="8765" y="2283"/>
                  </a:lnTo>
                  <a:lnTo>
                    <a:pt x="8770" y="2278"/>
                  </a:lnTo>
                  <a:lnTo>
                    <a:pt x="8769" y="2270"/>
                  </a:lnTo>
                  <a:lnTo>
                    <a:pt x="8779" y="2276"/>
                  </a:lnTo>
                  <a:lnTo>
                    <a:pt x="8801" y="2256"/>
                  </a:lnTo>
                  <a:lnTo>
                    <a:pt x="8796" y="2249"/>
                  </a:lnTo>
                  <a:lnTo>
                    <a:pt x="8790" y="2236"/>
                  </a:lnTo>
                  <a:lnTo>
                    <a:pt x="8780" y="2238"/>
                  </a:lnTo>
                  <a:lnTo>
                    <a:pt x="8769" y="2233"/>
                  </a:lnTo>
                  <a:lnTo>
                    <a:pt x="8795" y="2232"/>
                  </a:lnTo>
                  <a:lnTo>
                    <a:pt x="8792" y="2220"/>
                  </a:lnTo>
                  <a:lnTo>
                    <a:pt x="8796" y="2209"/>
                  </a:lnTo>
                  <a:lnTo>
                    <a:pt x="8811" y="2197"/>
                  </a:lnTo>
                  <a:lnTo>
                    <a:pt x="8824" y="2195"/>
                  </a:lnTo>
                  <a:lnTo>
                    <a:pt x="8841" y="2201"/>
                  </a:lnTo>
                  <a:lnTo>
                    <a:pt x="8852" y="2201"/>
                  </a:lnTo>
                  <a:lnTo>
                    <a:pt x="8857" y="2195"/>
                  </a:lnTo>
                  <a:lnTo>
                    <a:pt x="8854" y="2186"/>
                  </a:lnTo>
                  <a:lnTo>
                    <a:pt x="8839" y="2176"/>
                  </a:lnTo>
                  <a:lnTo>
                    <a:pt x="8835" y="2160"/>
                  </a:lnTo>
                  <a:lnTo>
                    <a:pt x="8840" y="2153"/>
                  </a:lnTo>
                  <a:lnTo>
                    <a:pt x="8850" y="2166"/>
                  </a:lnTo>
                  <a:lnTo>
                    <a:pt x="8861" y="2173"/>
                  </a:lnTo>
                  <a:lnTo>
                    <a:pt x="8867" y="2182"/>
                  </a:lnTo>
                  <a:lnTo>
                    <a:pt x="8881" y="2184"/>
                  </a:lnTo>
                  <a:lnTo>
                    <a:pt x="8883" y="2174"/>
                  </a:lnTo>
                  <a:lnTo>
                    <a:pt x="8882" y="2164"/>
                  </a:lnTo>
                  <a:lnTo>
                    <a:pt x="8886" y="2142"/>
                  </a:lnTo>
                  <a:lnTo>
                    <a:pt x="8898" y="2137"/>
                  </a:lnTo>
                  <a:lnTo>
                    <a:pt x="8906" y="2126"/>
                  </a:lnTo>
                  <a:lnTo>
                    <a:pt x="8916" y="2125"/>
                  </a:lnTo>
                  <a:lnTo>
                    <a:pt x="8926" y="2127"/>
                  </a:lnTo>
                  <a:lnTo>
                    <a:pt x="8931" y="2116"/>
                  </a:lnTo>
                  <a:lnTo>
                    <a:pt x="8921" y="2114"/>
                  </a:lnTo>
                  <a:lnTo>
                    <a:pt x="8917" y="2116"/>
                  </a:lnTo>
                  <a:lnTo>
                    <a:pt x="8909" y="2110"/>
                  </a:lnTo>
                  <a:lnTo>
                    <a:pt x="8902" y="2109"/>
                  </a:lnTo>
                  <a:lnTo>
                    <a:pt x="8904" y="2101"/>
                  </a:lnTo>
                  <a:lnTo>
                    <a:pt x="8895" y="2091"/>
                  </a:lnTo>
                  <a:lnTo>
                    <a:pt x="8883" y="2104"/>
                  </a:lnTo>
                  <a:lnTo>
                    <a:pt x="8878" y="2098"/>
                  </a:lnTo>
                  <a:lnTo>
                    <a:pt x="8886" y="2093"/>
                  </a:lnTo>
                  <a:lnTo>
                    <a:pt x="8886" y="2089"/>
                  </a:lnTo>
                  <a:lnTo>
                    <a:pt x="8874" y="2078"/>
                  </a:lnTo>
                  <a:lnTo>
                    <a:pt x="8862" y="2071"/>
                  </a:lnTo>
                  <a:lnTo>
                    <a:pt x="8856" y="2058"/>
                  </a:lnTo>
                  <a:lnTo>
                    <a:pt x="8841" y="2046"/>
                  </a:lnTo>
                  <a:lnTo>
                    <a:pt x="8834" y="2035"/>
                  </a:lnTo>
                  <a:lnTo>
                    <a:pt x="8834" y="2026"/>
                  </a:lnTo>
                  <a:lnTo>
                    <a:pt x="8823" y="2020"/>
                  </a:lnTo>
                  <a:lnTo>
                    <a:pt x="8819" y="2013"/>
                  </a:lnTo>
                  <a:lnTo>
                    <a:pt x="8817" y="2002"/>
                  </a:lnTo>
                  <a:lnTo>
                    <a:pt x="8769" y="1992"/>
                  </a:lnTo>
                  <a:lnTo>
                    <a:pt x="8759" y="1996"/>
                  </a:lnTo>
                  <a:lnTo>
                    <a:pt x="8781" y="2002"/>
                  </a:lnTo>
                  <a:lnTo>
                    <a:pt x="8777" y="2009"/>
                  </a:lnTo>
                  <a:lnTo>
                    <a:pt x="8766" y="2010"/>
                  </a:lnTo>
                  <a:lnTo>
                    <a:pt x="8755" y="2008"/>
                  </a:lnTo>
                  <a:lnTo>
                    <a:pt x="8737" y="1997"/>
                  </a:lnTo>
                  <a:lnTo>
                    <a:pt x="8741" y="2010"/>
                  </a:lnTo>
                  <a:lnTo>
                    <a:pt x="8737" y="2019"/>
                  </a:lnTo>
                  <a:lnTo>
                    <a:pt x="8732" y="2019"/>
                  </a:lnTo>
                  <a:lnTo>
                    <a:pt x="8728" y="2009"/>
                  </a:lnTo>
                  <a:lnTo>
                    <a:pt x="8723" y="2002"/>
                  </a:lnTo>
                  <a:lnTo>
                    <a:pt x="8726" y="1992"/>
                  </a:lnTo>
                  <a:lnTo>
                    <a:pt x="8734" y="1990"/>
                  </a:lnTo>
                  <a:lnTo>
                    <a:pt x="8723" y="1983"/>
                  </a:lnTo>
                  <a:lnTo>
                    <a:pt x="8717" y="1983"/>
                  </a:lnTo>
                  <a:lnTo>
                    <a:pt x="8715" y="1977"/>
                  </a:lnTo>
                  <a:lnTo>
                    <a:pt x="8707" y="1975"/>
                  </a:lnTo>
                  <a:lnTo>
                    <a:pt x="8709" y="1982"/>
                  </a:lnTo>
                  <a:lnTo>
                    <a:pt x="8704" y="1993"/>
                  </a:lnTo>
                  <a:lnTo>
                    <a:pt x="8700" y="1991"/>
                  </a:lnTo>
                  <a:lnTo>
                    <a:pt x="8698" y="1985"/>
                  </a:lnTo>
                  <a:lnTo>
                    <a:pt x="8685" y="1981"/>
                  </a:lnTo>
                  <a:lnTo>
                    <a:pt x="8674" y="1982"/>
                  </a:lnTo>
                  <a:lnTo>
                    <a:pt x="8663" y="1987"/>
                  </a:lnTo>
                  <a:lnTo>
                    <a:pt x="8668" y="1994"/>
                  </a:lnTo>
                  <a:lnTo>
                    <a:pt x="8671" y="1987"/>
                  </a:lnTo>
                  <a:lnTo>
                    <a:pt x="8683" y="1983"/>
                  </a:lnTo>
                  <a:lnTo>
                    <a:pt x="8684" y="1988"/>
                  </a:lnTo>
                  <a:lnTo>
                    <a:pt x="8677" y="1992"/>
                  </a:lnTo>
                  <a:lnTo>
                    <a:pt x="8690" y="1997"/>
                  </a:lnTo>
                  <a:lnTo>
                    <a:pt x="8690" y="2023"/>
                  </a:lnTo>
                  <a:lnTo>
                    <a:pt x="8685" y="2046"/>
                  </a:lnTo>
                  <a:lnTo>
                    <a:pt x="8693" y="2048"/>
                  </a:lnTo>
                  <a:lnTo>
                    <a:pt x="8696" y="2044"/>
                  </a:lnTo>
                  <a:lnTo>
                    <a:pt x="8700" y="2047"/>
                  </a:lnTo>
                  <a:lnTo>
                    <a:pt x="8706" y="2060"/>
                  </a:lnTo>
                  <a:lnTo>
                    <a:pt x="8706" y="2069"/>
                  </a:lnTo>
                  <a:lnTo>
                    <a:pt x="8704" y="2079"/>
                  </a:lnTo>
                  <a:lnTo>
                    <a:pt x="8696" y="2080"/>
                  </a:lnTo>
                  <a:lnTo>
                    <a:pt x="8693" y="2088"/>
                  </a:lnTo>
                  <a:lnTo>
                    <a:pt x="8693" y="2080"/>
                  </a:lnTo>
                  <a:lnTo>
                    <a:pt x="8695" y="2076"/>
                  </a:lnTo>
                  <a:lnTo>
                    <a:pt x="8695" y="2061"/>
                  </a:lnTo>
                  <a:lnTo>
                    <a:pt x="8683" y="2056"/>
                  </a:lnTo>
                  <a:lnTo>
                    <a:pt x="8673" y="2057"/>
                  </a:lnTo>
                  <a:lnTo>
                    <a:pt x="8671" y="2047"/>
                  </a:lnTo>
                  <a:lnTo>
                    <a:pt x="8672" y="2041"/>
                  </a:lnTo>
                  <a:lnTo>
                    <a:pt x="8660" y="2034"/>
                  </a:lnTo>
                  <a:lnTo>
                    <a:pt x="8655" y="2025"/>
                  </a:lnTo>
                  <a:lnTo>
                    <a:pt x="8657" y="2013"/>
                  </a:lnTo>
                  <a:lnTo>
                    <a:pt x="8656" y="2002"/>
                  </a:lnTo>
                  <a:lnTo>
                    <a:pt x="8650" y="1987"/>
                  </a:lnTo>
                  <a:lnTo>
                    <a:pt x="8647" y="1971"/>
                  </a:lnTo>
                  <a:lnTo>
                    <a:pt x="8642" y="1949"/>
                  </a:lnTo>
                  <a:lnTo>
                    <a:pt x="8637" y="1940"/>
                  </a:lnTo>
                  <a:lnTo>
                    <a:pt x="8640" y="1932"/>
                  </a:lnTo>
                  <a:lnTo>
                    <a:pt x="8647" y="1940"/>
                  </a:lnTo>
                  <a:lnTo>
                    <a:pt x="8648" y="1951"/>
                  </a:lnTo>
                  <a:lnTo>
                    <a:pt x="8651" y="1947"/>
                  </a:lnTo>
                  <a:lnTo>
                    <a:pt x="8647" y="1938"/>
                  </a:lnTo>
                  <a:lnTo>
                    <a:pt x="8623" y="1920"/>
                  </a:lnTo>
                  <a:lnTo>
                    <a:pt x="8619" y="1906"/>
                  </a:lnTo>
                  <a:lnTo>
                    <a:pt x="8618" y="1897"/>
                  </a:lnTo>
                  <a:lnTo>
                    <a:pt x="8592" y="1884"/>
                  </a:lnTo>
                  <a:lnTo>
                    <a:pt x="8588" y="1886"/>
                  </a:lnTo>
                  <a:lnTo>
                    <a:pt x="8592" y="1897"/>
                  </a:lnTo>
                  <a:lnTo>
                    <a:pt x="8599" y="1910"/>
                  </a:lnTo>
                  <a:lnTo>
                    <a:pt x="8605" y="1916"/>
                  </a:lnTo>
                  <a:lnTo>
                    <a:pt x="8610" y="1916"/>
                  </a:lnTo>
                  <a:lnTo>
                    <a:pt x="8615" y="1923"/>
                  </a:lnTo>
                  <a:lnTo>
                    <a:pt x="8617" y="1932"/>
                  </a:lnTo>
                  <a:lnTo>
                    <a:pt x="8608" y="1928"/>
                  </a:lnTo>
                  <a:lnTo>
                    <a:pt x="8578" y="1906"/>
                  </a:lnTo>
                  <a:lnTo>
                    <a:pt x="8569" y="1904"/>
                  </a:lnTo>
                  <a:lnTo>
                    <a:pt x="8559" y="1897"/>
                  </a:lnTo>
                  <a:lnTo>
                    <a:pt x="8564" y="1891"/>
                  </a:lnTo>
                  <a:lnTo>
                    <a:pt x="8574" y="1889"/>
                  </a:lnTo>
                  <a:lnTo>
                    <a:pt x="8575" y="1879"/>
                  </a:lnTo>
                  <a:lnTo>
                    <a:pt x="8577" y="1874"/>
                  </a:lnTo>
                  <a:lnTo>
                    <a:pt x="8556" y="1869"/>
                  </a:lnTo>
                  <a:lnTo>
                    <a:pt x="8545" y="1869"/>
                  </a:lnTo>
                  <a:lnTo>
                    <a:pt x="8538" y="1863"/>
                  </a:lnTo>
                  <a:lnTo>
                    <a:pt x="8527" y="1859"/>
                  </a:lnTo>
                  <a:lnTo>
                    <a:pt x="8532" y="1852"/>
                  </a:lnTo>
                  <a:lnTo>
                    <a:pt x="8537" y="1851"/>
                  </a:lnTo>
                  <a:lnTo>
                    <a:pt x="8534" y="1845"/>
                  </a:lnTo>
                  <a:lnTo>
                    <a:pt x="8532" y="1836"/>
                  </a:lnTo>
                  <a:lnTo>
                    <a:pt x="8515" y="1836"/>
                  </a:lnTo>
                  <a:lnTo>
                    <a:pt x="8517" y="1829"/>
                  </a:lnTo>
                  <a:lnTo>
                    <a:pt x="8510" y="1818"/>
                  </a:lnTo>
                  <a:lnTo>
                    <a:pt x="8501" y="1820"/>
                  </a:lnTo>
                  <a:lnTo>
                    <a:pt x="8501" y="1816"/>
                  </a:lnTo>
                  <a:lnTo>
                    <a:pt x="8489" y="1808"/>
                  </a:lnTo>
                  <a:lnTo>
                    <a:pt x="8470" y="1816"/>
                  </a:lnTo>
                  <a:lnTo>
                    <a:pt x="8469" y="1810"/>
                  </a:lnTo>
                  <a:lnTo>
                    <a:pt x="8472" y="1802"/>
                  </a:lnTo>
                  <a:lnTo>
                    <a:pt x="8470" y="1795"/>
                  </a:lnTo>
                  <a:lnTo>
                    <a:pt x="8465" y="1787"/>
                  </a:lnTo>
                  <a:lnTo>
                    <a:pt x="8453" y="1776"/>
                  </a:lnTo>
                  <a:lnTo>
                    <a:pt x="8463" y="1789"/>
                  </a:lnTo>
                  <a:lnTo>
                    <a:pt x="8448" y="1782"/>
                  </a:lnTo>
                  <a:lnTo>
                    <a:pt x="8442" y="1782"/>
                  </a:lnTo>
                  <a:lnTo>
                    <a:pt x="8433" y="1773"/>
                  </a:lnTo>
                  <a:lnTo>
                    <a:pt x="8431" y="1752"/>
                  </a:lnTo>
                  <a:lnTo>
                    <a:pt x="8425" y="1740"/>
                  </a:lnTo>
                  <a:lnTo>
                    <a:pt x="8419" y="1740"/>
                  </a:lnTo>
                  <a:lnTo>
                    <a:pt x="8394" y="1729"/>
                  </a:lnTo>
                  <a:lnTo>
                    <a:pt x="8387" y="1721"/>
                  </a:lnTo>
                  <a:lnTo>
                    <a:pt x="8375" y="1722"/>
                  </a:lnTo>
                  <a:lnTo>
                    <a:pt x="8363" y="1716"/>
                  </a:lnTo>
                  <a:lnTo>
                    <a:pt x="8317" y="1666"/>
                  </a:lnTo>
                  <a:lnTo>
                    <a:pt x="8295" y="1652"/>
                  </a:lnTo>
                  <a:lnTo>
                    <a:pt x="8282" y="1648"/>
                  </a:lnTo>
                  <a:lnTo>
                    <a:pt x="8276" y="1637"/>
                  </a:lnTo>
                  <a:lnTo>
                    <a:pt x="8271" y="1641"/>
                  </a:lnTo>
                  <a:lnTo>
                    <a:pt x="8234" y="1622"/>
                  </a:lnTo>
                  <a:lnTo>
                    <a:pt x="8220" y="1606"/>
                  </a:lnTo>
                  <a:lnTo>
                    <a:pt x="8212" y="1609"/>
                  </a:lnTo>
                  <a:lnTo>
                    <a:pt x="8191" y="1599"/>
                  </a:lnTo>
                  <a:lnTo>
                    <a:pt x="8179" y="1598"/>
                  </a:lnTo>
                  <a:lnTo>
                    <a:pt x="8150" y="1569"/>
                  </a:lnTo>
                  <a:lnTo>
                    <a:pt x="8137" y="1567"/>
                  </a:lnTo>
                  <a:lnTo>
                    <a:pt x="8086" y="1566"/>
                  </a:lnTo>
                  <a:lnTo>
                    <a:pt x="8081" y="1571"/>
                  </a:lnTo>
                  <a:lnTo>
                    <a:pt x="8066" y="1574"/>
                  </a:lnTo>
                  <a:lnTo>
                    <a:pt x="8056" y="1568"/>
                  </a:lnTo>
                  <a:lnTo>
                    <a:pt x="8042" y="1563"/>
                  </a:lnTo>
                  <a:lnTo>
                    <a:pt x="8028" y="1567"/>
                  </a:lnTo>
                  <a:lnTo>
                    <a:pt x="8005" y="1565"/>
                  </a:lnTo>
                  <a:lnTo>
                    <a:pt x="7992" y="1571"/>
                  </a:lnTo>
                  <a:lnTo>
                    <a:pt x="7978" y="1568"/>
                  </a:lnTo>
                  <a:lnTo>
                    <a:pt x="7952" y="1553"/>
                  </a:lnTo>
                  <a:lnTo>
                    <a:pt x="7945" y="1556"/>
                  </a:lnTo>
                  <a:lnTo>
                    <a:pt x="7877" y="1539"/>
                  </a:lnTo>
                  <a:lnTo>
                    <a:pt x="7850" y="1539"/>
                  </a:lnTo>
                  <a:lnTo>
                    <a:pt x="7840" y="1545"/>
                  </a:lnTo>
                  <a:lnTo>
                    <a:pt x="7839" y="1557"/>
                  </a:lnTo>
                  <a:lnTo>
                    <a:pt x="7843" y="1567"/>
                  </a:lnTo>
                  <a:lnTo>
                    <a:pt x="7841" y="1589"/>
                  </a:lnTo>
                  <a:lnTo>
                    <a:pt x="7824" y="1595"/>
                  </a:lnTo>
                  <a:lnTo>
                    <a:pt x="7819" y="1608"/>
                  </a:lnTo>
                  <a:lnTo>
                    <a:pt x="7849" y="1615"/>
                  </a:lnTo>
                  <a:lnTo>
                    <a:pt x="7860" y="1651"/>
                  </a:lnTo>
                  <a:lnTo>
                    <a:pt x="7866" y="1657"/>
                  </a:lnTo>
                  <a:lnTo>
                    <a:pt x="7866" y="1666"/>
                  </a:lnTo>
                  <a:lnTo>
                    <a:pt x="7871" y="1689"/>
                  </a:lnTo>
                  <a:lnTo>
                    <a:pt x="7840" y="1725"/>
                  </a:lnTo>
                  <a:lnTo>
                    <a:pt x="7820" y="1739"/>
                  </a:lnTo>
                  <a:lnTo>
                    <a:pt x="7797" y="1738"/>
                  </a:lnTo>
                  <a:lnTo>
                    <a:pt x="7790" y="1733"/>
                  </a:lnTo>
                  <a:lnTo>
                    <a:pt x="7782" y="1711"/>
                  </a:lnTo>
                  <a:lnTo>
                    <a:pt x="7777" y="1700"/>
                  </a:lnTo>
                  <a:lnTo>
                    <a:pt x="7762" y="1690"/>
                  </a:lnTo>
                  <a:lnTo>
                    <a:pt x="7760" y="1684"/>
                  </a:lnTo>
                  <a:lnTo>
                    <a:pt x="7750" y="1678"/>
                  </a:lnTo>
                  <a:lnTo>
                    <a:pt x="7727" y="1675"/>
                  </a:lnTo>
                  <a:lnTo>
                    <a:pt x="7721" y="1670"/>
                  </a:lnTo>
                  <a:lnTo>
                    <a:pt x="7719" y="1663"/>
                  </a:lnTo>
                  <a:lnTo>
                    <a:pt x="7717" y="1655"/>
                  </a:lnTo>
                  <a:lnTo>
                    <a:pt x="7720" y="1625"/>
                  </a:lnTo>
                  <a:lnTo>
                    <a:pt x="7716" y="1614"/>
                  </a:lnTo>
                  <a:lnTo>
                    <a:pt x="7698" y="1608"/>
                  </a:lnTo>
                  <a:lnTo>
                    <a:pt x="7700" y="1598"/>
                  </a:lnTo>
                  <a:lnTo>
                    <a:pt x="7707" y="1595"/>
                  </a:lnTo>
                  <a:lnTo>
                    <a:pt x="7706" y="1590"/>
                  </a:lnTo>
                  <a:lnTo>
                    <a:pt x="7693" y="1582"/>
                  </a:lnTo>
                  <a:lnTo>
                    <a:pt x="7685" y="1584"/>
                  </a:lnTo>
                  <a:lnTo>
                    <a:pt x="7679" y="1590"/>
                  </a:lnTo>
                  <a:lnTo>
                    <a:pt x="7650" y="1627"/>
                  </a:lnTo>
                  <a:lnTo>
                    <a:pt x="7641" y="1628"/>
                  </a:lnTo>
                  <a:lnTo>
                    <a:pt x="7635" y="1626"/>
                  </a:lnTo>
                  <a:lnTo>
                    <a:pt x="7613" y="1626"/>
                  </a:lnTo>
                  <a:lnTo>
                    <a:pt x="7591" y="1614"/>
                  </a:lnTo>
                  <a:lnTo>
                    <a:pt x="7559" y="1610"/>
                  </a:lnTo>
                  <a:lnTo>
                    <a:pt x="7547" y="1614"/>
                  </a:lnTo>
                  <a:lnTo>
                    <a:pt x="7544" y="1617"/>
                  </a:lnTo>
                  <a:lnTo>
                    <a:pt x="7542" y="1614"/>
                  </a:lnTo>
                  <a:lnTo>
                    <a:pt x="7518" y="1616"/>
                  </a:lnTo>
                  <a:lnTo>
                    <a:pt x="7504" y="1606"/>
                  </a:lnTo>
                  <a:lnTo>
                    <a:pt x="7489" y="1582"/>
                  </a:lnTo>
                  <a:lnTo>
                    <a:pt x="7469" y="1594"/>
                  </a:lnTo>
                  <a:lnTo>
                    <a:pt x="7438" y="1590"/>
                  </a:lnTo>
                  <a:lnTo>
                    <a:pt x="7420" y="1600"/>
                  </a:lnTo>
                  <a:lnTo>
                    <a:pt x="7405" y="1594"/>
                  </a:lnTo>
                  <a:lnTo>
                    <a:pt x="7398" y="1594"/>
                  </a:lnTo>
                  <a:lnTo>
                    <a:pt x="7393" y="1599"/>
                  </a:lnTo>
                  <a:lnTo>
                    <a:pt x="7389" y="1606"/>
                  </a:lnTo>
                  <a:lnTo>
                    <a:pt x="7382" y="1606"/>
                  </a:lnTo>
                  <a:lnTo>
                    <a:pt x="7378" y="1623"/>
                  </a:lnTo>
                  <a:lnTo>
                    <a:pt x="7362" y="1622"/>
                  </a:lnTo>
                  <a:lnTo>
                    <a:pt x="7356" y="1635"/>
                  </a:lnTo>
                  <a:lnTo>
                    <a:pt x="7346" y="1646"/>
                  </a:lnTo>
                  <a:lnTo>
                    <a:pt x="7338" y="1643"/>
                  </a:lnTo>
                  <a:lnTo>
                    <a:pt x="7339" y="1626"/>
                  </a:lnTo>
                  <a:lnTo>
                    <a:pt x="7336" y="1616"/>
                  </a:lnTo>
                  <a:lnTo>
                    <a:pt x="7327" y="1620"/>
                  </a:lnTo>
                  <a:lnTo>
                    <a:pt x="7322" y="1617"/>
                  </a:lnTo>
                  <a:lnTo>
                    <a:pt x="7314" y="1605"/>
                  </a:lnTo>
                  <a:lnTo>
                    <a:pt x="7306" y="1596"/>
                  </a:lnTo>
                  <a:lnTo>
                    <a:pt x="7293" y="1590"/>
                  </a:lnTo>
                  <a:lnTo>
                    <a:pt x="7284" y="1590"/>
                  </a:lnTo>
                  <a:lnTo>
                    <a:pt x="7273" y="1590"/>
                  </a:lnTo>
                  <a:lnTo>
                    <a:pt x="7268" y="1582"/>
                  </a:lnTo>
                  <a:lnTo>
                    <a:pt x="7250" y="1578"/>
                  </a:lnTo>
                  <a:lnTo>
                    <a:pt x="7250" y="1569"/>
                  </a:lnTo>
                  <a:lnTo>
                    <a:pt x="7270" y="1509"/>
                  </a:lnTo>
                  <a:lnTo>
                    <a:pt x="7270" y="1497"/>
                  </a:lnTo>
                  <a:lnTo>
                    <a:pt x="7268" y="1486"/>
                  </a:lnTo>
                  <a:lnTo>
                    <a:pt x="7268" y="1480"/>
                  </a:lnTo>
                  <a:lnTo>
                    <a:pt x="7258" y="1459"/>
                  </a:lnTo>
                  <a:lnTo>
                    <a:pt x="7258" y="1455"/>
                  </a:lnTo>
                  <a:lnTo>
                    <a:pt x="7247" y="1444"/>
                  </a:lnTo>
                  <a:lnTo>
                    <a:pt x="7238" y="1431"/>
                  </a:lnTo>
                  <a:lnTo>
                    <a:pt x="7232" y="1426"/>
                  </a:lnTo>
                  <a:lnTo>
                    <a:pt x="7222" y="1409"/>
                  </a:lnTo>
                  <a:lnTo>
                    <a:pt x="7212" y="1402"/>
                  </a:lnTo>
                  <a:lnTo>
                    <a:pt x="7204" y="1393"/>
                  </a:lnTo>
                  <a:lnTo>
                    <a:pt x="7192" y="1388"/>
                  </a:lnTo>
                  <a:lnTo>
                    <a:pt x="7152" y="1384"/>
                  </a:lnTo>
                  <a:lnTo>
                    <a:pt x="7139" y="1379"/>
                  </a:lnTo>
                  <a:lnTo>
                    <a:pt x="7112" y="1378"/>
                  </a:lnTo>
                  <a:lnTo>
                    <a:pt x="7090" y="1382"/>
                  </a:lnTo>
                  <a:lnTo>
                    <a:pt x="7064" y="1380"/>
                  </a:lnTo>
                  <a:lnTo>
                    <a:pt x="7051" y="1383"/>
                  </a:lnTo>
                  <a:lnTo>
                    <a:pt x="7047" y="1388"/>
                  </a:lnTo>
                  <a:lnTo>
                    <a:pt x="7024" y="1385"/>
                  </a:lnTo>
                  <a:lnTo>
                    <a:pt x="7017" y="1393"/>
                  </a:lnTo>
                  <a:lnTo>
                    <a:pt x="7006" y="1393"/>
                  </a:lnTo>
                  <a:lnTo>
                    <a:pt x="6979" y="1386"/>
                  </a:lnTo>
                  <a:lnTo>
                    <a:pt x="6973" y="1388"/>
                  </a:lnTo>
                  <a:lnTo>
                    <a:pt x="6964" y="1396"/>
                  </a:lnTo>
                  <a:lnTo>
                    <a:pt x="6951" y="1400"/>
                  </a:lnTo>
                  <a:lnTo>
                    <a:pt x="6941" y="1395"/>
                  </a:lnTo>
                  <a:lnTo>
                    <a:pt x="6920" y="1396"/>
                  </a:lnTo>
                  <a:lnTo>
                    <a:pt x="6913" y="1400"/>
                  </a:lnTo>
                  <a:lnTo>
                    <a:pt x="6905" y="1397"/>
                  </a:lnTo>
                  <a:lnTo>
                    <a:pt x="6881" y="1410"/>
                  </a:lnTo>
                  <a:lnTo>
                    <a:pt x="6870" y="1410"/>
                  </a:lnTo>
                  <a:lnTo>
                    <a:pt x="6861" y="1417"/>
                  </a:lnTo>
                  <a:lnTo>
                    <a:pt x="6855" y="1409"/>
                  </a:lnTo>
                  <a:lnTo>
                    <a:pt x="6837" y="1393"/>
                  </a:lnTo>
                  <a:lnTo>
                    <a:pt x="6823" y="1391"/>
                  </a:lnTo>
                  <a:lnTo>
                    <a:pt x="6817" y="1386"/>
                  </a:lnTo>
                  <a:lnTo>
                    <a:pt x="6840" y="1379"/>
                  </a:lnTo>
                  <a:lnTo>
                    <a:pt x="6848" y="1368"/>
                  </a:lnTo>
                  <a:lnTo>
                    <a:pt x="6850" y="1354"/>
                  </a:lnTo>
                  <a:lnTo>
                    <a:pt x="6814" y="1323"/>
                  </a:lnTo>
                  <a:lnTo>
                    <a:pt x="6811" y="1315"/>
                  </a:lnTo>
                  <a:lnTo>
                    <a:pt x="6808" y="1307"/>
                  </a:lnTo>
                  <a:lnTo>
                    <a:pt x="6786" y="1310"/>
                  </a:lnTo>
                  <a:lnTo>
                    <a:pt x="6769" y="1316"/>
                  </a:lnTo>
                  <a:lnTo>
                    <a:pt x="6759" y="1316"/>
                  </a:lnTo>
                  <a:lnTo>
                    <a:pt x="6755" y="1307"/>
                  </a:lnTo>
                  <a:lnTo>
                    <a:pt x="6755" y="1299"/>
                  </a:lnTo>
                  <a:lnTo>
                    <a:pt x="6737" y="1288"/>
                  </a:lnTo>
                  <a:lnTo>
                    <a:pt x="6732" y="1276"/>
                  </a:lnTo>
                  <a:lnTo>
                    <a:pt x="6725" y="1275"/>
                  </a:lnTo>
                  <a:lnTo>
                    <a:pt x="6706" y="1264"/>
                  </a:lnTo>
                  <a:lnTo>
                    <a:pt x="6701" y="1271"/>
                  </a:lnTo>
                  <a:lnTo>
                    <a:pt x="6692" y="1272"/>
                  </a:lnTo>
                  <a:lnTo>
                    <a:pt x="6685" y="1267"/>
                  </a:lnTo>
                  <a:lnTo>
                    <a:pt x="6671" y="1264"/>
                  </a:lnTo>
                  <a:lnTo>
                    <a:pt x="6665" y="1266"/>
                  </a:lnTo>
                  <a:lnTo>
                    <a:pt x="6665" y="1260"/>
                  </a:lnTo>
                  <a:lnTo>
                    <a:pt x="6684" y="1232"/>
                  </a:lnTo>
                  <a:lnTo>
                    <a:pt x="6690" y="1227"/>
                  </a:lnTo>
                  <a:lnTo>
                    <a:pt x="6703" y="1237"/>
                  </a:lnTo>
                  <a:lnTo>
                    <a:pt x="6709" y="1245"/>
                  </a:lnTo>
                  <a:lnTo>
                    <a:pt x="6722" y="1237"/>
                  </a:lnTo>
                  <a:lnTo>
                    <a:pt x="6722" y="1226"/>
                  </a:lnTo>
                  <a:lnTo>
                    <a:pt x="6721" y="1217"/>
                  </a:lnTo>
                  <a:lnTo>
                    <a:pt x="6708" y="1181"/>
                  </a:lnTo>
                  <a:lnTo>
                    <a:pt x="6689" y="1169"/>
                  </a:lnTo>
                  <a:lnTo>
                    <a:pt x="6678" y="1162"/>
                  </a:lnTo>
                  <a:lnTo>
                    <a:pt x="6662" y="1159"/>
                  </a:lnTo>
                  <a:lnTo>
                    <a:pt x="6656" y="1153"/>
                  </a:lnTo>
                  <a:lnTo>
                    <a:pt x="6636" y="1143"/>
                  </a:lnTo>
                  <a:lnTo>
                    <a:pt x="6617" y="1147"/>
                  </a:lnTo>
                  <a:lnTo>
                    <a:pt x="6615" y="1151"/>
                  </a:lnTo>
                  <a:lnTo>
                    <a:pt x="6612" y="1144"/>
                  </a:lnTo>
                  <a:lnTo>
                    <a:pt x="6603" y="1143"/>
                  </a:lnTo>
                  <a:lnTo>
                    <a:pt x="6575" y="1143"/>
                  </a:lnTo>
                  <a:lnTo>
                    <a:pt x="6565" y="1148"/>
                  </a:lnTo>
                  <a:lnTo>
                    <a:pt x="6540" y="1142"/>
                  </a:lnTo>
                  <a:lnTo>
                    <a:pt x="6528" y="1131"/>
                  </a:lnTo>
                  <a:lnTo>
                    <a:pt x="6512" y="1131"/>
                  </a:lnTo>
                  <a:lnTo>
                    <a:pt x="6490" y="1109"/>
                  </a:lnTo>
                  <a:lnTo>
                    <a:pt x="6484" y="1111"/>
                  </a:lnTo>
                  <a:lnTo>
                    <a:pt x="6443" y="1106"/>
                  </a:lnTo>
                  <a:lnTo>
                    <a:pt x="6419" y="1092"/>
                  </a:lnTo>
                  <a:lnTo>
                    <a:pt x="6378" y="1089"/>
                  </a:lnTo>
                  <a:lnTo>
                    <a:pt x="6365" y="1084"/>
                  </a:lnTo>
                  <a:lnTo>
                    <a:pt x="6319" y="1086"/>
                  </a:lnTo>
                  <a:lnTo>
                    <a:pt x="6264" y="1079"/>
                  </a:lnTo>
                  <a:lnTo>
                    <a:pt x="6257" y="1073"/>
                  </a:lnTo>
                  <a:lnTo>
                    <a:pt x="6252" y="1066"/>
                  </a:lnTo>
                  <a:lnTo>
                    <a:pt x="6242" y="1060"/>
                  </a:lnTo>
                  <a:lnTo>
                    <a:pt x="6232" y="1058"/>
                  </a:lnTo>
                  <a:lnTo>
                    <a:pt x="6225" y="1057"/>
                  </a:lnTo>
                  <a:lnTo>
                    <a:pt x="6217" y="1068"/>
                  </a:lnTo>
                  <a:lnTo>
                    <a:pt x="6216" y="1074"/>
                  </a:lnTo>
                  <a:lnTo>
                    <a:pt x="6226" y="1084"/>
                  </a:lnTo>
                  <a:lnTo>
                    <a:pt x="6227" y="1093"/>
                  </a:lnTo>
                  <a:lnTo>
                    <a:pt x="6235" y="1105"/>
                  </a:lnTo>
                  <a:lnTo>
                    <a:pt x="6227" y="1109"/>
                  </a:lnTo>
                  <a:lnTo>
                    <a:pt x="6216" y="1119"/>
                  </a:lnTo>
                  <a:lnTo>
                    <a:pt x="6211" y="1127"/>
                  </a:lnTo>
                  <a:lnTo>
                    <a:pt x="6206" y="1152"/>
                  </a:lnTo>
                  <a:lnTo>
                    <a:pt x="6199" y="1167"/>
                  </a:lnTo>
                  <a:lnTo>
                    <a:pt x="6192" y="1176"/>
                  </a:lnTo>
                  <a:lnTo>
                    <a:pt x="6179" y="1179"/>
                  </a:lnTo>
                  <a:lnTo>
                    <a:pt x="6166" y="1191"/>
                  </a:lnTo>
                  <a:lnTo>
                    <a:pt x="6158" y="1205"/>
                  </a:lnTo>
                  <a:lnTo>
                    <a:pt x="6157" y="1212"/>
                  </a:lnTo>
                  <a:lnTo>
                    <a:pt x="6163" y="1226"/>
                  </a:lnTo>
                  <a:lnTo>
                    <a:pt x="6165" y="1234"/>
                  </a:lnTo>
                  <a:lnTo>
                    <a:pt x="6155" y="1235"/>
                  </a:lnTo>
                  <a:lnTo>
                    <a:pt x="6156" y="1255"/>
                  </a:lnTo>
                  <a:lnTo>
                    <a:pt x="6161" y="1269"/>
                  </a:lnTo>
                  <a:lnTo>
                    <a:pt x="6171" y="1280"/>
                  </a:lnTo>
                  <a:lnTo>
                    <a:pt x="6173" y="1286"/>
                  </a:lnTo>
                  <a:lnTo>
                    <a:pt x="6173" y="1298"/>
                  </a:lnTo>
                  <a:lnTo>
                    <a:pt x="6171" y="1307"/>
                  </a:lnTo>
                  <a:lnTo>
                    <a:pt x="6161" y="1307"/>
                  </a:lnTo>
                  <a:lnTo>
                    <a:pt x="6141" y="1294"/>
                  </a:lnTo>
                  <a:lnTo>
                    <a:pt x="6135" y="1313"/>
                  </a:lnTo>
                  <a:lnTo>
                    <a:pt x="6120" y="1307"/>
                  </a:lnTo>
                  <a:lnTo>
                    <a:pt x="6115" y="1314"/>
                  </a:lnTo>
                  <a:lnTo>
                    <a:pt x="6113" y="1309"/>
                  </a:lnTo>
                  <a:lnTo>
                    <a:pt x="6093" y="1325"/>
                  </a:lnTo>
                  <a:lnTo>
                    <a:pt x="6088" y="1334"/>
                  </a:lnTo>
                  <a:lnTo>
                    <a:pt x="6080" y="1340"/>
                  </a:lnTo>
                  <a:lnTo>
                    <a:pt x="6076" y="1352"/>
                  </a:lnTo>
                  <a:lnTo>
                    <a:pt x="6065" y="1351"/>
                  </a:lnTo>
                  <a:lnTo>
                    <a:pt x="6060" y="1357"/>
                  </a:lnTo>
                  <a:lnTo>
                    <a:pt x="6054" y="1350"/>
                  </a:lnTo>
                  <a:lnTo>
                    <a:pt x="6047" y="1348"/>
                  </a:lnTo>
                  <a:lnTo>
                    <a:pt x="6042" y="1343"/>
                  </a:lnTo>
                  <a:lnTo>
                    <a:pt x="6042" y="1334"/>
                  </a:lnTo>
                  <a:lnTo>
                    <a:pt x="6033" y="1331"/>
                  </a:lnTo>
                  <a:lnTo>
                    <a:pt x="6029" y="1320"/>
                  </a:lnTo>
                  <a:lnTo>
                    <a:pt x="6021" y="1314"/>
                  </a:lnTo>
                  <a:lnTo>
                    <a:pt x="6013" y="1314"/>
                  </a:lnTo>
                  <a:lnTo>
                    <a:pt x="5985" y="1293"/>
                  </a:lnTo>
                  <a:lnTo>
                    <a:pt x="5972" y="1294"/>
                  </a:lnTo>
                  <a:lnTo>
                    <a:pt x="5956" y="1288"/>
                  </a:lnTo>
                  <a:lnTo>
                    <a:pt x="5950" y="1281"/>
                  </a:lnTo>
                  <a:lnTo>
                    <a:pt x="5941" y="1280"/>
                  </a:lnTo>
                  <a:lnTo>
                    <a:pt x="5929" y="1272"/>
                  </a:lnTo>
                  <a:lnTo>
                    <a:pt x="5898" y="1276"/>
                  </a:lnTo>
                  <a:lnTo>
                    <a:pt x="5887" y="1294"/>
                  </a:lnTo>
                  <a:lnTo>
                    <a:pt x="5886" y="1304"/>
                  </a:lnTo>
                  <a:lnTo>
                    <a:pt x="5888" y="1318"/>
                  </a:lnTo>
                  <a:lnTo>
                    <a:pt x="5887" y="1324"/>
                  </a:lnTo>
                  <a:lnTo>
                    <a:pt x="5877" y="1309"/>
                  </a:lnTo>
                  <a:lnTo>
                    <a:pt x="5872" y="1314"/>
                  </a:lnTo>
                  <a:lnTo>
                    <a:pt x="5845" y="1309"/>
                  </a:lnTo>
                  <a:lnTo>
                    <a:pt x="5834" y="1314"/>
                  </a:lnTo>
                  <a:lnTo>
                    <a:pt x="5824" y="1312"/>
                  </a:lnTo>
                  <a:lnTo>
                    <a:pt x="5811" y="1292"/>
                  </a:lnTo>
                  <a:lnTo>
                    <a:pt x="5802" y="1287"/>
                  </a:lnTo>
                  <a:lnTo>
                    <a:pt x="5792" y="1264"/>
                  </a:lnTo>
                  <a:lnTo>
                    <a:pt x="5783" y="1254"/>
                  </a:lnTo>
                  <a:lnTo>
                    <a:pt x="5775" y="1232"/>
                  </a:lnTo>
                  <a:lnTo>
                    <a:pt x="5774" y="1217"/>
                  </a:lnTo>
                  <a:lnTo>
                    <a:pt x="5773" y="1214"/>
                  </a:lnTo>
                  <a:lnTo>
                    <a:pt x="5767" y="1218"/>
                  </a:lnTo>
                  <a:lnTo>
                    <a:pt x="5762" y="1232"/>
                  </a:lnTo>
                  <a:lnTo>
                    <a:pt x="5744" y="1275"/>
                  </a:lnTo>
                  <a:lnTo>
                    <a:pt x="5737" y="1289"/>
                  </a:lnTo>
                  <a:lnTo>
                    <a:pt x="5736" y="1307"/>
                  </a:lnTo>
                  <a:lnTo>
                    <a:pt x="5733" y="1319"/>
                  </a:lnTo>
                  <a:lnTo>
                    <a:pt x="5735" y="1353"/>
                  </a:lnTo>
                  <a:lnTo>
                    <a:pt x="5727" y="1358"/>
                  </a:lnTo>
                  <a:lnTo>
                    <a:pt x="5719" y="1380"/>
                  </a:lnTo>
                  <a:lnTo>
                    <a:pt x="5712" y="1388"/>
                  </a:lnTo>
                  <a:lnTo>
                    <a:pt x="5710" y="1406"/>
                  </a:lnTo>
                  <a:lnTo>
                    <a:pt x="5700" y="1418"/>
                  </a:lnTo>
                  <a:lnTo>
                    <a:pt x="5697" y="1433"/>
                  </a:lnTo>
                  <a:lnTo>
                    <a:pt x="5684" y="1427"/>
                  </a:lnTo>
                  <a:lnTo>
                    <a:pt x="5674" y="1395"/>
                  </a:lnTo>
                  <a:lnTo>
                    <a:pt x="5671" y="1393"/>
                  </a:lnTo>
                  <a:lnTo>
                    <a:pt x="5669" y="1405"/>
                  </a:lnTo>
                  <a:lnTo>
                    <a:pt x="5662" y="1406"/>
                  </a:lnTo>
                  <a:lnTo>
                    <a:pt x="5656" y="1397"/>
                  </a:lnTo>
                  <a:lnTo>
                    <a:pt x="5649" y="1399"/>
                  </a:lnTo>
                  <a:lnTo>
                    <a:pt x="5641" y="1394"/>
                  </a:lnTo>
                  <a:lnTo>
                    <a:pt x="5636" y="1386"/>
                  </a:lnTo>
                  <a:lnTo>
                    <a:pt x="5636" y="1379"/>
                  </a:lnTo>
                  <a:lnTo>
                    <a:pt x="5627" y="1368"/>
                  </a:lnTo>
                  <a:lnTo>
                    <a:pt x="5620" y="1375"/>
                  </a:lnTo>
                  <a:lnTo>
                    <a:pt x="5618" y="1369"/>
                  </a:lnTo>
                  <a:lnTo>
                    <a:pt x="5613" y="1364"/>
                  </a:lnTo>
                  <a:lnTo>
                    <a:pt x="5609" y="1354"/>
                  </a:lnTo>
                  <a:lnTo>
                    <a:pt x="5607" y="1340"/>
                  </a:lnTo>
                  <a:lnTo>
                    <a:pt x="5599" y="1336"/>
                  </a:lnTo>
                  <a:lnTo>
                    <a:pt x="5596" y="1340"/>
                  </a:lnTo>
                  <a:lnTo>
                    <a:pt x="5596" y="1332"/>
                  </a:lnTo>
                  <a:lnTo>
                    <a:pt x="5588" y="1318"/>
                  </a:lnTo>
                  <a:lnTo>
                    <a:pt x="5586" y="1303"/>
                  </a:lnTo>
                  <a:lnTo>
                    <a:pt x="5582" y="1299"/>
                  </a:lnTo>
                  <a:lnTo>
                    <a:pt x="5582" y="1288"/>
                  </a:lnTo>
                  <a:lnTo>
                    <a:pt x="5579" y="1282"/>
                  </a:lnTo>
                  <a:lnTo>
                    <a:pt x="5576" y="1270"/>
                  </a:lnTo>
                  <a:lnTo>
                    <a:pt x="5575" y="1273"/>
                  </a:lnTo>
                  <a:lnTo>
                    <a:pt x="5565" y="1280"/>
                  </a:lnTo>
                  <a:lnTo>
                    <a:pt x="5559" y="1272"/>
                  </a:lnTo>
                  <a:lnTo>
                    <a:pt x="5561" y="1264"/>
                  </a:lnTo>
                  <a:lnTo>
                    <a:pt x="5559" y="1255"/>
                  </a:lnTo>
                  <a:lnTo>
                    <a:pt x="5555" y="1251"/>
                  </a:lnTo>
                  <a:lnTo>
                    <a:pt x="5554" y="1245"/>
                  </a:lnTo>
                  <a:lnTo>
                    <a:pt x="5553" y="1229"/>
                  </a:lnTo>
                  <a:lnTo>
                    <a:pt x="5572" y="1200"/>
                  </a:lnTo>
                  <a:lnTo>
                    <a:pt x="5577" y="1205"/>
                  </a:lnTo>
                  <a:lnTo>
                    <a:pt x="5582" y="1203"/>
                  </a:lnTo>
                  <a:lnTo>
                    <a:pt x="5579" y="1199"/>
                  </a:lnTo>
                  <a:lnTo>
                    <a:pt x="5580" y="1192"/>
                  </a:lnTo>
                  <a:lnTo>
                    <a:pt x="5591" y="1187"/>
                  </a:lnTo>
                  <a:lnTo>
                    <a:pt x="5597" y="1180"/>
                  </a:lnTo>
                  <a:lnTo>
                    <a:pt x="5591" y="1181"/>
                  </a:lnTo>
                  <a:lnTo>
                    <a:pt x="5591" y="1178"/>
                  </a:lnTo>
                  <a:lnTo>
                    <a:pt x="5596" y="1173"/>
                  </a:lnTo>
                  <a:lnTo>
                    <a:pt x="5593" y="1169"/>
                  </a:lnTo>
                  <a:lnTo>
                    <a:pt x="5593" y="1159"/>
                  </a:lnTo>
                  <a:lnTo>
                    <a:pt x="5603" y="1141"/>
                  </a:lnTo>
                  <a:lnTo>
                    <a:pt x="5581" y="1125"/>
                  </a:lnTo>
                  <a:lnTo>
                    <a:pt x="5582" y="1120"/>
                  </a:lnTo>
                  <a:lnTo>
                    <a:pt x="5590" y="1111"/>
                  </a:lnTo>
                  <a:lnTo>
                    <a:pt x="5580" y="1104"/>
                  </a:lnTo>
                  <a:lnTo>
                    <a:pt x="5582" y="1094"/>
                  </a:lnTo>
                  <a:lnTo>
                    <a:pt x="5588" y="1090"/>
                  </a:lnTo>
                  <a:lnTo>
                    <a:pt x="5588" y="1077"/>
                  </a:lnTo>
                  <a:lnTo>
                    <a:pt x="5591" y="1074"/>
                  </a:lnTo>
                  <a:lnTo>
                    <a:pt x="5587" y="1072"/>
                  </a:lnTo>
                  <a:lnTo>
                    <a:pt x="5586" y="1066"/>
                  </a:lnTo>
                  <a:lnTo>
                    <a:pt x="5587" y="1058"/>
                  </a:lnTo>
                  <a:lnTo>
                    <a:pt x="5585" y="1050"/>
                  </a:lnTo>
                  <a:lnTo>
                    <a:pt x="5592" y="1049"/>
                  </a:lnTo>
                  <a:lnTo>
                    <a:pt x="5593" y="1045"/>
                  </a:lnTo>
                  <a:lnTo>
                    <a:pt x="5595" y="1038"/>
                  </a:lnTo>
                  <a:lnTo>
                    <a:pt x="5597" y="1031"/>
                  </a:lnTo>
                  <a:lnTo>
                    <a:pt x="5593" y="1028"/>
                  </a:lnTo>
                  <a:lnTo>
                    <a:pt x="5593" y="1022"/>
                  </a:lnTo>
                  <a:lnTo>
                    <a:pt x="5577" y="1012"/>
                  </a:lnTo>
                  <a:lnTo>
                    <a:pt x="5572" y="1001"/>
                  </a:lnTo>
                  <a:lnTo>
                    <a:pt x="5565" y="992"/>
                  </a:lnTo>
                  <a:lnTo>
                    <a:pt x="5565" y="985"/>
                  </a:lnTo>
                  <a:lnTo>
                    <a:pt x="5541" y="971"/>
                  </a:lnTo>
                  <a:lnTo>
                    <a:pt x="5542" y="964"/>
                  </a:lnTo>
                  <a:lnTo>
                    <a:pt x="5541" y="957"/>
                  </a:lnTo>
                  <a:lnTo>
                    <a:pt x="5528" y="955"/>
                  </a:lnTo>
                  <a:lnTo>
                    <a:pt x="5523" y="952"/>
                  </a:lnTo>
                  <a:lnTo>
                    <a:pt x="5527" y="948"/>
                  </a:lnTo>
                  <a:lnTo>
                    <a:pt x="5521" y="939"/>
                  </a:lnTo>
                  <a:lnTo>
                    <a:pt x="5504" y="932"/>
                  </a:lnTo>
                  <a:lnTo>
                    <a:pt x="5494" y="936"/>
                  </a:lnTo>
                  <a:lnTo>
                    <a:pt x="5478" y="933"/>
                  </a:lnTo>
                  <a:lnTo>
                    <a:pt x="5461" y="925"/>
                  </a:lnTo>
                  <a:lnTo>
                    <a:pt x="5457" y="930"/>
                  </a:lnTo>
                  <a:lnTo>
                    <a:pt x="5455" y="938"/>
                  </a:lnTo>
                  <a:lnTo>
                    <a:pt x="5447" y="938"/>
                  </a:lnTo>
                  <a:lnTo>
                    <a:pt x="5437" y="950"/>
                  </a:lnTo>
                  <a:lnTo>
                    <a:pt x="5435" y="947"/>
                  </a:lnTo>
                  <a:lnTo>
                    <a:pt x="5434" y="941"/>
                  </a:lnTo>
                  <a:lnTo>
                    <a:pt x="5415" y="918"/>
                  </a:lnTo>
                  <a:lnTo>
                    <a:pt x="5408" y="925"/>
                  </a:lnTo>
                  <a:lnTo>
                    <a:pt x="5399" y="920"/>
                  </a:lnTo>
                  <a:lnTo>
                    <a:pt x="5392" y="922"/>
                  </a:lnTo>
                  <a:lnTo>
                    <a:pt x="5385" y="912"/>
                  </a:lnTo>
                  <a:lnTo>
                    <a:pt x="5380" y="916"/>
                  </a:lnTo>
                  <a:lnTo>
                    <a:pt x="5373" y="910"/>
                  </a:lnTo>
                  <a:lnTo>
                    <a:pt x="5370" y="918"/>
                  </a:lnTo>
                  <a:lnTo>
                    <a:pt x="5361" y="910"/>
                  </a:lnTo>
                  <a:lnTo>
                    <a:pt x="5361" y="904"/>
                  </a:lnTo>
                  <a:lnTo>
                    <a:pt x="5359" y="895"/>
                  </a:lnTo>
                  <a:lnTo>
                    <a:pt x="5354" y="891"/>
                  </a:lnTo>
                  <a:lnTo>
                    <a:pt x="5350" y="896"/>
                  </a:lnTo>
                  <a:lnTo>
                    <a:pt x="5339" y="883"/>
                  </a:lnTo>
                  <a:lnTo>
                    <a:pt x="5333" y="885"/>
                  </a:lnTo>
                  <a:lnTo>
                    <a:pt x="5323" y="879"/>
                  </a:lnTo>
                  <a:lnTo>
                    <a:pt x="5305" y="875"/>
                  </a:lnTo>
                  <a:lnTo>
                    <a:pt x="5292" y="866"/>
                  </a:lnTo>
                  <a:lnTo>
                    <a:pt x="5286" y="866"/>
                  </a:lnTo>
                  <a:lnTo>
                    <a:pt x="5285" y="873"/>
                  </a:lnTo>
                  <a:lnTo>
                    <a:pt x="5285" y="880"/>
                  </a:lnTo>
                  <a:lnTo>
                    <a:pt x="5286" y="890"/>
                  </a:lnTo>
                  <a:lnTo>
                    <a:pt x="5284" y="895"/>
                  </a:lnTo>
                  <a:lnTo>
                    <a:pt x="5268" y="893"/>
                  </a:lnTo>
                  <a:lnTo>
                    <a:pt x="5258" y="877"/>
                  </a:lnTo>
                  <a:lnTo>
                    <a:pt x="5257" y="883"/>
                  </a:lnTo>
                  <a:lnTo>
                    <a:pt x="5256" y="900"/>
                  </a:lnTo>
                  <a:lnTo>
                    <a:pt x="5247" y="942"/>
                  </a:lnTo>
                  <a:lnTo>
                    <a:pt x="5252" y="944"/>
                  </a:lnTo>
                  <a:lnTo>
                    <a:pt x="5249" y="950"/>
                  </a:lnTo>
                  <a:lnTo>
                    <a:pt x="5248" y="955"/>
                  </a:lnTo>
                  <a:lnTo>
                    <a:pt x="5251" y="970"/>
                  </a:lnTo>
                  <a:lnTo>
                    <a:pt x="5264" y="1003"/>
                  </a:lnTo>
                  <a:lnTo>
                    <a:pt x="5260" y="1011"/>
                  </a:lnTo>
                  <a:lnTo>
                    <a:pt x="5252" y="1019"/>
                  </a:lnTo>
                  <a:lnTo>
                    <a:pt x="5225" y="1024"/>
                  </a:lnTo>
                  <a:lnTo>
                    <a:pt x="5210" y="1036"/>
                  </a:lnTo>
                  <a:lnTo>
                    <a:pt x="5204" y="1031"/>
                  </a:lnTo>
                  <a:lnTo>
                    <a:pt x="5200" y="1038"/>
                  </a:lnTo>
                  <a:lnTo>
                    <a:pt x="5195" y="1034"/>
                  </a:lnTo>
                  <a:lnTo>
                    <a:pt x="5179" y="1038"/>
                  </a:lnTo>
                  <a:lnTo>
                    <a:pt x="5168" y="1033"/>
                  </a:lnTo>
                  <a:lnTo>
                    <a:pt x="5161" y="1033"/>
                  </a:lnTo>
                  <a:lnTo>
                    <a:pt x="5136" y="1038"/>
                  </a:lnTo>
                  <a:lnTo>
                    <a:pt x="5131" y="1041"/>
                  </a:lnTo>
                  <a:lnTo>
                    <a:pt x="5112" y="1030"/>
                  </a:lnTo>
                  <a:lnTo>
                    <a:pt x="5082" y="1023"/>
                  </a:lnTo>
                  <a:lnTo>
                    <a:pt x="5074" y="1022"/>
                  </a:lnTo>
                  <a:lnTo>
                    <a:pt x="5074" y="1030"/>
                  </a:lnTo>
                  <a:lnTo>
                    <a:pt x="5071" y="1035"/>
                  </a:lnTo>
                  <a:lnTo>
                    <a:pt x="5042" y="1015"/>
                  </a:lnTo>
                  <a:lnTo>
                    <a:pt x="5023" y="1011"/>
                  </a:lnTo>
                  <a:lnTo>
                    <a:pt x="4994" y="995"/>
                  </a:lnTo>
                  <a:lnTo>
                    <a:pt x="4989" y="987"/>
                  </a:lnTo>
                  <a:lnTo>
                    <a:pt x="4989" y="980"/>
                  </a:lnTo>
                  <a:lnTo>
                    <a:pt x="4989" y="974"/>
                  </a:lnTo>
                  <a:lnTo>
                    <a:pt x="4990" y="969"/>
                  </a:lnTo>
                  <a:lnTo>
                    <a:pt x="4988" y="955"/>
                  </a:lnTo>
                  <a:lnTo>
                    <a:pt x="4990" y="948"/>
                  </a:lnTo>
                  <a:lnTo>
                    <a:pt x="4996" y="944"/>
                  </a:lnTo>
                  <a:lnTo>
                    <a:pt x="5007" y="944"/>
                  </a:lnTo>
                  <a:lnTo>
                    <a:pt x="5009" y="938"/>
                  </a:lnTo>
                  <a:lnTo>
                    <a:pt x="5015" y="938"/>
                  </a:lnTo>
                  <a:lnTo>
                    <a:pt x="5012" y="931"/>
                  </a:lnTo>
                  <a:lnTo>
                    <a:pt x="5005" y="925"/>
                  </a:lnTo>
                  <a:lnTo>
                    <a:pt x="4978" y="926"/>
                  </a:lnTo>
                  <a:lnTo>
                    <a:pt x="4967" y="920"/>
                  </a:lnTo>
                  <a:lnTo>
                    <a:pt x="4948" y="925"/>
                  </a:lnTo>
                  <a:lnTo>
                    <a:pt x="4924" y="920"/>
                  </a:lnTo>
                  <a:lnTo>
                    <a:pt x="4912" y="912"/>
                  </a:lnTo>
                  <a:lnTo>
                    <a:pt x="4900" y="912"/>
                  </a:lnTo>
                  <a:lnTo>
                    <a:pt x="4888" y="907"/>
                  </a:lnTo>
                  <a:lnTo>
                    <a:pt x="4875" y="907"/>
                  </a:lnTo>
                  <a:lnTo>
                    <a:pt x="4858" y="899"/>
                  </a:lnTo>
                  <a:lnTo>
                    <a:pt x="4837" y="895"/>
                  </a:lnTo>
                  <a:lnTo>
                    <a:pt x="4818" y="900"/>
                  </a:lnTo>
                  <a:lnTo>
                    <a:pt x="4818" y="909"/>
                  </a:lnTo>
                  <a:lnTo>
                    <a:pt x="4792" y="918"/>
                  </a:lnTo>
                  <a:lnTo>
                    <a:pt x="4779" y="921"/>
                  </a:lnTo>
                  <a:lnTo>
                    <a:pt x="4756" y="918"/>
                  </a:lnTo>
                  <a:lnTo>
                    <a:pt x="4721" y="932"/>
                  </a:lnTo>
                  <a:lnTo>
                    <a:pt x="4736" y="957"/>
                  </a:lnTo>
                  <a:lnTo>
                    <a:pt x="4738" y="969"/>
                  </a:lnTo>
                  <a:lnTo>
                    <a:pt x="4735" y="974"/>
                  </a:lnTo>
                  <a:lnTo>
                    <a:pt x="4713" y="990"/>
                  </a:lnTo>
                  <a:lnTo>
                    <a:pt x="4698" y="984"/>
                  </a:lnTo>
                  <a:lnTo>
                    <a:pt x="4700" y="976"/>
                  </a:lnTo>
                  <a:lnTo>
                    <a:pt x="4715" y="979"/>
                  </a:lnTo>
                  <a:lnTo>
                    <a:pt x="4719" y="969"/>
                  </a:lnTo>
                  <a:lnTo>
                    <a:pt x="4703" y="964"/>
                  </a:lnTo>
                  <a:lnTo>
                    <a:pt x="4705" y="955"/>
                  </a:lnTo>
                  <a:lnTo>
                    <a:pt x="4700" y="947"/>
                  </a:lnTo>
                  <a:lnTo>
                    <a:pt x="4711" y="922"/>
                  </a:lnTo>
                  <a:lnTo>
                    <a:pt x="4710" y="907"/>
                  </a:lnTo>
                  <a:lnTo>
                    <a:pt x="4705" y="894"/>
                  </a:lnTo>
                  <a:lnTo>
                    <a:pt x="4700" y="889"/>
                  </a:lnTo>
                  <a:lnTo>
                    <a:pt x="4698" y="872"/>
                  </a:lnTo>
                  <a:lnTo>
                    <a:pt x="4690" y="858"/>
                  </a:lnTo>
                  <a:lnTo>
                    <a:pt x="4678" y="832"/>
                  </a:lnTo>
                  <a:lnTo>
                    <a:pt x="4684" y="861"/>
                  </a:lnTo>
                  <a:lnTo>
                    <a:pt x="4682" y="878"/>
                  </a:lnTo>
                  <a:lnTo>
                    <a:pt x="4674" y="891"/>
                  </a:lnTo>
                  <a:lnTo>
                    <a:pt x="4658" y="896"/>
                  </a:lnTo>
                  <a:lnTo>
                    <a:pt x="4628" y="894"/>
                  </a:lnTo>
                  <a:lnTo>
                    <a:pt x="4619" y="896"/>
                  </a:lnTo>
                  <a:lnTo>
                    <a:pt x="4617" y="891"/>
                  </a:lnTo>
                  <a:lnTo>
                    <a:pt x="4596" y="874"/>
                  </a:lnTo>
                  <a:lnTo>
                    <a:pt x="4592" y="862"/>
                  </a:lnTo>
                  <a:lnTo>
                    <a:pt x="4591" y="848"/>
                  </a:lnTo>
                  <a:lnTo>
                    <a:pt x="4596" y="837"/>
                  </a:lnTo>
                  <a:lnTo>
                    <a:pt x="4598" y="847"/>
                  </a:lnTo>
                  <a:lnTo>
                    <a:pt x="4607" y="832"/>
                  </a:lnTo>
                  <a:lnTo>
                    <a:pt x="4608" y="826"/>
                  </a:lnTo>
                  <a:lnTo>
                    <a:pt x="4584" y="834"/>
                  </a:lnTo>
                  <a:lnTo>
                    <a:pt x="4576" y="842"/>
                  </a:lnTo>
                  <a:lnTo>
                    <a:pt x="4574" y="851"/>
                  </a:lnTo>
                  <a:lnTo>
                    <a:pt x="4570" y="855"/>
                  </a:lnTo>
                  <a:lnTo>
                    <a:pt x="4565" y="845"/>
                  </a:lnTo>
                  <a:lnTo>
                    <a:pt x="4553" y="840"/>
                  </a:lnTo>
                  <a:lnTo>
                    <a:pt x="4542" y="831"/>
                  </a:lnTo>
                  <a:lnTo>
                    <a:pt x="4527" y="834"/>
                  </a:lnTo>
                  <a:lnTo>
                    <a:pt x="4515" y="839"/>
                  </a:lnTo>
                  <a:lnTo>
                    <a:pt x="4512" y="852"/>
                  </a:lnTo>
                  <a:lnTo>
                    <a:pt x="4496" y="875"/>
                  </a:lnTo>
                  <a:lnTo>
                    <a:pt x="4495" y="884"/>
                  </a:lnTo>
                  <a:lnTo>
                    <a:pt x="4500" y="899"/>
                  </a:lnTo>
                  <a:lnTo>
                    <a:pt x="4507" y="911"/>
                  </a:lnTo>
                  <a:lnTo>
                    <a:pt x="4514" y="907"/>
                  </a:lnTo>
                  <a:lnTo>
                    <a:pt x="4509" y="905"/>
                  </a:lnTo>
                  <a:lnTo>
                    <a:pt x="4509" y="896"/>
                  </a:lnTo>
                  <a:lnTo>
                    <a:pt x="4515" y="902"/>
                  </a:lnTo>
                  <a:lnTo>
                    <a:pt x="4534" y="902"/>
                  </a:lnTo>
                  <a:lnTo>
                    <a:pt x="4542" y="893"/>
                  </a:lnTo>
                  <a:lnTo>
                    <a:pt x="4552" y="888"/>
                  </a:lnTo>
                  <a:lnTo>
                    <a:pt x="4557" y="879"/>
                  </a:lnTo>
                  <a:lnTo>
                    <a:pt x="4565" y="884"/>
                  </a:lnTo>
                  <a:lnTo>
                    <a:pt x="4573" y="901"/>
                  </a:lnTo>
                  <a:lnTo>
                    <a:pt x="4542" y="916"/>
                  </a:lnTo>
                  <a:lnTo>
                    <a:pt x="4536" y="930"/>
                  </a:lnTo>
                  <a:lnTo>
                    <a:pt x="4531" y="927"/>
                  </a:lnTo>
                  <a:lnTo>
                    <a:pt x="4506" y="948"/>
                  </a:lnTo>
                  <a:lnTo>
                    <a:pt x="4495" y="948"/>
                  </a:lnTo>
                  <a:lnTo>
                    <a:pt x="4478" y="926"/>
                  </a:lnTo>
                  <a:lnTo>
                    <a:pt x="4490" y="949"/>
                  </a:lnTo>
                  <a:lnTo>
                    <a:pt x="4487" y="952"/>
                  </a:lnTo>
                  <a:lnTo>
                    <a:pt x="4480" y="945"/>
                  </a:lnTo>
                  <a:lnTo>
                    <a:pt x="4482" y="953"/>
                  </a:lnTo>
                  <a:lnTo>
                    <a:pt x="4479" y="960"/>
                  </a:lnTo>
                  <a:lnTo>
                    <a:pt x="4444" y="971"/>
                  </a:lnTo>
                  <a:lnTo>
                    <a:pt x="4432" y="970"/>
                  </a:lnTo>
                  <a:lnTo>
                    <a:pt x="4430" y="979"/>
                  </a:lnTo>
                  <a:lnTo>
                    <a:pt x="4432" y="986"/>
                  </a:lnTo>
                  <a:lnTo>
                    <a:pt x="4414" y="982"/>
                  </a:lnTo>
                  <a:lnTo>
                    <a:pt x="4394" y="1001"/>
                  </a:lnTo>
                  <a:lnTo>
                    <a:pt x="4389" y="998"/>
                  </a:lnTo>
                  <a:lnTo>
                    <a:pt x="4361" y="996"/>
                  </a:lnTo>
                  <a:lnTo>
                    <a:pt x="4354" y="1003"/>
                  </a:lnTo>
                  <a:lnTo>
                    <a:pt x="4326" y="996"/>
                  </a:lnTo>
                  <a:lnTo>
                    <a:pt x="4315" y="1004"/>
                  </a:lnTo>
                  <a:lnTo>
                    <a:pt x="4316" y="1018"/>
                  </a:lnTo>
                  <a:lnTo>
                    <a:pt x="4323" y="1036"/>
                  </a:lnTo>
                  <a:lnTo>
                    <a:pt x="4358" y="1054"/>
                  </a:lnTo>
                  <a:lnTo>
                    <a:pt x="4350" y="1056"/>
                  </a:lnTo>
                  <a:lnTo>
                    <a:pt x="4340" y="1054"/>
                  </a:lnTo>
                  <a:lnTo>
                    <a:pt x="4317" y="1044"/>
                  </a:lnTo>
                  <a:lnTo>
                    <a:pt x="4308" y="1038"/>
                  </a:lnTo>
                  <a:lnTo>
                    <a:pt x="4301" y="1047"/>
                  </a:lnTo>
                  <a:lnTo>
                    <a:pt x="4294" y="1052"/>
                  </a:lnTo>
                  <a:lnTo>
                    <a:pt x="4288" y="1065"/>
                  </a:lnTo>
                  <a:lnTo>
                    <a:pt x="4278" y="1071"/>
                  </a:lnTo>
                  <a:lnTo>
                    <a:pt x="4267" y="1072"/>
                  </a:lnTo>
                  <a:lnTo>
                    <a:pt x="4253" y="1082"/>
                  </a:lnTo>
                  <a:lnTo>
                    <a:pt x="4242" y="1090"/>
                  </a:lnTo>
                  <a:lnTo>
                    <a:pt x="4229" y="1109"/>
                  </a:lnTo>
                  <a:lnTo>
                    <a:pt x="4232" y="1104"/>
                  </a:lnTo>
                  <a:lnTo>
                    <a:pt x="4229" y="1101"/>
                  </a:lnTo>
                  <a:lnTo>
                    <a:pt x="4215" y="1105"/>
                  </a:lnTo>
                  <a:lnTo>
                    <a:pt x="4213" y="1111"/>
                  </a:lnTo>
                  <a:lnTo>
                    <a:pt x="4206" y="1110"/>
                  </a:lnTo>
                  <a:lnTo>
                    <a:pt x="4205" y="1103"/>
                  </a:lnTo>
                  <a:lnTo>
                    <a:pt x="4227" y="1083"/>
                  </a:lnTo>
                  <a:lnTo>
                    <a:pt x="4236" y="1078"/>
                  </a:lnTo>
                  <a:lnTo>
                    <a:pt x="4240" y="1072"/>
                  </a:lnTo>
                  <a:lnTo>
                    <a:pt x="4252" y="1063"/>
                  </a:lnTo>
                  <a:lnTo>
                    <a:pt x="4263" y="1067"/>
                  </a:lnTo>
                  <a:lnTo>
                    <a:pt x="4276" y="1055"/>
                  </a:lnTo>
                  <a:lnTo>
                    <a:pt x="4285" y="1044"/>
                  </a:lnTo>
                  <a:lnTo>
                    <a:pt x="4301" y="1008"/>
                  </a:lnTo>
                  <a:lnTo>
                    <a:pt x="4306" y="1002"/>
                  </a:lnTo>
                  <a:lnTo>
                    <a:pt x="4306" y="997"/>
                  </a:lnTo>
                  <a:lnTo>
                    <a:pt x="4310" y="987"/>
                  </a:lnTo>
                  <a:lnTo>
                    <a:pt x="4316" y="972"/>
                  </a:lnTo>
                  <a:lnTo>
                    <a:pt x="4326" y="974"/>
                  </a:lnTo>
                  <a:lnTo>
                    <a:pt x="4349" y="965"/>
                  </a:lnTo>
                  <a:lnTo>
                    <a:pt x="4351" y="952"/>
                  </a:lnTo>
                  <a:lnTo>
                    <a:pt x="4365" y="928"/>
                  </a:lnTo>
                  <a:lnTo>
                    <a:pt x="4369" y="911"/>
                  </a:lnTo>
                  <a:lnTo>
                    <a:pt x="4409" y="910"/>
                  </a:lnTo>
                  <a:lnTo>
                    <a:pt x="4419" y="907"/>
                  </a:lnTo>
                  <a:lnTo>
                    <a:pt x="4425" y="915"/>
                  </a:lnTo>
                  <a:lnTo>
                    <a:pt x="4445" y="875"/>
                  </a:lnTo>
                  <a:lnTo>
                    <a:pt x="4452" y="864"/>
                  </a:lnTo>
                  <a:lnTo>
                    <a:pt x="4456" y="848"/>
                  </a:lnTo>
                  <a:lnTo>
                    <a:pt x="4484" y="820"/>
                  </a:lnTo>
                  <a:lnTo>
                    <a:pt x="4500" y="813"/>
                  </a:lnTo>
                  <a:lnTo>
                    <a:pt x="4511" y="802"/>
                  </a:lnTo>
                  <a:lnTo>
                    <a:pt x="4520" y="788"/>
                  </a:lnTo>
                  <a:lnTo>
                    <a:pt x="4526" y="767"/>
                  </a:lnTo>
                  <a:lnTo>
                    <a:pt x="4547" y="748"/>
                  </a:lnTo>
                  <a:lnTo>
                    <a:pt x="4545" y="743"/>
                  </a:lnTo>
                  <a:lnTo>
                    <a:pt x="4548" y="735"/>
                  </a:lnTo>
                  <a:lnTo>
                    <a:pt x="4559" y="733"/>
                  </a:lnTo>
                  <a:lnTo>
                    <a:pt x="4566" y="727"/>
                  </a:lnTo>
                  <a:lnTo>
                    <a:pt x="4563" y="724"/>
                  </a:lnTo>
                  <a:lnTo>
                    <a:pt x="4569" y="722"/>
                  </a:lnTo>
                  <a:lnTo>
                    <a:pt x="4573" y="726"/>
                  </a:lnTo>
                  <a:lnTo>
                    <a:pt x="4584" y="721"/>
                  </a:lnTo>
                  <a:lnTo>
                    <a:pt x="4587" y="707"/>
                  </a:lnTo>
                  <a:lnTo>
                    <a:pt x="4592" y="708"/>
                  </a:lnTo>
                  <a:lnTo>
                    <a:pt x="4607" y="692"/>
                  </a:lnTo>
                  <a:lnTo>
                    <a:pt x="4625" y="703"/>
                  </a:lnTo>
                  <a:lnTo>
                    <a:pt x="4627" y="695"/>
                  </a:lnTo>
                  <a:lnTo>
                    <a:pt x="4630" y="686"/>
                  </a:lnTo>
                  <a:lnTo>
                    <a:pt x="4625" y="678"/>
                  </a:lnTo>
                  <a:lnTo>
                    <a:pt x="4657" y="665"/>
                  </a:lnTo>
                  <a:lnTo>
                    <a:pt x="4643" y="662"/>
                  </a:lnTo>
                  <a:lnTo>
                    <a:pt x="4645" y="656"/>
                  </a:lnTo>
                  <a:lnTo>
                    <a:pt x="4667" y="645"/>
                  </a:lnTo>
                  <a:lnTo>
                    <a:pt x="4665" y="656"/>
                  </a:lnTo>
                  <a:lnTo>
                    <a:pt x="4672" y="645"/>
                  </a:lnTo>
                  <a:lnTo>
                    <a:pt x="4678" y="643"/>
                  </a:lnTo>
                  <a:lnTo>
                    <a:pt x="4684" y="636"/>
                  </a:lnTo>
                  <a:lnTo>
                    <a:pt x="4679" y="631"/>
                  </a:lnTo>
                  <a:lnTo>
                    <a:pt x="4688" y="622"/>
                  </a:lnTo>
                  <a:lnTo>
                    <a:pt x="4698" y="624"/>
                  </a:lnTo>
                  <a:lnTo>
                    <a:pt x="4704" y="611"/>
                  </a:lnTo>
                  <a:lnTo>
                    <a:pt x="4708" y="599"/>
                  </a:lnTo>
                  <a:lnTo>
                    <a:pt x="4708" y="595"/>
                  </a:lnTo>
                  <a:lnTo>
                    <a:pt x="4719" y="582"/>
                  </a:lnTo>
                  <a:lnTo>
                    <a:pt x="4722" y="573"/>
                  </a:lnTo>
                  <a:lnTo>
                    <a:pt x="4729" y="567"/>
                  </a:lnTo>
                  <a:lnTo>
                    <a:pt x="4729" y="549"/>
                  </a:lnTo>
                  <a:lnTo>
                    <a:pt x="4726" y="548"/>
                  </a:lnTo>
                  <a:lnTo>
                    <a:pt x="4722" y="534"/>
                  </a:lnTo>
                  <a:lnTo>
                    <a:pt x="4731" y="538"/>
                  </a:lnTo>
                  <a:lnTo>
                    <a:pt x="4730" y="518"/>
                  </a:lnTo>
                  <a:lnTo>
                    <a:pt x="4716" y="518"/>
                  </a:lnTo>
                  <a:lnTo>
                    <a:pt x="4703" y="506"/>
                  </a:lnTo>
                  <a:lnTo>
                    <a:pt x="4701" y="491"/>
                  </a:lnTo>
                  <a:lnTo>
                    <a:pt x="4692" y="492"/>
                  </a:lnTo>
                  <a:lnTo>
                    <a:pt x="4689" y="502"/>
                  </a:lnTo>
                  <a:lnTo>
                    <a:pt x="4686" y="507"/>
                  </a:lnTo>
                  <a:lnTo>
                    <a:pt x="4681" y="497"/>
                  </a:lnTo>
                  <a:lnTo>
                    <a:pt x="4681" y="493"/>
                  </a:lnTo>
                  <a:lnTo>
                    <a:pt x="4676" y="481"/>
                  </a:lnTo>
                  <a:lnTo>
                    <a:pt x="4679" y="475"/>
                  </a:lnTo>
                  <a:lnTo>
                    <a:pt x="4666" y="464"/>
                  </a:lnTo>
                  <a:lnTo>
                    <a:pt x="4660" y="454"/>
                  </a:lnTo>
                  <a:lnTo>
                    <a:pt x="4662" y="447"/>
                  </a:lnTo>
                  <a:lnTo>
                    <a:pt x="4670" y="449"/>
                  </a:lnTo>
                  <a:lnTo>
                    <a:pt x="4687" y="470"/>
                  </a:lnTo>
                  <a:lnTo>
                    <a:pt x="4717" y="490"/>
                  </a:lnTo>
                  <a:lnTo>
                    <a:pt x="4711" y="507"/>
                  </a:lnTo>
                  <a:lnTo>
                    <a:pt x="4717" y="505"/>
                  </a:lnTo>
                  <a:lnTo>
                    <a:pt x="4724" y="493"/>
                  </a:lnTo>
                  <a:lnTo>
                    <a:pt x="4736" y="455"/>
                  </a:lnTo>
                  <a:lnTo>
                    <a:pt x="4736" y="441"/>
                  </a:lnTo>
                  <a:lnTo>
                    <a:pt x="4732" y="428"/>
                  </a:lnTo>
                  <a:lnTo>
                    <a:pt x="4726" y="432"/>
                  </a:lnTo>
                  <a:lnTo>
                    <a:pt x="4717" y="428"/>
                  </a:lnTo>
                  <a:lnTo>
                    <a:pt x="4713" y="400"/>
                  </a:lnTo>
                  <a:lnTo>
                    <a:pt x="4714" y="389"/>
                  </a:lnTo>
                  <a:lnTo>
                    <a:pt x="4698" y="360"/>
                  </a:lnTo>
                  <a:lnTo>
                    <a:pt x="4689" y="364"/>
                  </a:lnTo>
                  <a:lnTo>
                    <a:pt x="4695" y="378"/>
                  </a:lnTo>
                  <a:lnTo>
                    <a:pt x="4686" y="387"/>
                  </a:lnTo>
                  <a:lnTo>
                    <a:pt x="4684" y="394"/>
                  </a:lnTo>
                  <a:lnTo>
                    <a:pt x="4679" y="394"/>
                  </a:lnTo>
                  <a:lnTo>
                    <a:pt x="4672" y="374"/>
                  </a:lnTo>
                  <a:lnTo>
                    <a:pt x="4662" y="362"/>
                  </a:lnTo>
                  <a:lnTo>
                    <a:pt x="4670" y="358"/>
                  </a:lnTo>
                  <a:lnTo>
                    <a:pt x="4671" y="349"/>
                  </a:lnTo>
                  <a:lnTo>
                    <a:pt x="4673" y="341"/>
                  </a:lnTo>
                  <a:lnTo>
                    <a:pt x="4647" y="315"/>
                  </a:lnTo>
                  <a:lnTo>
                    <a:pt x="4640" y="318"/>
                  </a:lnTo>
                  <a:lnTo>
                    <a:pt x="4639" y="306"/>
                  </a:lnTo>
                  <a:lnTo>
                    <a:pt x="4624" y="283"/>
                  </a:lnTo>
                  <a:lnTo>
                    <a:pt x="4603" y="271"/>
                  </a:lnTo>
                  <a:lnTo>
                    <a:pt x="4607" y="266"/>
                  </a:lnTo>
                  <a:lnTo>
                    <a:pt x="4603" y="258"/>
                  </a:lnTo>
                  <a:lnTo>
                    <a:pt x="4593" y="255"/>
                  </a:lnTo>
                  <a:lnTo>
                    <a:pt x="4588" y="261"/>
                  </a:lnTo>
                  <a:lnTo>
                    <a:pt x="4585" y="255"/>
                  </a:lnTo>
                  <a:lnTo>
                    <a:pt x="4586" y="244"/>
                  </a:lnTo>
                  <a:lnTo>
                    <a:pt x="4569" y="248"/>
                  </a:lnTo>
                  <a:lnTo>
                    <a:pt x="4539" y="242"/>
                  </a:lnTo>
                  <a:lnTo>
                    <a:pt x="4523" y="255"/>
                  </a:lnTo>
                  <a:lnTo>
                    <a:pt x="4518" y="253"/>
                  </a:lnTo>
                  <a:lnTo>
                    <a:pt x="4509" y="255"/>
                  </a:lnTo>
                  <a:lnTo>
                    <a:pt x="4489" y="238"/>
                  </a:lnTo>
                  <a:lnTo>
                    <a:pt x="4477" y="248"/>
                  </a:lnTo>
                  <a:lnTo>
                    <a:pt x="4469" y="247"/>
                  </a:lnTo>
                  <a:lnTo>
                    <a:pt x="4441" y="253"/>
                  </a:lnTo>
                  <a:lnTo>
                    <a:pt x="4435" y="247"/>
                  </a:lnTo>
                  <a:lnTo>
                    <a:pt x="4426" y="255"/>
                  </a:lnTo>
                  <a:lnTo>
                    <a:pt x="4428" y="248"/>
                  </a:lnTo>
                  <a:lnTo>
                    <a:pt x="4432" y="242"/>
                  </a:lnTo>
                  <a:lnTo>
                    <a:pt x="4430" y="238"/>
                  </a:lnTo>
                  <a:lnTo>
                    <a:pt x="4424" y="237"/>
                  </a:lnTo>
                  <a:lnTo>
                    <a:pt x="4421" y="244"/>
                  </a:lnTo>
                  <a:lnTo>
                    <a:pt x="4410" y="247"/>
                  </a:lnTo>
                  <a:lnTo>
                    <a:pt x="4409" y="258"/>
                  </a:lnTo>
                  <a:lnTo>
                    <a:pt x="4405" y="264"/>
                  </a:lnTo>
                  <a:lnTo>
                    <a:pt x="4416" y="261"/>
                  </a:lnTo>
                  <a:lnTo>
                    <a:pt x="4409" y="272"/>
                  </a:lnTo>
                  <a:lnTo>
                    <a:pt x="4403" y="272"/>
                  </a:lnTo>
                  <a:lnTo>
                    <a:pt x="4402" y="283"/>
                  </a:lnTo>
                  <a:lnTo>
                    <a:pt x="4397" y="294"/>
                  </a:lnTo>
                  <a:lnTo>
                    <a:pt x="4386" y="299"/>
                  </a:lnTo>
                  <a:lnTo>
                    <a:pt x="4382" y="296"/>
                  </a:lnTo>
                  <a:lnTo>
                    <a:pt x="4380" y="307"/>
                  </a:lnTo>
                  <a:lnTo>
                    <a:pt x="4356" y="306"/>
                  </a:lnTo>
                  <a:lnTo>
                    <a:pt x="4349" y="312"/>
                  </a:lnTo>
                  <a:lnTo>
                    <a:pt x="4334" y="306"/>
                  </a:lnTo>
                  <a:lnTo>
                    <a:pt x="4313" y="306"/>
                  </a:lnTo>
                  <a:lnTo>
                    <a:pt x="4313" y="301"/>
                  </a:lnTo>
                  <a:lnTo>
                    <a:pt x="4311" y="299"/>
                  </a:lnTo>
                  <a:lnTo>
                    <a:pt x="4329" y="288"/>
                  </a:lnTo>
                  <a:lnTo>
                    <a:pt x="4333" y="292"/>
                  </a:lnTo>
                  <a:lnTo>
                    <a:pt x="4343" y="264"/>
                  </a:lnTo>
                  <a:lnTo>
                    <a:pt x="4349" y="253"/>
                  </a:lnTo>
                  <a:lnTo>
                    <a:pt x="4353" y="242"/>
                  </a:lnTo>
                  <a:lnTo>
                    <a:pt x="4367" y="238"/>
                  </a:lnTo>
                  <a:lnTo>
                    <a:pt x="4377" y="216"/>
                  </a:lnTo>
                  <a:lnTo>
                    <a:pt x="4373" y="213"/>
                  </a:lnTo>
                  <a:lnTo>
                    <a:pt x="4370" y="207"/>
                  </a:lnTo>
                  <a:lnTo>
                    <a:pt x="4372" y="204"/>
                  </a:lnTo>
                  <a:lnTo>
                    <a:pt x="4380" y="204"/>
                  </a:lnTo>
                  <a:lnTo>
                    <a:pt x="4380" y="197"/>
                  </a:lnTo>
                  <a:lnTo>
                    <a:pt x="4373" y="195"/>
                  </a:lnTo>
                  <a:lnTo>
                    <a:pt x="4373" y="188"/>
                  </a:lnTo>
                  <a:lnTo>
                    <a:pt x="4375" y="183"/>
                  </a:lnTo>
                  <a:lnTo>
                    <a:pt x="4349" y="175"/>
                  </a:lnTo>
                  <a:lnTo>
                    <a:pt x="4344" y="178"/>
                  </a:lnTo>
                  <a:lnTo>
                    <a:pt x="4338" y="168"/>
                  </a:lnTo>
                  <a:lnTo>
                    <a:pt x="4329" y="166"/>
                  </a:lnTo>
                  <a:lnTo>
                    <a:pt x="4321" y="166"/>
                  </a:lnTo>
                  <a:lnTo>
                    <a:pt x="4312" y="173"/>
                  </a:lnTo>
                  <a:lnTo>
                    <a:pt x="4306" y="164"/>
                  </a:lnTo>
                  <a:lnTo>
                    <a:pt x="4289" y="173"/>
                  </a:lnTo>
                  <a:lnTo>
                    <a:pt x="4294" y="157"/>
                  </a:lnTo>
                  <a:lnTo>
                    <a:pt x="4292" y="143"/>
                  </a:lnTo>
                  <a:lnTo>
                    <a:pt x="4286" y="162"/>
                  </a:lnTo>
                  <a:lnTo>
                    <a:pt x="4268" y="161"/>
                  </a:lnTo>
                  <a:lnTo>
                    <a:pt x="4211" y="189"/>
                  </a:lnTo>
                  <a:lnTo>
                    <a:pt x="4224" y="169"/>
                  </a:lnTo>
                  <a:lnTo>
                    <a:pt x="4231" y="166"/>
                  </a:lnTo>
                  <a:lnTo>
                    <a:pt x="4256" y="126"/>
                  </a:lnTo>
                  <a:lnTo>
                    <a:pt x="4268" y="116"/>
                  </a:lnTo>
                  <a:lnTo>
                    <a:pt x="4276" y="115"/>
                  </a:lnTo>
                  <a:lnTo>
                    <a:pt x="4286" y="98"/>
                  </a:lnTo>
                  <a:lnTo>
                    <a:pt x="4286" y="91"/>
                  </a:lnTo>
                  <a:lnTo>
                    <a:pt x="4301" y="88"/>
                  </a:lnTo>
                  <a:lnTo>
                    <a:pt x="4310" y="95"/>
                  </a:lnTo>
                  <a:lnTo>
                    <a:pt x="4301" y="82"/>
                  </a:lnTo>
                  <a:lnTo>
                    <a:pt x="4290" y="43"/>
                  </a:lnTo>
                  <a:lnTo>
                    <a:pt x="4281" y="39"/>
                  </a:lnTo>
                  <a:lnTo>
                    <a:pt x="4276" y="48"/>
                  </a:lnTo>
                  <a:lnTo>
                    <a:pt x="4259" y="45"/>
                  </a:lnTo>
                  <a:lnTo>
                    <a:pt x="4242" y="34"/>
                  </a:lnTo>
                  <a:lnTo>
                    <a:pt x="4226" y="7"/>
                  </a:lnTo>
                  <a:lnTo>
                    <a:pt x="4219" y="17"/>
                  </a:lnTo>
                  <a:lnTo>
                    <a:pt x="4213" y="14"/>
                  </a:lnTo>
                  <a:lnTo>
                    <a:pt x="4211" y="12"/>
                  </a:lnTo>
                  <a:lnTo>
                    <a:pt x="4211" y="5"/>
                  </a:lnTo>
                  <a:lnTo>
                    <a:pt x="4203" y="0"/>
                  </a:lnTo>
                  <a:lnTo>
                    <a:pt x="4193" y="2"/>
                  </a:lnTo>
                  <a:lnTo>
                    <a:pt x="4178" y="14"/>
                  </a:lnTo>
                  <a:lnTo>
                    <a:pt x="4172" y="24"/>
                  </a:lnTo>
                  <a:lnTo>
                    <a:pt x="4166" y="27"/>
                  </a:lnTo>
                  <a:lnTo>
                    <a:pt x="4143" y="22"/>
                  </a:lnTo>
                  <a:lnTo>
                    <a:pt x="4139" y="35"/>
                  </a:lnTo>
                  <a:lnTo>
                    <a:pt x="4122" y="51"/>
                  </a:lnTo>
                  <a:lnTo>
                    <a:pt x="4098" y="88"/>
                  </a:lnTo>
                  <a:lnTo>
                    <a:pt x="4093" y="102"/>
                  </a:lnTo>
                  <a:lnTo>
                    <a:pt x="4073" y="120"/>
                  </a:lnTo>
                  <a:lnTo>
                    <a:pt x="4070" y="126"/>
                  </a:lnTo>
                  <a:lnTo>
                    <a:pt x="4049" y="157"/>
                  </a:lnTo>
                  <a:lnTo>
                    <a:pt x="4043" y="168"/>
                  </a:lnTo>
                  <a:lnTo>
                    <a:pt x="4042" y="178"/>
                  </a:lnTo>
                  <a:lnTo>
                    <a:pt x="4042" y="185"/>
                  </a:lnTo>
                  <a:lnTo>
                    <a:pt x="4039" y="194"/>
                  </a:lnTo>
                  <a:lnTo>
                    <a:pt x="4033" y="194"/>
                  </a:lnTo>
                  <a:lnTo>
                    <a:pt x="4032" y="201"/>
                  </a:lnTo>
                  <a:lnTo>
                    <a:pt x="4023" y="220"/>
                  </a:lnTo>
                  <a:lnTo>
                    <a:pt x="4025" y="222"/>
                  </a:lnTo>
                  <a:lnTo>
                    <a:pt x="4025" y="232"/>
                  </a:lnTo>
                  <a:lnTo>
                    <a:pt x="4030" y="238"/>
                  </a:lnTo>
                  <a:lnTo>
                    <a:pt x="4043" y="244"/>
                  </a:lnTo>
                  <a:lnTo>
                    <a:pt x="4046" y="258"/>
                  </a:lnTo>
                  <a:lnTo>
                    <a:pt x="4052" y="263"/>
                  </a:lnTo>
                  <a:lnTo>
                    <a:pt x="4050" y="267"/>
                  </a:lnTo>
                  <a:lnTo>
                    <a:pt x="4039" y="265"/>
                  </a:lnTo>
                  <a:lnTo>
                    <a:pt x="4037" y="258"/>
                  </a:lnTo>
                  <a:lnTo>
                    <a:pt x="4037" y="282"/>
                  </a:lnTo>
                  <a:lnTo>
                    <a:pt x="4041" y="285"/>
                  </a:lnTo>
                  <a:lnTo>
                    <a:pt x="4039" y="286"/>
                  </a:lnTo>
                  <a:lnTo>
                    <a:pt x="4010" y="303"/>
                  </a:lnTo>
                  <a:lnTo>
                    <a:pt x="3995" y="307"/>
                  </a:lnTo>
                  <a:lnTo>
                    <a:pt x="3975" y="306"/>
                  </a:lnTo>
                  <a:lnTo>
                    <a:pt x="3962" y="312"/>
                  </a:lnTo>
                  <a:lnTo>
                    <a:pt x="3913" y="302"/>
                  </a:lnTo>
                  <a:lnTo>
                    <a:pt x="3915" y="310"/>
                  </a:lnTo>
                  <a:lnTo>
                    <a:pt x="3915" y="315"/>
                  </a:lnTo>
                  <a:lnTo>
                    <a:pt x="3921" y="321"/>
                  </a:lnTo>
                  <a:lnTo>
                    <a:pt x="3923" y="334"/>
                  </a:lnTo>
                  <a:lnTo>
                    <a:pt x="3934" y="335"/>
                  </a:lnTo>
                  <a:lnTo>
                    <a:pt x="3941" y="344"/>
                  </a:lnTo>
                  <a:lnTo>
                    <a:pt x="3941" y="351"/>
                  </a:lnTo>
                  <a:lnTo>
                    <a:pt x="3960" y="351"/>
                  </a:lnTo>
                  <a:lnTo>
                    <a:pt x="3967" y="356"/>
                  </a:lnTo>
                  <a:lnTo>
                    <a:pt x="3968" y="364"/>
                  </a:lnTo>
                  <a:lnTo>
                    <a:pt x="3963" y="377"/>
                  </a:lnTo>
                  <a:lnTo>
                    <a:pt x="3963" y="396"/>
                  </a:lnTo>
                  <a:lnTo>
                    <a:pt x="3960" y="406"/>
                  </a:lnTo>
                  <a:lnTo>
                    <a:pt x="3947" y="401"/>
                  </a:lnTo>
                  <a:lnTo>
                    <a:pt x="3947" y="389"/>
                  </a:lnTo>
                  <a:lnTo>
                    <a:pt x="3944" y="384"/>
                  </a:lnTo>
                  <a:lnTo>
                    <a:pt x="3923" y="380"/>
                  </a:lnTo>
                  <a:lnTo>
                    <a:pt x="3923" y="377"/>
                  </a:lnTo>
                  <a:lnTo>
                    <a:pt x="3926" y="366"/>
                  </a:lnTo>
                  <a:lnTo>
                    <a:pt x="3924" y="361"/>
                  </a:lnTo>
                  <a:lnTo>
                    <a:pt x="3907" y="364"/>
                  </a:lnTo>
                  <a:lnTo>
                    <a:pt x="3908" y="353"/>
                  </a:lnTo>
                  <a:lnTo>
                    <a:pt x="3902" y="352"/>
                  </a:lnTo>
                  <a:lnTo>
                    <a:pt x="3865" y="379"/>
                  </a:lnTo>
                  <a:lnTo>
                    <a:pt x="3869" y="389"/>
                  </a:lnTo>
                  <a:lnTo>
                    <a:pt x="3869" y="396"/>
                  </a:lnTo>
                  <a:lnTo>
                    <a:pt x="3864" y="396"/>
                  </a:lnTo>
                  <a:lnTo>
                    <a:pt x="3860" y="390"/>
                  </a:lnTo>
                  <a:lnTo>
                    <a:pt x="3849" y="393"/>
                  </a:lnTo>
                  <a:lnTo>
                    <a:pt x="3844" y="404"/>
                  </a:lnTo>
                  <a:lnTo>
                    <a:pt x="3851" y="405"/>
                  </a:lnTo>
                  <a:lnTo>
                    <a:pt x="3854" y="409"/>
                  </a:lnTo>
                  <a:lnTo>
                    <a:pt x="3855" y="417"/>
                  </a:lnTo>
                  <a:lnTo>
                    <a:pt x="3850" y="419"/>
                  </a:lnTo>
                  <a:lnTo>
                    <a:pt x="3838" y="415"/>
                  </a:lnTo>
                  <a:lnTo>
                    <a:pt x="3821" y="428"/>
                  </a:lnTo>
                  <a:lnTo>
                    <a:pt x="3821" y="415"/>
                  </a:lnTo>
                  <a:lnTo>
                    <a:pt x="3819" y="411"/>
                  </a:lnTo>
                  <a:lnTo>
                    <a:pt x="3815" y="415"/>
                  </a:lnTo>
                  <a:lnTo>
                    <a:pt x="3805" y="431"/>
                  </a:lnTo>
                  <a:lnTo>
                    <a:pt x="3797" y="431"/>
                  </a:lnTo>
                  <a:lnTo>
                    <a:pt x="3784" y="442"/>
                  </a:lnTo>
                  <a:lnTo>
                    <a:pt x="3780" y="439"/>
                  </a:lnTo>
                  <a:lnTo>
                    <a:pt x="3790" y="427"/>
                  </a:lnTo>
                  <a:lnTo>
                    <a:pt x="3791" y="419"/>
                  </a:lnTo>
                  <a:lnTo>
                    <a:pt x="3780" y="417"/>
                  </a:lnTo>
                  <a:lnTo>
                    <a:pt x="3779" y="411"/>
                  </a:lnTo>
                  <a:lnTo>
                    <a:pt x="3774" y="419"/>
                  </a:lnTo>
                  <a:lnTo>
                    <a:pt x="3756" y="423"/>
                  </a:lnTo>
                  <a:lnTo>
                    <a:pt x="3748" y="438"/>
                  </a:lnTo>
                  <a:lnTo>
                    <a:pt x="3740" y="442"/>
                  </a:lnTo>
                  <a:lnTo>
                    <a:pt x="3736" y="436"/>
                  </a:lnTo>
                  <a:lnTo>
                    <a:pt x="3756" y="414"/>
                  </a:lnTo>
                  <a:lnTo>
                    <a:pt x="3761" y="393"/>
                  </a:lnTo>
                  <a:lnTo>
                    <a:pt x="3745" y="380"/>
                  </a:lnTo>
                  <a:lnTo>
                    <a:pt x="3716" y="382"/>
                  </a:lnTo>
                  <a:lnTo>
                    <a:pt x="3711" y="385"/>
                  </a:lnTo>
                  <a:lnTo>
                    <a:pt x="3710" y="393"/>
                  </a:lnTo>
                  <a:lnTo>
                    <a:pt x="3678" y="383"/>
                  </a:lnTo>
                  <a:lnTo>
                    <a:pt x="3676" y="390"/>
                  </a:lnTo>
                  <a:lnTo>
                    <a:pt x="3665" y="399"/>
                  </a:lnTo>
                  <a:lnTo>
                    <a:pt x="3657" y="389"/>
                  </a:lnTo>
                  <a:lnTo>
                    <a:pt x="3629" y="390"/>
                  </a:lnTo>
                  <a:lnTo>
                    <a:pt x="3628" y="394"/>
                  </a:lnTo>
                  <a:lnTo>
                    <a:pt x="3635" y="399"/>
                  </a:lnTo>
                  <a:lnTo>
                    <a:pt x="3635" y="403"/>
                  </a:lnTo>
                  <a:lnTo>
                    <a:pt x="3609" y="409"/>
                  </a:lnTo>
                  <a:lnTo>
                    <a:pt x="3608" y="405"/>
                  </a:lnTo>
                  <a:lnTo>
                    <a:pt x="3611" y="398"/>
                  </a:lnTo>
                  <a:lnTo>
                    <a:pt x="3604" y="399"/>
                  </a:lnTo>
                  <a:lnTo>
                    <a:pt x="3590" y="412"/>
                  </a:lnTo>
                  <a:lnTo>
                    <a:pt x="3586" y="401"/>
                  </a:lnTo>
                  <a:lnTo>
                    <a:pt x="3581" y="405"/>
                  </a:lnTo>
                  <a:lnTo>
                    <a:pt x="3581" y="423"/>
                  </a:lnTo>
                  <a:lnTo>
                    <a:pt x="3585" y="427"/>
                  </a:lnTo>
                  <a:lnTo>
                    <a:pt x="3604" y="417"/>
                  </a:lnTo>
                  <a:lnTo>
                    <a:pt x="3607" y="428"/>
                  </a:lnTo>
                  <a:lnTo>
                    <a:pt x="3611" y="435"/>
                  </a:lnTo>
                  <a:lnTo>
                    <a:pt x="3612" y="432"/>
                  </a:lnTo>
                  <a:lnTo>
                    <a:pt x="3612" y="426"/>
                  </a:lnTo>
                  <a:lnTo>
                    <a:pt x="3619" y="423"/>
                  </a:lnTo>
                  <a:lnTo>
                    <a:pt x="3618" y="428"/>
                  </a:lnTo>
                  <a:lnTo>
                    <a:pt x="3620" y="435"/>
                  </a:lnTo>
                  <a:lnTo>
                    <a:pt x="3614" y="446"/>
                  </a:lnTo>
                  <a:lnTo>
                    <a:pt x="3549" y="471"/>
                  </a:lnTo>
                  <a:lnTo>
                    <a:pt x="3520" y="475"/>
                  </a:lnTo>
                  <a:lnTo>
                    <a:pt x="3516" y="473"/>
                  </a:lnTo>
                  <a:lnTo>
                    <a:pt x="3514" y="481"/>
                  </a:lnTo>
                  <a:lnTo>
                    <a:pt x="3514" y="492"/>
                  </a:lnTo>
                  <a:lnTo>
                    <a:pt x="3514" y="489"/>
                  </a:lnTo>
                  <a:lnTo>
                    <a:pt x="3501" y="487"/>
                  </a:lnTo>
                  <a:lnTo>
                    <a:pt x="3488" y="496"/>
                  </a:lnTo>
                  <a:lnTo>
                    <a:pt x="3473" y="490"/>
                  </a:lnTo>
                  <a:lnTo>
                    <a:pt x="3455" y="502"/>
                  </a:lnTo>
                  <a:lnTo>
                    <a:pt x="3436" y="502"/>
                  </a:lnTo>
                  <a:lnTo>
                    <a:pt x="3420" y="516"/>
                  </a:lnTo>
                  <a:lnTo>
                    <a:pt x="3434" y="524"/>
                  </a:lnTo>
                  <a:lnTo>
                    <a:pt x="3415" y="529"/>
                  </a:lnTo>
                  <a:lnTo>
                    <a:pt x="3401" y="541"/>
                  </a:lnTo>
                  <a:lnTo>
                    <a:pt x="3385" y="528"/>
                  </a:lnTo>
                  <a:lnTo>
                    <a:pt x="3378" y="536"/>
                  </a:lnTo>
                  <a:lnTo>
                    <a:pt x="3366" y="539"/>
                  </a:lnTo>
                  <a:lnTo>
                    <a:pt x="3365" y="544"/>
                  </a:lnTo>
                  <a:lnTo>
                    <a:pt x="3371" y="544"/>
                  </a:lnTo>
                  <a:lnTo>
                    <a:pt x="3374" y="550"/>
                  </a:lnTo>
                  <a:lnTo>
                    <a:pt x="3355" y="555"/>
                  </a:lnTo>
                  <a:lnTo>
                    <a:pt x="3354" y="562"/>
                  </a:lnTo>
                  <a:lnTo>
                    <a:pt x="3344" y="566"/>
                  </a:lnTo>
                  <a:lnTo>
                    <a:pt x="3333" y="584"/>
                  </a:lnTo>
                  <a:lnTo>
                    <a:pt x="3322" y="593"/>
                  </a:lnTo>
                  <a:lnTo>
                    <a:pt x="3321" y="598"/>
                  </a:lnTo>
                  <a:lnTo>
                    <a:pt x="3322" y="604"/>
                  </a:lnTo>
                  <a:lnTo>
                    <a:pt x="3319" y="608"/>
                  </a:lnTo>
                  <a:lnTo>
                    <a:pt x="3305" y="614"/>
                  </a:lnTo>
                  <a:lnTo>
                    <a:pt x="3300" y="605"/>
                  </a:lnTo>
                  <a:lnTo>
                    <a:pt x="3292" y="604"/>
                  </a:lnTo>
                  <a:lnTo>
                    <a:pt x="3269" y="602"/>
                  </a:lnTo>
                  <a:lnTo>
                    <a:pt x="3261" y="606"/>
                  </a:lnTo>
                  <a:lnTo>
                    <a:pt x="3256" y="611"/>
                  </a:lnTo>
                  <a:lnTo>
                    <a:pt x="3262" y="618"/>
                  </a:lnTo>
                  <a:lnTo>
                    <a:pt x="3279" y="625"/>
                  </a:lnTo>
                  <a:lnTo>
                    <a:pt x="3301" y="626"/>
                  </a:lnTo>
                  <a:lnTo>
                    <a:pt x="3297" y="633"/>
                  </a:lnTo>
                  <a:lnTo>
                    <a:pt x="3288" y="642"/>
                  </a:lnTo>
                  <a:lnTo>
                    <a:pt x="3281" y="640"/>
                  </a:lnTo>
                  <a:lnTo>
                    <a:pt x="3279" y="633"/>
                  </a:lnTo>
                  <a:lnTo>
                    <a:pt x="3272" y="640"/>
                  </a:lnTo>
                  <a:lnTo>
                    <a:pt x="3274" y="645"/>
                  </a:lnTo>
                  <a:lnTo>
                    <a:pt x="3268" y="659"/>
                  </a:lnTo>
                  <a:lnTo>
                    <a:pt x="3262" y="667"/>
                  </a:lnTo>
                  <a:lnTo>
                    <a:pt x="3256" y="683"/>
                  </a:lnTo>
                  <a:lnTo>
                    <a:pt x="3249" y="683"/>
                  </a:lnTo>
                  <a:lnTo>
                    <a:pt x="3247" y="694"/>
                  </a:lnTo>
                  <a:lnTo>
                    <a:pt x="3253" y="702"/>
                  </a:lnTo>
                  <a:lnTo>
                    <a:pt x="3246" y="708"/>
                  </a:lnTo>
                  <a:lnTo>
                    <a:pt x="3236" y="691"/>
                  </a:lnTo>
                  <a:lnTo>
                    <a:pt x="3222" y="684"/>
                  </a:lnTo>
                  <a:lnTo>
                    <a:pt x="3221" y="674"/>
                  </a:lnTo>
                  <a:lnTo>
                    <a:pt x="3204" y="667"/>
                  </a:lnTo>
                  <a:lnTo>
                    <a:pt x="3203" y="668"/>
                  </a:lnTo>
                  <a:lnTo>
                    <a:pt x="3209" y="681"/>
                  </a:lnTo>
                  <a:lnTo>
                    <a:pt x="3194" y="690"/>
                  </a:lnTo>
                  <a:lnTo>
                    <a:pt x="3197" y="699"/>
                  </a:lnTo>
                  <a:lnTo>
                    <a:pt x="3192" y="701"/>
                  </a:lnTo>
                  <a:lnTo>
                    <a:pt x="3193" y="707"/>
                  </a:lnTo>
                  <a:lnTo>
                    <a:pt x="3222" y="711"/>
                  </a:lnTo>
                  <a:lnTo>
                    <a:pt x="3229" y="717"/>
                  </a:lnTo>
                  <a:lnTo>
                    <a:pt x="3242" y="724"/>
                  </a:lnTo>
                  <a:lnTo>
                    <a:pt x="3238" y="728"/>
                  </a:lnTo>
                  <a:lnTo>
                    <a:pt x="3238" y="735"/>
                  </a:lnTo>
                  <a:lnTo>
                    <a:pt x="3242" y="739"/>
                  </a:lnTo>
                  <a:lnTo>
                    <a:pt x="3240" y="743"/>
                  </a:lnTo>
                  <a:lnTo>
                    <a:pt x="3227" y="740"/>
                  </a:lnTo>
                  <a:lnTo>
                    <a:pt x="3224" y="744"/>
                  </a:lnTo>
                  <a:lnTo>
                    <a:pt x="3211" y="750"/>
                  </a:lnTo>
                  <a:lnTo>
                    <a:pt x="3215" y="756"/>
                  </a:lnTo>
                  <a:lnTo>
                    <a:pt x="3204" y="756"/>
                  </a:lnTo>
                  <a:lnTo>
                    <a:pt x="3202" y="761"/>
                  </a:lnTo>
                  <a:lnTo>
                    <a:pt x="3203" y="771"/>
                  </a:lnTo>
                  <a:lnTo>
                    <a:pt x="3209" y="777"/>
                  </a:lnTo>
                  <a:lnTo>
                    <a:pt x="3246" y="788"/>
                  </a:lnTo>
                  <a:lnTo>
                    <a:pt x="3249" y="814"/>
                  </a:lnTo>
                  <a:lnTo>
                    <a:pt x="3253" y="821"/>
                  </a:lnTo>
                  <a:lnTo>
                    <a:pt x="3259" y="826"/>
                  </a:lnTo>
                  <a:lnTo>
                    <a:pt x="3254" y="832"/>
                  </a:lnTo>
                  <a:lnTo>
                    <a:pt x="3242" y="828"/>
                  </a:lnTo>
                  <a:lnTo>
                    <a:pt x="3242" y="831"/>
                  </a:lnTo>
                  <a:lnTo>
                    <a:pt x="3245" y="839"/>
                  </a:lnTo>
                  <a:lnTo>
                    <a:pt x="3240" y="841"/>
                  </a:lnTo>
                  <a:lnTo>
                    <a:pt x="3242" y="847"/>
                  </a:lnTo>
                  <a:lnTo>
                    <a:pt x="3247" y="850"/>
                  </a:lnTo>
                  <a:lnTo>
                    <a:pt x="3247" y="856"/>
                  </a:lnTo>
                  <a:lnTo>
                    <a:pt x="3237" y="861"/>
                  </a:lnTo>
                  <a:lnTo>
                    <a:pt x="3215" y="863"/>
                  </a:lnTo>
                  <a:lnTo>
                    <a:pt x="3202" y="872"/>
                  </a:lnTo>
                  <a:lnTo>
                    <a:pt x="3189" y="871"/>
                  </a:lnTo>
                  <a:lnTo>
                    <a:pt x="3182" y="874"/>
                  </a:lnTo>
                  <a:lnTo>
                    <a:pt x="3179" y="883"/>
                  </a:lnTo>
                  <a:lnTo>
                    <a:pt x="3166" y="894"/>
                  </a:lnTo>
                  <a:lnTo>
                    <a:pt x="3148" y="889"/>
                  </a:lnTo>
                  <a:lnTo>
                    <a:pt x="3145" y="883"/>
                  </a:lnTo>
                  <a:lnTo>
                    <a:pt x="3143" y="883"/>
                  </a:lnTo>
                  <a:lnTo>
                    <a:pt x="3130" y="888"/>
                  </a:lnTo>
                  <a:lnTo>
                    <a:pt x="3105" y="893"/>
                  </a:lnTo>
                  <a:lnTo>
                    <a:pt x="3082" y="900"/>
                  </a:lnTo>
                  <a:lnTo>
                    <a:pt x="3035" y="906"/>
                  </a:lnTo>
                  <a:lnTo>
                    <a:pt x="3026" y="900"/>
                  </a:lnTo>
                  <a:lnTo>
                    <a:pt x="3007" y="904"/>
                  </a:lnTo>
                  <a:lnTo>
                    <a:pt x="2989" y="901"/>
                  </a:lnTo>
                  <a:lnTo>
                    <a:pt x="2952" y="912"/>
                  </a:lnTo>
                  <a:lnTo>
                    <a:pt x="2952" y="917"/>
                  </a:lnTo>
                  <a:lnTo>
                    <a:pt x="2950" y="920"/>
                  </a:lnTo>
                  <a:lnTo>
                    <a:pt x="2939" y="914"/>
                  </a:lnTo>
                  <a:lnTo>
                    <a:pt x="2929" y="918"/>
                  </a:lnTo>
                  <a:lnTo>
                    <a:pt x="2928" y="922"/>
                  </a:lnTo>
                  <a:lnTo>
                    <a:pt x="2912" y="926"/>
                  </a:lnTo>
                  <a:lnTo>
                    <a:pt x="2913" y="936"/>
                  </a:lnTo>
                  <a:lnTo>
                    <a:pt x="2917" y="944"/>
                  </a:lnTo>
                  <a:lnTo>
                    <a:pt x="2920" y="943"/>
                  </a:lnTo>
                  <a:lnTo>
                    <a:pt x="2921" y="938"/>
                  </a:lnTo>
                  <a:lnTo>
                    <a:pt x="2926" y="939"/>
                  </a:lnTo>
                  <a:lnTo>
                    <a:pt x="2924" y="947"/>
                  </a:lnTo>
                  <a:lnTo>
                    <a:pt x="2912" y="958"/>
                  </a:lnTo>
                  <a:lnTo>
                    <a:pt x="2912" y="964"/>
                  </a:lnTo>
                  <a:lnTo>
                    <a:pt x="2904" y="960"/>
                  </a:lnTo>
                  <a:lnTo>
                    <a:pt x="2901" y="966"/>
                  </a:lnTo>
                  <a:lnTo>
                    <a:pt x="2904" y="975"/>
                  </a:lnTo>
                  <a:lnTo>
                    <a:pt x="2913" y="977"/>
                  </a:lnTo>
                  <a:lnTo>
                    <a:pt x="2913" y="987"/>
                  </a:lnTo>
                  <a:lnTo>
                    <a:pt x="2901" y="996"/>
                  </a:lnTo>
                  <a:lnTo>
                    <a:pt x="2918" y="1009"/>
                  </a:lnTo>
                  <a:lnTo>
                    <a:pt x="2917" y="1014"/>
                  </a:lnTo>
                  <a:lnTo>
                    <a:pt x="2923" y="1019"/>
                  </a:lnTo>
                  <a:lnTo>
                    <a:pt x="2926" y="1018"/>
                  </a:lnTo>
                  <a:lnTo>
                    <a:pt x="2931" y="1040"/>
                  </a:lnTo>
                  <a:lnTo>
                    <a:pt x="2937" y="1046"/>
                  </a:lnTo>
                  <a:lnTo>
                    <a:pt x="2934" y="1052"/>
                  </a:lnTo>
                  <a:lnTo>
                    <a:pt x="2933" y="1058"/>
                  </a:lnTo>
                  <a:lnTo>
                    <a:pt x="2929" y="1066"/>
                  </a:lnTo>
                  <a:lnTo>
                    <a:pt x="2924" y="1082"/>
                  </a:lnTo>
                  <a:lnTo>
                    <a:pt x="2925" y="1097"/>
                  </a:lnTo>
                  <a:lnTo>
                    <a:pt x="2930" y="1105"/>
                  </a:lnTo>
                  <a:lnTo>
                    <a:pt x="2930" y="1122"/>
                  </a:lnTo>
                  <a:lnTo>
                    <a:pt x="2935" y="1133"/>
                  </a:lnTo>
                  <a:lnTo>
                    <a:pt x="2949" y="1149"/>
                  </a:lnTo>
                  <a:lnTo>
                    <a:pt x="2962" y="1153"/>
                  </a:lnTo>
                  <a:lnTo>
                    <a:pt x="2987" y="1157"/>
                  </a:lnTo>
                  <a:lnTo>
                    <a:pt x="3001" y="1168"/>
                  </a:lnTo>
                  <a:lnTo>
                    <a:pt x="3009" y="1168"/>
                  </a:lnTo>
                  <a:lnTo>
                    <a:pt x="3015" y="1184"/>
                  </a:lnTo>
                  <a:lnTo>
                    <a:pt x="3010" y="1196"/>
                  </a:lnTo>
                  <a:lnTo>
                    <a:pt x="3006" y="1200"/>
                  </a:lnTo>
                  <a:lnTo>
                    <a:pt x="3017" y="1203"/>
                  </a:lnTo>
                  <a:lnTo>
                    <a:pt x="3023" y="1211"/>
                  </a:lnTo>
                  <a:lnTo>
                    <a:pt x="3031" y="1227"/>
                  </a:lnTo>
                  <a:lnTo>
                    <a:pt x="3041" y="1233"/>
                  </a:lnTo>
                  <a:lnTo>
                    <a:pt x="3060" y="1239"/>
                  </a:lnTo>
                  <a:lnTo>
                    <a:pt x="3069" y="1246"/>
                  </a:lnTo>
                  <a:lnTo>
                    <a:pt x="3073" y="1239"/>
                  </a:lnTo>
                  <a:lnTo>
                    <a:pt x="3076" y="1254"/>
                  </a:lnTo>
                  <a:lnTo>
                    <a:pt x="3084" y="1272"/>
                  </a:lnTo>
                  <a:lnTo>
                    <a:pt x="3084" y="1282"/>
                  </a:lnTo>
                  <a:lnTo>
                    <a:pt x="3080" y="1302"/>
                  </a:lnTo>
                  <a:lnTo>
                    <a:pt x="3069" y="1312"/>
                  </a:lnTo>
                  <a:lnTo>
                    <a:pt x="3068" y="1329"/>
                  </a:lnTo>
                  <a:lnTo>
                    <a:pt x="3060" y="1343"/>
                  </a:lnTo>
                  <a:lnTo>
                    <a:pt x="3064" y="1358"/>
                  </a:lnTo>
                  <a:lnTo>
                    <a:pt x="3063" y="1372"/>
                  </a:lnTo>
                  <a:lnTo>
                    <a:pt x="3079" y="1394"/>
                  </a:lnTo>
                  <a:lnTo>
                    <a:pt x="3082" y="1426"/>
                  </a:lnTo>
                  <a:lnTo>
                    <a:pt x="3087" y="1440"/>
                  </a:lnTo>
                  <a:lnTo>
                    <a:pt x="3090" y="1459"/>
                  </a:lnTo>
                  <a:lnTo>
                    <a:pt x="3090" y="1474"/>
                  </a:lnTo>
                  <a:lnTo>
                    <a:pt x="3085" y="1487"/>
                  </a:lnTo>
                  <a:lnTo>
                    <a:pt x="3075" y="1501"/>
                  </a:lnTo>
                  <a:lnTo>
                    <a:pt x="3063" y="1504"/>
                  </a:lnTo>
                  <a:lnTo>
                    <a:pt x="3055" y="1501"/>
                  </a:lnTo>
                  <a:lnTo>
                    <a:pt x="3054" y="1509"/>
                  </a:lnTo>
                  <a:lnTo>
                    <a:pt x="3063" y="1530"/>
                  </a:lnTo>
                  <a:lnTo>
                    <a:pt x="3059" y="1539"/>
                  </a:lnTo>
                  <a:lnTo>
                    <a:pt x="3035" y="1529"/>
                  </a:lnTo>
                  <a:lnTo>
                    <a:pt x="3017" y="1528"/>
                  </a:lnTo>
                  <a:lnTo>
                    <a:pt x="3006" y="1517"/>
                  </a:lnTo>
                  <a:lnTo>
                    <a:pt x="3004" y="1504"/>
                  </a:lnTo>
                  <a:lnTo>
                    <a:pt x="3004" y="1458"/>
                  </a:lnTo>
                  <a:lnTo>
                    <a:pt x="3012" y="1428"/>
                  </a:lnTo>
                  <a:lnTo>
                    <a:pt x="3009" y="1422"/>
                  </a:lnTo>
                  <a:lnTo>
                    <a:pt x="3007" y="1393"/>
                  </a:lnTo>
                  <a:lnTo>
                    <a:pt x="3010" y="1379"/>
                  </a:lnTo>
                  <a:lnTo>
                    <a:pt x="3009" y="1362"/>
                  </a:lnTo>
                  <a:lnTo>
                    <a:pt x="3007" y="1352"/>
                  </a:lnTo>
                  <a:lnTo>
                    <a:pt x="3015" y="1340"/>
                  </a:lnTo>
                  <a:lnTo>
                    <a:pt x="3047" y="1319"/>
                  </a:lnTo>
                  <a:lnTo>
                    <a:pt x="3049" y="1313"/>
                  </a:lnTo>
                  <a:lnTo>
                    <a:pt x="3049" y="1300"/>
                  </a:lnTo>
                  <a:lnTo>
                    <a:pt x="3052" y="1288"/>
                  </a:lnTo>
                  <a:lnTo>
                    <a:pt x="3060" y="1287"/>
                  </a:lnTo>
                  <a:lnTo>
                    <a:pt x="3063" y="1270"/>
                  </a:lnTo>
                  <a:lnTo>
                    <a:pt x="3039" y="1254"/>
                  </a:lnTo>
                  <a:lnTo>
                    <a:pt x="3010" y="1264"/>
                  </a:lnTo>
                  <a:lnTo>
                    <a:pt x="2982" y="1267"/>
                  </a:lnTo>
                  <a:lnTo>
                    <a:pt x="2966" y="1260"/>
                  </a:lnTo>
                  <a:lnTo>
                    <a:pt x="2955" y="1248"/>
                  </a:lnTo>
                  <a:lnTo>
                    <a:pt x="2952" y="1250"/>
                  </a:lnTo>
                  <a:lnTo>
                    <a:pt x="2945" y="1235"/>
                  </a:lnTo>
                  <a:lnTo>
                    <a:pt x="2931" y="1219"/>
                  </a:lnTo>
                  <a:lnTo>
                    <a:pt x="2928" y="1212"/>
                  </a:lnTo>
                  <a:lnTo>
                    <a:pt x="2928" y="1203"/>
                  </a:lnTo>
                  <a:lnTo>
                    <a:pt x="2902" y="1191"/>
                  </a:lnTo>
                  <a:lnTo>
                    <a:pt x="2880" y="1174"/>
                  </a:lnTo>
                  <a:lnTo>
                    <a:pt x="2871" y="1163"/>
                  </a:lnTo>
                  <a:lnTo>
                    <a:pt x="2844" y="1149"/>
                  </a:lnTo>
                  <a:lnTo>
                    <a:pt x="2792" y="1148"/>
                  </a:lnTo>
                  <a:lnTo>
                    <a:pt x="2777" y="1151"/>
                  </a:lnTo>
                  <a:lnTo>
                    <a:pt x="2763" y="1171"/>
                  </a:lnTo>
                  <a:lnTo>
                    <a:pt x="2741" y="1181"/>
                  </a:lnTo>
                  <a:lnTo>
                    <a:pt x="2737" y="1201"/>
                  </a:lnTo>
                  <a:lnTo>
                    <a:pt x="2764" y="1202"/>
                  </a:lnTo>
                  <a:lnTo>
                    <a:pt x="2778" y="1213"/>
                  </a:lnTo>
                  <a:lnTo>
                    <a:pt x="2773" y="1227"/>
                  </a:lnTo>
                  <a:lnTo>
                    <a:pt x="2763" y="1240"/>
                  </a:lnTo>
                  <a:lnTo>
                    <a:pt x="2743" y="1246"/>
                  </a:lnTo>
                  <a:lnTo>
                    <a:pt x="2729" y="1259"/>
                  </a:lnTo>
                  <a:lnTo>
                    <a:pt x="2708" y="1265"/>
                  </a:lnTo>
                  <a:lnTo>
                    <a:pt x="2708" y="1249"/>
                  </a:lnTo>
                  <a:lnTo>
                    <a:pt x="2692" y="1233"/>
                  </a:lnTo>
                  <a:lnTo>
                    <a:pt x="2683" y="1217"/>
                  </a:lnTo>
                  <a:lnTo>
                    <a:pt x="2672" y="1218"/>
                  </a:lnTo>
                  <a:lnTo>
                    <a:pt x="2662" y="1232"/>
                  </a:lnTo>
                  <a:lnTo>
                    <a:pt x="2668" y="1239"/>
                  </a:lnTo>
                  <a:lnTo>
                    <a:pt x="2673" y="1260"/>
                  </a:lnTo>
                  <a:lnTo>
                    <a:pt x="2678" y="1275"/>
                  </a:lnTo>
                  <a:lnTo>
                    <a:pt x="2681" y="1287"/>
                  </a:lnTo>
                  <a:lnTo>
                    <a:pt x="2687" y="1289"/>
                  </a:lnTo>
                  <a:lnTo>
                    <a:pt x="2709" y="1308"/>
                  </a:lnTo>
                  <a:lnTo>
                    <a:pt x="2724" y="1314"/>
                  </a:lnTo>
                  <a:lnTo>
                    <a:pt x="2732" y="1326"/>
                  </a:lnTo>
                  <a:lnTo>
                    <a:pt x="2741" y="1327"/>
                  </a:lnTo>
                  <a:lnTo>
                    <a:pt x="2747" y="1335"/>
                  </a:lnTo>
                  <a:lnTo>
                    <a:pt x="2757" y="1329"/>
                  </a:lnTo>
                  <a:lnTo>
                    <a:pt x="2767" y="1319"/>
                  </a:lnTo>
                  <a:lnTo>
                    <a:pt x="2764" y="1334"/>
                  </a:lnTo>
                  <a:lnTo>
                    <a:pt x="2769" y="1341"/>
                  </a:lnTo>
                  <a:lnTo>
                    <a:pt x="2780" y="1337"/>
                  </a:lnTo>
                  <a:lnTo>
                    <a:pt x="2781" y="1367"/>
                  </a:lnTo>
                  <a:lnTo>
                    <a:pt x="2795" y="1383"/>
                  </a:lnTo>
                  <a:lnTo>
                    <a:pt x="2795" y="1393"/>
                  </a:lnTo>
                  <a:lnTo>
                    <a:pt x="2779" y="1390"/>
                  </a:lnTo>
                  <a:lnTo>
                    <a:pt x="2769" y="1384"/>
                  </a:lnTo>
                  <a:lnTo>
                    <a:pt x="2762" y="1377"/>
                  </a:lnTo>
                  <a:lnTo>
                    <a:pt x="2758" y="1367"/>
                  </a:lnTo>
                  <a:lnTo>
                    <a:pt x="2748" y="1358"/>
                  </a:lnTo>
                  <a:lnTo>
                    <a:pt x="2713" y="1354"/>
                  </a:lnTo>
                  <a:lnTo>
                    <a:pt x="2702" y="1348"/>
                  </a:lnTo>
                  <a:lnTo>
                    <a:pt x="2668" y="1345"/>
                  </a:lnTo>
                  <a:lnTo>
                    <a:pt x="2636" y="1332"/>
                  </a:lnTo>
                  <a:lnTo>
                    <a:pt x="2627" y="1325"/>
                  </a:lnTo>
                  <a:lnTo>
                    <a:pt x="2617" y="1310"/>
                  </a:lnTo>
                  <a:lnTo>
                    <a:pt x="2619" y="1307"/>
                  </a:lnTo>
                  <a:lnTo>
                    <a:pt x="2633" y="1304"/>
                  </a:lnTo>
                  <a:lnTo>
                    <a:pt x="2634" y="1299"/>
                  </a:lnTo>
                  <a:lnTo>
                    <a:pt x="2633" y="1278"/>
                  </a:lnTo>
                  <a:lnTo>
                    <a:pt x="2622" y="1256"/>
                  </a:lnTo>
                  <a:lnTo>
                    <a:pt x="2621" y="1246"/>
                  </a:lnTo>
                  <a:lnTo>
                    <a:pt x="2627" y="1222"/>
                  </a:lnTo>
                  <a:lnTo>
                    <a:pt x="2618" y="1211"/>
                  </a:lnTo>
                  <a:lnTo>
                    <a:pt x="2627" y="1202"/>
                  </a:lnTo>
                  <a:lnTo>
                    <a:pt x="2641" y="1163"/>
                  </a:lnTo>
                  <a:lnTo>
                    <a:pt x="2634" y="1137"/>
                  </a:lnTo>
                  <a:lnTo>
                    <a:pt x="2632" y="1120"/>
                  </a:lnTo>
                  <a:lnTo>
                    <a:pt x="2640" y="1115"/>
                  </a:lnTo>
                  <a:lnTo>
                    <a:pt x="2630" y="1100"/>
                  </a:lnTo>
                  <a:lnTo>
                    <a:pt x="2628" y="1090"/>
                  </a:lnTo>
                  <a:lnTo>
                    <a:pt x="2629" y="1082"/>
                  </a:lnTo>
                  <a:lnTo>
                    <a:pt x="2613" y="1066"/>
                  </a:lnTo>
                  <a:lnTo>
                    <a:pt x="2608" y="1055"/>
                  </a:lnTo>
                  <a:lnTo>
                    <a:pt x="2593" y="1063"/>
                  </a:lnTo>
                  <a:lnTo>
                    <a:pt x="2595" y="1074"/>
                  </a:lnTo>
                  <a:lnTo>
                    <a:pt x="2602" y="1094"/>
                  </a:lnTo>
                  <a:lnTo>
                    <a:pt x="2607" y="1115"/>
                  </a:lnTo>
                  <a:lnTo>
                    <a:pt x="2607" y="1160"/>
                  </a:lnTo>
                  <a:lnTo>
                    <a:pt x="2598" y="1176"/>
                  </a:lnTo>
                  <a:lnTo>
                    <a:pt x="2566" y="1207"/>
                  </a:lnTo>
                  <a:lnTo>
                    <a:pt x="2546" y="1217"/>
                  </a:lnTo>
                  <a:lnTo>
                    <a:pt x="2516" y="1239"/>
                  </a:lnTo>
                  <a:lnTo>
                    <a:pt x="2517" y="1253"/>
                  </a:lnTo>
                  <a:lnTo>
                    <a:pt x="2517" y="1261"/>
                  </a:lnTo>
                  <a:lnTo>
                    <a:pt x="2514" y="1272"/>
                  </a:lnTo>
                  <a:lnTo>
                    <a:pt x="2498" y="1289"/>
                  </a:lnTo>
                  <a:lnTo>
                    <a:pt x="2498" y="1298"/>
                  </a:lnTo>
                  <a:lnTo>
                    <a:pt x="2519" y="1321"/>
                  </a:lnTo>
                  <a:lnTo>
                    <a:pt x="2532" y="1343"/>
                  </a:lnTo>
                  <a:lnTo>
                    <a:pt x="2541" y="1362"/>
                  </a:lnTo>
                  <a:lnTo>
                    <a:pt x="2547" y="1395"/>
                  </a:lnTo>
                  <a:lnTo>
                    <a:pt x="2560" y="1417"/>
                  </a:lnTo>
                  <a:lnTo>
                    <a:pt x="2569" y="1438"/>
                  </a:lnTo>
                  <a:lnTo>
                    <a:pt x="2569" y="1448"/>
                  </a:lnTo>
                  <a:lnTo>
                    <a:pt x="2565" y="1468"/>
                  </a:lnTo>
                  <a:lnTo>
                    <a:pt x="2557" y="1488"/>
                  </a:lnTo>
                  <a:lnTo>
                    <a:pt x="2555" y="1496"/>
                  </a:lnTo>
                  <a:lnTo>
                    <a:pt x="2541" y="1514"/>
                  </a:lnTo>
                  <a:lnTo>
                    <a:pt x="2538" y="1528"/>
                  </a:lnTo>
                  <a:lnTo>
                    <a:pt x="2539" y="1545"/>
                  </a:lnTo>
                  <a:lnTo>
                    <a:pt x="2532" y="1555"/>
                  </a:lnTo>
                  <a:lnTo>
                    <a:pt x="2530" y="1568"/>
                  </a:lnTo>
                  <a:lnTo>
                    <a:pt x="2527" y="1588"/>
                  </a:lnTo>
                  <a:lnTo>
                    <a:pt x="2541" y="1611"/>
                  </a:lnTo>
                  <a:lnTo>
                    <a:pt x="2548" y="1632"/>
                  </a:lnTo>
                  <a:lnTo>
                    <a:pt x="2546" y="1647"/>
                  </a:lnTo>
                  <a:lnTo>
                    <a:pt x="2539" y="1664"/>
                  </a:lnTo>
                  <a:lnTo>
                    <a:pt x="2538" y="1673"/>
                  </a:lnTo>
                  <a:lnTo>
                    <a:pt x="2547" y="1689"/>
                  </a:lnTo>
                  <a:lnTo>
                    <a:pt x="2559" y="1691"/>
                  </a:lnTo>
                  <a:lnTo>
                    <a:pt x="2575" y="1686"/>
                  </a:lnTo>
                  <a:lnTo>
                    <a:pt x="2586" y="1686"/>
                  </a:lnTo>
                  <a:lnTo>
                    <a:pt x="2600" y="1691"/>
                  </a:lnTo>
                  <a:lnTo>
                    <a:pt x="2616" y="1694"/>
                  </a:lnTo>
                  <a:lnTo>
                    <a:pt x="2618" y="1685"/>
                  </a:lnTo>
                  <a:lnTo>
                    <a:pt x="2641" y="1670"/>
                  </a:lnTo>
                  <a:lnTo>
                    <a:pt x="2665" y="1670"/>
                  </a:lnTo>
                  <a:lnTo>
                    <a:pt x="2698" y="1690"/>
                  </a:lnTo>
                  <a:lnTo>
                    <a:pt x="2708" y="1700"/>
                  </a:lnTo>
                  <a:lnTo>
                    <a:pt x="2734" y="1716"/>
                  </a:lnTo>
                  <a:lnTo>
                    <a:pt x="2753" y="1724"/>
                  </a:lnTo>
                  <a:lnTo>
                    <a:pt x="2758" y="1734"/>
                  </a:lnTo>
                  <a:lnTo>
                    <a:pt x="2758" y="1750"/>
                  </a:lnTo>
                  <a:lnTo>
                    <a:pt x="2757" y="1761"/>
                  </a:lnTo>
                  <a:lnTo>
                    <a:pt x="2775" y="1802"/>
                  </a:lnTo>
                  <a:lnTo>
                    <a:pt x="2779" y="1802"/>
                  </a:lnTo>
                  <a:lnTo>
                    <a:pt x="2780" y="1814"/>
                  </a:lnTo>
                  <a:lnTo>
                    <a:pt x="2774" y="1822"/>
                  </a:lnTo>
                  <a:lnTo>
                    <a:pt x="2761" y="1824"/>
                  </a:lnTo>
                  <a:lnTo>
                    <a:pt x="2750" y="1832"/>
                  </a:lnTo>
                  <a:lnTo>
                    <a:pt x="2746" y="1845"/>
                  </a:lnTo>
                  <a:lnTo>
                    <a:pt x="2745" y="1868"/>
                  </a:lnTo>
                  <a:lnTo>
                    <a:pt x="2747" y="1886"/>
                  </a:lnTo>
                  <a:lnTo>
                    <a:pt x="2751" y="1896"/>
                  </a:lnTo>
                  <a:lnTo>
                    <a:pt x="2763" y="1894"/>
                  </a:lnTo>
                  <a:lnTo>
                    <a:pt x="2781" y="1904"/>
                  </a:lnTo>
                  <a:lnTo>
                    <a:pt x="2800" y="1902"/>
                  </a:lnTo>
                  <a:lnTo>
                    <a:pt x="2820" y="1915"/>
                  </a:lnTo>
                  <a:lnTo>
                    <a:pt x="2817" y="1918"/>
                  </a:lnTo>
                  <a:lnTo>
                    <a:pt x="2792" y="1923"/>
                  </a:lnTo>
                  <a:lnTo>
                    <a:pt x="2779" y="1920"/>
                  </a:lnTo>
                  <a:lnTo>
                    <a:pt x="2754" y="1921"/>
                  </a:lnTo>
                  <a:lnTo>
                    <a:pt x="2752" y="1912"/>
                  </a:lnTo>
                  <a:lnTo>
                    <a:pt x="2748" y="1905"/>
                  </a:lnTo>
                  <a:lnTo>
                    <a:pt x="2727" y="1894"/>
                  </a:lnTo>
                  <a:lnTo>
                    <a:pt x="2726" y="1883"/>
                  </a:lnTo>
                  <a:lnTo>
                    <a:pt x="2730" y="1878"/>
                  </a:lnTo>
                  <a:lnTo>
                    <a:pt x="2732" y="1868"/>
                  </a:lnTo>
                  <a:lnTo>
                    <a:pt x="2731" y="1857"/>
                  </a:lnTo>
                  <a:lnTo>
                    <a:pt x="2732" y="1842"/>
                  </a:lnTo>
                  <a:lnTo>
                    <a:pt x="2740" y="1825"/>
                  </a:lnTo>
                  <a:lnTo>
                    <a:pt x="2736" y="1821"/>
                  </a:lnTo>
                  <a:lnTo>
                    <a:pt x="2730" y="1824"/>
                  </a:lnTo>
                  <a:lnTo>
                    <a:pt x="2729" y="1814"/>
                  </a:lnTo>
                  <a:lnTo>
                    <a:pt x="2732" y="1800"/>
                  </a:lnTo>
                  <a:lnTo>
                    <a:pt x="2734" y="1798"/>
                  </a:lnTo>
                  <a:lnTo>
                    <a:pt x="2732" y="1791"/>
                  </a:lnTo>
                  <a:lnTo>
                    <a:pt x="2735" y="1783"/>
                  </a:lnTo>
                  <a:lnTo>
                    <a:pt x="2732" y="1776"/>
                  </a:lnTo>
                  <a:lnTo>
                    <a:pt x="2726" y="1767"/>
                  </a:lnTo>
                  <a:lnTo>
                    <a:pt x="2718" y="1762"/>
                  </a:lnTo>
                  <a:lnTo>
                    <a:pt x="2713" y="1754"/>
                  </a:lnTo>
                  <a:lnTo>
                    <a:pt x="2703" y="1749"/>
                  </a:lnTo>
                  <a:lnTo>
                    <a:pt x="2699" y="1739"/>
                  </a:lnTo>
                  <a:lnTo>
                    <a:pt x="2700" y="1727"/>
                  </a:lnTo>
                  <a:lnTo>
                    <a:pt x="2694" y="1708"/>
                  </a:lnTo>
                  <a:lnTo>
                    <a:pt x="2667" y="1712"/>
                  </a:lnTo>
                  <a:lnTo>
                    <a:pt x="2652" y="1718"/>
                  </a:lnTo>
                  <a:lnTo>
                    <a:pt x="2621" y="1724"/>
                  </a:lnTo>
                  <a:lnTo>
                    <a:pt x="2602" y="1737"/>
                  </a:lnTo>
                  <a:lnTo>
                    <a:pt x="2582" y="1744"/>
                  </a:lnTo>
                  <a:lnTo>
                    <a:pt x="2574" y="1750"/>
                  </a:lnTo>
                  <a:lnTo>
                    <a:pt x="2574" y="1760"/>
                  </a:lnTo>
                  <a:lnTo>
                    <a:pt x="2576" y="1772"/>
                  </a:lnTo>
                  <a:lnTo>
                    <a:pt x="2573" y="1786"/>
                  </a:lnTo>
                  <a:lnTo>
                    <a:pt x="2566" y="1794"/>
                  </a:lnTo>
                  <a:lnTo>
                    <a:pt x="2570" y="1805"/>
                  </a:lnTo>
                  <a:lnTo>
                    <a:pt x="2575" y="1808"/>
                  </a:lnTo>
                  <a:lnTo>
                    <a:pt x="2579" y="1818"/>
                  </a:lnTo>
                  <a:lnTo>
                    <a:pt x="2585" y="1825"/>
                  </a:lnTo>
                  <a:lnTo>
                    <a:pt x="2584" y="1835"/>
                  </a:lnTo>
                  <a:lnTo>
                    <a:pt x="2590" y="1842"/>
                  </a:lnTo>
                  <a:lnTo>
                    <a:pt x="2593" y="1854"/>
                  </a:lnTo>
                  <a:lnTo>
                    <a:pt x="2595" y="1873"/>
                  </a:lnTo>
                  <a:lnTo>
                    <a:pt x="2590" y="1900"/>
                  </a:lnTo>
                  <a:lnTo>
                    <a:pt x="2576" y="1911"/>
                  </a:lnTo>
                  <a:lnTo>
                    <a:pt x="2547" y="1948"/>
                  </a:lnTo>
                  <a:lnTo>
                    <a:pt x="2544" y="1954"/>
                  </a:lnTo>
                  <a:lnTo>
                    <a:pt x="2544" y="1969"/>
                  </a:lnTo>
                  <a:lnTo>
                    <a:pt x="2541" y="1988"/>
                  </a:lnTo>
                  <a:lnTo>
                    <a:pt x="2525" y="2013"/>
                  </a:lnTo>
                  <a:lnTo>
                    <a:pt x="2515" y="2023"/>
                  </a:lnTo>
                  <a:lnTo>
                    <a:pt x="2499" y="2031"/>
                  </a:lnTo>
                  <a:lnTo>
                    <a:pt x="2490" y="2042"/>
                  </a:lnTo>
                  <a:lnTo>
                    <a:pt x="2462" y="2053"/>
                  </a:lnTo>
                  <a:lnTo>
                    <a:pt x="2457" y="2061"/>
                  </a:lnTo>
                  <a:lnTo>
                    <a:pt x="2465" y="2078"/>
                  </a:lnTo>
                  <a:lnTo>
                    <a:pt x="2458" y="2098"/>
                  </a:lnTo>
                  <a:lnTo>
                    <a:pt x="2445" y="2103"/>
                  </a:lnTo>
                  <a:lnTo>
                    <a:pt x="2407" y="2085"/>
                  </a:lnTo>
                  <a:lnTo>
                    <a:pt x="2387" y="2083"/>
                  </a:lnTo>
                  <a:lnTo>
                    <a:pt x="2374" y="2087"/>
                  </a:lnTo>
                  <a:lnTo>
                    <a:pt x="2363" y="2088"/>
                  </a:lnTo>
                  <a:lnTo>
                    <a:pt x="2338" y="2083"/>
                  </a:lnTo>
                  <a:lnTo>
                    <a:pt x="2334" y="2080"/>
                  </a:lnTo>
                  <a:lnTo>
                    <a:pt x="2334" y="2071"/>
                  </a:lnTo>
                  <a:lnTo>
                    <a:pt x="2337" y="2064"/>
                  </a:lnTo>
                  <a:lnTo>
                    <a:pt x="2334" y="2040"/>
                  </a:lnTo>
                  <a:lnTo>
                    <a:pt x="2321" y="2037"/>
                  </a:lnTo>
                  <a:lnTo>
                    <a:pt x="2318" y="2030"/>
                  </a:lnTo>
                  <a:lnTo>
                    <a:pt x="2321" y="2026"/>
                  </a:lnTo>
                  <a:lnTo>
                    <a:pt x="2332" y="2021"/>
                  </a:lnTo>
                  <a:lnTo>
                    <a:pt x="2343" y="2030"/>
                  </a:lnTo>
                  <a:lnTo>
                    <a:pt x="2347" y="2037"/>
                  </a:lnTo>
                  <a:lnTo>
                    <a:pt x="2360" y="2037"/>
                  </a:lnTo>
                  <a:lnTo>
                    <a:pt x="2366" y="2028"/>
                  </a:lnTo>
                  <a:lnTo>
                    <a:pt x="2375" y="2028"/>
                  </a:lnTo>
                  <a:lnTo>
                    <a:pt x="2385" y="2012"/>
                  </a:lnTo>
                  <a:lnTo>
                    <a:pt x="2393" y="2018"/>
                  </a:lnTo>
                  <a:lnTo>
                    <a:pt x="2407" y="2012"/>
                  </a:lnTo>
                  <a:lnTo>
                    <a:pt x="2409" y="2005"/>
                  </a:lnTo>
                  <a:lnTo>
                    <a:pt x="2415" y="2003"/>
                  </a:lnTo>
                  <a:lnTo>
                    <a:pt x="2424" y="2004"/>
                  </a:lnTo>
                  <a:lnTo>
                    <a:pt x="2439" y="2001"/>
                  </a:lnTo>
                  <a:lnTo>
                    <a:pt x="2445" y="1992"/>
                  </a:lnTo>
                  <a:lnTo>
                    <a:pt x="2439" y="1983"/>
                  </a:lnTo>
                  <a:lnTo>
                    <a:pt x="2422" y="1983"/>
                  </a:lnTo>
                  <a:lnTo>
                    <a:pt x="2415" y="1988"/>
                  </a:lnTo>
                  <a:lnTo>
                    <a:pt x="2407" y="1982"/>
                  </a:lnTo>
                  <a:lnTo>
                    <a:pt x="2408" y="1969"/>
                  </a:lnTo>
                  <a:lnTo>
                    <a:pt x="2428" y="1981"/>
                  </a:lnTo>
                  <a:lnTo>
                    <a:pt x="2449" y="1977"/>
                  </a:lnTo>
                  <a:lnTo>
                    <a:pt x="2451" y="1974"/>
                  </a:lnTo>
                  <a:lnTo>
                    <a:pt x="2452" y="1956"/>
                  </a:lnTo>
                  <a:lnTo>
                    <a:pt x="2461" y="1956"/>
                  </a:lnTo>
                  <a:lnTo>
                    <a:pt x="2468" y="1947"/>
                  </a:lnTo>
                  <a:lnTo>
                    <a:pt x="2469" y="1937"/>
                  </a:lnTo>
                  <a:lnTo>
                    <a:pt x="2474" y="1924"/>
                  </a:lnTo>
                  <a:lnTo>
                    <a:pt x="2477" y="1915"/>
                  </a:lnTo>
                  <a:lnTo>
                    <a:pt x="2494" y="1906"/>
                  </a:lnTo>
                  <a:lnTo>
                    <a:pt x="2503" y="1895"/>
                  </a:lnTo>
                  <a:lnTo>
                    <a:pt x="2499" y="1888"/>
                  </a:lnTo>
                  <a:lnTo>
                    <a:pt x="2504" y="1878"/>
                  </a:lnTo>
                  <a:lnTo>
                    <a:pt x="2501" y="1843"/>
                  </a:lnTo>
                  <a:lnTo>
                    <a:pt x="2501" y="1832"/>
                  </a:lnTo>
                  <a:lnTo>
                    <a:pt x="2506" y="1815"/>
                  </a:lnTo>
                  <a:lnTo>
                    <a:pt x="2521" y="1792"/>
                  </a:lnTo>
                  <a:lnTo>
                    <a:pt x="2520" y="1762"/>
                  </a:lnTo>
                  <a:lnTo>
                    <a:pt x="2490" y="1735"/>
                  </a:lnTo>
                  <a:lnTo>
                    <a:pt x="2468" y="1701"/>
                  </a:lnTo>
                  <a:lnTo>
                    <a:pt x="2468" y="1684"/>
                  </a:lnTo>
                  <a:lnTo>
                    <a:pt x="2472" y="1670"/>
                  </a:lnTo>
                  <a:lnTo>
                    <a:pt x="2473" y="1657"/>
                  </a:lnTo>
                  <a:lnTo>
                    <a:pt x="2471" y="1643"/>
                  </a:lnTo>
                  <a:lnTo>
                    <a:pt x="2478" y="1630"/>
                  </a:lnTo>
                  <a:lnTo>
                    <a:pt x="2473" y="1606"/>
                  </a:lnTo>
                  <a:lnTo>
                    <a:pt x="2479" y="1592"/>
                  </a:lnTo>
                  <a:lnTo>
                    <a:pt x="2479" y="1571"/>
                  </a:lnTo>
                  <a:lnTo>
                    <a:pt x="2476" y="1565"/>
                  </a:lnTo>
                  <a:lnTo>
                    <a:pt x="2476" y="1558"/>
                  </a:lnTo>
                  <a:lnTo>
                    <a:pt x="2473" y="1555"/>
                  </a:lnTo>
                  <a:lnTo>
                    <a:pt x="2472" y="1545"/>
                  </a:lnTo>
                  <a:lnTo>
                    <a:pt x="2474" y="1530"/>
                  </a:lnTo>
                  <a:lnTo>
                    <a:pt x="2473" y="1524"/>
                  </a:lnTo>
                  <a:lnTo>
                    <a:pt x="2467" y="1518"/>
                  </a:lnTo>
                  <a:lnTo>
                    <a:pt x="2465" y="1504"/>
                  </a:lnTo>
                  <a:lnTo>
                    <a:pt x="2469" y="1492"/>
                  </a:lnTo>
                  <a:lnTo>
                    <a:pt x="2482" y="1482"/>
                  </a:lnTo>
                  <a:lnTo>
                    <a:pt x="2483" y="1475"/>
                  </a:lnTo>
                  <a:lnTo>
                    <a:pt x="2480" y="1442"/>
                  </a:lnTo>
                  <a:lnTo>
                    <a:pt x="2485" y="1427"/>
                  </a:lnTo>
                  <a:lnTo>
                    <a:pt x="2485" y="1406"/>
                  </a:lnTo>
                  <a:lnTo>
                    <a:pt x="2471" y="1373"/>
                  </a:lnTo>
                  <a:lnTo>
                    <a:pt x="2473" y="1350"/>
                  </a:lnTo>
                  <a:lnTo>
                    <a:pt x="2453" y="1334"/>
                  </a:lnTo>
                  <a:lnTo>
                    <a:pt x="2442" y="1321"/>
                  </a:lnTo>
                  <a:lnTo>
                    <a:pt x="2429" y="1297"/>
                  </a:lnTo>
                  <a:lnTo>
                    <a:pt x="2430" y="1283"/>
                  </a:lnTo>
                  <a:lnTo>
                    <a:pt x="2431" y="1281"/>
                  </a:lnTo>
                  <a:lnTo>
                    <a:pt x="2447" y="1271"/>
                  </a:lnTo>
                  <a:lnTo>
                    <a:pt x="2450" y="1260"/>
                  </a:lnTo>
                  <a:lnTo>
                    <a:pt x="2457" y="1250"/>
                  </a:lnTo>
                  <a:lnTo>
                    <a:pt x="2457" y="1243"/>
                  </a:lnTo>
                  <a:lnTo>
                    <a:pt x="2456" y="1233"/>
                  </a:lnTo>
                  <a:lnTo>
                    <a:pt x="2465" y="1217"/>
                  </a:lnTo>
                  <a:lnTo>
                    <a:pt x="2472" y="1187"/>
                  </a:lnTo>
                  <a:lnTo>
                    <a:pt x="2478" y="1173"/>
                  </a:lnTo>
                  <a:lnTo>
                    <a:pt x="2480" y="1147"/>
                  </a:lnTo>
                  <a:lnTo>
                    <a:pt x="2477" y="1132"/>
                  </a:lnTo>
                  <a:lnTo>
                    <a:pt x="2476" y="1114"/>
                  </a:lnTo>
                  <a:lnTo>
                    <a:pt x="2477" y="1092"/>
                  </a:lnTo>
                  <a:lnTo>
                    <a:pt x="2473" y="1084"/>
                  </a:lnTo>
                  <a:lnTo>
                    <a:pt x="2477" y="1079"/>
                  </a:lnTo>
                  <a:lnTo>
                    <a:pt x="2476" y="1078"/>
                  </a:lnTo>
                  <a:lnTo>
                    <a:pt x="2434" y="1058"/>
                  </a:lnTo>
                  <a:lnTo>
                    <a:pt x="2419" y="1046"/>
                  </a:lnTo>
                  <a:lnTo>
                    <a:pt x="2376" y="1052"/>
                  </a:lnTo>
                  <a:lnTo>
                    <a:pt x="2359" y="1050"/>
                  </a:lnTo>
                  <a:lnTo>
                    <a:pt x="2331" y="1051"/>
                  </a:lnTo>
                  <a:lnTo>
                    <a:pt x="2318" y="1045"/>
                  </a:lnTo>
                  <a:lnTo>
                    <a:pt x="2326" y="1038"/>
                  </a:lnTo>
                  <a:lnTo>
                    <a:pt x="2297" y="1040"/>
                  </a:lnTo>
                  <a:lnTo>
                    <a:pt x="2293" y="1050"/>
                  </a:lnTo>
                  <a:lnTo>
                    <a:pt x="2293" y="1056"/>
                  </a:lnTo>
                  <a:lnTo>
                    <a:pt x="2288" y="1071"/>
                  </a:lnTo>
                  <a:lnTo>
                    <a:pt x="2279" y="1084"/>
                  </a:lnTo>
                  <a:lnTo>
                    <a:pt x="2273" y="1103"/>
                  </a:lnTo>
                  <a:lnTo>
                    <a:pt x="2265" y="1143"/>
                  </a:lnTo>
                  <a:lnTo>
                    <a:pt x="2261" y="1164"/>
                  </a:lnTo>
                  <a:lnTo>
                    <a:pt x="2254" y="1176"/>
                  </a:lnTo>
                  <a:lnTo>
                    <a:pt x="2248" y="1228"/>
                  </a:lnTo>
                  <a:lnTo>
                    <a:pt x="2243" y="1246"/>
                  </a:lnTo>
                  <a:lnTo>
                    <a:pt x="2225" y="1282"/>
                  </a:lnTo>
                  <a:lnTo>
                    <a:pt x="2204" y="1305"/>
                  </a:lnTo>
                  <a:lnTo>
                    <a:pt x="2186" y="1323"/>
                  </a:lnTo>
                  <a:lnTo>
                    <a:pt x="2159" y="1336"/>
                  </a:lnTo>
                  <a:lnTo>
                    <a:pt x="2152" y="1369"/>
                  </a:lnTo>
                  <a:lnTo>
                    <a:pt x="2152" y="1374"/>
                  </a:lnTo>
                  <a:lnTo>
                    <a:pt x="2156" y="1375"/>
                  </a:lnTo>
                  <a:lnTo>
                    <a:pt x="2167" y="1358"/>
                  </a:lnTo>
                  <a:lnTo>
                    <a:pt x="2171" y="1361"/>
                  </a:lnTo>
                  <a:lnTo>
                    <a:pt x="2171" y="1375"/>
                  </a:lnTo>
                  <a:lnTo>
                    <a:pt x="2166" y="1385"/>
                  </a:lnTo>
                  <a:lnTo>
                    <a:pt x="2148" y="1397"/>
                  </a:lnTo>
                  <a:lnTo>
                    <a:pt x="2143" y="1415"/>
                  </a:lnTo>
                  <a:lnTo>
                    <a:pt x="2149" y="1428"/>
                  </a:lnTo>
                  <a:lnTo>
                    <a:pt x="2162" y="1422"/>
                  </a:lnTo>
                  <a:lnTo>
                    <a:pt x="2171" y="1415"/>
                  </a:lnTo>
                  <a:lnTo>
                    <a:pt x="2186" y="1416"/>
                  </a:lnTo>
                  <a:lnTo>
                    <a:pt x="2192" y="1432"/>
                  </a:lnTo>
                  <a:lnTo>
                    <a:pt x="2187" y="1445"/>
                  </a:lnTo>
                  <a:lnTo>
                    <a:pt x="2187" y="1487"/>
                  </a:lnTo>
                  <a:lnTo>
                    <a:pt x="2178" y="1499"/>
                  </a:lnTo>
                  <a:lnTo>
                    <a:pt x="2181" y="1522"/>
                  </a:lnTo>
                  <a:lnTo>
                    <a:pt x="2187" y="1534"/>
                  </a:lnTo>
                  <a:lnTo>
                    <a:pt x="2181" y="1550"/>
                  </a:lnTo>
                  <a:lnTo>
                    <a:pt x="2170" y="1550"/>
                  </a:lnTo>
                  <a:lnTo>
                    <a:pt x="2164" y="1540"/>
                  </a:lnTo>
                  <a:lnTo>
                    <a:pt x="2161" y="1563"/>
                  </a:lnTo>
                  <a:lnTo>
                    <a:pt x="2161" y="1606"/>
                  </a:lnTo>
                  <a:lnTo>
                    <a:pt x="2168" y="1621"/>
                  </a:lnTo>
                  <a:lnTo>
                    <a:pt x="2168" y="1606"/>
                  </a:lnTo>
                  <a:lnTo>
                    <a:pt x="2182" y="1601"/>
                  </a:lnTo>
                  <a:lnTo>
                    <a:pt x="2205" y="1616"/>
                  </a:lnTo>
                  <a:lnTo>
                    <a:pt x="2218" y="1628"/>
                  </a:lnTo>
                  <a:lnTo>
                    <a:pt x="2225" y="1625"/>
                  </a:lnTo>
                  <a:lnTo>
                    <a:pt x="2230" y="1625"/>
                  </a:lnTo>
                  <a:lnTo>
                    <a:pt x="2227" y="1647"/>
                  </a:lnTo>
                  <a:lnTo>
                    <a:pt x="2236" y="1671"/>
                  </a:lnTo>
                  <a:lnTo>
                    <a:pt x="2243" y="1686"/>
                  </a:lnTo>
                  <a:lnTo>
                    <a:pt x="2251" y="1706"/>
                  </a:lnTo>
                  <a:lnTo>
                    <a:pt x="2267" y="1717"/>
                  </a:lnTo>
                  <a:lnTo>
                    <a:pt x="2279" y="1713"/>
                  </a:lnTo>
                  <a:lnTo>
                    <a:pt x="2279" y="1719"/>
                  </a:lnTo>
                  <a:lnTo>
                    <a:pt x="2285" y="1727"/>
                  </a:lnTo>
                  <a:lnTo>
                    <a:pt x="2274" y="1743"/>
                  </a:lnTo>
                  <a:lnTo>
                    <a:pt x="2264" y="1776"/>
                  </a:lnTo>
                  <a:lnTo>
                    <a:pt x="2256" y="1799"/>
                  </a:lnTo>
                  <a:lnTo>
                    <a:pt x="2253" y="1811"/>
                  </a:lnTo>
                  <a:lnTo>
                    <a:pt x="2238" y="1822"/>
                  </a:lnTo>
                  <a:lnTo>
                    <a:pt x="2234" y="1814"/>
                  </a:lnTo>
                  <a:lnTo>
                    <a:pt x="2235" y="1800"/>
                  </a:lnTo>
                  <a:lnTo>
                    <a:pt x="2225" y="1787"/>
                  </a:lnTo>
                  <a:lnTo>
                    <a:pt x="2207" y="1776"/>
                  </a:lnTo>
                  <a:lnTo>
                    <a:pt x="2172" y="1733"/>
                  </a:lnTo>
                  <a:lnTo>
                    <a:pt x="2161" y="1724"/>
                  </a:lnTo>
                  <a:lnTo>
                    <a:pt x="2144" y="1721"/>
                  </a:lnTo>
                  <a:lnTo>
                    <a:pt x="2119" y="1701"/>
                  </a:lnTo>
                  <a:lnTo>
                    <a:pt x="2092" y="1691"/>
                  </a:lnTo>
                  <a:lnTo>
                    <a:pt x="2094" y="1682"/>
                  </a:lnTo>
                  <a:lnTo>
                    <a:pt x="2101" y="1682"/>
                  </a:lnTo>
                  <a:lnTo>
                    <a:pt x="2097" y="1679"/>
                  </a:lnTo>
                  <a:lnTo>
                    <a:pt x="2079" y="1675"/>
                  </a:lnTo>
                  <a:lnTo>
                    <a:pt x="2057" y="1658"/>
                  </a:lnTo>
                  <a:lnTo>
                    <a:pt x="2043" y="1652"/>
                  </a:lnTo>
                  <a:lnTo>
                    <a:pt x="2011" y="1622"/>
                  </a:lnTo>
                  <a:lnTo>
                    <a:pt x="1993" y="1617"/>
                  </a:lnTo>
                  <a:lnTo>
                    <a:pt x="1965" y="1603"/>
                  </a:lnTo>
                  <a:lnTo>
                    <a:pt x="1956" y="1603"/>
                  </a:lnTo>
                  <a:lnTo>
                    <a:pt x="1936" y="1589"/>
                  </a:lnTo>
                  <a:lnTo>
                    <a:pt x="1922" y="1590"/>
                  </a:lnTo>
                  <a:lnTo>
                    <a:pt x="1869" y="1587"/>
                  </a:lnTo>
                  <a:lnTo>
                    <a:pt x="1865" y="1581"/>
                  </a:lnTo>
                  <a:lnTo>
                    <a:pt x="1848" y="1573"/>
                  </a:lnTo>
                  <a:lnTo>
                    <a:pt x="1834" y="1573"/>
                  </a:lnTo>
                  <a:lnTo>
                    <a:pt x="1829" y="1577"/>
                  </a:lnTo>
                  <a:lnTo>
                    <a:pt x="1828" y="1587"/>
                  </a:lnTo>
                  <a:lnTo>
                    <a:pt x="1823" y="1595"/>
                  </a:lnTo>
                  <a:lnTo>
                    <a:pt x="1802" y="1609"/>
                  </a:lnTo>
                  <a:lnTo>
                    <a:pt x="1804" y="1617"/>
                  </a:lnTo>
                  <a:lnTo>
                    <a:pt x="1810" y="1635"/>
                  </a:lnTo>
                  <a:lnTo>
                    <a:pt x="1823" y="1655"/>
                  </a:lnTo>
                  <a:lnTo>
                    <a:pt x="1833" y="1690"/>
                  </a:lnTo>
                  <a:lnTo>
                    <a:pt x="1832" y="1682"/>
                  </a:lnTo>
                  <a:lnTo>
                    <a:pt x="1837" y="1684"/>
                  </a:lnTo>
                  <a:lnTo>
                    <a:pt x="1832" y="1718"/>
                  </a:lnTo>
                  <a:lnTo>
                    <a:pt x="1829" y="1724"/>
                  </a:lnTo>
                  <a:lnTo>
                    <a:pt x="1810" y="1746"/>
                  </a:lnTo>
                  <a:lnTo>
                    <a:pt x="1779" y="1750"/>
                  </a:lnTo>
                  <a:lnTo>
                    <a:pt x="1778" y="1765"/>
                  </a:lnTo>
                  <a:lnTo>
                    <a:pt x="1783" y="1773"/>
                  </a:lnTo>
                  <a:lnTo>
                    <a:pt x="1784" y="1783"/>
                  </a:lnTo>
                  <a:lnTo>
                    <a:pt x="1773" y="1799"/>
                  </a:lnTo>
                  <a:lnTo>
                    <a:pt x="1761" y="1805"/>
                  </a:lnTo>
                  <a:lnTo>
                    <a:pt x="1747" y="1798"/>
                  </a:lnTo>
                  <a:lnTo>
                    <a:pt x="1736" y="1787"/>
                  </a:lnTo>
                  <a:lnTo>
                    <a:pt x="1736" y="1770"/>
                  </a:lnTo>
                  <a:lnTo>
                    <a:pt x="1741" y="1759"/>
                  </a:lnTo>
                  <a:lnTo>
                    <a:pt x="1747" y="1750"/>
                  </a:lnTo>
                  <a:lnTo>
                    <a:pt x="1754" y="1745"/>
                  </a:lnTo>
                  <a:lnTo>
                    <a:pt x="1732" y="1713"/>
                  </a:lnTo>
                  <a:lnTo>
                    <a:pt x="1735" y="1705"/>
                  </a:lnTo>
                  <a:lnTo>
                    <a:pt x="1724" y="1703"/>
                  </a:lnTo>
                  <a:lnTo>
                    <a:pt x="1684" y="1721"/>
                  </a:lnTo>
                  <a:lnTo>
                    <a:pt x="1675" y="1737"/>
                  </a:lnTo>
                  <a:lnTo>
                    <a:pt x="1660" y="1743"/>
                  </a:lnTo>
                  <a:lnTo>
                    <a:pt x="1640" y="1773"/>
                  </a:lnTo>
                  <a:lnTo>
                    <a:pt x="1628" y="1775"/>
                  </a:lnTo>
                  <a:lnTo>
                    <a:pt x="1622" y="1766"/>
                  </a:lnTo>
                  <a:lnTo>
                    <a:pt x="1606" y="1762"/>
                  </a:lnTo>
                  <a:lnTo>
                    <a:pt x="1587" y="1767"/>
                  </a:lnTo>
                  <a:lnTo>
                    <a:pt x="1570" y="1757"/>
                  </a:lnTo>
                  <a:lnTo>
                    <a:pt x="1547" y="1772"/>
                  </a:lnTo>
                  <a:lnTo>
                    <a:pt x="1536" y="1771"/>
                  </a:lnTo>
                  <a:lnTo>
                    <a:pt x="1512" y="1792"/>
                  </a:lnTo>
                  <a:lnTo>
                    <a:pt x="1508" y="1802"/>
                  </a:lnTo>
                  <a:lnTo>
                    <a:pt x="1506" y="1822"/>
                  </a:lnTo>
                  <a:lnTo>
                    <a:pt x="1504" y="1831"/>
                  </a:lnTo>
                  <a:lnTo>
                    <a:pt x="1495" y="1831"/>
                  </a:lnTo>
                  <a:lnTo>
                    <a:pt x="1487" y="1824"/>
                  </a:lnTo>
                  <a:lnTo>
                    <a:pt x="1478" y="1813"/>
                  </a:lnTo>
                  <a:lnTo>
                    <a:pt x="1474" y="1816"/>
                  </a:lnTo>
                  <a:lnTo>
                    <a:pt x="1467" y="1821"/>
                  </a:lnTo>
                  <a:lnTo>
                    <a:pt x="1456" y="1807"/>
                  </a:lnTo>
                  <a:lnTo>
                    <a:pt x="1456" y="1779"/>
                  </a:lnTo>
                  <a:lnTo>
                    <a:pt x="1450" y="1773"/>
                  </a:lnTo>
                  <a:lnTo>
                    <a:pt x="1450" y="1766"/>
                  </a:lnTo>
                  <a:lnTo>
                    <a:pt x="1457" y="1751"/>
                  </a:lnTo>
                  <a:lnTo>
                    <a:pt x="1458" y="1737"/>
                  </a:lnTo>
                  <a:lnTo>
                    <a:pt x="1452" y="1724"/>
                  </a:lnTo>
                  <a:lnTo>
                    <a:pt x="1447" y="1722"/>
                  </a:lnTo>
                  <a:lnTo>
                    <a:pt x="1446" y="1730"/>
                  </a:lnTo>
                  <a:lnTo>
                    <a:pt x="1442" y="1730"/>
                  </a:lnTo>
                  <a:lnTo>
                    <a:pt x="1444" y="1721"/>
                  </a:lnTo>
                  <a:lnTo>
                    <a:pt x="1451" y="1716"/>
                  </a:lnTo>
                  <a:lnTo>
                    <a:pt x="1477" y="1713"/>
                  </a:lnTo>
                  <a:lnTo>
                    <a:pt x="1488" y="1707"/>
                  </a:lnTo>
                  <a:lnTo>
                    <a:pt x="1490" y="1705"/>
                  </a:lnTo>
                  <a:lnTo>
                    <a:pt x="1484" y="1707"/>
                  </a:lnTo>
                  <a:lnTo>
                    <a:pt x="1467" y="1712"/>
                  </a:lnTo>
                  <a:lnTo>
                    <a:pt x="1460" y="1711"/>
                  </a:lnTo>
                  <a:lnTo>
                    <a:pt x="1445" y="1712"/>
                  </a:lnTo>
                  <a:lnTo>
                    <a:pt x="1423" y="1723"/>
                  </a:lnTo>
                  <a:lnTo>
                    <a:pt x="1424" y="1730"/>
                  </a:lnTo>
                  <a:lnTo>
                    <a:pt x="1415" y="1734"/>
                  </a:lnTo>
                  <a:lnTo>
                    <a:pt x="1413" y="1738"/>
                  </a:lnTo>
                  <a:lnTo>
                    <a:pt x="1417" y="1751"/>
                  </a:lnTo>
                  <a:lnTo>
                    <a:pt x="1417" y="1759"/>
                  </a:lnTo>
                  <a:lnTo>
                    <a:pt x="1406" y="1765"/>
                  </a:lnTo>
                  <a:lnTo>
                    <a:pt x="1397" y="1760"/>
                  </a:lnTo>
                  <a:lnTo>
                    <a:pt x="1393" y="1751"/>
                  </a:lnTo>
                  <a:lnTo>
                    <a:pt x="1398" y="1743"/>
                  </a:lnTo>
                  <a:lnTo>
                    <a:pt x="1391" y="1743"/>
                  </a:lnTo>
                  <a:lnTo>
                    <a:pt x="1369" y="1767"/>
                  </a:lnTo>
                  <a:lnTo>
                    <a:pt x="1377" y="1766"/>
                  </a:lnTo>
                  <a:lnTo>
                    <a:pt x="1381" y="1775"/>
                  </a:lnTo>
                  <a:lnTo>
                    <a:pt x="1381" y="1783"/>
                  </a:lnTo>
                  <a:lnTo>
                    <a:pt x="1380" y="1793"/>
                  </a:lnTo>
                  <a:lnTo>
                    <a:pt x="1371" y="1800"/>
                  </a:lnTo>
                  <a:lnTo>
                    <a:pt x="1366" y="1803"/>
                  </a:lnTo>
                  <a:lnTo>
                    <a:pt x="1361" y="1789"/>
                  </a:lnTo>
                  <a:lnTo>
                    <a:pt x="1354" y="1777"/>
                  </a:lnTo>
                  <a:lnTo>
                    <a:pt x="1326" y="1786"/>
                  </a:lnTo>
                  <a:lnTo>
                    <a:pt x="1328" y="1789"/>
                  </a:lnTo>
                  <a:lnTo>
                    <a:pt x="1291" y="1807"/>
                  </a:lnTo>
                  <a:lnTo>
                    <a:pt x="1288" y="1804"/>
                  </a:lnTo>
                  <a:lnTo>
                    <a:pt x="1282" y="1807"/>
                  </a:lnTo>
                  <a:lnTo>
                    <a:pt x="1254" y="1832"/>
                  </a:lnTo>
                  <a:lnTo>
                    <a:pt x="1181" y="1880"/>
                  </a:lnTo>
                  <a:lnTo>
                    <a:pt x="1172" y="1880"/>
                  </a:lnTo>
                  <a:lnTo>
                    <a:pt x="1171" y="1895"/>
                  </a:lnTo>
                  <a:lnTo>
                    <a:pt x="1175" y="1897"/>
                  </a:lnTo>
                  <a:lnTo>
                    <a:pt x="1166" y="1905"/>
                  </a:lnTo>
                  <a:lnTo>
                    <a:pt x="1144" y="1908"/>
                  </a:lnTo>
                  <a:lnTo>
                    <a:pt x="1135" y="1916"/>
                  </a:lnTo>
                  <a:lnTo>
                    <a:pt x="1129" y="1913"/>
                  </a:lnTo>
                  <a:lnTo>
                    <a:pt x="1123" y="1927"/>
                  </a:lnTo>
                  <a:lnTo>
                    <a:pt x="1114" y="1958"/>
                  </a:lnTo>
                  <a:lnTo>
                    <a:pt x="1111" y="1970"/>
                  </a:lnTo>
                  <a:lnTo>
                    <a:pt x="1113" y="1996"/>
                  </a:lnTo>
                  <a:lnTo>
                    <a:pt x="1106" y="2008"/>
                  </a:lnTo>
                  <a:lnTo>
                    <a:pt x="1090" y="2017"/>
                  </a:lnTo>
                  <a:lnTo>
                    <a:pt x="1079" y="2015"/>
                  </a:lnTo>
                  <a:lnTo>
                    <a:pt x="1058" y="2024"/>
                  </a:lnTo>
                  <a:lnTo>
                    <a:pt x="1053" y="2044"/>
                  </a:lnTo>
                  <a:lnTo>
                    <a:pt x="1048" y="2030"/>
                  </a:lnTo>
                  <a:lnTo>
                    <a:pt x="1047" y="2015"/>
                  </a:lnTo>
                  <a:lnTo>
                    <a:pt x="1033" y="2023"/>
                  </a:lnTo>
                  <a:lnTo>
                    <a:pt x="1024" y="2023"/>
                  </a:lnTo>
                  <a:lnTo>
                    <a:pt x="1015" y="2017"/>
                  </a:lnTo>
                  <a:lnTo>
                    <a:pt x="1004" y="1997"/>
                  </a:lnTo>
                  <a:lnTo>
                    <a:pt x="1000" y="1985"/>
                  </a:lnTo>
                  <a:lnTo>
                    <a:pt x="978" y="1960"/>
                  </a:lnTo>
                  <a:lnTo>
                    <a:pt x="968" y="1950"/>
                  </a:lnTo>
                  <a:lnTo>
                    <a:pt x="963" y="1935"/>
                  </a:lnTo>
                  <a:lnTo>
                    <a:pt x="962" y="1921"/>
                  </a:lnTo>
                  <a:lnTo>
                    <a:pt x="973" y="1920"/>
                  </a:lnTo>
                  <a:lnTo>
                    <a:pt x="981" y="1910"/>
                  </a:lnTo>
                  <a:lnTo>
                    <a:pt x="984" y="1896"/>
                  </a:lnTo>
                  <a:lnTo>
                    <a:pt x="999" y="1891"/>
                  </a:lnTo>
                  <a:lnTo>
                    <a:pt x="1054" y="1880"/>
                  </a:lnTo>
                  <a:lnTo>
                    <a:pt x="1046" y="1863"/>
                  </a:lnTo>
                  <a:lnTo>
                    <a:pt x="1044" y="1845"/>
                  </a:lnTo>
                  <a:lnTo>
                    <a:pt x="1041" y="1826"/>
                  </a:lnTo>
                  <a:lnTo>
                    <a:pt x="1031" y="1832"/>
                  </a:lnTo>
                  <a:lnTo>
                    <a:pt x="1021" y="1814"/>
                  </a:lnTo>
                  <a:lnTo>
                    <a:pt x="1015" y="1809"/>
                  </a:lnTo>
                  <a:lnTo>
                    <a:pt x="1015" y="1792"/>
                  </a:lnTo>
                  <a:lnTo>
                    <a:pt x="1004" y="1783"/>
                  </a:lnTo>
                  <a:lnTo>
                    <a:pt x="978" y="1776"/>
                  </a:lnTo>
                  <a:lnTo>
                    <a:pt x="955" y="1776"/>
                  </a:lnTo>
                  <a:lnTo>
                    <a:pt x="930" y="1773"/>
                  </a:lnTo>
                  <a:lnTo>
                    <a:pt x="919" y="1777"/>
                  </a:lnTo>
                  <a:lnTo>
                    <a:pt x="909" y="1775"/>
                  </a:lnTo>
                  <a:lnTo>
                    <a:pt x="868" y="1754"/>
                  </a:lnTo>
                  <a:lnTo>
                    <a:pt x="870" y="1764"/>
                  </a:lnTo>
                  <a:lnTo>
                    <a:pt x="917" y="1805"/>
                  </a:lnTo>
                  <a:lnTo>
                    <a:pt x="917" y="1838"/>
                  </a:lnTo>
                  <a:lnTo>
                    <a:pt x="919" y="1853"/>
                  </a:lnTo>
                  <a:lnTo>
                    <a:pt x="914" y="1873"/>
                  </a:lnTo>
                  <a:lnTo>
                    <a:pt x="915" y="1890"/>
                  </a:lnTo>
                  <a:lnTo>
                    <a:pt x="901" y="1939"/>
                  </a:lnTo>
                  <a:lnTo>
                    <a:pt x="901" y="1953"/>
                  </a:lnTo>
                  <a:lnTo>
                    <a:pt x="902" y="1970"/>
                  </a:lnTo>
                  <a:lnTo>
                    <a:pt x="907" y="1975"/>
                  </a:lnTo>
                  <a:lnTo>
                    <a:pt x="919" y="1975"/>
                  </a:lnTo>
                  <a:lnTo>
                    <a:pt x="929" y="1982"/>
                  </a:lnTo>
                  <a:lnTo>
                    <a:pt x="938" y="2002"/>
                  </a:lnTo>
                  <a:lnTo>
                    <a:pt x="938" y="2013"/>
                  </a:lnTo>
                  <a:lnTo>
                    <a:pt x="933" y="2026"/>
                  </a:lnTo>
                  <a:lnTo>
                    <a:pt x="936" y="2037"/>
                  </a:lnTo>
                  <a:lnTo>
                    <a:pt x="933" y="2056"/>
                  </a:lnTo>
                  <a:lnTo>
                    <a:pt x="922" y="2072"/>
                  </a:lnTo>
                  <a:lnTo>
                    <a:pt x="915" y="2096"/>
                  </a:lnTo>
                  <a:lnTo>
                    <a:pt x="922" y="2114"/>
                  </a:lnTo>
                  <a:lnTo>
                    <a:pt x="918" y="2149"/>
                  </a:lnTo>
                  <a:lnTo>
                    <a:pt x="908" y="2134"/>
                  </a:lnTo>
                  <a:lnTo>
                    <a:pt x="906" y="2123"/>
                  </a:lnTo>
                  <a:lnTo>
                    <a:pt x="898" y="2114"/>
                  </a:lnTo>
                  <a:lnTo>
                    <a:pt x="890" y="2115"/>
                  </a:lnTo>
                  <a:lnTo>
                    <a:pt x="877" y="2126"/>
                  </a:lnTo>
                  <a:lnTo>
                    <a:pt x="885" y="2111"/>
                  </a:lnTo>
                  <a:lnTo>
                    <a:pt x="886" y="2099"/>
                  </a:lnTo>
                  <a:lnTo>
                    <a:pt x="869" y="2085"/>
                  </a:lnTo>
                  <a:lnTo>
                    <a:pt x="860" y="2080"/>
                  </a:lnTo>
                  <a:lnTo>
                    <a:pt x="837" y="2080"/>
                  </a:lnTo>
                  <a:lnTo>
                    <a:pt x="816" y="2062"/>
                  </a:lnTo>
                  <a:lnTo>
                    <a:pt x="807" y="2072"/>
                  </a:lnTo>
                  <a:lnTo>
                    <a:pt x="804" y="2083"/>
                  </a:lnTo>
                  <a:lnTo>
                    <a:pt x="788" y="2099"/>
                  </a:lnTo>
                  <a:lnTo>
                    <a:pt x="779" y="2114"/>
                  </a:lnTo>
                  <a:lnTo>
                    <a:pt x="768" y="2126"/>
                  </a:lnTo>
                  <a:lnTo>
                    <a:pt x="743" y="2136"/>
                  </a:lnTo>
                  <a:lnTo>
                    <a:pt x="735" y="2136"/>
                  </a:lnTo>
                  <a:lnTo>
                    <a:pt x="723" y="2144"/>
                  </a:lnTo>
                  <a:lnTo>
                    <a:pt x="716" y="2159"/>
                  </a:lnTo>
                  <a:lnTo>
                    <a:pt x="704" y="2170"/>
                  </a:lnTo>
                  <a:lnTo>
                    <a:pt x="693" y="2180"/>
                  </a:lnTo>
                  <a:lnTo>
                    <a:pt x="681" y="2184"/>
                  </a:lnTo>
                  <a:lnTo>
                    <a:pt x="681" y="2197"/>
                  </a:lnTo>
                  <a:lnTo>
                    <a:pt x="683" y="2223"/>
                  </a:lnTo>
                  <a:lnTo>
                    <a:pt x="696" y="2246"/>
                  </a:lnTo>
                  <a:lnTo>
                    <a:pt x="707" y="2261"/>
                  </a:lnTo>
                  <a:lnTo>
                    <a:pt x="714" y="2276"/>
                  </a:lnTo>
                  <a:lnTo>
                    <a:pt x="727" y="2308"/>
                  </a:lnTo>
                  <a:lnTo>
                    <a:pt x="730" y="2316"/>
                  </a:lnTo>
                  <a:lnTo>
                    <a:pt x="739" y="2330"/>
                  </a:lnTo>
                  <a:lnTo>
                    <a:pt x="739" y="2336"/>
                  </a:lnTo>
                  <a:lnTo>
                    <a:pt x="720" y="2324"/>
                  </a:lnTo>
                  <a:lnTo>
                    <a:pt x="714" y="2326"/>
                  </a:lnTo>
                  <a:lnTo>
                    <a:pt x="686" y="2315"/>
                  </a:lnTo>
                  <a:lnTo>
                    <a:pt x="687" y="2321"/>
                  </a:lnTo>
                  <a:lnTo>
                    <a:pt x="684" y="2325"/>
                  </a:lnTo>
                  <a:lnTo>
                    <a:pt x="671" y="2322"/>
                  </a:lnTo>
                  <a:lnTo>
                    <a:pt x="653" y="2314"/>
                  </a:lnTo>
                  <a:lnTo>
                    <a:pt x="634" y="2300"/>
                  </a:lnTo>
                  <a:lnTo>
                    <a:pt x="619" y="2298"/>
                  </a:lnTo>
                  <a:lnTo>
                    <a:pt x="610" y="2290"/>
                  </a:lnTo>
                  <a:lnTo>
                    <a:pt x="595" y="2304"/>
                  </a:lnTo>
                  <a:lnTo>
                    <a:pt x="587" y="2317"/>
                  </a:lnTo>
                  <a:lnTo>
                    <a:pt x="584" y="2297"/>
                  </a:lnTo>
                  <a:lnTo>
                    <a:pt x="599" y="2288"/>
                  </a:lnTo>
                  <a:lnTo>
                    <a:pt x="586" y="2283"/>
                  </a:lnTo>
                  <a:lnTo>
                    <a:pt x="570" y="2279"/>
                  </a:lnTo>
                  <a:lnTo>
                    <a:pt x="567" y="2266"/>
                  </a:lnTo>
                  <a:lnTo>
                    <a:pt x="549" y="2255"/>
                  </a:lnTo>
                  <a:lnTo>
                    <a:pt x="531" y="2246"/>
                  </a:lnTo>
                  <a:lnTo>
                    <a:pt x="520" y="2244"/>
                  </a:lnTo>
                  <a:lnTo>
                    <a:pt x="517" y="2265"/>
                  </a:lnTo>
                  <a:lnTo>
                    <a:pt x="509" y="2276"/>
                  </a:lnTo>
                  <a:lnTo>
                    <a:pt x="499" y="2279"/>
                  </a:lnTo>
                  <a:lnTo>
                    <a:pt x="501" y="2289"/>
                  </a:lnTo>
                  <a:lnTo>
                    <a:pt x="508" y="2304"/>
                  </a:lnTo>
                  <a:lnTo>
                    <a:pt x="516" y="2309"/>
                  </a:lnTo>
                  <a:lnTo>
                    <a:pt x="527" y="2332"/>
                  </a:lnTo>
                  <a:lnTo>
                    <a:pt x="543" y="2349"/>
                  </a:lnTo>
                  <a:lnTo>
                    <a:pt x="574" y="2336"/>
                  </a:lnTo>
                  <a:lnTo>
                    <a:pt x="580" y="2352"/>
                  </a:lnTo>
                  <a:lnTo>
                    <a:pt x="587" y="2399"/>
                  </a:lnTo>
                  <a:lnTo>
                    <a:pt x="592" y="2407"/>
                  </a:lnTo>
                  <a:lnTo>
                    <a:pt x="575" y="2400"/>
                  </a:lnTo>
                  <a:lnTo>
                    <a:pt x="560" y="2410"/>
                  </a:lnTo>
                  <a:lnTo>
                    <a:pt x="557" y="2417"/>
                  </a:lnTo>
                  <a:lnTo>
                    <a:pt x="557" y="2421"/>
                  </a:lnTo>
                  <a:lnTo>
                    <a:pt x="543" y="2413"/>
                  </a:lnTo>
                  <a:lnTo>
                    <a:pt x="533" y="2411"/>
                  </a:lnTo>
                  <a:lnTo>
                    <a:pt x="501" y="2395"/>
                  </a:lnTo>
                  <a:lnTo>
                    <a:pt x="484" y="2390"/>
                  </a:lnTo>
                  <a:lnTo>
                    <a:pt x="482" y="2383"/>
                  </a:lnTo>
                  <a:lnTo>
                    <a:pt x="474" y="2372"/>
                  </a:lnTo>
                  <a:lnTo>
                    <a:pt x="466" y="2364"/>
                  </a:lnTo>
                  <a:lnTo>
                    <a:pt x="460" y="2354"/>
                  </a:lnTo>
                  <a:lnTo>
                    <a:pt x="450" y="2348"/>
                  </a:lnTo>
                  <a:lnTo>
                    <a:pt x="444" y="2354"/>
                  </a:lnTo>
                  <a:lnTo>
                    <a:pt x="433" y="2356"/>
                  </a:lnTo>
                  <a:lnTo>
                    <a:pt x="415" y="2342"/>
                  </a:lnTo>
                  <a:lnTo>
                    <a:pt x="409" y="2330"/>
                  </a:lnTo>
                  <a:lnTo>
                    <a:pt x="396" y="2337"/>
                  </a:lnTo>
                  <a:lnTo>
                    <a:pt x="398" y="2329"/>
                  </a:lnTo>
                  <a:lnTo>
                    <a:pt x="408" y="2319"/>
                  </a:lnTo>
                  <a:lnTo>
                    <a:pt x="406" y="2299"/>
                  </a:lnTo>
                  <a:lnTo>
                    <a:pt x="408" y="2282"/>
                  </a:lnTo>
                  <a:lnTo>
                    <a:pt x="397" y="2272"/>
                  </a:lnTo>
                  <a:lnTo>
                    <a:pt x="398" y="2257"/>
                  </a:lnTo>
                  <a:lnTo>
                    <a:pt x="380" y="2222"/>
                  </a:lnTo>
                  <a:lnTo>
                    <a:pt x="385" y="2213"/>
                  </a:lnTo>
                  <a:lnTo>
                    <a:pt x="398" y="2209"/>
                  </a:lnTo>
                  <a:lnTo>
                    <a:pt x="402" y="2187"/>
                  </a:lnTo>
                  <a:lnTo>
                    <a:pt x="404" y="2161"/>
                  </a:lnTo>
                  <a:lnTo>
                    <a:pt x="402" y="2150"/>
                  </a:lnTo>
                  <a:lnTo>
                    <a:pt x="395" y="2142"/>
                  </a:lnTo>
                  <a:lnTo>
                    <a:pt x="388" y="2122"/>
                  </a:lnTo>
                  <a:lnTo>
                    <a:pt x="384" y="2116"/>
                  </a:lnTo>
                  <a:lnTo>
                    <a:pt x="368" y="2114"/>
                  </a:lnTo>
                  <a:lnTo>
                    <a:pt x="363" y="2101"/>
                  </a:lnTo>
                  <a:lnTo>
                    <a:pt x="353" y="2100"/>
                  </a:lnTo>
                  <a:lnTo>
                    <a:pt x="336" y="2094"/>
                  </a:lnTo>
                  <a:lnTo>
                    <a:pt x="336" y="2087"/>
                  </a:lnTo>
                  <a:lnTo>
                    <a:pt x="338" y="2078"/>
                  </a:lnTo>
                  <a:lnTo>
                    <a:pt x="336" y="2073"/>
                  </a:lnTo>
                  <a:lnTo>
                    <a:pt x="318" y="2071"/>
                  </a:lnTo>
                  <a:lnTo>
                    <a:pt x="285" y="2041"/>
                  </a:lnTo>
                  <a:lnTo>
                    <a:pt x="291" y="2035"/>
                  </a:lnTo>
                  <a:lnTo>
                    <a:pt x="275" y="2020"/>
                  </a:lnTo>
                  <a:lnTo>
                    <a:pt x="272" y="2004"/>
                  </a:lnTo>
                  <a:lnTo>
                    <a:pt x="264" y="1992"/>
                  </a:lnTo>
                  <a:lnTo>
                    <a:pt x="248" y="1987"/>
                  </a:lnTo>
                  <a:lnTo>
                    <a:pt x="256" y="1980"/>
                  </a:lnTo>
                  <a:lnTo>
                    <a:pt x="275" y="1976"/>
                  </a:lnTo>
                  <a:lnTo>
                    <a:pt x="295" y="1987"/>
                  </a:lnTo>
                  <a:lnTo>
                    <a:pt x="296" y="1999"/>
                  </a:lnTo>
                  <a:lnTo>
                    <a:pt x="306" y="2013"/>
                  </a:lnTo>
                  <a:lnTo>
                    <a:pt x="334" y="2033"/>
                  </a:lnTo>
                  <a:lnTo>
                    <a:pt x="338" y="2030"/>
                  </a:lnTo>
                  <a:lnTo>
                    <a:pt x="342" y="2020"/>
                  </a:lnTo>
                  <a:lnTo>
                    <a:pt x="350" y="2035"/>
                  </a:lnTo>
                  <a:lnTo>
                    <a:pt x="359" y="2042"/>
                  </a:lnTo>
                  <a:lnTo>
                    <a:pt x="365" y="2036"/>
                  </a:lnTo>
                  <a:lnTo>
                    <a:pt x="370" y="2039"/>
                  </a:lnTo>
                  <a:lnTo>
                    <a:pt x="375" y="2033"/>
                  </a:lnTo>
                  <a:lnTo>
                    <a:pt x="381" y="2034"/>
                  </a:lnTo>
                  <a:lnTo>
                    <a:pt x="384" y="2047"/>
                  </a:lnTo>
                  <a:lnTo>
                    <a:pt x="387" y="2060"/>
                  </a:lnTo>
                  <a:lnTo>
                    <a:pt x="402" y="2053"/>
                  </a:lnTo>
                  <a:lnTo>
                    <a:pt x="420" y="2058"/>
                  </a:lnTo>
                  <a:lnTo>
                    <a:pt x="427" y="2068"/>
                  </a:lnTo>
                  <a:lnTo>
                    <a:pt x="439" y="2068"/>
                  </a:lnTo>
                  <a:lnTo>
                    <a:pt x="447" y="2078"/>
                  </a:lnTo>
                  <a:lnTo>
                    <a:pt x="479" y="2087"/>
                  </a:lnTo>
                  <a:lnTo>
                    <a:pt x="494" y="2094"/>
                  </a:lnTo>
                  <a:lnTo>
                    <a:pt x="522" y="2096"/>
                  </a:lnTo>
                  <a:lnTo>
                    <a:pt x="548" y="2106"/>
                  </a:lnTo>
                  <a:lnTo>
                    <a:pt x="557" y="2116"/>
                  </a:lnTo>
                  <a:lnTo>
                    <a:pt x="576" y="2120"/>
                  </a:lnTo>
                  <a:lnTo>
                    <a:pt x="624" y="2123"/>
                  </a:lnTo>
                  <a:lnTo>
                    <a:pt x="637" y="2117"/>
                  </a:lnTo>
                  <a:lnTo>
                    <a:pt x="649" y="2115"/>
                  </a:lnTo>
                  <a:lnTo>
                    <a:pt x="693" y="2095"/>
                  </a:lnTo>
                  <a:lnTo>
                    <a:pt x="703" y="2085"/>
                  </a:lnTo>
                  <a:lnTo>
                    <a:pt x="712" y="2079"/>
                  </a:lnTo>
                  <a:lnTo>
                    <a:pt x="731" y="2057"/>
                  </a:lnTo>
                  <a:lnTo>
                    <a:pt x="752" y="2023"/>
                  </a:lnTo>
                  <a:lnTo>
                    <a:pt x="761" y="1998"/>
                  </a:lnTo>
                  <a:lnTo>
                    <a:pt x="764" y="1975"/>
                  </a:lnTo>
                  <a:lnTo>
                    <a:pt x="755" y="1970"/>
                  </a:lnTo>
                  <a:lnTo>
                    <a:pt x="752" y="1966"/>
                  </a:lnTo>
                  <a:lnTo>
                    <a:pt x="751" y="1944"/>
                  </a:lnTo>
                  <a:lnTo>
                    <a:pt x="746" y="1929"/>
                  </a:lnTo>
                  <a:lnTo>
                    <a:pt x="746" y="1907"/>
                  </a:lnTo>
                  <a:lnTo>
                    <a:pt x="735" y="1892"/>
                  </a:lnTo>
                  <a:lnTo>
                    <a:pt x="724" y="1886"/>
                  </a:lnTo>
                  <a:lnTo>
                    <a:pt x="718" y="1890"/>
                  </a:lnTo>
                  <a:lnTo>
                    <a:pt x="709" y="1883"/>
                  </a:lnTo>
                  <a:lnTo>
                    <a:pt x="710" y="1873"/>
                  </a:lnTo>
                  <a:lnTo>
                    <a:pt x="704" y="1869"/>
                  </a:lnTo>
                  <a:lnTo>
                    <a:pt x="693" y="1854"/>
                  </a:lnTo>
                  <a:lnTo>
                    <a:pt x="689" y="1845"/>
                  </a:lnTo>
                  <a:lnTo>
                    <a:pt x="683" y="1841"/>
                  </a:lnTo>
                  <a:lnTo>
                    <a:pt x="676" y="1835"/>
                  </a:lnTo>
                  <a:lnTo>
                    <a:pt x="681" y="1848"/>
                  </a:lnTo>
                  <a:lnTo>
                    <a:pt x="672" y="1851"/>
                  </a:lnTo>
                  <a:lnTo>
                    <a:pt x="650" y="1835"/>
                  </a:lnTo>
                  <a:lnTo>
                    <a:pt x="642" y="1825"/>
                  </a:lnTo>
                  <a:lnTo>
                    <a:pt x="639" y="1834"/>
                  </a:lnTo>
                  <a:lnTo>
                    <a:pt x="635" y="1827"/>
                  </a:lnTo>
                  <a:lnTo>
                    <a:pt x="632" y="1815"/>
                  </a:lnTo>
                  <a:lnTo>
                    <a:pt x="619" y="1800"/>
                  </a:lnTo>
                  <a:lnTo>
                    <a:pt x="627" y="1818"/>
                  </a:lnTo>
                  <a:lnTo>
                    <a:pt x="606" y="1811"/>
                  </a:lnTo>
                  <a:lnTo>
                    <a:pt x="599" y="1800"/>
                  </a:lnTo>
                  <a:lnTo>
                    <a:pt x="596" y="1793"/>
                  </a:lnTo>
                  <a:lnTo>
                    <a:pt x="589" y="1783"/>
                  </a:lnTo>
                  <a:lnTo>
                    <a:pt x="558" y="1751"/>
                  </a:lnTo>
                  <a:lnTo>
                    <a:pt x="542" y="1739"/>
                  </a:lnTo>
                  <a:lnTo>
                    <a:pt x="535" y="1730"/>
                  </a:lnTo>
                  <a:lnTo>
                    <a:pt x="509" y="1712"/>
                  </a:lnTo>
                  <a:lnTo>
                    <a:pt x="500" y="1701"/>
                  </a:lnTo>
                  <a:lnTo>
                    <a:pt x="466" y="1682"/>
                  </a:lnTo>
                  <a:lnTo>
                    <a:pt x="461" y="1678"/>
                  </a:lnTo>
                  <a:lnTo>
                    <a:pt x="427" y="1669"/>
                  </a:lnTo>
                  <a:lnTo>
                    <a:pt x="429" y="1675"/>
                  </a:lnTo>
                  <a:lnTo>
                    <a:pt x="427" y="1679"/>
                  </a:lnTo>
                  <a:lnTo>
                    <a:pt x="420" y="1679"/>
                  </a:lnTo>
                  <a:lnTo>
                    <a:pt x="403" y="1670"/>
                  </a:lnTo>
                  <a:lnTo>
                    <a:pt x="369" y="1662"/>
                  </a:lnTo>
                  <a:lnTo>
                    <a:pt x="354" y="1655"/>
                  </a:lnTo>
                  <a:lnTo>
                    <a:pt x="350" y="1662"/>
                  </a:lnTo>
                  <a:lnTo>
                    <a:pt x="333" y="1664"/>
                  </a:lnTo>
                  <a:lnTo>
                    <a:pt x="326" y="1670"/>
                  </a:lnTo>
                  <a:lnTo>
                    <a:pt x="322" y="1660"/>
                  </a:lnTo>
                  <a:lnTo>
                    <a:pt x="317" y="1657"/>
                  </a:lnTo>
                  <a:lnTo>
                    <a:pt x="320" y="1644"/>
                  </a:lnTo>
                  <a:lnTo>
                    <a:pt x="317" y="1641"/>
                  </a:lnTo>
                  <a:lnTo>
                    <a:pt x="299" y="1657"/>
                  </a:lnTo>
                  <a:lnTo>
                    <a:pt x="302" y="1637"/>
                  </a:lnTo>
                  <a:lnTo>
                    <a:pt x="293" y="1644"/>
                  </a:lnTo>
                  <a:lnTo>
                    <a:pt x="294" y="1633"/>
                  </a:lnTo>
                  <a:lnTo>
                    <a:pt x="291" y="1632"/>
                  </a:lnTo>
                  <a:lnTo>
                    <a:pt x="283" y="1632"/>
                  </a:lnTo>
                  <a:lnTo>
                    <a:pt x="268" y="1638"/>
                  </a:lnTo>
                  <a:lnTo>
                    <a:pt x="271" y="1631"/>
                  </a:lnTo>
                  <a:lnTo>
                    <a:pt x="269" y="1625"/>
                  </a:lnTo>
                  <a:lnTo>
                    <a:pt x="267" y="1617"/>
                  </a:lnTo>
                  <a:lnTo>
                    <a:pt x="251" y="1619"/>
                  </a:lnTo>
                  <a:lnTo>
                    <a:pt x="257" y="1589"/>
                  </a:lnTo>
                  <a:lnTo>
                    <a:pt x="261" y="1603"/>
                  </a:lnTo>
                  <a:lnTo>
                    <a:pt x="267" y="1606"/>
                  </a:lnTo>
                  <a:lnTo>
                    <a:pt x="273" y="1606"/>
                  </a:lnTo>
                  <a:lnTo>
                    <a:pt x="279" y="1614"/>
                  </a:lnTo>
                  <a:lnTo>
                    <a:pt x="290" y="1612"/>
                  </a:lnTo>
                  <a:lnTo>
                    <a:pt x="299" y="1616"/>
                  </a:lnTo>
                  <a:lnTo>
                    <a:pt x="307" y="1600"/>
                  </a:lnTo>
                  <a:lnTo>
                    <a:pt x="309" y="1589"/>
                  </a:lnTo>
                  <a:lnTo>
                    <a:pt x="290" y="1583"/>
                  </a:lnTo>
                  <a:lnTo>
                    <a:pt x="283" y="1585"/>
                  </a:lnTo>
                  <a:lnTo>
                    <a:pt x="275" y="1579"/>
                  </a:lnTo>
                  <a:lnTo>
                    <a:pt x="274" y="1573"/>
                  </a:lnTo>
                  <a:lnTo>
                    <a:pt x="259" y="1565"/>
                  </a:lnTo>
                  <a:lnTo>
                    <a:pt x="242" y="1558"/>
                  </a:lnTo>
                  <a:lnTo>
                    <a:pt x="248" y="1567"/>
                  </a:lnTo>
                  <a:lnTo>
                    <a:pt x="247" y="1582"/>
                  </a:lnTo>
                  <a:lnTo>
                    <a:pt x="239" y="1583"/>
                  </a:lnTo>
                  <a:lnTo>
                    <a:pt x="235" y="1579"/>
                  </a:lnTo>
                  <a:lnTo>
                    <a:pt x="232" y="1587"/>
                  </a:lnTo>
                  <a:lnTo>
                    <a:pt x="235" y="1598"/>
                  </a:lnTo>
                  <a:lnTo>
                    <a:pt x="231" y="1604"/>
                  </a:lnTo>
                  <a:lnTo>
                    <a:pt x="221" y="1604"/>
                  </a:lnTo>
                  <a:lnTo>
                    <a:pt x="210" y="1593"/>
                  </a:lnTo>
                  <a:lnTo>
                    <a:pt x="191" y="1583"/>
                  </a:lnTo>
                  <a:lnTo>
                    <a:pt x="189" y="1584"/>
                  </a:lnTo>
                  <a:lnTo>
                    <a:pt x="192" y="1589"/>
                  </a:lnTo>
                  <a:lnTo>
                    <a:pt x="191" y="1600"/>
                  </a:lnTo>
                  <a:lnTo>
                    <a:pt x="187" y="1612"/>
                  </a:lnTo>
                  <a:lnTo>
                    <a:pt x="185" y="1617"/>
                  </a:lnTo>
                  <a:lnTo>
                    <a:pt x="172" y="1621"/>
                  </a:lnTo>
                  <a:lnTo>
                    <a:pt x="150" y="1606"/>
                  </a:lnTo>
                  <a:lnTo>
                    <a:pt x="144" y="1637"/>
                  </a:lnTo>
                  <a:lnTo>
                    <a:pt x="138" y="1644"/>
                  </a:lnTo>
                  <a:lnTo>
                    <a:pt x="106" y="1664"/>
                  </a:lnTo>
                  <a:lnTo>
                    <a:pt x="103" y="1669"/>
                  </a:lnTo>
                  <a:lnTo>
                    <a:pt x="102" y="1680"/>
                  </a:lnTo>
                  <a:lnTo>
                    <a:pt x="101" y="1684"/>
                  </a:lnTo>
                  <a:lnTo>
                    <a:pt x="92" y="1692"/>
                  </a:lnTo>
                  <a:lnTo>
                    <a:pt x="90" y="1694"/>
                  </a:lnTo>
                  <a:lnTo>
                    <a:pt x="59" y="1721"/>
                  </a:lnTo>
                  <a:lnTo>
                    <a:pt x="69" y="1725"/>
                  </a:lnTo>
                  <a:lnTo>
                    <a:pt x="69" y="1730"/>
                  </a:lnTo>
                  <a:lnTo>
                    <a:pt x="58" y="1759"/>
                  </a:lnTo>
                  <a:lnTo>
                    <a:pt x="57" y="1768"/>
                  </a:lnTo>
                  <a:lnTo>
                    <a:pt x="59" y="1794"/>
                  </a:lnTo>
                  <a:lnTo>
                    <a:pt x="64" y="1814"/>
                  </a:lnTo>
                  <a:lnTo>
                    <a:pt x="69" y="1821"/>
                  </a:lnTo>
                  <a:lnTo>
                    <a:pt x="79" y="1827"/>
                  </a:lnTo>
                  <a:lnTo>
                    <a:pt x="92" y="1830"/>
                  </a:lnTo>
                  <a:lnTo>
                    <a:pt x="107" y="1837"/>
                  </a:lnTo>
                  <a:lnTo>
                    <a:pt x="127" y="1875"/>
                  </a:lnTo>
                  <a:lnTo>
                    <a:pt x="137" y="1890"/>
                  </a:lnTo>
                  <a:lnTo>
                    <a:pt x="140" y="1912"/>
                  </a:lnTo>
                  <a:lnTo>
                    <a:pt x="122" y="1949"/>
                  </a:lnTo>
                  <a:lnTo>
                    <a:pt x="103" y="1992"/>
                  </a:lnTo>
                  <a:lnTo>
                    <a:pt x="97" y="2005"/>
                  </a:lnTo>
                  <a:lnTo>
                    <a:pt x="99" y="2026"/>
                  </a:lnTo>
                  <a:lnTo>
                    <a:pt x="108" y="2046"/>
                  </a:lnTo>
                  <a:lnTo>
                    <a:pt x="116" y="2063"/>
                  </a:lnTo>
                  <a:lnTo>
                    <a:pt x="118" y="2082"/>
                  </a:lnTo>
                  <a:lnTo>
                    <a:pt x="133" y="2109"/>
                  </a:lnTo>
                  <a:lnTo>
                    <a:pt x="144" y="2143"/>
                  </a:lnTo>
                  <a:lnTo>
                    <a:pt x="146" y="2160"/>
                  </a:lnTo>
                  <a:lnTo>
                    <a:pt x="148" y="2175"/>
                  </a:lnTo>
                  <a:lnTo>
                    <a:pt x="134" y="2187"/>
                  </a:lnTo>
                  <a:lnTo>
                    <a:pt x="132" y="2209"/>
                  </a:lnTo>
                  <a:lnTo>
                    <a:pt x="127" y="2225"/>
                  </a:lnTo>
                  <a:lnTo>
                    <a:pt x="130" y="2235"/>
                  </a:lnTo>
                  <a:lnTo>
                    <a:pt x="132" y="2254"/>
                  </a:lnTo>
                  <a:lnTo>
                    <a:pt x="126" y="2265"/>
                  </a:lnTo>
                  <a:lnTo>
                    <a:pt x="127" y="2286"/>
                  </a:lnTo>
                  <a:lnTo>
                    <a:pt x="143" y="2289"/>
                  </a:lnTo>
                  <a:lnTo>
                    <a:pt x="151" y="2306"/>
                  </a:lnTo>
                  <a:lnTo>
                    <a:pt x="149" y="2327"/>
                  </a:lnTo>
                  <a:lnTo>
                    <a:pt x="156" y="2343"/>
                  </a:lnTo>
                  <a:lnTo>
                    <a:pt x="172" y="2358"/>
                  </a:lnTo>
                  <a:lnTo>
                    <a:pt x="173" y="2378"/>
                  </a:lnTo>
                  <a:lnTo>
                    <a:pt x="167" y="2396"/>
                  </a:lnTo>
                  <a:lnTo>
                    <a:pt x="157" y="2411"/>
                  </a:lnTo>
                  <a:lnTo>
                    <a:pt x="153" y="2427"/>
                  </a:lnTo>
                  <a:lnTo>
                    <a:pt x="159" y="2445"/>
                  </a:lnTo>
                  <a:lnTo>
                    <a:pt x="167" y="2458"/>
                  </a:lnTo>
                  <a:lnTo>
                    <a:pt x="197" y="2481"/>
                  </a:lnTo>
                  <a:lnTo>
                    <a:pt x="202" y="2498"/>
                  </a:lnTo>
                  <a:lnTo>
                    <a:pt x="212" y="2515"/>
                  </a:lnTo>
                  <a:lnTo>
                    <a:pt x="216" y="2509"/>
                  </a:lnTo>
                  <a:lnTo>
                    <a:pt x="215" y="2548"/>
                  </a:lnTo>
                  <a:lnTo>
                    <a:pt x="199" y="2586"/>
                  </a:lnTo>
                  <a:lnTo>
                    <a:pt x="186" y="2606"/>
                  </a:lnTo>
                  <a:lnTo>
                    <a:pt x="134" y="2675"/>
                  </a:lnTo>
                  <a:lnTo>
                    <a:pt x="96" y="2718"/>
                  </a:lnTo>
                  <a:lnTo>
                    <a:pt x="46" y="2767"/>
                  </a:lnTo>
                  <a:lnTo>
                    <a:pt x="10" y="2794"/>
                  </a:lnTo>
                  <a:lnTo>
                    <a:pt x="33" y="2798"/>
                  </a:lnTo>
                  <a:lnTo>
                    <a:pt x="44" y="2785"/>
                  </a:lnTo>
                  <a:lnTo>
                    <a:pt x="63" y="2776"/>
                  </a:lnTo>
                  <a:lnTo>
                    <a:pt x="64" y="2783"/>
                  </a:lnTo>
                  <a:lnTo>
                    <a:pt x="63" y="2788"/>
                  </a:lnTo>
                  <a:lnTo>
                    <a:pt x="63" y="2805"/>
                  </a:lnTo>
                  <a:lnTo>
                    <a:pt x="58" y="2798"/>
                  </a:lnTo>
                  <a:lnTo>
                    <a:pt x="54" y="2797"/>
                  </a:lnTo>
                  <a:lnTo>
                    <a:pt x="54" y="2811"/>
                  </a:lnTo>
                  <a:lnTo>
                    <a:pt x="59" y="2820"/>
                  </a:lnTo>
                  <a:lnTo>
                    <a:pt x="64" y="2821"/>
                  </a:lnTo>
                  <a:lnTo>
                    <a:pt x="70" y="2824"/>
                  </a:lnTo>
                  <a:lnTo>
                    <a:pt x="87" y="2838"/>
                  </a:lnTo>
                  <a:lnTo>
                    <a:pt x="99" y="2838"/>
                  </a:lnTo>
                  <a:lnTo>
                    <a:pt x="117" y="2833"/>
                  </a:lnTo>
                  <a:lnTo>
                    <a:pt x="128" y="2837"/>
                  </a:lnTo>
                  <a:lnTo>
                    <a:pt x="137" y="2844"/>
                  </a:lnTo>
                  <a:lnTo>
                    <a:pt x="137" y="2854"/>
                  </a:lnTo>
                  <a:lnTo>
                    <a:pt x="143" y="2858"/>
                  </a:lnTo>
                  <a:lnTo>
                    <a:pt x="150" y="2859"/>
                  </a:lnTo>
                  <a:lnTo>
                    <a:pt x="151" y="2863"/>
                  </a:lnTo>
                  <a:lnTo>
                    <a:pt x="145" y="2868"/>
                  </a:lnTo>
                  <a:lnTo>
                    <a:pt x="137" y="2868"/>
                  </a:lnTo>
                  <a:lnTo>
                    <a:pt x="110" y="2860"/>
                  </a:lnTo>
                  <a:lnTo>
                    <a:pt x="91" y="2859"/>
                  </a:lnTo>
                  <a:lnTo>
                    <a:pt x="85" y="2865"/>
                  </a:lnTo>
                  <a:lnTo>
                    <a:pt x="83" y="2873"/>
                  </a:lnTo>
                  <a:lnTo>
                    <a:pt x="68" y="2881"/>
                  </a:lnTo>
                  <a:lnTo>
                    <a:pt x="60" y="2876"/>
                  </a:lnTo>
                  <a:lnTo>
                    <a:pt x="54" y="2879"/>
                  </a:lnTo>
                  <a:lnTo>
                    <a:pt x="51" y="2889"/>
                  </a:lnTo>
                  <a:lnTo>
                    <a:pt x="44" y="2892"/>
                  </a:lnTo>
                  <a:lnTo>
                    <a:pt x="38" y="2886"/>
                  </a:lnTo>
                  <a:lnTo>
                    <a:pt x="31" y="2883"/>
                  </a:lnTo>
                  <a:lnTo>
                    <a:pt x="27" y="2891"/>
                  </a:lnTo>
                  <a:lnTo>
                    <a:pt x="30" y="2907"/>
                  </a:lnTo>
                  <a:lnTo>
                    <a:pt x="37" y="2908"/>
                  </a:lnTo>
                  <a:lnTo>
                    <a:pt x="42" y="2914"/>
                  </a:lnTo>
                  <a:lnTo>
                    <a:pt x="44" y="2922"/>
                  </a:lnTo>
                  <a:lnTo>
                    <a:pt x="41" y="2930"/>
                  </a:lnTo>
                  <a:lnTo>
                    <a:pt x="30" y="2941"/>
                  </a:lnTo>
                  <a:lnTo>
                    <a:pt x="21" y="2956"/>
                  </a:lnTo>
                  <a:lnTo>
                    <a:pt x="15" y="2970"/>
                  </a:lnTo>
                  <a:lnTo>
                    <a:pt x="19" y="2983"/>
                  </a:lnTo>
                  <a:lnTo>
                    <a:pt x="16" y="3002"/>
                  </a:lnTo>
                  <a:lnTo>
                    <a:pt x="17" y="3008"/>
                  </a:lnTo>
                  <a:lnTo>
                    <a:pt x="20" y="3013"/>
                  </a:lnTo>
                  <a:lnTo>
                    <a:pt x="20" y="3019"/>
                  </a:lnTo>
                  <a:lnTo>
                    <a:pt x="17" y="3026"/>
                  </a:lnTo>
                  <a:lnTo>
                    <a:pt x="9" y="3035"/>
                  </a:lnTo>
                  <a:lnTo>
                    <a:pt x="4" y="3038"/>
                  </a:lnTo>
                  <a:lnTo>
                    <a:pt x="1" y="3046"/>
                  </a:lnTo>
                  <a:lnTo>
                    <a:pt x="5" y="3053"/>
                  </a:lnTo>
                  <a:lnTo>
                    <a:pt x="14" y="3054"/>
                  </a:lnTo>
                  <a:lnTo>
                    <a:pt x="27" y="3053"/>
                  </a:lnTo>
                  <a:lnTo>
                    <a:pt x="38" y="3070"/>
                  </a:lnTo>
                  <a:lnTo>
                    <a:pt x="37" y="3086"/>
                  </a:lnTo>
                  <a:lnTo>
                    <a:pt x="27" y="3086"/>
                  </a:lnTo>
                  <a:lnTo>
                    <a:pt x="19" y="3075"/>
                  </a:lnTo>
                  <a:lnTo>
                    <a:pt x="10" y="3068"/>
                  </a:lnTo>
                  <a:lnTo>
                    <a:pt x="10" y="3083"/>
                  </a:lnTo>
                  <a:lnTo>
                    <a:pt x="6" y="3090"/>
                  </a:lnTo>
                  <a:lnTo>
                    <a:pt x="0" y="3105"/>
                  </a:lnTo>
                  <a:lnTo>
                    <a:pt x="1" y="3112"/>
                  </a:lnTo>
                  <a:lnTo>
                    <a:pt x="6" y="3118"/>
                  </a:lnTo>
                  <a:lnTo>
                    <a:pt x="10" y="3126"/>
                  </a:lnTo>
                  <a:lnTo>
                    <a:pt x="17" y="3129"/>
                  </a:lnTo>
                  <a:lnTo>
                    <a:pt x="21" y="3137"/>
                  </a:lnTo>
                  <a:lnTo>
                    <a:pt x="22" y="3145"/>
                  </a:lnTo>
                  <a:lnTo>
                    <a:pt x="17" y="3169"/>
                  </a:lnTo>
                  <a:lnTo>
                    <a:pt x="14" y="3176"/>
                  </a:lnTo>
                  <a:lnTo>
                    <a:pt x="22" y="3179"/>
                  </a:lnTo>
                  <a:lnTo>
                    <a:pt x="29" y="3183"/>
                  </a:lnTo>
                  <a:lnTo>
                    <a:pt x="29" y="3191"/>
                  </a:lnTo>
                  <a:lnTo>
                    <a:pt x="42" y="3213"/>
                  </a:lnTo>
                  <a:lnTo>
                    <a:pt x="44" y="3222"/>
                  </a:lnTo>
                  <a:lnTo>
                    <a:pt x="48" y="3229"/>
                  </a:lnTo>
                  <a:lnTo>
                    <a:pt x="48" y="3245"/>
                  </a:lnTo>
                  <a:lnTo>
                    <a:pt x="47" y="3252"/>
                  </a:lnTo>
                  <a:lnTo>
                    <a:pt x="49" y="3260"/>
                  </a:lnTo>
                  <a:lnTo>
                    <a:pt x="65" y="3257"/>
                  </a:lnTo>
                  <a:lnTo>
                    <a:pt x="73" y="3261"/>
                  </a:lnTo>
                  <a:lnTo>
                    <a:pt x="76" y="3268"/>
                  </a:lnTo>
                  <a:lnTo>
                    <a:pt x="92" y="3266"/>
                  </a:lnTo>
                  <a:lnTo>
                    <a:pt x="101" y="3267"/>
                  </a:lnTo>
                  <a:lnTo>
                    <a:pt x="113" y="3276"/>
                  </a:lnTo>
                  <a:lnTo>
                    <a:pt x="111" y="3296"/>
                  </a:lnTo>
                  <a:lnTo>
                    <a:pt x="126" y="3288"/>
                  </a:lnTo>
                  <a:lnTo>
                    <a:pt x="133" y="3287"/>
                  </a:lnTo>
                  <a:lnTo>
                    <a:pt x="139" y="3282"/>
                  </a:lnTo>
                  <a:lnTo>
                    <a:pt x="155" y="3280"/>
                  </a:lnTo>
                  <a:lnTo>
                    <a:pt x="162" y="3282"/>
                  </a:lnTo>
                  <a:lnTo>
                    <a:pt x="170" y="3287"/>
                  </a:lnTo>
                  <a:lnTo>
                    <a:pt x="176" y="3292"/>
                  </a:lnTo>
                  <a:lnTo>
                    <a:pt x="185" y="3305"/>
                  </a:lnTo>
                  <a:lnTo>
                    <a:pt x="193" y="3306"/>
                  </a:lnTo>
                  <a:lnTo>
                    <a:pt x="194" y="3317"/>
                  </a:lnTo>
                  <a:lnTo>
                    <a:pt x="192" y="3325"/>
                  </a:lnTo>
                  <a:lnTo>
                    <a:pt x="192" y="3333"/>
                  </a:lnTo>
                  <a:lnTo>
                    <a:pt x="197" y="3341"/>
                  </a:lnTo>
                  <a:lnTo>
                    <a:pt x="199" y="3348"/>
                  </a:lnTo>
                  <a:lnTo>
                    <a:pt x="198" y="3355"/>
                  </a:lnTo>
                  <a:lnTo>
                    <a:pt x="196" y="3363"/>
                  </a:lnTo>
                  <a:lnTo>
                    <a:pt x="189" y="3368"/>
                  </a:lnTo>
                  <a:lnTo>
                    <a:pt x="187" y="3376"/>
                  </a:lnTo>
                  <a:lnTo>
                    <a:pt x="189" y="3384"/>
                  </a:lnTo>
                  <a:lnTo>
                    <a:pt x="202" y="3395"/>
                  </a:lnTo>
                  <a:lnTo>
                    <a:pt x="205" y="3411"/>
                  </a:lnTo>
                  <a:lnTo>
                    <a:pt x="216" y="3433"/>
                  </a:lnTo>
                  <a:lnTo>
                    <a:pt x="221" y="3439"/>
                  </a:lnTo>
                  <a:lnTo>
                    <a:pt x="236" y="3448"/>
                  </a:lnTo>
                  <a:lnTo>
                    <a:pt x="241" y="3454"/>
                  </a:lnTo>
                  <a:lnTo>
                    <a:pt x="242" y="3462"/>
                  </a:lnTo>
                  <a:lnTo>
                    <a:pt x="241" y="3470"/>
                  </a:lnTo>
                  <a:lnTo>
                    <a:pt x="245" y="3477"/>
                  </a:lnTo>
                  <a:lnTo>
                    <a:pt x="268" y="3475"/>
                  </a:lnTo>
                  <a:lnTo>
                    <a:pt x="274" y="3479"/>
                  </a:lnTo>
                  <a:lnTo>
                    <a:pt x="282" y="3482"/>
                  </a:lnTo>
                  <a:lnTo>
                    <a:pt x="279" y="3489"/>
                  </a:lnTo>
                  <a:lnTo>
                    <a:pt x="284" y="3495"/>
                  </a:lnTo>
                  <a:lnTo>
                    <a:pt x="294" y="3497"/>
                  </a:lnTo>
                  <a:lnTo>
                    <a:pt x="295" y="3510"/>
                  </a:lnTo>
                  <a:lnTo>
                    <a:pt x="288" y="3515"/>
                  </a:lnTo>
                  <a:lnTo>
                    <a:pt x="284" y="3522"/>
                  </a:lnTo>
                  <a:lnTo>
                    <a:pt x="272" y="3532"/>
                  </a:lnTo>
                  <a:lnTo>
                    <a:pt x="264" y="3537"/>
                  </a:lnTo>
                  <a:lnTo>
                    <a:pt x="247" y="3535"/>
                  </a:lnTo>
                  <a:lnTo>
                    <a:pt x="235" y="3524"/>
                  </a:lnTo>
                  <a:lnTo>
                    <a:pt x="228" y="3524"/>
                  </a:lnTo>
                  <a:lnTo>
                    <a:pt x="220" y="3527"/>
                  </a:lnTo>
                  <a:lnTo>
                    <a:pt x="219" y="3535"/>
                  </a:lnTo>
                  <a:lnTo>
                    <a:pt x="212" y="3538"/>
                  </a:lnTo>
                  <a:lnTo>
                    <a:pt x="213" y="3546"/>
                  </a:lnTo>
                  <a:lnTo>
                    <a:pt x="224" y="3557"/>
                  </a:lnTo>
                  <a:lnTo>
                    <a:pt x="226" y="3564"/>
                  </a:lnTo>
                  <a:lnTo>
                    <a:pt x="224" y="3573"/>
                  </a:lnTo>
                  <a:lnTo>
                    <a:pt x="229" y="3578"/>
                  </a:lnTo>
                  <a:lnTo>
                    <a:pt x="228" y="3586"/>
                  </a:lnTo>
                  <a:lnTo>
                    <a:pt x="235" y="3590"/>
                  </a:lnTo>
                  <a:lnTo>
                    <a:pt x="237" y="3597"/>
                  </a:lnTo>
                  <a:lnTo>
                    <a:pt x="236" y="3606"/>
                  </a:lnTo>
                  <a:lnTo>
                    <a:pt x="241" y="3627"/>
                  </a:lnTo>
                  <a:lnTo>
                    <a:pt x="247" y="3633"/>
                  </a:lnTo>
                  <a:lnTo>
                    <a:pt x="255" y="3635"/>
                  </a:lnTo>
                  <a:lnTo>
                    <a:pt x="262" y="3632"/>
                  </a:lnTo>
                  <a:lnTo>
                    <a:pt x="267" y="3626"/>
                  </a:lnTo>
                  <a:lnTo>
                    <a:pt x="269" y="3617"/>
                  </a:lnTo>
                  <a:lnTo>
                    <a:pt x="277" y="3612"/>
                  </a:lnTo>
                  <a:lnTo>
                    <a:pt x="293" y="3616"/>
                  </a:lnTo>
                  <a:lnTo>
                    <a:pt x="301" y="3616"/>
                  </a:lnTo>
                  <a:lnTo>
                    <a:pt x="317" y="3611"/>
                  </a:lnTo>
                  <a:lnTo>
                    <a:pt x="333" y="3613"/>
                  </a:lnTo>
                  <a:lnTo>
                    <a:pt x="349" y="3610"/>
                  </a:lnTo>
                  <a:lnTo>
                    <a:pt x="361" y="3619"/>
                  </a:lnTo>
                  <a:lnTo>
                    <a:pt x="366" y="3627"/>
                  </a:lnTo>
                  <a:lnTo>
                    <a:pt x="366" y="3635"/>
                  </a:lnTo>
                  <a:lnTo>
                    <a:pt x="379" y="3647"/>
                  </a:lnTo>
                  <a:lnTo>
                    <a:pt x="384" y="3653"/>
                  </a:lnTo>
                  <a:lnTo>
                    <a:pt x="384" y="3662"/>
                  </a:lnTo>
                  <a:lnTo>
                    <a:pt x="375" y="3666"/>
                  </a:lnTo>
                  <a:lnTo>
                    <a:pt x="368" y="3667"/>
                  </a:lnTo>
                  <a:lnTo>
                    <a:pt x="371" y="3675"/>
                  </a:lnTo>
                  <a:lnTo>
                    <a:pt x="371" y="3682"/>
                  </a:lnTo>
                  <a:lnTo>
                    <a:pt x="375" y="3698"/>
                  </a:lnTo>
                  <a:lnTo>
                    <a:pt x="382" y="3703"/>
                  </a:lnTo>
                  <a:lnTo>
                    <a:pt x="390" y="3705"/>
                  </a:lnTo>
                  <a:lnTo>
                    <a:pt x="406" y="3710"/>
                  </a:lnTo>
                  <a:lnTo>
                    <a:pt x="413" y="3707"/>
                  </a:lnTo>
                  <a:lnTo>
                    <a:pt x="422" y="3707"/>
                  </a:lnTo>
                  <a:lnTo>
                    <a:pt x="424" y="3715"/>
                  </a:lnTo>
                  <a:lnTo>
                    <a:pt x="435" y="3726"/>
                  </a:lnTo>
                  <a:lnTo>
                    <a:pt x="442" y="3753"/>
                  </a:lnTo>
                  <a:lnTo>
                    <a:pt x="440" y="3762"/>
                  </a:lnTo>
                  <a:lnTo>
                    <a:pt x="442" y="3769"/>
                  </a:lnTo>
                  <a:lnTo>
                    <a:pt x="449" y="3774"/>
                  </a:lnTo>
                  <a:lnTo>
                    <a:pt x="456" y="3779"/>
                  </a:lnTo>
                  <a:lnTo>
                    <a:pt x="463" y="3775"/>
                  </a:lnTo>
                  <a:lnTo>
                    <a:pt x="471" y="3774"/>
                  </a:lnTo>
                  <a:lnTo>
                    <a:pt x="479" y="3775"/>
                  </a:lnTo>
                  <a:lnTo>
                    <a:pt x="490" y="3787"/>
                  </a:lnTo>
                  <a:lnTo>
                    <a:pt x="499" y="3784"/>
                  </a:lnTo>
                  <a:lnTo>
                    <a:pt x="506" y="3788"/>
                  </a:lnTo>
                  <a:lnTo>
                    <a:pt x="531" y="3780"/>
                  </a:lnTo>
                  <a:lnTo>
                    <a:pt x="546" y="3773"/>
                  </a:lnTo>
                  <a:lnTo>
                    <a:pt x="553" y="3775"/>
                  </a:lnTo>
                  <a:lnTo>
                    <a:pt x="558" y="3782"/>
                  </a:lnTo>
                  <a:lnTo>
                    <a:pt x="569" y="3804"/>
                  </a:lnTo>
                  <a:lnTo>
                    <a:pt x="580" y="3816"/>
                  </a:lnTo>
                  <a:lnTo>
                    <a:pt x="587" y="3816"/>
                  </a:lnTo>
                  <a:lnTo>
                    <a:pt x="591" y="3809"/>
                  </a:lnTo>
                  <a:lnTo>
                    <a:pt x="600" y="3809"/>
                  </a:lnTo>
                  <a:lnTo>
                    <a:pt x="605" y="3815"/>
                  </a:lnTo>
                  <a:lnTo>
                    <a:pt x="612" y="3816"/>
                  </a:lnTo>
                  <a:lnTo>
                    <a:pt x="619" y="3820"/>
                  </a:lnTo>
                  <a:lnTo>
                    <a:pt x="626" y="3826"/>
                  </a:lnTo>
                  <a:lnTo>
                    <a:pt x="642" y="3825"/>
                  </a:lnTo>
                  <a:lnTo>
                    <a:pt x="655" y="3834"/>
                  </a:lnTo>
                  <a:lnTo>
                    <a:pt x="662" y="3833"/>
                  </a:lnTo>
                  <a:lnTo>
                    <a:pt x="675" y="3844"/>
                  </a:lnTo>
                  <a:lnTo>
                    <a:pt x="683" y="3845"/>
                  </a:lnTo>
                  <a:lnTo>
                    <a:pt x="692" y="3845"/>
                  </a:lnTo>
                  <a:lnTo>
                    <a:pt x="698" y="3850"/>
                  </a:lnTo>
                  <a:lnTo>
                    <a:pt x="691" y="3854"/>
                  </a:lnTo>
                  <a:lnTo>
                    <a:pt x="699" y="3877"/>
                  </a:lnTo>
                  <a:lnTo>
                    <a:pt x="691" y="3892"/>
                  </a:lnTo>
                  <a:lnTo>
                    <a:pt x="675" y="3896"/>
                  </a:lnTo>
                  <a:lnTo>
                    <a:pt x="680" y="3902"/>
                  </a:lnTo>
                  <a:lnTo>
                    <a:pt x="688" y="3904"/>
                  </a:lnTo>
                  <a:lnTo>
                    <a:pt x="693" y="3911"/>
                  </a:lnTo>
                  <a:lnTo>
                    <a:pt x="676" y="3916"/>
                  </a:lnTo>
                  <a:lnTo>
                    <a:pt x="673" y="3922"/>
                  </a:lnTo>
                  <a:lnTo>
                    <a:pt x="672" y="3930"/>
                  </a:lnTo>
                  <a:lnTo>
                    <a:pt x="677" y="3936"/>
                  </a:lnTo>
                  <a:lnTo>
                    <a:pt x="680" y="3944"/>
                  </a:lnTo>
                  <a:lnTo>
                    <a:pt x="678" y="3952"/>
                  </a:lnTo>
                  <a:lnTo>
                    <a:pt x="686" y="3956"/>
                  </a:lnTo>
                  <a:lnTo>
                    <a:pt x="682" y="3972"/>
                  </a:lnTo>
                  <a:lnTo>
                    <a:pt x="675" y="3995"/>
                  </a:lnTo>
                  <a:lnTo>
                    <a:pt x="667" y="3999"/>
                  </a:lnTo>
                  <a:lnTo>
                    <a:pt x="653" y="3995"/>
                  </a:lnTo>
                  <a:lnTo>
                    <a:pt x="644" y="3997"/>
                  </a:lnTo>
                  <a:lnTo>
                    <a:pt x="629" y="3989"/>
                  </a:lnTo>
                  <a:lnTo>
                    <a:pt x="623" y="3994"/>
                  </a:lnTo>
                  <a:lnTo>
                    <a:pt x="614" y="4008"/>
                  </a:lnTo>
                  <a:lnTo>
                    <a:pt x="600" y="4014"/>
                  </a:lnTo>
                  <a:lnTo>
                    <a:pt x="592" y="4029"/>
                  </a:lnTo>
                  <a:lnTo>
                    <a:pt x="594" y="4037"/>
                  </a:lnTo>
                  <a:lnTo>
                    <a:pt x="594" y="4052"/>
                  </a:lnTo>
                  <a:lnTo>
                    <a:pt x="607" y="4047"/>
                  </a:lnTo>
                  <a:lnTo>
                    <a:pt x="617" y="4048"/>
                  </a:lnTo>
                  <a:lnTo>
                    <a:pt x="623" y="4043"/>
                  </a:lnTo>
                  <a:lnTo>
                    <a:pt x="638" y="4041"/>
                  </a:lnTo>
                  <a:lnTo>
                    <a:pt x="644" y="4043"/>
                  </a:lnTo>
                  <a:lnTo>
                    <a:pt x="645" y="4049"/>
                  </a:lnTo>
                  <a:lnTo>
                    <a:pt x="653" y="4051"/>
                  </a:lnTo>
                  <a:lnTo>
                    <a:pt x="655" y="4053"/>
                  </a:lnTo>
                  <a:lnTo>
                    <a:pt x="654" y="4058"/>
                  </a:lnTo>
                  <a:lnTo>
                    <a:pt x="644" y="4058"/>
                  </a:lnTo>
                  <a:lnTo>
                    <a:pt x="632" y="4063"/>
                  </a:lnTo>
                  <a:lnTo>
                    <a:pt x="616" y="4073"/>
                  </a:lnTo>
                  <a:lnTo>
                    <a:pt x="605" y="4076"/>
                  </a:lnTo>
                  <a:lnTo>
                    <a:pt x="605" y="4081"/>
                  </a:lnTo>
                  <a:lnTo>
                    <a:pt x="610" y="4086"/>
                  </a:lnTo>
                  <a:lnTo>
                    <a:pt x="605" y="4089"/>
                  </a:lnTo>
                  <a:lnTo>
                    <a:pt x="594" y="4086"/>
                  </a:lnTo>
                  <a:lnTo>
                    <a:pt x="569" y="4090"/>
                  </a:lnTo>
                  <a:lnTo>
                    <a:pt x="567" y="4100"/>
                  </a:lnTo>
                  <a:lnTo>
                    <a:pt x="575" y="4107"/>
                  </a:lnTo>
                  <a:lnTo>
                    <a:pt x="587" y="4112"/>
                  </a:lnTo>
                  <a:lnTo>
                    <a:pt x="597" y="4126"/>
                  </a:lnTo>
                  <a:lnTo>
                    <a:pt x="607" y="4135"/>
                  </a:lnTo>
                  <a:lnTo>
                    <a:pt x="605" y="4137"/>
                  </a:lnTo>
                  <a:lnTo>
                    <a:pt x="591" y="4133"/>
                  </a:lnTo>
                  <a:lnTo>
                    <a:pt x="585" y="4143"/>
                  </a:lnTo>
                  <a:lnTo>
                    <a:pt x="579" y="4143"/>
                  </a:lnTo>
                  <a:lnTo>
                    <a:pt x="567" y="4160"/>
                  </a:lnTo>
                  <a:lnTo>
                    <a:pt x="557" y="4172"/>
                  </a:lnTo>
                  <a:lnTo>
                    <a:pt x="548" y="4191"/>
                  </a:lnTo>
                  <a:lnTo>
                    <a:pt x="535" y="4192"/>
                  </a:lnTo>
                  <a:lnTo>
                    <a:pt x="519" y="4189"/>
                  </a:lnTo>
                  <a:lnTo>
                    <a:pt x="516" y="4194"/>
                  </a:lnTo>
                  <a:lnTo>
                    <a:pt x="516" y="4200"/>
                  </a:lnTo>
                  <a:lnTo>
                    <a:pt x="506" y="4205"/>
                  </a:lnTo>
                  <a:lnTo>
                    <a:pt x="519" y="4210"/>
                  </a:lnTo>
                  <a:lnTo>
                    <a:pt x="531" y="4220"/>
                  </a:lnTo>
                  <a:lnTo>
                    <a:pt x="536" y="4235"/>
                  </a:lnTo>
                  <a:lnTo>
                    <a:pt x="546" y="4246"/>
                  </a:lnTo>
                  <a:lnTo>
                    <a:pt x="556" y="4247"/>
                  </a:lnTo>
                  <a:lnTo>
                    <a:pt x="560" y="4242"/>
                  </a:lnTo>
                  <a:lnTo>
                    <a:pt x="565" y="4250"/>
                  </a:lnTo>
                  <a:lnTo>
                    <a:pt x="580" y="4262"/>
                  </a:lnTo>
                  <a:lnTo>
                    <a:pt x="623" y="4280"/>
                  </a:lnTo>
                  <a:lnTo>
                    <a:pt x="649" y="4301"/>
                  </a:lnTo>
                  <a:lnTo>
                    <a:pt x="656" y="4313"/>
                  </a:lnTo>
                  <a:lnTo>
                    <a:pt x="662" y="4321"/>
                  </a:lnTo>
                  <a:lnTo>
                    <a:pt x="671" y="4323"/>
                  </a:lnTo>
                  <a:lnTo>
                    <a:pt x="683" y="4336"/>
                  </a:lnTo>
                  <a:lnTo>
                    <a:pt x="698" y="4331"/>
                  </a:lnTo>
                  <a:lnTo>
                    <a:pt x="707" y="4329"/>
                  </a:lnTo>
                  <a:lnTo>
                    <a:pt x="714" y="4332"/>
                  </a:lnTo>
                  <a:lnTo>
                    <a:pt x="723" y="4331"/>
                  </a:lnTo>
                  <a:lnTo>
                    <a:pt x="737" y="4336"/>
                  </a:lnTo>
                  <a:lnTo>
                    <a:pt x="743" y="4342"/>
                  </a:lnTo>
                  <a:lnTo>
                    <a:pt x="759" y="4344"/>
                  </a:lnTo>
                  <a:lnTo>
                    <a:pt x="782" y="4354"/>
                  </a:lnTo>
                  <a:lnTo>
                    <a:pt x="791" y="4355"/>
                  </a:lnTo>
                  <a:lnTo>
                    <a:pt x="815" y="4353"/>
                  </a:lnTo>
                  <a:lnTo>
                    <a:pt x="831" y="4358"/>
                  </a:lnTo>
                  <a:lnTo>
                    <a:pt x="847" y="4358"/>
                  </a:lnTo>
                  <a:lnTo>
                    <a:pt x="854" y="4363"/>
                  </a:lnTo>
                  <a:lnTo>
                    <a:pt x="858" y="4368"/>
                  </a:lnTo>
                  <a:lnTo>
                    <a:pt x="896" y="4390"/>
                  </a:lnTo>
                  <a:lnTo>
                    <a:pt x="898" y="4398"/>
                  </a:lnTo>
                  <a:lnTo>
                    <a:pt x="906" y="4402"/>
                  </a:lnTo>
                  <a:lnTo>
                    <a:pt x="914" y="4399"/>
                  </a:lnTo>
                  <a:lnTo>
                    <a:pt x="920" y="4395"/>
                  </a:lnTo>
                  <a:lnTo>
                    <a:pt x="935" y="4388"/>
                  </a:lnTo>
                  <a:lnTo>
                    <a:pt x="944" y="4388"/>
                  </a:lnTo>
                  <a:lnTo>
                    <a:pt x="950" y="4393"/>
                  </a:lnTo>
                  <a:lnTo>
                    <a:pt x="957" y="4392"/>
                  </a:lnTo>
                  <a:lnTo>
                    <a:pt x="973" y="4395"/>
                  </a:lnTo>
                  <a:lnTo>
                    <a:pt x="978" y="4401"/>
                  </a:lnTo>
                  <a:lnTo>
                    <a:pt x="985" y="4404"/>
                  </a:lnTo>
                  <a:lnTo>
                    <a:pt x="993" y="4404"/>
                  </a:lnTo>
                  <a:lnTo>
                    <a:pt x="1000" y="4408"/>
                  </a:lnTo>
                  <a:lnTo>
                    <a:pt x="1004" y="4415"/>
                  </a:lnTo>
                  <a:lnTo>
                    <a:pt x="1000" y="4430"/>
                  </a:lnTo>
                  <a:lnTo>
                    <a:pt x="1012" y="4440"/>
                  </a:lnTo>
                  <a:lnTo>
                    <a:pt x="1028" y="4445"/>
                  </a:lnTo>
                  <a:lnTo>
                    <a:pt x="1035" y="4450"/>
                  </a:lnTo>
                  <a:lnTo>
                    <a:pt x="1040" y="4453"/>
                  </a:lnTo>
                  <a:lnTo>
                    <a:pt x="1048" y="4458"/>
                  </a:lnTo>
                  <a:lnTo>
                    <a:pt x="1055" y="4458"/>
                  </a:lnTo>
                  <a:lnTo>
                    <a:pt x="1067" y="4469"/>
                  </a:lnTo>
                  <a:lnTo>
                    <a:pt x="1071" y="4477"/>
                  </a:lnTo>
                  <a:lnTo>
                    <a:pt x="1079" y="4477"/>
                  </a:lnTo>
                  <a:lnTo>
                    <a:pt x="1084" y="4493"/>
                  </a:lnTo>
                  <a:lnTo>
                    <a:pt x="1087" y="4500"/>
                  </a:lnTo>
                  <a:lnTo>
                    <a:pt x="1095" y="4500"/>
                  </a:lnTo>
                  <a:lnTo>
                    <a:pt x="1111" y="4504"/>
                  </a:lnTo>
                  <a:lnTo>
                    <a:pt x="1119" y="4501"/>
                  </a:lnTo>
                  <a:lnTo>
                    <a:pt x="1124" y="4496"/>
                  </a:lnTo>
                  <a:lnTo>
                    <a:pt x="1130" y="4481"/>
                  </a:lnTo>
                  <a:lnTo>
                    <a:pt x="1138" y="4477"/>
                  </a:lnTo>
                  <a:lnTo>
                    <a:pt x="1145" y="4473"/>
                  </a:lnTo>
                  <a:lnTo>
                    <a:pt x="1148" y="4466"/>
                  </a:lnTo>
                  <a:lnTo>
                    <a:pt x="1154" y="4456"/>
                  </a:lnTo>
                  <a:lnTo>
                    <a:pt x="1144" y="4451"/>
                  </a:lnTo>
                  <a:lnTo>
                    <a:pt x="1132" y="4423"/>
                  </a:lnTo>
                  <a:lnTo>
                    <a:pt x="1113" y="4391"/>
                  </a:lnTo>
                  <a:lnTo>
                    <a:pt x="1105" y="4380"/>
                  </a:lnTo>
                  <a:lnTo>
                    <a:pt x="1101" y="4366"/>
                  </a:lnTo>
                  <a:lnTo>
                    <a:pt x="1101" y="4344"/>
                  </a:lnTo>
                  <a:lnTo>
                    <a:pt x="1108" y="4317"/>
                  </a:lnTo>
                  <a:lnTo>
                    <a:pt x="1106" y="4305"/>
                  </a:lnTo>
                  <a:lnTo>
                    <a:pt x="1097" y="4326"/>
                  </a:lnTo>
                  <a:lnTo>
                    <a:pt x="1094" y="4320"/>
                  </a:lnTo>
                  <a:lnTo>
                    <a:pt x="1091" y="4302"/>
                  </a:lnTo>
                  <a:lnTo>
                    <a:pt x="1081" y="4285"/>
                  </a:lnTo>
                  <a:lnTo>
                    <a:pt x="1069" y="4268"/>
                  </a:lnTo>
                  <a:lnTo>
                    <a:pt x="1059" y="4268"/>
                  </a:lnTo>
                  <a:lnTo>
                    <a:pt x="1054" y="4253"/>
                  </a:lnTo>
                  <a:lnTo>
                    <a:pt x="1063" y="4240"/>
                  </a:lnTo>
                  <a:lnTo>
                    <a:pt x="1064" y="4229"/>
                  </a:lnTo>
                  <a:lnTo>
                    <a:pt x="1071" y="4218"/>
                  </a:lnTo>
                  <a:lnTo>
                    <a:pt x="1075" y="4218"/>
                  </a:lnTo>
                  <a:lnTo>
                    <a:pt x="1076" y="4215"/>
                  </a:lnTo>
                  <a:lnTo>
                    <a:pt x="1079" y="4207"/>
                  </a:lnTo>
                  <a:lnTo>
                    <a:pt x="1089" y="4198"/>
                  </a:lnTo>
                  <a:lnTo>
                    <a:pt x="1095" y="4162"/>
                  </a:lnTo>
                  <a:lnTo>
                    <a:pt x="1102" y="4165"/>
                  </a:lnTo>
                  <a:lnTo>
                    <a:pt x="1106" y="4144"/>
                  </a:lnTo>
                  <a:lnTo>
                    <a:pt x="1107" y="4133"/>
                  </a:lnTo>
                  <a:lnTo>
                    <a:pt x="1098" y="4117"/>
                  </a:lnTo>
                  <a:lnTo>
                    <a:pt x="1110" y="4121"/>
                  </a:lnTo>
                  <a:lnTo>
                    <a:pt x="1121" y="4121"/>
                  </a:lnTo>
                  <a:lnTo>
                    <a:pt x="1119" y="4128"/>
                  </a:lnTo>
                  <a:lnTo>
                    <a:pt x="1126" y="4139"/>
                  </a:lnTo>
                  <a:lnTo>
                    <a:pt x="1130" y="4154"/>
                  </a:lnTo>
                  <a:lnTo>
                    <a:pt x="1138" y="4154"/>
                  </a:lnTo>
                  <a:lnTo>
                    <a:pt x="1143" y="4151"/>
                  </a:lnTo>
                  <a:lnTo>
                    <a:pt x="1148" y="4151"/>
                  </a:lnTo>
                  <a:lnTo>
                    <a:pt x="1160" y="4123"/>
                  </a:lnTo>
                  <a:lnTo>
                    <a:pt x="1166" y="4119"/>
                  </a:lnTo>
                  <a:lnTo>
                    <a:pt x="1159" y="4117"/>
                  </a:lnTo>
                  <a:lnTo>
                    <a:pt x="1155" y="4111"/>
                  </a:lnTo>
                  <a:lnTo>
                    <a:pt x="1149" y="4107"/>
                  </a:lnTo>
                  <a:lnTo>
                    <a:pt x="1140" y="4107"/>
                  </a:lnTo>
                  <a:lnTo>
                    <a:pt x="1133" y="4105"/>
                  </a:lnTo>
                  <a:lnTo>
                    <a:pt x="1130" y="4099"/>
                  </a:lnTo>
                  <a:lnTo>
                    <a:pt x="1137" y="4091"/>
                  </a:lnTo>
                  <a:lnTo>
                    <a:pt x="1138" y="4084"/>
                  </a:lnTo>
                  <a:lnTo>
                    <a:pt x="1145" y="4081"/>
                  </a:lnTo>
                  <a:lnTo>
                    <a:pt x="1154" y="4087"/>
                  </a:lnTo>
                  <a:lnTo>
                    <a:pt x="1166" y="4084"/>
                  </a:lnTo>
                  <a:lnTo>
                    <a:pt x="1157" y="4027"/>
                  </a:lnTo>
                  <a:lnTo>
                    <a:pt x="1150" y="4025"/>
                  </a:lnTo>
                  <a:lnTo>
                    <a:pt x="1145" y="4019"/>
                  </a:lnTo>
                  <a:lnTo>
                    <a:pt x="1143" y="4010"/>
                  </a:lnTo>
                  <a:lnTo>
                    <a:pt x="1139" y="4004"/>
                  </a:lnTo>
                  <a:lnTo>
                    <a:pt x="1133" y="3998"/>
                  </a:lnTo>
                  <a:lnTo>
                    <a:pt x="1126" y="3998"/>
                  </a:lnTo>
                  <a:lnTo>
                    <a:pt x="1108" y="4000"/>
                  </a:lnTo>
                  <a:lnTo>
                    <a:pt x="1095" y="3997"/>
                  </a:lnTo>
                  <a:lnTo>
                    <a:pt x="1094" y="4005"/>
                  </a:lnTo>
                  <a:lnTo>
                    <a:pt x="1081" y="3993"/>
                  </a:lnTo>
                  <a:lnTo>
                    <a:pt x="1081" y="3986"/>
                  </a:lnTo>
                  <a:lnTo>
                    <a:pt x="1076" y="3978"/>
                  </a:lnTo>
                  <a:lnTo>
                    <a:pt x="1081" y="3971"/>
                  </a:lnTo>
                  <a:lnTo>
                    <a:pt x="1076" y="3965"/>
                  </a:lnTo>
                  <a:lnTo>
                    <a:pt x="1076" y="3957"/>
                  </a:lnTo>
                  <a:lnTo>
                    <a:pt x="1047" y="3947"/>
                  </a:lnTo>
                  <a:lnTo>
                    <a:pt x="1058" y="3903"/>
                  </a:lnTo>
                  <a:lnTo>
                    <a:pt x="1071" y="3896"/>
                  </a:lnTo>
                  <a:lnTo>
                    <a:pt x="1076" y="3888"/>
                  </a:lnTo>
                  <a:lnTo>
                    <a:pt x="1074" y="3881"/>
                  </a:lnTo>
                  <a:lnTo>
                    <a:pt x="1063" y="3870"/>
                  </a:lnTo>
                  <a:lnTo>
                    <a:pt x="1073" y="3825"/>
                  </a:lnTo>
                  <a:lnTo>
                    <a:pt x="1086" y="3816"/>
                  </a:lnTo>
                  <a:lnTo>
                    <a:pt x="1091" y="3810"/>
                  </a:lnTo>
                  <a:lnTo>
                    <a:pt x="1090" y="3801"/>
                  </a:lnTo>
                  <a:lnTo>
                    <a:pt x="1092" y="3794"/>
                  </a:lnTo>
                  <a:lnTo>
                    <a:pt x="1092" y="3787"/>
                  </a:lnTo>
                  <a:lnTo>
                    <a:pt x="1096" y="3778"/>
                  </a:lnTo>
                  <a:lnTo>
                    <a:pt x="1101" y="3772"/>
                  </a:lnTo>
                  <a:lnTo>
                    <a:pt x="1107" y="3777"/>
                  </a:lnTo>
                  <a:lnTo>
                    <a:pt x="1111" y="3784"/>
                  </a:lnTo>
                  <a:lnTo>
                    <a:pt x="1123" y="3794"/>
                  </a:lnTo>
                  <a:lnTo>
                    <a:pt x="1140" y="3831"/>
                  </a:lnTo>
                  <a:lnTo>
                    <a:pt x="1149" y="3833"/>
                  </a:lnTo>
                  <a:lnTo>
                    <a:pt x="1175" y="3816"/>
                  </a:lnTo>
                  <a:lnTo>
                    <a:pt x="1172" y="3807"/>
                  </a:lnTo>
                  <a:lnTo>
                    <a:pt x="1169" y="3800"/>
                  </a:lnTo>
                  <a:lnTo>
                    <a:pt x="1165" y="3775"/>
                  </a:lnTo>
                  <a:lnTo>
                    <a:pt x="1157" y="3762"/>
                  </a:lnTo>
                  <a:lnTo>
                    <a:pt x="1166" y="3763"/>
                  </a:lnTo>
                  <a:lnTo>
                    <a:pt x="1173" y="3760"/>
                  </a:lnTo>
                  <a:lnTo>
                    <a:pt x="1193" y="3746"/>
                  </a:lnTo>
                  <a:lnTo>
                    <a:pt x="1200" y="3742"/>
                  </a:lnTo>
                  <a:lnTo>
                    <a:pt x="1205" y="3736"/>
                  </a:lnTo>
                  <a:lnTo>
                    <a:pt x="1205" y="3728"/>
                  </a:lnTo>
                  <a:lnTo>
                    <a:pt x="1205" y="3719"/>
                  </a:lnTo>
                  <a:lnTo>
                    <a:pt x="1213" y="3718"/>
                  </a:lnTo>
                  <a:lnTo>
                    <a:pt x="1221" y="3719"/>
                  </a:lnTo>
                  <a:lnTo>
                    <a:pt x="1229" y="3715"/>
                  </a:lnTo>
                  <a:lnTo>
                    <a:pt x="1234" y="3709"/>
                  </a:lnTo>
                  <a:lnTo>
                    <a:pt x="1241" y="3705"/>
                  </a:lnTo>
                  <a:lnTo>
                    <a:pt x="1248" y="3703"/>
                  </a:lnTo>
                  <a:lnTo>
                    <a:pt x="1253" y="3697"/>
                  </a:lnTo>
                  <a:lnTo>
                    <a:pt x="1261" y="3692"/>
                  </a:lnTo>
                  <a:lnTo>
                    <a:pt x="1266" y="3686"/>
                  </a:lnTo>
                  <a:lnTo>
                    <a:pt x="1267" y="3678"/>
                  </a:lnTo>
                  <a:lnTo>
                    <a:pt x="1274" y="3672"/>
                  </a:lnTo>
                  <a:lnTo>
                    <a:pt x="1289" y="3669"/>
                  </a:lnTo>
                  <a:lnTo>
                    <a:pt x="1305" y="3669"/>
                  </a:lnTo>
                  <a:lnTo>
                    <a:pt x="1306" y="3677"/>
                  </a:lnTo>
                  <a:lnTo>
                    <a:pt x="1310" y="3685"/>
                  </a:lnTo>
                  <a:lnTo>
                    <a:pt x="1326" y="3681"/>
                  </a:lnTo>
                  <a:lnTo>
                    <a:pt x="1331" y="3687"/>
                  </a:lnTo>
                  <a:lnTo>
                    <a:pt x="1336" y="3680"/>
                  </a:lnTo>
                  <a:lnTo>
                    <a:pt x="1338" y="3671"/>
                  </a:lnTo>
                  <a:lnTo>
                    <a:pt x="1343" y="3665"/>
                  </a:lnTo>
                  <a:lnTo>
                    <a:pt x="1350" y="3665"/>
                  </a:lnTo>
                  <a:lnTo>
                    <a:pt x="1358" y="3662"/>
                  </a:lnTo>
                  <a:lnTo>
                    <a:pt x="1366" y="3662"/>
                  </a:lnTo>
                  <a:lnTo>
                    <a:pt x="1371" y="3678"/>
                  </a:lnTo>
                  <a:lnTo>
                    <a:pt x="1376" y="3685"/>
                  </a:lnTo>
                  <a:lnTo>
                    <a:pt x="1385" y="3681"/>
                  </a:lnTo>
                  <a:lnTo>
                    <a:pt x="1392" y="3681"/>
                  </a:lnTo>
                  <a:lnTo>
                    <a:pt x="1399" y="3683"/>
                  </a:lnTo>
                  <a:lnTo>
                    <a:pt x="1415" y="3680"/>
                  </a:lnTo>
                  <a:lnTo>
                    <a:pt x="1423" y="3681"/>
                  </a:lnTo>
                  <a:lnTo>
                    <a:pt x="1430" y="3685"/>
                  </a:lnTo>
                  <a:lnTo>
                    <a:pt x="1436" y="3691"/>
                  </a:lnTo>
                  <a:lnTo>
                    <a:pt x="1442" y="3705"/>
                  </a:lnTo>
                  <a:lnTo>
                    <a:pt x="1463" y="3718"/>
                  </a:lnTo>
                  <a:lnTo>
                    <a:pt x="1468" y="3724"/>
                  </a:lnTo>
                  <a:lnTo>
                    <a:pt x="1471" y="3732"/>
                  </a:lnTo>
                  <a:lnTo>
                    <a:pt x="1482" y="3745"/>
                  </a:lnTo>
                  <a:lnTo>
                    <a:pt x="1481" y="3752"/>
                  </a:lnTo>
                  <a:lnTo>
                    <a:pt x="1482" y="3761"/>
                  </a:lnTo>
                  <a:lnTo>
                    <a:pt x="1487" y="3767"/>
                  </a:lnTo>
                  <a:lnTo>
                    <a:pt x="1494" y="3764"/>
                  </a:lnTo>
                  <a:lnTo>
                    <a:pt x="1494" y="3757"/>
                  </a:lnTo>
                  <a:lnTo>
                    <a:pt x="1493" y="3748"/>
                  </a:lnTo>
                  <a:lnTo>
                    <a:pt x="1494" y="3741"/>
                  </a:lnTo>
                  <a:lnTo>
                    <a:pt x="1489" y="3734"/>
                  </a:lnTo>
                  <a:lnTo>
                    <a:pt x="1494" y="3728"/>
                  </a:lnTo>
                  <a:lnTo>
                    <a:pt x="1503" y="3726"/>
                  </a:lnTo>
                  <a:lnTo>
                    <a:pt x="1505" y="3734"/>
                  </a:lnTo>
                  <a:lnTo>
                    <a:pt x="1511" y="3739"/>
                  </a:lnTo>
                  <a:lnTo>
                    <a:pt x="1514" y="3747"/>
                  </a:lnTo>
                  <a:lnTo>
                    <a:pt x="1520" y="3752"/>
                  </a:lnTo>
                  <a:lnTo>
                    <a:pt x="1536" y="3757"/>
                  </a:lnTo>
                  <a:lnTo>
                    <a:pt x="1549" y="3766"/>
                  </a:lnTo>
                  <a:lnTo>
                    <a:pt x="1558" y="3763"/>
                  </a:lnTo>
                  <a:lnTo>
                    <a:pt x="1578" y="3750"/>
                  </a:lnTo>
                  <a:lnTo>
                    <a:pt x="1578" y="3741"/>
                  </a:lnTo>
                  <a:lnTo>
                    <a:pt x="1584" y="3737"/>
                  </a:lnTo>
                  <a:lnTo>
                    <a:pt x="1590" y="3732"/>
                  </a:lnTo>
                  <a:lnTo>
                    <a:pt x="1598" y="3731"/>
                  </a:lnTo>
                  <a:lnTo>
                    <a:pt x="1606" y="3734"/>
                  </a:lnTo>
                  <a:lnTo>
                    <a:pt x="1606" y="3725"/>
                  </a:lnTo>
                  <a:lnTo>
                    <a:pt x="1614" y="3725"/>
                  </a:lnTo>
                  <a:lnTo>
                    <a:pt x="1622" y="3728"/>
                  </a:lnTo>
                  <a:lnTo>
                    <a:pt x="1629" y="3723"/>
                  </a:lnTo>
                  <a:lnTo>
                    <a:pt x="1637" y="3728"/>
                  </a:lnTo>
                  <a:lnTo>
                    <a:pt x="1648" y="3739"/>
                  </a:lnTo>
                  <a:lnTo>
                    <a:pt x="1662" y="3730"/>
                  </a:lnTo>
                  <a:lnTo>
                    <a:pt x="1666" y="3723"/>
                  </a:lnTo>
                  <a:lnTo>
                    <a:pt x="1682" y="3723"/>
                  </a:lnTo>
                  <a:lnTo>
                    <a:pt x="1689" y="3719"/>
                  </a:lnTo>
                  <a:lnTo>
                    <a:pt x="1704" y="3725"/>
                  </a:lnTo>
                  <a:lnTo>
                    <a:pt x="1709" y="3731"/>
                  </a:lnTo>
                  <a:lnTo>
                    <a:pt x="1710" y="3747"/>
                  </a:lnTo>
                  <a:lnTo>
                    <a:pt x="1716" y="3753"/>
                  </a:lnTo>
                  <a:lnTo>
                    <a:pt x="1721" y="3760"/>
                  </a:lnTo>
                  <a:lnTo>
                    <a:pt x="1737" y="3757"/>
                  </a:lnTo>
                  <a:lnTo>
                    <a:pt x="1752" y="3761"/>
                  </a:lnTo>
                  <a:lnTo>
                    <a:pt x="1754" y="3772"/>
                  </a:lnTo>
                  <a:lnTo>
                    <a:pt x="1772" y="3771"/>
                  </a:lnTo>
                  <a:lnTo>
                    <a:pt x="1778" y="3766"/>
                  </a:lnTo>
                  <a:lnTo>
                    <a:pt x="1785" y="3751"/>
                  </a:lnTo>
                  <a:lnTo>
                    <a:pt x="1790" y="3745"/>
                  </a:lnTo>
                  <a:lnTo>
                    <a:pt x="1796" y="3747"/>
                  </a:lnTo>
                  <a:lnTo>
                    <a:pt x="1807" y="3760"/>
                  </a:lnTo>
                  <a:lnTo>
                    <a:pt x="1824" y="3761"/>
                  </a:lnTo>
                  <a:lnTo>
                    <a:pt x="1839" y="3757"/>
                  </a:lnTo>
                  <a:lnTo>
                    <a:pt x="1847" y="3752"/>
                  </a:lnTo>
                  <a:lnTo>
                    <a:pt x="1863" y="3747"/>
                  </a:lnTo>
                  <a:lnTo>
                    <a:pt x="1874" y="3709"/>
                  </a:lnTo>
                  <a:lnTo>
                    <a:pt x="1877" y="3702"/>
                  </a:lnTo>
                  <a:lnTo>
                    <a:pt x="1872" y="3696"/>
                  </a:lnTo>
                  <a:lnTo>
                    <a:pt x="1870" y="3692"/>
                  </a:lnTo>
                  <a:lnTo>
                    <a:pt x="1856" y="3691"/>
                  </a:lnTo>
                  <a:lnTo>
                    <a:pt x="1840" y="3689"/>
                  </a:lnTo>
                  <a:lnTo>
                    <a:pt x="1834" y="3682"/>
                  </a:lnTo>
                  <a:lnTo>
                    <a:pt x="1831" y="3677"/>
                  </a:lnTo>
                  <a:lnTo>
                    <a:pt x="1813" y="3674"/>
                  </a:lnTo>
                  <a:lnTo>
                    <a:pt x="1806" y="3671"/>
                  </a:lnTo>
                  <a:lnTo>
                    <a:pt x="1807" y="3662"/>
                  </a:lnTo>
                  <a:lnTo>
                    <a:pt x="1802" y="3655"/>
                  </a:lnTo>
                  <a:lnTo>
                    <a:pt x="1786" y="3653"/>
                  </a:lnTo>
                  <a:lnTo>
                    <a:pt x="1788" y="3644"/>
                  </a:lnTo>
                  <a:lnTo>
                    <a:pt x="1795" y="3642"/>
                  </a:lnTo>
                  <a:lnTo>
                    <a:pt x="1807" y="3632"/>
                  </a:lnTo>
                  <a:lnTo>
                    <a:pt x="1823" y="3626"/>
                  </a:lnTo>
                  <a:lnTo>
                    <a:pt x="1837" y="3617"/>
                  </a:lnTo>
                  <a:lnTo>
                    <a:pt x="1840" y="3611"/>
                  </a:lnTo>
                  <a:lnTo>
                    <a:pt x="1842" y="3602"/>
                  </a:lnTo>
                  <a:lnTo>
                    <a:pt x="1823" y="3575"/>
                  </a:lnTo>
                  <a:lnTo>
                    <a:pt x="1831" y="3572"/>
                  </a:lnTo>
                  <a:lnTo>
                    <a:pt x="1838" y="3565"/>
                  </a:lnTo>
                  <a:lnTo>
                    <a:pt x="1839" y="3558"/>
                  </a:lnTo>
                  <a:lnTo>
                    <a:pt x="1845" y="3553"/>
                  </a:lnTo>
                  <a:lnTo>
                    <a:pt x="1854" y="3552"/>
                  </a:lnTo>
                  <a:lnTo>
                    <a:pt x="1863" y="3553"/>
                  </a:lnTo>
                  <a:lnTo>
                    <a:pt x="1870" y="3552"/>
                  </a:lnTo>
                  <a:lnTo>
                    <a:pt x="1877" y="3554"/>
                  </a:lnTo>
                  <a:lnTo>
                    <a:pt x="1893" y="3554"/>
                  </a:lnTo>
                  <a:lnTo>
                    <a:pt x="1902" y="3551"/>
                  </a:lnTo>
                  <a:lnTo>
                    <a:pt x="1904" y="3543"/>
                  </a:lnTo>
                  <a:lnTo>
                    <a:pt x="1901" y="3537"/>
                  </a:lnTo>
                  <a:lnTo>
                    <a:pt x="1886" y="3529"/>
                  </a:lnTo>
                  <a:lnTo>
                    <a:pt x="1854" y="3524"/>
                  </a:lnTo>
                  <a:lnTo>
                    <a:pt x="1850" y="3518"/>
                  </a:lnTo>
                  <a:lnTo>
                    <a:pt x="1852" y="3509"/>
                  </a:lnTo>
                  <a:lnTo>
                    <a:pt x="1859" y="3509"/>
                  </a:lnTo>
                  <a:lnTo>
                    <a:pt x="1866" y="3506"/>
                  </a:lnTo>
                  <a:lnTo>
                    <a:pt x="1871" y="3499"/>
                  </a:lnTo>
                  <a:lnTo>
                    <a:pt x="1865" y="3494"/>
                  </a:lnTo>
                  <a:lnTo>
                    <a:pt x="1858" y="3498"/>
                  </a:lnTo>
                  <a:lnTo>
                    <a:pt x="1842" y="3498"/>
                  </a:lnTo>
                  <a:lnTo>
                    <a:pt x="1842" y="3489"/>
                  </a:lnTo>
                  <a:lnTo>
                    <a:pt x="1844" y="3482"/>
                  </a:lnTo>
                  <a:lnTo>
                    <a:pt x="1849" y="3476"/>
                  </a:lnTo>
                  <a:lnTo>
                    <a:pt x="1838" y="3463"/>
                  </a:lnTo>
                  <a:lnTo>
                    <a:pt x="1854" y="3463"/>
                  </a:lnTo>
                  <a:lnTo>
                    <a:pt x="1859" y="3457"/>
                  </a:lnTo>
                  <a:lnTo>
                    <a:pt x="1867" y="3457"/>
                  </a:lnTo>
                  <a:lnTo>
                    <a:pt x="1872" y="3463"/>
                  </a:lnTo>
                  <a:lnTo>
                    <a:pt x="1880" y="3462"/>
                  </a:lnTo>
                  <a:lnTo>
                    <a:pt x="1888" y="3463"/>
                  </a:lnTo>
                  <a:lnTo>
                    <a:pt x="1896" y="3461"/>
                  </a:lnTo>
                  <a:lnTo>
                    <a:pt x="1920" y="3461"/>
                  </a:lnTo>
                  <a:lnTo>
                    <a:pt x="1925" y="3468"/>
                  </a:lnTo>
                  <a:lnTo>
                    <a:pt x="1935" y="3456"/>
                  </a:lnTo>
                  <a:lnTo>
                    <a:pt x="1942" y="3452"/>
                  </a:lnTo>
                  <a:lnTo>
                    <a:pt x="1958" y="3454"/>
                  </a:lnTo>
                  <a:lnTo>
                    <a:pt x="1966" y="3449"/>
                  </a:lnTo>
                  <a:lnTo>
                    <a:pt x="1973" y="3446"/>
                  </a:lnTo>
                  <a:lnTo>
                    <a:pt x="1987" y="3436"/>
                  </a:lnTo>
                  <a:lnTo>
                    <a:pt x="1994" y="3439"/>
                  </a:lnTo>
                  <a:lnTo>
                    <a:pt x="2000" y="3444"/>
                  </a:lnTo>
                  <a:lnTo>
                    <a:pt x="2008" y="3444"/>
                  </a:lnTo>
                  <a:lnTo>
                    <a:pt x="2010" y="3436"/>
                  </a:lnTo>
                  <a:lnTo>
                    <a:pt x="2027" y="3432"/>
                  </a:lnTo>
                  <a:lnTo>
                    <a:pt x="2033" y="3428"/>
                  </a:lnTo>
                  <a:lnTo>
                    <a:pt x="2042" y="3427"/>
                  </a:lnTo>
                  <a:lnTo>
                    <a:pt x="2049" y="3424"/>
                  </a:lnTo>
                  <a:lnTo>
                    <a:pt x="2057" y="3424"/>
                  </a:lnTo>
                  <a:lnTo>
                    <a:pt x="2064" y="3427"/>
                  </a:lnTo>
                  <a:lnTo>
                    <a:pt x="2069" y="3419"/>
                  </a:lnTo>
                  <a:lnTo>
                    <a:pt x="2070" y="3412"/>
                  </a:lnTo>
                  <a:lnTo>
                    <a:pt x="2074" y="3403"/>
                  </a:lnTo>
                  <a:lnTo>
                    <a:pt x="2081" y="3400"/>
                  </a:lnTo>
                  <a:lnTo>
                    <a:pt x="2089" y="3398"/>
                  </a:lnTo>
                  <a:lnTo>
                    <a:pt x="2096" y="3402"/>
                  </a:lnTo>
                  <a:lnTo>
                    <a:pt x="2114" y="3396"/>
                  </a:lnTo>
                  <a:lnTo>
                    <a:pt x="2114" y="3397"/>
                  </a:lnTo>
                  <a:lnTo>
                    <a:pt x="2151" y="3387"/>
                  </a:lnTo>
                  <a:lnTo>
                    <a:pt x="2183" y="3384"/>
                  </a:lnTo>
                  <a:lnTo>
                    <a:pt x="2211" y="3375"/>
                  </a:lnTo>
                  <a:lnTo>
                    <a:pt x="2218" y="3369"/>
                  </a:lnTo>
                  <a:lnTo>
                    <a:pt x="2226" y="3370"/>
                  </a:lnTo>
                  <a:lnTo>
                    <a:pt x="2234" y="3368"/>
                  </a:lnTo>
                  <a:lnTo>
                    <a:pt x="2238" y="3362"/>
                  </a:lnTo>
                  <a:lnTo>
                    <a:pt x="2238" y="3353"/>
                  </a:lnTo>
                  <a:lnTo>
                    <a:pt x="2238" y="3346"/>
                  </a:lnTo>
                  <a:lnTo>
                    <a:pt x="2247" y="3347"/>
                  </a:lnTo>
                  <a:lnTo>
                    <a:pt x="2254" y="3344"/>
                  </a:lnTo>
                  <a:lnTo>
                    <a:pt x="2259" y="3338"/>
                  </a:lnTo>
                  <a:lnTo>
                    <a:pt x="2265" y="3333"/>
                  </a:lnTo>
                  <a:lnTo>
                    <a:pt x="2274" y="3333"/>
                  </a:lnTo>
                  <a:lnTo>
                    <a:pt x="2279" y="3326"/>
                  </a:lnTo>
                  <a:lnTo>
                    <a:pt x="2286" y="3326"/>
                  </a:lnTo>
                  <a:lnTo>
                    <a:pt x="2293" y="3332"/>
                  </a:lnTo>
                  <a:lnTo>
                    <a:pt x="2300" y="3330"/>
                  </a:lnTo>
                  <a:lnTo>
                    <a:pt x="2307" y="3333"/>
                  </a:lnTo>
                  <a:lnTo>
                    <a:pt x="2316" y="3331"/>
                  </a:lnTo>
                  <a:lnTo>
                    <a:pt x="2323" y="3335"/>
                  </a:lnTo>
                  <a:lnTo>
                    <a:pt x="2328" y="3341"/>
                  </a:lnTo>
                  <a:lnTo>
                    <a:pt x="2342" y="3349"/>
                  </a:lnTo>
                  <a:lnTo>
                    <a:pt x="2349" y="3346"/>
                  </a:lnTo>
                  <a:lnTo>
                    <a:pt x="2355" y="3341"/>
                  </a:lnTo>
                  <a:lnTo>
                    <a:pt x="2371" y="3338"/>
                  </a:lnTo>
                  <a:lnTo>
                    <a:pt x="2379" y="3341"/>
                  </a:lnTo>
                  <a:lnTo>
                    <a:pt x="2385" y="3347"/>
                  </a:lnTo>
                  <a:lnTo>
                    <a:pt x="2388" y="3354"/>
                  </a:lnTo>
                  <a:lnTo>
                    <a:pt x="2390" y="3370"/>
                  </a:lnTo>
                  <a:lnTo>
                    <a:pt x="2388" y="3379"/>
                  </a:lnTo>
                  <a:lnTo>
                    <a:pt x="2391" y="3386"/>
                  </a:lnTo>
                  <a:lnTo>
                    <a:pt x="2403" y="3397"/>
                  </a:lnTo>
                  <a:lnTo>
                    <a:pt x="2399" y="3403"/>
                  </a:lnTo>
                  <a:lnTo>
                    <a:pt x="2401" y="3420"/>
                  </a:lnTo>
                  <a:lnTo>
                    <a:pt x="2396" y="3427"/>
                  </a:lnTo>
                  <a:lnTo>
                    <a:pt x="2391" y="3433"/>
                  </a:lnTo>
                  <a:lnTo>
                    <a:pt x="2394" y="3440"/>
                  </a:lnTo>
                  <a:lnTo>
                    <a:pt x="2397" y="3448"/>
                  </a:lnTo>
                  <a:lnTo>
                    <a:pt x="2413" y="3444"/>
                  </a:lnTo>
                  <a:lnTo>
                    <a:pt x="2420" y="3449"/>
                  </a:lnTo>
                  <a:lnTo>
                    <a:pt x="2428" y="3448"/>
                  </a:lnTo>
                  <a:lnTo>
                    <a:pt x="2431" y="3439"/>
                  </a:lnTo>
                  <a:lnTo>
                    <a:pt x="2439" y="3439"/>
                  </a:lnTo>
                  <a:lnTo>
                    <a:pt x="2446" y="3441"/>
                  </a:lnTo>
                  <a:lnTo>
                    <a:pt x="2449" y="3433"/>
                  </a:lnTo>
                  <a:lnTo>
                    <a:pt x="2449" y="3425"/>
                  </a:lnTo>
                  <a:lnTo>
                    <a:pt x="2456" y="3427"/>
                  </a:lnTo>
                  <a:lnTo>
                    <a:pt x="2460" y="3434"/>
                  </a:lnTo>
                  <a:lnTo>
                    <a:pt x="2462" y="3443"/>
                  </a:lnTo>
                  <a:lnTo>
                    <a:pt x="2467" y="3448"/>
                  </a:lnTo>
                  <a:lnTo>
                    <a:pt x="2465" y="3455"/>
                  </a:lnTo>
                  <a:lnTo>
                    <a:pt x="2463" y="3463"/>
                  </a:lnTo>
                  <a:lnTo>
                    <a:pt x="2479" y="3465"/>
                  </a:lnTo>
                  <a:lnTo>
                    <a:pt x="2477" y="3457"/>
                  </a:lnTo>
                  <a:lnTo>
                    <a:pt x="2472" y="3451"/>
                  </a:lnTo>
                  <a:lnTo>
                    <a:pt x="2479" y="3448"/>
                  </a:lnTo>
                  <a:lnTo>
                    <a:pt x="2495" y="3451"/>
                  </a:lnTo>
                  <a:lnTo>
                    <a:pt x="2503" y="3456"/>
                  </a:lnTo>
                  <a:lnTo>
                    <a:pt x="2508" y="3462"/>
                  </a:lnTo>
                  <a:lnTo>
                    <a:pt x="2516" y="3466"/>
                  </a:lnTo>
                  <a:lnTo>
                    <a:pt x="2523" y="3466"/>
                  </a:lnTo>
                  <a:lnTo>
                    <a:pt x="2527" y="3459"/>
                  </a:lnTo>
                  <a:lnTo>
                    <a:pt x="2535" y="3455"/>
                  </a:lnTo>
                  <a:lnTo>
                    <a:pt x="2537" y="3463"/>
                  </a:lnTo>
                  <a:lnTo>
                    <a:pt x="2537" y="3471"/>
                  </a:lnTo>
                  <a:lnTo>
                    <a:pt x="2528" y="3473"/>
                  </a:lnTo>
                  <a:lnTo>
                    <a:pt x="2522" y="3478"/>
                  </a:lnTo>
                  <a:lnTo>
                    <a:pt x="2517" y="3486"/>
                  </a:lnTo>
                  <a:lnTo>
                    <a:pt x="2515" y="3493"/>
                  </a:lnTo>
                  <a:lnTo>
                    <a:pt x="2516" y="3502"/>
                  </a:lnTo>
                  <a:lnTo>
                    <a:pt x="2521" y="3508"/>
                  </a:lnTo>
                  <a:lnTo>
                    <a:pt x="2528" y="3508"/>
                  </a:lnTo>
                  <a:lnTo>
                    <a:pt x="2533" y="3502"/>
                  </a:lnTo>
                  <a:lnTo>
                    <a:pt x="2548" y="3495"/>
                  </a:lnTo>
                  <a:lnTo>
                    <a:pt x="2555" y="3498"/>
                  </a:lnTo>
                  <a:lnTo>
                    <a:pt x="2564" y="3498"/>
                  </a:lnTo>
                  <a:lnTo>
                    <a:pt x="2570" y="3503"/>
                  </a:lnTo>
                  <a:lnTo>
                    <a:pt x="2578" y="3503"/>
                  </a:lnTo>
                  <a:lnTo>
                    <a:pt x="2575" y="3495"/>
                  </a:lnTo>
                  <a:lnTo>
                    <a:pt x="2580" y="3489"/>
                  </a:lnTo>
                  <a:lnTo>
                    <a:pt x="2589" y="3488"/>
                  </a:lnTo>
                  <a:lnTo>
                    <a:pt x="2598" y="3477"/>
                  </a:lnTo>
                  <a:lnTo>
                    <a:pt x="2614" y="3475"/>
                  </a:lnTo>
                  <a:lnTo>
                    <a:pt x="2627" y="3463"/>
                  </a:lnTo>
                  <a:lnTo>
                    <a:pt x="2633" y="3449"/>
                  </a:lnTo>
                  <a:lnTo>
                    <a:pt x="2639" y="3444"/>
                  </a:lnTo>
                  <a:lnTo>
                    <a:pt x="2648" y="3445"/>
                  </a:lnTo>
                  <a:lnTo>
                    <a:pt x="2664" y="3441"/>
                  </a:lnTo>
                  <a:lnTo>
                    <a:pt x="2671" y="3439"/>
                  </a:lnTo>
                  <a:lnTo>
                    <a:pt x="2675" y="3432"/>
                  </a:lnTo>
                  <a:lnTo>
                    <a:pt x="2691" y="3430"/>
                  </a:lnTo>
                  <a:lnTo>
                    <a:pt x="2704" y="3422"/>
                  </a:lnTo>
                  <a:lnTo>
                    <a:pt x="2708" y="3429"/>
                  </a:lnTo>
                  <a:lnTo>
                    <a:pt x="2709" y="3436"/>
                  </a:lnTo>
                  <a:lnTo>
                    <a:pt x="2704" y="3444"/>
                  </a:lnTo>
                  <a:lnTo>
                    <a:pt x="2697" y="3446"/>
                  </a:lnTo>
                  <a:lnTo>
                    <a:pt x="2689" y="3446"/>
                  </a:lnTo>
                  <a:lnTo>
                    <a:pt x="2688" y="345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32" name="Freeform 133">
              <a:extLst>
                <a:ext uri="{FF2B5EF4-FFF2-40B4-BE49-F238E27FC236}">
                  <a16:creationId xmlns:a16="http://schemas.microsoft.com/office/drawing/2014/main" id="{A540BCA6-1EE9-D0D3-A0AA-796F6C19FC1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41755" y="2246721"/>
              <a:ext cx="97003" cy="77734"/>
            </a:xfrm>
            <a:custGeom>
              <a:avLst/>
              <a:gdLst>
                <a:gd name="T0" fmla="*/ 0 w 180"/>
                <a:gd name="T1" fmla="*/ 0 h 134"/>
                <a:gd name="T2" fmla="*/ 0 w 180"/>
                <a:gd name="T3" fmla="*/ 0 h 134"/>
                <a:gd name="T4" fmla="*/ 0 w 180"/>
                <a:gd name="T5" fmla="*/ 0 h 134"/>
                <a:gd name="T6" fmla="*/ 0 w 180"/>
                <a:gd name="T7" fmla="*/ 0 h 134"/>
                <a:gd name="T8" fmla="*/ 0 w 180"/>
                <a:gd name="T9" fmla="*/ 0 h 134"/>
                <a:gd name="T10" fmla="*/ 0 w 180"/>
                <a:gd name="T11" fmla="*/ 0 h 134"/>
                <a:gd name="T12" fmla="*/ 0 w 180"/>
                <a:gd name="T13" fmla="*/ 0 h 134"/>
                <a:gd name="T14" fmla="*/ 0 w 180"/>
                <a:gd name="T15" fmla="*/ 0 h 134"/>
                <a:gd name="T16" fmla="*/ 0 w 180"/>
                <a:gd name="T17" fmla="*/ 0 h 134"/>
                <a:gd name="T18" fmla="*/ 0 w 180"/>
                <a:gd name="T19" fmla="*/ 0 h 134"/>
                <a:gd name="T20" fmla="*/ 0 w 180"/>
                <a:gd name="T21" fmla="*/ 0 h 134"/>
                <a:gd name="T22" fmla="*/ 0 w 180"/>
                <a:gd name="T23" fmla="*/ 0 h 134"/>
                <a:gd name="T24" fmla="*/ 0 w 180"/>
                <a:gd name="T25" fmla="*/ 0 h 134"/>
                <a:gd name="T26" fmla="*/ 0 w 180"/>
                <a:gd name="T27" fmla="*/ 0 h 134"/>
                <a:gd name="T28" fmla="*/ 0 w 180"/>
                <a:gd name="T29" fmla="*/ 0 h 134"/>
                <a:gd name="T30" fmla="*/ 0 w 180"/>
                <a:gd name="T31" fmla="*/ 0 h 134"/>
                <a:gd name="T32" fmla="*/ 0 w 180"/>
                <a:gd name="T33" fmla="*/ 0 h 134"/>
                <a:gd name="T34" fmla="*/ 0 w 180"/>
                <a:gd name="T35" fmla="*/ 0 h 134"/>
                <a:gd name="T36" fmla="*/ 0 w 180"/>
                <a:gd name="T37" fmla="*/ 0 h 134"/>
                <a:gd name="T38" fmla="*/ 0 w 180"/>
                <a:gd name="T39" fmla="*/ 0 h 134"/>
                <a:gd name="T40" fmla="*/ 0 w 180"/>
                <a:gd name="T41" fmla="*/ 0 h 134"/>
                <a:gd name="T42" fmla="*/ 0 w 180"/>
                <a:gd name="T43" fmla="*/ 0 h 134"/>
                <a:gd name="T44" fmla="*/ 0 w 180"/>
                <a:gd name="T45" fmla="*/ 0 h 134"/>
                <a:gd name="T46" fmla="*/ 0 w 180"/>
                <a:gd name="T47" fmla="*/ 0 h 134"/>
                <a:gd name="T48" fmla="*/ 0 w 180"/>
                <a:gd name="T49" fmla="*/ 0 h 134"/>
                <a:gd name="T50" fmla="*/ 0 w 180"/>
                <a:gd name="T51" fmla="*/ 0 h 134"/>
                <a:gd name="T52" fmla="*/ 0 w 180"/>
                <a:gd name="T53" fmla="*/ 0 h 134"/>
                <a:gd name="T54" fmla="*/ 0 w 180"/>
                <a:gd name="T55" fmla="*/ 0 h 134"/>
                <a:gd name="T56" fmla="*/ 0 w 180"/>
                <a:gd name="T57" fmla="*/ 0 h 134"/>
                <a:gd name="T58" fmla="*/ 0 w 180"/>
                <a:gd name="T59" fmla="*/ 0 h 134"/>
                <a:gd name="T60" fmla="*/ 0 w 180"/>
                <a:gd name="T61" fmla="*/ 0 h 134"/>
                <a:gd name="T62" fmla="*/ 0 w 180"/>
                <a:gd name="T63" fmla="*/ 0 h 134"/>
                <a:gd name="T64" fmla="*/ 0 w 180"/>
                <a:gd name="T65" fmla="*/ 0 h 134"/>
                <a:gd name="T66" fmla="*/ 0 w 180"/>
                <a:gd name="T67" fmla="*/ 0 h 134"/>
                <a:gd name="T68" fmla="*/ 0 w 180"/>
                <a:gd name="T69" fmla="*/ 0 h 134"/>
                <a:gd name="T70" fmla="*/ 0 w 180"/>
                <a:gd name="T71" fmla="*/ 0 h 134"/>
                <a:gd name="T72" fmla="*/ 0 w 180"/>
                <a:gd name="T73" fmla="*/ 0 h 134"/>
                <a:gd name="T74" fmla="*/ 0 w 180"/>
                <a:gd name="T75" fmla="*/ 0 h 134"/>
                <a:gd name="T76" fmla="*/ 0 w 180"/>
                <a:gd name="T77" fmla="*/ 0 h 134"/>
                <a:gd name="T78" fmla="*/ 0 w 180"/>
                <a:gd name="T79" fmla="*/ 0 h 134"/>
                <a:gd name="T80" fmla="*/ 0 w 180"/>
                <a:gd name="T81" fmla="*/ 0 h 134"/>
                <a:gd name="T82" fmla="*/ 0 w 180"/>
                <a:gd name="T83" fmla="*/ 0 h 13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0"/>
                <a:gd name="T127" fmla="*/ 0 h 134"/>
                <a:gd name="T128" fmla="*/ 180 w 180"/>
                <a:gd name="T129" fmla="*/ 134 h 13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0" h="134">
                  <a:moveTo>
                    <a:pt x="0" y="118"/>
                  </a:moveTo>
                  <a:lnTo>
                    <a:pt x="2" y="114"/>
                  </a:lnTo>
                  <a:lnTo>
                    <a:pt x="12" y="107"/>
                  </a:lnTo>
                  <a:lnTo>
                    <a:pt x="14" y="102"/>
                  </a:lnTo>
                  <a:lnTo>
                    <a:pt x="19" y="87"/>
                  </a:lnTo>
                  <a:lnTo>
                    <a:pt x="21" y="76"/>
                  </a:lnTo>
                  <a:lnTo>
                    <a:pt x="25" y="70"/>
                  </a:lnTo>
                  <a:lnTo>
                    <a:pt x="46" y="69"/>
                  </a:lnTo>
                  <a:lnTo>
                    <a:pt x="55" y="63"/>
                  </a:lnTo>
                  <a:lnTo>
                    <a:pt x="67" y="48"/>
                  </a:lnTo>
                  <a:lnTo>
                    <a:pt x="77" y="32"/>
                  </a:lnTo>
                  <a:lnTo>
                    <a:pt x="82" y="15"/>
                  </a:lnTo>
                  <a:lnTo>
                    <a:pt x="83" y="0"/>
                  </a:lnTo>
                  <a:lnTo>
                    <a:pt x="79" y="27"/>
                  </a:lnTo>
                  <a:lnTo>
                    <a:pt x="71" y="46"/>
                  </a:lnTo>
                  <a:lnTo>
                    <a:pt x="65" y="55"/>
                  </a:lnTo>
                  <a:lnTo>
                    <a:pt x="57" y="64"/>
                  </a:lnTo>
                  <a:lnTo>
                    <a:pt x="61" y="71"/>
                  </a:lnTo>
                  <a:lnTo>
                    <a:pt x="67" y="70"/>
                  </a:lnTo>
                  <a:lnTo>
                    <a:pt x="76" y="75"/>
                  </a:lnTo>
                  <a:lnTo>
                    <a:pt x="87" y="75"/>
                  </a:lnTo>
                  <a:lnTo>
                    <a:pt x="89" y="66"/>
                  </a:lnTo>
                  <a:lnTo>
                    <a:pt x="89" y="49"/>
                  </a:lnTo>
                  <a:lnTo>
                    <a:pt x="93" y="44"/>
                  </a:lnTo>
                  <a:lnTo>
                    <a:pt x="93" y="41"/>
                  </a:lnTo>
                  <a:lnTo>
                    <a:pt x="103" y="38"/>
                  </a:lnTo>
                  <a:lnTo>
                    <a:pt x="109" y="43"/>
                  </a:lnTo>
                  <a:lnTo>
                    <a:pt x="116" y="46"/>
                  </a:lnTo>
                  <a:lnTo>
                    <a:pt x="122" y="50"/>
                  </a:lnTo>
                  <a:lnTo>
                    <a:pt x="130" y="54"/>
                  </a:lnTo>
                  <a:lnTo>
                    <a:pt x="147" y="57"/>
                  </a:lnTo>
                  <a:lnTo>
                    <a:pt x="163" y="55"/>
                  </a:lnTo>
                  <a:lnTo>
                    <a:pt x="169" y="59"/>
                  </a:lnTo>
                  <a:lnTo>
                    <a:pt x="180" y="82"/>
                  </a:lnTo>
                  <a:lnTo>
                    <a:pt x="174" y="97"/>
                  </a:lnTo>
                  <a:lnTo>
                    <a:pt x="174" y="114"/>
                  </a:lnTo>
                  <a:lnTo>
                    <a:pt x="177" y="124"/>
                  </a:lnTo>
                  <a:lnTo>
                    <a:pt x="153" y="127"/>
                  </a:lnTo>
                  <a:lnTo>
                    <a:pt x="126" y="133"/>
                  </a:lnTo>
                  <a:lnTo>
                    <a:pt x="78" y="134"/>
                  </a:lnTo>
                  <a:lnTo>
                    <a:pt x="14" y="123"/>
                  </a:lnTo>
                  <a:lnTo>
                    <a:pt x="0" y="11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33" name="Freeform 134">
              <a:extLst>
                <a:ext uri="{FF2B5EF4-FFF2-40B4-BE49-F238E27FC236}">
                  <a16:creationId xmlns:a16="http://schemas.microsoft.com/office/drawing/2014/main" id="{15A2B9B2-B334-B947-1D17-F02105E1693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996893" y="3940127"/>
              <a:ext cx="41786" cy="59445"/>
            </a:xfrm>
            <a:custGeom>
              <a:avLst/>
              <a:gdLst>
                <a:gd name="T0" fmla="*/ 0 w 83"/>
                <a:gd name="T1" fmla="*/ 0 h 106"/>
                <a:gd name="T2" fmla="*/ 0 w 83"/>
                <a:gd name="T3" fmla="*/ 0 h 106"/>
                <a:gd name="T4" fmla="*/ 0 w 83"/>
                <a:gd name="T5" fmla="*/ 0 h 106"/>
                <a:gd name="T6" fmla="*/ 0 w 83"/>
                <a:gd name="T7" fmla="*/ 0 h 106"/>
                <a:gd name="T8" fmla="*/ 0 w 83"/>
                <a:gd name="T9" fmla="*/ 0 h 106"/>
                <a:gd name="T10" fmla="*/ 0 w 83"/>
                <a:gd name="T11" fmla="*/ 0 h 106"/>
                <a:gd name="T12" fmla="*/ 0 w 83"/>
                <a:gd name="T13" fmla="*/ 0 h 106"/>
                <a:gd name="T14" fmla="*/ 0 w 83"/>
                <a:gd name="T15" fmla="*/ 0 h 106"/>
                <a:gd name="T16" fmla="*/ 0 w 83"/>
                <a:gd name="T17" fmla="*/ 2147483647 h 106"/>
                <a:gd name="T18" fmla="*/ 0 w 83"/>
                <a:gd name="T19" fmla="*/ 2147483647 h 106"/>
                <a:gd name="T20" fmla="*/ 0 w 83"/>
                <a:gd name="T21" fmla="*/ 2147483647 h 106"/>
                <a:gd name="T22" fmla="*/ 0 w 83"/>
                <a:gd name="T23" fmla="*/ 2147483647 h 106"/>
                <a:gd name="T24" fmla="*/ 0 w 83"/>
                <a:gd name="T25" fmla="*/ 2147483647 h 106"/>
                <a:gd name="T26" fmla="*/ 0 w 83"/>
                <a:gd name="T27" fmla="*/ 2147483647 h 106"/>
                <a:gd name="T28" fmla="*/ 0 w 83"/>
                <a:gd name="T29" fmla="*/ 2147483647 h 106"/>
                <a:gd name="T30" fmla="*/ 0 w 83"/>
                <a:gd name="T31" fmla="*/ 2147483647 h 106"/>
                <a:gd name="T32" fmla="*/ 0 w 83"/>
                <a:gd name="T33" fmla="*/ 2147483647 h 106"/>
                <a:gd name="T34" fmla="*/ 0 w 83"/>
                <a:gd name="T35" fmla="*/ 2147483647 h 106"/>
                <a:gd name="T36" fmla="*/ 0 w 83"/>
                <a:gd name="T37" fmla="*/ 2147483647 h 106"/>
                <a:gd name="T38" fmla="*/ 0 w 83"/>
                <a:gd name="T39" fmla="*/ 2147483647 h 106"/>
                <a:gd name="T40" fmla="*/ 0 w 83"/>
                <a:gd name="T41" fmla="*/ 2147483647 h 106"/>
                <a:gd name="T42" fmla="*/ 0 w 83"/>
                <a:gd name="T43" fmla="*/ 2147483647 h 106"/>
                <a:gd name="T44" fmla="*/ 2147483647 w 83"/>
                <a:gd name="T45" fmla="*/ 2147483647 h 106"/>
                <a:gd name="T46" fmla="*/ 2147483647 w 83"/>
                <a:gd name="T47" fmla="*/ 0 h 106"/>
                <a:gd name="T48" fmla="*/ 2147483647 w 83"/>
                <a:gd name="T49" fmla="*/ 0 h 106"/>
                <a:gd name="T50" fmla="*/ 2147483647 w 83"/>
                <a:gd name="T51" fmla="*/ 0 h 106"/>
                <a:gd name="T52" fmla="*/ 2147483647 w 83"/>
                <a:gd name="T53" fmla="*/ 0 h 106"/>
                <a:gd name="T54" fmla="*/ 2147483647 w 83"/>
                <a:gd name="T55" fmla="*/ 0 h 106"/>
                <a:gd name="T56" fmla="*/ 0 w 83"/>
                <a:gd name="T57" fmla="*/ 0 h 106"/>
                <a:gd name="T58" fmla="*/ 0 w 83"/>
                <a:gd name="T59" fmla="*/ 0 h 106"/>
                <a:gd name="T60" fmla="*/ 0 w 83"/>
                <a:gd name="T61" fmla="*/ 0 h 106"/>
                <a:gd name="T62" fmla="*/ 0 w 83"/>
                <a:gd name="T63" fmla="*/ 0 h 106"/>
                <a:gd name="T64" fmla="*/ 0 w 83"/>
                <a:gd name="T65" fmla="*/ 0 h 106"/>
                <a:gd name="T66" fmla="*/ 0 w 83"/>
                <a:gd name="T67" fmla="*/ 0 h 106"/>
                <a:gd name="T68" fmla="*/ 0 w 83"/>
                <a:gd name="T69" fmla="*/ 0 h 106"/>
                <a:gd name="T70" fmla="*/ 0 w 83"/>
                <a:gd name="T71" fmla="*/ 0 h 106"/>
                <a:gd name="T72" fmla="*/ 0 w 83"/>
                <a:gd name="T73" fmla="*/ 0 h 106"/>
                <a:gd name="T74" fmla="*/ 0 w 83"/>
                <a:gd name="T75" fmla="*/ 0 h 106"/>
                <a:gd name="T76" fmla="*/ 0 w 83"/>
                <a:gd name="T77" fmla="*/ 0 h 106"/>
                <a:gd name="T78" fmla="*/ 0 w 83"/>
                <a:gd name="T79" fmla="*/ 0 h 106"/>
                <a:gd name="T80" fmla="*/ 0 w 83"/>
                <a:gd name="T81" fmla="*/ 0 h 106"/>
                <a:gd name="T82" fmla="*/ 0 w 83"/>
                <a:gd name="T83" fmla="*/ 0 h 106"/>
                <a:gd name="T84" fmla="*/ 0 w 83"/>
                <a:gd name="T85" fmla="*/ 0 h 106"/>
                <a:gd name="T86" fmla="*/ 2147483647 w 83"/>
                <a:gd name="T87" fmla="*/ 0 h 106"/>
                <a:gd name="T88" fmla="*/ 2147483647 w 83"/>
                <a:gd name="T89" fmla="*/ 0 h 106"/>
                <a:gd name="T90" fmla="*/ 2147483647 w 83"/>
                <a:gd name="T91" fmla="*/ 0 h 106"/>
                <a:gd name="T92" fmla="*/ 2147483647 w 83"/>
                <a:gd name="T93" fmla="*/ 0 h 106"/>
                <a:gd name="T94" fmla="*/ 2147483647 w 83"/>
                <a:gd name="T95" fmla="*/ 0 h 106"/>
                <a:gd name="T96" fmla="*/ 2147483647 w 83"/>
                <a:gd name="T97" fmla="*/ 0 h 106"/>
                <a:gd name="T98" fmla="*/ 2147483647 w 83"/>
                <a:gd name="T99" fmla="*/ 0 h 106"/>
                <a:gd name="T100" fmla="*/ 0 w 83"/>
                <a:gd name="T101" fmla="*/ 0 h 106"/>
                <a:gd name="T102" fmla="*/ 0 w 83"/>
                <a:gd name="T103" fmla="*/ 0 h 10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"/>
                <a:gd name="T157" fmla="*/ 0 h 106"/>
                <a:gd name="T158" fmla="*/ 83 w 83"/>
                <a:gd name="T159" fmla="*/ 106 h 10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" h="106">
                  <a:moveTo>
                    <a:pt x="65" y="0"/>
                  </a:moveTo>
                  <a:lnTo>
                    <a:pt x="48" y="11"/>
                  </a:lnTo>
                  <a:lnTo>
                    <a:pt x="33" y="19"/>
                  </a:lnTo>
                  <a:lnTo>
                    <a:pt x="28" y="25"/>
                  </a:lnTo>
                  <a:lnTo>
                    <a:pt x="22" y="29"/>
                  </a:lnTo>
                  <a:lnTo>
                    <a:pt x="17" y="51"/>
                  </a:lnTo>
                  <a:lnTo>
                    <a:pt x="15" y="62"/>
                  </a:lnTo>
                  <a:lnTo>
                    <a:pt x="9" y="74"/>
                  </a:lnTo>
                  <a:lnTo>
                    <a:pt x="0" y="85"/>
                  </a:lnTo>
                  <a:lnTo>
                    <a:pt x="0" y="88"/>
                  </a:lnTo>
                  <a:lnTo>
                    <a:pt x="1" y="97"/>
                  </a:lnTo>
                  <a:lnTo>
                    <a:pt x="7" y="103"/>
                  </a:lnTo>
                  <a:lnTo>
                    <a:pt x="20" y="105"/>
                  </a:lnTo>
                  <a:lnTo>
                    <a:pt x="24" y="102"/>
                  </a:lnTo>
                  <a:lnTo>
                    <a:pt x="31" y="105"/>
                  </a:lnTo>
                  <a:lnTo>
                    <a:pt x="32" y="103"/>
                  </a:lnTo>
                  <a:lnTo>
                    <a:pt x="33" y="100"/>
                  </a:lnTo>
                  <a:lnTo>
                    <a:pt x="45" y="96"/>
                  </a:lnTo>
                  <a:lnTo>
                    <a:pt x="50" y="97"/>
                  </a:lnTo>
                  <a:lnTo>
                    <a:pt x="59" y="105"/>
                  </a:lnTo>
                  <a:lnTo>
                    <a:pt x="59" y="106"/>
                  </a:lnTo>
                  <a:lnTo>
                    <a:pt x="61" y="100"/>
                  </a:lnTo>
                  <a:lnTo>
                    <a:pt x="71" y="88"/>
                  </a:lnTo>
                  <a:lnTo>
                    <a:pt x="76" y="76"/>
                  </a:lnTo>
                  <a:lnTo>
                    <a:pt x="79" y="74"/>
                  </a:lnTo>
                  <a:lnTo>
                    <a:pt x="76" y="72"/>
                  </a:lnTo>
                  <a:lnTo>
                    <a:pt x="74" y="72"/>
                  </a:lnTo>
                  <a:lnTo>
                    <a:pt x="71" y="69"/>
                  </a:lnTo>
                  <a:lnTo>
                    <a:pt x="64" y="70"/>
                  </a:lnTo>
                  <a:lnTo>
                    <a:pt x="56" y="69"/>
                  </a:lnTo>
                  <a:lnTo>
                    <a:pt x="48" y="72"/>
                  </a:lnTo>
                  <a:lnTo>
                    <a:pt x="47" y="74"/>
                  </a:lnTo>
                  <a:lnTo>
                    <a:pt x="44" y="75"/>
                  </a:lnTo>
                  <a:lnTo>
                    <a:pt x="40" y="74"/>
                  </a:lnTo>
                  <a:lnTo>
                    <a:pt x="38" y="70"/>
                  </a:lnTo>
                  <a:lnTo>
                    <a:pt x="39" y="69"/>
                  </a:lnTo>
                  <a:lnTo>
                    <a:pt x="44" y="70"/>
                  </a:lnTo>
                  <a:lnTo>
                    <a:pt x="47" y="70"/>
                  </a:lnTo>
                  <a:lnTo>
                    <a:pt x="48" y="67"/>
                  </a:lnTo>
                  <a:lnTo>
                    <a:pt x="53" y="59"/>
                  </a:lnTo>
                  <a:lnTo>
                    <a:pt x="56" y="57"/>
                  </a:lnTo>
                  <a:lnTo>
                    <a:pt x="61" y="57"/>
                  </a:lnTo>
                  <a:lnTo>
                    <a:pt x="66" y="51"/>
                  </a:lnTo>
                  <a:lnTo>
                    <a:pt x="77" y="48"/>
                  </a:lnTo>
                  <a:lnTo>
                    <a:pt x="83" y="45"/>
                  </a:lnTo>
                  <a:lnTo>
                    <a:pt x="83" y="38"/>
                  </a:lnTo>
                  <a:lnTo>
                    <a:pt x="81" y="22"/>
                  </a:lnTo>
                  <a:lnTo>
                    <a:pt x="80" y="20"/>
                  </a:lnTo>
                  <a:lnTo>
                    <a:pt x="75" y="16"/>
                  </a:lnTo>
                  <a:lnTo>
                    <a:pt x="71" y="9"/>
                  </a:lnTo>
                  <a:lnTo>
                    <a:pt x="67" y="5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34" name="Freeform 135">
              <a:extLst>
                <a:ext uri="{FF2B5EF4-FFF2-40B4-BE49-F238E27FC236}">
                  <a16:creationId xmlns:a16="http://schemas.microsoft.com/office/drawing/2014/main" id="{AE60C35E-E873-4236-65CD-978203DE20A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793935" y="3188687"/>
              <a:ext cx="50740" cy="65541"/>
            </a:xfrm>
            <a:custGeom>
              <a:avLst/>
              <a:gdLst>
                <a:gd name="T0" fmla="*/ 0 w 95"/>
                <a:gd name="T1" fmla="*/ 2147483647 h 116"/>
                <a:gd name="T2" fmla="*/ 0 w 95"/>
                <a:gd name="T3" fmla="*/ 2147483647 h 116"/>
                <a:gd name="T4" fmla="*/ 2147483647 w 95"/>
                <a:gd name="T5" fmla="*/ 2147483647 h 116"/>
                <a:gd name="T6" fmla="*/ 2147483647 w 95"/>
                <a:gd name="T7" fmla="*/ 2147483647 h 116"/>
                <a:gd name="T8" fmla="*/ 2147483647 w 95"/>
                <a:gd name="T9" fmla="*/ 0 h 116"/>
                <a:gd name="T10" fmla="*/ 2147483647 w 95"/>
                <a:gd name="T11" fmla="*/ 0 h 116"/>
                <a:gd name="T12" fmla="*/ 2147483647 w 95"/>
                <a:gd name="T13" fmla="*/ 0 h 116"/>
                <a:gd name="T14" fmla="*/ 2147483647 w 95"/>
                <a:gd name="T15" fmla="*/ 0 h 116"/>
                <a:gd name="T16" fmla="*/ 2147483647 w 95"/>
                <a:gd name="T17" fmla="*/ 0 h 116"/>
                <a:gd name="T18" fmla="*/ 2147483647 w 95"/>
                <a:gd name="T19" fmla="*/ 0 h 116"/>
                <a:gd name="T20" fmla="*/ 2147483647 w 95"/>
                <a:gd name="T21" fmla="*/ 0 h 116"/>
                <a:gd name="T22" fmla="*/ 2147483647 w 95"/>
                <a:gd name="T23" fmla="*/ 0 h 116"/>
                <a:gd name="T24" fmla="*/ 2147483647 w 95"/>
                <a:gd name="T25" fmla="*/ 0 h 116"/>
                <a:gd name="T26" fmla="*/ 2147483647 w 95"/>
                <a:gd name="T27" fmla="*/ 0 h 116"/>
                <a:gd name="T28" fmla="*/ 2147483647 w 95"/>
                <a:gd name="T29" fmla="*/ 0 h 116"/>
                <a:gd name="T30" fmla="*/ 2147483647 w 95"/>
                <a:gd name="T31" fmla="*/ 0 h 116"/>
                <a:gd name="T32" fmla="*/ 2147483647 w 95"/>
                <a:gd name="T33" fmla="*/ 0 h 116"/>
                <a:gd name="T34" fmla="*/ 2147483647 w 95"/>
                <a:gd name="T35" fmla="*/ 0 h 116"/>
                <a:gd name="T36" fmla="*/ 2147483647 w 95"/>
                <a:gd name="T37" fmla="*/ 0 h 116"/>
                <a:gd name="T38" fmla="*/ 2147483647 w 95"/>
                <a:gd name="T39" fmla="*/ 0 h 116"/>
                <a:gd name="T40" fmla="*/ 2147483647 w 95"/>
                <a:gd name="T41" fmla="*/ 0 h 116"/>
                <a:gd name="T42" fmla="*/ 2147483647 w 95"/>
                <a:gd name="T43" fmla="*/ 0 h 116"/>
                <a:gd name="T44" fmla="*/ 2147483647 w 95"/>
                <a:gd name="T45" fmla="*/ 0 h 116"/>
                <a:gd name="T46" fmla="*/ 0 w 95"/>
                <a:gd name="T47" fmla="*/ 0 h 116"/>
                <a:gd name="T48" fmla="*/ 0 w 95"/>
                <a:gd name="T49" fmla="*/ 0 h 116"/>
                <a:gd name="T50" fmla="*/ 0 w 95"/>
                <a:gd name="T51" fmla="*/ 0 h 116"/>
                <a:gd name="T52" fmla="*/ 0 w 95"/>
                <a:gd name="T53" fmla="*/ 0 h 116"/>
                <a:gd name="T54" fmla="*/ 0 w 95"/>
                <a:gd name="T55" fmla="*/ 2147483647 h 116"/>
                <a:gd name="T56" fmla="*/ 0 w 95"/>
                <a:gd name="T57" fmla="*/ 2147483647 h 116"/>
                <a:gd name="T58" fmla="*/ 0 w 95"/>
                <a:gd name="T59" fmla="*/ 2147483647 h 116"/>
                <a:gd name="T60" fmla="*/ 0 w 95"/>
                <a:gd name="T61" fmla="*/ 2147483647 h 116"/>
                <a:gd name="T62" fmla="*/ 0 w 95"/>
                <a:gd name="T63" fmla="*/ 2147483647 h 116"/>
                <a:gd name="T64" fmla="*/ 0 w 95"/>
                <a:gd name="T65" fmla="*/ 2147483647 h 116"/>
                <a:gd name="T66" fmla="*/ 0 w 95"/>
                <a:gd name="T67" fmla="*/ 2147483647 h 11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95"/>
                <a:gd name="T103" fmla="*/ 0 h 116"/>
                <a:gd name="T104" fmla="*/ 95 w 95"/>
                <a:gd name="T105" fmla="*/ 116 h 11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95" h="116">
                  <a:moveTo>
                    <a:pt x="32" y="102"/>
                  </a:moveTo>
                  <a:lnTo>
                    <a:pt x="39" y="96"/>
                  </a:lnTo>
                  <a:lnTo>
                    <a:pt x="44" y="95"/>
                  </a:lnTo>
                  <a:lnTo>
                    <a:pt x="45" y="93"/>
                  </a:lnTo>
                  <a:lnTo>
                    <a:pt x="52" y="88"/>
                  </a:lnTo>
                  <a:lnTo>
                    <a:pt x="55" y="83"/>
                  </a:lnTo>
                  <a:lnTo>
                    <a:pt x="58" y="83"/>
                  </a:lnTo>
                  <a:lnTo>
                    <a:pt x="58" y="78"/>
                  </a:lnTo>
                  <a:lnTo>
                    <a:pt x="53" y="75"/>
                  </a:lnTo>
                  <a:lnTo>
                    <a:pt x="55" y="69"/>
                  </a:lnTo>
                  <a:lnTo>
                    <a:pt x="58" y="68"/>
                  </a:lnTo>
                  <a:lnTo>
                    <a:pt x="59" y="63"/>
                  </a:lnTo>
                  <a:lnTo>
                    <a:pt x="72" y="62"/>
                  </a:lnTo>
                  <a:lnTo>
                    <a:pt x="77" y="63"/>
                  </a:lnTo>
                  <a:lnTo>
                    <a:pt x="79" y="62"/>
                  </a:lnTo>
                  <a:lnTo>
                    <a:pt x="80" y="62"/>
                  </a:lnTo>
                  <a:lnTo>
                    <a:pt x="77" y="59"/>
                  </a:lnTo>
                  <a:lnTo>
                    <a:pt x="72" y="56"/>
                  </a:lnTo>
                  <a:lnTo>
                    <a:pt x="74" y="53"/>
                  </a:lnTo>
                  <a:lnTo>
                    <a:pt x="77" y="52"/>
                  </a:lnTo>
                  <a:lnTo>
                    <a:pt x="77" y="48"/>
                  </a:lnTo>
                  <a:lnTo>
                    <a:pt x="82" y="47"/>
                  </a:lnTo>
                  <a:lnTo>
                    <a:pt x="87" y="42"/>
                  </a:lnTo>
                  <a:lnTo>
                    <a:pt x="90" y="42"/>
                  </a:lnTo>
                  <a:lnTo>
                    <a:pt x="91" y="38"/>
                  </a:lnTo>
                  <a:lnTo>
                    <a:pt x="95" y="36"/>
                  </a:lnTo>
                  <a:lnTo>
                    <a:pt x="91" y="34"/>
                  </a:lnTo>
                  <a:lnTo>
                    <a:pt x="92" y="30"/>
                  </a:lnTo>
                  <a:lnTo>
                    <a:pt x="88" y="25"/>
                  </a:lnTo>
                  <a:lnTo>
                    <a:pt x="90" y="21"/>
                  </a:lnTo>
                  <a:lnTo>
                    <a:pt x="85" y="19"/>
                  </a:lnTo>
                  <a:lnTo>
                    <a:pt x="84" y="15"/>
                  </a:lnTo>
                  <a:lnTo>
                    <a:pt x="77" y="15"/>
                  </a:lnTo>
                  <a:lnTo>
                    <a:pt x="77" y="13"/>
                  </a:lnTo>
                  <a:lnTo>
                    <a:pt x="81" y="10"/>
                  </a:lnTo>
                  <a:lnTo>
                    <a:pt x="81" y="9"/>
                  </a:lnTo>
                  <a:lnTo>
                    <a:pt x="85" y="9"/>
                  </a:lnTo>
                  <a:lnTo>
                    <a:pt x="85" y="7"/>
                  </a:lnTo>
                  <a:lnTo>
                    <a:pt x="84" y="4"/>
                  </a:lnTo>
                  <a:lnTo>
                    <a:pt x="79" y="4"/>
                  </a:lnTo>
                  <a:lnTo>
                    <a:pt x="77" y="0"/>
                  </a:lnTo>
                  <a:lnTo>
                    <a:pt x="75" y="0"/>
                  </a:lnTo>
                  <a:lnTo>
                    <a:pt x="72" y="4"/>
                  </a:lnTo>
                  <a:lnTo>
                    <a:pt x="55" y="4"/>
                  </a:lnTo>
                  <a:lnTo>
                    <a:pt x="58" y="14"/>
                  </a:lnTo>
                  <a:lnTo>
                    <a:pt x="48" y="21"/>
                  </a:lnTo>
                  <a:lnTo>
                    <a:pt x="41" y="29"/>
                  </a:lnTo>
                  <a:lnTo>
                    <a:pt x="33" y="53"/>
                  </a:lnTo>
                  <a:lnTo>
                    <a:pt x="27" y="54"/>
                  </a:lnTo>
                  <a:lnTo>
                    <a:pt x="27" y="58"/>
                  </a:lnTo>
                  <a:lnTo>
                    <a:pt x="25" y="58"/>
                  </a:lnTo>
                  <a:lnTo>
                    <a:pt x="22" y="63"/>
                  </a:lnTo>
                  <a:lnTo>
                    <a:pt x="17" y="73"/>
                  </a:lnTo>
                  <a:lnTo>
                    <a:pt x="16" y="77"/>
                  </a:lnTo>
                  <a:lnTo>
                    <a:pt x="11" y="85"/>
                  </a:lnTo>
                  <a:lnTo>
                    <a:pt x="6" y="99"/>
                  </a:lnTo>
                  <a:lnTo>
                    <a:pt x="1" y="106"/>
                  </a:lnTo>
                  <a:lnTo>
                    <a:pt x="0" y="111"/>
                  </a:lnTo>
                  <a:lnTo>
                    <a:pt x="2" y="113"/>
                  </a:lnTo>
                  <a:lnTo>
                    <a:pt x="14" y="112"/>
                  </a:lnTo>
                  <a:lnTo>
                    <a:pt x="16" y="116"/>
                  </a:lnTo>
                  <a:lnTo>
                    <a:pt x="18" y="116"/>
                  </a:lnTo>
                  <a:lnTo>
                    <a:pt x="21" y="113"/>
                  </a:lnTo>
                  <a:lnTo>
                    <a:pt x="26" y="115"/>
                  </a:lnTo>
                  <a:lnTo>
                    <a:pt x="27" y="101"/>
                  </a:lnTo>
                  <a:lnTo>
                    <a:pt x="29" y="99"/>
                  </a:lnTo>
                  <a:lnTo>
                    <a:pt x="31" y="100"/>
                  </a:lnTo>
                  <a:lnTo>
                    <a:pt x="32" y="10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35" name="Freeform 137">
              <a:extLst>
                <a:ext uri="{FF2B5EF4-FFF2-40B4-BE49-F238E27FC236}">
                  <a16:creationId xmlns:a16="http://schemas.microsoft.com/office/drawing/2014/main" id="{D6DE4D9A-7148-7ED5-826D-094320F5BD7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787965" y="3274044"/>
              <a:ext cx="20893" cy="44202"/>
            </a:xfrm>
            <a:custGeom>
              <a:avLst/>
              <a:gdLst>
                <a:gd name="T0" fmla="*/ 0 w 37"/>
                <a:gd name="T1" fmla="*/ 0 h 80"/>
                <a:gd name="T2" fmla="*/ 0 w 37"/>
                <a:gd name="T3" fmla="*/ 0 h 80"/>
                <a:gd name="T4" fmla="*/ 0 w 37"/>
                <a:gd name="T5" fmla="*/ 0 h 80"/>
                <a:gd name="T6" fmla="*/ 0 w 37"/>
                <a:gd name="T7" fmla="*/ 0 h 80"/>
                <a:gd name="T8" fmla="*/ 0 w 37"/>
                <a:gd name="T9" fmla="*/ 0 h 80"/>
                <a:gd name="T10" fmla="*/ 0 w 37"/>
                <a:gd name="T11" fmla="*/ 0 h 80"/>
                <a:gd name="T12" fmla="*/ 0 w 37"/>
                <a:gd name="T13" fmla="*/ 0 h 80"/>
                <a:gd name="T14" fmla="*/ 0 w 37"/>
                <a:gd name="T15" fmla="*/ 0 h 80"/>
                <a:gd name="T16" fmla="*/ 0 w 37"/>
                <a:gd name="T17" fmla="*/ 0 h 80"/>
                <a:gd name="T18" fmla="*/ 0 w 37"/>
                <a:gd name="T19" fmla="*/ 0 h 80"/>
                <a:gd name="T20" fmla="*/ 0 w 37"/>
                <a:gd name="T21" fmla="*/ 0 h 80"/>
                <a:gd name="T22" fmla="*/ 0 w 37"/>
                <a:gd name="T23" fmla="*/ 0 h 80"/>
                <a:gd name="T24" fmla="*/ 0 w 37"/>
                <a:gd name="T25" fmla="*/ 0 h 80"/>
                <a:gd name="T26" fmla="*/ 0 w 37"/>
                <a:gd name="T27" fmla="*/ 0 h 80"/>
                <a:gd name="T28" fmla="*/ 0 w 37"/>
                <a:gd name="T29" fmla="*/ 0 h 80"/>
                <a:gd name="T30" fmla="*/ 0 w 37"/>
                <a:gd name="T31" fmla="*/ 0 h 80"/>
                <a:gd name="T32" fmla="*/ 0 w 37"/>
                <a:gd name="T33" fmla="*/ 0 h 80"/>
                <a:gd name="T34" fmla="*/ 0 w 37"/>
                <a:gd name="T35" fmla="*/ 0 h 80"/>
                <a:gd name="T36" fmla="*/ 0 w 37"/>
                <a:gd name="T37" fmla="*/ 0 h 80"/>
                <a:gd name="T38" fmla="*/ 0 w 37"/>
                <a:gd name="T39" fmla="*/ 0 h 80"/>
                <a:gd name="T40" fmla="*/ 0 w 37"/>
                <a:gd name="T41" fmla="*/ 0 h 80"/>
                <a:gd name="T42" fmla="*/ 0 w 37"/>
                <a:gd name="T43" fmla="*/ 0 h 80"/>
                <a:gd name="T44" fmla="*/ 0 w 37"/>
                <a:gd name="T45" fmla="*/ 0 h 80"/>
                <a:gd name="T46" fmla="*/ 0 w 37"/>
                <a:gd name="T47" fmla="*/ 0 h 80"/>
                <a:gd name="T48" fmla="*/ 0 w 37"/>
                <a:gd name="T49" fmla="*/ 0 h 80"/>
                <a:gd name="T50" fmla="*/ 0 w 37"/>
                <a:gd name="T51" fmla="*/ 0 h 80"/>
                <a:gd name="T52" fmla="*/ 0 w 37"/>
                <a:gd name="T53" fmla="*/ 0 h 80"/>
                <a:gd name="T54" fmla="*/ 0 w 37"/>
                <a:gd name="T55" fmla="*/ 0 h 80"/>
                <a:gd name="T56" fmla="*/ 0 w 37"/>
                <a:gd name="T57" fmla="*/ 0 h 80"/>
                <a:gd name="T58" fmla="*/ 0 w 37"/>
                <a:gd name="T59" fmla="*/ 0 h 80"/>
                <a:gd name="T60" fmla="*/ 0 w 37"/>
                <a:gd name="T61" fmla="*/ 0 h 80"/>
                <a:gd name="T62" fmla="*/ 0 w 37"/>
                <a:gd name="T63" fmla="*/ 0 h 80"/>
                <a:gd name="T64" fmla="*/ 0 w 37"/>
                <a:gd name="T65" fmla="*/ 0 h 80"/>
                <a:gd name="T66" fmla="*/ 0 w 37"/>
                <a:gd name="T67" fmla="*/ 0 h 80"/>
                <a:gd name="T68" fmla="*/ 0 w 37"/>
                <a:gd name="T69" fmla="*/ 0 h 80"/>
                <a:gd name="T70" fmla="*/ 0 w 37"/>
                <a:gd name="T71" fmla="*/ 0 h 80"/>
                <a:gd name="T72" fmla="*/ 0 w 37"/>
                <a:gd name="T73" fmla="*/ 0 h 8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7"/>
                <a:gd name="T112" fmla="*/ 0 h 80"/>
                <a:gd name="T113" fmla="*/ 37 w 37"/>
                <a:gd name="T114" fmla="*/ 80 h 8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7" h="80">
                  <a:moveTo>
                    <a:pt x="30" y="66"/>
                  </a:moveTo>
                  <a:lnTo>
                    <a:pt x="32" y="64"/>
                  </a:lnTo>
                  <a:lnTo>
                    <a:pt x="33" y="55"/>
                  </a:lnTo>
                  <a:lnTo>
                    <a:pt x="36" y="49"/>
                  </a:lnTo>
                  <a:lnTo>
                    <a:pt x="33" y="40"/>
                  </a:lnTo>
                  <a:lnTo>
                    <a:pt x="35" y="29"/>
                  </a:lnTo>
                  <a:lnTo>
                    <a:pt x="36" y="21"/>
                  </a:lnTo>
                  <a:lnTo>
                    <a:pt x="37" y="12"/>
                  </a:lnTo>
                  <a:lnTo>
                    <a:pt x="37" y="10"/>
                  </a:lnTo>
                  <a:lnTo>
                    <a:pt x="33" y="10"/>
                  </a:lnTo>
                  <a:lnTo>
                    <a:pt x="30" y="7"/>
                  </a:lnTo>
                  <a:lnTo>
                    <a:pt x="28" y="0"/>
                  </a:lnTo>
                  <a:lnTo>
                    <a:pt x="24" y="1"/>
                  </a:lnTo>
                  <a:lnTo>
                    <a:pt x="16" y="0"/>
                  </a:lnTo>
                  <a:lnTo>
                    <a:pt x="12" y="1"/>
                  </a:lnTo>
                  <a:lnTo>
                    <a:pt x="10" y="3"/>
                  </a:lnTo>
                  <a:lnTo>
                    <a:pt x="10" y="13"/>
                  </a:lnTo>
                  <a:lnTo>
                    <a:pt x="4" y="19"/>
                  </a:lnTo>
                  <a:lnTo>
                    <a:pt x="4" y="34"/>
                  </a:lnTo>
                  <a:lnTo>
                    <a:pt x="6" y="39"/>
                  </a:lnTo>
                  <a:lnTo>
                    <a:pt x="5" y="45"/>
                  </a:lnTo>
                  <a:lnTo>
                    <a:pt x="15" y="44"/>
                  </a:lnTo>
                  <a:lnTo>
                    <a:pt x="19" y="45"/>
                  </a:lnTo>
                  <a:lnTo>
                    <a:pt x="19" y="48"/>
                  </a:lnTo>
                  <a:lnTo>
                    <a:pt x="17" y="49"/>
                  </a:lnTo>
                  <a:lnTo>
                    <a:pt x="11" y="50"/>
                  </a:lnTo>
                  <a:lnTo>
                    <a:pt x="8" y="53"/>
                  </a:lnTo>
                  <a:lnTo>
                    <a:pt x="6" y="56"/>
                  </a:lnTo>
                  <a:lnTo>
                    <a:pt x="4" y="65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16" y="75"/>
                  </a:lnTo>
                  <a:lnTo>
                    <a:pt x="26" y="66"/>
                  </a:lnTo>
                  <a:lnTo>
                    <a:pt x="30" y="6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36" name="Freeform 138">
              <a:extLst>
                <a:ext uri="{FF2B5EF4-FFF2-40B4-BE49-F238E27FC236}">
                  <a16:creationId xmlns:a16="http://schemas.microsoft.com/office/drawing/2014/main" id="{0D542931-E779-A06D-61DE-8D58222A54F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767073" y="3310625"/>
              <a:ext cx="10446" cy="13717"/>
            </a:xfrm>
            <a:custGeom>
              <a:avLst/>
              <a:gdLst>
                <a:gd name="T0" fmla="*/ 0 w 18"/>
                <a:gd name="T1" fmla="*/ 0 h 24"/>
                <a:gd name="T2" fmla="*/ 0 w 18"/>
                <a:gd name="T3" fmla="*/ 0 h 24"/>
                <a:gd name="T4" fmla="*/ 0 w 18"/>
                <a:gd name="T5" fmla="*/ 0 h 24"/>
                <a:gd name="T6" fmla="*/ 0 w 18"/>
                <a:gd name="T7" fmla="*/ 0 h 24"/>
                <a:gd name="T8" fmla="*/ 0 w 18"/>
                <a:gd name="T9" fmla="*/ 0 h 24"/>
                <a:gd name="T10" fmla="*/ 0 w 18"/>
                <a:gd name="T11" fmla="*/ 0 h 24"/>
                <a:gd name="T12" fmla="*/ 0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" y="24"/>
                  </a:moveTo>
                  <a:lnTo>
                    <a:pt x="8" y="21"/>
                  </a:lnTo>
                  <a:lnTo>
                    <a:pt x="7" y="16"/>
                  </a:lnTo>
                  <a:lnTo>
                    <a:pt x="18" y="5"/>
                  </a:lnTo>
                  <a:lnTo>
                    <a:pt x="14" y="0"/>
                  </a:lnTo>
                  <a:lnTo>
                    <a:pt x="0" y="14"/>
                  </a:lnTo>
                  <a:lnTo>
                    <a:pt x="1" y="2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37" name="Freeform 139">
              <a:extLst>
                <a:ext uri="{FF2B5EF4-FFF2-40B4-BE49-F238E27FC236}">
                  <a16:creationId xmlns:a16="http://schemas.microsoft.com/office/drawing/2014/main" id="{618105BA-CDB7-AED3-2B85-DA4DA2811E3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771549" y="3245083"/>
              <a:ext cx="41786" cy="144801"/>
            </a:xfrm>
            <a:custGeom>
              <a:avLst/>
              <a:gdLst>
                <a:gd name="T0" fmla="*/ 0 w 81"/>
                <a:gd name="T1" fmla="*/ 0 h 251"/>
                <a:gd name="T2" fmla="*/ 0 w 81"/>
                <a:gd name="T3" fmla="*/ 0 h 251"/>
                <a:gd name="T4" fmla="*/ 0 w 81"/>
                <a:gd name="T5" fmla="*/ 0 h 251"/>
                <a:gd name="T6" fmla="*/ 0 w 81"/>
                <a:gd name="T7" fmla="*/ 0 h 251"/>
                <a:gd name="T8" fmla="*/ 0 w 81"/>
                <a:gd name="T9" fmla="*/ 0 h 251"/>
                <a:gd name="T10" fmla="*/ 0 w 81"/>
                <a:gd name="T11" fmla="*/ 0 h 251"/>
                <a:gd name="T12" fmla="*/ 0 w 81"/>
                <a:gd name="T13" fmla="*/ 0 h 251"/>
                <a:gd name="T14" fmla="*/ 0 w 81"/>
                <a:gd name="T15" fmla="*/ 0 h 251"/>
                <a:gd name="T16" fmla="*/ 0 w 81"/>
                <a:gd name="T17" fmla="*/ 0 h 251"/>
                <a:gd name="T18" fmla="*/ 0 w 81"/>
                <a:gd name="T19" fmla="*/ 0 h 251"/>
                <a:gd name="T20" fmla="*/ 0 w 81"/>
                <a:gd name="T21" fmla="*/ 0 h 251"/>
                <a:gd name="T22" fmla="*/ 0 w 81"/>
                <a:gd name="T23" fmla="*/ 0 h 251"/>
                <a:gd name="T24" fmla="*/ 0 w 81"/>
                <a:gd name="T25" fmla="*/ 0 h 251"/>
                <a:gd name="T26" fmla="*/ 0 w 81"/>
                <a:gd name="T27" fmla="*/ 0 h 251"/>
                <a:gd name="T28" fmla="*/ 0 w 81"/>
                <a:gd name="T29" fmla="*/ 0 h 251"/>
                <a:gd name="T30" fmla="*/ 0 w 81"/>
                <a:gd name="T31" fmla="*/ 0 h 251"/>
                <a:gd name="T32" fmla="*/ 0 w 81"/>
                <a:gd name="T33" fmla="*/ 0 h 251"/>
                <a:gd name="T34" fmla="*/ 0 w 81"/>
                <a:gd name="T35" fmla="*/ 0 h 251"/>
                <a:gd name="T36" fmla="*/ 0 w 81"/>
                <a:gd name="T37" fmla="*/ 0 h 251"/>
                <a:gd name="T38" fmla="*/ 0 w 81"/>
                <a:gd name="T39" fmla="*/ 0 h 251"/>
                <a:gd name="T40" fmla="*/ 0 w 81"/>
                <a:gd name="T41" fmla="*/ 0 h 251"/>
                <a:gd name="T42" fmla="*/ 0 w 81"/>
                <a:gd name="T43" fmla="*/ 0 h 251"/>
                <a:gd name="T44" fmla="*/ 0 w 81"/>
                <a:gd name="T45" fmla="*/ 0 h 251"/>
                <a:gd name="T46" fmla="*/ 0 w 81"/>
                <a:gd name="T47" fmla="*/ 0 h 251"/>
                <a:gd name="T48" fmla="*/ 0 w 81"/>
                <a:gd name="T49" fmla="*/ 0 h 251"/>
                <a:gd name="T50" fmla="*/ 0 w 81"/>
                <a:gd name="T51" fmla="*/ 0 h 251"/>
                <a:gd name="T52" fmla="*/ 0 w 81"/>
                <a:gd name="T53" fmla="*/ 0 h 251"/>
                <a:gd name="T54" fmla="*/ 0 w 81"/>
                <a:gd name="T55" fmla="*/ 0 h 251"/>
                <a:gd name="T56" fmla="*/ 0 w 81"/>
                <a:gd name="T57" fmla="*/ 0 h 251"/>
                <a:gd name="T58" fmla="*/ 0 w 81"/>
                <a:gd name="T59" fmla="*/ 0 h 251"/>
                <a:gd name="T60" fmla="*/ 0 w 81"/>
                <a:gd name="T61" fmla="*/ 0 h 251"/>
                <a:gd name="T62" fmla="*/ 0 w 81"/>
                <a:gd name="T63" fmla="*/ 0 h 251"/>
                <a:gd name="T64" fmla="*/ 0 w 81"/>
                <a:gd name="T65" fmla="*/ 0 h 251"/>
                <a:gd name="T66" fmla="*/ 0 w 81"/>
                <a:gd name="T67" fmla="*/ 0 h 25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81"/>
                <a:gd name="T103" fmla="*/ 0 h 251"/>
                <a:gd name="T104" fmla="*/ 81 w 81"/>
                <a:gd name="T105" fmla="*/ 251 h 251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81" h="251">
                  <a:moveTo>
                    <a:pt x="44" y="248"/>
                  </a:moveTo>
                  <a:lnTo>
                    <a:pt x="45" y="242"/>
                  </a:lnTo>
                  <a:lnTo>
                    <a:pt x="49" y="232"/>
                  </a:lnTo>
                  <a:lnTo>
                    <a:pt x="55" y="178"/>
                  </a:lnTo>
                  <a:lnTo>
                    <a:pt x="61" y="158"/>
                  </a:lnTo>
                  <a:lnTo>
                    <a:pt x="70" y="140"/>
                  </a:lnTo>
                  <a:lnTo>
                    <a:pt x="67" y="132"/>
                  </a:lnTo>
                  <a:lnTo>
                    <a:pt x="71" y="119"/>
                  </a:lnTo>
                  <a:lnTo>
                    <a:pt x="69" y="115"/>
                  </a:lnTo>
                  <a:lnTo>
                    <a:pt x="65" y="115"/>
                  </a:lnTo>
                  <a:lnTo>
                    <a:pt x="55" y="124"/>
                  </a:lnTo>
                  <a:lnTo>
                    <a:pt x="43" y="125"/>
                  </a:lnTo>
                  <a:lnTo>
                    <a:pt x="43" y="129"/>
                  </a:lnTo>
                  <a:lnTo>
                    <a:pt x="39" y="124"/>
                  </a:lnTo>
                  <a:lnTo>
                    <a:pt x="39" y="118"/>
                  </a:lnTo>
                  <a:lnTo>
                    <a:pt x="43" y="114"/>
                  </a:lnTo>
                  <a:lnTo>
                    <a:pt x="45" y="105"/>
                  </a:lnTo>
                  <a:lnTo>
                    <a:pt x="47" y="102"/>
                  </a:lnTo>
                  <a:lnTo>
                    <a:pt x="50" y="99"/>
                  </a:lnTo>
                  <a:lnTo>
                    <a:pt x="56" y="98"/>
                  </a:lnTo>
                  <a:lnTo>
                    <a:pt x="58" y="97"/>
                  </a:lnTo>
                  <a:lnTo>
                    <a:pt x="58" y="94"/>
                  </a:lnTo>
                  <a:lnTo>
                    <a:pt x="54" y="93"/>
                  </a:lnTo>
                  <a:lnTo>
                    <a:pt x="44" y="94"/>
                  </a:lnTo>
                  <a:lnTo>
                    <a:pt x="45" y="88"/>
                  </a:lnTo>
                  <a:lnTo>
                    <a:pt x="43" y="83"/>
                  </a:lnTo>
                  <a:lnTo>
                    <a:pt x="43" y="68"/>
                  </a:lnTo>
                  <a:lnTo>
                    <a:pt x="49" y="62"/>
                  </a:lnTo>
                  <a:lnTo>
                    <a:pt x="49" y="52"/>
                  </a:lnTo>
                  <a:lnTo>
                    <a:pt x="51" y="50"/>
                  </a:lnTo>
                  <a:lnTo>
                    <a:pt x="55" y="49"/>
                  </a:lnTo>
                  <a:lnTo>
                    <a:pt x="63" y="50"/>
                  </a:lnTo>
                  <a:lnTo>
                    <a:pt x="67" y="49"/>
                  </a:lnTo>
                  <a:lnTo>
                    <a:pt x="69" y="56"/>
                  </a:lnTo>
                  <a:lnTo>
                    <a:pt x="72" y="59"/>
                  </a:lnTo>
                  <a:lnTo>
                    <a:pt x="76" y="59"/>
                  </a:lnTo>
                  <a:lnTo>
                    <a:pt x="76" y="39"/>
                  </a:lnTo>
                  <a:lnTo>
                    <a:pt x="81" y="33"/>
                  </a:lnTo>
                  <a:lnTo>
                    <a:pt x="78" y="27"/>
                  </a:lnTo>
                  <a:lnTo>
                    <a:pt x="80" y="22"/>
                  </a:lnTo>
                  <a:lnTo>
                    <a:pt x="78" y="17"/>
                  </a:lnTo>
                  <a:lnTo>
                    <a:pt x="81" y="13"/>
                  </a:lnTo>
                  <a:lnTo>
                    <a:pt x="81" y="3"/>
                  </a:lnTo>
                  <a:lnTo>
                    <a:pt x="80" y="1"/>
                  </a:lnTo>
                  <a:lnTo>
                    <a:pt x="78" y="0"/>
                  </a:lnTo>
                  <a:lnTo>
                    <a:pt x="76" y="2"/>
                  </a:lnTo>
                  <a:lnTo>
                    <a:pt x="75" y="16"/>
                  </a:lnTo>
                  <a:lnTo>
                    <a:pt x="70" y="14"/>
                  </a:lnTo>
                  <a:lnTo>
                    <a:pt x="67" y="17"/>
                  </a:lnTo>
                  <a:lnTo>
                    <a:pt x="65" y="17"/>
                  </a:lnTo>
                  <a:lnTo>
                    <a:pt x="63" y="13"/>
                  </a:lnTo>
                  <a:lnTo>
                    <a:pt x="51" y="14"/>
                  </a:lnTo>
                  <a:lnTo>
                    <a:pt x="49" y="12"/>
                  </a:lnTo>
                  <a:lnTo>
                    <a:pt x="47" y="17"/>
                  </a:lnTo>
                  <a:lnTo>
                    <a:pt x="47" y="27"/>
                  </a:lnTo>
                  <a:lnTo>
                    <a:pt x="39" y="41"/>
                  </a:lnTo>
                  <a:lnTo>
                    <a:pt x="38" y="49"/>
                  </a:lnTo>
                  <a:lnTo>
                    <a:pt x="29" y="80"/>
                  </a:lnTo>
                  <a:lnTo>
                    <a:pt x="22" y="104"/>
                  </a:lnTo>
                  <a:lnTo>
                    <a:pt x="13" y="113"/>
                  </a:lnTo>
                  <a:lnTo>
                    <a:pt x="17" y="118"/>
                  </a:lnTo>
                  <a:lnTo>
                    <a:pt x="6" y="129"/>
                  </a:lnTo>
                  <a:lnTo>
                    <a:pt x="7" y="134"/>
                  </a:lnTo>
                  <a:lnTo>
                    <a:pt x="0" y="137"/>
                  </a:lnTo>
                  <a:lnTo>
                    <a:pt x="1" y="142"/>
                  </a:lnTo>
                  <a:lnTo>
                    <a:pt x="4" y="148"/>
                  </a:lnTo>
                  <a:lnTo>
                    <a:pt x="23" y="206"/>
                  </a:lnTo>
                  <a:lnTo>
                    <a:pt x="39" y="251"/>
                  </a:lnTo>
                  <a:lnTo>
                    <a:pt x="44" y="24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38" name="Freeform 140">
              <a:extLst>
                <a:ext uri="{FF2B5EF4-FFF2-40B4-BE49-F238E27FC236}">
                  <a16:creationId xmlns:a16="http://schemas.microsoft.com/office/drawing/2014/main" id="{7DC749F1-6830-D775-2538-B37490E325E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137173" y="3363972"/>
              <a:ext cx="50740" cy="53348"/>
            </a:xfrm>
            <a:custGeom>
              <a:avLst/>
              <a:gdLst>
                <a:gd name="T0" fmla="*/ 2147483647 w 96"/>
                <a:gd name="T1" fmla="*/ 2147483647 h 95"/>
                <a:gd name="T2" fmla="*/ 2147483647 w 96"/>
                <a:gd name="T3" fmla="*/ 2147483647 h 95"/>
                <a:gd name="T4" fmla="*/ 2147483647 w 96"/>
                <a:gd name="T5" fmla="*/ 2147483647 h 95"/>
                <a:gd name="T6" fmla="*/ 2147483647 w 96"/>
                <a:gd name="T7" fmla="*/ 0 h 95"/>
                <a:gd name="T8" fmla="*/ 2147483647 w 96"/>
                <a:gd name="T9" fmla="*/ 0 h 95"/>
                <a:gd name="T10" fmla="*/ 2147483647 w 96"/>
                <a:gd name="T11" fmla="*/ 0 h 95"/>
                <a:gd name="T12" fmla="*/ 2147483647 w 96"/>
                <a:gd name="T13" fmla="*/ 0 h 95"/>
                <a:gd name="T14" fmla="*/ 2147483647 w 96"/>
                <a:gd name="T15" fmla="*/ 0 h 95"/>
                <a:gd name="T16" fmla="*/ 2147483647 w 96"/>
                <a:gd name="T17" fmla="*/ 0 h 95"/>
                <a:gd name="T18" fmla="*/ 2147483647 w 96"/>
                <a:gd name="T19" fmla="*/ 0 h 95"/>
                <a:gd name="T20" fmla="*/ 2147483647 w 96"/>
                <a:gd name="T21" fmla="*/ 0 h 95"/>
                <a:gd name="T22" fmla="*/ 2147483647 w 96"/>
                <a:gd name="T23" fmla="*/ 0 h 95"/>
                <a:gd name="T24" fmla="*/ 2147483647 w 96"/>
                <a:gd name="T25" fmla="*/ 0 h 95"/>
                <a:gd name="T26" fmla="*/ 2147483647 w 96"/>
                <a:gd name="T27" fmla="*/ 0 h 95"/>
                <a:gd name="T28" fmla="*/ 2147483647 w 96"/>
                <a:gd name="T29" fmla="*/ 0 h 95"/>
                <a:gd name="T30" fmla="*/ 2147483647 w 96"/>
                <a:gd name="T31" fmla="*/ 0 h 95"/>
                <a:gd name="T32" fmla="*/ 2147483647 w 96"/>
                <a:gd name="T33" fmla="*/ 0 h 95"/>
                <a:gd name="T34" fmla="*/ 2147483647 w 96"/>
                <a:gd name="T35" fmla="*/ 0 h 95"/>
                <a:gd name="T36" fmla="*/ 2147483647 w 96"/>
                <a:gd name="T37" fmla="*/ 0 h 95"/>
                <a:gd name="T38" fmla="*/ 0 w 96"/>
                <a:gd name="T39" fmla="*/ 0 h 95"/>
                <a:gd name="T40" fmla="*/ 0 w 96"/>
                <a:gd name="T41" fmla="*/ 0 h 95"/>
                <a:gd name="T42" fmla="*/ 0 w 96"/>
                <a:gd name="T43" fmla="*/ 0 h 95"/>
                <a:gd name="T44" fmla="*/ 0 w 96"/>
                <a:gd name="T45" fmla="*/ 0 h 95"/>
                <a:gd name="T46" fmla="*/ 0 w 96"/>
                <a:gd name="T47" fmla="*/ 0 h 95"/>
                <a:gd name="T48" fmla="*/ 0 w 96"/>
                <a:gd name="T49" fmla="*/ 0 h 95"/>
                <a:gd name="T50" fmla="*/ 0 w 96"/>
                <a:gd name="T51" fmla="*/ 0 h 95"/>
                <a:gd name="T52" fmla="*/ 2147483647 w 96"/>
                <a:gd name="T53" fmla="*/ 2147483647 h 95"/>
                <a:gd name="T54" fmla="*/ 2147483647 w 96"/>
                <a:gd name="T55" fmla="*/ 2147483647 h 95"/>
                <a:gd name="T56" fmla="*/ 2147483647 w 96"/>
                <a:gd name="T57" fmla="*/ 2147483647 h 9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96"/>
                <a:gd name="T88" fmla="*/ 0 h 95"/>
                <a:gd name="T89" fmla="*/ 96 w 96"/>
                <a:gd name="T90" fmla="*/ 95 h 9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96" h="95">
                  <a:moveTo>
                    <a:pt x="96" y="95"/>
                  </a:moveTo>
                  <a:lnTo>
                    <a:pt x="94" y="84"/>
                  </a:lnTo>
                  <a:lnTo>
                    <a:pt x="90" y="81"/>
                  </a:lnTo>
                  <a:lnTo>
                    <a:pt x="86" y="73"/>
                  </a:lnTo>
                  <a:lnTo>
                    <a:pt x="81" y="52"/>
                  </a:lnTo>
                  <a:lnTo>
                    <a:pt x="73" y="48"/>
                  </a:lnTo>
                  <a:lnTo>
                    <a:pt x="62" y="47"/>
                  </a:lnTo>
                  <a:lnTo>
                    <a:pt x="64" y="42"/>
                  </a:lnTo>
                  <a:lnTo>
                    <a:pt x="67" y="39"/>
                  </a:lnTo>
                  <a:lnTo>
                    <a:pt x="73" y="36"/>
                  </a:lnTo>
                  <a:lnTo>
                    <a:pt x="85" y="33"/>
                  </a:lnTo>
                  <a:lnTo>
                    <a:pt x="92" y="26"/>
                  </a:lnTo>
                  <a:lnTo>
                    <a:pt x="92" y="22"/>
                  </a:lnTo>
                  <a:lnTo>
                    <a:pt x="90" y="18"/>
                  </a:lnTo>
                  <a:lnTo>
                    <a:pt x="79" y="11"/>
                  </a:lnTo>
                  <a:lnTo>
                    <a:pt x="78" y="6"/>
                  </a:lnTo>
                  <a:lnTo>
                    <a:pt x="79" y="5"/>
                  </a:lnTo>
                  <a:lnTo>
                    <a:pt x="67" y="1"/>
                  </a:lnTo>
                  <a:lnTo>
                    <a:pt x="53" y="0"/>
                  </a:lnTo>
                  <a:lnTo>
                    <a:pt x="38" y="6"/>
                  </a:lnTo>
                  <a:lnTo>
                    <a:pt x="26" y="23"/>
                  </a:lnTo>
                  <a:lnTo>
                    <a:pt x="16" y="43"/>
                  </a:lnTo>
                  <a:lnTo>
                    <a:pt x="0" y="59"/>
                  </a:lnTo>
                  <a:lnTo>
                    <a:pt x="4" y="61"/>
                  </a:lnTo>
                  <a:lnTo>
                    <a:pt x="26" y="65"/>
                  </a:lnTo>
                  <a:lnTo>
                    <a:pt x="46" y="73"/>
                  </a:lnTo>
                  <a:lnTo>
                    <a:pt x="53" y="80"/>
                  </a:lnTo>
                  <a:lnTo>
                    <a:pt x="63" y="95"/>
                  </a:lnTo>
                  <a:lnTo>
                    <a:pt x="96" y="9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39" name="Freeform 141">
              <a:extLst>
                <a:ext uri="{FF2B5EF4-FFF2-40B4-BE49-F238E27FC236}">
                  <a16:creationId xmlns:a16="http://schemas.microsoft.com/office/drawing/2014/main" id="{FE75069E-8A31-1CAE-F42A-BB00C948F88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786473" y="3287761"/>
              <a:ext cx="616338" cy="538050"/>
            </a:xfrm>
            <a:custGeom>
              <a:avLst/>
              <a:gdLst>
                <a:gd name="T0" fmla="*/ 0 w 15957"/>
                <a:gd name="T1" fmla="*/ 0 h 13229"/>
                <a:gd name="T2" fmla="*/ 0 w 15957"/>
                <a:gd name="T3" fmla="*/ 0 h 13229"/>
                <a:gd name="T4" fmla="*/ 0 w 15957"/>
                <a:gd name="T5" fmla="*/ 0 h 13229"/>
                <a:gd name="T6" fmla="*/ 0 w 15957"/>
                <a:gd name="T7" fmla="*/ 0 h 13229"/>
                <a:gd name="T8" fmla="*/ 0 w 15957"/>
                <a:gd name="T9" fmla="*/ 0 h 13229"/>
                <a:gd name="T10" fmla="*/ 0 w 15957"/>
                <a:gd name="T11" fmla="*/ 0 h 13229"/>
                <a:gd name="T12" fmla="*/ 0 w 15957"/>
                <a:gd name="T13" fmla="*/ 0 h 13229"/>
                <a:gd name="T14" fmla="*/ 0 w 15957"/>
                <a:gd name="T15" fmla="*/ 0 h 13229"/>
                <a:gd name="T16" fmla="*/ 0 w 15957"/>
                <a:gd name="T17" fmla="*/ 0 h 13229"/>
                <a:gd name="T18" fmla="*/ 0 w 15957"/>
                <a:gd name="T19" fmla="*/ 0 h 13229"/>
                <a:gd name="T20" fmla="*/ 0 w 15957"/>
                <a:gd name="T21" fmla="*/ 0 h 13229"/>
                <a:gd name="T22" fmla="*/ 0 w 15957"/>
                <a:gd name="T23" fmla="*/ 0 h 13229"/>
                <a:gd name="T24" fmla="*/ 0 w 15957"/>
                <a:gd name="T25" fmla="*/ 0 h 13229"/>
                <a:gd name="T26" fmla="*/ 0 w 15957"/>
                <a:gd name="T27" fmla="*/ 0 h 13229"/>
                <a:gd name="T28" fmla="*/ 0 w 15957"/>
                <a:gd name="T29" fmla="*/ 0 h 13229"/>
                <a:gd name="T30" fmla="*/ 0 w 15957"/>
                <a:gd name="T31" fmla="*/ 0 h 13229"/>
                <a:gd name="T32" fmla="*/ 0 w 15957"/>
                <a:gd name="T33" fmla="*/ 0 h 13229"/>
                <a:gd name="T34" fmla="*/ 0 w 15957"/>
                <a:gd name="T35" fmla="*/ 0 h 13229"/>
                <a:gd name="T36" fmla="*/ 0 w 15957"/>
                <a:gd name="T37" fmla="*/ 0 h 13229"/>
                <a:gd name="T38" fmla="*/ 0 w 15957"/>
                <a:gd name="T39" fmla="*/ 0 h 13229"/>
                <a:gd name="T40" fmla="*/ 0 w 15957"/>
                <a:gd name="T41" fmla="*/ 0 h 13229"/>
                <a:gd name="T42" fmla="*/ 0 w 15957"/>
                <a:gd name="T43" fmla="*/ 0 h 13229"/>
                <a:gd name="T44" fmla="*/ 0 w 15957"/>
                <a:gd name="T45" fmla="*/ 0 h 13229"/>
                <a:gd name="T46" fmla="*/ 0 w 15957"/>
                <a:gd name="T47" fmla="*/ 0 h 13229"/>
                <a:gd name="T48" fmla="*/ 0 w 15957"/>
                <a:gd name="T49" fmla="*/ 0 h 13229"/>
                <a:gd name="T50" fmla="*/ 0 w 15957"/>
                <a:gd name="T51" fmla="*/ 0 h 13229"/>
                <a:gd name="T52" fmla="*/ 0 w 15957"/>
                <a:gd name="T53" fmla="*/ 0 h 13229"/>
                <a:gd name="T54" fmla="*/ 0 w 15957"/>
                <a:gd name="T55" fmla="*/ 0 h 13229"/>
                <a:gd name="T56" fmla="*/ 0 w 15957"/>
                <a:gd name="T57" fmla="*/ 0 h 13229"/>
                <a:gd name="T58" fmla="*/ 0 w 15957"/>
                <a:gd name="T59" fmla="*/ 0 h 13229"/>
                <a:gd name="T60" fmla="*/ 0 w 15957"/>
                <a:gd name="T61" fmla="*/ 0 h 13229"/>
                <a:gd name="T62" fmla="*/ 0 w 15957"/>
                <a:gd name="T63" fmla="*/ 0 h 13229"/>
                <a:gd name="T64" fmla="*/ 0 w 15957"/>
                <a:gd name="T65" fmla="*/ 0 h 13229"/>
                <a:gd name="T66" fmla="*/ 0 w 15957"/>
                <a:gd name="T67" fmla="*/ 0 h 13229"/>
                <a:gd name="T68" fmla="*/ 0 w 15957"/>
                <a:gd name="T69" fmla="*/ 0 h 13229"/>
                <a:gd name="T70" fmla="*/ 0 w 15957"/>
                <a:gd name="T71" fmla="*/ 0 h 13229"/>
                <a:gd name="T72" fmla="*/ 0 w 15957"/>
                <a:gd name="T73" fmla="*/ 0 h 13229"/>
                <a:gd name="T74" fmla="*/ 0 w 15957"/>
                <a:gd name="T75" fmla="*/ 0 h 13229"/>
                <a:gd name="T76" fmla="*/ 0 w 15957"/>
                <a:gd name="T77" fmla="*/ 0 h 13229"/>
                <a:gd name="T78" fmla="*/ 0 w 15957"/>
                <a:gd name="T79" fmla="*/ 0 h 13229"/>
                <a:gd name="T80" fmla="*/ 0 w 15957"/>
                <a:gd name="T81" fmla="*/ 0 h 13229"/>
                <a:gd name="T82" fmla="*/ 0 w 15957"/>
                <a:gd name="T83" fmla="*/ 0 h 13229"/>
                <a:gd name="T84" fmla="*/ 0 w 15957"/>
                <a:gd name="T85" fmla="*/ 0 h 13229"/>
                <a:gd name="T86" fmla="*/ 0 w 15957"/>
                <a:gd name="T87" fmla="*/ 0 h 13229"/>
                <a:gd name="T88" fmla="*/ 0 w 15957"/>
                <a:gd name="T89" fmla="*/ 0 h 13229"/>
                <a:gd name="T90" fmla="*/ 0 w 15957"/>
                <a:gd name="T91" fmla="*/ 0 h 13229"/>
                <a:gd name="T92" fmla="*/ 0 w 15957"/>
                <a:gd name="T93" fmla="*/ 0 h 13229"/>
                <a:gd name="T94" fmla="*/ 0 w 15957"/>
                <a:gd name="T95" fmla="*/ 0 h 13229"/>
                <a:gd name="T96" fmla="*/ 0 w 15957"/>
                <a:gd name="T97" fmla="*/ 0 h 13229"/>
                <a:gd name="T98" fmla="*/ 0 w 15957"/>
                <a:gd name="T99" fmla="*/ 0 h 13229"/>
                <a:gd name="T100" fmla="*/ 0 w 15957"/>
                <a:gd name="T101" fmla="*/ 0 h 13229"/>
                <a:gd name="T102" fmla="*/ 0 w 15957"/>
                <a:gd name="T103" fmla="*/ 0 h 13229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5957"/>
                <a:gd name="T157" fmla="*/ 0 h 13229"/>
                <a:gd name="T158" fmla="*/ 15957 w 15957"/>
                <a:gd name="T159" fmla="*/ 13229 h 13229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5957" h="13229">
                  <a:moveTo>
                    <a:pt x="9071" y="2723"/>
                  </a:moveTo>
                  <a:lnTo>
                    <a:pt x="9131" y="2757"/>
                  </a:lnTo>
                  <a:lnTo>
                    <a:pt x="9432" y="2810"/>
                  </a:lnTo>
                  <a:lnTo>
                    <a:pt x="9706" y="2910"/>
                  </a:lnTo>
                  <a:lnTo>
                    <a:pt x="9809" y="2999"/>
                  </a:lnTo>
                  <a:lnTo>
                    <a:pt x="9934" y="3216"/>
                  </a:lnTo>
                  <a:lnTo>
                    <a:pt x="10393" y="3219"/>
                  </a:lnTo>
                  <a:lnTo>
                    <a:pt x="10455" y="3296"/>
                  </a:lnTo>
                  <a:lnTo>
                    <a:pt x="10504" y="3434"/>
                  </a:lnTo>
                  <a:lnTo>
                    <a:pt x="10545" y="3497"/>
                  </a:lnTo>
                  <a:lnTo>
                    <a:pt x="10573" y="3599"/>
                  </a:lnTo>
                  <a:lnTo>
                    <a:pt x="10697" y="3824"/>
                  </a:lnTo>
                  <a:lnTo>
                    <a:pt x="10817" y="3869"/>
                  </a:lnTo>
                  <a:lnTo>
                    <a:pt x="10903" y="4039"/>
                  </a:lnTo>
                  <a:lnTo>
                    <a:pt x="11097" y="4175"/>
                  </a:lnTo>
                  <a:lnTo>
                    <a:pt x="11100" y="4189"/>
                  </a:lnTo>
                  <a:lnTo>
                    <a:pt x="11062" y="4232"/>
                  </a:lnTo>
                  <a:lnTo>
                    <a:pt x="11097" y="4290"/>
                  </a:lnTo>
                  <a:lnTo>
                    <a:pt x="11134" y="4426"/>
                  </a:lnTo>
                  <a:lnTo>
                    <a:pt x="11258" y="4460"/>
                  </a:lnTo>
                  <a:lnTo>
                    <a:pt x="11313" y="4512"/>
                  </a:lnTo>
                  <a:lnTo>
                    <a:pt x="11537" y="4658"/>
                  </a:lnTo>
                  <a:lnTo>
                    <a:pt x="11613" y="4723"/>
                  </a:lnTo>
                  <a:lnTo>
                    <a:pt x="11663" y="4798"/>
                  </a:lnTo>
                  <a:lnTo>
                    <a:pt x="11680" y="4839"/>
                  </a:lnTo>
                  <a:lnTo>
                    <a:pt x="11658" y="4977"/>
                  </a:lnTo>
                  <a:lnTo>
                    <a:pt x="11764" y="5127"/>
                  </a:lnTo>
                  <a:lnTo>
                    <a:pt x="11788" y="5234"/>
                  </a:lnTo>
                  <a:lnTo>
                    <a:pt x="11781" y="5294"/>
                  </a:lnTo>
                  <a:lnTo>
                    <a:pt x="11711" y="5381"/>
                  </a:lnTo>
                  <a:lnTo>
                    <a:pt x="11715" y="5546"/>
                  </a:lnTo>
                  <a:lnTo>
                    <a:pt x="11824" y="5695"/>
                  </a:lnTo>
                  <a:lnTo>
                    <a:pt x="12016" y="5908"/>
                  </a:lnTo>
                  <a:lnTo>
                    <a:pt x="12063" y="6177"/>
                  </a:lnTo>
                  <a:lnTo>
                    <a:pt x="12135" y="6264"/>
                  </a:lnTo>
                  <a:lnTo>
                    <a:pt x="12147" y="6336"/>
                  </a:lnTo>
                  <a:lnTo>
                    <a:pt x="12184" y="6371"/>
                  </a:lnTo>
                  <a:lnTo>
                    <a:pt x="12207" y="6448"/>
                  </a:lnTo>
                  <a:lnTo>
                    <a:pt x="12243" y="6448"/>
                  </a:lnTo>
                  <a:lnTo>
                    <a:pt x="12348" y="6619"/>
                  </a:lnTo>
                  <a:lnTo>
                    <a:pt x="12423" y="6638"/>
                  </a:lnTo>
                  <a:lnTo>
                    <a:pt x="12480" y="6842"/>
                  </a:lnTo>
                  <a:lnTo>
                    <a:pt x="12935" y="7241"/>
                  </a:lnTo>
                  <a:lnTo>
                    <a:pt x="13158" y="7915"/>
                  </a:lnTo>
                  <a:lnTo>
                    <a:pt x="15429" y="8331"/>
                  </a:lnTo>
                  <a:lnTo>
                    <a:pt x="15576" y="8167"/>
                  </a:lnTo>
                  <a:lnTo>
                    <a:pt x="15957" y="8740"/>
                  </a:lnTo>
                  <a:lnTo>
                    <a:pt x="15424" y="10363"/>
                  </a:lnTo>
                  <a:lnTo>
                    <a:pt x="13158" y="11166"/>
                  </a:lnTo>
                  <a:lnTo>
                    <a:pt x="11049" y="11512"/>
                  </a:lnTo>
                  <a:lnTo>
                    <a:pt x="10746" y="11729"/>
                  </a:lnTo>
                  <a:lnTo>
                    <a:pt x="10244" y="11935"/>
                  </a:lnTo>
                  <a:lnTo>
                    <a:pt x="9691" y="12918"/>
                  </a:lnTo>
                  <a:lnTo>
                    <a:pt x="9503" y="13060"/>
                  </a:lnTo>
                  <a:lnTo>
                    <a:pt x="9370" y="13076"/>
                  </a:lnTo>
                  <a:lnTo>
                    <a:pt x="9104" y="12745"/>
                  </a:lnTo>
                  <a:lnTo>
                    <a:pt x="8174" y="12657"/>
                  </a:lnTo>
                  <a:lnTo>
                    <a:pt x="8036" y="12551"/>
                  </a:lnTo>
                  <a:lnTo>
                    <a:pt x="7547" y="12502"/>
                  </a:lnTo>
                  <a:lnTo>
                    <a:pt x="7168" y="12457"/>
                  </a:lnTo>
                  <a:lnTo>
                    <a:pt x="6859" y="12543"/>
                  </a:lnTo>
                  <a:lnTo>
                    <a:pt x="6711" y="12286"/>
                  </a:lnTo>
                  <a:lnTo>
                    <a:pt x="6580" y="12452"/>
                  </a:lnTo>
                  <a:lnTo>
                    <a:pt x="6570" y="12466"/>
                  </a:lnTo>
                  <a:lnTo>
                    <a:pt x="6560" y="12481"/>
                  </a:lnTo>
                  <a:lnTo>
                    <a:pt x="6551" y="12499"/>
                  </a:lnTo>
                  <a:lnTo>
                    <a:pt x="6542" y="12517"/>
                  </a:lnTo>
                  <a:lnTo>
                    <a:pt x="6524" y="12554"/>
                  </a:lnTo>
                  <a:lnTo>
                    <a:pt x="6507" y="12592"/>
                  </a:lnTo>
                  <a:lnTo>
                    <a:pt x="6492" y="12625"/>
                  </a:lnTo>
                  <a:lnTo>
                    <a:pt x="6480" y="12652"/>
                  </a:lnTo>
                  <a:lnTo>
                    <a:pt x="6474" y="12661"/>
                  </a:lnTo>
                  <a:lnTo>
                    <a:pt x="6468" y="12668"/>
                  </a:lnTo>
                  <a:lnTo>
                    <a:pt x="6466" y="12670"/>
                  </a:lnTo>
                  <a:lnTo>
                    <a:pt x="6464" y="12671"/>
                  </a:lnTo>
                  <a:lnTo>
                    <a:pt x="6461" y="12671"/>
                  </a:lnTo>
                  <a:lnTo>
                    <a:pt x="6460" y="12670"/>
                  </a:lnTo>
                  <a:lnTo>
                    <a:pt x="6452" y="12667"/>
                  </a:lnTo>
                  <a:lnTo>
                    <a:pt x="6447" y="12665"/>
                  </a:lnTo>
                  <a:lnTo>
                    <a:pt x="6442" y="12664"/>
                  </a:lnTo>
                  <a:lnTo>
                    <a:pt x="6439" y="12665"/>
                  </a:lnTo>
                  <a:lnTo>
                    <a:pt x="6436" y="12666"/>
                  </a:lnTo>
                  <a:lnTo>
                    <a:pt x="6435" y="12669"/>
                  </a:lnTo>
                  <a:lnTo>
                    <a:pt x="6434" y="12672"/>
                  </a:lnTo>
                  <a:lnTo>
                    <a:pt x="6434" y="12676"/>
                  </a:lnTo>
                  <a:lnTo>
                    <a:pt x="6437" y="12688"/>
                  </a:lnTo>
                  <a:lnTo>
                    <a:pt x="6442" y="12702"/>
                  </a:lnTo>
                  <a:lnTo>
                    <a:pt x="6449" y="12718"/>
                  </a:lnTo>
                  <a:lnTo>
                    <a:pt x="6457" y="12735"/>
                  </a:lnTo>
                  <a:lnTo>
                    <a:pt x="6474" y="12773"/>
                  </a:lnTo>
                  <a:lnTo>
                    <a:pt x="6488" y="12807"/>
                  </a:lnTo>
                  <a:lnTo>
                    <a:pt x="6493" y="12822"/>
                  </a:lnTo>
                  <a:lnTo>
                    <a:pt x="6495" y="12835"/>
                  </a:lnTo>
                  <a:lnTo>
                    <a:pt x="6495" y="12841"/>
                  </a:lnTo>
                  <a:lnTo>
                    <a:pt x="6495" y="12845"/>
                  </a:lnTo>
                  <a:lnTo>
                    <a:pt x="6493" y="12849"/>
                  </a:lnTo>
                  <a:lnTo>
                    <a:pt x="6490" y="12851"/>
                  </a:lnTo>
                  <a:lnTo>
                    <a:pt x="6442" y="13138"/>
                  </a:lnTo>
                  <a:lnTo>
                    <a:pt x="6289" y="13180"/>
                  </a:lnTo>
                  <a:lnTo>
                    <a:pt x="6127" y="13229"/>
                  </a:lnTo>
                  <a:lnTo>
                    <a:pt x="6092" y="13137"/>
                  </a:lnTo>
                  <a:lnTo>
                    <a:pt x="6092" y="13002"/>
                  </a:lnTo>
                  <a:lnTo>
                    <a:pt x="5928" y="12707"/>
                  </a:lnTo>
                  <a:lnTo>
                    <a:pt x="5877" y="12675"/>
                  </a:lnTo>
                  <a:lnTo>
                    <a:pt x="5820" y="12590"/>
                  </a:lnTo>
                  <a:lnTo>
                    <a:pt x="5760" y="12346"/>
                  </a:lnTo>
                  <a:lnTo>
                    <a:pt x="5511" y="12104"/>
                  </a:lnTo>
                  <a:lnTo>
                    <a:pt x="5396" y="12043"/>
                  </a:lnTo>
                  <a:lnTo>
                    <a:pt x="5329" y="11966"/>
                  </a:lnTo>
                  <a:lnTo>
                    <a:pt x="5175" y="11749"/>
                  </a:lnTo>
                  <a:lnTo>
                    <a:pt x="5026" y="11439"/>
                  </a:lnTo>
                  <a:lnTo>
                    <a:pt x="4967" y="11398"/>
                  </a:lnTo>
                  <a:lnTo>
                    <a:pt x="4943" y="11357"/>
                  </a:lnTo>
                  <a:lnTo>
                    <a:pt x="4900" y="11197"/>
                  </a:lnTo>
                  <a:lnTo>
                    <a:pt x="4893" y="11035"/>
                  </a:lnTo>
                  <a:lnTo>
                    <a:pt x="4842" y="10911"/>
                  </a:lnTo>
                  <a:lnTo>
                    <a:pt x="4758" y="10766"/>
                  </a:lnTo>
                  <a:lnTo>
                    <a:pt x="4661" y="10672"/>
                  </a:lnTo>
                  <a:lnTo>
                    <a:pt x="4617" y="10581"/>
                  </a:lnTo>
                  <a:lnTo>
                    <a:pt x="4559" y="10532"/>
                  </a:lnTo>
                  <a:lnTo>
                    <a:pt x="4443" y="10363"/>
                  </a:lnTo>
                  <a:lnTo>
                    <a:pt x="4361" y="10288"/>
                  </a:lnTo>
                  <a:lnTo>
                    <a:pt x="4157" y="10146"/>
                  </a:lnTo>
                  <a:lnTo>
                    <a:pt x="4050" y="10087"/>
                  </a:lnTo>
                  <a:lnTo>
                    <a:pt x="4015" y="10102"/>
                  </a:lnTo>
                  <a:lnTo>
                    <a:pt x="3932" y="10071"/>
                  </a:lnTo>
                  <a:lnTo>
                    <a:pt x="3740" y="9952"/>
                  </a:lnTo>
                  <a:lnTo>
                    <a:pt x="3642" y="9870"/>
                  </a:lnTo>
                  <a:lnTo>
                    <a:pt x="3582" y="9793"/>
                  </a:lnTo>
                  <a:lnTo>
                    <a:pt x="3491" y="9608"/>
                  </a:lnTo>
                  <a:lnTo>
                    <a:pt x="3451" y="9466"/>
                  </a:lnTo>
                  <a:lnTo>
                    <a:pt x="3359" y="8893"/>
                  </a:lnTo>
                  <a:lnTo>
                    <a:pt x="3309" y="8803"/>
                  </a:lnTo>
                  <a:lnTo>
                    <a:pt x="3299" y="8728"/>
                  </a:lnTo>
                  <a:lnTo>
                    <a:pt x="3333" y="8694"/>
                  </a:lnTo>
                  <a:lnTo>
                    <a:pt x="3366" y="8593"/>
                  </a:lnTo>
                  <a:lnTo>
                    <a:pt x="3383" y="8406"/>
                  </a:lnTo>
                  <a:lnTo>
                    <a:pt x="3326" y="8203"/>
                  </a:lnTo>
                  <a:lnTo>
                    <a:pt x="3283" y="8114"/>
                  </a:lnTo>
                  <a:lnTo>
                    <a:pt x="3225" y="8044"/>
                  </a:lnTo>
                  <a:lnTo>
                    <a:pt x="3174" y="7927"/>
                  </a:lnTo>
                  <a:lnTo>
                    <a:pt x="3141" y="7785"/>
                  </a:lnTo>
                  <a:lnTo>
                    <a:pt x="3091" y="7700"/>
                  </a:lnTo>
                  <a:lnTo>
                    <a:pt x="3034" y="7550"/>
                  </a:lnTo>
                  <a:lnTo>
                    <a:pt x="2859" y="7241"/>
                  </a:lnTo>
                  <a:lnTo>
                    <a:pt x="2650" y="7038"/>
                  </a:lnTo>
                  <a:lnTo>
                    <a:pt x="2518" y="6946"/>
                  </a:lnTo>
                  <a:lnTo>
                    <a:pt x="2492" y="6909"/>
                  </a:lnTo>
                  <a:lnTo>
                    <a:pt x="2451" y="6902"/>
                  </a:lnTo>
                  <a:lnTo>
                    <a:pt x="2435" y="6861"/>
                  </a:lnTo>
                  <a:lnTo>
                    <a:pt x="2326" y="6803"/>
                  </a:lnTo>
                  <a:lnTo>
                    <a:pt x="2243" y="6803"/>
                  </a:lnTo>
                  <a:lnTo>
                    <a:pt x="2193" y="6818"/>
                  </a:lnTo>
                  <a:lnTo>
                    <a:pt x="2135" y="6791"/>
                  </a:lnTo>
                  <a:lnTo>
                    <a:pt x="2108" y="6692"/>
                  </a:lnTo>
                  <a:lnTo>
                    <a:pt x="2042" y="6580"/>
                  </a:lnTo>
                  <a:lnTo>
                    <a:pt x="1949" y="6472"/>
                  </a:lnTo>
                  <a:lnTo>
                    <a:pt x="1949" y="6336"/>
                  </a:lnTo>
                  <a:lnTo>
                    <a:pt x="1965" y="6312"/>
                  </a:lnTo>
                  <a:lnTo>
                    <a:pt x="1833" y="5901"/>
                  </a:lnTo>
                  <a:lnTo>
                    <a:pt x="1757" y="5789"/>
                  </a:lnTo>
                  <a:lnTo>
                    <a:pt x="1665" y="5616"/>
                  </a:lnTo>
                  <a:lnTo>
                    <a:pt x="1549" y="5562"/>
                  </a:lnTo>
                  <a:lnTo>
                    <a:pt x="1507" y="5504"/>
                  </a:lnTo>
                  <a:lnTo>
                    <a:pt x="1483" y="5405"/>
                  </a:lnTo>
                  <a:lnTo>
                    <a:pt x="1326" y="5202"/>
                  </a:lnTo>
                  <a:lnTo>
                    <a:pt x="1198" y="4866"/>
                  </a:lnTo>
                  <a:lnTo>
                    <a:pt x="1117" y="4757"/>
                  </a:lnTo>
                  <a:lnTo>
                    <a:pt x="1016" y="4682"/>
                  </a:lnTo>
                  <a:lnTo>
                    <a:pt x="841" y="4447"/>
                  </a:lnTo>
                  <a:lnTo>
                    <a:pt x="824" y="4372"/>
                  </a:lnTo>
                  <a:lnTo>
                    <a:pt x="724" y="4245"/>
                  </a:lnTo>
                  <a:lnTo>
                    <a:pt x="625" y="4019"/>
                  </a:lnTo>
                  <a:lnTo>
                    <a:pt x="434" y="3656"/>
                  </a:lnTo>
                  <a:lnTo>
                    <a:pt x="357" y="3599"/>
                  </a:lnTo>
                  <a:lnTo>
                    <a:pt x="242" y="3599"/>
                  </a:lnTo>
                  <a:lnTo>
                    <a:pt x="125" y="3581"/>
                  </a:lnTo>
                  <a:lnTo>
                    <a:pt x="101" y="3565"/>
                  </a:lnTo>
                  <a:lnTo>
                    <a:pt x="34" y="3581"/>
                  </a:lnTo>
                  <a:lnTo>
                    <a:pt x="0" y="3649"/>
                  </a:lnTo>
                  <a:lnTo>
                    <a:pt x="159" y="3246"/>
                  </a:lnTo>
                  <a:lnTo>
                    <a:pt x="168" y="2943"/>
                  </a:lnTo>
                  <a:lnTo>
                    <a:pt x="192" y="2825"/>
                  </a:lnTo>
                  <a:lnTo>
                    <a:pt x="249" y="2682"/>
                  </a:lnTo>
                  <a:lnTo>
                    <a:pt x="242" y="2477"/>
                  </a:lnTo>
                  <a:lnTo>
                    <a:pt x="276" y="2595"/>
                  </a:lnTo>
                  <a:lnTo>
                    <a:pt x="1117" y="2702"/>
                  </a:lnTo>
                  <a:lnTo>
                    <a:pt x="1352" y="2467"/>
                  </a:lnTo>
                  <a:lnTo>
                    <a:pt x="1366" y="2419"/>
                  </a:lnTo>
                  <a:lnTo>
                    <a:pt x="1567" y="2061"/>
                  </a:lnTo>
                  <a:lnTo>
                    <a:pt x="2145" y="1974"/>
                  </a:lnTo>
                  <a:lnTo>
                    <a:pt x="2171" y="1850"/>
                  </a:lnTo>
                  <a:lnTo>
                    <a:pt x="2255" y="1618"/>
                  </a:lnTo>
                  <a:lnTo>
                    <a:pt x="2560" y="1448"/>
                  </a:lnTo>
                  <a:lnTo>
                    <a:pt x="2569" y="1429"/>
                  </a:lnTo>
                  <a:lnTo>
                    <a:pt x="1840" y="685"/>
                  </a:lnTo>
                  <a:lnTo>
                    <a:pt x="1731" y="590"/>
                  </a:lnTo>
                  <a:lnTo>
                    <a:pt x="2281" y="464"/>
                  </a:lnTo>
                  <a:lnTo>
                    <a:pt x="3197" y="281"/>
                  </a:lnTo>
                  <a:lnTo>
                    <a:pt x="3424" y="0"/>
                  </a:lnTo>
                  <a:lnTo>
                    <a:pt x="4576" y="321"/>
                  </a:lnTo>
                  <a:lnTo>
                    <a:pt x="5434" y="970"/>
                  </a:lnTo>
                  <a:lnTo>
                    <a:pt x="6203" y="1265"/>
                  </a:lnTo>
                  <a:lnTo>
                    <a:pt x="6284" y="1324"/>
                  </a:lnTo>
                  <a:lnTo>
                    <a:pt x="6395" y="1591"/>
                  </a:lnTo>
                  <a:lnTo>
                    <a:pt x="6793" y="1625"/>
                  </a:lnTo>
                  <a:lnTo>
                    <a:pt x="6826" y="1659"/>
                  </a:lnTo>
                  <a:lnTo>
                    <a:pt x="6826" y="2203"/>
                  </a:lnTo>
                  <a:lnTo>
                    <a:pt x="6859" y="2247"/>
                  </a:lnTo>
                  <a:lnTo>
                    <a:pt x="7719" y="2641"/>
                  </a:lnTo>
                  <a:lnTo>
                    <a:pt x="9071" y="272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40" name="Freeform 142">
              <a:extLst>
                <a:ext uri="{FF2B5EF4-FFF2-40B4-BE49-F238E27FC236}">
                  <a16:creationId xmlns:a16="http://schemas.microsoft.com/office/drawing/2014/main" id="{124B1271-3473-13FF-B221-3FB07E74E9D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020771" y="3741978"/>
              <a:ext cx="304438" cy="205770"/>
            </a:xfrm>
            <a:custGeom>
              <a:avLst/>
              <a:gdLst>
                <a:gd name="T0" fmla="*/ 0 w 15675"/>
                <a:gd name="T1" fmla="*/ 0 h 9942"/>
                <a:gd name="T2" fmla="*/ 0 w 15675"/>
                <a:gd name="T3" fmla="*/ 0 h 9942"/>
                <a:gd name="T4" fmla="*/ 0 w 15675"/>
                <a:gd name="T5" fmla="*/ 0 h 9942"/>
                <a:gd name="T6" fmla="*/ 0 w 15675"/>
                <a:gd name="T7" fmla="*/ 0 h 9942"/>
                <a:gd name="T8" fmla="*/ 0 w 15675"/>
                <a:gd name="T9" fmla="*/ 0 h 9942"/>
                <a:gd name="T10" fmla="*/ 0 w 15675"/>
                <a:gd name="T11" fmla="*/ 0 h 9942"/>
                <a:gd name="T12" fmla="*/ 0 w 15675"/>
                <a:gd name="T13" fmla="*/ 0 h 9942"/>
                <a:gd name="T14" fmla="*/ 0 w 15675"/>
                <a:gd name="T15" fmla="*/ 0 h 9942"/>
                <a:gd name="T16" fmla="*/ 0 w 15675"/>
                <a:gd name="T17" fmla="*/ 0 h 9942"/>
                <a:gd name="T18" fmla="*/ 0 w 15675"/>
                <a:gd name="T19" fmla="*/ 0 h 9942"/>
                <a:gd name="T20" fmla="*/ 0 w 15675"/>
                <a:gd name="T21" fmla="*/ 0 h 9942"/>
                <a:gd name="T22" fmla="*/ 0 w 15675"/>
                <a:gd name="T23" fmla="*/ 0 h 9942"/>
                <a:gd name="T24" fmla="*/ 0 w 15675"/>
                <a:gd name="T25" fmla="*/ 0 h 9942"/>
                <a:gd name="T26" fmla="*/ 0 w 15675"/>
                <a:gd name="T27" fmla="*/ 0 h 9942"/>
                <a:gd name="T28" fmla="*/ 0 w 15675"/>
                <a:gd name="T29" fmla="*/ 0 h 9942"/>
                <a:gd name="T30" fmla="*/ 0 w 15675"/>
                <a:gd name="T31" fmla="*/ 0 h 9942"/>
                <a:gd name="T32" fmla="*/ 0 w 15675"/>
                <a:gd name="T33" fmla="*/ 0 h 9942"/>
                <a:gd name="T34" fmla="*/ 0 w 15675"/>
                <a:gd name="T35" fmla="*/ 0 h 9942"/>
                <a:gd name="T36" fmla="*/ 0 w 15675"/>
                <a:gd name="T37" fmla="*/ 0 h 9942"/>
                <a:gd name="T38" fmla="*/ 0 w 15675"/>
                <a:gd name="T39" fmla="*/ 0 h 9942"/>
                <a:gd name="T40" fmla="*/ 0 w 15675"/>
                <a:gd name="T41" fmla="*/ 0 h 9942"/>
                <a:gd name="T42" fmla="*/ 0 w 15675"/>
                <a:gd name="T43" fmla="*/ 0 h 9942"/>
                <a:gd name="T44" fmla="*/ 0 w 15675"/>
                <a:gd name="T45" fmla="*/ 0 h 9942"/>
                <a:gd name="T46" fmla="*/ 0 w 15675"/>
                <a:gd name="T47" fmla="*/ 0 h 9942"/>
                <a:gd name="T48" fmla="*/ 0 w 15675"/>
                <a:gd name="T49" fmla="*/ 0 h 9942"/>
                <a:gd name="T50" fmla="*/ 0 w 15675"/>
                <a:gd name="T51" fmla="*/ 0 h 9942"/>
                <a:gd name="T52" fmla="*/ 0 w 15675"/>
                <a:gd name="T53" fmla="*/ 0 h 9942"/>
                <a:gd name="T54" fmla="*/ 0 w 15675"/>
                <a:gd name="T55" fmla="*/ 0 h 9942"/>
                <a:gd name="T56" fmla="*/ 0 w 15675"/>
                <a:gd name="T57" fmla="*/ 0 h 9942"/>
                <a:gd name="T58" fmla="*/ 0 w 15675"/>
                <a:gd name="T59" fmla="*/ 0 h 9942"/>
                <a:gd name="T60" fmla="*/ 0 w 15675"/>
                <a:gd name="T61" fmla="*/ 0 h 9942"/>
                <a:gd name="T62" fmla="*/ 0 w 15675"/>
                <a:gd name="T63" fmla="*/ 0 h 9942"/>
                <a:gd name="T64" fmla="*/ 0 w 15675"/>
                <a:gd name="T65" fmla="*/ 0 h 9942"/>
                <a:gd name="T66" fmla="*/ 0 w 15675"/>
                <a:gd name="T67" fmla="*/ 0 h 9942"/>
                <a:gd name="T68" fmla="*/ 0 w 15675"/>
                <a:gd name="T69" fmla="*/ 0 h 9942"/>
                <a:gd name="T70" fmla="*/ 0 w 15675"/>
                <a:gd name="T71" fmla="*/ 0 h 9942"/>
                <a:gd name="T72" fmla="*/ 0 w 15675"/>
                <a:gd name="T73" fmla="*/ 0 h 9942"/>
                <a:gd name="T74" fmla="*/ 0 w 15675"/>
                <a:gd name="T75" fmla="*/ 0 h 9942"/>
                <a:gd name="T76" fmla="*/ 0 w 15675"/>
                <a:gd name="T77" fmla="*/ 0 h 9942"/>
                <a:gd name="T78" fmla="*/ 0 w 15675"/>
                <a:gd name="T79" fmla="*/ 0 h 9942"/>
                <a:gd name="T80" fmla="*/ 0 w 15675"/>
                <a:gd name="T81" fmla="*/ 0 h 9942"/>
                <a:gd name="T82" fmla="*/ 0 w 15675"/>
                <a:gd name="T83" fmla="*/ 0 h 9942"/>
                <a:gd name="T84" fmla="*/ 0 w 15675"/>
                <a:gd name="T85" fmla="*/ 0 h 9942"/>
                <a:gd name="T86" fmla="*/ 0 w 15675"/>
                <a:gd name="T87" fmla="*/ 0 h 9942"/>
                <a:gd name="T88" fmla="*/ 0 w 15675"/>
                <a:gd name="T89" fmla="*/ 0 h 9942"/>
                <a:gd name="T90" fmla="*/ 0 w 15675"/>
                <a:gd name="T91" fmla="*/ 0 h 9942"/>
                <a:gd name="T92" fmla="*/ 0 w 15675"/>
                <a:gd name="T93" fmla="*/ 0 h 9942"/>
                <a:gd name="T94" fmla="*/ 0 w 15675"/>
                <a:gd name="T95" fmla="*/ 0 h 9942"/>
                <a:gd name="T96" fmla="*/ 0 w 15675"/>
                <a:gd name="T97" fmla="*/ 0 h 9942"/>
                <a:gd name="T98" fmla="*/ 0 w 15675"/>
                <a:gd name="T99" fmla="*/ 0 h 9942"/>
                <a:gd name="T100" fmla="*/ 0 w 15675"/>
                <a:gd name="T101" fmla="*/ 0 h 9942"/>
                <a:gd name="T102" fmla="*/ 0 w 15675"/>
                <a:gd name="T103" fmla="*/ 0 h 9942"/>
                <a:gd name="T104" fmla="*/ 0 w 15675"/>
                <a:gd name="T105" fmla="*/ 0 h 9942"/>
                <a:gd name="T106" fmla="*/ 0 w 15675"/>
                <a:gd name="T107" fmla="*/ 0 h 9942"/>
                <a:gd name="T108" fmla="*/ 0 w 15675"/>
                <a:gd name="T109" fmla="*/ 0 h 994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5675"/>
                <a:gd name="T166" fmla="*/ 0 h 9942"/>
                <a:gd name="T167" fmla="*/ 15675 w 15675"/>
                <a:gd name="T168" fmla="*/ 9942 h 994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5675" h="9942">
                  <a:moveTo>
                    <a:pt x="15675" y="3780"/>
                  </a:moveTo>
                  <a:lnTo>
                    <a:pt x="15169" y="3985"/>
                  </a:lnTo>
                  <a:lnTo>
                    <a:pt x="14868" y="4199"/>
                  </a:lnTo>
                  <a:lnTo>
                    <a:pt x="14648" y="4443"/>
                  </a:lnTo>
                  <a:lnTo>
                    <a:pt x="14447" y="4864"/>
                  </a:lnTo>
                  <a:lnTo>
                    <a:pt x="14514" y="5031"/>
                  </a:lnTo>
                  <a:lnTo>
                    <a:pt x="14543" y="5260"/>
                  </a:lnTo>
                  <a:lnTo>
                    <a:pt x="14538" y="5308"/>
                  </a:lnTo>
                  <a:lnTo>
                    <a:pt x="14466" y="5374"/>
                  </a:lnTo>
                  <a:lnTo>
                    <a:pt x="14385" y="5418"/>
                  </a:lnTo>
                  <a:lnTo>
                    <a:pt x="14190" y="5385"/>
                  </a:lnTo>
                  <a:lnTo>
                    <a:pt x="14027" y="5466"/>
                  </a:lnTo>
                  <a:lnTo>
                    <a:pt x="13627" y="5576"/>
                  </a:lnTo>
                  <a:lnTo>
                    <a:pt x="13364" y="5843"/>
                  </a:lnTo>
                  <a:lnTo>
                    <a:pt x="13073" y="5967"/>
                  </a:lnTo>
                  <a:lnTo>
                    <a:pt x="12652" y="6020"/>
                  </a:lnTo>
                  <a:lnTo>
                    <a:pt x="12404" y="6082"/>
                  </a:lnTo>
                  <a:lnTo>
                    <a:pt x="12036" y="6264"/>
                  </a:lnTo>
                  <a:lnTo>
                    <a:pt x="11764" y="6336"/>
                  </a:lnTo>
                  <a:lnTo>
                    <a:pt x="11211" y="6574"/>
                  </a:lnTo>
                  <a:lnTo>
                    <a:pt x="10929" y="6593"/>
                  </a:lnTo>
                  <a:lnTo>
                    <a:pt x="10470" y="6679"/>
                  </a:lnTo>
                  <a:lnTo>
                    <a:pt x="9988" y="6908"/>
                  </a:lnTo>
                  <a:lnTo>
                    <a:pt x="9740" y="7051"/>
                  </a:lnTo>
                  <a:lnTo>
                    <a:pt x="9645" y="7262"/>
                  </a:lnTo>
                  <a:lnTo>
                    <a:pt x="9521" y="7448"/>
                  </a:lnTo>
                  <a:lnTo>
                    <a:pt x="9205" y="7739"/>
                  </a:lnTo>
                  <a:lnTo>
                    <a:pt x="9072" y="7825"/>
                  </a:lnTo>
                  <a:lnTo>
                    <a:pt x="9020" y="7897"/>
                  </a:lnTo>
                  <a:lnTo>
                    <a:pt x="8905" y="7936"/>
                  </a:lnTo>
                  <a:lnTo>
                    <a:pt x="8198" y="7906"/>
                  </a:lnTo>
                  <a:lnTo>
                    <a:pt x="7845" y="7951"/>
                  </a:lnTo>
                  <a:lnTo>
                    <a:pt x="7539" y="8146"/>
                  </a:lnTo>
                  <a:lnTo>
                    <a:pt x="7391" y="8347"/>
                  </a:lnTo>
                  <a:lnTo>
                    <a:pt x="6962" y="8585"/>
                  </a:lnTo>
                  <a:lnTo>
                    <a:pt x="6784" y="8623"/>
                  </a:lnTo>
                  <a:lnTo>
                    <a:pt x="6259" y="8776"/>
                  </a:lnTo>
                  <a:lnTo>
                    <a:pt x="5978" y="8801"/>
                  </a:lnTo>
                  <a:lnTo>
                    <a:pt x="5672" y="8733"/>
                  </a:lnTo>
                  <a:lnTo>
                    <a:pt x="5353" y="8786"/>
                  </a:lnTo>
                  <a:lnTo>
                    <a:pt x="5109" y="8762"/>
                  </a:lnTo>
                  <a:lnTo>
                    <a:pt x="4779" y="8801"/>
                  </a:lnTo>
                  <a:lnTo>
                    <a:pt x="4497" y="8977"/>
                  </a:lnTo>
                  <a:lnTo>
                    <a:pt x="4292" y="9321"/>
                  </a:lnTo>
                  <a:lnTo>
                    <a:pt x="3686" y="9598"/>
                  </a:lnTo>
                  <a:lnTo>
                    <a:pt x="3405" y="9771"/>
                  </a:lnTo>
                  <a:lnTo>
                    <a:pt x="2769" y="9785"/>
                  </a:lnTo>
                  <a:lnTo>
                    <a:pt x="2368" y="9909"/>
                  </a:lnTo>
                  <a:lnTo>
                    <a:pt x="2149" y="9890"/>
                  </a:lnTo>
                  <a:lnTo>
                    <a:pt x="1934" y="9942"/>
                  </a:lnTo>
                  <a:lnTo>
                    <a:pt x="1652" y="9818"/>
                  </a:lnTo>
                  <a:lnTo>
                    <a:pt x="1309" y="9832"/>
                  </a:lnTo>
                  <a:lnTo>
                    <a:pt x="1180" y="9435"/>
                  </a:lnTo>
                  <a:lnTo>
                    <a:pt x="898" y="9087"/>
                  </a:lnTo>
                  <a:lnTo>
                    <a:pt x="898" y="8356"/>
                  </a:lnTo>
                  <a:lnTo>
                    <a:pt x="865" y="8108"/>
                  </a:lnTo>
                  <a:lnTo>
                    <a:pt x="716" y="7955"/>
                  </a:lnTo>
                  <a:lnTo>
                    <a:pt x="635" y="7758"/>
                  </a:lnTo>
                  <a:lnTo>
                    <a:pt x="535" y="7310"/>
                  </a:lnTo>
                  <a:lnTo>
                    <a:pt x="482" y="6794"/>
                  </a:lnTo>
                  <a:lnTo>
                    <a:pt x="401" y="6584"/>
                  </a:lnTo>
                  <a:lnTo>
                    <a:pt x="320" y="6450"/>
                  </a:lnTo>
                  <a:lnTo>
                    <a:pt x="320" y="6215"/>
                  </a:lnTo>
                  <a:lnTo>
                    <a:pt x="86" y="5886"/>
                  </a:lnTo>
                  <a:lnTo>
                    <a:pt x="0" y="5814"/>
                  </a:lnTo>
                  <a:lnTo>
                    <a:pt x="67" y="5752"/>
                  </a:lnTo>
                  <a:lnTo>
                    <a:pt x="134" y="5767"/>
                  </a:lnTo>
                  <a:lnTo>
                    <a:pt x="134" y="5666"/>
                  </a:lnTo>
                  <a:lnTo>
                    <a:pt x="86" y="5552"/>
                  </a:lnTo>
                  <a:lnTo>
                    <a:pt x="86" y="5303"/>
                  </a:lnTo>
                  <a:lnTo>
                    <a:pt x="34" y="5155"/>
                  </a:lnTo>
                  <a:lnTo>
                    <a:pt x="201" y="5007"/>
                  </a:lnTo>
                  <a:lnTo>
                    <a:pt x="234" y="4888"/>
                  </a:lnTo>
                  <a:lnTo>
                    <a:pt x="201" y="4438"/>
                  </a:lnTo>
                  <a:lnTo>
                    <a:pt x="153" y="4142"/>
                  </a:lnTo>
                  <a:lnTo>
                    <a:pt x="101" y="4075"/>
                  </a:lnTo>
                  <a:lnTo>
                    <a:pt x="710" y="3760"/>
                  </a:lnTo>
                  <a:lnTo>
                    <a:pt x="850" y="3308"/>
                  </a:lnTo>
                  <a:lnTo>
                    <a:pt x="853" y="3295"/>
                  </a:lnTo>
                  <a:lnTo>
                    <a:pt x="854" y="3283"/>
                  </a:lnTo>
                  <a:lnTo>
                    <a:pt x="854" y="3271"/>
                  </a:lnTo>
                  <a:lnTo>
                    <a:pt x="853" y="3258"/>
                  </a:lnTo>
                  <a:lnTo>
                    <a:pt x="850" y="3246"/>
                  </a:lnTo>
                  <a:lnTo>
                    <a:pt x="847" y="3234"/>
                  </a:lnTo>
                  <a:lnTo>
                    <a:pt x="843" y="3222"/>
                  </a:lnTo>
                  <a:lnTo>
                    <a:pt x="838" y="3209"/>
                  </a:lnTo>
                  <a:lnTo>
                    <a:pt x="825" y="3184"/>
                  </a:lnTo>
                  <a:lnTo>
                    <a:pt x="809" y="3159"/>
                  </a:lnTo>
                  <a:lnTo>
                    <a:pt x="793" y="3135"/>
                  </a:lnTo>
                  <a:lnTo>
                    <a:pt x="777" y="3110"/>
                  </a:lnTo>
                  <a:lnTo>
                    <a:pt x="761" y="3086"/>
                  </a:lnTo>
                  <a:lnTo>
                    <a:pt x="747" y="3061"/>
                  </a:lnTo>
                  <a:lnTo>
                    <a:pt x="741" y="3050"/>
                  </a:lnTo>
                  <a:lnTo>
                    <a:pt x="736" y="3038"/>
                  </a:lnTo>
                  <a:lnTo>
                    <a:pt x="731" y="3026"/>
                  </a:lnTo>
                  <a:lnTo>
                    <a:pt x="727" y="3014"/>
                  </a:lnTo>
                  <a:lnTo>
                    <a:pt x="724" y="3002"/>
                  </a:lnTo>
                  <a:lnTo>
                    <a:pt x="722" y="2991"/>
                  </a:lnTo>
                  <a:lnTo>
                    <a:pt x="722" y="2979"/>
                  </a:lnTo>
                  <a:lnTo>
                    <a:pt x="723" y="2967"/>
                  </a:lnTo>
                  <a:lnTo>
                    <a:pt x="725" y="2956"/>
                  </a:lnTo>
                  <a:lnTo>
                    <a:pt x="730" y="2945"/>
                  </a:lnTo>
                  <a:lnTo>
                    <a:pt x="735" y="2934"/>
                  </a:lnTo>
                  <a:lnTo>
                    <a:pt x="743" y="2922"/>
                  </a:lnTo>
                  <a:lnTo>
                    <a:pt x="1266" y="2241"/>
                  </a:lnTo>
                  <a:lnTo>
                    <a:pt x="1614" y="2657"/>
                  </a:lnTo>
                  <a:lnTo>
                    <a:pt x="2120" y="2602"/>
                  </a:lnTo>
                  <a:lnTo>
                    <a:pt x="3858" y="2689"/>
                  </a:lnTo>
                  <a:lnTo>
                    <a:pt x="4187" y="2967"/>
                  </a:lnTo>
                  <a:lnTo>
                    <a:pt x="6020" y="3083"/>
                  </a:lnTo>
                  <a:lnTo>
                    <a:pt x="6615" y="3737"/>
                  </a:lnTo>
                  <a:lnTo>
                    <a:pt x="6648" y="3723"/>
                  </a:lnTo>
                  <a:lnTo>
                    <a:pt x="6683" y="3710"/>
                  </a:lnTo>
                  <a:lnTo>
                    <a:pt x="6718" y="3700"/>
                  </a:lnTo>
                  <a:lnTo>
                    <a:pt x="6754" y="3690"/>
                  </a:lnTo>
                  <a:lnTo>
                    <a:pt x="6825" y="3671"/>
                  </a:lnTo>
                  <a:lnTo>
                    <a:pt x="6894" y="3652"/>
                  </a:lnTo>
                  <a:lnTo>
                    <a:pt x="6910" y="3648"/>
                  </a:lnTo>
                  <a:lnTo>
                    <a:pt x="6927" y="3642"/>
                  </a:lnTo>
                  <a:lnTo>
                    <a:pt x="6943" y="3637"/>
                  </a:lnTo>
                  <a:lnTo>
                    <a:pt x="6959" y="3630"/>
                  </a:lnTo>
                  <a:lnTo>
                    <a:pt x="6974" y="3624"/>
                  </a:lnTo>
                  <a:lnTo>
                    <a:pt x="6990" y="3616"/>
                  </a:lnTo>
                  <a:lnTo>
                    <a:pt x="7005" y="3609"/>
                  </a:lnTo>
                  <a:lnTo>
                    <a:pt x="7019" y="3600"/>
                  </a:lnTo>
                  <a:lnTo>
                    <a:pt x="7033" y="3591"/>
                  </a:lnTo>
                  <a:lnTo>
                    <a:pt x="7047" y="3582"/>
                  </a:lnTo>
                  <a:lnTo>
                    <a:pt x="7059" y="3571"/>
                  </a:lnTo>
                  <a:lnTo>
                    <a:pt x="7072" y="3559"/>
                  </a:lnTo>
                  <a:lnTo>
                    <a:pt x="7084" y="3547"/>
                  </a:lnTo>
                  <a:lnTo>
                    <a:pt x="7095" y="3534"/>
                  </a:lnTo>
                  <a:lnTo>
                    <a:pt x="7105" y="3519"/>
                  </a:lnTo>
                  <a:lnTo>
                    <a:pt x="7116" y="3504"/>
                  </a:lnTo>
                  <a:lnTo>
                    <a:pt x="8300" y="1543"/>
                  </a:lnTo>
                  <a:lnTo>
                    <a:pt x="9312" y="1068"/>
                  </a:lnTo>
                  <a:lnTo>
                    <a:pt x="9929" y="654"/>
                  </a:lnTo>
                  <a:lnTo>
                    <a:pt x="9962" y="638"/>
                  </a:lnTo>
                  <a:lnTo>
                    <a:pt x="10014" y="620"/>
                  </a:lnTo>
                  <a:lnTo>
                    <a:pt x="10082" y="602"/>
                  </a:lnTo>
                  <a:lnTo>
                    <a:pt x="10166" y="583"/>
                  </a:lnTo>
                  <a:lnTo>
                    <a:pt x="10264" y="564"/>
                  </a:lnTo>
                  <a:lnTo>
                    <a:pt x="10375" y="544"/>
                  </a:lnTo>
                  <a:lnTo>
                    <a:pt x="10498" y="524"/>
                  </a:lnTo>
                  <a:lnTo>
                    <a:pt x="10633" y="503"/>
                  </a:lnTo>
                  <a:lnTo>
                    <a:pt x="10777" y="483"/>
                  </a:lnTo>
                  <a:lnTo>
                    <a:pt x="10930" y="461"/>
                  </a:lnTo>
                  <a:lnTo>
                    <a:pt x="11090" y="440"/>
                  </a:lnTo>
                  <a:lnTo>
                    <a:pt x="11257" y="417"/>
                  </a:lnTo>
                  <a:lnTo>
                    <a:pt x="11603" y="373"/>
                  </a:lnTo>
                  <a:lnTo>
                    <a:pt x="11961" y="328"/>
                  </a:lnTo>
                  <a:lnTo>
                    <a:pt x="12321" y="284"/>
                  </a:lnTo>
                  <a:lnTo>
                    <a:pt x="12673" y="238"/>
                  </a:lnTo>
                  <a:lnTo>
                    <a:pt x="12844" y="217"/>
                  </a:lnTo>
                  <a:lnTo>
                    <a:pt x="13010" y="195"/>
                  </a:lnTo>
                  <a:lnTo>
                    <a:pt x="13168" y="174"/>
                  </a:lnTo>
                  <a:lnTo>
                    <a:pt x="13320" y="152"/>
                  </a:lnTo>
                  <a:lnTo>
                    <a:pt x="13462" y="131"/>
                  </a:lnTo>
                  <a:lnTo>
                    <a:pt x="13595" y="111"/>
                  </a:lnTo>
                  <a:lnTo>
                    <a:pt x="13716" y="91"/>
                  </a:lnTo>
                  <a:lnTo>
                    <a:pt x="13826" y="72"/>
                  </a:lnTo>
                  <a:lnTo>
                    <a:pt x="13921" y="53"/>
                  </a:lnTo>
                  <a:lnTo>
                    <a:pt x="14003" y="35"/>
                  </a:lnTo>
                  <a:lnTo>
                    <a:pt x="14069" y="17"/>
                  </a:lnTo>
                  <a:lnTo>
                    <a:pt x="14118" y="0"/>
                  </a:lnTo>
                  <a:lnTo>
                    <a:pt x="15675" y="378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41" name="Freeform 143">
              <a:extLst>
                <a:ext uri="{FF2B5EF4-FFF2-40B4-BE49-F238E27FC236}">
                  <a16:creationId xmlns:a16="http://schemas.microsoft.com/office/drawing/2014/main" id="{B941064E-82BB-1F13-9013-30AB2F0FFEC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341624" y="3565169"/>
              <a:ext cx="7462" cy="4573"/>
            </a:xfrm>
            <a:custGeom>
              <a:avLst/>
              <a:gdLst>
                <a:gd name="T0" fmla="*/ 0 w 16"/>
                <a:gd name="T1" fmla="*/ 0 h 9"/>
                <a:gd name="T2" fmla="*/ 0 w 16"/>
                <a:gd name="T3" fmla="*/ 0 h 9"/>
                <a:gd name="T4" fmla="*/ 0 w 16"/>
                <a:gd name="T5" fmla="*/ 0 h 9"/>
                <a:gd name="T6" fmla="*/ 0 w 16"/>
                <a:gd name="T7" fmla="*/ 0 h 9"/>
                <a:gd name="T8" fmla="*/ 0 w 16"/>
                <a:gd name="T9" fmla="*/ 0 h 9"/>
                <a:gd name="T10" fmla="*/ 0 w 16"/>
                <a:gd name="T11" fmla="*/ 0 h 9"/>
                <a:gd name="T12" fmla="*/ 0 w 16"/>
                <a:gd name="T13" fmla="*/ 0 h 9"/>
                <a:gd name="T14" fmla="*/ 0 w 16"/>
                <a:gd name="T15" fmla="*/ 0 h 9"/>
                <a:gd name="T16" fmla="*/ 0 w 16"/>
                <a:gd name="T17" fmla="*/ 0 h 9"/>
                <a:gd name="T18" fmla="*/ 0 w 16"/>
                <a:gd name="T19" fmla="*/ 0 h 9"/>
                <a:gd name="T20" fmla="*/ 0 w 16"/>
                <a:gd name="T21" fmla="*/ 0 h 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6"/>
                <a:gd name="T34" fmla="*/ 0 h 9"/>
                <a:gd name="T35" fmla="*/ 16 w 16"/>
                <a:gd name="T36" fmla="*/ 9 h 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6" h="9">
                  <a:moveTo>
                    <a:pt x="0" y="8"/>
                  </a:moveTo>
                  <a:lnTo>
                    <a:pt x="7" y="9"/>
                  </a:lnTo>
                  <a:lnTo>
                    <a:pt x="10" y="6"/>
                  </a:lnTo>
                  <a:lnTo>
                    <a:pt x="12" y="9"/>
                  </a:lnTo>
                  <a:lnTo>
                    <a:pt x="16" y="5"/>
                  </a:lnTo>
                  <a:lnTo>
                    <a:pt x="14" y="4"/>
                  </a:lnTo>
                  <a:lnTo>
                    <a:pt x="11" y="4"/>
                  </a:lnTo>
                  <a:lnTo>
                    <a:pt x="10" y="1"/>
                  </a:lnTo>
                  <a:lnTo>
                    <a:pt x="7" y="0"/>
                  </a:lnTo>
                  <a:lnTo>
                    <a:pt x="3" y="1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42" name="Freeform 145">
              <a:extLst>
                <a:ext uri="{FF2B5EF4-FFF2-40B4-BE49-F238E27FC236}">
                  <a16:creationId xmlns:a16="http://schemas.microsoft.com/office/drawing/2014/main" id="{DDA3AAC7-4902-5588-4F4E-B5313D3C977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411764" y="3495055"/>
              <a:ext cx="10446" cy="22864"/>
            </a:xfrm>
            <a:custGeom>
              <a:avLst/>
              <a:gdLst>
                <a:gd name="T0" fmla="*/ 0 w 19"/>
                <a:gd name="T1" fmla="*/ 0 h 40"/>
                <a:gd name="T2" fmla="*/ 0 w 19"/>
                <a:gd name="T3" fmla="*/ 0 h 40"/>
                <a:gd name="T4" fmla="*/ 0 w 19"/>
                <a:gd name="T5" fmla="*/ 0 h 40"/>
                <a:gd name="T6" fmla="*/ 0 w 19"/>
                <a:gd name="T7" fmla="*/ 0 h 40"/>
                <a:gd name="T8" fmla="*/ 0 w 19"/>
                <a:gd name="T9" fmla="*/ 0 h 40"/>
                <a:gd name="T10" fmla="*/ 0 w 19"/>
                <a:gd name="T11" fmla="*/ 0 h 40"/>
                <a:gd name="T12" fmla="*/ 0 w 19"/>
                <a:gd name="T13" fmla="*/ 0 h 40"/>
                <a:gd name="T14" fmla="*/ 0 w 19"/>
                <a:gd name="T15" fmla="*/ 0 h 40"/>
                <a:gd name="T16" fmla="*/ 0 w 19"/>
                <a:gd name="T17" fmla="*/ 0 h 40"/>
                <a:gd name="T18" fmla="*/ 0 w 19"/>
                <a:gd name="T19" fmla="*/ 0 h 40"/>
                <a:gd name="T20" fmla="*/ 0 w 19"/>
                <a:gd name="T21" fmla="*/ 0 h 40"/>
                <a:gd name="T22" fmla="*/ 0 w 19"/>
                <a:gd name="T23" fmla="*/ 0 h 40"/>
                <a:gd name="T24" fmla="*/ 0 w 19"/>
                <a:gd name="T25" fmla="*/ 0 h 40"/>
                <a:gd name="T26" fmla="*/ 0 w 19"/>
                <a:gd name="T27" fmla="*/ 0 h 40"/>
                <a:gd name="T28" fmla="*/ 0 w 19"/>
                <a:gd name="T29" fmla="*/ 0 h 40"/>
                <a:gd name="T30" fmla="*/ 0 w 19"/>
                <a:gd name="T31" fmla="*/ 0 h 40"/>
                <a:gd name="T32" fmla="*/ 0 w 19"/>
                <a:gd name="T33" fmla="*/ 0 h 40"/>
                <a:gd name="T34" fmla="*/ 0 w 19"/>
                <a:gd name="T35" fmla="*/ 0 h 40"/>
                <a:gd name="T36" fmla="*/ 0 w 19"/>
                <a:gd name="T37" fmla="*/ 0 h 4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9"/>
                <a:gd name="T58" fmla="*/ 0 h 40"/>
                <a:gd name="T59" fmla="*/ 19 w 19"/>
                <a:gd name="T60" fmla="*/ 40 h 4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9" h="40">
                  <a:moveTo>
                    <a:pt x="0" y="15"/>
                  </a:moveTo>
                  <a:lnTo>
                    <a:pt x="1" y="19"/>
                  </a:lnTo>
                  <a:lnTo>
                    <a:pt x="3" y="25"/>
                  </a:lnTo>
                  <a:lnTo>
                    <a:pt x="2" y="27"/>
                  </a:lnTo>
                  <a:lnTo>
                    <a:pt x="3" y="31"/>
                  </a:lnTo>
                  <a:lnTo>
                    <a:pt x="1" y="36"/>
                  </a:lnTo>
                  <a:lnTo>
                    <a:pt x="3" y="37"/>
                  </a:lnTo>
                  <a:lnTo>
                    <a:pt x="11" y="40"/>
                  </a:lnTo>
                  <a:lnTo>
                    <a:pt x="12" y="36"/>
                  </a:lnTo>
                  <a:lnTo>
                    <a:pt x="17" y="27"/>
                  </a:lnTo>
                  <a:lnTo>
                    <a:pt x="17" y="18"/>
                  </a:lnTo>
                  <a:lnTo>
                    <a:pt x="15" y="15"/>
                  </a:lnTo>
                  <a:lnTo>
                    <a:pt x="15" y="11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15" y="0"/>
                  </a:lnTo>
                  <a:lnTo>
                    <a:pt x="9" y="4"/>
                  </a:lnTo>
                  <a:lnTo>
                    <a:pt x="7" y="4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43" name="Freeform 146">
              <a:extLst>
                <a:ext uri="{FF2B5EF4-FFF2-40B4-BE49-F238E27FC236}">
                  <a16:creationId xmlns:a16="http://schemas.microsoft.com/office/drawing/2014/main" id="{4FAB22F7-BAFC-FA24-BF5D-CA9F9714DC0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293869" y="3545355"/>
              <a:ext cx="225344" cy="272835"/>
            </a:xfrm>
            <a:custGeom>
              <a:avLst/>
              <a:gdLst>
                <a:gd name="T0" fmla="*/ 0 w 427"/>
                <a:gd name="T1" fmla="*/ 0 h 482"/>
                <a:gd name="T2" fmla="*/ 0 w 427"/>
                <a:gd name="T3" fmla="*/ 0 h 482"/>
                <a:gd name="T4" fmla="*/ 0 w 427"/>
                <a:gd name="T5" fmla="*/ 0 h 482"/>
                <a:gd name="T6" fmla="*/ 0 w 427"/>
                <a:gd name="T7" fmla="*/ 2147483647 h 482"/>
                <a:gd name="T8" fmla="*/ 0 w 427"/>
                <a:gd name="T9" fmla="*/ 2147483647 h 482"/>
                <a:gd name="T10" fmla="*/ 0 w 427"/>
                <a:gd name="T11" fmla="*/ 2147483647 h 482"/>
                <a:gd name="T12" fmla="*/ 0 w 427"/>
                <a:gd name="T13" fmla="*/ 2147483647 h 482"/>
                <a:gd name="T14" fmla="*/ 0 w 427"/>
                <a:gd name="T15" fmla="*/ 2147483647 h 482"/>
                <a:gd name="T16" fmla="*/ 0 w 427"/>
                <a:gd name="T17" fmla="*/ 2147483647 h 482"/>
                <a:gd name="T18" fmla="*/ 0 w 427"/>
                <a:gd name="T19" fmla="*/ 2147483647 h 482"/>
                <a:gd name="T20" fmla="*/ 0 w 427"/>
                <a:gd name="T21" fmla="*/ 2147483647 h 482"/>
                <a:gd name="T22" fmla="*/ 0 w 427"/>
                <a:gd name="T23" fmla="*/ 2147483647 h 482"/>
                <a:gd name="T24" fmla="*/ 0 w 427"/>
                <a:gd name="T25" fmla="*/ 2147483647 h 482"/>
                <a:gd name="T26" fmla="*/ 0 w 427"/>
                <a:gd name="T27" fmla="*/ 2147483647 h 482"/>
                <a:gd name="T28" fmla="*/ 0 w 427"/>
                <a:gd name="T29" fmla="*/ 2147483647 h 482"/>
                <a:gd name="T30" fmla="*/ 0 w 427"/>
                <a:gd name="T31" fmla="*/ 2147483647 h 482"/>
                <a:gd name="T32" fmla="*/ 0 w 427"/>
                <a:gd name="T33" fmla="*/ 2147483647 h 482"/>
                <a:gd name="T34" fmla="*/ 0 w 427"/>
                <a:gd name="T35" fmla="*/ 2147483647 h 482"/>
                <a:gd name="T36" fmla="*/ 0 w 427"/>
                <a:gd name="T37" fmla="*/ 2147483647 h 482"/>
                <a:gd name="T38" fmla="*/ 2147483647 w 427"/>
                <a:gd name="T39" fmla="*/ 2147483647 h 482"/>
                <a:gd name="T40" fmla="*/ 2147483647 w 427"/>
                <a:gd name="T41" fmla="*/ 2147483647 h 482"/>
                <a:gd name="T42" fmla="*/ 0 w 427"/>
                <a:gd name="T43" fmla="*/ 0 h 482"/>
                <a:gd name="T44" fmla="*/ 2147483647 w 427"/>
                <a:gd name="T45" fmla="*/ 0 h 482"/>
                <a:gd name="T46" fmla="*/ 2147483647 w 427"/>
                <a:gd name="T47" fmla="*/ 0 h 482"/>
                <a:gd name="T48" fmla="*/ 2147483647 w 427"/>
                <a:gd name="T49" fmla="*/ 0 h 482"/>
                <a:gd name="T50" fmla="*/ 2147483647 w 427"/>
                <a:gd name="T51" fmla="*/ 0 h 482"/>
                <a:gd name="T52" fmla="*/ 2147483647 w 427"/>
                <a:gd name="T53" fmla="*/ 0 h 482"/>
                <a:gd name="T54" fmla="*/ 2147483647 w 427"/>
                <a:gd name="T55" fmla="*/ 0 h 482"/>
                <a:gd name="T56" fmla="*/ 2147483647 w 427"/>
                <a:gd name="T57" fmla="*/ 0 h 482"/>
                <a:gd name="T58" fmla="*/ 2147483647 w 427"/>
                <a:gd name="T59" fmla="*/ 0 h 482"/>
                <a:gd name="T60" fmla="*/ 2147483647 w 427"/>
                <a:gd name="T61" fmla="*/ 0 h 482"/>
                <a:gd name="T62" fmla="*/ 2147483647 w 427"/>
                <a:gd name="T63" fmla="*/ 0 h 482"/>
                <a:gd name="T64" fmla="*/ 2147483647 w 427"/>
                <a:gd name="T65" fmla="*/ 0 h 482"/>
                <a:gd name="T66" fmla="*/ 2147483647 w 427"/>
                <a:gd name="T67" fmla="*/ 0 h 482"/>
                <a:gd name="T68" fmla="*/ 2147483647 w 427"/>
                <a:gd name="T69" fmla="*/ 0 h 482"/>
                <a:gd name="T70" fmla="*/ 2147483647 w 427"/>
                <a:gd name="T71" fmla="*/ 0 h 482"/>
                <a:gd name="T72" fmla="*/ 2147483647 w 427"/>
                <a:gd name="T73" fmla="*/ 0 h 482"/>
                <a:gd name="T74" fmla="*/ 2147483647 w 427"/>
                <a:gd name="T75" fmla="*/ 0 h 482"/>
                <a:gd name="T76" fmla="*/ 2147483647 w 427"/>
                <a:gd name="T77" fmla="*/ 0 h 482"/>
                <a:gd name="T78" fmla="*/ 2147483647 w 427"/>
                <a:gd name="T79" fmla="*/ 0 h 482"/>
                <a:gd name="T80" fmla="*/ 0 w 427"/>
                <a:gd name="T81" fmla="*/ 0 h 482"/>
                <a:gd name="T82" fmla="*/ 0 w 427"/>
                <a:gd name="T83" fmla="*/ 0 h 482"/>
                <a:gd name="T84" fmla="*/ 0 w 427"/>
                <a:gd name="T85" fmla="*/ 0 h 482"/>
                <a:gd name="T86" fmla="*/ 0 w 427"/>
                <a:gd name="T87" fmla="*/ 0 h 48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7"/>
                <a:gd name="T133" fmla="*/ 0 h 482"/>
                <a:gd name="T134" fmla="*/ 427 w 427"/>
                <a:gd name="T135" fmla="*/ 482 h 48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7" h="482">
                  <a:moveTo>
                    <a:pt x="236" y="0"/>
                  </a:moveTo>
                  <a:lnTo>
                    <a:pt x="203" y="0"/>
                  </a:lnTo>
                  <a:lnTo>
                    <a:pt x="220" y="46"/>
                  </a:lnTo>
                  <a:lnTo>
                    <a:pt x="187" y="59"/>
                  </a:lnTo>
                  <a:lnTo>
                    <a:pt x="176" y="130"/>
                  </a:lnTo>
                  <a:lnTo>
                    <a:pt x="203" y="170"/>
                  </a:lnTo>
                  <a:lnTo>
                    <a:pt x="165" y="287"/>
                  </a:lnTo>
                  <a:lnTo>
                    <a:pt x="0" y="345"/>
                  </a:lnTo>
                  <a:lnTo>
                    <a:pt x="57" y="482"/>
                  </a:lnTo>
                  <a:lnTo>
                    <a:pt x="83" y="474"/>
                  </a:lnTo>
                  <a:lnTo>
                    <a:pt x="94" y="473"/>
                  </a:lnTo>
                  <a:lnTo>
                    <a:pt x="107" y="466"/>
                  </a:lnTo>
                  <a:lnTo>
                    <a:pt x="117" y="460"/>
                  </a:lnTo>
                  <a:lnTo>
                    <a:pt x="137" y="459"/>
                  </a:lnTo>
                  <a:lnTo>
                    <a:pt x="150" y="461"/>
                  </a:lnTo>
                  <a:lnTo>
                    <a:pt x="154" y="464"/>
                  </a:lnTo>
                  <a:lnTo>
                    <a:pt x="161" y="464"/>
                  </a:lnTo>
                  <a:lnTo>
                    <a:pt x="165" y="460"/>
                  </a:lnTo>
                  <a:lnTo>
                    <a:pt x="172" y="455"/>
                  </a:lnTo>
                  <a:lnTo>
                    <a:pt x="179" y="447"/>
                  </a:lnTo>
                  <a:lnTo>
                    <a:pt x="180" y="443"/>
                  </a:lnTo>
                  <a:lnTo>
                    <a:pt x="180" y="436"/>
                  </a:lnTo>
                  <a:lnTo>
                    <a:pt x="180" y="430"/>
                  </a:lnTo>
                  <a:lnTo>
                    <a:pt x="186" y="425"/>
                  </a:lnTo>
                  <a:lnTo>
                    <a:pt x="194" y="414"/>
                  </a:lnTo>
                  <a:lnTo>
                    <a:pt x="224" y="407"/>
                  </a:lnTo>
                  <a:lnTo>
                    <a:pt x="234" y="407"/>
                  </a:lnTo>
                  <a:lnTo>
                    <a:pt x="241" y="404"/>
                  </a:lnTo>
                  <a:lnTo>
                    <a:pt x="250" y="394"/>
                  </a:lnTo>
                  <a:lnTo>
                    <a:pt x="253" y="382"/>
                  </a:lnTo>
                  <a:lnTo>
                    <a:pt x="256" y="371"/>
                  </a:lnTo>
                  <a:lnTo>
                    <a:pt x="262" y="361"/>
                  </a:lnTo>
                  <a:lnTo>
                    <a:pt x="269" y="355"/>
                  </a:lnTo>
                  <a:lnTo>
                    <a:pt x="278" y="352"/>
                  </a:lnTo>
                  <a:lnTo>
                    <a:pt x="282" y="347"/>
                  </a:lnTo>
                  <a:lnTo>
                    <a:pt x="289" y="348"/>
                  </a:lnTo>
                  <a:lnTo>
                    <a:pt x="301" y="346"/>
                  </a:lnTo>
                  <a:lnTo>
                    <a:pt x="309" y="346"/>
                  </a:lnTo>
                  <a:lnTo>
                    <a:pt x="316" y="342"/>
                  </a:lnTo>
                  <a:lnTo>
                    <a:pt x="319" y="337"/>
                  </a:lnTo>
                  <a:lnTo>
                    <a:pt x="316" y="328"/>
                  </a:lnTo>
                  <a:lnTo>
                    <a:pt x="314" y="325"/>
                  </a:lnTo>
                  <a:lnTo>
                    <a:pt x="312" y="312"/>
                  </a:lnTo>
                  <a:lnTo>
                    <a:pt x="312" y="303"/>
                  </a:lnTo>
                  <a:lnTo>
                    <a:pt x="315" y="293"/>
                  </a:lnTo>
                  <a:lnTo>
                    <a:pt x="314" y="285"/>
                  </a:lnTo>
                  <a:lnTo>
                    <a:pt x="327" y="265"/>
                  </a:lnTo>
                  <a:lnTo>
                    <a:pt x="335" y="256"/>
                  </a:lnTo>
                  <a:lnTo>
                    <a:pt x="339" y="253"/>
                  </a:lnTo>
                  <a:lnTo>
                    <a:pt x="342" y="255"/>
                  </a:lnTo>
                  <a:lnTo>
                    <a:pt x="344" y="260"/>
                  </a:lnTo>
                  <a:lnTo>
                    <a:pt x="347" y="262"/>
                  </a:lnTo>
                  <a:lnTo>
                    <a:pt x="353" y="264"/>
                  </a:lnTo>
                  <a:lnTo>
                    <a:pt x="355" y="261"/>
                  </a:lnTo>
                  <a:lnTo>
                    <a:pt x="365" y="244"/>
                  </a:lnTo>
                  <a:lnTo>
                    <a:pt x="369" y="239"/>
                  </a:lnTo>
                  <a:lnTo>
                    <a:pt x="376" y="224"/>
                  </a:lnTo>
                  <a:lnTo>
                    <a:pt x="382" y="216"/>
                  </a:lnTo>
                  <a:lnTo>
                    <a:pt x="396" y="206"/>
                  </a:lnTo>
                  <a:lnTo>
                    <a:pt x="416" y="178"/>
                  </a:lnTo>
                  <a:lnTo>
                    <a:pt x="421" y="167"/>
                  </a:lnTo>
                  <a:lnTo>
                    <a:pt x="422" y="161"/>
                  </a:lnTo>
                  <a:lnTo>
                    <a:pt x="427" y="147"/>
                  </a:lnTo>
                  <a:lnTo>
                    <a:pt x="427" y="143"/>
                  </a:lnTo>
                  <a:lnTo>
                    <a:pt x="423" y="140"/>
                  </a:lnTo>
                  <a:lnTo>
                    <a:pt x="419" y="137"/>
                  </a:lnTo>
                  <a:lnTo>
                    <a:pt x="418" y="134"/>
                  </a:lnTo>
                  <a:lnTo>
                    <a:pt x="406" y="131"/>
                  </a:lnTo>
                  <a:lnTo>
                    <a:pt x="396" y="124"/>
                  </a:lnTo>
                  <a:lnTo>
                    <a:pt x="391" y="111"/>
                  </a:lnTo>
                  <a:lnTo>
                    <a:pt x="386" y="108"/>
                  </a:lnTo>
                  <a:lnTo>
                    <a:pt x="382" y="103"/>
                  </a:lnTo>
                  <a:lnTo>
                    <a:pt x="381" y="98"/>
                  </a:lnTo>
                  <a:lnTo>
                    <a:pt x="375" y="92"/>
                  </a:lnTo>
                  <a:lnTo>
                    <a:pt x="373" y="88"/>
                  </a:lnTo>
                  <a:lnTo>
                    <a:pt x="366" y="79"/>
                  </a:lnTo>
                  <a:lnTo>
                    <a:pt x="354" y="73"/>
                  </a:lnTo>
                  <a:lnTo>
                    <a:pt x="347" y="73"/>
                  </a:lnTo>
                  <a:lnTo>
                    <a:pt x="332" y="66"/>
                  </a:lnTo>
                  <a:lnTo>
                    <a:pt x="315" y="63"/>
                  </a:lnTo>
                  <a:lnTo>
                    <a:pt x="309" y="61"/>
                  </a:lnTo>
                  <a:lnTo>
                    <a:pt x="285" y="51"/>
                  </a:lnTo>
                  <a:lnTo>
                    <a:pt x="274" y="43"/>
                  </a:lnTo>
                  <a:lnTo>
                    <a:pt x="266" y="40"/>
                  </a:lnTo>
                  <a:lnTo>
                    <a:pt x="260" y="30"/>
                  </a:lnTo>
                  <a:lnTo>
                    <a:pt x="252" y="23"/>
                  </a:lnTo>
                  <a:lnTo>
                    <a:pt x="250" y="19"/>
                  </a:lnTo>
                  <a:lnTo>
                    <a:pt x="241" y="12"/>
                  </a:lnTo>
                  <a:lnTo>
                    <a:pt x="236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44" name="Freeform 147">
              <a:extLst>
                <a:ext uri="{FF2B5EF4-FFF2-40B4-BE49-F238E27FC236}">
                  <a16:creationId xmlns:a16="http://schemas.microsoft.com/office/drawing/2014/main" id="{B823EB82-1876-A316-089B-671D2A5E2C3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249099" y="3496580"/>
              <a:ext cx="1493" cy="7621"/>
            </a:xfrm>
            <a:custGeom>
              <a:avLst/>
              <a:gdLst>
                <a:gd name="T0" fmla="*/ 0 w 8"/>
                <a:gd name="T1" fmla="*/ 0 h 19"/>
                <a:gd name="T2" fmla="*/ 0 w 8"/>
                <a:gd name="T3" fmla="*/ 0 h 19"/>
                <a:gd name="T4" fmla="*/ 0 w 8"/>
                <a:gd name="T5" fmla="*/ 0 h 19"/>
                <a:gd name="T6" fmla="*/ 0 w 8"/>
                <a:gd name="T7" fmla="*/ 0 h 19"/>
                <a:gd name="T8" fmla="*/ 0 w 8"/>
                <a:gd name="T9" fmla="*/ 0 h 19"/>
                <a:gd name="T10" fmla="*/ 0 w 8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19"/>
                <a:gd name="T20" fmla="*/ 8 w 8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19">
                  <a:moveTo>
                    <a:pt x="8" y="3"/>
                  </a:moveTo>
                  <a:lnTo>
                    <a:pt x="0" y="0"/>
                  </a:lnTo>
                  <a:lnTo>
                    <a:pt x="0" y="11"/>
                  </a:lnTo>
                  <a:lnTo>
                    <a:pt x="3" y="19"/>
                  </a:lnTo>
                  <a:lnTo>
                    <a:pt x="8" y="17"/>
                  </a:lnTo>
                  <a:lnTo>
                    <a:pt x="8" y="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45" name="Freeform 149">
              <a:extLst>
                <a:ext uri="{FF2B5EF4-FFF2-40B4-BE49-F238E27FC236}">
                  <a16:creationId xmlns:a16="http://schemas.microsoft.com/office/drawing/2014/main" id="{E52AC0AA-E109-851E-25F5-07000EB44FA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387887" y="3475241"/>
              <a:ext cx="28354" cy="13717"/>
            </a:xfrm>
            <a:custGeom>
              <a:avLst/>
              <a:gdLst>
                <a:gd name="T0" fmla="*/ 0 w 50"/>
                <a:gd name="T1" fmla="*/ 0 h 26"/>
                <a:gd name="T2" fmla="*/ 0 w 50"/>
                <a:gd name="T3" fmla="*/ 0 h 26"/>
                <a:gd name="T4" fmla="*/ 0 w 50"/>
                <a:gd name="T5" fmla="*/ 0 h 26"/>
                <a:gd name="T6" fmla="*/ 0 w 50"/>
                <a:gd name="T7" fmla="*/ 0 h 26"/>
                <a:gd name="T8" fmla="*/ 0 w 50"/>
                <a:gd name="T9" fmla="*/ 0 h 26"/>
                <a:gd name="T10" fmla="*/ 0 w 50"/>
                <a:gd name="T11" fmla="*/ 0 h 26"/>
                <a:gd name="T12" fmla="*/ 0 w 50"/>
                <a:gd name="T13" fmla="*/ 0 h 26"/>
                <a:gd name="T14" fmla="*/ 0 w 50"/>
                <a:gd name="T15" fmla="*/ 0 h 26"/>
                <a:gd name="T16" fmla="*/ 0 w 50"/>
                <a:gd name="T17" fmla="*/ 0 h 2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0"/>
                <a:gd name="T28" fmla="*/ 0 h 26"/>
                <a:gd name="T29" fmla="*/ 50 w 50"/>
                <a:gd name="T30" fmla="*/ 26 h 2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0" h="26">
                  <a:moveTo>
                    <a:pt x="50" y="2"/>
                  </a:moveTo>
                  <a:lnTo>
                    <a:pt x="45" y="0"/>
                  </a:lnTo>
                  <a:lnTo>
                    <a:pt x="27" y="2"/>
                  </a:lnTo>
                  <a:lnTo>
                    <a:pt x="23" y="10"/>
                  </a:lnTo>
                  <a:lnTo>
                    <a:pt x="12" y="18"/>
                  </a:lnTo>
                  <a:lnTo>
                    <a:pt x="0" y="22"/>
                  </a:lnTo>
                  <a:lnTo>
                    <a:pt x="1" y="26"/>
                  </a:lnTo>
                  <a:lnTo>
                    <a:pt x="27" y="19"/>
                  </a:lnTo>
                  <a:lnTo>
                    <a:pt x="50" y="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46" name="Freeform 150">
              <a:extLst>
                <a:ext uri="{FF2B5EF4-FFF2-40B4-BE49-F238E27FC236}">
                  <a16:creationId xmlns:a16="http://schemas.microsoft.com/office/drawing/2014/main" id="{D9F06405-E1DA-32FF-FA29-524BE6A6011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062556" y="2989014"/>
              <a:ext cx="561121" cy="548718"/>
            </a:xfrm>
            <a:custGeom>
              <a:avLst/>
              <a:gdLst>
                <a:gd name="T0" fmla="*/ 2147483647 w 1049"/>
                <a:gd name="T1" fmla="*/ 2147483647 h 961"/>
                <a:gd name="T2" fmla="*/ 2147483647 w 1049"/>
                <a:gd name="T3" fmla="*/ 2147483647 h 961"/>
                <a:gd name="T4" fmla="*/ 2147483647 w 1049"/>
                <a:gd name="T5" fmla="*/ 2147483647 h 961"/>
                <a:gd name="T6" fmla="*/ 2147483647 w 1049"/>
                <a:gd name="T7" fmla="*/ 2147483647 h 961"/>
                <a:gd name="T8" fmla="*/ 2147483647 w 1049"/>
                <a:gd name="T9" fmla="*/ 2147483647 h 961"/>
                <a:gd name="T10" fmla="*/ 2147483647 w 1049"/>
                <a:gd name="T11" fmla="*/ 2147483647 h 961"/>
                <a:gd name="T12" fmla="*/ 2147483647 w 1049"/>
                <a:gd name="T13" fmla="*/ 2147483647 h 961"/>
                <a:gd name="T14" fmla="*/ 2147483647 w 1049"/>
                <a:gd name="T15" fmla="*/ 2147483647 h 961"/>
                <a:gd name="T16" fmla="*/ 2147483647 w 1049"/>
                <a:gd name="T17" fmla="*/ 2147483647 h 961"/>
                <a:gd name="T18" fmla="*/ 2147483647 w 1049"/>
                <a:gd name="T19" fmla="*/ 2147483647 h 961"/>
                <a:gd name="T20" fmla="*/ 2147483647 w 1049"/>
                <a:gd name="T21" fmla="*/ 2147483647 h 961"/>
                <a:gd name="T22" fmla="*/ 2147483647 w 1049"/>
                <a:gd name="T23" fmla="*/ 2147483647 h 961"/>
                <a:gd name="T24" fmla="*/ 0 w 1049"/>
                <a:gd name="T25" fmla="*/ 2147483647 h 961"/>
                <a:gd name="T26" fmla="*/ 0 w 1049"/>
                <a:gd name="T27" fmla="*/ 2147483647 h 961"/>
                <a:gd name="T28" fmla="*/ 0 w 1049"/>
                <a:gd name="T29" fmla="*/ 2147483647 h 961"/>
                <a:gd name="T30" fmla="*/ 0 w 1049"/>
                <a:gd name="T31" fmla="*/ 2147483647 h 961"/>
                <a:gd name="T32" fmla="*/ 0 w 1049"/>
                <a:gd name="T33" fmla="*/ 2147483647 h 961"/>
                <a:gd name="T34" fmla="*/ 0 w 1049"/>
                <a:gd name="T35" fmla="*/ 2147483647 h 961"/>
                <a:gd name="T36" fmla="*/ 0 w 1049"/>
                <a:gd name="T37" fmla="*/ 2147483647 h 961"/>
                <a:gd name="T38" fmla="*/ 0 w 1049"/>
                <a:gd name="T39" fmla="*/ 2147483647 h 961"/>
                <a:gd name="T40" fmla="*/ 0 w 1049"/>
                <a:gd name="T41" fmla="*/ 2147483647 h 961"/>
                <a:gd name="T42" fmla="*/ 0 w 1049"/>
                <a:gd name="T43" fmla="*/ 2147483647 h 961"/>
                <a:gd name="T44" fmla="*/ 0 w 1049"/>
                <a:gd name="T45" fmla="*/ 0 h 961"/>
                <a:gd name="T46" fmla="*/ 0 w 1049"/>
                <a:gd name="T47" fmla="*/ 0 h 961"/>
                <a:gd name="T48" fmla="*/ 0 w 1049"/>
                <a:gd name="T49" fmla="*/ 0 h 961"/>
                <a:gd name="T50" fmla="*/ 0 w 1049"/>
                <a:gd name="T51" fmla="*/ 0 h 961"/>
                <a:gd name="T52" fmla="*/ 0 w 1049"/>
                <a:gd name="T53" fmla="*/ 0 h 961"/>
                <a:gd name="T54" fmla="*/ 0 w 1049"/>
                <a:gd name="T55" fmla="*/ 0 h 961"/>
                <a:gd name="T56" fmla="*/ 0 w 1049"/>
                <a:gd name="T57" fmla="*/ 0 h 961"/>
                <a:gd name="T58" fmla="*/ 0 w 1049"/>
                <a:gd name="T59" fmla="*/ 0 h 961"/>
                <a:gd name="T60" fmla="*/ 0 w 1049"/>
                <a:gd name="T61" fmla="*/ 0 h 961"/>
                <a:gd name="T62" fmla="*/ 0 w 1049"/>
                <a:gd name="T63" fmla="*/ 0 h 961"/>
                <a:gd name="T64" fmla="*/ 0 w 1049"/>
                <a:gd name="T65" fmla="*/ 0 h 961"/>
                <a:gd name="T66" fmla="*/ 2147483647 w 1049"/>
                <a:gd name="T67" fmla="*/ 0 h 961"/>
                <a:gd name="T68" fmla="*/ 2147483647 w 1049"/>
                <a:gd name="T69" fmla="*/ 0 h 961"/>
                <a:gd name="T70" fmla="*/ 2147483647 w 1049"/>
                <a:gd name="T71" fmla="*/ 0 h 961"/>
                <a:gd name="T72" fmla="*/ 2147483647 w 1049"/>
                <a:gd name="T73" fmla="*/ 0 h 961"/>
                <a:gd name="T74" fmla="*/ 2147483647 w 1049"/>
                <a:gd name="T75" fmla="*/ 0 h 961"/>
                <a:gd name="T76" fmla="*/ 2147483647 w 1049"/>
                <a:gd name="T77" fmla="*/ 0 h 961"/>
                <a:gd name="T78" fmla="*/ 2147483647 w 1049"/>
                <a:gd name="T79" fmla="*/ 0 h 961"/>
                <a:gd name="T80" fmla="*/ 2147483647 w 1049"/>
                <a:gd name="T81" fmla="*/ 0 h 961"/>
                <a:gd name="T82" fmla="*/ 2147483647 w 1049"/>
                <a:gd name="T83" fmla="*/ 0 h 961"/>
                <a:gd name="T84" fmla="*/ 2147483647 w 1049"/>
                <a:gd name="T85" fmla="*/ 2147483647 h 961"/>
                <a:gd name="T86" fmla="*/ 2147483647 w 1049"/>
                <a:gd name="T87" fmla="*/ 2147483647 h 961"/>
                <a:gd name="T88" fmla="*/ 2147483647 w 1049"/>
                <a:gd name="T89" fmla="*/ 2147483647 h 961"/>
                <a:gd name="T90" fmla="*/ 2147483647 w 1049"/>
                <a:gd name="T91" fmla="*/ 2147483647 h 961"/>
                <a:gd name="T92" fmla="*/ 2147483647 w 1049"/>
                <a:gd name="T93" fmla="*/ 2147483647 h 961"/>
                <a:gd name="T94" fmla="*/ 2147483647 w 1049"/>
                <a:gd name="T95" fmla="*/ 2147483647 h 961"/>
                <a:gd name="T96" fmla="*/ 2147483647 w 1049"/>
                <a:gd name="T97" fmla="*/ 2147483647 h 961"/>
                <a:gd name="T98" fmla="*/ 2147483647 w 1049"/>
                <a:gd name="T99" fmla="*/ 2147483647 h 961"/>
                <a:gd name="T100" fmla="*/ 2147483647 w 1049"/>
                <a:gd name="T101" fmla="*/ 2147483647 h 961"/>
                <a:gd name="T102" fmla="*/ 2147483647 w 1049"/>
                <a:gd name="T103" fmla="*/ 2147483647 h 96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049"/>
                <a:gd name="T157" fmla="*/ 0 h 961"/>
                <a:gd name="T158" fmla="*/ 1049 w 1049"/>
                <a:gd name="T159" fmla="*/ 961 h 961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049" h="961">
                  <a:moveTo>
                    <a:pt x="957" y="958"/>
                  </a:moveTo>
                  <a:lnTo>
                    <a:pt x="954" y="957"/>
                  </a:lnTo>
                  <a:lnTo>
                    <a:pt x="947" y="961"/>
                  </a:lnTo>
                  <a:lnTo>
                    <a:pt x="932" y="960"/>
                  </a:lnTo>
                  <a:lnTo>
                    <a:pt x="920" y="957"/>
                  </a:lnTo>
                  <a:lnTo>
                    <a:pt x="903" y="951"/>
                  </a:lnTo>
                  <a:lnTo>
                    <a:pt x="895" y="944"/>
                  </a:lnTo>
                  <a:lnTo>
                    <a:pt x="889" y="949"/>
                  </a:lnTo>
                  <a:lnTo>
                    <a:pt x="855" y="947"/>
                  </a:lnTo>
                  <a:lnTo>
                    <a:pt x="836" y="944"/>
                  </a:lnTo>
                  <a:lnTo>
                    <a:pt x="825" y="939"/>
                  </a:lnTo>
                  <a:lnTo>
                    <a:pt x="820" y="941"/>
                  </a:lnTo>
                  <a:lnTo>
                    <a:pt x="818" y="945"/>
                  </a:lnTo>
                  <a:lnTo>
                    <a:pt x="806" y="938"/>
                  </a:lnTo>
                  <a:lnTo>
                    <a:pt x="792" y="933"/>
                  </a:lnTo>
                  <a:lnTo>
                    <a:pt x="775" y="933"/>
                  </a:lnTo>
                  <a:lnTo>
                    <a:pt x="755" y="930"/>
                  </a:lnTo>
                  <a:lnTo>
                    <a:pt x="744" y="926"/>
                  </a:lnTo>
                  <a:lnTo>
                    <a:pt x="726" y="925"/>
                  </a:lnTo>
                  <a:lnTo>
                    <a:pt x="717" y="912"/>
                  </a:lnTo>
                  <a:lnTo>
                    <a:pt x="710" y="893"/>
                  </a:lnTo>
                  <a:lnTo>
                    <a:pt x="705" y="869"/>
                  </a:lnTo>
                  <a:lnTo>
                    <a:pt x="697" y="852"/>
                  </a:lnTo>
                  <a:lnTo>
                    <a:pt x="683" y="843"/>
                  </a:lnTo>
                  <a:lnTo>
                    <a:pt x="673" y="839"/>
                  </a:lnTo>
                  <a:lnTo>
                    <a:pt x="665" y="838"/>
                  </a:lnTo>
                  <a:lnTo>
                    <a:pt x="645" y="847"/>
                  </a:lnTo>
                  <a:lnTo>
                    <a:pt x="625" y="853"/>
                  </a:lnTo>
                  <a:lnTo>
                    <a:pt x="619" y="860"/>
                  </a:lnTo>
                  <a:lnTo>
                    <a:pt x="610" y="865"/>
                  </a:lnTo>
                  <a:lnTo>
                    <a:pt x="600" y="865"/>
                  </a:lnTo>
                  <a:lnTo>
                    <a:pt x="584" y="875"/>
                  </a:lnTo>
                  <a:lnTo>
                    <a:pt x="573" y="877"/>
                  </a:lnTo>
                  <a:lnTo>
                    <a:pt x="559" y="874"/>
                  </a:lnTo>
                  <a:lnTo>
                    <a:pt x="551" y="868"/>
                  </a:lnTo>
                  <a:lnTo>
                    <a:pt x="537" y="865"/>
                  </a:lnTo>
                  <a:lnTo>
                    <a:pt x="523" y="868"/>
                  </a:lnTo>
                  <a:lnTo>
                    <a:pt x="516" y="868"/>
                  </a:lnTo>
                  <a:lnTo>
                    <a:pt x="507" y="856"/>
                  </a:lnTo>
                  <a:lnTo>
                    <a:pt x="511" y="859"/>
                  </a:lnTo>
                  <a:lnTo>
                    <a:pt x="509" y="854"/>
                  </a:lnTo>
                  <a:lnTo>
                    <a:pt x="502" y="849"/>
                  </a:lnTo>
                  <a:lnTo>
                    <a:pt x="470" y="838"/>
                  </a:lnTo>
                  <a:lnTo>
                    <a:pt x="462" y="826"/>
                  </a:lnTo>
                  <a:lnTo>
                    <a:pt x="462" y="822"/>
                  </a:lnTo>
                  <a:lnTo>
                    <a:pt x="453" y="812"/>
                  </a:lnTo>
                  <a:lnTo>
                    <a:pt x="438" y="805"/>
                  </a:lnTo>
                  <a:lnTo>
                    <a:pt x="425" y="800"/>
                  </a:lnTo>
                  <a:lnTo>
                    <a:pt x="409" y="799"/>
                  </a:lnTo>
                  <a:lnTo>
                    <a:pt x="400" y="794"/>
                  </a:lnTo>
                  <a:lnTo>
                    <a:pt x="392" y="785"/>
                  </a:lnTo>
                  <a:lnTo>
                    <a:pt x="384" y="762"/>
                  </a:lnTo>
                  <a:lnTo>
                    <a:pt x="374" y="745"/>
                  </a:lnTo>
                  <a:lnTo>
                    <a:pt x="371" y="730"/>
                  </a:lnTo>
                  <a:lnTo>
                    <a:pt x="351" y="713"/>
                  </a:lnTo>
                  <a:lnTo>
                    <a:pt x="347" y="699"/>
                  </a:lnTo>
                  <a:lnTo>
                    <a:pt x="342" y="689"/>
                  </a:lnTo>
                  <a:lnTo>
                    <a:pt x="334" y="685"/>
                  </a:lnTo>
                  <a:lnTo>
                    <a:pt x="324" y="669"/>
                  </a:lnTo>
                  <a:lnTo>
                    <a:pt x="323" y="661"/>
                  </a:lnTo>
                  <a:lnTo>
                    <a:pt x="319" y="655"/>
                  </a:lnTo>
                  <a:lnTo>
                    <a:pt x="313" y="651"/>
                  </a:lnTo>
                  <a:lnTo>
                    <a:pt x="301" y="656"/>
                  </a:lnTo>
                  <a:lnTo>
                    <a:pt x="293" y="664"/>
                  </a:lnTo>
                  <a:lnTo>
                    <a:pt x="292" y="661"/>
                  </a:lnTo>
                  <a:lnTo>
                    <a:pt x="286" y="659"/>
                  </a:lnTo>
                  <a:lnTo>
                    <a:pt x="283" y="654"/>
                  </a:lnTo>
                  <a:lnTo>
                    <a:pt x="276" y="649"/>
                  </a:lnTo>
                  <a:lnTo>
                    <a:pt x="271" y="642"/>
                  </a:lnTo>
                  <a:lnTo>
                    <a:pt x="270" y="632"/>
                  </a:lnTo>
                  <a:lnTo>
                    <a:pt x="265" y="627"/>
                  </a:lnTo>
                  <a:lnTo>
                    <a:pt x="256" y="624"/>
                  </a:lnTo>
                  <a:lnTo>
                    <a:pt x="252" y="628"/>
                  </a:lnTo>
                  <a:lnTo>
                    <a:pt x="254" y="634"/>
                  </a:lnTo>
                  <a:lnTo>
                    <a:pt x="252" y="640"/>
                  </a:lnTo>
                  <a:lnTo>
                    <a:pt x="253" y="646"/>
                  </a:lnTo>
                  <a:lnTo>
                    <a:pt x="244" y="646"/>
                  </a:lnTo>
                  <a:lnTo>
                    <a:pt x="243" y="656"/>
                  </a:lnTo>
                  <a:lnTo>
                    <a:pt x="240" y="655"/>
                  </a:lnTo>
                  <a:lnTo>
                    <a:pt x="237" y="653"/>
                  </a:lnTo>
                  <a:lnTo>
                    <a:pt x="217" y="638"/>
                  </a:lnTo>
                  <a:lnTo>
                    <a:pt x="210" y="630"/>
                  </a:lnTo>
                  <a:lnTo>
                    <a:pt x="205" y="622"/>
                  </a:lnTo>
                  <a:lnTo>
                    <a:pt x="201" y="602"/>
                  </a:lnTo>
                  <a:lnTo>
                    <a:pt x="188" y="595"/>
                  </a:lnTo>
                  <a:lnTo>
                    <a:pt x="189" y="574"/>
                  </a:lnTo>
                  <a:lnTo>
                    <a:pt x="193" y="547"/>
                  </a:lnTo>
                  <a:lnTo>
                    <a:pt x="186" y="533"/>
                  </a:lnTo>
                  <a:lnTo>
                    <a:pt x="179" y="521"/>
                  </a:lnTo>
                  <a:lnTo>
                    <a:pt x="172" y="506"/>
                  </a:lnTo>
                  <a:lnTo>
                    <a:pt x="163" y="497"/>
                  </a:lnTo>
                  <a:lnTo>
                    <a:pt x="150" y="493"/>
                  </a:lnTo>
                  <a:lnTo>
                    <a:pt x="140" y="488"/>
                  </a:lnTo>
                  <a:lnTo>
                    <a:pt x="126" y="477"/>
                  </a:lnTo>
                  <a:lnTo>
                    <a:pt x="111" y="466"/>
                  </a:lnTo>
                  <a:lnTo>
                    <a:pt x="99" y="460"/>
                  </a:lnTo>
                  <a:lnTo>
                    <a:pt x="99" y="449"/>
                  </a:lnTo>
                  <a:lnTo>
                    <a:pt x="93" y="435"/>
                  </a:lnTo>
                  <a:lnTo>
                    <a:pt x="86" y="429"/>
                  </a:lnTo>
                  <a:lnTo>
                    <a:pt x="82" y="422"/>
                  </a:lnTo>
                  <a:lnTo>
                    <a:pt x="73" y="422"/>
                  </a:lnTo>
                  <a:lnTo>
                    <a:pt x="67" y="417"/>
                  </a:lnTo>
                  <a:lnTo>
                    <a:pt x="65" y="401"/>
                  </a:lnTo>
                  <a:lnTo>
                    <a:pt x="68" y="400"/>
                  </a:lnTo>
                  <a:lnTo>
                    <a:pt x="72" y="393"/>
                  </a:lnTo>
                  <a:lnTo>
                    <a:pt x="76" y="368"/>
                  </a:lnTo>
                  <a:lnTo>
                    <a:pt x="80" y="360"/>
                  </a:lnTo>
                  <a:lnTo>
                    <a:pt x="88" y="358"/>
                  </a:lnTo>
                  <a:lnTo>
                    <a:pt x="87" y="349"/>
                  </a:lnTo>
                  <a:lnTo>
                    <a:pt x="100" y="328"/>
                  </a:lnTo>
                  <a:lnTo>
                    <a:pt x="109" y="317"/>
                  </a:lnTo>
                  <a:lnTo>
                    <a:pt x="104" y="299"/>
                  </a:lnTo>
                  <a:lnTo>
                    <a:pt x="110" y="285"/>
                  </a:lnTo>
                  <a:lnTo>
                    <a:pt x="116" y="278"/>
                  </a:lnTo>
                  <a:lnTo>
                    <a:pt x="102" y="278"/>
                  </a:lnTo>
                  <a:lnTo>
                    <a:pt x="80" y="273"/>
                  </a:lnTo>
                  <a:lnTo>
                    <a:pt x="68" y="262"/>
                  </a:lnTo>
                  <a:lnTo>
                    <a:pt x="62" y="240"/>
                  </a:lnTo>
                  <a:lnTo>
                    <a:pt x="50" y="230"/>
                  </a:lnTo>
                  <a:lnTo>
                    <a:pt x="40" y="213"/>
                  </a:lnTo>
                  <a:lnTo>
                    <a:pt x="35" y="180"/>
                  </a:lnTo>
                  <a:lnTo>
                    <a:pt x="34" y="164"/>
                  </a:lnTo>
                  <a:lnTo>
                    <a:pt x="22" y="147"/>
                  </a:lnTo>
                  <a:lnTo>
                    <a:pt x="8" y="139"/>
                  </a:lnTo>
                  <a:lnTo>
                    <a:pt x="12" y="118"/>
                  </a:lnTo>
                  <a:lnTo>
                    <a:pt x="10" y="102"/>
                  </a:lnTo>
                  <a:lnTo>
                    <a:pt x="10" y="85"/>
                  </a:lnTo>
                  <a:lnTo>
                    <a:pt x="8" y="58"/>
                  </a:lnTo>
                  <a:lnTo>
                    <a:pt x="1" y="41"/>
                  </a:lnTo>
                  <a:lnTo>
                    <a:pt x="0" y="34"/>
                  </a:lnTo>
                  <a:lnTo>
                    <a:pt x="14" y="25"/>
                  </a:lnTo>
                  <a:lnTo>
                    <a:pt x="16" y="18"/>
                  </a:lnTo>
                  <a:lnTo>
                    <a:pt x="25" y="0"/>
                  </a:lnTo>
                  <a:lnTo>
                    <a:pt x="34" y="11"/>
                  </a:lnTo>
                  <a:lnTo>
                    <a:pt x="38" y="16"/>
                  </a:lnTo>
                  <a:lnTo>
                    <a:pt x="70" y="62"/>
                  </a:lnTo>
                  <a:lnTo>
                    <a:pt x="86" y="65"/>
                  </a:lnTo>
                  <a:lnTo>
                    <a:pt x="99" y="68"/>
                  </a:lnTo>
                  <a:lnTo>
                    <a:pt x="104" y="68"/>
                  </a:lnTo>
                  <a:lnTo>
                    <a:pt x="121" y="68"/>
                  </a:lnTo>
                  <a:lnTo>
                    <a:pt x="127" y="68"/>
                  </a:lnTo>
                  <a:lnTo>
                    <a:pt x="138" y="65"/>
                  </a:lnTo>
                  <a:lnTo>
                    <a:pt x="150" y="53"/>
                  </a:lnTo>
                  <a:lnTo>
                    <a:pt x="156" y="37"/>
                  </a:lnTo>
                  <a:lnTo>
                    <a:pt x="166" y="27"/>
                  </a:lnTo>
                  <a:lnTo>
                    <a:pt x="178" y="19"/>
                  </a:lnTo>
                  <a:lnTo>
                    <a:pt x="204" y="13"/>
                  </a:lnTo>
                  <a:lnTo>
                    <a:pt x="221" y="22"/>
                  </a:lnTo>
                  <a:lnTo>
                    <a:pt x="220" y="36"/>
                  </a:lnTo>
                  <a:lnTo>
                    <a:pt x="227" y="57"/>
                  </a:lnTo>
                  <a:lnTo>
                    <a:pt x="212" y="65"/>
                  </a:lnTo>
                  <a:lnTo>
                    <a:pt x="209" y="70"/>
                  </a:lnTo>
                  <a:lnTo>
                    <a:pt x="220" y="77"/>
                  </a:lnTo>
                  <a:lnTo>
                    <a:pt x="224" y="81"/>
                  </a:lnTo>
                  <a:lnTo>
                    <a:pt x="232" y="85"/>
                  </a:lnTo>
                  <a:lnTo>
                    <a:pt x="240" y="92"/>
                  </a:lnTo>
                  <a:lnTo>
                    <a:pt x="247" y="95"/>
                  </a:lnTo>
                  <a:lnTo>
                    <a:pt x="254" y="95"/>
                  </a:lnTo>
                  <a:lnTo>
                    <a:pt x="258" y="94"/>
                  </a:lnTo>
                  <a:lnTo>
                    <a:pt x="260" y="123"/>
                  </a:lnTo>
                  <a:lnTo>
                    <a:pt x="265" y="142"/>
                  </a:lnTo>
                  <a:lnTo>
                    <a:pt x="270" y="155"/>
                  </a:lnTo>
                  <a:lnTo>
                    <a:pt x="282" y="165"/>
                  </a:lnTo>
                  <a:lnTo>
                    <a:pt x="293" y="167"/>
                  </a:lnTo>
                  <a:lnTo>
                    <a:pt x="303" y="171"/>
                  </a:lnTo>
                  <a:lnTo>
                    <a:pt x="318" y="170"/>
                  </a:lnTo>
                  <a:lnTo>
                    <a:pt x="329" y="171"/>
                  </a:lnTo>
                  <a:lnTo>
                    <a:pt x="336" y="176"/>
                  </a:lnTo>
                  <a:lnTo>
                    <a:pt x="344" y="192"/>
                  </a:lnTo>
                  <a:lnTo>
                    <a:pt x="357" y="203"/>
                  </a:lnTo>
                  <a:lnTo>
                    <a:pt x="377" y="214"/>
                  </a:lnTo>
                  <a:lnTo>
                    <a:pt x="411" y="225"/>
                  </a:lnTo>
                  <a:lnTo>
                    <a:pt x="423" y="226"/>
                  </a:lnTo>
                  <a:lnTo>
                    <a:pt x="479" y="209"/>
                  </a:lnTo>
                  <a:lnTo>
                    <a:pt x="497" y="207"/>
                  </a:lnTo>
                  <a:lnTo>
                    <a:pt x="519" y="202"/>
                  </a:lnTo>
                  <a:lnTo>
                    <a:pt x="516" y="205"/>
                  </a:lnTo>
                  <a:lnTo>
                    <a:pt x="502" y="208"/>
                  </a:lnTo>
                  <a:lnTo>
                    <a:pt x="519" y="210"/>
                  </a:lnTo>
                  <a:lnTo>
                    <a:pt x="543" y="207"/>
                  </a:lnTo>
                  <a:lnTo>
                    <a:pt x="543" y="187"/>
                  </a:lnTo>
                  <a:lnTo>
                    <a:pt x="534" y="166"/>
                  </a:lnTo>
                  <a:lnTo>
                    <a:pt x="548" y="166"/>
                  </a:lnTo>
                  <a:lnTo>
                    <a:pt x="566" y="162"/>
                  </a:lnTo>
                  <a:lnTo>
                    <a:pt x="600" y="135"/>
                  </a:lnTo>
                  <a:lnTo>
                    <a:pt x="615" y="121"/>
                  </a:lnTo>
                  <a:lnTo>
                    <a:pt x="631" y="117"/>
                  </a:lnTo>
                  <a:lnTo>
                    <a:pt x="642" y="117"/>
                  </a:lnTo>
                  <a:lnTo>
                    <a:pt x="653" y="121"/>
                  </a:lnTo>
                  <a:lnTo>
                    <a:pt x="664" y="121"/>
                  </a:lnTo>
                  <a:lnTo>
                    <a:pt x="669" y="116"/>
                  </a:lnTo>
                  <a:lnTo>
                    <a:pt x="672" y="107"/>
                  </a:lnTo>
                  <a:lnTo>
                    <a:pt x="686" y="105"/>
                  </a:lnTo>
                  <a:lnTo>
                    <a:pt x="707" y="107"/>
                  </a:lnTo>
                  <a:lnTo>
                    <a:pt x="722" y="119"/>
                  </a:lnTo>
                  <a:lnTo>
                    <a:pt x="731" y="131"/>
                  </a:lnTo>
                  <a:lnTo>
                    <a:pt x="769" y="143"/>
                  </a:lnTo>
                  <a:lnTo>
                    <a:pt x="782" y="150"/>
                  </a:lnTo>
                  <a:lnTo>
                    <a:pt x="793" y="153"/>
                  </a:lnTo>
                  <a:lnTo>
                    <a:pt x="804" y="150"/>
                  </a:lnTo>
                  <a:lnTo>
                    <a:pt x="819" y="153"/>
                  </a:lnTo>
                  <a:lnTo>
                    <a:pt x="828" y="158"/>
                  </a:lnTo>
                  <a:lnTo>
                    <a:pt x="837" y="171"/>
                  </a:lnTo>
                  <a:lnTo>
                    <a:pt x="841" y="183"/>
                  </a:lnTo>
                  <a:lnTo>
                    <a:pt x="851" y="187"/>
                  </a:lnTo>
                  <a:lnTo>
                    <a:pt x="867" y="197"/>
                  </a:lnTo>
                  <a:lnTo>
                    <a:pt x="889" y="215"/>
                  </a:lnTo>
                  <a:lnTo>
                    <a:pt x="905" y="225"/>
                  </a:lnTo>
                  <a:lnTo>
                    <a:pt x="931" y="225"/>
                  </a:lnTo>
                  <a:lnTo>
                    <a:pt x="936" y="230"/>
                  </a:lnTo>
                  <a:lnTo>
                    <a:pt x="936" y="267"/>
                  </a:lnTo>
                  <a:lnTo>
                    <a:pt x="939" y="278"/>
                  </a:lnTo>
                  <a:lnTo>
                    <a:pt x="937" y="291"/>
                  </a:lnTo>
                  <a:lnTo>
                    <a:pt x="935" y="305"/>
                  </a:lnTo>
                  <a:lnTo>
                    <a:pt x="935" y="321"/>
                  </a:lnTo>
                  <a:lnTo>
                    <a:pt x="930" y="343"/>
                  </a:lnTo>
                  <a:lnTo>
                    <a:pt x="916" y="365"/>
                  </a:lnTo>
                  <a:lnTo>
                    <a:pt x="916" y="380"/>
                  </a:lnTo>
                  <a:lnTo>
                    <a:pt x="895" y="388"/>
                  </a:lnTo>
                  <a:lnTo>
                    <a:pt x="895" y="398"/>
                  </a:lnTo>
                  <a:lnTo>
                    <a:pt x="895" y="418"/>
                  </a:lnTo>
                  <a:lnTo>
                    <a:pt x="909" y="423"/>
                  </a:lnTo>
                  <a:lnTo>
                    <a:pt x="910" y="434"/>
                  </a:lnTo>
                  <a:lnTo>
                    <a:pt x="903" y="452"/>
                  </a:lnTo>
                  <a:lnTo>
                    <a:pt x="899" y="470"/>
                  </a:lnTo>
                  <a:lnTo>
                    <a:pt x="901" y="482"/>
                  </a:lnTo>
                  <a:lnTo>
                    <a:pt x="907" y="498"/>
                  </a:lnTo>
                  <a:lnTo>
                    <a:pt x="910" y="516"/>
                  </a:lnTo>
                  <a:lnTo>
                    <a:pt x="907" y="533"/>
                  </a:lnTo>
                  <a:lnTo>
                    <a:pt x="909" y="546"/>
                  </a:lnTo>
                  <a:lnTo>
                    <a:pt x="919" y="557"/>
                  </a:lnTo>
                  <a:lnTo>
                    <a:pt x="931" y="560"/>
                  </a:lnTo>
                  <a:lnTo>
                    <a:pt x="943" y="560"/>
                  </a:lnTo>
                  <a:lnTo>
                    <a:pt x="954" y="570"/>
                  </a:lnTo>
                  <a:lnTo>
                    <a:pt x="960" y="586"/>
                  </a:lnTo>
                  <a:lnTo>
                    <a:pt x="960" y="601"/>
                  </a:lnTo>
                  <a:lnTo>
                    <a:pt x="954" y="618"/>
                  </a:lnTo>
                  <a:lnTo>
                    <a:pt x="931" y="646"/>
                  </a:lnTo>
                  <a:lnTo>
                    <a:pt x="919" y="671"/>
                  </a:lnTo>
                  <a:lnTo>
                    <a:pt x="915" y="676"/>
                  </a:lnTo>
                  <a:lnTo>
                    <a:pt x="923" y="686"/>
                  </a:lnTo>
                  <a:lnTo>
                    <a:pt x="937" y="698"/>
                  </a:lnTo>
                  <a:lnTo>
                    <a:pt x="958" y="741"/>
                  </a:lnTo>
                  <a:lnTo>
                    <a:pt x="970" y="751"/>
                  </a:lnTo>
                  <a:lnTo>
                    <a:pt x="986" y="759"/>
                  </a:lnTo>
                  <a:lnTo>
                    <a:pt x="1013" y="768"/>
                  </a:lnTo>
                  <a:lnTo>
                    <a:pt x="1018" y="774"/>
                  </a:lnTo>
                  <a:lnTo>
                    <a:pt x="1023" y="800"/>
                  </a:lnTo>
                  <a:lnTo>
                    <a:pt x="1024" y="815"/>
                  </a:lnTo>
                  <a:lnTo>
                    <a:pt x="1023" y="829"/>
                  </a:lnTo>
                  <a:lnTo>
                    <a:pt x="1043" y="833"/>
                  </a:lnTo>
                  <a:lnTo>
                    <a:pt x="1048" y="838"/>
                  </a:lnTo>
                  <a:lnTo>
                    <a:pt x="1049" y="848"/>
                  </a:lnTo>
                  <a:lnTo>
                    <a:pt x="1046" y="854"/>
                  </a:lnTo>
                  <a:lnTo>
                    <a:pt x="1033" y="866"/>
                  </a:lnTo>
                  <a:lnTo>
                    <a:pt x="1021" y="869"/>
                  </a:lnTo>
                  <a:lnTo>
                    <a:pt x="1006" y="875"/>
                  </a:lnTo>
                  <a:lnTo>
                    <a:pt x="992" y="880"/>
                  </a:lnTo>
                  <a:lnTo>
                    <a:pt x="979" y="890"/>
                  </a:lnTo>
                  <a:lnTo>
                    <a:pt x="970" y="902"/>
                  </a:lnTo>
                  <a:lnTo>
                    <a:pt x="959" y="931"/>
                  </a:lnTo>
                  <a:lnTo>
                    <a:pt x="957" y="944"/>
                  </a:lnTo>
                  <a:lnTo>
                    <a:pt x="957" y="95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47" name="Freeform 151">
              <a:extLst>
                <a:ext uri="{FF2B5EF4-FFF2-40B4-BE49-F238E27FC236}">
                  <a16:creationId xmlns:a16="http://schemas.microsoft.com/office/drawing/2014/main" id="{B34274A5-8FBC-99B7-910E-7F1CD1063CA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905860" y="3085041"/>
              <a:ext cx="286530" cy="309415"/>
            </a:xfrm>
            <a:custGeom>
              <a:avLst/>
              <a:gdLst>
                <a:gd name="T0" fmla="*/ 2147483647 w 534"/>
                <a:gd name="T1" fmla="*/ 2147483647 h 548"/>
                <a:gd name="T2" fmla="*/ 2147483647 w 534"/>
                <a:gd name="T3" fmla="*/ 2147483647 h 548"/>
                <a:gd name="T4" fmla="*/ 2147483647 w 534"/>
                <a:gd name="T5" fmla="*/ 2147483647 h 548"/>
                <a:gd name="T6" fmla="*/ 2147483647 w 534"/>
                <a:gd name="T7" fmla="*/ 2147483647 h 548"/>
                <a:gd name="T8" fmla="*/ 2147483647 w 534"/>
                <a:gd name="T9" fmla="*/ 2147483647 h 548"/>
                <a:gd name="T10" fmla="*/ 2147483647 w 534"/>
                <a:gd name="T11" fmla="*/ 2147483647 h 548"/>
                <a:gd name="T12" fmla="*/ 2147483647 w 534"/>
                <a:gd name="T13" fmla="*/ 2147483647 h 548"/>
                <a:gd name="T14" fmla="*/ 2147483647 w 534"/>
                <a:gd name="T15" fmla="*/ 2147483647 h 548"/>
                <a:gd name="T16" fmla="*/ 2147483647 w 534"/>
                <a:gd name="T17" fmla="*/ 2147483647 h 548"/>
                <a:gd name="T18" fmla="*/ 2147483647 w 534"/>
                <a:gd name="T19" fmla="*/ 2147483647 h 548"/>
                <a:gd name="T20" fmla="*/ 2147483647 w 534"/>
                <a:gd name="T21" fmla="*/ 2147483647 h 548"/>
                <a:gd name="T22" fmla="*/ 0 w 534"/>
                <a:gd name="T23" fmla="*/ 2147483647 h 548"/>
                <a:gd name="T24" fmla="*/ 2147483647 w 534"/>
                <a:gd name="T25" fmla="*/ 2147483647 h 548"/>
                <a:gd name="T26" fmla="*/ 2147483647 w 534"/>
                <a:gd name="T27" fmla="*/ 2147483647 h 548"/>
                <a:gd name="T28" fmla="*/ 2147483647 w 534"/>
                <a:gd name="T29" fmla="*/ 2147483647 h 548"/>
                <a:gd name="T30" fmla="*/ 2147483647 w 534"/>
                <a:gd name="T31" fmla="*/ 2147483647 h 548"/>
                <a:gd name="T32" fmla="*/ 2147483647 w 534"/>
                <a:gd name="T33" fmla="*/ 0 h 548"/>
                <a:gd name="T34" fmla="*/ 2147483647 w 534"/>
                <a:gd name="T35" fmla="*/ 0 h 548"/>
                <a:gd name="T36" fmla="*/ 2147483647 w 534"/>
                <a:gd name="T37" fmla="*/ 0 h 548"/>
                <a:gd name="T38" fmla="*/ 2147483647 w 534"/>
                <a:gd name="T39" fmla="*/ 0 h 548"/>
                <a:gd name="T40" fmla="*/ 2147483647 w 534"/>
                <a:gd name="T41" fmla="*/ 0 h 548"/>
                <a:gd name="T42" fmla="*/ 2147483647 w 534"/>
                <a:gd name="T43" fmla="*/ 0 h 548"/>
                <a:gd name="T44" fmla="*/ 2147483647 w 534"/>
                <a:gd name="T45" fmla="*/ 0 h 548"/>
                <a:gd name="T46" fmla="*/ 2147483647 w 534"/>
                <a:gd name="T47" fmla="*/ 2147483647 h 548"/>
                <a:gd name="T48" fmla="*/ 2147483647 w 534"/>
                <a:gd name="T49" fmla="*/ 2147483647 h 548"/>
                <a:gd name="T50" fmla="*/ 2147483647 w 534"/>
                <a:gd name="T51" fmla="*/ 2147483647 h 548"/>
                <a:gd name="T52" fmla="*/ 2147483647 w 534"/>
                <a:gd name="T53" fmla="*/ 2147483647 h 548"/>
                <a:gd name="T54" fmla="*/ 2147483647 w 534"/>
                <a:gd name="T55" fmla="*/ 2147483647 h 548"/>
                <a:gd name="T56" fmla="*/ 2147483647 w 534"/>
                <a:gd name="T57" fmla="*/ 2147483647 h 548"/>
                <a:gd name="T58" fmla="*/ 2147483647 w 534"/>
                <a:gd name="T59" fmla="*/ 2147483647 h 548"/>
                <a:gd name="T60" fmla="*/ 2147483647 w 534"/>
                <a:gd name="T61" fmla="*/ 2147483647 h 548"/>
                <a:gd name="T62" fmla="*/ 2147483647 w 534"/>
                <a:gd name="T63" fmla="*/ 2147483647 h 548"/>
                <a:gd name="T64" fmla="*/ 2147483647 w 534"/>
                <a:gd name="T65" fmla="*/ 2147483647 h 548"/>
                <a:gd name="T66" fmla="*/ 2147483647 w 534"/>
                <a:gd name="T67" fmla="*/ 2147483647 h 548"/>
                <a:gd name="T68" fmla="*/ 2147483647 w 534"/>
                <a:gd name="T69" fmla="*/ 2147483647 h 548"/>
                <a:gd name="T70" fmla="*/ 2147483647 w 534"/>
                <a:gd name="T71" fmla="*/ 2147483647 h 548"/>
                <a:gd name="T72" fmla="*/ 2147483647 w 534"/>
                <a:gd name="T73" fmla="*/ 2147483647 h 548"/>
                <a:gd name="T74" fmla="*/ 2147483647 w 534"/>
                <a:gd name="T75" fmla="*/ 2147483647 h 548"/>
                <a:gd name="T76" fmla="*/ 2147483647 w 534"/>
                <a:gd name="T77" fmla="*/ 2147483647 h 548"/>
                <a:gd name="T78" fmla="*/ 2147483647 w 534"/>
                <a:gd name="T79" fmla="*/ 2147483647 h 548"/>
                <a:gd name="T80" fmla="*/ 2147483647 w 534"/>
                <a:gd name="T81" fmla="*/ 2147483647 h 548"/>
                <a:gd name="T82" fmla="*/ 2147483647 w 534"/>
                <a:gd name="T83" fmla="*/ 2147483647 h 548"/>
                <a:gd name="T84" fmla="*/ 2147483647 w 534"/>
                <a:gd name="T85" fmla="*/ 2147483647 h 54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34"/>
                <a:gd name="T130" fmla="*/ 0 h 548"/>
                <a:gd name="T131" fmla="*/ 534 w 534"/>
                <a:gd name="T132" fmla="*/ 548 h 54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34" h="548">
                  <a:moveTo>
                    <a:pt x="534" y="489"/>
                  </a:moveTo>
                  <a:lnTo>
                    <a:pt x="527" y="500"/>
                  </a:lnTo>
                  <a:lnTo>
                    <a:pt x="520" y="495"/>
                  </a:lnTo>
                  <a:lnTo>
                    <a:pt x="510" y="490"/>
                  </a:lnTo>
                  <a:lnTo>
                    <a:pt x="507" y="491"/>
                  </a:lnTo>
                  <a:lnTo>
                    <a:pt x="505" y="494"/>
                  </a:lnTo>
                  <a:lnTo>
                    <a:pt x="493" y="490"/>
                  </a:lnTo>
                  <a:lnTo>
                    <a:pt x="479" y="489"/>
                  </a:lnTo>
                  <a:lnTo>
                    <a:pt x="463" y="495"/>
                  </a:lnTo>
                  <a:lnTo>
                    <a:pt x="452" y="512"/>
                  </a:lnTo>
                  <a:lnTo>
                    <a:pt x="442" y="532"/>
                  </a:lnTo>
                  <a:lnTo>
                    <a:pt x="426" y="548"/>
                  </a:lnTo>
                  <a:lnTo>
                    <a:pt x="328" y="543"/>
                  </a:lnTo>
                  <a:lnTo>
                    <a:pt x="265" y="515"/>
                  </a:lnTo>
                  <a:lnTo>
                    <a:pt x="263" y="511"/>
                  </a:lnTo>
                  <a:lnTo>
                    <a:pt x="263" y="472"/>
                  </a:lnTo>
                  <a:lnTo>
                    <a:pt x="261" y="469"/>
                  </a:lnTo>
                  <a:lnTo>
                    <a:pt x="232" y="467"/>
                  </a:lnTo>
                  <a:lnTo>
                    <a:pt x="224" y="449"/>
                  </a:lnTo>
                  <a:lnTo>
                    <a:pt x="218" y="444"/>
                  </a:lnTo>
                  <a:lnTo>
                    <a:pt x="162" y="423"/>
                  </a:lnTo>
                  <a:lnTo>
                    <a:pt x="100" y="376"/>
                  </a:lnTo>
                  <a:lnTo>
                    <a:pt x="16" y="353"/>
                  </a:lnTo>
                  <a:lnTo>
                    <a:pt x="0" y="278"/>
                  </a:lnTo>
                  <a:lnTo>
                    <a:pt x="43" y="248"/>
                  </a:lnTo>
                  <a:lnTo>
                    <a:pt x="58" y="237"/>
                  </a:lnTo>
                  <a:lnTo>
                    <a:pt x="73" y="232"/>
                  </a:lnTo>
                  <a:lnTo>
                    <a:pt x="95" y="220"/>
                  </a:lnTo>
                  <a:lnTo>
                    <a:pt x="107" y="213"/>
                  </a:lnTo>
                  <a:lnTo>
                    <a:pt x="111" y="209"/>
                  </a:lnTo>
                  <a:lnTo>
                    <a:pt x="123" y="204"/>
                  </a:lnTo>
                  <a:lnTo>
                    <a:pt x="133" y="180"/>
                  </a:lnTo>
                  <a:lnTo>
                    <a:pt x="136" y="143"/>
                  </a:lnTo>
                  <a:lnTo>
                    <a:pt x="140" y="73"/>
                  </a:lnTo>
                  <a:lnTo>
                    <a:pt x="171" y="60"/>
                  </a:lnTo>
                  <a:lnTo>
                    <a:pt x="189" y="31"/>
                  </a:lnTo>
                  <a:lnTo>
                    <a:pt x="204" y="22"/>
                  </a:lnTo>
                  <a:lnTo>
                    <a:pt x="229" y="0"/>
                  </a:lnTo>
                  <a:lnTo>
                    <a:pt x="249" y="9"/>
                  </a:lnTo>
                  <a:lnTo>
                    <a:pt x="279" y="10"/>
                  </a:lnTo>
                  <a:lnTo>
                    <a:pt x="297" y="9"/>
                  </a:lnTo>
                  <a:lnTo>
                    <a:pt x="306" y="20"/>
                  </a:lnTo>
                  <a:lnTo>
                    <a:pt x="322" y="22"/>
                  </a:lnTo>
                  <a:lnTo>
                    <a:pt x="329" y="14"/>
                  </a:lnTo>
                  <a:lnTo>
                    <a:pt x="334" y="47"/>
                  </a:lnTo>
                  <a:lnTo>
                    <a:pt x="344" y="64"/>
                  </a:lnTo>
                  <a:lnTo>
                    <a:pt x="356" y="74"/>
                  </a:lnTo>
                  <a:lnTo>
                    <a:pt x="362" y="96"/>
                  </a:lnTo>
                  <a:lnTo>
                    <a:pt x="374" y="107"/>
                  </a:lnTo>
                  <a:lnTo>
                    <a:pt x="396" y="112"/>
                  </a:lnTo>
                  <a:lnTo>
                    <a:pt x="410" y="112"/>
                  </a:lnTo>
                  <a:lnTo>
                    <a:pt x="404" y="119"/>
                  </a:lnTo>
                  <a:lnTo>
                    <a:pt x="398" y="133"/>
                  </a:lnTo>
                  <a:lnTo>
                    <a:pt x="403" y="152"/>
                  </a:lnTo>
                  <a:lnTo>
                    <a:pt x="394" y="162"/>
                  </a:lnTo>
                  <a:lnTo>
                    <a:pt x="381" y="184"/>
                  </a:lnTo>
                  <a:lnTo>
                    <a:pt x="382" y="192"/>
                  </a:lnTo>
                  <a:lnTo>
                    <a:pt x="374" y="195"/>
                  </a:lnTo>
                  <a:lnTo>
                    <a:pt x="370" y="202"/>
                  </a:lnTo>
                  <a:lnTo>
                    <a:pt x="366" y="227"/>
                  </a:lnTo>
                  <a:lnTo>
                    <a:pt x="362" y="234"/>
                  </a:lnTo>
                  <a:lnTo>
                    <a:pt x="359" y="236"/>
                  </a:lnTo>
                  <a:lnTo>
                    <a:pt x="361" y="251"/>
                  </a:lnTo>
                  <a:lnTo>
                    <a:pt x="367" y="256"/>
                  </a:lnTo>
                  <a:lnTo>
                    <a:pt x="376" y="256"/>
                  </a:lnTo>
                  <a:lnTo>
                    <a:pt x="380" y="264"/>
                  </a:lnTo>
                  <a:lnTo>
                    <a:pt x="387" y="269"/>
                  </a:lnTo>
                  <a:lnTo>
                    <a:pt x="393" y="283"/>
                  </a:lnTo>
                  <a:lnTo>
                    <a:pt x="393" y="294"/>
                  </a:lnTo>
                  <a:lnTo>
                    <a:pt x="405" y="301"/>
                  </a:lnTo>
                  <a:lnTo>
                    <a:pt x="420" y="311"/>
                  </a:lnTo>
                  <a:lnTo>
                    <a:pt x="432" y="322"/>
                  </a:lnTo>
                  <a:lnTo>
                    <a:pt x="444" y="327"/>
                  </a:lnTo>
                  <a:lnTo>
                    <a:pt x="457" y="331"/>
                  </a:lnTo>
                  <a:lnTo>
                    <a:pt x="466" y="340"/>
                  </a:lnTo>
                  <a:lnTo>
                    <a:pt x="473" y="355"/>
                  </a:lnTo>
                  <a:lnTo>
                    <a:pt x="480" y="367"/>
                  </a:lnTo>
                  <a:lnTo>
                    <a:pt x="487" y="381"/>
                  </a:lnTo>
                  <a:lnTo>
                    <a:pt x="483" y="408"/>
                  </a:lnTo>
                  <a:lnTo>
                    <a:pt x="482" y="429"/>
                  </a:lnTo>
                  <a:lnTo>
                    <a:pt x="495" y="436"/>
                  </a:lnTo>
                  <a:lnTo>
                    <a:pt x="499" y="456"/>
                  </a:lnTo>
                  <a:lnTo>
                    <a:pt x="504" y="464"/>
                  </a:lnTo>
                  <a:lnTo>
                    <a:pt x="511" y="472"/>
                  </a:lnTo>
                  <a:lnTo>
                    <a:pt x="531" y="487"/>
                  </a:lnTo>
                  <a:lnTo>
                    <a:pt x="534" y="48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48" name="Freeform 152">
              <a:extLst>
                <a:ext uri="{FF2B5EF4-FFF2-40B4-BE49-F238E27FC236}">
                  <a16:creationId xmlns:a16="http://schemas.microsoft.com/office/drawing/2014/main" id="{9E31D3BE-A9CF-B3A6-BAAA-31D13C4AC84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255068" y="3501152"/>
              <a:ext cx="25370" cy="54872"/>
            </a:xfrm>
            <a:custGeom>
              <a:avLst/>
              <a:gdLst>
                <a:gd name="T0" fmla="*/ 0 w 45"/>
                <a:gd name="T1" fmla="*/ 2147483647 h 98"/>
                <a:gd name="T2" fmla="*/ 0 w 45"/>
                <a:gd name="T3" fmla="*/ 2147483647 h 98"/>
                <a:gd name="T4" fmla="*/ 0 w 45"/>
                <a:gd name="T5" fmla="*/ 2147483647 h 98"/>
                <a:gd name="T6" fmla="*/ 0 w 45"/>
                <a:gd name="T7" fmla="*/ 2147483647 h 98"/>
                <a:gd name="T8" fmla="*/ 0 w 45"/>
                <a:gd name="T9" fmla="*/ 0 h 98"/>
                <a:gd name="T10" fmla="*/ 0 w 45"/>
                <a:gd name="T11" fmla="*/ 0 h 98"/>
                <a:gd name="T12" fmla="*/ 0 w 45"/>
                <a:gd name="T13" fmla="*/ 0 h 98"/>
                <a:gd name="T14" fmla="*/ 0 w 45"/>
                <a:gd name="T15" fmla="*/ 0 h 98"/>
                <a:gd name="T16" fmla="*/ 0 w 45"/>
                <a:gd name="T17" fmla="*/ 0 h 98"/>
                <a:gd name="T18" fmla="*/ 0 w 45"/>
                <a:gd name="T19" fmla="*/ 0 h 98"/>
                <a:gd name="T20" fmla="*/ 0 w 45"/>
                <a:gd name="T21" fmla="*/ 0 h 98"/>
                <a:gd name="T22" fmla="*/ 0 w 45"/>
                <a:gd name="T23" fmla="*/ 0 h 98"/>
                <a:gd name="T24" fmla="*/ 0 w 45"/>
                <a:gd name="T25" fmla="*/ 0 h 98"/>
                <a:gd name="T26" fmla="*/ 0 w 45"/>
                <a:gd name="T27" fmla="*/ 0 h 98"/>
                <a:gd name="T28" fmla="*/ 0 w 45"/>
                <a:gd name="T29" fmla="*/ 0 h 98"/>
                <a:gd name="T30" fmla="*/ 0 w 45"/>
                <a:gd name="T31" fmla="*/ 0 h 98"/>
                <a:gd name="T32" fmla="*/ 0 w 45"/>
                <a:gd name="T33" fmla="*/ 0 h 98"/>
                <a:gd name="T34" fmla="*/ 0 w 45"/>
                <a:gd name="T35" fmla="*/ 0 h 98"/>
                <a:gd name="T36" fmla="*/ 0 w 45"/>
                <a:gd name="T37" fmla="*/ 0 h 98"/>
                <a:gd name="T38" fmla="*/ 0 w 45"/>
                <a:gd name="T39" fmla="*/ 0 h 98"/>
                <a:gd name="T40" fmla="*/ 0 w 45"/>
                <a:gd name="T41" fmla="*/ 0 h 98"/>
                <a:gd name="T42" fmla="*/ 0 w 45"/>
                <a:gd name="T43" fmla="*/ 0 h 98"/>
                <a:gd name="T44" fmla="*/ 0 w 45"/>
                <a:gd name="T45" fmla="*/ 0 h 98"/>
                <a:gd name="T46" fmla="*/ 0 w 45"/>
                <a:gd name="T47" fmla="*/ 0 h 98"/>
                <a:gd name="T48" fmla="*/ 0 w 45"/>
                <a:gd name="T49" fmla="*/ 0 h 98"/>
                <a:gd name="T50" fmla="*/ 0 w 45"/>
                <a:gd name="T51" fmla="*/ 0 h 98"/>
                <a:gd name="T52" fmla="*/ 0 w 45"/>
                <a:gd name="T53" fmla="*/ 0 h 98"/>
                <a:gd name="T54" fmla="*/ 0 w 45"/>
                <a:gd name="T55" fmla="*/ 0 h 98"/>
                <a:gd name="T56" fmla="*/ 0 w 45"/>
                <a:gd name="T57" fmla="*/ 0 h 98"/>
                <a:gd name="T58" fmla="*/ 0 w 45"/>
                <a:gd name="T59" fmla="*/ 0 h 98"/>
                <a:gd name="T60" fmla="*/ 0 w 45"/>
                <a:gd name="T61" fmla="*/ 0 h 98"/>
                <a:gd name="T62" fmla="*/ 0 w 45"/>
                <a:gd name="T63" fmla="*/ 0 h 98"/>
                <a:gd name="T64" fmla="*/ 0 w 45"/>
                <a:gd name="T65" fmla="*/ 0 h 98"/>
                <a:gd name="T66" fmla="*/ 0 w 45"/>
                <a:gd name="T67" fmla="*/ 2147483647 h 98"/>
                <a:gd name="T68" fmla="*/ 0 w 45"/>
                <a:gd name="T69" fmla="*/ 2147483647 h 98"/>
                <a:gd name="T70" fmla="*/ 0 w 45"/>
                <a:gd name="T71" fmla="*/ 2147483647 h 98"/>
                <a:gd name="T72" fmla="*/ 0 w 45"/>
                <a:gd name="T73" fmla="*/ 2147483647 h 98"/>
                <a:gd name="T74" fmla="*/ 0 w 45"/>
                <a:gd name="T75" fmla="*/ 2147483647 h 9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5"/>
                <a:gd name="T115" fmla="*/ 0 h 98"/>
                <a:gd name="T116" fmla="*/ 45 w 45"/>
                <a:gd name="T117" fmla="*/ 98 h 9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5" h="98">
                  <a:moveTo>
                    <a:pt x="16" y="98"/>
                  </a:moveTo>
                  <a:lnTo>
                    <a:pt x="35" y="90"/>
                  </a:lnTo>
                  <a:lnTo>
                    <a:pt x="38" y="87"/>
                  </a:lnTo>
                  <a:lnTo>
                    <a:pt x="39" y="81"/>
                  </a:lnTo>
                  <a:lnTo>
                    <a:pt x="43" y="74"/>
                  </a:lnTo>
                  <a:lnTo>
                    <a:pt x="44" y="70"/>
                  </a:lnTo>
                  <a:lnTo>
                    <a:pt x="44" y="55"/>
                  </a:lnTo>
                  <a:lnTo>
                    <a:pt x="40" y="50"/>
                  </a:lnTo>
                  <a:lnTo>
                    <a:pt x="40" y="42"/>
                  </a:lnTo>
                  <a:lnTo>
                    <a:pt x="40" y="33"/>
                  </a:lnTo>
                  <a:lnTo>
                    <a:pt x="43" y="32"/>
                  </a:lnTo>
                  <a:lnTo>
                    <a:pt x="41" y="29"/>
                  </a:lnTo>
                  <a:lnTo>
                    <a:pt x="44" y="25"/>
                  </a:lnTo>
                  <a:lnTo>
                    <a:pt x="44" y="21"/>
                  </a:lnTo>
                  <a:lnTo>
                    <a:pt x="45" y="16"/>
                  </a:lnTo>
                  <a:lnTo>
                    <a:pt x="43" y="15"/>
                  </a:lnTo>
                  <a:lnTo>
                    <a:pt x="36" y="12"/>
                  </a:lnTo>
                  <a:lnTo>
                    <a:pt x="34" y="10"/>
                  </a:lnTo>
                  <a:lnTo>
                    <a:pt x="34" y="6"/>
                  </a:lnTo>
                  <a:lnTo>
                    <a:pt x="30" y="4"/>
                  </a:lnTo>
                  <a:lnTo>
                    <a:pt x="24" y="0"/>
                  </a:lnTo>
                  <a:lnTo>
                    <a:pt x="18" y="4"/>
                  </a:lnTo>
                  <a:lnTo>
                    <a:pt x="13" y="12"/>
                  </a:lnTo>
                  <a:lnTo>
                    <a:pt x="11" y="26"/>
                  </a:lnTo>
                  <a:lnTo>
                    <a:pt x="7" y="36"/>
                  </a:lnTo>
                  <a:lnTo>
                    <a:pt x="1" y="43"/>
                  </a:lnTo>
                  <a:lnTo>
                    <a:pt x="1" y="50"/>
                  </a:lnTo>
                  <a:lnTo>
                    <a:pt x="0" y="55"/>
                  </a:lnTo>
                  <a:lnTo>
                    <a:pt x="2" y="58"/>
                  </a:lnTo>
                  <a:lnTo>
                    <a:pt x="0" y="63"/>
                  </a:lnTo>
                  <a:lnTo>
                    <a:pt x="1" y="66"/>
                  </a:lnTo>
                  <a:lnTo>
                    <a:pt x="5" y="74"/>
                  </a:lnTo>
                  <a:lnTo>
                    <a:pt x="2" y="77"/>
                  </a:lnTo>
                  <a:lnTo>
                    <a:pt x="5" y="80"/>
                  </a:lnTo>
                  <a:lnTo>
                    <a:pt x="3" y="84"/>
                  </a:lnTo>
                  <a:lnTo>
                    <a:pt x="2" y="85"/>
                  </a:lnTo>
                  <a:lnTo>
                    <a:pt x="9" y="97"/>
                  </a:lnTo>
                  <a:lnTo>
                    <a:pt x="16" y="9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49" name="Freeform 153">
              <a:extLst>
                <a:ext uri="{FF2B5EF4-FFF2-40B4-BE49-F238E27FC236}">
                  <a16:creationId xmlns:a16="http://schemas.microsoft.com/office/drawing/2014/main" id="{DAED77FC-619A-3219-670F-73398CD51AD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264022" y="3502676"/>
              <a:ext cx="153712" cy="121938"/>
            </a:xfrm>
            <a:custGeom>
              <a:avLst/>
              <a:gdLst>
                <a:gd name="T0" fmla="*/ 2147483647 w 288"/>
                <a:gd name="T1" fmla="*/ 2147483647 h 215"/>
                <a:gd name="T2" fmla="*/ 0 w 288"/>
                <a:gd name="T3" fmla="*/ 2147483647 h 215"/>
                <a:gd name="T4" fmla="*/ 0 w 288"/>
                <a:gd name="T5" fmla="*/ 2147483647 h 215"/>
                <a:gd name="T6" fmla="*/ 0 w 288"/>
                <a:gd name="T7" fmla="*/ 2147483647 h 215"/>
                <a:gd name="T8" fmla="*/ 0 w 288"/>
                <a:gd name="T9" fmla="*/ 2147483647 h 215"/>
                <a:gd name="T10" fmla="*/ 0 w 288"/>
                <a:gd name="T11" fmla="*/ 2147483647 h 215"/>
                <a:gd name="T12" fmla="*/ 0 w 288"/>
                <a:gd name="T13" fmla="*/ 2147483647 h 215"/>
                <a:gd name="T14" fmla="*/ 0 w 288"/>
                <a:gd name="T15" fmla="*/ 2147483647 h 215"/>
                <a:gd name="T16" fmla="*/ 0 w 288"/>
                <a:gd name="T17" fmla="*/ 2147483647 h 215"/>
                <a:gd name="T18" fmla="*/ 2147483647 w 288"/>
                <a:gd name="T19" fmla="*/ 2147483647 h 215"/>
                <a:gd name="T20" fmla="*/ 2147483647 w 288"/>
                <a:gd name="T21" fmla="*/ 2147483647 h 215"/>
                <a:gd name="T22" fmla="*/ 2147483647 w 288"/>
                <a:gd name="T23" fmla="*/ 2147483647 h 215"/>
                <a:gd name="T24" fmla="*/ 2147483647 w 288"/>
                <a:gd name="T25" fmla="*/ 2147483647 h 215"/>
                <a:gd name="T26" fmla="*/ 2147483647 w 288"/>
                <a:gd name="T27" fmla="*/ 2147483647 h 215"/>
                <a:gd name="T28" fmla="*/ 2147483647 w 288"/>
                <a:gd name="T29" fmla="*/ 2147483647 h 215"/>
                <a:gd name="T30" fmla="*/ 2147483647 w 288"/>
                <a:gd name="T31" fmla="*/ 2147483647 h 215"/>
                <a:gd name="T32" fmla="*/ 2147483647 w 288"/>
                <a:gd name="T33" fmla="*/ 2147483647 h 215"/>
                <a:gd name="T34" fmla="*/ 2147483647 w 288"/>
                <a:gd name="T35" fmla="*/ 2147483647 h 215"/>
                <a:gd name="T36" fmla="*/ 2147483647 w 288"/>
                <a:gd name="T37" fmla="*/ 2147483647 h 215"/>
                <a:gd name="T38" fmla="*/ 2147483647 w 288"/>
                <a:gd name="T39" fmla="*/ 2147483647 h 215"/>
                <a:gd name="T40" fmla="*/ 2147483647 w 288"/>
                <a:gd name="T41" fmla="*/ 2147483647 h 215"/>
                <a:gd name="T42" fmla="*/ 2147483647 w 288"/>
                <a:gd name="T43" fmla="*/ 0 h 215"/>
                <a:gd name="T44" fmla="*/ 2147483647 w 288"/>
                <a:gd name="T45" fmla="*/ 0 h 215"/>
                <a:gd name="T46" fmla="*/ 2147483647 w 288"/>
                <a:gd name="T47" fmla="*/ 0 h 215"/>
                <a:gd name="T48" fmla="*/ 2147483647 w 288"/>
                <a:gd name="T49" fmla="*/ 0 h 215"/>
                <a:gd name="T50" fmla="*/ 2147483647 w 288"/>
                <a:gd name="T51" fmla="*/ 0 h 215"/>
                <a:gd name="T52" fmla="*/ 2147483647 w 288"/>
                <a:gd name="T53" fmla="*/ 0 h 215"/>
                <a:gd name="T54" fmla="*/ 2147483647 w 288"/>
                <a:gd name="T55" fmla="*/ 0 h 215"/>
                <a:gd name="T56" fmla="*/ 2147483647 w 288"/>
                <a:gd name="T57" fmla="*/ 0 h 215"/>
                <a:gd name="T58" fmla="*/ 2147483647 w 288"/>
                <a:gd name="T59" fmla="*/ 0 h 215"/>
                <a:gd name="T60" fmla="*/ 2147483647 w 288"/>
                <a:gd name="T61" fmla="*/ 0 h 215"/>
                <a:gd name="T62" fmla="*/ 2147483647 w 288"/>
                <a:gd name="T63" fmla="*/ 0 h 215"/>
                <a:gd name="T64" fmla="*/ 2147483647 w 288"/>
                <a:gd name="T65" fmla="*/ 0 h 215"/>
                <a:gd name="T66" fmla="*/ 2147483647 w 288"/>
                <a:gd name="T67" fmla="*/ 0 h 215"/>
                <a:gd name="T68" fmla="*/ 2147483647 w 288"/>
                <a:gd name="T69" fmla="*/ 0 h 215"/>
                <a:gd name="T70" fmla="*/ 2147483647 w 288"/>
                <a:gd name="T71" fmla="*/ 0 h 215"/>
                <a:gd name="T72" fmla="*/ 2147483647 w 288"/>
                <a:gd name="T73" fmla="*/ 2147483647 h 215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215"/>
                <a:gd name="T113" fmla="*/ 288 w 288"/>
                <a:gd name="T114" fmla="*/ 215 h 215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215">
                  <a:moveTo>
                    <a:pt x="228" y="203"/>
                  </a:moveTo>
                  <a:lnTo>
                    <a:pt x="217" y="215"/>
                  </a:lnTo>
                  <a:lnTo>
                    <a:pt x="52" y="184"/>
                  </a:lnTo>
                  <a:lnTo>
                    <a:pt x="36" y="136"/>
                  </a:lnTo>
                  <a:lnTo>
                    <a:pt x="3" y="107"/>
                  </a:lnTo>
                  <a:lnTo>
                    <a:pt x="0" y="92"/>
                  </a:lnTo>
                  <a:lnTo>
                    <a:pt x="19" y="84"/>
                  </a:lnTo>
                  <a:lnTo>
                    <a:pt x="17" y="89"/>
                  </a:lnTo>
                  <a:lnTo>
                    <a:pt x="17" y="92"/>
                  </a:lnTo>
                  <a:lnTo>
                    <a:pt x="20" y="95"/>
                  </a:lnTo>
                  <a:lnTo>
                    <a:pt x="17" y="100"/>
                  </a:lnTo>
                  <a:lnTo>
                    <a:pt x="17" y="107"/>
                  </a:lnTo>
                  <a:lnTo>
                    <a:pt x="24" y="107"/>
                  </a:lnTo>
                  <a:lnTo>
                    <a:pt x="30" y="109"/>
                  </a:lnTo>
                  <a:lnTo>
                    <a:pt x="34" y="107"/>
                  </a:lnTo>
                  <a:lnTo>
                    <a:pt x="35" y="107"/>
                  </a:lnTo>
                  <a:lnTo>
                    <a:pt x="36" y="118"/>
                  </a:lnTo>
                  <a:lnTo>
                    <a:pt x="41" y="122"/>
                  </a:lnTo>
                  <a:lnTo>
                    <a:pt x="55" y="124"/>
                  </a:lnTo>
                  <a:lnTo>
                    <a:pt x="70" y="124"/>
                  </a:lnTo>
                  <a:lnTo>
                    <a:pt x="73" y="123"/>
                  </a:lnTo>
                  <a:lnTo>
                    <a:pt x="79" y="118"/>
                  </a:lnTo>
                  <a:lnTo>
                    <a:pt x="88" y="112"/>
                  </a:lnTo>
                  <a:lnTo>
                    <a:pt x="110" y="114"/>
                  </a:lnTo>
                  <a:lnTo>
                    <a:pt x="119" y="118"/>
                  </a:lnTo>
                  <a:lnTo>
                    <a:pt x="125" y="118"/>
                  </a:lnTo>
                  <a:lnTo>
                    <a:pt x="135" y="121"/>
                  </a:lnTo>
                  <a:lnTo>
                    <a:pt x="159" y="119"/>
                  </a:lnTo>
                  <a:lnTo>
                    <a:pt x="164" y="116"/>
                  </a:lnTo>
                  <a:lnTo>
                    <a:pt x="169" y="109"/>
                  </a:lnTo>
                  <a:lnTo>
                    <a:pt x="178" y="107"/>
                  </a:lnTo>
                  <a:lnTo>
                    <a:pt x="180" y="106"/>
                  </a:lnTo>
                  <a:lnTo>
                    <a:pt x="185" y="103"/>
                  </a:lnTo>
                  <a:lnTo>
                    <a:pt x="186" y="102"/>
                  </a:lnTo>
                  <a:lnTo>
                    <a:pt x="184" y="98"/>
                  </a:lnTo>
                  <a:lnTo>
                    <a:pt x="184" y="97"/>
                  </a:lnTo>
                  <a:lnTo>
                    <a:pt x="184" y="96"/>
                  </a:lnTo>
                  <a:lnTo>
                    <a:pt x="192" y="95"/>
                  </a:lnTo>
                  <a:lnTo>
                    <a:pt x="191" y="92"/>
                  </a:lnTo>
                  <a:lnTo>
                    <a:pt x="195" y="91"/>
                  </a:lnTo>
                  <a:lnTo>
                    <a:pt x="194" y="87"/>
                  </a:lnTo>
                  <a:lnTo>
                    <a:pt x="197" y="84"/>
                  </a:lnTo>
                  <a:lnTo>
                    <a:pt x="197" y="80"/>
                  </a:lnTo>
                  <a:lnTo>
                    <a:pt x="201" y="76"/>
                  </a:lnTo>
                  <a:lnTo>
                    <a:pt x="211" y="73"/>
                  </a:lnTo>
                  <a:lnTo>
                    <a:pt x="213" y="65"/>
                  </a:lnTo>
                  <a:lnTo>
                    <a:pt x="217" y="63"/>
                  </a:lnTo>
                  <a:lnTo>
                    <a:pt x="219" y="59"/>
                  </a:lnTo>
                  <a:lnTo>
                    <a:pt x="228" y="53"/>
                  </a:lnTo>
                  <a:lnTo>
                    <a:pt x="233" y="48"/>
                  </a:lnTo>
                  <a:lnTo>
                    <a:pt x="237" y="46"/>
                  </a:lnTo>
                  <a:lnTo>
                    <a:pt x="238" y="43"/>
                  </a:lnTo>
                  <a:lnTo>
                    <a:pt x="239" y="42"/>
                  </a:lnTo>
                  <a:lnTo>
                    <a:pt x="240" y="39"/>
                  </a:lnTo>
                  <a:lnTo>
                    <a:pt x="245" y="35"/>
                  </a:lnTo>
                  <a:lnTo>
                    <a:pt x="245" y="32"/>
                  </a:lnTo>
                  <a:lnTo>
                    <a:pt x="248" y="31"/>
                  </a:lnTo>
                  <a:lnTo>
                    <a:pt x="249" y="27"/>
                  </a:lnTo>
                  <a:lnTo>
                    <a:pt x="259" y="21"/>
                  </a:lnTo>
                  <a:lnTo>
                    <a:pt x="270" y="10"/>
                  </a:lnTo>
                  <a:lnTo>
                    <a:pt x="274" y="0"/>
                  </a:lnTo>
                  <a:lnTo>
                    <a:pt x="275" y="4"/>
                  </a:lnTo>
                  <a:lnTo>
                    <a:pt x="277" y="10"/>
                  </a:lnTo>
                  <a:lnTo>
                    <a:pt x="276" y="12"/>
                  </a:lnTo>
                  <a:lnTo>
                    <a:pt x="277" y="16"/>
                  </a:lnTo>
                  <a:lnTo>
                    <a:pt x="275" y="21"/>
                  </a:lnTo>
                  <a:lnTo>
                    <a:pt x="277" y="22"/>
                  </a:lnTo>
                  <a:lnTo>
                    <a:pt x="285" y="25"/>
                  </a:lnTo>
                  <a:lnTo>
                    <a:pt x="288" y="31"/>
                  </a:lnTo>
                  <a:lnTo>
                    <a:pt x="287" y="64"/>
                  </a:lnTo>
                  <a:lnTo>
                    <a:pt x="288" y="73"/>
                  </a:lnTo>
                  <a:lnTo>
                    <a:pt x="255" y="73"/>
                  </a:lnTo>
                  <a:lnTo>
                    <a:pt x="272" y="119"/>
                  </a:lnTo>
                  <a:lnTo>
                    <a:pt x="239" y="132"/>
                  </a:lnTo>
                  <a:lnTo>
                    <a:pt x="228" y="20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50" name="Freeform 155">
              <a:extLst>
                <a:ext uri="{FF2B5EF4-FFF2-40B4-BE49-F238E27FC236}">
                  <a16:creationId xmlns:a16="http://schemas.microsoft.com/office/drawing/2014/main" id="{268425F5-FB03-384F-F410-F632695F6BD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538744" y="2897562"/>
              <a:ext cx="543212" cy="248448"/>
            </a:xfrm>
            <a:custGeom>
              <a:avLst/>
              <a:gdLst>
                <a:gd name="T0" fmla="*/ 2147483647 w 1022"/>
                <a:gd name="T1" fmla="*/ 2147483647 h 439"/>
                <a:gd name="T2" fmla="*/ 2147483647 w 1022"/>
                <a:gd name="T3" fmla="*/ 2147483647 h 439"/>
                <a:gd name="T4" fmla="*/ 2147483647 w 1022"/>
                <a:gd name="T5" fmla="*/ 2147483647 h 439"/>
                <a:gd name="T6" fmla="*/ 2147483647 w 1022"/>
                <a:gd name="T7" fmla="*/ 2147483647 h 439"/>
                <a:gd name="T8" fmla="*/ 2147483647 w 1022"/>
                <a:gd name="T9" fmla="*/ 2147483647 h 439"/>
                <a:gd name="T10" fmla="*/ 0 w 1022"/>
                <a:gd name="T11" fmla="*/ 2147483647 h 439"/>
                <a:gd name="T12" fmla="*/ 0 w 1022"/>
                <a:gd name="T13" fmla="*/ 2147483647 h 439"/>
                <a:gd name="T14" fmla="*/ 0 w 1022"/>
                <a:gd name="T15" fmla="*/ 2147483647 h 439"/>
                <a:gd name="T16" fmla="*/ 0 w 1022"/>
                <a:gd name="T17" fmla="*/ 2147483647 h 439"/>
                <a:gd name="T18" fmla="*/ 0 w 1022"/>
                <a:gd name="T19" fmla="*/ 2147483647 h 439"/>
                <a:gd name="T20" fmla="*/ 0 w 1022"/>
                <a:gd name="T21" fmla="*/ 2147483647 h 439"/>
                <a:gd name="T22" fmla="*/ 0 w 1022"/>
                <a:gd name="T23" fmla="*/ 2147483647 h 439"/>
                <a:gd name="T24" fmla="*/ 0 w 1022"/>
                <a:gd name="T25" fmla="*/ 2147483647 h 439"/>
                <a:gd name="T26" fmla="*/ 0 w 1022"/>
                <a:gd name="T27" fmla="*/ 2147483647 h 439"/>
                <a:gd name="T28" fmla="*/ 0 w 1022"/>
                <a:gd name="T29" fmla="*/ 2147483647 h 439"/>
                <a:gd name="T30" fmla="*/ 0 w 1022"/>
                <a:gd name="T31" fmla="*/ 2147483647 h 439"/>
                <a:gd name="T32" fmla="*/ 0 w 1022"/>
                <a:gd name="T33" fmla="*/ 0 h 439"/>
                <a:gd name="T34" fmla="*/ 0 w 1022"/>
                <a:gd name="T35" fmla="*/ 0 h 439"/>
                <a:gd name="T36" fmla="*/ 0 w 1022"/>
                <a:gd name="T37" fmla="*/ 0 h 439"/>
                <a:gd name="T38" fmla="*/ 0 w 1022"/>
                <a:gd name="T39" fmla="*/ 0 h 439"/>
                <a:gd name="T40" fmla="*/ 0 w 1022"/>
                <a:gd name="T41" fmla="*/ 0 h 439"/>
                <a:gd name="T42" fmla="*/ 0 w 1022"/>
                <a:gd name="T43" fmla="*/ 0 h 439"/>
                <a:gd name="T44" fmla="*/ 0 w 1022"/>
                <a:gd name="T45" fmla="*/ 0 h 439"/>
                <a:gd name="T46" fmla="*/ 0 w 1022"/>
                <a:gd name="T47" fmla="*/ 0 h 439"/>
                <a:gd name="T48" fmla="*/ 0 w 1022"/>
                <a:gd name="T49" fmla="*/ 0 h 439"/>
                <a:gd name="T50" fmla="*/ 0 w 1022"/>
                <a:gd name="T51" fmla="*/ 0 h 439"/>
                <a:gd name="T52" fmla="*/ 0 w 1022"/>
                <a:gd name="T53" fmla="*/ 0 h 439"/>
                <a:gd name="T54" fmla="*/ 0 w 1022"/>
                <a:gd name="T55" fmla="*/ 0 h 439"/>
                <a:gd name="T56" fmla="*/ 0 w 1022"/>
                <a:gd name="T57" fmla="*/ 0 h 439"/>
                <a:gd name="T58" fmla="*/ 0 w 1022"/>
                <a:gd name="T59" fmla="*/ 0 h 439"/>
                <a:gd name="T60" fmla="*/ 0 w 1022"/>
                <a:gd name="T61" fmla="*/ 0 h 439"/>
                <a:gd name="T62" fmla="*/ 2147483647 w 1022"/>
                <a:gd name="T63" fmla="*/ 0 h 439"/>
                <a:gd name="T64" fmla="*/ 2147483647 w 1022"/>
                <a:gd name="T65" fmla="*/ 0 h 439"/>
                <a:gd name="T66" fmla="*/ 2147483647 w 1022"/>
                <a:gd name="T67" fmla="*/ 0 h 439"/>
                <a:gd name="T68" fmla="*/ 2147483647 w 1022"/>
                <a:gd name="T69" fmla="*/ 0 h 439"/>
                <a:gd name="T70" fmla="*/ 2147483647 w 1022"/>
                <a:gd name="T71" fmla="*/ 0 h 439"/>
                <a:gd name="T72" fmla="*/ 2147483647 w 1022"/>
                <a:gd name="T73" fmla="*/ 0 h 439"/>
                <a:gd name="T74" fmla="*/ 2147483647 w 1022"/>
                <a:gd name="T75" fmla="*/ 0 h 439"/>
                <a:gd name="T76" fmla="*/ 2147483647 w 1022"/>
                <a:gd name="T77" fmla="*/ 0 h 439"/>
                <a:gd name="T78" fmla="*/ 2147483647 w 1022"/>
                <a:gd name="T79" fmla="*/ 0 h 439"/>
                <a:gd name="T80" fmla="*/ 2147483647 w 1022"/>
                <a:gd name="T81" fmla="*/ 0 h 439"/>
                <a:gd name="T82" fmla="*/ 2147483647 w 1022"/>
                <a:gd name="T83" fmla="*/ 0 h 439"/>
                <a:gd name="T84" fmla="*/ 2147483647 w 1022"/>
                <a:gd name="T85" fmla="*/ 0 h 439"/>
                <a:gd name="T86" fmla="*/ 2147483647 w 1022"/>
                <a:gd name="T87" fmla="*/ 0 h 439"/>
                <a:gd name="T88" fmla="*/ 2147483647 w 1022"/>
                <a:gd name="T89" fmla="*/ 2147483647 h 439"/>
                <a:gd name="T90" fmla="*/ 2147483647 w 1022"/>
                <a:gd name="T91" fmla="*/ 2147483647 h 439"/>
                <a:gd name="T92" fmla="*/ 2147483647 w 1022"/>
                <a:gd name="T93" fmla="*/ 2147483647 h 439"/>
                <a:gd name="T94" fmla="*/ 2147483647 w 1022"/>
                <a:gd name="T95" fmla="*/ 2147483647 h 439"/>
                <a:gd name="T96" fmla="*/ 2147483647 w 1022"/>
                <a:gd name="T97" fmla="*/ 2147483647 h 439"/>
                <a:gd name="T98" fmla="*/ 2147483647 w 1022"/>
                <a:gd name="T99" fmla="*/ 2147483647 h 439"/>
                <a:gd name="T100" fmla="*/ 2147483647 w 1022"/>
                <a:gd name="T101" fmla="*/ 2147483647 h 439"/>
                <a:gd name="T102" fmla="*/ 2147483647 w 1022"/>
                <a:gd name="T103" fmla="*/ 2147483647 h 439"/>
                <a:gd name="T104" fmla="*/ 2147483647 w 1022"/>
                <a:gd name="T105" fmla="*/ 2147483647 h 439"/>
                <a:gd name="T106" fmla="*/ 2147483647 w 1022"/>
                <a:gd name="T107" fmla="*/ 2147483647 h 439"/>
                <a:gd name="T108" fmla="*/ 2147483647 w 1022"/>
                <a:gd name="T109" fmla="*/ 2147483647 h 439"/>
                <a:gd name="T110" fmla="*/ 2147483647 w 1022"/>
                <a:gd name="T111" fmla="*/ 2147483647 h 439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022"/>
                <a:gd name="T169" fmla="*/ 0 h 439"/>
                <a:gd name="T170" fmla="*/ 1022 w 1022"/>
                <a:gd name="T171" fmla="*/ 439 h 439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022" h="439">
                  <a:moveTo>
                    <a:pt x="538" y="424"/>
                  </a:moveTo>
                  <a:lnTo>
                    <a:pt x="535" y="411"/>
                  </a:lnTo>
                  <a:lnTo>
                    <a:pt x="538" y="395"/>
                  </a:lnTo>
                  <a:lnTo>
                    <a:pt x="548" y="389"/>
                  </a:lnTo>
                  <a:lnTo>
                    <a:pt x="552" y="379"/>
                  </a:lnTo>
                  <a:lnTo>
                    <a:pt x="543" y="370"/>
                  </a:lnTo>
                  <a:lnTo>
                    <a:pt x="526" y="378"/>
                  </a:lnTo>
                  <a:lnTo>
                    <a:pt x="524" y="389"/>
                  </a:lnTo>
                  <a:lnTo>
                    <a:pt x="516" y="391"/>
                  </a:lnTo>
                  <a:lnTo>
                    <a:pt x="503" y="390"/>
                  </a:lnTo>
                  <a:lnTo>
                    <a:pt x="493" y="381"/>
                  </a:lnTo>
                  <a:lnTo>
                    <a:pt x="484" y="376"/>
                  </a:lnTo>
                  <a:lnTo>
                    <a:pt x="477" y="374"/>
                  </a:lnTo>
                  <a:lnTo>
                    <a:pt x="471" y="374"/>
                  </a:lnTo>
                  <a:lnTo>
                    <a:pt x="460" y="379"/>
                  </a:lnTo>
                  <a:lnTo>
                    <a:pt x="441" y="397"/>
                  </a:lnTo>
                  <a:lnTo>
                    <a:pt x="436" y="406"/>
                  </a:lnTo>
                  <a:lnTo>
                    <a:pt x="427" y="407"/>
                  </a:lnTo>
                  <a:lnTo>
                    <a:pt x="419" y="414"/>
                  </a:lnTo>
                  <a:lnTo>
                    <a:pt x="408" y="418"/>
                  </a:lnTo>
                  <a:lnTo>
                    <a:pt x="397" y="417"/>
                  </a:lnTo>
                  <a:lnTo>
                    <a:pt x="379" y="422"/>
                  </a:lnTo>
                  <a:lnTo>
                    <a:pt x="369" y="427"/>
                  </a:lnTo>
                  <a:lnTo>
                    <a:pt x="350" y="421"/>
                  </a:lnTo>
                  <a:lnTo>
                    <a:pt x="341" y="409"/>
                  </a:lnTo>
                  <a:lnTo>
                    <a:pt x="337" y="402"/>
                  </a:lnTo>
                  <a:lnTo>
                    <a:pt x="331" y="397"/>
                  </a:lnTo>
                  <a:lnTo>
                    <a:pt x="321" y="391"/>
                  </a:lnTo>
                  <a:lnTo>
                    <a:pt x="295" y="379"/>
                  </a:lnTo>
                  <a:lnTo>
                    <a:pt x="283" y="370"/>
                  </a:lnTo>
                  <a:lnTo>
                    <a:pt x="267" y="368"/>
                  </a:lnTo>
                  <a:lnTo>
                    <a:pt x="257" y="370"/>
                  </a:lnTo>
                  <a:lnTo>
                    <a:pt x="248" y="370"/>
                  </a:lnTo>
                  <a:lnTo>
                    <a:pt x="245" y="379"/>
                  </a:lnTo>
                  <a:lnTo>
                    <a:pt x="245" y="391"/>
                  </a:lnTo>
                  <a:lnTo>
                    <a:pt x="242" y="396"/>
                  </a:lnTo>
                  <a:lnTo>
                    <a:pt x="240" y="407"/>
                  </a:lnTo>
                  <a:lnTo>
                    <a:pt x="220" y="412"/>
                  </a:lnTo>
                  <a:lnTo>
                    <a:pt x="207" y="417"/>
                  </a:lnTo>
                  <a:lnTo>
                    <a:pt x="196" y="417"/>
                  </a:lnTo>
                  <a:lnTo>
                    <a:pt x="186" y="414"/>
                  </a:lnTo>
                  <a:lnTo>
                    <a:pt x="176" y="409"/>
                  </a:lnTo>
                  <a:lnTo>
                    <a:pt x="167" y="401"/>
                  </a:lnTo>
                  <a:lnTo>
                    <a:pt x="164" y="386"/>
                  </a:lnTo>
                  <a:lnTo>
                    <a:pt x="164" y="381"/>
                  </a:lnTo>
                  <a:lnTo>
                    <a:pt x="156" y="378"/>
                  </a:lnTo>
                  <a:lnTo>
                    <a:pt x="154" y="382"/>
                  </a:lnTo>
                  <a:lnTo>
                    <a:pt x="155" y="386"/>
                  </a:lnTo>
                  <a:lnTo>
                    <a:pt x="151" y="386"/>
                  </a:lnTo>
                  <a:lnTo>
                    <a:pt x="143" y="380"/>
                  </a:lnTo>
                  <a:lnTo>
                    <a:pt x="137" y="374"/>
                  </a:lnTo>
                  <a:lnTo>
                    <a:pt x="134" y="373"/>
                  </a:lnTo>
                  <a:lnTo>
                    <a:pt x="119" y="374"/>
                  </a:lnTo>
                  <a:lnTo>
                    <a:pt x="117" y="380"/>
                  </a:lnTo>
                  <a:lnTo>
                    <a:pt x="107" y="386"/>
                  </a:lnTo>
                  <a:lnTo>
                    <a:pt x="105" y="386"/>
                  </a:lnTo>
                  <a:lnTo>
                    <a:pt x="108" y="379"/>
                  </a:lnTo>
                  <a:lnTo>
                    <a:pt x="107" y="375"/>
                  </a:lnTo>
                  <a:lnTo>
                    <a:pt x="73" y="385"/>
                  </a:lnTo>
                  <a:lnTo>
                    <a:pt x="79" y="378"/>
                  </a:lnTo>
                  <a:lnTo>
                    <a:pt x="87" y="371"/>
                  </a:lnTo>
                  <a:lnTo>
                    <a:pt x="101" y="371"/>
                  </a:lnTo>
                  <a:lnTo>
                    <a:pt x="108" y="368"/>
                  </a:lnTo>
                  <a:lnTo>
                    <a:pt x="110" y="366"/>
                  </a:lnTo>
                  <a:lnTo>
                    <a:pt x="118" y="362"/>
                  </a:lnTo>
                  <a:lnTo>
                    <a:pt x="122" y="357"/>
                  </a:lnTo>
                  <a:lnTo>
                    <a:pt x="113" y="355"/>
                  </a:lnTo>
                  <a:lnTo>
                    <a:pt x="92" y="360"/>
                  </a:lnTo>
                  <a:lnTo>
                    <a:pt x="69" y="360"/>
                  </a:lnTo>
                  <a:lnTo>
                    <a:pt x="67" y="355"/>
                  </a:lnTo>
                  <a:lnTo>
                    <a:pt x="79" y="344"/>
                  </a:lnTo>
                  <a:lnTo>
                    <a:pt x="71" y="336"/>
                  </a:lnTo>
                  <a:lnTo>
                    <a:pt x="68" y="333"/>
                  </a:lnTo>
                  <a:lnTo>
                    <a:pt x="63" y="333"/>
                  </a:lnTo>
                  <a:lnTo>
                    <a:pt x="64" y="325"/>
                  </a:lnTo>
                  <a:lnTo>
                    <a:pt x="69" y="321"/>
                  </a:lnTo>
                  <a:lnTo>
                    <a:pt x="71" y="316"/>
                  </a:lnTo>
                  <a:lnTo>
                    <a:pt x="64" y="317"/>
                  </a:lnTo>
                  <a:lnTo>
                    <a:pt x="57" y="320"/>
                  </a:lnTo>
                  <a:lnTo>
                    <a:pt x="52" y="312"/>
                  </a:lnTo>
                  <a:lnTo>
                    <a:pt x="59" y="309"/>
                  </a:lnTo>
                  <a:lnTo>
                    <a:pt x="60" y="300"/>
                  </a:lnTo>
                  <a:lnTo>
                    <a:pt x="56" y="290"/>
                  </a:lnTo>
                  <a:lnTo>
                    <a:pt x="51" y="287"/>
                  </a:lnTo>
                  <a:lnTo>
                    <a:pt x="37" y="283"/>
                  </a:lnTo>
                  <a:lnTo>
                    <a:pt x="30" y="277"/>
                  </a:lnTo>
                  <a:lnTo>
                    <a:pt x="20" y="279"/>
                  </a:lnTo>
                  <a:lnTo>
                    <a:pt x="16" y="277"/>
                  </a:lnTo>
                  <a:lnTo>
                    <a:pt x="10" y="271"/>
                  </a:lnTo>
                  <a:lnTo>
                    <a:pt x="10" y="268"/>
                  </a:lnTo>
                  <a:lnTo>
                    <a:pt x="16" y="266"/>
                  </a:lnTo>
                  <a:lnTo>
                    <a:pt x="17" y="256"/>
                  </a:lnTo>
                  <a:lnTo>
                    <a:pt x="16" y="251"/>
                  </a:lnTo>
                  <a:lnTo>
                    <a:pt x="19" y="245"/>
                  </a:lnTo>
                  <a:lnTo>
                    <a:pt x="22" y="246"/>
                  </a:lnTo>
                  <a:lnTo>
                    <a:pt x="28" y="262"/>
                  </a:lnTo>
                  <a:lnTo>
                    <a:pt x="35" y="263"/>
                  </a:lnTo>
                  <a:lnTo>
                    <a:pt x="43" y="262"/>
                  </a:lnTo>
                  <a:lnTo>
                    <a:pt x="54" y="262"/>
                  </a:lnTo>
                  <a:lnTo>
                    <a:pt x="52" y="260"/>
                  </a:lnTo>
                  <a:lnTo>
                    <a:pt x="42" y="255"/>
                  </a:lnTo>
                  <a:lnTo>
                    <a:pt x="37" y="246"/>
                  </a:lnTo>
                  <a:lnTo>
                    <a:pt x="38" y="239"/>
                  </a:lnTo>
                  <a:lnTo>
                    <a:pt x="47" y="231"/>
                  </a:lnTo>
                  <a:lnTo>
                    <a:pt x="44" y="226"/>
                  </a:lnTo>
                  <a:lnTo>
                    <a:pt x="38" y="220"/>
                  </a:lnTo>
                  <a:lnTo>
                    <a:pt x="38" y="214"/>
                  </a:lnTo>
                  <a:lnTo>
                    <a:pt x="32" y="206"/>
                  </a:lnTo>
                  <a:lnTo>
                    <a:pt x="33" y="195"/>
                  </a:lnTo>
                  <a:lnTo>
                    <a:pt x="43" y="186"/>
                  </a:lnTo>
                  <a:lnTo>
                    <a:pt x="41" y="182"/>
                  </a:lnTo>
                  <a:lnTo>
                    <a:pt x="25" y="186"/>
                  </a:lnTo>
                  <a:lnTo>
                    <a:pt x="0" y="186"/>
                  </a:lnTo>
                  <a:lnTo>
                    <a:pt x="0" y="181"/>
                  </a:lnTo>
                  <a:lnTo>
                    <a:pt x="3" y="160"/>
                  </a:lnTo>
                  <a:lnTo>
                    <a:pt x="8" y="150"/>
                  </a:lnTo>
                  <a:lnTo>
                    <a:pt x="14" y="149"/>
                  </a:lnTo>
                  <a:lnTo>
                    <a:pt x="20" y="138"/>
                  </a:lnTo>
                  <a:lnTo>
                    <a:pt x="27" y="132"/>
                  </a:lnTo>
                  <a:lnTo>
                    <a:pt x="35" y="122"/>
                  </a:lnTo>
                  <a:lnTo>
                    <a:pt x="48" y="123"/>
                  </a:lnTo>
                  <a:lnTo>
                    <a:pt x="63" y="118"/>
                  </a:lnTo>
                  <a:lnTo>
                    <a:pt x="68" y="123"/>
                  </a:lnTo>
                  <a:lnTo>
                    <a:pt x="80" y="127"/>
                  </a:lnTo>
                  <a:lnTo>
                    <a:pt x="91" y="126"/>
                  </a:lnTo>
                  <a:lnTo>
                    <a:pt x="87" y="112"/>
                  </a:lnTo>
                  <a:lnTo>
                    <a:pt x="96" y="113"/>
                  </a:lnTo>
                  <a:lnTo>
                    <a:pt x="102" y="117"/>
                  </a:lnTo>
                  <a:lnTo>
                    <a:pt x="101" y="122"/>
                  </a:lnTo>
                  <a:lnTo>
                    <a:pt x="108" y="123"/>
                  </a:lnTo>
                  <a:lnTo>
                    <a:pt x="122" y="121"/>
                  </a:lnTo>
                  <a:lnTo>
                    <a:pt x="149" y="121"/>
                  </a:lnTo>
                  <a:lnTo>
                    <a:pt x="161" y="120"/>
                  </a:lnTo>
                  <a:lnTo>
                    <a:pt x="160" y="113"/>
                  </a:lnTo>
                  <a:lnTo>
                    <a:pt x="151" y="111"/>
                  </a:lnTo>
                  <a:lnTo>
                    <a:pt x="150" y="107"/>
                  </a:lnTo>
                  <a:lnTo>
                    <a:pt x="160" y="104"/>
                  </a:lnTo>
                  <a:lnTo>
                    <a:pt x="204" y="100"/>
                  </a:lnTo>
                  <a:lnTo>
                    <a:pt x="204" y="96"/>
                  </a:lnTo>
                  <a:lnTo>
                    <a:pt x="196" y="94"/>
                  </a:lnTo>
                  <a:lnTo>
                    <a:pt x="189" y="96"/>
                  </a:lnTo>
                  <a:lnTo>
                    <a:pt x="176" y="94"/>
                  </a:lnTo>
                  <a:lnTo>
                    <a:pt x="173" y="90"/>
                  </a:lnTo>
                  <a:lnTo>
                    <a:pt x="170" y="89"/>
                  </a:lnTo>
                  <a:lnTo>
                    <a:pt x="167" y="83"/>
                  </a:lnTo>
                  <a:lnTo>
                    <a:pt x="161" y="79"/>
                  </a:lnTo>
                  <a:lnTo>
                    <a:pt x="164" y="73"/>
                  </a:lnTo>
                  <a:lnTo>
                    <a:pt x="170" y="62"/>
                  </a:lnTo>
                  <a:lnTo>
                    <a:pt x="171" y="66"/>
                  </a:lnTo>
                  <a:lnTo>
                    <a:pt x="180" y="66"/>
                  </a:lnTo>
                  <a:lnTo>
                    <a:pt x="193" y="69"/>
                  </a:lnTo>
                  <a:lnTo>
                    <a:pt x="231" y="68"/>
                  </a:lnTo>
                  <a:lnTo>
                    <a:pt x="242" y="72"/>
                  </a:lnTo>
                  <a:lnTo>
                    <a:pt x="248" y="75"/>
                  </a:lnTo>
                  <a:lnTo>
                    <a:pt x="253" y="74"/>
                  </a:lnTo>
                  <a:lnTo>
                    <a:pt x="274" y="77"/>
                  </a:lnTo>
                  <a:lnTo>
                    <a:pt x="288" y="70"/>
                  </a:lnTo>
                  <a:lnTo>
                    <a:pt x="295" y="57"/>
                  </a:lnTo>
                  <a:lnTo>
                    <a:pt x="307" y="51"/>
                  </a:lnTo>
                  <a:lnTo>
                    <a:pt x="318" y="41"/>
                  </a:lnTo>
                  <a:lnTo>
                    <a:pt x="332" y="36"/>
                  </a:lnTo>
                  <a:lnTo>
                    <a:pt x="343" y="26"/>
                  </a:lnTo>
                  <a:lnTo>
                    <a:pt x="355" y="19"/>
                  </a:lnTo>
                  <a:lnTo>
                    <a:pt x="381" y="9"/>
                  </a:lnTo>
                  <a:lnTo>
                    <a:pt x="398" y="7"/>
                  </a:lnTo>
                  <a:lnTo>
                    <a:pt x="414" y="5"/>
                  </a:lnTo>
                  <a:lnTo>
                    <a:pt x="436" y="8"/>
                  </a:lnTo>
                  <a:lnTo>
                    <a:pt x="473" y="8"/>
                  </a:lnTo>
                  <a:lnTo>
                    <a:pt x="485" y="2"/>
                  </a:lnTo>
                  <a:lnTo>
                    <a:pt x="493" y="0"/>
                  </a:lnTo>
                  <a:lnTo>
                    <a:pt x="499" y="3"/>
                  </a:lnTo>
                  <a:lnTo>
                    <a:pt x="499" y="10"/>
                  </a:lnTo>
                  <a:lnTo>
                    <a:pt x="506" y="21"/>
                  </a:lnTo>
                  <a:lnTo>
                    <a:pt x="520" y="29"/>
                  </a:lnTo>
                  <a:lnTo>
                    <a:pt x="533" y="35"/>
                  </a:lnTo>
                  <a:lnTo>
                    <a:pt x="546" y="26"/>
                  </a:lnTo>
                  <a:lnTo>
                    <a:pt x="553" y="37"/>
                  </a:lnTo>
                  <a:lnTo>
                    <a:pt x="560" y="58"/>
                  </a:lnTo>
                  <a:lnTo>
                    <a:pt x="587" y="61"/>
                  </a:lnTo>
                  <a:lnTo>
                    <a:pt x="623" y="80"/>
                  </a:lnTo>
                  <a:lnTo>
                    <a:pt x="629" y="77"/>
                  </a:lnTo>
                  <a:lnTo>
                    <a:pt x="635" y="74"/>
                  </a:lnTo>
                  <a:lnTo>
                    <a:pt x="656" y="84"/>
                  </a:lnTo>
                  <a:lnTo>
                    <a:pt x="677" y="83"/>
                  </a:lnTo>
                  <a:lnTo>
                    <a:pt x="693" y="77"/>
                  </a:lnTo>
                  <a:lnTo>
                    <a:pt x="724" y="72"/>
                  </a:lnTo>
                  <a:lnTo>
                    <a:pt x="758" y="80"/>
                  </a:lnTo>
                  <a:lnTo>
                    <a:pt x="779" y="79"/>
                  </a:lnTo>
                  <a:lnTo>
                    <a:pt x="820" y="51"/>
                  </a:lnTo>
                  <a:lnTo>
                    <a:pt x="838" y="40"/>
                  </a:lnTo>
                  <a:lnTo>
                    <a:pt x="840" y="35"/>
                  </a:lnTo>
                  <a:lnTo>
                    <a:pt x="847" y="41"/>
                  </a:lnTo>
                  <a:lnTo>
                    <a:pt x="855" y="41"/>
                  </a:lnTo>
                  <a:lnTo>
                    <a:pt x="868" y="37"/>
                  </a:lnTo>
                  <a:lnTo>
                    <a:pt x="887" y="43"/>
                  </a:lnTo>
                  <a:lnTo>
                    <a:pt x="893" y="43"/>
                  </a:lnTo>
                  <a:lnTo>
                    <a:pt x="898" y="36"/>
                  </a:lnTo>
                  <a:lnTo>
                    <a:pt x="903" y="32"/>
                  </a:lnTo>
                  <a:lnTo>
                    <a:pt x="911" y="35"/>
                  </a:lnTo>
                  <a:lnTo>
                    <a:pt x="919" y="42"/>
                  </a:lnTo>
                  <a:lnTo>
                    <a:pt x="930" y="58"/>
                  </a:lnTo>
                  <a:lnTo>
                    <a:pt x="935" y="59"/>
                  </a:lnTo>
                  <a:lnTo>
                    <a:pt x="944" y="69"/>
                  </a:lnTo>
                  <a:lnTo>
                    <a:pt x="951" y="75"/>
                  </a:lnTo>
                  <a:lnTo>
                    <a:pt x="958" y="89"/>
                  </a:lnTo>
                  <a:lnTo>
                    <a:pt x="960" y="109"/>
                  </a:lnTo>
                  <a:lnTo>
                    <a:pt x="963" y="123"/>
                  </a:lnTo>
                  <a:lnTo>
                    <a:pt x="971" y="133"/>
                  </a:lnTo>
                  <a:lnTo>
                    <a:pt x="982" y="137"/>
                  </a:lnTo>
                  <a:lnTo>
                    <a:pt x="990" y="143"/>
                  </a:lnTo>
                  <a:lnTo>
                    <a:pt x="1000" y="153"/>
                  </a:lnTo>
                  <a:lnTo>
                    <a:pt x="1008" y="156"/>
                  </a:lnTo>
                  <a:lnTo>
                    <a:pt x="1012" y="161"/>
                  </a:lnTo>
                  <a:lnTo>
                    <a:pt x="1003" y="179"/>
                  </a:lnTo>
                  <a:lnTo>
                    <a:pt x="1001" y="186"/>
                  </a:lnTo>
                  <a:lnTo>
                    <a:pt x="987" y="195"/>
                  </a:lnTo>
                  <a:lnTo>
                    <a:pt x="988" y="202"/>
                  </a:lnTo>
                  <a:lnTo>
                    <a:pt x="995" y="219"/>
                  </a:lnTo>
                  <a:lnTo>
                    <a:pt x="997" y="246"/>
                  </a:lnTo>
                  <a:lnTo>
                    <a:pt x="997" y="263"/>
                  </a:lnTo>
                  <a:lnTo>
                    <a:pt x="999" y="279"/>
                  </a:lnTo>
                  <a:lnTo>
                    <a:pt x="995" y="300"/>
                  </a:lnTo>
                  <a:lnTo>
                    <a:pt x="1009" y="308"/>
                  </a:lnTo>
                  <a:lnTo>
                    <a:pt x="1021" y="325"/>
                  </a:lnTo>
                  <a:lnTo>
                    <a:pt x="1022" y="341"/>
                  </a:lnTo>
                  <a:lnTo>
                    <a:pt x="1015" y="348"/>
                  </a:lnTo>
                  <a:lnTo>
                    <a:pt x="1000" y="347"/>
                  </a:lnTo>
                  <a:lnTo>
                    <a:pt x="990" y="336"/>
                  </a:lnTo>
                  <a:lnTo>
                    <a:pt x="973" y="337"/>
                  </a:lnTo>
                  <a:lnTo>
                    <a:pt x="942" y="336"/>
                  </a:lnTo>
                  <a:lnTo>
                    <a:pt x="922" y="327"/>
                  </a:lnTo>
                  <a:lnTo>
                    <a:pt x="897" y="348"/>
                  </a:lnTo>
                  <a:lnTo>
                    <a:pt x="888" y="349"/>
                  </a:lnTo>
                  <a:lnTo>
                    <a:pt x="887" y="347"/>
                  </a:lnTo>
                  <a:lnTo>
                    <a:pt x="887" y="342"/>
                  </a:lnTo>
                  <a:lnTo>
                    <a:pt x="883" y="339"/>
                  </a:lnTo>
                  <a:lnTo>
                    <a:pt x="881" y="337"/>
                  </a:lnTo>
                  <a:lnTo>
                    <a:pt x="872" y="344"/>
                  </a:lnTo>
                  <a:lnTo>
                    <a:pt x="855" y="352"/>
                  </a:lnTo>
                  <a:lnTo>
                    <a:pt x="820" y="354"/>
                  </a:lnTo>
                  <a:lnTo>
                    <a:pt x="810" y="351"/>
                  </a:lnTo>
                  <a:lnTo>
                    <a:pt x="801" y="351"/>
                  </a:lnTo>
                  <a:lnTo>
                    <a:pt x="785" y="355"/>
                  </a:lnTo>
                  <a:lnTo>
                    <a:pt x="775" y="364"/>
                  </a:lnTo>
                  <a:lnTo>
                    <a:pt x="767" y="368"/>
                  </a:lnTo>
                  <a:lnTo>
                    <a:pt x="754" y="371"/>
                  </a:lnTo>
                  <a:lnTo>
                    <a:pt x="750" y="375"/>
                  </a:lnTo>
                  <a:lnTo>
                    <a:pt x="716" y="381"/>
                  </a:lnTo>
                  <a:lnTo>
                    <a:pt x="689" y="378"/>
                  </a:lnTo>
                  <a:lnTo>
                    <a:pt x="678" y="366"/>
                  </a:lnTo>
                  <a:lnTo>
                    <a:pt x="671" y="365"/>
                  </a:lnTo>
                  <a:lnTo>
                    <a:pt x="657" y="366"/>
                  </a:lnTo>
                  <a:lnTo>
                    <a:pt x="648" y="373"/>
                  </a:lnTo>
                  <a:lnTo>
                    <a:pt x="634" y="378"/>
                  </a:lnTo>
                  <a:lnTo>
                    <a:pt x="626" y="380"/>
                  </a:lnTo>
                  <a:lnTo>
                    <a:pt x="622" y="384"/>
                  </a:lnTo>
                  <a:lnTo>
                    <a:pt x="607" y="381"/>
                  </a:lnTo>
                  <a:lnTo>
                    <a:pt x="598" y="384"/>
                  </a:lnTo>
                  <a:lnTo>
                    <a:pt x="597" y="381"/>
                  </a:lnTo>
                  <a:lnTo>
                    <a:pt x="597" y="379"/>
                  </a:lnTo>
                  <a:lnTo>
                    <a:pt x="597" y="378"/>
                  </a:lnTo>
                  <a:lnTo>
                    <a:pt x="592" y="374"/>
                  </a:lnTo>
                  <a:lnTo>
                    <a:pt x="583" y="373"/>
                  </a:lnTo>
                  <a:lnTo>
                    <a:pt x="578" y="370"/>
                  </a:lnTo>
                  <a:lnTo>
                    <a:pt x="573" y="381"/>
                  </a:lnTo>
                  <a:lnTo>
                    <a:pt x="571" y="382"/>
                  </a:lnTo>
                  <a:lnTo>
                    <a:pt x="571" y="387"/>
                  </a:lnTo>
                  <a:lnTo>
                    <a:pt x="569" y="396"/>
                  </a:lnTo>
                  <a:lnTo>
                    <a:pt x="579" y="408"/>
                  </a:lnTo>
                  <a:lnTo>
                    <a:pt x="579" y="411"/>
                  </a:lnTo>
                  <a:lnTo>
                    <a:pt x="576" y="412"/>
                  </a:lnTo>
                  <a:lnTo>
                    <a:pt x="569" y="412"/>
                  </a:lnTo>
                  <a:lnTo>
                    <a:pt x="560" y="414"/>
                  </a:lnTo>
                  <a:lnTo>
                    <a:pt x="560" y="418"/>
                  </a:lnTo>
                  <a:lnTo>
                    <a:pt x="560" y="427"/>
                  </a:lnTo>
                  <a:lnTo>
                    <a:pt x="554" y="432"/>
                  </a:lnTo>
                  <a:lnTo>
                    <a:pt x="551" y="433"/>
                  </a:lnTo>
                  <a:lnTo>
                    <a:pt x="548" y="439"/>
                  </a:lnTo>
                  <a:lnTo>
                    <a:pt x="542" y="435"/>
                  </a:lnTo>
                  <a:lnTo>
                    <a:pt x="540" y="432"/>
                  </a:lnTo>
                  <a:lnTo>
                    <a:pt x="536" y="432"/>
                  </a:lnTo>
                  <a:lnTo>
                    <a:pt x="538" y="42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51" name="Freeform 156">
              <a:extLst>
                <a:ext uri="{FF2B5EF4-FFF2-40B4-BE49-F238E27FC236}">
                  <a16:creationId xmlns:a16="http://schemas.microsoft.com/office/drawing/2014/main" id="{A65A3930-D5E1-A768-2AF5-BF7349577A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534267" y="2899086"/>
              <a:ext cx="88048" cy="80783"/>
            </a:xfrm>
            <a:custGeom>
              <a:avLst/>
              <a:gdLst>
                <a:gd name="T0" fmla="*/ 0 w 166"/>
                <a:gd name="T1" fmla="*/ 0 h 140"/>
                <a:gd name="T2" fmla="*/ 0 w 166"/>
                <a:gd name="T3" fmla="*/ 0 h 140"/>
                <a:gd name="T4" fmla="*/ 0 w 166"/>
                <a:gd name="T5" fmla="*/ 0 h 140"/>
                <a:gd name="T6" fmla="*/ 0 w 166"/>
                <a:gd name="T7" fmla="*/ 0 h 140"/>
                <a:gd name="T8" fmla="*/ 0 w 166"/>
                <a:gd name="T9" fmla="*/ 0 h 140"/>
                <a:gd name="T10" fmla="*/ 0 w 166"/>
                <a:gd name="T11" fmla="*/ 0 h 140"/>
                <a:gd name="T12" fmla="*/ 0 w 166"/>
                <a:gd name="T13" fmla="*/ 0 h 140"/>
                <a:gd name="T14" fmla="*/ 0 w 166"/>
                <a:gd name="T15" fmla="*/ 0 h 140"/>
                <a:gd name="T16" fmla="*/ 0 w 166"/>
                <a:gd name="T17" fmla="*/ 0 h 140"/>
                <a:gd name="T18" fmla="*/ 0 w 166"/>
                <a:gd name="T19" fmla="*/ 0 h 140"/>
                <a:gd name="T20" fmla="*/ 0 w 166"/>
                <a:gd name="T21" fmla="*/ 0 h 140"/>
                <a:gd name="T22" fmla="*/ 0 w 166"/>
                <a:gd name="T23" fmla="*/ 0 h 140"/>
                <a:gd name="T24" fmla="*/ 0 w 166"/>
                <a:gd name="T25" fmla="*/ 0 h 140"/>
                <a:gd name="T26" fmla="*/ 0 w 166"/>
                <a:gd name="T27" fmla="*/ 0 h 140"/>
                <a:gd name="T28" fmla="*/ 0 w 166"/>
                <a:gd name="T29" fmla="*/ 0 h 140"/>
                <a:gd name="T30" fmla="*/ 0 w 166"/>
                <a:gd name="T31" fmla="*/ 0 h 140"/>
                <a:gd name="T32" fmla="*/ 0 w 166"/>
                <a:gd name="T33" fmla="*/ 0 h 140"/>
                <a:gd name="T34" fmla="*/ 0 w 166"/>
                <a:gd name="T35" fmla="*/ 0 h 140"/>
                <a:gd name="T36" fmla="*/ 0 w 166"/>
                <a:gd name="T37" fmla="*/ 0 h 140"/>
                <a:gd name="T38" fmla="*/ 0 w 166"/>
                <a:gd name="T39" fmla="*/ 0 h 140"/>
                <a:gd name="T40" fmla="*/ 0 w 166"/>
                <a:gd name="T41" fmla="*/ 0 h 140"/>
                <a:gd name="T42" fmla="*/ 0 w 166"/>
                <a:gd name="T43" fmla="*/ 0 h 140"/>
                <a:gd name="T44" fmla="*/ 0 w 166"/>
                <a:gd name="T45" fmla="*/ 0 h 140"/>
                <a:gd name="T46" fmla="*/ 0 w 166"/>
                <a:gd name="T47" fmla="*/ 0 h 140"/>
                <a:gd name="T48" fmla="*/ 0 w 166"/>
                <a:gd name="T49" fmla="*/ 0 h 140"/>
                <a:gd name="T50" fmla="*/ 0 w 166"/>
                <a:gd name="T51" fmla="*/ 0 h 140"/>
                <a:gd name="T52" fmla="*/ 0 w 166"/>
                <a:gd name="T53" fmla="*/ 0 h 140"/>
                <a:gd name="T54" fmla="*/ 0 w 166"/>
                <a:gd name="T55" fmla="*/ 0 h 140"/>
                <a:gd name="T56" fmla="*/ 0 w 166"/>
                <a:gd name="T57" fmla="*/ 0 h 140"/>
                <a:gd name="T58" fmla="*/ 0 w 166"/>
                <a:gd name="T59" fmla="*/ 0 h 140"/>
                <a:gd name="T60" fmla="*/ 0 w 166"/>
                <a:gd name="T61" fmla="*/ 0 h 140"/>
                <a:gd name="T62" fmla="*/ 0 w 166"/>
                <a:gd name="T63" fmla="*/ 0 h 140"/>
                <a:gd name="T64" fmla="*/ 0 w 166"/>
                <a:gd name="T65" fmla="*/ 0 h 140"/>
                <a:gd name="T66" fmla="*/ 0 w 166"/>
                <a:gd name="T67" fmla="*/ 0 h 140"/>
                <a:gd name="T68" fmla="*/ 0 w 166"/>
                <a:gd name="T69" fmla="*/ 0 h 140"/>
                <a:gd name="T70" fmla="*/ 0 w 166"/>
                <a:gd name="T71" fmla="*/ 0 h 140"/>
                <a:gd name="T72" fmla="*/ 0 w 166"/>
                <a:gd name="T73" fmla="*/ 0 h 140"/>
                <a:gd name="T74" fmla="*/ 0 w 166"/>
                <a:gd name="T75" fmla="*/ 0 h 140"/>
                <a:gd name="T76" fmla="*/ 0 w 166"/>
                <a:gd name="T77" fmla="*/ 0 h 140"/>
                <a:gd name="T78" fmla="*/ 0 w 166"/>
                <a:gd name="T79" fmla="*/ 0 h 140"/>
                <a:gd name="T80" fmla="*/ 0 w 166"/>
                <a:gd name="T81" fmla="*/ 0 h 140"/>
                <a:gd name="T82" fmla="*/ 0 w 166"/>
                <a:gd name="T83" fmla="*/ 0 h 140"/>
                <a:gd name="T84" fmla="*/ 0 w 166"/>
                <a:gd name="T85" fmla="*/ 0 h 14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66"/>
                <a:gd name="T130" fmla="*/ 0 h 140"/>
                <a:gd name="T131" fmla="*/ 166 w 166"/>
                <a:gd name="T132" fmla="*/ 140 h 14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66" h="140">
                  <a:moveTo>
                    <a:pt x="108" y="8"/>
                  </a:moveTo>
                  <a:lnTo>
                    <a:pt x="100" y="6"/>
                  </a:lnTo>
                  <a:lnTo>
                    <a:pt x="77" y="10"/>
                  </a:lnTo>
                  <a:lnTo>
                    <a:pt x="59" y="0"/>
                  </a:lnTo>
                  <a:lnTo>
                    <a:pt x="39" y="8"/>
                  </a:lnTo>
                  <a:lnTo>
                    <a:pt x="25" y="10"/>
                  </a:lnTo>
                  <a:lnTo>
                    <a:pt x="16" y="18"/>
                  </a:lnTo>
                  <a:lnTo>
                    <a:pt x="19" y="24"/>
                  </a:lnTo>
                  <a:lnTo>
                    <a:pt x="28" y="31"/>
                  </a:lnTo>
                  <a:lnTo>
                    <a:pt x="27" y="42"/>
                  </a:lnTo>
                  <a:lnTo>
                    <a:pt x="16" y="51"/>
                  </a:lnTo>
                  <a:lnTo>
                    <a:pt x="14" y="67"/>
                  </a:lnTo>
                  <a:lnTo>
                    <a:pt x="10" y="81"/>
                  </a:lnTo>
                  <a:lnTo>
                    <a:pt x="0" y="96"/>
                  </a:lnTo>
                  <a:lnTo>
                    <a:pt x="3" y="100"/>
                  </a:lnTo>
                  <a:lnTo>
                    <a:pt x="10" y="104"/>
                  </a:lnTo>
                  <a:lnTo>
                    <a:pt x="43" y="100"/>
                  </a:lnTo>
                  <a:lnTo>
                    <a:pt x="36" y="107"/>
                  </a:lnTo>
                  <a:lnTo>
                    <a:pt x="21" y="113"/>
                  </a:lnTo>
                  <a:lnTo>
                    <a:pt x="10" y="120"/>
                  </a:lnTo>
                  <a:lnTo>
                    <a:pt x="9" y="127"/>
                  </a:lnTo>
                  <a:lnTo>
                    <a:pt x="9" y="140"/>
                  </a:lnTo>
                  <a:lnTo>
                    <a:pt x="17" y="137"/>
                  </a:lnTo>
                  <a:lnTo>
                    <a:pt x="23" y="127"/>
                  </a:lnTo>
                  <a:lnTo>
                    <a:pt x="33" y="118"/>
                  </a:lnTo>
                  <a:lnTo>
                    <a:pt x="58" y="101"/>
                  </a:lnTo>
                  <a:lnTo>
                    <a:pt x="76" y="86"/>
                  </a:lnTo>
                  <a:lnTo>
                    <a:pt x="85" y="75"/>
                  </a:lnTo>
                  <a:lnTo>
                    <a:pt x="97" y="75"/>
                  </a:lnTo>
                  <a:lnTo>
                    <a:pt x="108" y="73"/>
                  </a:lnTo>
                  <a:lnTo>
                    <a:pt x="124" y="73"/>
                  </a:lnTo>
                  <a:lnTo>
                    <a:pt x="138" y="74"/>
                  </a:lnTo>
                  <a:lnTo>
                    <a:pt x="145" y="78"/>
                  </a:lnTo>
                  <a:lnTo>
                    <a:pt x="160" y="73"/>
                  </a:lnTo>
                  <a:lnTo>
                    <a:pt x="166" y="64"/>
                  </a:lnTo>
                  <a:lnTo>
                    <a:pt x="166" y="56"/>
                  </a:lnTo>
                  <a:lnTo>
                    <a:pt x="156" y="54"/>
                  </a:lnTo>
                  <a:lnTo>
                    <a:pt x="139" y="48"/>
                  </a:lnTo>
                  <a:lnTo>
                    <a:pt x="125" y="42"/>
                  </a:lnTo>
                  <a:lnTo>
                    <a:pt x="117" y="36"/>
                  </a:lnTo>
                  <a:lnTo>
                    <a:pt x="109" y="27"/>
                  </a:lnTo>
                  <a:lnTo>
                    <a:pt x="107" y="16"/>
                  </a:lnTo>
                  <a:lnTo>
                    <a:pt x="108" y="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52" name="Freeform 157">
              <a:extLst>
                <a:ext uri="{FF2B5EF4-FFF2-40B4-BE49-F238E27FC236}">
                  <a16:creationId xmlns:a16="http://schemas.microsoft.com/office/drawing/2014/main" id="{ABD19BE2-2844-9B0A-722E-BF21E00A8F1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792442" y="3242035"/>
              <a:ext cx="123865" cy="152422"/>
            </a:xfrm>
            <a:custGeom>
              <a:avLst/>
              <a:gdLst>
                <a:gd name="T0" fmla="*/ 2147483647 w 231"/>
                <a:gd name="T1" fmla="*/ 2147483647 h 269"/>
                <a:gd name="T2" fmla="*/ 2147483647 w 231"/>
                <a:gd name="T3" fmla="*/ 0 h 269"/>
                <a:gd name="T4" fmla="*/ 2147483647 w 231"/>
                <a:gd name="T5" fmla="*/ 0 h 269"/>
                <a:gd name="T6" fmla="*/ 2147483647 w 231"/>
                <a:gd name="T7" fmla="*/ 0 h 269"/>
                <a:gd name="T8" fmla="*/ 2147483647 w 231"/>
                <a:gd name="T9" fmla="*/ 0 h 269"/>
                <a:gd name="T10" fmla="*/ 2147483647 w 231"/>
                <a:gd name="T11" fmla="*/ 0 h 269"/>
                <a:gd name="T12" fmla="*/ 2147483647 w 231"/>
                <a:gd name="T13" fmla="*/ 0 h 269"/>
                <a:gd name="T14" fmla="*/ 2147483647 w 231"/>
                <a:gd name="T15" fmla="*/ 0 h 269"/>
                <a:gd name="T16" fmla="*/ 2147483647 w 231"/>
                <a:gd name="T17" fmla="*/ 0 h 269"/>
                <a:gd name="T18" fmla="*/ 2147483647 w 231"/>
                <a:gd name="T19" fmla="*/ 0 h 269"/>
                <a:gd name="T20" fmla="*/ 2147483647 w 231"/>
                <a:gd name="T21" fmla="*/ 0 h 269"/>
                <a:gd name="T22" fmla="*/ 2147483647 w 231"/>
                <a:gd name="T23" fmla="*/ 0 h 269"/>
                <a:gd name="T24" fmla="*/ 0 w 231"/>
                <a:gd name="T25" fmla="*/ 0 h 269"/>
                <a:gd name="T26" fmla="*/ 0 w 231"/>
                <a:gd name="T27" fmla="*/ 0 h 269"/>
                <a:gd name="T28" fmla="*/ 0 w 231"/>
                <a:gd name="T29" fmla="*/ 0 h 269"/>
                <a:gd name="T30" fmla="*/ 0 w 231"/>
                <a:gd name="T31" fmla="*/ 0 h 269"/>
                <a:gd name="T32" fmla="*/ 0 w 231"/>
                <a:gd name="T33" fmla="*/ 0 h 269"/>
                <a:gd name="T34" fmla="*/ 0 w 231"/>
                <a:gd name="T35" fmla="*/ 2147483647 h 269"/>
                <a:gd name="T36" fmla="*/ 0 w 231"/>
                <a:gd name="T37" fmla="*/ 2147483647 h 269"/>
                <a:gd name="T38" fmla="*/ 0 w 231"/>
                <a:gd name="T39" fmla="*/ 2147483647 h 269"/>
                <a:gd name="T40" fmla="*/ 0 w 231"/>
                <a:gd name="T41" fmla="*/ 2147483647 h 269"/>
                <a:gd name="T42" fmla="*/ 0 w 231"/>
                <a:gd name="T43" fmla="*/ 2147483647 h 269"/>
                <a:gd name="T44" fmla="*/ 0 w 231"/>
                <a:gd name="T45" fmla="*/ 2147483647 h 269"/>
                <a:gd name="T46" fmla="*/ 0 w 231"/>
                <a:gd name="T47" fmla="*/ 2147483647 h 269"/>
                <a:gd name="T48" fmla="*/ 0 w 231"/>
                <a:gd name="T49" fmla="*/ 2147483647 h 269"/>
                <a:gd name="T50" fmla="*/ 0 w 231"/>
                <a:gd name="T51" fmla="*/ 2147483647 h 269"/>
                <a:gd name="T52" fmla="*/ 0 w 231"/>
                <a:gd name="T53" fmla="*/ 2147483647 h 269"/>
                <a:gd name="T54" fmla="*/ 0 w 231"/>
                <a:gd name="T55" fmla="*/ 2147483647 h 269"/>
                <a:gd name="T56" fmla="*/ 0 w 231"/>
                <a:gd name="T57" fmla="*/ 2147483647 h 269"/>
                <a:gd name="T58" fmla="*/ 0 w 231"/>
                <a:gd name="T59" fmla="*/ 2147483647 h 269"/>
                <a:gd name="T60" fmla="*/ 0 w 231"/>
                <a:gd name="T61" fmla="*/ 2147483647 h 269"/>
                <a:gd name="T62" fmla="*/ 0 w 231"/>
                <a:gd name="T63" fmla="*/ 2147483647 h 269"/>
                <a:gd name="T64" fmla="*/ 0 w 231"/>
                <a:gd name="T65" fmla="*/ 2147483647 h 269"/>
                <a:gd name="T66" fmla="*/ 2147483647 w 231"/>
                <a:gd name="T67" fmla="*/ 2147483647 h 269"/>
                <a:gd name="T68" fmla="*/ 2147483647 w 231"/>
                <a:gd name="T69" fmla="*/ 2147483647 h 269"/>
                <a:gd name="T70" fmla="*/ 2147483647 w 231"/>
                <a:gd name="T71" fmla="*/ 2147483647 h 269"/>
                <a:gd name="T72" fmla="*/ 2147483647 w 231"/>
                <a:gd name="T73" fmla="*/ 2147483647 h 269"/>
                <a:gd name="T74" fmla="*/ 2147483647 w 231"/>
                <a:gd name="T75" fmla="*/ 2147483647 h 269"/>
                <a:gd name="T76" fmla="*/ 2147483647 w 231"/>
                <a:gd name="T77" fmla="*/ 2147483647 h 269"/>
                <a:gd name="T78" fmla="*/ 2147483647 w 231"/>
                <a:gd name="T79" fmla="*/ 2147483647 h 269"/>
                <a:gd name="T80" fmla="*/ 2147483647 w 231"/>
                <a:gd name="T81" fmla="*/ 2147483647 h 269"/>
                <a:gd name="T82" fmla="*/ 2147483647 w 231"/>
                <a:gd name="T83" fmla="*/ 2147483647 h 269"/>
                <a:gd name="T84" fmla="*/ 2147483647 w 231"/>
                <a:gd name="T85" fmla="*/ 2147483647 h 269"/>
                <a:gd name="T86" fmla="*/ 2147483647 w 231"/>
                <a:gd name="T87" fmla="*/ 2147483647 h 269"/>
                <a:gd name="T88" fmla="*/ 2147483647 w 231"/>
                <a:gd name="T89" fmla="*/ 2147483647 h 269"/>
                <a:gd name="T90" fmla="*/ 2147483647 w 231"/>
                <a:gd name="T91" fmla="*/ 2147483647 h 269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31"/>
                <a:gd name="T139" fmla="*/ 0 h 269"/>
                <a:gd name="T140" fmla="*/ 231 w 231"/>
                <a:gd name="T141" fmla="*/ 269 h 269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31" h="269">
                  <a:moveTo>
                    <a:pt x="215" y="94"/>
                  </a:moveTo>
                  <a:lnTo>
                    <a:pt x="231" y="75"/>
                  </a:lnTo>
                  <a:lnTo>
                    <a:pt x="215" y="0"/>
                  </a:lnTo>
                  <a:lnTo>
                    <a:pt x="165" y="26"/>
                  </a:lnTo>
                  <a:lnTo>
                    <a:pt x="141" y="39"/>
                  </a:lnTo>
                  <a:lnTo>
                    <a:pt x="96" y="67"/>
                  </a:lnTo>
                  <a:lnTo>
                    <a:pt x="87" y="69"/>
                  </a:lnTo>
                  <a:lnTo>
                    <a:pt x="75" y="67"/>
                  </a:lnTo>
                  <a:lnTo>
                    <a:pt x="70" y="65"/>
                  </a:lnTo>
                  <a:lnTo>
                    <a:pt x="62" y="55"/>
                  </a:lnTo>
                  <a:lnTo>
                    <a:pt x="54" y="51"/>
                  </a:lnTo>
                  <a:lnTo>
                    <a:pt x="48" y="43"/>
                  </a:lnTo>
                  <a:lnTo>
                    <a:pt x="44" y="42"/>
                  </a:lnTo>
                  <a:lnTo>
                    <a:pt x="32" y="44"/>
                  </a:lnTo>
                  <a:lnTo>
                    <a:pt x="32" y="64"/>
                  </a:lnTo>
                  <a:lnTo>
                    <a:pt x="32" y="66"/>
                  </a:lnTo>
                  <a:lnTo>
                    <a:pt x="31" y="75"/>
                  </a:lnTo>
                  <a:lnTo>
                    <a:pt x="30" y="82"/>
                  </a:lnTo>
                  <a:lnTo>
                    <a:pt x="28" y="94"/>
                  </a:lnTo>
                  <a:lnTo>
                    <a:pt x="31" y="103"/>
                  </a:lnTo>
                  <a:lnTo>
                    <a:pt x="28" y="109"/>
                  </a:lnTo>
                  <a:lnTo>
                    <a:pt x="27" y="118"/>
                  </a:lnTo>
                  <a:lnTo>
                    <a:pt x="25" y="120"/>
                  </a:lnTo>
                  <a:lnTo>
                    <a:pt x="27" y="124"/>
                  </a:lnTo>
                  <a:lnTo>
                    <a:pt x="23" y="137"/>
                  </a:lnTo>
                  <a:lnTo>
                    <a:pt x="26" y="145"/>
                  </a:lnTo>
                  <a:lnTo>
                    <a:pt x="17" y="163"/>
                  </a:lnTo>
                  <a:lnTo>
                    <a:pt x="11" y="183"/>
                  </a:lnTo>
                  <a:lnTo>
                    <a:pt x="5" y="236"/>
                  </a:lnTo>
                  <a:lnTo>
                    <a:pt x="1" y="247"/>
                  </a:lnTo>
                  <a:lnTo>
                    <a:pt x="0" y="253"/>
                  </a:lnTo>
                  <a:lnTo>
                    <a:pt x="3" y="261"/>
                  </a:lnTo>
                  <a:lnTo>
                    <a:pt x="64" y="269"/>
                  </a:lnTo>
                  <a:lnTo>
                    <a:pt x="81" y="252"/>
                  </a:lnTo>
                  <a:lnTo>
                    <a:pt x="82" y="248"/>
                  </a:lnTo>
                  <a:lnTo>
                    <a:pt x="97" y="223"/>
                  </a:lnTo>
                  <a:lnTo>
                    <a:pt x="139" y="217"/>
                  </a:lnTo>
                  <a:lnTo>
                    <a:pt x="140" y="207"/>
                  </a:lnTo>
                  <a:lnTo>
                    <a:pt x="146" y="191"/>
                  </a:lnTo>
                  <a:lnTo>
                    <a:pt x="168" y="179"/>
                  </a:lnTo>
                  <a:lnTo>
                    <a:pt x="170" y="178"/>
                  </a:lnTo>
                  <a:lnTo>
                    <a:pt x="117" y="124"/>
                  </a:lnTo>
                  <a:lnTo>
                    <a:pt x="108" y="118"/>
                  </a:lnTo>
                  <a:lnTo>
                    <a:pt x="149" y="108"/>
                  </a:lnTo>
                  <a:lnTo>
                    <a:pt x="215" y="9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53" name="Freeform 158">
              <a:extLst>
                <a:ext uri="{FF2B5EF4-FFF2-40B4-BE49-F238E27FC236}">
                  <a16:creationId xmlns:a16="http://schemas.microsoft.com/office/drawing/2014/main" id="{7420B709-AE2A-19E7-E46A-F7783608E90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808858" y="3089613"/>
              <a:ext cx="207435" cy="190528"/>
            </a:xfrm>
            <a:custGeom>
              <a:avLst/>
              <a:gdLst>
                <a:gd name="T0" fmla="*/ 2147483647 w 387"/>
                <a:gd name="T1" fmla="*/ 2147483647 h 337"/>
                <a:gd name="T2" fmla="*/ 2147483647 w 387"/>
                <a:gd name="T3" fmla="*/ 2147483647 h 337"/>
                <a:gd name="T4" fmla="*/ 2147483647 w 387"/>
                <a:gd name="T5" fmla="*/ 2147483647 h 337"/>
                <a:gd name="T6" fmla="*/ 2147483647 w 387"/>
                <a:gd name="T7" fmla="*/ 0 h 337"/>
                <a:gd name="T8" fmla="*/ 2147483647 w 387"/>
                <a:gd name="T9" fmla="*/ 0 h 337"/>
                <a:gd name="T10" fmla="*/ 2147483647 w 387"/>
                <a:gd name="T11" fmla="*/ 0 h 337"/>
                <a:gd name="T12" fmla="*/ 2147483647 w 387"/>
                <a:gd name="T13" fmla="*/ 0 h 337"/>
                <a:gd name="T14" fmla="*/ 2147483647 w 387"/>
                <a:gd name="T15" fmla="*/ 0 h 337"/>
                <a:gd name="T16" fmla="*/ 2147483647 w 387"/>
                <a:gd name="T17" fmla="*/ 0 h 337"/>
                <a:gd name="T18" fmla="*/ 2147483647 w 387"/>
                <a:gd name="T19" fmla="*/ 0 h 337"/>
                <a:gd name="T20" fmla="*/ 2147483647 w 387"/>
                <a:gd name="T21" fmla="*/ 0 h 337"/>
                <a:gd name="T22" fmla="*/ 2147483647 w 387"/>
                <a:gd name="T23" fmla="*/ 0 h 337"/>
                <a:gd name="T24" fmla="*/ 2147483647 w 387"/>
                <a:gd name="T25" fmla="*/ 0 h 337"/>
                <a:gd name="T26" fmla="*/ 2147483647 w 387"/>
                <a:gd name="T27" fmla="*/ 0 h 337"/>
                <a:gd name="T28" fmla="*/ 2147483647 w 387"/>
                <a:gd name="T29" fmla="*/ 0 h 337"/>
                <a:gd name="T30" fmla="*/ 2147483647 w 387"/>
                <a:gd name="T31" fmla="*/ 0 h 337"/>
                <a:gd name="T32" fmla="*/ 2147483647 w 387"/>
                <a:gd name="T33" fmla="*/ 0 h 337"/>
                <a:gd name="T34" fmla="*/ 2147483647 w 387"/>
                <a:gd name="T35" fmla="*/ 0 h 337"/>
                <a:gd name="T36" fmla="*/ 2147483647 w 387"/>
                <a:gd name="T37" fmla="*/ 2147483647 h 337"/>
                <a:gd name="T38" fmla="*/ 0 w 387"/>
                <a:gd name="T39" fmla="*/ 2147483647 h 337"/>
                <a:gd name="T40" fmla="*/ 0 w 387"/>
                <a:gd name="T41" fmla="*/ 2147483647 h 337"/>
                <a:gd name="T42" fmla="*/ 0 w 387"/>
                <a:gd name="T43" fmla="*/ 2147483647 h 337"/>
                <a:gd name="T44" fmla="*/ 0 w 387"/>
                <a:gd name="T45" fmla="*/ 2147483647 h 337"/>
                <a:gd name="T46" fmla="*/ 2147483647 w 387"/>
                <a:gd name="T47" fmla="*/ 2147483647 h 337"/>
                <a:gd name="T48" fmla="*/ 2147483647 w 387"/>
                <a:gd name="T49" fmla="*/ 2147483647 h 337"/>
                <a:gd name="T50" fmla="*/ 2147483647 w 387"/>
                <a:gd name="T51" fmla="*/ 2147483647 h 337"/>
                <a:gd name="T52" fmla="*/ 2147483647 w 387"/>
                <a:gd name="T53" fmla="*/ 2147483647 h 337"/>
                <a:gd name="T54" fmla="*/ 2147483647 w 387"/>
                <a:gd name="T55" fmla="*/ 2147483647 h 337"/>
                <a:gd name="T56" fmla="*/ 2147483647 w 387"/>
                <a:gd name="T57" fmla="*/ 2147483647 h 337"/>
                <a:gd name="T58" fmla="*/ 2147483647 w 387"/>
                <a:gd name="T59" fmla="*/ 2147483647 h 337"/>
                <a:gd name="T60" fmla="*/ 2147483647 w 387"/>
                <a:gd name="T61" fmla="*/ 2147483647 h 337"/>
                <a:gd name="T62" fmla="*/ 0 w 387"/>
                <a:gd name="T63" fmla="*/ 2147483647 h 337"/>
                <a:gd name="T64" fmla="*/ 2147483647 w 387"/>
                <a:gd name="T65" fmla="*/ 2147483647 h 337"/>
                <a:gd name="T66" fmla="*/ 0 w 387"/>
                <a:gd name="T67" fmla="*/ 2147483647 h 337"/>
                <a:gd name="T68" fmla="*/ 0 w 387"/>
                <a:gd name="T69" fmla="*/ 2147483647 h 337"/>
                <a:gd name="T70" fmla="*/ 0 w 387"/>
                <a:gd name="T71" fmla="*/ 2147483647 h 337"/>
                <a:gd name="T72" fmla="*/ 0 w 387"/>
                <a:gd name="T73" fmla="*/ 2147483647 h 337"/>
                <a:gd name="T74" fmla="*/ 0 w 387"/>
                <a:gd name="T75" fmla="*/ 2147483647 h 337"/>
                <a:gd name="T76" fmla="*/ 0 w 387"/>
                <a:gd name="T77" fmla="*/ 2147483647 h 337"/>
                <a:gd name="T78" fmla="*/ 0 w 387"/>
                <a:gd name="T79" fmla="*/ 2147483647 h 337"/>
                <a:gd name="T80" fmla="*/ 0 w 387"/>
                <a:gd name="T81" fmla="*/ 2147483647 h 337"/>
                <a:gd name="T82" fmla="*/ 0 w 387"/>
                <a:gd name="T83" fmla="*/ 2147483647 h 337"/>
                <a:gd name="T84" fmla="*/ 2147483647 w 387"/>
                <a:gd name="T85" fmla="*/ 2147483647 h 33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87"/>
                <a:gd name="T130" fmla="*/ 0 h 337"/>
                <a:gd name="T131" fmla="*/ 387 w 387"/>
                <a:gd name="T132" fmla="*/ 337 h 33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87" h="337">
                  <a:moveTo>
                    <a:pt x="183" y="268"/>
                  </a:moveTo>
                  <a:lnTo>
                    <a:pt x="226" y="238"/>
                  </a:lnTo>
                  <a:lnTo>
                    <a:pt x="241" y="227"/>
                  </a:lnTo>
                  <a:lnTo>
                    <a:pt x="256" y="222"/>
                  </a:lnTo>
                  <a:lnTo>
                    <a:pt x="278" y="210"/>
                  </a:lnTo>
                  <a:lnTo>
                    <a:pt x="290" y="203"/>
                  </a:lnTo>
                  <a:lnTo>
                    <a:pt x="294" y="199"/>
                  </a:lnTo>
                  <a:lnTo>
                    <a:pt x="306" y="194"/>
                  </a:lnTo>
                  <a:lnTo>
                    <a:pt x="316" y="170"/>
                  </a:lnTo>
                  <a:lnTo>
                    <a:pt x="319" y="133"/>
                  </a:lnTo>
                  <a:lnTo>
                    <a:pt x="323" y="63"/>
                  </a:lnTo>
                  <a:lnTo>
                    <a:pt x="354" y="50"/>
                  </a:lnTo>
                  <a:lnTo>
                    <a:pt x="372" y="21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77" y="10"/>
                  </a:lnTo>
                  <a:lnTo>
                    <a:pt x="377" y="5"/>
                  </a:lnTo>
                  <a:lnTo>
                    <a:pt x="373" y="2"/>
                  </a:lnTo>
                  <a:lnTo>
                    <a:pt x="371" y="0"/>
                  </a:lnTo>
                  <a:lnTo>
                    <a:pt x="362" y="7"/>
                  </a:lnTo>
                  <a:lnTo>
                    <a:pt x="345" y="15"/>
                  </a:lnTo>
                  <a:lnTo>
                    <a:pt x="310" y="17"/>
                  </a:lnTo>
                  <a:lnTo>
                    <a:pt x="300" y="14"/>
                  </a:lnTo>
                  <a:lnTo>
                    <a:pt x="291" y="14"/>
                  </a:lnTo>
                  <a:lnTo>
                    <a:pt x="275" y="18"/>
                  </a:lnTo>
                  <a:lnTo>
                    <a:pt x="265" y="27"/>
                  </a:lnTo>
                  <a:lnTo>
                    <a:pt x="257" y="31"/>
                  </a:lnTo>
                  <a:lnTo>
                    <a:pt x="244" y="34"/>
                  </a:lnTo>
                  <a:lnTo>
                    <a:pt x="238" y="38"/>
                  </a:lnTo>
                  <a:lnTo>
                    <a:pt x="206" y="45"/>
                  </a:lnTo>
                  <a:lnTo>
                    <a:pt x="179" y="41"/>
                  </a:lnTo>
                  <a:lnTo>
                    <a:pt x="168" y="31"/>
                  </a:lnTo>
                  <a:lnTo>
                    <a:pt x="161" y="28"/>
                  </a:lnTo>
                  <a:lnTo>
                    <a:pt x="147" y="29"/>
                  </a:lnTo>
                  <a:lnTo>
                    <a:pt x="138" y="36"/>
                  </a:lnTo>
                  <a:lnTo>
                    <a:pt x="124" y="41"/>
                  </a:lnTo>
                  <a:lnTo>
                    <a:pt x="116" y="43"/>
                  </a:lnTo>
                  <a:lnTo>
                    <a:pt x="112" y="47"/>
                  </a:lnTo>
                  <a:lnTo>
                    <a:pt x="97" y="44"/>
                  </a:lnTo>
                  <a:lnTo>
                    <a:pt x="88" y="47"/>
                  </a:lnTo>
                  <a:lnTo>
                    <a:pt x="87" y="44"/>
                  </a:lnTo>
                  <a:lnTo>
                    <a:pt x="87" y="42"/>
                  </a:lnTo>
                  <a:lnTo>
                    <a:pt x="87" y="41"/>
                  </a:lnTo>
                  <a:lnTo>
                    <a:pt x="82" y="37"/>
                  </a:lnTo>
                  <a:lnTo>
                    <a:pt x="73" y="36"/>
                  </a:lnTo>
                  <a:lnTo>
                    <a:pt x="68" y="33"/>
                  </a:lnTo>
                  <a:lnTo>
                    <a:pt x="63" y="44"/>
                  </a:lnTo>
                  <a:lnTo>
                    <a:pt x="61" y="45"/>
                  </a:lnTo>
                  <a:lnTo>
                    <a:pt x="61" y="50"/>
                  </a:lnTo>
                  <a:lnTo>
                    <a:pt x="59" y="59"/>
                  </a:lnTo>
                  <a:lnTo>
                    <a:pt x="68" y="71"/>
                  </a:lnTo>
                  <a:lnTo>
                    <a:pt x="69" y="74"/>
                  </a:lnTo>
                  <a:lnTo>
                    <a:pt x="66" y="75"/>
                  </a:lnTo>
                  <a:lnTo>
                    <a:pt x="59" y="75"/>
                  </a:lnTo>
                  <a:lnTo>
                    <a:pt x="50" y="77"/>
                  </a:lnTo>
                  <a:lnTo>
                    <a:pt x="50" y="81"/>
                  </a:lnTo>
                  <a:lnTo>
                    <a:pt x="50" y="90"/>
                  </a:lnTo>
                  <a:lnTo>
                    <a:pt x="44" y="95"/>
                  </a:lnTo>
                  <a:lnTo>
                    <a:pt x="41" y="96"/>
                  </a:lnTo>
                  <a:lnTo>
                    <a:pt x="38" y="102"/>
                  </a:lnTo>
                  <a:lnTo>
                    <a:pt x="32" y="98"/>
                  </a:lnTo>
                  <a:lnTo>
                    <a:pt x="30" y="95"/>
                  </a:lnTo>
                  <a:lnTo>
                    <a:pt x="26" y="95"/>
                  </a:lnTo>
                  <a:lnTo>
                    <a:pt x="26" y="106"/>
                  </a:lnTo>
                  <a:lnTo>
                    <a:pt x="21" y="119"/>
                  </a:lnTo>
                  <a:lnTo>
                    <a:pt x="23" y="123"/>
                  </a:lnTo>
                  <a:lnTo>
                    <a:pt x="28" y="136"/>
                  </a:lnTo>
                  <a:lnTo>
                    <a:pt x="28" y="155"/>
                  </a:lnTo>
                  <a:lnTo>
                    <a:pt x="26" y="167"/>
                  </a:lnTo>
                  <a:lnTo>
                    <a:pt x="28" y="178"/>
                  </a:lnTo>
                  <a:lnTo>
                    <a:pt x="45" y="178"/>
                  </a:lnTo>
                  <a:lnTo>
                    <a:pt x="48" y="174"/>
                  </a:lnTo>
                  <a:lnTo>
                    <a:pt x="50" y="174"/>
                  </a:lnTo>
                  <a:lnTo>
                    <a:pt x="52" y="179"/>
                  </a:lnTo>
                  <a:lnTo>
                    <a:pt x="57" y="179"/>
                  </a:lnTo>
                  <a:lnTo>
                    <a:pt x="58" y="181"/>
                  </a:lnTo>
                  <a:lnTo>
                    <a:pt x="58" y="183"/>
                  </a:lnTo>
                  <a:lnTo>
                    <a:pt x="53" y="183"/>
                  </a:lnTo>
                  <a:lnTo>
                    <a:pt x="53" y="185"/>
                  </a:lnTo>
                  <a:lnTo>
                    <a:pt x="50" y="187"/>
                  </a:lnTo>
                  <a:lnTo>
                    <a:pt x="50" y="189"/>
                  </a:lnTo>
                  <a:lnTo>
                    <a:pt x="57" y="189"/>
                  </a:lnTo>
                  <a:lnTo>
                    <a:pt x="58" y="193"/>
                  </a:lnTo>
                  <a:lnTo>
                    <a:pt x="63" y="195"/>
                  </a:lnTo>
                  <a:lnTo>
                    <a:pt x="61" y="199"/>
                  </a:lnTo>
                  <a:lnTo>
                    <a:pt x="65" y="204"/>
                  </a:lnTo>
                  <a:lnTo>
                    <a:pt x="64" y="208"/>
                  </a:lnTo>
                  <a:lnTo>
                    <a:pt x="66" y="210"/>
                  </a:lnTo>
                  <a:lnTo>
                    <a:pt x="64" y="212"/>
                  </a:lnTo>
                  <a:lnTo>
                    <a:pt x="63" y="216"/>
                  </a:lnTo>
                  <a:lnTo>
                    <a:pt x="60" y="216"/>
                  </a:lnTo>
                  <a:lnTo>
                    <a:pt x="55" y="221"/>
                  </a:lnTo>
                  <a:lnTo>
                    <a:pt x="50" y="222"/>
                  </a:lnTo>
                  <a:lnTo>
                    <a:pt x="50" y="226"/>
                  </a:lnTo>
                  <a:lnTo>
                    <a:pt x="47" y="227"/>
                  </a:lnTo>
                  <a:lnTo>
                    <a:pt x="45" y="230"/>
                  </a:lnTo>
                  <a:lnTo>
                    <a:pt x="50" y="233"/>
                  </a:lnTo>
                  <a:lnTo>
                    <a:pt x="52" y="236"/>
                  </a:lnTo>
                  <a:lnTo>
                    <a:pt x="50" y="237"/>
                  </a:lnTo>
                  <a:lnTo>
                    <a:pt x="45" y="236"/>
                  </a:lnTo>
                  <a:lnTo>
                    <a:pt x="32" y="237"/>
                  </a:lnTo>
                  <a:lnTo>
                    <a:pt x="31" y="242"/>
                  </a:lnTo>
                  <a:lnTo>
                    <a:pt x="28" y="243"/>
                  </a:lnTo>
                  <a:lnTo>
                    <a:pt x="26" y="249"/>
                  </a:lnTo>
                  <a:lnTo>
                    <a:pt x="31" y="252"/>
                  </a:lnTo>
                  <a:lnTo>
                    <a:pt x="31" y="257"/>
                  </a:lnTo>
                  <a:lnTo>
                    <a:pt x="28" y="257"/>
                  </a:lnTo>
                  <a:lnTo>
                    <a:pt x="25" y="263"/>
                  </a:lnTo>
                  <a:lnTo>
                    <a:pt x="18" y="267"/>
                  </a:lnTo>
                  <a:lnTo>
                    <a:pt x="17" y="270"/>
                  </a:lnTo>
                  <a:lnTo>
                    <a:pt x="12" y="270"/>
                  </a:lnTo>
                  <a:lnTo>
                    <a:pt x="5" y="276"/>
                  </a:lnTo>
                  <a:lnTo>
                    <a:pt x="5" y="286"/>
                  </a:lnTo>
                  <a:lnTo>
                    <a:pt x="2" y="290"/>
                  </a:lnTo>
                  <a:lnTo>
                    <a:pt x="4" y="295"/>
                  </a:lnTo>
                  <a:lnTo>
                    <a:pt x="2" y="300"/>
                  </a:lnTo>
                  <a:lnTo>
                    <a:pt x="5" y="306"/>
                  </a:lnTo>
                  <a:lnTo>
                    <a:pt x="0" y="312"/>
                  </a:lnTo>
                  <a:lnTo>
                    <a:pt x="12" y="310"/>
                  </a:lnTo>
                  <a:lnTo>
                    <a:pt x="16" y="311"/>
                  </a:lnTo>
                  <a:lnTo>
                    <a:pt x="22" y="319"/>
                  </a:lnTo>
                  <a:lnTo>
                    <a:pt x="30" y="324"/>
                  </a:lnTo>
                  <a:lnTo>
                    <a:pt x="38" y="333"/>
                  </a:lnTo>
                  <a:lnTo>
                    <a:pt x="43" y="335"/>
                  </a:lnTo>
                  <a:lnTo>
                    <a:pt x="55" y="337"/>
                  </a:lnTo>
                  <a:lnTo>
                    <a:pt x="63" y="335"/>
                  </a:lnTo>
                  <a:lnTo>
                    <a:pt x="109" y="307"/>
                  </a:lnTo>
                  <a:lnTo>
                    <a:pt x="133" y="294"/>
                  </a:lnTo>
                  <a:lnTo>
                    <a:pt x="183" y="26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54" name="Freeform 159">
              <a:extLst>
                <a:ext uri="{FF2B5EF4-FFF2-40B4-BE49-F238E27FC236}">
                  <a16:creationId xmlns:a16="http://schemas.microsoft.com/office/drawing/2014/main" id="{5F86A189-0D2D-A93D-ABAD-6DB106C26F5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717825" y="3152107"/>
              <a:ext cx="68648" cy="42678"/>
            </a:xfrm>
            <a:custGeom>
              <a:avLst/>
              <a:gdLst>
                <a:gd name="T0" fmla="*/ 2147483647 w 126"/>
                <a:gd name="T1" fmla="*/ 0 h 75"/>
                <a:gd name="T2" fmla="*/ 2147483647 w 126"/>
                <a:gd name="T3" fmla="*/ 0 h 75"/>
                <a:gd name="T4" fmla="*/ 2147483647 w 126"/>
                <a:gd name="T5" fmla="*/ 0 h 75"/>
                <a:gd name="T6" fmla="*/ 2147483647 w 126"/>
                <a:gd name="T7" fmla="*/ 0 h 75"/>
                <a:gd name="T8" fmla="*/ 2147483647 w 126"/>
                <a:gd name="T9" fmla="*/ 0 h 75"/>
                <a:gd name="T10" fmla="*/ 2147483647 w 126"/>
                <a:gd name="T11" fmla="*/ 0 h 75"/>
                <a:gd name="T12" fmla="*/ 2147483647 w 126"/>
                <a:gd name="T13" fmla="*/ 0 h 75"/>
                <a:gd name="T14" fmla="*/ 2147483647 w 126"/>
                <a:gd name="T15" fmla="*/ 0 h 75"/>
                <a:gd name="T16" fmla="*/ 2147483647 w 126"/>
                <a:gd name="T17" fmla="*/ 0 h 75"/>
                <a:gd name="T18" fmla="*/ 2147483647 w 126"/>
                <a:gd name="T19" fmla="*/ 0 h 75"/>
                <a:gd name="T20" fmla="*/ 2147483647 w 126"/>
                <a:gd name="T21" fmla="*/ 0 h 75"/>
                <a:gd name="T22" fmla="*/ 2147483647 w 126"/>
                <a:gd name="T23" fmla="*/ 0 h 75"/>
                <a:gd name="T24" fmla="*/ 2147483647 w 126"/>
                <a:gd name="T25" fmla="*/ 0 h 75"/>
                <a:gd name="T26" fmla="*/ 2147483647 w 126"/>
                <a:gd name="T27" fmla="*/ 0 h 75"/>
                <a:gd name="T28" fmla="*/ 0 w 126"/>
                <a:gd name="T29" fmla="*/ 0 h 75"/>
                <a:gd name="T30" fmla="*/ 0 w 126"/>
                <a:gd name="T31" fmla="*/ 0 h 75"/>
                <a:gd name="T32" fmla="*/ 0 w 126"/>
                <a:gd name="T33" fmla="*/ 0 h 75"/>
                <a:gd name="T34" fmla="*/ 0 w 126"/>
                <a:gd name="T35" fmla="*/ 0 h 75"/>
                <a:gd name="T36" fmla="*/ 0 w 126"/>
                <a:gd name="T37" fmla="*/ 0 h 75"/>
                <a:gd name="T38" fmla="*/ 0 w 126"/>
                <a:gd name="T39" fmla="*/ 0 h 75"/>
                <a:gd name="T40" fmla="*/ 0 w 126"/>
                <a:gd name="T41" fmla="*/ 0 h 75"/>
                <a:gd name="T42" fmla="*/ 0 w 126"/>
                <a:gd name="T43" fmla="*/ 0 h 75"/>
                <a:gd name="T44" fmla="*/ 0 w 126"/>
                <a:gd name="T45" fmla="*/ 0 h 75"/>
                <a:gd name="T46" fmla="*/ 0 w 126"/>
                <a:gd name="T47" fmla="*/ 0 h 75"/>
                <a:gd name="T48" fmla="*/ 0 w 126"/>
                <a:gd name="T49" fmla="*/ 0 h 75"/>
                <a:gd name="T50" fmla="*/ 2147483647 w 126"/>
                <a:gd name="T51" fmla="*/ 0 h 75"/>
                <a:gd name="T52" fmla="*/ 2147483647 w 126"/>
                <a:gd name="T53" fmla="*/ 0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26"/>
                <a:gd name="T82" fmla="*/ 0 h 75"/>
                <a:gd name="T83" fmla="*/ 126 w 126"/>
                <a:gd name="T84" fmla="*/ 75 h 75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26" h="75">
                  <a:moveTo>
                    <a:pt x="92" y="16"/>
                  </a:moveTo>
                  <a:lnTo>
                    <a:pt x="106" y="11"/>
                  </a:lnTo>
                  <a:lnTo>
                    <a:pt x="112" y="5"/>
                  </a:lnTo>
                  <a:lnTo>
                    <a:pt x="122" y="0"/>
                  </a:lnTo>
                  <a:lnTo>
                    <a:pt x="126" y="0"/>
                  </a:lnTo>
                  <a:lnTo>
                    <a:pt x="123" y="9"/>
                  </a:lnTo>
                  <a:lnTo>
                    <a:pt x="115" y="17"/>
                  </a:lnTo>
                  <a:lnTo>
                    <a:pt x="107" y="21"/>
                  </a:lnTo>
                  <a:lnTo>
                    <a:pt x="96" y="37"/>
                  </a:lnTo>
                  <a:lnTo>
                    <a:pt x="99" y="43"/>
                  </a:lnTo>
                  <a:lnTo>
                    <a:pt x="92" y="52"/>
                  </a:lnTo>
                  <a:lnTo>
                    <a:pt x="80" y="54"/>
                  </a:lnTo>
                  <a:lnTo>
                    <a:pt x="69" y="64"/>
                  </a:lnTo>
                  <a:lnTo>
                    <a:pt x="53" y="68"/>
                  </a:lnTo>
                  <a:lnTo>
                    <a:pt x="43" y="75"/>
                  </a:lnTo>
                  <a:lnTo>
                    <a:pt x="25" y="72"/>
                  </a:lnTo>
                  <a:lnTo>
                    <a:pt x="13" y="66"/>
                  </a:lnTo>
                  <a:lnTo>
                    <a:pt x="5" y="57"/>
                  </a:lnTo>
                  <a:lnTo>
                    <a:pt x="0" y="45"/>
                  </a:lnTo>
                  <a:lnTo>
                    <a:pt x="13" y="42"/>
                  </a:lnTo>
                  <a:lnTo>
                    <a:pt x="21" y="37"/>
                  </a:lnTo>
                  <a:lnTo>
                    <a:pt x="31" y="36"/>
                  </a:lnTo>
                  <a:lnTo>
                    <a:pt x="38" y="33"/>
                  </a:lnTo>
                  <a:lnTo>
                    <a:pt x="40" y="25"/>
                  </a:lnTo>
                  <a:lnTo>
                    <a:pt x="43" y="26"/>
                  </a:lnTo>
                  <a:lnTo>
                    <a:pt x="63" y="25"/>
                  </a:lnTo>
                  <a:lnTo>
                    <a:pt x="92" y="1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55" name="Freeform 160">
              <a:extLst>
                <a:ext uri="{FF2B5EF4-FFF2-40B4-BE49-F238E27FC236}">
                  <a16:creationId xmlns:a16="http://schemas.microsoft.com/office/drawing/2014/main" id="{58E14C05-AB2B-530F-B6F3-34FFE63ABED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041663" y="2928046"/>
              <a:ext cx="91032" cy="100598"/>
            </a:xfrm>
            <a:custGeom>
              <a:avLst/>
              <a:gdLst>
                <a:gd name="T0" fmla="*/ 2147483647 w 170"/>
                <a:gd name="T1" fmla="*/ 2147483647 h 175"/>
                <a:gd name="T2" fmla="*/ 2147483647 w 170"/>
                <a:gd name="T3" fmla="*/ 2147483647 h 175"/>
                <a:gd name="T4" fmla="*/ 2147483647 w 170"/>
                <a:gd name="T5" fmla="*/ 2147483647 h 175"/>
                <a:gd name="T6" fmla="*/ 2147483647 w 170"/>
                <a:gd name="T7" fmla="*/ 2147483647 h 175"/>
                <a:gd name="T8" fmla="*/ 0 w 170"/>
                <a:gd name="T9" fmla="*/ 2147483647 h 175"/>
                <a:gd name="T10" fmla="*/ 0 w 170"/>
                <a:gd name="T11" fmla="*/ 2147483647 h 175"/>
                <a:gd name="T12" fmla="*/ 0 w 170"/>
                <a:gd name="T13" fmla="*/ 2147483647 h 175"/>
                <a:gd name="T14" fmla="*/ 0 w 170"/>
                <a:gd name="T15" fmla="*/ 0 h 175"/>
                <a:gd name="T16" fmla="*/ 0 w 170"/>
                <a:gd name="T17" fmla="*/ 0 h 175"/>
                <a:gd name="T18" fmla="*/ 0 w 170"/>
                <a:gd name="T19" fmla="*/ 0 h 175"/>
                <a:gd name="T20" fmla="*/ 0 w 170"/>
                <a:gd name="T21" fmla="*/ 0 h 175"/>
                <a:gd name="T22" fmla="*/ 0 w 170"/>
                <a:gd name="T23" fmla="*/ 0 h 175"/>
                <a:gd name="T24" fmla="*/ 0 w 170"/>
                <a:gd name="T25" fmla="*/ 0 h 175"/>
                <a:gd name="T26" fmla="*/ 0 w 170"/>
                <a:gd name="T27" fmla="*/ 0 h 175"/>
                <a:gd name="T28" fmla="*/ 0 w 170"/>
                <a:gd name="T29" fmla="*/ 0 h 175"/>
                <a:gd name="T30" fmla="*/ 2147483647 w 170"/>
                <a:gd name="T31" fmla="*/ 0 h 175"/>
                <a:gd name="T32" fmla="*/ 2147483647 w 170"/>
                <a:gd name="T33" fmla="*/ 0 h 175"/>
                <a:gd name="T34" fmla="*/ 2147483647 w 170"/>
                <a:gd name="T35" fmla="*/ 0 h 175"/>
                <a:gd name="T36" fmla="*/ 2147483647 w 170"/>
                <a:gd name="T37" fmla="*/ 0 h 175"/>
                <a:gd name="T38" fmla="*/ 2147483647 w 170"/>
                <a:gd name="T39" fmla="*/ 0 h 175"/>
                <a:gd name="T40" fmla="*/ 2147483647 w 170"/>
                <a:gd name="T41" fmla="*/ 0 h 175"/>
                <a:gd name="T42" fmla="*/ 2147483647 w 170"/>
                <a:gd name="T43" fmla="*/ 0 h 175"/>
                <a:gd name="T44" fmla="*/ 2147483647 w 170"/>
                <a:gd name="T45" fmla="*/ 0 h 175"/>
                <a:gd name="T46" fmla="*/ 2147483647 w 170"/>
                <a:gd name="T47" fmla="*/ 0 h 175"/>
                <a:gd name="T48" fmla="*/ 2147483647 w 170"/>
                <a:gd name="T49" fmla="*/ 0 h 175"/>
                <a:gd name="T50" fmla="*/ 2147483647 w 170"/>
                <a:gd name="T51" fmla="*/ 0 h 175"/>
                <a:gd name="T52" fmla="*/ 2147483647 w 170"/>
                <a:gd name="T53" fmla="*/ 0 h 175"/>
                <a:gd name="T54" fmla="*/ 2147483647 w 170"/>
                <a:gd name="T55" fmla="*/ 0 h 175"/>
                <a:gd name="T56" fmla="*/ 2147483647 w 170"/>
                <a:gd name="T57" fmla="*/ 0 h 175"/>
                <a:gd name="T58" fmla="*/ 2147483647 w 170"/>
                <a:gd name="T59" fmla="*/ 0 h 175"/>
                <a:gd name="T60" fmla="*/ 2147483647 w 170"/>
                <a:gd name="T61" fmla="*/ 2147483647 h 175"/>
                <a:gd name="T62" fmla="*/ 2147483647 w 170"/>
                <a:gd name="T63" fmla="*/ 2147483647 h 175"/>
                <a:gd name="T64" fmla="*/ 2147483647 w 170"/>
                <a:gd name="T65" fmla="*/ 2147483647 h 175"/>
                <a:gd name="T66" fmla="*/ 2147483647 w 170"/>
                <a:gd name="T67" fmla="*/ 2147483647 h 175"/>
                <a:gd name="T68" fmla="*/ 2147483647 w 170"/>
                <a:gd name="T69" fmla="*/ 2147483647 h 175"/>
                <a:gd name="T70" fmla="*/ 2147483647 w 170"/>
                <a:gd name="T71" fmla="*/ 2147483647 h 175"/>
                <a:gd name="T72" fmla="*/ 2147483647 w 170"/>
                <a:gd name="T73" fmla="*/ 2147483647 h 175"/>
                <a:gd name="T74" fmla="*/ 2147483647 w 170"/>
                <a:gd name="T75" fmla="*/ 2147483647 h 175"/>
                <a:gd name="T76" fmla="*/ 2147483647 w 170"/>
                <a:gd name="T77" fmla="*/ 2147483647 h 175"/>
                <a:gd name="T78" fmla="*/ 2147483647 w 170"/>
                <a:gd name="T79" fmla="*/ 2147483647 h 175"/>
                <a:gd name="T80" fmla="*/ 2147483647 w 170"/>
                <a:gd name="T81" fmla="*/ 2147483647 h 175"/>
                <a:gd name="T82" fmla="*/ 2147483647 w 170"/>
                <a:gd name="T83" fmla="*/ 2147483647 h 175"/>
                <a:gd name="T84" fmla="*/ 2147483647 w 170"/>
                <a:gd name="T85" fmla="*/ 2147483647 h 175"/>
                <a:gd name="T86" fmla="*/ 2147483647 w 170"/>
                <a:gd name="T87" fmla="*/ 2147483647 h 175"/>
                <a:gd name="T88" fmla="*/ 2147483647 w 170"/>
                <a:gd name="T89" fmla="*/ 2147483647 h 175"/>
                <a:gd name="T90" fmla="*/ 2147483647 w 170"/>
                <a:gd name="T91" fmla="*/ 2147483647 h 175"/>
                <a:gd name="T92" fmla="*/ 2147483647 w 170"/>
                <a:gd name="T93" fmla="*/ 2147483647 h 175"/>
                <a:gd name="T94" fmla="*/ 2147483647 w 170"/>
                <a:gd name="T95" fmla="*/ 2147483647 h 175"/>
                <a:gd name="T96" fmla="*/ 2147483647 w 170"/>
                <a:gd name="T97" fmla="*/ 2147483647 h 175"/>
                <a:gd name="T98" fmla="*/ 2147483647 w 170"/>
                <a:gd name="T99" fmla="*/ 2147483647 h 175"/>
                <a:gd name="T100" fmla="*/ 2147483647 w 170"/>
                <a:gd name="T101" fmla="*/ 2147483647 h 175"/>
                <a:gd name="T102" fmla="*/ 2147483647 w 170"/>
                <a:gd name="T103" fmla="*/ 2147483647 h 175"/>
                <a:gd name="T104" fmla="*/ 2147483647 w 170"/>
                <a:gd name="T105" fmla="*/ 2147483647 h 175"/>
                <a:gd name="T106" fmla="*/ 2147483647 w 170"/>
                <a:gd name="T107" fmla="*/ 2147483647 h 175"/>
                <a:gd name="T108" fmla="*/ 2147483647 w 170"/>
                <a:gd name="T109" fmla="*/ 2147483647 h 175"/>
                <a:gd name="T110" fmla="*/ 2147483647 w 170"/>
                <a:gd name="T111" fmla="*/ 2147483647 h 175"/>
                <a:gd name="T112" fmla="*/ 2147483647 w 170"/>
                <a:gd name="T113" fmla="*/ 2147483647 h 175"/>
                <a:gd name="T114" fmla="*/ 2147483647 w 170"/>
                <a:gd name="T115" fmla="*/ 2147483647 h 175"/>
                <a:gd name="T116" fmla="*/ 2147483647 w 170"/>
                <a:gd name="T117" fmla="*/ 2147483647 h 175"/>
                <a:gd name="T118" fmla="*/ 2147483647 w 170"/>
                <a:gd name="T119" fmla="*/ 2147483647 h 175"/>
                <a:gd name="T120" fmla="*/ 2147483647 w 170"/>
                <a:gd name="T121" fmla="*/ 2147483647 h 17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70"/>
                <a:gd name="T184" fmla="*/ 0 h 175"/>
                <a:gd name="T185" fmla="*/ 170 w 170"/>
                <a:gd name="T186" fmla="*/ 175 h 17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70" h="175">
                  <a:moveTo>
                    <a:pt x="77" y="118"/>
                  </a:moveTo>
                  <a:lnTo>
                    <a:pt x="68" y="107"/>
                  </a:lnTo>
                  <a:lnTo>
                    <a:pt x="64" y="102"/>
                  </a:lnTo>
                  <a:lnTo>
                    <a:pt x="56" y="99"/>
                  </a:lnTo>
                  <a:lnTo>
                    <a:pt x="46" y="89"/>
                  </a:lnTo>
                  <a:lnTo>
                    <a:pt x="38" y="83"/>
                  </a:lnTo>
                  <a:lnTo>
                    <a:pt x="27" y="79"/>
                  </a:lnTo>
                  <a:lnTo>
                    <a:pt x="19" y="69"/>
                  </a:lnTo>
                  <a:lnTo>
                    <a:pt x="16" y="55"/>
                  </a:lnTo>
                  <a:lnTo>
                    <a:pt x="14" y="35"/>
                  </a:lnTo>
                  <a:lnTo>
                    <a:pt x="7" y="21"/>
                  </a:lnTo>
                  <a:lnTo>
                    <a:pt x="0" y="15"/>
                  </a:lnTo>
                  <a:lnTo>
                    <a:pt x="21" y="14"/>
                  </a:lnTo>
                  <a:lnTo>
                    <a:pt x="28" y="9"/>
                  </a:lnTo>
                  <a:lnTo>
                    <a:pt x="44" y="8"/>
                  </a:lnTo>
                  <a:lnTo>
                    <a:pt x="51" y="4"/>
                  </a:lnTo>
                  <a:lnTo>
                    <a:pt x="67" y="7"/>
                  </a:lnTo>
                  <a:lnTo>
                    <a:pt x="76" y="5"/>
                  </a:lnTo>
                  <a:lnTo>
                    <a:pt x="86" y="0"/>
                  </a:lnTo>
                  <a:lnTo>
                    <a:pt x="87" y="0"/>
                  </a:lnTo>
                  <a:lnTo>
                    <a:pt x="89" y="8"/>
                  </a:lnTo>
                  <a:lnTo>
                    <a:pt x="99" y="20"/>
                  </a:lnTo>
                  <a:lnTo>
                    <a:pt x="107" y="21"/>
                  </a:lnTo>
                  <a:lnTo>
                    <a:pt x="114" y="26"/>
                  </a:lnTo>
                  <a:lnTo>
                    <a:pt x="115" y="34"/>
                  </a:lnTo>
                  <a:lnTo>
                    <a:pt x="110" y="40"/>
                  </a:lnTo>
                  <a:lnTo>
                    <a:pt x="110" y="48"/>
                  </a:lnTo>
                  <a:lnTo>
                    <a:pt x="113" y="56"/>
                  </a:lnTo>
                  <a:lnTo>
                    <a:pt x="118" y="63"/>
                  </a:lnTo>
                  <a:lnTo>
                    <a:pt x="123" y="68"/>
                  </a:lnTo>
                  <a:lnTo>
                    <a:pt x="137" y="77"/>
                  </a:lnTo>
                  <a:lnTo>
                    <a:pt x="138" y="84"/>
                  </a:lnTo>
                  <a:lnTo>
                    <a:pt x="135" y="93"/>
                  </a:lnTo>
                  <a:lnTo>
                    <a:pt x="126" y="94"/>
                  </a:lnTo>
                  <a:lnTo>
                    <a:pt x="129" y="101"/>
                  </a:lnTo>
                  <a:lnTo>
                    <a:pt x="138" y="113"/>
                  </a:lnTo>
                  <a:lnTo>
                    <a:pt x="153" y="122"/>
                  </a:lnTo>
                  <a:lnTo>
                    <a:pt x="161" y="122"/>
                  </a:lnTo>
                  <a:lnTo>
                    <a:pt x="168" y="123"/>
                  </a:lnTo>
                  <a:lnTo>
                    <a:pt x="164" y="131"/>
                  </a:lnTo>
                  <a:lnTo>
                    <a:pt x="163" y="139"/>
                  </a:lnTo>
                  <a:lnTo>
                    <a:pt x="169" y="144"/>
                  </a:lnTo>
                  <a:lnTo>
                    <a:pt x="168" y="152"/>
                  </a:lnTo>
                  <a:lnTo>
                    <a:pt x="161" y="154"/>
                  </a:lnTo>
                  <a:lnTo>
                    <a:pt x="166" y="160"/>
                  </a:lnTo>
                  <a:lnTo>
                    <a:pt x="169" y="168"/>
                  </a:lnTo>
                  <a:lnTo>
                    <a:pt x="170" y="175"/>
                  </a:lnTo>
                  <a:lnTo>
                    <a:pt x="164" y="175"/>
                  </a:lnTo>
                  <a:lnTo>
                    <a:pt x="147" y="175"/>
                  </a:lnTo>
                  <a:lnTo>
                    <a:pt x="142" y="175"/>
                  </a:lnTo>
                  <a:lnTo>
                    <a:pt x="141" y="150"/>
                  </a:lnTo>
                  <a:lnTo>
                    <a:pt x="137" y="143"/>
                  </a:lnTo>
                  <a:lnTo>
                    <a:pt x="132" y="136"/>
                  </a:lnTo>
                  <a:lnTo>
                    <a:pt x="129" y="128"/>
                  </a:lnTo>
                  <a:lnTo>
                    <a:pt x="121" y="126"/>
                  </a:lnTo>
                  <a:lnTo>
                    <a:pt x="114" y="128"/>
                  </a:lnTo>
                  <a:lnTo>
                    <a:pt x="107" y="128"/>
                  </a:lnTo>
                  <a:lnTo>
                    <a:pt x="99" y="125"/>
                  </a:lnTo>
                  <a:lnTo>
                    <a:pt x="94" y="117"/>
                  </a:lnTo>
                  <a:lnTo>
                    <a:pt x="87" y="116"/>
                  </a:lnTo>
                  <a:lnTo>
                    <a:pt x="77" y="11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56" name="Freeform 161">
              <a:extLst>
                <a:ext uri="{FF2B5EF4-FFF2-40B4-BE49-F238E27FC236}">
                  <a16:creationId xmlns:a16="http://schemas.microsoft.com/office/drawing/2014/main" id="{422063BF-15EF-477A-EDFC-B4E36AACAB6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132696" y="2261963"/>
              <a:ext cx="1189397" cy="676753"/>
            </a:xfrm>
            <a:custGeom>
              <a:avLst/>
              <a:gdLst>
                <a:gd name="T0" fmla="*/ 2147483647 w 2230"/>
                <a:gd name="T1" fmla="*/ 2147483647 h 1190"/>
                <a:gd name="T2" fmla="*/ 2147483647 w 2230"/>
                <a:gd name="T3" fmla="*/ 2147483647 h 1190"/>
                <a:gd name="T4" fmla="*/ 2147483647 w 2230"/>
                <a:gd name="T5" fmla="*/ 2147483647 h 1190"/>
                <a:gd name="T6" fmla="*/ 2147483647 w 2230"/>
                <a:gd name="T7" fmla="*/ 2147483647 h 1190"/>
                <a:gd name="T8" fmla="*/ 2147483647 w 2230"/>
                <a:gd name="T9" fmla="*/ 2147483647 h 1190"/>
                <a:gd name="T10" fmla="*/ 2147483647 w 2230"/>
                <a:gd name="T11" fmla="*/ 2147483647 h 1190"/>
                <a:gd name="T12" fmla="*/ 2147483647 w 2230"/>
                <a:gd name="T13" fmla="*/ 2147483647 h 1190"/>
                <a:gd name="T14" fmla="*/ 2147483647 w 2230"/>
                <a:gd name="T15" fmla="*/ 2147483647 h 1190"/>
                <a:gd name="T16" fmla="*/ 2147483647 w 2230"/>
                <a:gd name="T17" fmla="*/ 2147483647 h 1190"/>
                <a:gd name="T18" fmla="*/ 2147483647 w 2230"/>
                <a:gd name="T19" fmla="*/ 2147483647 h 1190"/>
                <a:gd name="T20" fmla="*/ 2147483647 w 2230"/>
                <a:gd name="T21" fmla="*/ 2147483647 h 1190"/>
                <a:gd name="T22" fmla="*/ 0 w 2230"/>
                <a:gd name="T23" fmla="*/ 2147483647 h 1190"/>
                <a:gd name="T24" fmla="*/ 0 w 2230"/>
                <a:gd name="T25" fmla="*/ 2147483647 h 1190"/>
                <a:gd name="T26" fmla="*/ 2147483647 w 2230"/>
                <a:gd name="T27" fmla="*/ 2147483647 h 1190"/>
                <a:gd name="T28" fmla="*/ 2147483647 w 2230"/>
                <a:gd name="T29" fmla="*/ 2147483647 h 1190"/>
                <a:gd name="T30" fmla="*/ 2147483647 w 2230"/>
                <a:gd name="T31" fmla="*/ 2147483647 h 1190"/>
                <a:gd name="T32" fmla="*/ 2147483647 w 2230"/>
                <a:gd name="T33" fmla="*/ 2147483647 h 1190"/>
                <a:gd name="T34" fmla="*/ 2147483647 w 2230"/>
                <a:gd name="T35" fmla="*/ 2147483647 h 1190"/>
                <a:gd name="T36" fmla="*/ 2147483647 w 2230"/>
                <a:gd name="T37" fmla="*/ 2147483647 h 1190"/>
                <a:gd name="T38" fmla="*/ 2147483647 w 2230"/>
                <a:gd name="T39" fmla="*/ 2147483647 h 1190"/>
                <a:gd name="T40" fmla="*/ 2147483647 w 2230"/>
                <a:gd name="T41" fmla="*/ 2147483647 h 1190"/>
                <a:gd name="T42" fmla="*/ 2147483647 w 2230"/>
                <a:gd name="T43" fmla="*/ 2147483647 h 1190"/>
                <a:gd name="T44" fmla="*/ 2147483647 w 2230"/>
                <a:gd name="T45" fmla="*/ 2147483647 h 1190"/>
                <a:gd name="T46" fmla="*/ 2147483647 w 2230"/>
                <a:gd name="T47" fmla="*/ 2147483647 h 1190"/>
                <a:gd name="T48" fmla="*/ 2147483647 w 2230"/>
                <a:gd name="T49" fmla="*/ 2147483647 h 1190"/>
                <a:gd name="T50" fmla="*/ 2147483647 w 2230"/>
                <a:gd name="T51" fmla="*/ 2147483647 h 1190"/>
                <a:gd name="T52" fmla="*/ 2147483647 w 2230"/>
                <a:gd name="T53" fmla="*/ 2147483647 h 1190"/>
                <a:gd name="T54" fmla="*/ 2147483647 w 2230"/>
                <a:gd name="T55" fmla="*/ 2147483647 h 1190"/>
                <a:gd name="T56" fmla="*/ 2147483647 w 2230"/>
                <a:gd name="T57" fmla="*/ 2147483647 h 1190"/>
                <a:gd name="T58" fmla="*/ 2147483647 w 2230"/>
                <a:gd name="T59" fmla="*/ 2147483647 h 1190"/>
                <a:gd name="T60" fmla="*/ 2147483647 w 2230"/>
                <a:gd name="T61" fmla="*/ 2147483647 h 1190"/>
                <a:gd name="T62" fmla="*/ 2147483647 w 2230"/>
                <a:gd name="T63" fmla="*/ 0 h 1190"/>
                <a:gd name="T64" fmla="*/ 2147483647 w 2230"/>
                <a:gd name="T65" fmla="*/ 0 h 1190"/>
                <a:gd name="T66" fmla="*/ 2147483647 w 2230"/>
                <a:gd name="T67" fmla="*/ 0 h 1190"/>
                <a:gd name="T68" fmla="*/ 2147483647 w 2230"/>
                <a:gd name="T69" fmla="*/ 0 h 1190"/>
                <a:gd name="T70" fmla="*/ 2147483647 w 2230"/>
                <a:gd name="T71" fmla="*/ 2147483647 h 1190"/>
                <a:gd name="T72" fmla="*/ 2147483647 w 2230"/>
                <a:gd name="T73" fmla="*/ 2147483647 h 1190"/>
                <a:gd name="T74" fmla="*/ 2147483647 w 2230"/>
                <a:gd name="T75" fmla="*/ 2147483647 h 1190"/>
                <a:gd name="T76" fmla="*/ 2147483647 w 2230"/>
                <a:gd name="T77" fmla="*/ 2147483647 h 1190"/>
                <a:gd name="T78" fmla="*/ 2147483647 w 2230"/>
                <a:gd name="T79" fmla="*/ 2147483647 h 1190"/>
                <a:gd name="T80" fmla="*/ 2147483647 w 2230"/>
                <a:gd name="T81" fmla="*/ 2147483647 h 1190"/>
                <a:gd name="T82" fmla="*/ 2147483647 w 2230"/>
                <a:gd name="T83" fmla="*/ 2147483647 h 1190"/>
                <a:gd name="T84" fmla="*/ 2147483647 w 2230"/>
                <a:gd name="T85" fmla="*/ 2147483647 h 1190"/>
                <a:gd name="T86" fmla="*/ 2147483647 w 2230"/>
                <a:gd name="T87" fmla="*/ 2147483647 h 1190"/>
                <a:gd name="T88" fmla="*/ 2147483647 w 2230"/>
                <a:gd name="T89" fmla="*/ 2147483647 h 1190"/>
                <a:gd name="T90" fmla="*/ 2147483647 w 2230"/>
                <a:gd name="T91" fmla="*/ 2147483647 h 1190"/>
                <a:gd name="T92" fmla="*/ 2147483647 w 2230"/>
                <a:gd name="T93" fmla="*/ 2147483647 h 1190"/>
                <a:gd name="T94" fmla="*/ 2147483647 w 2230"/>
                <a:gd name="T95" fmla="*/ 2147483647 h 1190"/>
                <a:gd name="T96" fmla="*/ 2147483647 w 2230"/>
                <a:gd name="T97" fmla="*/ 2147483647 h 1190"/>
                <a:gd name="T98" fmla="*/ 2147483647 w 2230"/>
                <a:gd name="T99" fmla="*/ 2147483647 h 1190"/>
                <a:gd name="T100" fmla="*/ 2147483647 w 2230"/>
                <a:gd name="T101" fmla="*/ 2147483647 h 1190"/>
                <a:gd name="T102" fmla="*/ 2147483647 w 2230"/>
                <a:gd name="T103" fmla="*/ 2147483647 h 1190"/>
                <a:gd name="T104" fmla="*/ 2147483647 w 2230"/>
                <a:gd name="T105" fmla="*/ 2147483647 h 1190"/>
                <a:gd name="T106" fmla="*/ 2147483647 w 2230"/>
                <a:gd name="T107" fmla="*/ 2147483647 h 1190"/>
                <a:gd name="T108" fmla="*/ 2147483647 w 2230"/>
                <a:gd name="T109" fmla="*/ 2147483647 h 1190"/>
                <a:gd name="T110" fmla="*/ 2147483647 w 2230"/>
                <a:gd name="T111" fmla="*/ 2147483647 h 1190"/>
                <a:gd name="T112" fmla="*/ 2147483647 w 2230"/>
                <a:gd name="T113" fmla="*/ 2147483647 h 1190"/>
                <a:gd name="T114" fmla="*/ 2147483647 w 2230"/>
                <a:gd name="T115" fmla="*/ 2147483647 h 1190"/>
                <a:gd name="T116" fmla="*/ 2147483647 w 2230"/>
                <a:gd name="T117" fmla="*/ 2147483647 h 1190"/>
                <a:gd name="T118" fmla="*/ 2147483647 w 2230"/>
                <a:gd name="T119" fmla="*/ 2147483647 h 1190"/>
                <a:gd name="T120" fmla="*/ 2147483647 w 2230"/>
                <a:gd name="T121" fmla="*/ 2147483647 h 119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230"/>
                <a:gd name="T184" fmla="*/ 0 h 1190"/>
                <a:gd name="T185" fmla="*/ 2230 w 2230"/>
                <a:gd name="T186" fmla="*/ 1190 h 119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230" h="1190">
                  <a:moveTo>
                    <a:pt x="518" y="898"/>
                  </a:moveTo>
                  <a:lnTo>
                    <a:pt x="518" y="968"/>
                  </a:lnTo>
                  <a:lnTo>
                    <a:pt x="518" y="1042"/>
                  </a:lnTo>
                  <a:lnTo>
                    <a:pt x="518" y="1107"/>
                  </a:lnTo>
                  <a:lnTo>
                    <a:pt x="518" y="1168"/>
                  </a:lnTo>
                  <a:lnTo>
                    <a:pt x="506" y="1174"/>
                  </a:lnTo>
                  <a:lnTo>
                    <a:pt x="486" y="1173"/>
                  </a:lnTo>
                  <a:lnTo>
                    <a:pt x="477" y="1166"/>
                  </a:lnTo>
                  <a:lnTo>
                    <a:pt x="468" y="1143"/>
                  </a:lnTo>
                  <a:lnTo>
                    <a:pt x="464" y="1136"/>
                  </a:lnTo>
                  <a:lnTo>
                    <a:pt x="458" y="1130"/>
                  </a:lnTo>
                  <a:lnTo>
                    <a:pt x="452" y="1115"/>
                  </a:lnTo>
                  <a:lnTo>
                    <a:pt x="447" y="1108"/>
                  </a:lnTo>
                  <a:lnTo>
                    <a:pt x="432" y="1102"/>
                  </a:lnTo>
                  <a:lnTo>
                    <a:pt x="425" y="1097"/>
                  </a:lnTo>
                  <a:lnTo>
                    <a:pt x="418" y="1092"/>
                  </a:lnTo>
                  <a:lnTo>
                    <a:pt x="410" y="1092"/>
                  </a:lnTo>
                  <a:lnTo>
                    <a:pt x="402" y="1093"/>
                  </a:lnTo>
                  <a:lnTo>
                    <a:pt x="378" y="1100"/>
                  </a:lnTo>
                  <a:lnTo>
                    <a:pt x="355" y="1109"/>
                  </a:lnTo>
                  <a:lnTo>
                    <a:pt x="325" y="1135"/>
                  </a:lnTo>
                  <a:lnTo>
                    <a:pt x="324" y="1096"/>
                  </a:lnTo>
                  <a:lnTo>
                    <a:pt x="333" y="1085"/>
                  </a:lnTo>
                  <a:lnTo>
                    <a:pt x="335" y="1065"/>
                  </a:lnTo>
                  <a:lnTo>
                    <a:pt x="323" y="1060"/>
                  </a:lnTo>
                  <a:lnTo>
                    <a:pt x="311" y="1059"/>
                  </a:lnTo>
                  <a:lnTo>
                    <a:pt x="291" y="1050"/>
                  </a:lnTo>
                  <a:lnTo>
                    <a:pt x="281" y="1037"/>
                  </a:lnTo>
                  <a:lnTo>
                    <a:pt x="274" y="1037"/>
                  </a:lnTo>
                  <a:lnTo>
                    <a:pt x="262" y="1035"/>
                  </a:lnTo>
                  <a:lnTo>
                    <a:pt x="259" y="996"/>
                  </a:lnTo>
                  <a:lnTo>
                    <a:pt x="247" y="976"/>
                  </a:lnTo>
                  <a:lnTo>
                    <a:pt x="239" y="970"/>
                  </a:lnTo>
                  <a:lnTo>
                    <a:pt x="232" y="956"/>
                  </a:lnTo>
                  <a:lnTo>
                    <a:pt x="209" y="947"/>
                  </a:lnTo>
                  <a:lnTo>
                    <a:pt x="198" y="930"/>
                  </a:lnTo>
                  <a:lnTo>
                    <a:pt x="205" y="924"/>
                  </a:lnTo>
                  <a:lnTo>
                    <a:pt x="223" y="924"/>
                  </a:lnTo>
                  <a:lnTo>
                    <a:pt x="241" y="927"/>
                  </a:lnTo>
                  <a:lnTo>
                    <a:pt x="250" y="932"/>
                  </a:lnTo>
                  <a:lnTo>
                    <a:pt x="258" y="930"/>
                  </a:lnTo>
                  <a:lnTo>
                    <a:pt x="271" y="931"/>
                  </a:lnTo>
                  <a:lnTo>
                    <a:pt x="268" y="924"/>
                  </a:lnTo>
                  <a:lnTo>
                    <a:pt x="264" y="913"/>
                  </a:lnTo>
                  <a:lnTo>
                    <a:pt x="262" y="894"/>
                  </a:lnTo>
                  <a:lnTo>
                    <a:pt x="266" y="883"/>
                  </a:lnTo>
                  <a:lnTo>
                    <a:pt x="276" y="878"/>
                  </a:lnTo>
                  <a:lnTo>
                    <a:pt x="276" y="886"/>
                  </a:lnTo>
                  <a:lnTo>
                    <a:pt x="287" y="887"/>
                  </a:lnTo>
                  <a:lnTo>
                    <a:pt x="298" y="882"/>
                  </a:lnTo>
                  <a:lnTo>
                    <a:pt x="301" y="873"/>
                  </a:lnTo>
                  <a:lnTo>
                    <a:pt x="311" y="865"/>
                  </a:lnTo>
                  <a:lnTo>
                    <a:pt x="328" y="863"/>
                  </a:lnTo>
                  <a:lnTo>
                    <a:pt x="344" y="873"/>
                  </a:lnTo>
                  <a:lnTo>
                    <a:pt x="360" y="879"/>
                  </a:lnTo>
                  <a:lnTo>
                    <a:pt x="376" y="876"/>
                  </a:lnTo>
                  <a:lnTo>
                    <a:pt x="386" y="868"/>
                  </a:lnTo>
                  <a:lnTo>
                    <a:pt x="389" y="870"/>
                  </a:lnTo>
                  <a:lnTo>
                    <a:pt x="394" y="874"/>
                  </a:lnTo>
                  <a:lnTo>
                    <a:pt x="413" y="881"/>
                  </a:lnTo>
                  <a:lnTo>
                    <a:pt x="424" y="887"/>
                  </a:lnTo>
                  <a:lnTo>
                    <a:pt x="435" y="884"/>
                  </a:lnTo>
                  <a:lnTo>
                    <a:pt x="447" y="887"/>
                  </a:lnTo>
                  <a:lnTo>
                    <a:pt x="451" y="879"/>
                  </a:lnTo>
                  <a:lnTo>
                    <a:pt x="443" y="867"/>
                  </a:lnTo>
                  <a:lnTo>
                    <a:pt x="453" y="867"/>
                  </a:lnTo>
                  <a:lnTo>
                    <a:pt x="446" y="855"/>
                  </a:lnTo>
                  <a:lnTo>
                    <a:pt x="435" y="841"/>
                  </a:lnTo>
                  <a:lnTo>
                    <a:pt x="425" y="834"/>
                  </a:lnTo>
                  <a:lnTo>
                    <a:pt x="420" y="823"/>
                  </a:lnTo>
                  <a:lnTo>
                    <a:pt x="409" y="823"/>
                  </a:lnTo>
                  <a:lnTo>
                    <a:pt x="398" y="806"/>
                  </a:lnTo>
                  <a:lnTo>
                    <a:pt x="392" y="782"/>
                  </a:lnTo>
                  <a:lnTo>
                    <a:pt x="384" y="771"/>
                  </a:lnTo>
                  <a:lnTo>
                    <a:pt x="382" y="777"/>
                  </a:lnTo>
                  <a:lnTo>
                    <a:pt x="375" y="760"/>
                  </a:lnTo>
                  <a:lnTo>
                    <a:pt x="370" y="760"/>
                  </a:lnTo>
                  <a:lnTo>
                    <a:pt x="367" y="749"/>
                  </a:lnTo>
                  <a:lnTo>
                    <a:pt x="348" y="732"/>
                  </a:lnTo>
                  <a:lnTo>
                    <a:pt x="336" y="731"/>
                  </a:lnTo>
                  <a:lnTo>
                    <a:pt x="336" y="725"/>
                  </a:lnTo>
                  <a:lnTo>
                    <a:pt x="323" y="723"/>
                  </a:lnTo>
                  <a:lnTo>
                    <a:pt x="312" y="728"/>
                  </a:lnTo>
                  <a:lnTo>
                    <a:pt x="303" y="730"/>
                  </a:lnTo>
                  <a:lnTo>
                    <a:pt x="292" y="736"/>
                  </a:lnTo>
                  <a:lnTo>
                    <a:pt x="289" y="725"/>
                  </a:lnTo>
                  <a:lnTo>
                    <a:pt x="274" y="725"/>
                  </a:lnTo>
                  <a:lnTo>
                    <a:pt x="270" y="722"/>
                  </a:lnTo>
                  <a:lnTo>
                    <a:pt x="257" y="720"/>
                  </a:lnTo>
                  <a:lnTo>
                    <a:pt x="242" y="718"/>
                  </a:lnTo>
                  <a:lnTo>
                    <a:pt x="207" y="752"/>
                  </a:lnTo>
                  <a:lnTo>
                    <a:pt x="188" y="753"/>
                  </a:lnTo>
                  <a:lnTo>
                    <a:pt x="162" y="761"/>
                  </a:lnTo>
                  <a:lnTo>
                    <a:pt x="136" y="765"/>
                  </a:lnTo>
                  <a:lnTo>
                    <a:pt x="114" y="771"/>
                  </a:lnTo>
                  <a:lnTo>
                    <a:pt x="136" y="786"/>
                  </a:lnTo>
                  <a:lnTo>
                    <a:pt x="119" y="793"/>
                  </a:lnTo>
                  <a:lnTo>
                    <a:pt x="112" y="791"/>
                  </a:lnTo>
                  <a:lnTo>
                    <a:pt x="108" y="785"/>
                  </a:lnTo>
                  <a:lnTo>
                    <a:pt x="102" y="781"/>
                  </a:lnTo>
                  <a:lnTo>
                    <a:pt x="93" y="781"/>
                  </a:lnTo>
                  <a:lnTo>
                    <a:pt x="86" y="779"/>
                  </a:lnTo>
                  <a:lnTo>
                    <a:pt x="83" y="773"/>
                  </a:lnTo>
                  <a:lnTo>
                    <a:pt x="90" y="766"/>
                  </a:lnTo>
                  <a:lnTo>
                    <a:pt x="91" y="758"/>
                  </a:lnTo>
                  <a:lnTo>
                    <a:pt x="98" y="755"/>
                  </a:lnTo>
                  <a:lnTo>
                    <a:pt x="107" y="761"/>
                  </a:lnTo>
                  <a:lnTo>
                    <a:pt x="119" y="758"/>
                  </a:lnTo>
                  <a:lnTo>
                    <a:pt x="110" y="701"/>
                  </a:lnTo>
                  <a:lnTo>
                    <a:pt x="103" y="699"/>
                  </a:lnTo>
                  <a:lnTo>
                    <a:pt x="98" y="693"/>
                  </a:lnTo>
                  <a:lnTo>
                    <a:pt x="96" y="684"/>
                  </a:lnTo>
                  <a:lnTo>
                    <a:pt x="92" y="678"/>
                  </a:lnTo>
                  <a:lnTo>
                    <a:pt x="86" y="672"/>
                  </a:lnTo>
                  <a:lnTo>
                    <a:pt x="79" y="672"/>
                  </a:lnTo>
                  <a:lnTo>
                    <a:pt x="61" y="674"/>
                  </a:lnTo>
                  <a:lnTo>
                    <a:pt x="48" y="671"/>
                  </a:lnTo>
                  <a:lnTo>
                    <a:pt x="47" y="679"/>
                  </a:lnTo>
                  <a:lnTo>
                    <a:pt x="34" y="667"/>
                  </a:lnTo>
                  <a:lnTo>
                    <a:pt x="33" y="660"/>
                  </a:lnTo>
                  <a:lnTo>
                    <a:pt x="29" y="652"/>
                  </a:lnTo>
                  <a:lnTo>
                    <a:pt x="34" y="646"/>
                  </a:lnTo>
                  <a:lnTo>
                    <a:pt x="29" y="639"/>
                  </a:lnTo>
                  <a:lnTo>
                    <a:pt x="28" y="631"/>
                  </a:lnTo>
                  <a:lnTo>
                    <a:pt x="0" y="621"/>
                  </a:lnTo>
                  <a:lnTo>
                    <a:pt x="11" y="577"/>
                  </a:lnTo>
                  <a:lnTo>
                    <a:pt x="24" y="570"/>
                  </a:lnTo>
                  <a:lnTo>
                    <a:pt x="29" y="562"/>
                  </a:lnTo>
                  <a:lnTo>
                    <a:pt x="27" y="555"/>
                  </a:lnTo>
                  <a:lnTo>
                    <a:pt x="16" y="544"/>
                  </a:lnTo>
                  <a:lnTo>
                    <a:pt x="26" y="499"/>
                  </a:lnTo>
                  <a:lnTo>
                    <a:pt x="39" y="490"/>
                  </a:lnTo>
                  <a:lnTo>
                    <a:pt x="44" y="484"/>
                  </a:lnTo>
                  <a:lnTo>
                    <a:pt x="42" y="475"/>
                  </a:lnTo>
                  <a:lnTo>
                    <a:pt x="45" y="468"/>
                  </a:lnTo>
                  <a:lnTo>
                    <a:pt x="45" y="461"/>
                  </a:lnTo>
                  <a:lnTo>
                    <a:pt x="49" y="452"/>
                  </a:lnTo>
                  <a:lnTo>
                    <a:pt x="54" y="446"/>
                  </a:lnTo>
                  <a:lnTo>
                    <a:pt x="60" y="451"/>
                  </a:lnTo>
                  <a:lnTo>
                    <a:pt x="64" y="458"/>
                  </a:lnTo>
                  <a:lnTo>
                    <a:pt x="76" y="468"/>
                  </a:lnTo>
                  <a:lnTo>
                    <a:pt x="93" y="505"/>
                  </a:lnTo>
                  <a:lnTo>
                    <a:pt x="102" y="507"/>
                  </a:lnTo>
                  <a:lnTo>
                    <a:pt x="128" y="490"/>
                  </a:lnTo>
                  <a:lnTo>
                    <a:pt x="125" y="481"/>
                  </a:lnTo>
                  <a:lnTo>
                    <a:pt x="122" y="474"/>
                  </a:lnTo>
                  <a:lnTo>
                    <a:pt x="118" y="449"/>
                  </a:lnTo>
                  <a:lnTo>
                    <a:pt x="110" y="436"/>
                  </a:lnTo>
                  <a:lnTo>
                    <a:pt x="119" y="437"/>
                  </a:lnTo>
                  <a:lnTo>
                    <a:pt x="126" y="435"/>
                  </a:lnTo>
                  <a:lnTo>
                    <a:pt x="146" y="420"/>
                  </a:lnTo>
                  <a:lnTo>
                    <a:pt x="153" y="416"/>
                  </a:lnTo>
                  <a:lnTo>
                    <a:pt x="158" y="410"/>
                  </a:lnTo>
                  <a:lnTo>
                    <a:pt x="158" y="402"/>
                  </a:lnTo>
                  <a:lnTo>
                    <a:pt x="158" y="393"/>
                  </a:lnTo>
                  <a:lnTo>
                    <a:pt x="166" y="392"/>
                  </a:lnTo>
                  <a:lnTo>
                    <a:pt x="174" y="393"/>
                  </a:lnTo>
                  <a:lnTo>
                    <a:pt x="182" y="391"/>
                  </a:lnTo>
                  <a:lnTo>
                    <a:pt x="187" y="383"/>
                  </a:lnTo>
                  <a:lnTo>
                    <a:pt x="193" y="379"/>
                  </a:lnTo>
                  <a:lnTo>
                    <a:pt x="201" y="377"/>
                  </a:lnTo>
                  <a:lnTo>
                    <a:pt x="206" y="371"/>
                  </a:lnTo>
                  <a:lnTo>
                    <a:pt x="214" y="366"/>
                  </a:lnTo>
                  <a:lnTo>
                    <a:pt x="219" y="360"/>
                  </a:lnTo>
                  <a:lnTo>
                    <a:pt x="220" y="352"/>
                  </a:lnTo>
                  <a:lnTo>
                    <a:pt x="227" y="348"/>
                  </a:lnTo>
                  <a:lnTo>
                    <a:pt x="242" y="343"/>
                  </a:lnTo>
                  <a:lnTo>
                    <a:pt x="258" y="343"/>
                  </a:lnTo>
                  <a:lnTo>
                    <a:pt x="259" y="351"/>
                  </a:lnTo>
                  <a:lnTo>
                    <a:pt x="263" y="359"/>
                  </a:lnTo>
                  <a:lnTo>
                    <a:pt x="279" y="355"/>
                  </a:lnTo>
                  <a:lnTo>
                    <a:pt x="284" y="361"/>
                  </a:lnTo>
                  <a:lnTo>
                    <a:pt x="289" y="354"/>
                  </a:lnTo>
                  <a:lnTo>
                    <a:pt x="291" y="345"/>
                  </a:lnTo>
                  <a:lnTo>
                    <a:pt x="296" y="339"/>
                  </a:lnTo>
                  <a:lnTo>
                    <a:pt x="303" y="340"/>
                  </a:lnTo>
                  <a:lnTo>
                    <a:pt x="311" y="336"/>
                  </a:lnTo>
                  <a:lnTo>
                    <a:pt x="318" y="336"/>
                  </a:lnTo>
                  <a:lnTo>
                    <a:pt x="324" y="352"/>
                  </a:lnTo>
                  <a:lnTo>
                    <a:pt x="329" y="359"/>
                  </a:lnTo>
                  <a:lnTo>
                    <a:pt x="338" y="355"/>
                  </a:lnTo>
                  <a:lnTo>
                    <a:pt x="345" y="355"/>
                  </a:lnTo>
                  <a:lnTo>
                    <a:pt x="352" y="357"/>
                  </a:lnTo>
                  <a:lnTo>
                    <a:pt x="368" y="354"/>
                  </a:lnTo>
                  <a:lnTo>
                    <a:pt x="376" y="355"/>
                  </a:lnTo>
                  <a:lnTo>
                    <a:pt x="383" y="360"/>
                  </a:lnTo>
                  <a:lnTo>
                    <a:pt x="389" y="365"/>
                  </a:lnTo>
                  <a:lnTo>
                    <a:pt x="395" y="379"/>
                  </a:lnTo>
                  <a:lnTo>
                    <a:pt x="416" y="392"/>
                  </a:lnTo>
                  <a:lnTo>
                    <a:pt x="421" y="398"/>
                  </a:lnTo>
                  <a:lnTo>
                    <a:pt x="424" y="406"/>
                  </a:lnTo>
                  <a:lnTo>
                    <a:pt x="435" y="419"/>
                  </a:lnTo>
                  <a:lnTo>
                    <a:pt x="434" y="426"/>
                  </a:lnTo>
                  <a:lnTo>
                    <a:pt x="435" y="435"/>
                  </a:lnTo>
                  <a:lnTo>
                    <a:pt x="440" y="441"/>
                  </a:lnTo>
                  <a:lnTo>
                    <a:pt x="447" y="438"/>
                  </a:lnTo>
                  <a:lnTo>
                    <a:pt x="447" y="431"/>
                  </a:lnTo>
                  <a:lnTo>
                    <a:pt x="446" y="422"/>
                  </a:lnTo>
                  <a:lnTo>
                    <a:pt x="447" y="415"/>
                  </a:lnTo>
                  <a:lnTo>
                    <a:pt x="442" y="408"/>
                  </a:lnTo>
                  <a:lnTo>
                    <a:pt x="447" y="402"/>
                  </a:lnTo>
                  <a:lnTo>
                    <a:pt x="456" y="400"/>
                  </a:lnTo>
                  <a:lnTo>
                    <a:pt x="458" y="408"/>
                  </a:lnTo>
                  <a:lnTo>
                    <a:pt x="464" y="414"/>
                  </a:lnTo>
                  <a:lnTo>
                    <a:pt x="467" y="421"/>
                  </a:lnTo>
                  <a:lnTo>
                    <a:pt x="473" y="426"/>
                  </a:lnTo>
                  <a:lnTo>
                    <a:pt x="488" y="432"/>
                  </a:lnTo>
                  <a:lnTo>
                    <a:pt x="502" y="440"/>
                  </a:lnTo>
                  <a:lnTo>
                    <a:pt x="511" y="437"/>
                  </a:lnTo>
                  <a:lnTo>
                    <a:pt x="531" y="424"/>
                  </a:lnTo>
                  <a:lnTo>
                    <a:pt x="531" y="415"/>
                  </a:lnTo>
                  <a:lnTo>
                    <a:pt x="537" y="411"/>
                  </a:lnTo>
                  <a:lnTo>
                    <a:pt x="543" y="406"/>
                  </a:lnTo>
                  <a:lnTo>
                    <a:pt x="551" y="405"/>
                  </a:lnTo>
                  <a:lnTo>
                    <a:pt x="559" y="408"/>
                  </a:lnTo>
                  <a:lnTo>
                    <a:pt x="559" y="400"/>
                  </a:lnTo>
                  <a:lnTo>
                    <a:pt x="567" y="399"/>
                  </a:lnTo>
                  <a:lnTo>
                    <a:pt x="575" y="402"/>
                  </a:lnTo>
                  <a:lnTo>
                    <a:pt x="582" y="397"/>
                  </a:lnTo>
                  <a:lnTo>
                    <a:pt x="590" y="402"/>
                  </a:lnTo>
                  <a:lnTo>
                    <a:pt x="601" y="413"/>
                  </a:lnTo>
                  <a:lnTo>
                    <a:pt x="615" y="404"/>
                  </a:lnTo>
                  <a:lnTo>
                    <a:pt x="619" y="397"/>
                  </a:lnTo>
                  <a:lnTo>
                    <a:pt x="634" y="397"/>
                  </a:lnTo>
                  <a:lnTo>
                    <a:pt x="641" y="393"/>
                  </a:lnTo>
                  <a:lnTo>
                    <a:pt x="657" y="399"/>
                  </a:lnTo>
                  <a:lnTo>
                    <a:pt x="662" y="405"/>
                  </a:lnTo>
                  <a:lnTo>
                    <a:pt x="663" y="421"/>
                  </a:lnTo>
                  <a:lnTo>
                    <a:pt x="669" y="427"/>
                  </a:lnTo>
                  <a:lnTo>
                    <a:pt x="674" y="434"/>
                  </a:lnTo>
                  <a:lnTo>
                    <a:pt x="690" y="432"/>
                  </a:lnTo>
                  <a:lnTo>
                    <a:pt x="705" y="435"/>
                  </a:lnTo>
                  <a:lnTo>
                    <a:pt x="707" y="446"/>
                  </a:lnTo>
                  <a:lnTo>
                    <a:pt x="725" y="445"/>
                  </a:lnTo>
                  <a:lnTo>
                    <a:pt x="731" y="440"/>
                  </a:lnTo>
                  <a:lnTo>
                    <a:pt x="738" y="425"/>
                  </a:lnTo>
                  <a:lnTo>
                    <a:pt x="743" y="419"/>
                  </a:lnTo>
                  <a:lnTo>
                    <a:pt x="749" y="421"/>
                  </a:lnTo>
                  <a:lnTo>
                    <a:pt x="760" y="434"/>
                  </a:lnTo>
                  <a:lnTo>
                    <a:pt x="776" y="435"/>
                  </a:lnTo>
                  <a:lnTo>
                    <a:pt x="792" y="432"/>
                  </a:lnTo>
                  <a:lnTo>
                    <a:pt x="800" y="426"/>
                  </a:lnTo>
                  <a:lnTo>
                    <a:pt x="814" y="421"/>
                  </a:lnTo>
                  <a:lnTo>
                    <a:pt x="827" y="383"/>
                  </a:lnTo>
                  <a:lnTo>
                    <a:pt x="830" y="376"/>
                  </a:lnTo>
                  <a:lnTo>
                    <a:pt x="824" y="370"/>
                  </a:lnTo>
                  <a:lnTo>
                    <a:pt x="823" y="366"/>
                  </a:lnTo>
                  <a:lnTo>
                    <a:pt x="809" y="365"/>
                  </a:lnTo>
                  <a:lnTo>
                    <a:pt x="793" y="363"/>
                  </a:lnTo>
                  <a:lnTo>
                    <a:pt x="787" y="356"/>
                  </a:lnTo>
                  <a:lnTo>
                    <a:pt x="784" y="351"/>
                  </a:lnTo>
                  <a:lnTo>
                    <a:pt x="766" y="348"/>
                  </a:lnTo>
                  <a:lnTo>
                    <a:pt x="759" y="345"/>
                  </a:lnTo>
                  <a:lnTo>
                    <a:pt x="760" y="336"/>
                  </a:lnTo>
                  <a:lnTo>
                    <a:pt x="755" y="329"/>
                  </a:lnTo>
                  <a:lnTo>
                    <a:pt x="739" y="327"/>
                  </a:lnTo>
                  <a:lnTo>
                    <a:pt x="741" y="318"/>
                  </a:lnTo>
                  <a:lnTo>
                    <a:pt x="748" y="316"/>
                  </a:lnTo>
                  <a:lnTo>
                    <a:pt x="760" y="306"/>
                  </a:lnTo>
                  <a:lnTo>
                    <a:pt x="776" y="301"/>
                  </a:lnTo>
                  <a:lnTo>
                    <a:pt x="790" y="291"/>
                  </a:lnTo>
                  <a:lnTo>
                    <a:pt x="793" y="285"/>
                  </a:lnTo>
                  <a:lnTo>
                    <a:pt x="795" y="276"/>
                  </a:lnTo>
                  <a:lnTo>
                    <a:pt x="776" y="249"/>
                  </a:lnTo>
                  <a:lnTo>
                    <a:pt x="784" y="246"/>
                  </a:lnTo>
                  <a:lnTo>
                    <a:pt x="790" y="241"/>
                  </a:lnTo>
                  <a:lnTo>
                    <a:pt x="792" y="232"/>
                  </a:lnTo>
                  <a:lnTo>
                    <a:pt x="798" y="227"/>
                  </a:lnTo>
                  <a:lnTo>
                    <a:pt x="807" y="226"/>
                  </a:lnTo>
                  <a:lnTo>
                    <a:pt x="814" y="227"/>
                  </a:lnTo>
                  <a:lnTo>
                    <a:pt x="823" y="226"/>
                  </a:lnTo>
                  <a:lnTo>
                    <a:pt x="830" y="228"/>
                  </a:lnTo>
                  <a:lnTo>
                    <a:pt x="846" y="228"/>
                  </a:lnTo>
                  <a:lnTo>
                    <a:pt x="855" y="226"/>
                  </a:lnTo>
                  <a:lnTo>
                    <a:pt x="857" y="217"/>
                  </a:lnTo>
                  <a:lnTo>
                    <a:pt x="854" y="211"/>
                  </a:lnTo>
                  <a:lnTo>
                    <a:pt x="839" y="203"/>
                  </a:lnTo>
                  <a:lnTo>
                    <a:pt x="807" y="199"/>
                  </a:lnTo>
                  <a:lnTo>
                    <a:pt x="803" y="192"/>
                  </a:lnTo>
                  <a:lnTo>
                    <a:pt x="805" y="183"/>
                  </a:lnTo>
                  <a:lnTo>
                    <a:pt x="812" y="183"/>
                  </a:lnTo>
                  <a:lnTo>
                    <a:pt x="819" y="180"/>
                  </a:lnTo>
                  <a:lnTo>
                    <a:pt x="823" y="173"/>
                  </a:lnTo>
                  <a:lnTo>
                    <a:pt x="818" y="168"/>
                  </a:lnTo>
                  <a:lnTo>
                    <a:pt x="811" y="172"/>
                  </a:lnTo>
                  <a:lnTo>
                    <a:pt x="795" y="172"/>
                  </a:lnTo>
                  <a:lnTo>
                    <a:pt x="795" y="163"/>
                  </a:lnTo>
                  <a:lnTo>
                    <a:pt x="797" y="156"/>
                  </a:lnTo>
                  <a:lnTo>
                    <a:pt x="802" y="150"/>
                  </a:lnTo>
                  <a:lnTo>
                    <a:pt x="791" y="139"/>
                  </a:lnTo>
                  <a:lnTo>
                    <a:pt x="807" y="137"/>
                  </a:lnTo>
                  <a:lnTo>
                    <a:pt x="811" y="131"/>
                  </a:lnTo>
                  <a:lnTo>
                    <a:pt x="820" y="131"/>
                  </a:lnTo>
                  <a:lnTo>
                    <a:pt x="825" y="137"/>
                  </a:lnTo>
                  <a:lnTo>
                    <a:pt x="833" y="136"/>
                  </a:lnTo>
                  <a:lnTo>
                    <a:pt x="841" y="137"/>
                  </a:lnTo>
                  <a:lnTo>
                    <a:pt x="849" y="135"/>
                  </a:lnTo>
                  <a:lnTo>
                    <a:pt x="873" y="136"/>
                  </a:lnTo>
                  <a:lnTo>
                    <a:pt x="878" y="142"/>
                  </a:lnTo>
                  <a:lnTo>
                    <a:pt x="888" y="130"/>
                  </a:lnTo>
                  <a:lnTo>
                    <a:pt x="895" y="128"/>
                  </a:lnTo>
                  <a:lnTo>
                    <a:pt x="911" y="128"/>
                  </a:lnTo>
                  <a:lnTo>
                    <a:pt x="918" y="123"/>
                  </a:lnTo>
                  <a:lnTo>
                    <a:pt x="926" y="120"/>
                  </a:lnTo>
                  <a:lnTo>
                    <a:pt x="938" y="110"/>
                  </a:lnTo>
                  <a:lnTo>
                    <a:pt x="947" y="113"/>
                  </a:lnTo>
                  <a:lnTo>
                    <a:pt x="952" y="118"/>
                  </a:lnTo>
                  <a:lnTo>
                    <a:pt x="961" y="118"/>
                  </a:lnTo>
                  <a:lnTo>
                    <a:pt x="963" y="110"/>
                  </a:lnTo>
                  <a:lnTo>
                    <a:pt x="980" y="107"/>
                  </a:lnTo>
                  <a:lnTo>
                    <a:pt x="986" y="102"/>
                  </a:lnTo>
                  <a:lnTo>
                    <a:pt x="995" y="102"/>
                  </a:lnTo>
                  <a:lnTo>
                    <a:pt x="1002" y="98"/>
                  </a:lnTo>
                  <a:lnTo>
                    <a:pt x="1010" y="98"/>
                  </a:lnTo>
                  <a:lnTo>
                    <a:pt x="1017" y="101"/>
                  </a:lnTo>
                  <a:lnTo>
                    <a:pt x="1022" y="93"/>
                  </a:lnTo>
                  <a:lnTo>
                    <a:pt x="1023" y="86"/>
                  </a:lnTo>
                  <a:lnTo>
                    <a:pt x="1027" y="79"/>
                  </a:lnTo>
                  <a:lnTo>
                    <a:pt x="1034" y="74"/>
                  </a:lnTo>
                  <a:lnTo>
                    <a:pt x="1042" y="72"/>
                  </a:lnTo>
                  <a:lnTo>
                    <a:pt x="1049" y="76"/>
                  </a:lnTo>
                  <a:lnTo>
                    <a:pt x="1067" y="70"/>
                  </a:lnTo>
                  <a:lnTo>
                    <a:pt x="1067" y="71"/>
                  </a:lnTo>
                  <a:lnTo>
                    <a:pt x="1104" y="61"/>
                  </a:lnTo>
                  <a:lnTo>
                    <a:pt x="1136" y="58"/>
                  </a:lnTo>
                  <a:lnTo>
                    <a:pt x="1164" y="49"/>
                  </a:lnTo>
                  <a:lnTo>
                    <a:pt x="1171" y="44"/>
                  </a:lnTo>
                  <a:lnTo>
                    <a:pt x="1179" y="44"/>
                  </a:lnTo>
                  <a:lnTo>
                    <a:pt x="1187" y="42"/>
                  </a:lnTo>
                  <a:lnTo>
                    <a:pt x="1191" y="36"/>
                  </a:lnTo>
                  <a:lnTo>
                    <a:pt x="1191" y="28"/>
                  </a:lnTo>
                  <a:lnTo>
                    <a:pt x="1191" y="20"/>
                  </a:lnTo>
                  <a:lnTo>
                    <a:pt x="1200" y="21"/>
                  </a:lnTo>
                  <a:lnTo>
                    <a:pt x="1207" y="20"/>
                  </a:lnTo>
                  <a:lnTo>
                    <a:pt x="1212" y="12"/>
                  </a:lnTo>
                  <a:lnTo>
                    <a:pt x="1218" y="7"/>
                  </a:lnTo>
                  <a:lnTo>
                    <a:pt x="1227" y="7"/>
                  </a:lnTo>
                  <a:lnTo>
                    <a:pt x="1232" y="1"/>
                  </a:lnTo>
                  <a:lnTo>
                    <a:pt x="1239" y="0"/>
                  </a:lnTo>
                  <a:lnTo>
                    <a:pt x="1244" y="6"/>
                  </a:lnTo>
                  <a:lnTo>
                    <a:pt x="1253" y="4"/>
                  </a:lnTo>
                  <a:lnTo>
                    <a:pt x="1260" y="7"/>
                  </a:lnTo>
                  <a:lnTo>
                    <a:pt x="1269" y="5"/>
                  </a:lnTo>
                  <a:lnTo>
                    <a:pt x="1276" y="9"/>
                  </a:lnTo>
                  <a:lnTo>
                    <a:pt x="1281" y="15"/>
                  </a:lnTo>
                  <a:lnTo>
                    <a:pt x="1295" y="23"/>
                  </a:lnTo>
                  <a:lnTo>
                    <a:pt x="1302" y="20"/>
                  </a:lnTo>
                  <a:lnTo>
                    <a:pt x="1308" y="15"/>
                  </a:lnTo>
                  <a:lnTo>
                    <a:pt x="1324" y="12"/>
                  </a:lnTo>
                  <a:lnTo>
                    <a:pt x="1332" y="15"/>
                  </a:lnTo>
                  <a:lnTo>
                    <a:pt x="1338" y="21"/>
                  </a:lnTo>
                  <a:lnTo>
                    <a:pt x="1341" y="28"/>
                  </a:lnTo>
                  <a:lnTo>
                    <a:pt x="1343" y="44"/>
                  </a:lnTo>
                  <a:lnTo>
                    <a:pt x="1341" y="53"/>
                  </a:lnTo>
                  <a:lnTo>
                    <a:pt x="1344" y="60"/>
                  </a:lnTo>
                  <a:lnTo>
                    <a:pt x="1356" y="71"/>
                  </a:lnTo>
                  <a:lnTo>
                    <a:pt x="1352" y="79"/>
                  </a:lnTo>
                  <a:lnTo>
                    <a:pt x="1354" y="94"/>
                  </a:lnTo>
                  <a:lnTo>
                    <a:pt x="1349" y="102"/>
                  </a:lnTo>
                  <a:lnTo>
                    <a:pt x="1344" y="107"/>
                  </a:lnTo>
                  <a:lnTo>
                    <a:pt x="1347" y="114"/>
                  </a:lnTo>
                  <a:lnTo>
                    <a:pt x="1350" y="123"/>
                  </a:lnTo>
                  <a:lnTo>
                    <a:pt x="1366" y="118"/>
                  </a:lnTo>
                  <a:lnTo>
                    <a:pt x="1373" y="123"/>
                  </a:lnTo>
                  <a:lnTo>
                    <a:pt x="1381" y="122"/>
                  </a:lnTo>
                  <a:lnTo>
                    <a:pt x="1384" y="113"/>
                  </a:lnTo>
                  <a:lnTo>
                    <a:pt x="1392" y="113"/>
                  </a:lnTo>
                  <a:lnTo>
                    <a:pt x="1399" y="115"/>
                  </a:lnTo>
                  <a:lnTo>
                    <a:pt x="1402" y="107"/>
                  </a:lnTo>
                  <a:lnTo>
                    <a:pt x="1402" y="99"/>
                  </a:lnTo>
                  <a:lnTo>
                    <a:pt x="1409" y="101"/>
                  </a:lnTo>
                  <a:lnTo>
                    <a:pt x="1413" y="108"/>
                  </a:lnTo>
                  <a:lnTo>
                    <a:pt x="1415" y="117"/>
                  </a:lnTo>
                  <a:lnTo>
                    <a:pt x="1420" y="122"/>
                  </a:lnTo>
                  <a:lnTo>
                    <a:pt x="1418" y="129"/>
                  </a:lnTo>
                  <a:lnTo>
                    <a:pt x="1416" y="137"/>
                  </a:lnTo>
                  <a:lnTo>
                    <a:pt x="1432" y="139"/>
                  </a:lnTo>
                  <a:lnTo>
                    <a:pt x="1430" y="131"/>
                  </a:lnTo>
                  <a:lnTo>
                    <a:pt x="1425" y="125"/>
                  </a:lnTo>
                  <a:lnTo>
                    <a:pt x="1432" y="123"/>
                  </a:lnTo>
                  <a:lnTo>
                    <a:pt x="1448" y="125"/>
                  </a:lnTo>
                  <a:lnTo>
                    <a:pt x="1456" y="130"/>
                  </a:lnTo>
                  <a:lnTo>
                    <a:pt x="1461" y="136"/>
                  </a:lnTo>
                  <a:lnTo>
                    <a:pt x="1469" y="140"/>
                  </a:lnTo>
                  <a:lnTo>
                    <a:pt x="1476" y="140"/>
                  </a:lnTo>
                  <a:lnTo>
                    <a:pt x="1480" y="133"/>
                  </a:lnTo>
                  <a:lnTo>
                    <a:pt x="1488" y="129"/>
                  </a:lnTo>
                  <a:lnTo>
                    <a:pt x="1490" y="137"/>
                  </a:lnTo>
                  <a:lnTo>
                    <a:pt x="1490" y="145"/>
                  </a:lnTo>
                  <a:lnTo>
                    <a:pt x="1481" y="147"/>
                  </a:lnTo>
                  <a:lnTo>
                    <a:pt x="1475" y="152"/>
                  </a:lnTo>
                  <a:lnTo>
                    <a:pt x="1470" y="160"/>
                  </a:lnTo>
                  <a:lnTo>
                    <a:pt x="1468" y="167"/>
                  </a:lnTo>
                  <a:lnTo>
                    <a:pt x="1469" y="176"/>
                  </a:lnTo>
                  <a:lnTo>
                    <a:pt x="1474" y="183"/>
                  </a:lnTo>
                  <a:lnTo>
                    <a:pt x="1481" y="182"/>
                  </a:lnTo>
                  <a:lnTo>
                    <a:pt x="1486" y="176"/>
                  </a:lnTo>
                  <a:lnTo>
                    <a:pt x="1501" y="169"/>
                  </a:lnTo>
                  <a:lnTo>
                    <a:pt x="1508" y="173"/>
                  </a:lnTo>
                  <a:lnTo>
                    <a:pt x="1517" y="172"/>
                  </a:lnTo>
                  <a:lnTo>
                    <a:pt x="1522" y="177"/>
                  </a:lnTo>
                  <a:lnTo>
                    <a:pt x="1531" y="177"/>
                  </a:lnTo>
                  <a:lnTo>
                    <a:pt x="1528" y="169"/>
                  </a:lnTo>
                  <a:lnTo>
                    <a:pt x="1533" y="163"/>
                  </a:lnTo>
                  <a:lnTo>
                    <a:pt x="1542" y="163"/>
                  </a:lnTo>
                  <a:lnTo>
                    <a:pt x="1551" y="151"/>
                  </a:lnTo>
                  <a:lnTo>
                    <a:pt x="1567" y="149"/>
                  </a:lnTo>
                  <a:lnTo>
                    <a:pt x="1580" y="137"/>
                  </a:lnTo>
                  <a:lnTo>
                    <a:pt x="1586" y="123"/>
                  </a:lnTo>
                  <a:lnTo>
                    <a:pt x="1592" y="118"/>
                  </a:lnTo>
                  <a:lnTo>
                    <a:pt x="1601" y="119"/>
                  </a:lnTo>
                  <a:lnTo>
                    <a:pt x="1617" y="115"/>
                  </a:lnTo>
                  <a:lnTo>
                    <a:pt x="1624" y="113"/>
                  </a:lnTo>
                  <a:lnTo>
                    <a:pt x="1628" y="106"/>
                  </a:lnTo>
                  <a:lnTo>
                    <a:pt x="1644" y="104"/>
                  </a:lnTo>
                  <a:lnTo>
                    <a:pt x="1657" y="96"/>
                  </a:lnTo>
                  <a:lnTo>
                    <a:pt x="1661" y="103"/>
                  </a:lnTo>
                  <a:lnTo>
                    <a:pt x="1662" y="110"/>
                  </a:lnTo>
                  <a:lnTo>
                    <a:pt x="1657" y="118"/>
                  </a:lnTo>
                  <a:lnTo>
                    <a:pt x="1650" y="122"/>
                  </a:lnTo>
                  <a:lnTo>
                    <a:pt x="1642" y="120"/>
                  </a:lnTo>
                  <a:lnTo>
                    <a:pt x="1641" y="128"/>
                  </a:lnTo>
                  <a:lnTo>
                    <a:pt x="1644" y="135"/>
                  </a:lnTo>
                  <a:lnTo>
                    <a:pt x="1648" y="137"/>
                  </a:lnTo>
                  <a:lnTo>
                    <a:pt x="1720" y="204"/>
                  </a:lnTo>
                  <a:lnTo>
                    <a:pt x="1840" y="422"/>
                  </a:lnTo>
                  <a:lnTo>
                    <a:pt x="1854" y="411"/>
                  </a:lnTo>
                  <a:lnTo>
                    <a:pt x="1857" y="404"/>
                  </a:lnTo>
                  <a:lnTo>
                    <a:pt x="1857" y="397"/>
                  </a:lnTo>
                  <a:lnTo>
                    <a:pt x="1868" y="383"/>
                  </a:lnTo>
                  <a:lnTo>
                    <a:pt x="1876" y="382"/>
                  </a:lnTo>
                  <a:lnTo>
                    <a:pt x="1881" y="388"/>
                  </a:lnTo>
                  <a:lnTo>
                    <a:pt x="1889" y="391"/>
                  </a:lnTo>
                  <a:lnTo>
                    <a:pt x="1903" y="399"/>
                  </a:lnTo>
                  <a:lnTo>
                    <a:pt x="1899" y="406"/>
                  </a:lnTo>
                  <a:lnTo>
                    <a:pt x="1903" y="413"/>
                  </a:lnTo>
                  <a:lnTo>
                    <a:pt x="1909" y="414"/>
                  </a:lnTo>
                  <a:lnTo>
                    <a:pt x="1914" y="427"/>
                  </a:lnTo>
                  <a:lnTo>
                    <a:pt x="1938" y="425"/>
                  </a:lnTo>
                  <a:lnTo>
                    <a:pt x="1956" y="430"/>
                  </a:lnTo>
                  <a:lnTo>
                    <a:pt x="1963" y="427"/>
                  </a:lnTo>
                  <a:lnTo>
                    <a:pt x="1979" y="427"/>
                  </a:lnTo>
                  <a:lnTo>
                    <a:pt x="1981" y="420"/>
                  </a:lnTo>
                  <a:lnTo>
                    <a:pt x="1986" y="414"/>
                  </a:lnTo>
                  <a:lnTo>
                    <a:pt x="1995" y="415"/>
                  </a:lnTo>
                  <a:lnTo>
                    <a:pt x="2002" y="415"/>
                  </a:lnTo>
                  <a:lnTo>
                    <a:pt x="2006" y="408"/>
                  </a:lnTo>
                  <a:lnTo>
                    <a:pt x="2012" y="403"/>
                  </a:lnTo>
                  <a:lnTo>
                    <a:pt x="2028" y="408"/>
                  </a:lnTo>
                  <a:lnTo>
                    <a:pt x="2035" y="411"/>
                  </a:lnTo>
                  <a:lnTo>
                    <a:pt x="2039" y="419"/>
                  </a:lnTo>
                  <a:lnTo>
                    <a:pt x="2046" y="422"/>
                  </a:lnTo>
                  <a:lnTo>
                    <a:pt x="2056" y="435"/>
                  </a:lnTo>
                  <a:lnTo>
                    <a:pt x="2064" y="438"/>
                  </a:lnTo>
                  <a:lnTo>
                    <a:pt x="2067" y="446"/>
                  </a:lnTo>
                  <a:lnTo>
                    <a:pt x="2065" y="454"/>
                  </a:lnTo>
                  <a:lnTo>
                    <a:pt x="2066" y="462"/>
                  </a:lnTo>
                  <a:lnTo>
                    <a:pt x="2070" y="469"/>
                  </a:lnTo>
                  <a:lnTo>
                    <a:pt x="2078" y="470"/>
                  </a:lnTo>
                  <a:lnTo>
                    <a:pt x="2099" y="481"/>
                  </a:lnTo>
                  <a:lnTo>
                    <a:pt x="2103" y="489"/>
                  </a:lnTo>
                  <a:lnTo>
                    <a:pt x="2103" y="496"/>
                  </a:lnTo>
                  <a:lnTo>
                    <a:pt x="2110" y="500"/>
                  </a:lnTo>
                  <a:lnTo>
                    <a:pt x="2115" y="505"/>
                  </a:lnTo>
                  <a:lnTo>
                    <a:pt x="2123" y="519"/>
                  </a:lnTo>
                  <a:lnTo>
                    <a:pt x="2129" y="524"/>
                  </a:lnTo>
                  <a:lnTo>
                    <a:pt x="2145" y="526"/>
                  </a:lnTo>
                  <a:lnTo>
                    <a:pt x="2152" y="531"/>
                  </a:lnTo>
                  <a:lnTo>
                    <a:pt x="2159" y="533"/>
                  </a:lnTo>
                  <a:lnTo>
                    <a:pt x="2168" y="534"/>
                  </a:lnTo>
                  <a:lnTo>
                    <a:pt x="2177" y="534"/>
                  </a:lnTo>
                  <a:lnTo>
                    <a:pt x="2179" y="527"/>
                  </a:lnTo>
                  <a:lnTo>
                    <a:pt x="2184" y="521"/>
                  </a:lnTo>
                  <a:lnTo>
                    <a:pt x="2199" y="515"/>
                  </a:lnTo>
                  <a:lnTo>
                    <a:pt x="2201" y="523"/>
                  </a:lnTo>
                  <a:lnTo>
                    <a:pt x="2205" y="531"/>
                  </a:lnTo>
                  <a:lnTo>
                    <a:pt x="2212" y="535"/>
                  </a:lnTo>
                  <a:lnTo>
                    <a:pt x="2218" y="549"/>
                  </a:lnTo>
                  <a:lnTo>
                    <a:pt x="2226" y="554"/>
                  </a:lnTo>
                  <a:lnTo>
                    <a:pt x="2230" y="561"/>
                  </a:lnTo>
                  <a:lnTo>
                    <a:pt x="2217" y="587"/>
                  </a:lnTo>
                  <a:lnTo>
                    <a:pt x="2207" y="607"/>
                  </a:lnTo>
                  <a:lnTo>
                    <a:pt x="2191" y="623"/>
                  </a:lnTo>
                  <a:lnTo>
                    <a:pt x="2171" y="629"/>
                  </a:lnTo>
                  <a:lnTo>
                    <a:pt x="2156" y="628"/>
                  </a:lnTo>
                  <a:lnTo>
                    <a:pt x="2145" y="648"/>
                  </a:lnTo>
                  <a:lnTo>
                    <a:pt x="2140" y="673"/>
                  </a:lnTo>
                  <a:lnTo>
                    <a:pt x="2142" y="696"/>
                  </a:lnTo>
                  <a:lnTo>
                    <a:pt x="2139" y="733"/>
                  </a:lnTo>
                  <a:lnTo>
                    <a:pt x="2116" y="741"/>
                  </a:lnTo>
                  <a:lnTo>
                    <a:pt x="2102" y="753"/>
                  </a:lnTo>
                  <a:lnTo>
                    <a:pt x="2092" y="745"/>
                  </a:lnTo>
                  <a:lnTo>
                    <a:pt x="2082" y="736"/>
                  </a:lnTo>
                  <a:lnTo>
                    <a:pt x="2048" y="739"/>
                  </a:lnTo>
                  <a:lnTo>
                    <a:pt x="2030" y="733"/>
                  </a:lnTo>
                  <a:lnTo>
                    <a:pt x="2021" y="726"/>
                  </a:lnTo>
                  <a:lnTo>
                    <a:pt x="1996" y="726"/>
                  </a:lnTo>
                  <a:lnTo>
                    <a:pt x="1986" y="747"/>
                  </a:lnTo>
                  <a:lnTo>
                    <a:pt x="1978" y="773"/>
                  </a:lnTo>
                  <a:lnTo>
                    <a:pt x="1965" y="800"/>
                  </a:lnTo>
                  <a:lnTo>
                    <a:pt x="1959" y="824"/>
                  </a:lnTo>
                  <a:lnTo>
                    <a:pt x="1956" y="844"/>
                  </a:lnTo>
                  <a:lnTo>
                    <a:pt x="1958" y="859"/>
                  </a:lnTo>
                  <a:lnTo>
                    <a:pt x="1964" y="877"/>
                  </a:lnTo>
                  <a:lnTo>
                    <a:pt x="1957" y="882"/>
                  </a:lnTo>
                  <a:lnTo>
                    <a:pt x="1902" y="884"/>
                  </a:lnTo>
                  <a:lnTo>
                    <a:pt x="1879" y="892"/>
                  </a:lnTo>
                  <a:lnTo>
                    <a:pt x="1861" y="894"/>
                  </a:lnTo>
                  <a:lnTo>
                    <a:pt x="1841" y="901"/>
                  </a:lnTo>
                  <a:lnTo>
                    <a:pt x="1831" y="909"/>
                  </a:lnTo>
                  <a:lnTo>
                    <a:pt x="1840" y="916"/>
                  </a:lnTo>
                  <a:lnTo>
                    <a:pt x="1847" y="931"/>
                  </a:lnTo>
                  <a:lnTo>
                    <a:pt x="1852" y="969"/>
                  </a:lnTo>
                  <a:lnTo>
                    <a:pt x="1856" y="984"/>
                  </a:lnTo>
                  <a:lnTo>
                    <a:pt x="1863" y="996"/>
                  </a:lnTo>
                  <a:lnTo>
                    <a:pt x="1872" y="1023"/>
                  </a:lnTo>
                  <a:lnTo>
                    <a:pt x="1872" y="1038"/>
                  </a:lnTo>
                  <a:lnTo>
                    <a:pt x="1859" y="1048"/>
                  </a:lnTo>
                  <a:lnTo>
                    <a:pt x="1860" y="1061"/>
                  </a:lnTo>
                  <a:lnTo>
                    <a:pt x="1852" y="1070"/>
                  </a:lnTo>
                  <a:lnTo>
                    <a:pt x="1850" y="1081"/>
                  </a:lnTo>
                  <a:lnTo>
                    <a:pt x="1850" y="1099"/>
                  </a:lnTo>
                  <a:lnTo>
                    <a:pt x="1843" y="1099"/>
                  </a:lnTo>
                  <a:lnTo>
                    <a:pt x="1823" y="1086"/>
                  </a:lnTo>
                  <a:lnTo>
                    <a:pt x="1807" y="1083"/>
                  </a:lnTo>
                  <a:lnTo>
                    <a:pt x="1792" y="1065"/>
                  </a:lnTo>
                  <a:lnTo>
                    <a:pt x="1776" y="1064"/>
                  </a:lnTo>
                  <a:lnTo>
                    <a:pt x="1768" y="1061"/>
                  </a:lnTo>
                  <a:lnTo>
                    <a:pt x="1760" y="1061"/>
                  </a:lnTo>
                  <a:lnTo>
                    <a:pt x="1753" y="1057"/>
                  </a:lnTo>
                  <a:lnTo>
                    <a:pt x="1745" y="1056"/>
                  </a:lnTo>
                  <a:lnTo>
                    <a:pt x="1721" y="1057"/>
                  </a:lnTo>
                  <a:lnTo>
                    <a:pt x="1698" y="1054"/>
                  </a:lnTo>
                  <a:lnTo>
                    <a:pt x="1689" y="1055"/>
                  </a:lnTo>
                  <a:lnTo>
                    <a:pt x="1674" y="1048"/>
                  </a:lnTo>
                  <a:lnTo>
                    <a:pt x="1667" y="1048"/>
                  </a:lnTo>
                  <a:lnTo>
                    <a:pt x="1652" y="1054"/>
                  </a:lnTo>
                  <a:lnTo>
                    <a:pt x="1620" y="1050"/>
                  </a:lnTo>
                  <a:lnTo>
                    <a:pt x="1612" y="1050"/>
                  </a:lnTo>
                  <a:lnTo>
                    <a:pt x="1596" y="1054"/>
                  </a:lnTo>
                  <a:lnTo>
                    <a:pt x="1580" y="1054"/>
                  </a:lnTo>
                  <a:lnTo>
                    <a:pt x="1571" y="1053"/>
                  </a:lnTo>
                  <a:lnTo>
                    <a:pt x="1565" y="1048"/>
                  </a:lnTo>
                  <a:lnTo>
                    <a:pt x="1556" y="1046"/>
                  </a:lnTo>
                  <a:lnTo>
                    <a:pt x="1540" y="1048"/>
                  </a:lnTo>
                  <a:lnTo>
                    <a:pt x="1534" y="1043"/>
                  </a:lnTo>
                  <a:lnTo>
                    <a:pt x="1513" y="1030"/>
                  </a:lnTo>
                  <a:lnTo>
                    <a:pt x="1506" y="1034"/>
                  </a:lnTo>
                  <a:lnTo>
                    <a:pt x="1499" y="1035"/>
                  </a:lnTo>
                  <a:lnTo>
                    <a:pt x="1491" y="1038"/>
                  </a:lnTo>
                  <a:lnTo>
                    <a:pt x="1479" y="1048"/>
                  </a:lnTo>
                  <a:lnTo>
                    <a:pt x="1478" y="1056"/>
                  </a:lnTo>
                  <a:lnTo>
                    <a:pt x="1473" y="1064"/>
                  </a:lnTo>
                  <a:lnTo>
                    <a:pt x="1470" y="1080"/>
                  </a:lnTo>
                  <a:lnTo>
                    <a:pt x="1467" y="1086"/>
                  </a:lnTo>
                  <a:lnTo>
                    <a:pt x="1451" y="1082"/>
                  </a:lnTo>
                  <a:lnTo>
                    <a:pt x="1437" y="1075"/>
                  </a:lnTo>
                  <a:lnTo>
                    <a:pt x="1421" y="1070"/>
                  </a:lnTo>
                  <a:lnTo>
                    <a:pt x="1414" y="1066"/>
                  </a:lnTo>
                  <a:lnTo>
                    <a:pt x="1406" y="1064"/>
                  </a:lnTo>
                  <a:lnTo>
                    <a:pt x="1398" y="1064"/>
                  </a:lnTo>
                  <a:lnTo>
                    <a:pt x="1383" y="1061"/>
                  </a:lnTo>
                  <a:lnTo>
                    <a:pt x="1375" y="1062"/>
                  </a:lnTo>
                  <a:lnTo>
                    <a:pt x="1367" y="1060"/>
                  </a:lnTo>
                  <a:lnTo>
                    <a:pt x="1351" y="1062"/>
                  </a:lnTo>
                  <a:lnTo>
                    <a:pt x="1344" y="1066"/>
                  </a:lnTo>
                  <a:lnTo>
                    <a:pt x="1341" y="1073"/>
                  </a:lnTo>
                  <a:lnTo>
                    <a:pt x="1343" y="1081"/>
                  </a:lnTo>
                  <a:lnTo>
                    <a:pt x="1338" y="1088"/>
                  </a:lnTo>
                  <a:lnTo>
                    <a:pt x="1334" y="1096"/>
                  </a:lnTo>
                  <a:lnTo>
                    <a:pt x="1332" y="1103"/>
                  </a:lnTo>
                  <a:lnTo>
                    <a:pt x="1320" y="1115"/>
                  </a:lnTo>
                  <a:lnTo>
                    <a:pt x="1313" y="1118"/>
                  </a:lnTo>
                  <a:lnTo>
                    <a:pt x="1306" y="1115"/>
                  </a:lnTo>
                  <a:lnTo>
                    <a:pt x="1300" y="1130"/>
                  </a:lnTo>
                  <a:lnTo>
                    <a:pt x="1293" y="1135"/>
                  </a:lnTo>
                  <a:lnTo>
                    <a:pt x="1271" y="1145"/>
                  </a:lnTo>
                  <a:lnTo>
                    <a:pt x="1257" y="1153"/>
                  </a:lnTo>
                  <a:lnTo>
                    <a:pt x="1252" y="1159"/>
                  </a:lnTo>
                  <a:lnTo>
                    <a:pt x="1244" y="1162"/>
                  </a:lnTo>
                  <a:lnTo>
                    <a:pt x="1237" y="1167"/>
                  </a:lnTo>
                  <a:lnTo>
                    <a:pt x="1233" y="1174"/>
                  </a:lnTo>
                  <a:lnTo>
                    <a:pt x="1231" y="1182"/>
                  </a:lnTo>
                  <a:lnTo>
                    <a:pt x="1225" y="1186"/>
                  </a:lnTo>
                  <a:lnTo>
                    <a:pt x="1217" y="1190"/>
                  </a:lnTo>
                  <a:lnTo>
                    <a:pt x="1209" y="1189"/>
                  </a:lnTo>
                  <a:lnTo>
                    <a:pt x="1194" y="1183"/>
                  </a:lnTo>
                  <a:lnTo>
                    <a:pt x="1185" y="1180"/>
                  </a:lnTo>
                  <a:lnTo>
                    <a:pt x="1172" y="1172"/>
                  </a:lnTo>
                  <a:lnTo>
                    <a:pt x="1115" y="1178"/>
                  </a:lnTo>
                  <a:lnTo>
                    <a:pt x="1105" y="1132"/>
                  </a:lnTo>
                  <a:lnTo>
                    <a:pt x="1072" y="1126"/>
                  </a:lnTo>
                  <a:lnTo>
                    <a:pt x="1071" y="1113"/>
                  </a:lnTo>
                  <a:lnTo>
                    <a:pt x="1071" y="1097"/>
                  </a:lnTo>
                  <a:lnTo>
                    <a:pt x="1080" y="1096"/>
                  </a:lnTo>
                  <a:lnTo>
                    <a:pt x="1078" y="1053"/>
                  </a:lnTo>
                  <a:lnTo>
                    <a:pt x="1065" y="1054"/>
                  </a:lnTo>
                  <a:lnTo>
                    <a:pt x="1048" y="1021"/>
                  </a:lnTo>
                  <a:lnTo>
                    <a:pt x="1035" y="1011"/>
                  </a:lnTo>
                  <a:lnTo>
                    <a:pt x="1028" y="1007"/>
                  </a:lnTo>
                  <a:lnTo>
                    <a:pt x="1016" y="997"/>
                  </a:lnTo>
                  <a:lnTo>
                    <a:pt x="1010" y="991"/>
                  </a:lnTo>
                  <a:lnTo>
                    <a:pt x="996" y="997"/>
                  </a:lnTo>
                  <a:lnTo>
                    <a:pt x="920" y="996"/>
                  </a:lnTo>
                  <a:lnTo>
                    <a:pt x="849" y="1008"/>
                  </a:lnTo>
                  <a:lnTo>
                    <a:pt x="820" y="980"/>
                  </a:lnTo>
                  <a:lnTo>
                    <a:pt x="777" y="932"/>
                  </a:lnTo>
                  <a:lnTo>
                    <a:pt x="742" y="899"/>
                  </a:lnTo>
                  <a:lnTo>
                    <a:pt x="728" y="889"/>
                  </a:lnTo>
                  <a:lnTo>
                    <a:pt x="709" y="874"/>
                  </a:lnTo>
                  <a:lnTo>
                    <a:pt x="689" y="860"/>
                  </a:lnTo>
                  <a:lnTo>
                    <a:pt x="658" y="847"/>
                  </a:lnTo>
                  <a:lnTo>
                    <a:pt x="518" y="89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57" name="Freeform 162">
              <a:extLst>
                <a:ext uri="{FF2B5EF4-FFF2-40B4-BE49-F238E27FC236}">
                  <a16:creationId xmlns:a16="http://schemas.microsoft.com/office/drawing/2014/main" id="{A0D682FA-8B8E-A545-405C-2C69E6568FE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937200" y="2835069"/>
              <a:ext cx="196989" cy="102122"/>
            </a:xfrm>
            <a:custGeom>
              <a:avLst/>
              <a:gdLst>
                <a:gd name="T0" fmla="*/ 2147483647 w 368"/>
                <a:gd name="T1" fmla="*/ 2147483647 h 182"/>
                <a:gd name="T2" fmla="*/ 2147483647 w 368"/>
                <a:gd name="T3" fmla="*/ 2147483647 h 182"/>
                <a:gd name="T4" fmla="*/ 2147483647 w 368"/>
                <a:gd name="T5" fmla="*/ 2147483647 h 182"/>
                <a:gd name="T6" fmla="*/ 2147483647 w 368"/>
                <a:gd name="T7" fmla="*/ 2147483647 h 182"/>
                <a:gd name="T8" fmla="*/ 2147483647 w 368"/>
                <a:gd name="T9" fmla="*/ 2147483647 h 182"/>
                <a:gd name="T10" fmla="*/ 2147483647 w 368"/>
                <a:gd name="T11" fmla="*/ 2147483647 h 182"/>
                <a:gd name="T12" fmla="*/ 2147483647 w 368"/>
                <a:gd name="T13" fmla="*/ 2147483647 h 182"/>
                <a:gd name="T14" fmla="*/ 2147483647 w 368"/>
                <a:gd name="T15" fmla="*/ 2147483647 h 182"/>
                <a:gd name="T16" fmla="*/ 2147483647 w 368"/>
                <a:gd name="T17" fmla="*/ 2147483647 h 182"/>
                <a:gd name="T18" fmla="*/ 2147483647 w 368"/>
                <a:gd name="T19" fmla="*/ 2147483647 h 182"/>
                <a:gd name="T20" fmla="*/ 2147483647 w 368"/>
                <a:gd name="T21" fmla="*/ 2147483647 h 182"/>
                <a:gd name="T22" fmla="*/ 2147483647 w 368"/>
                <a:gd name="T23" fmla="*/ 2147483647 h 182"/>
                <a:gd name="T24" fmla="*/ 2147483647 w 368"/>
                <a:gd name="T25" fmla="*/ 2147483647 h 182"/>
                <a:gd name="T26" fmla="*/ 2147483647 w 368"/>
                <a:gd name="T27" fmla="*/ 2147483647 h 182"/>
                <a:gd name="T28" fmla="*/ 2147483647 w 368"/>
                <a:gd name="T29" fmla="*/ 2147483647 h 182"/>
                <a:gd name="T30" fmla="*/ 2147483647 w 368"/>
                <a:gd name="T31" fmla="*/ 2147483647 h 182"/>
                <a:gd name="T32" fmla="*/ 2147483647 w 368"/>
                <a:gd name="T33" fmla="*/ 2147483647 h 182"/>
                <a:gd name="T34" fmla="*/ 2147483647 w 368"/>
                <a:gd name="T35" fmla="*/ 2147483647 h 182"/>
                <a:gd name="T36" fmla="*/ 2147483647 w 368"/>
                <a:gd name="T37" fmla="*/ 2147483647 h 182"/>
                <a:gd name="T38" fmla="*/ 2147483647 w 368"/>
                <a:gd name="T39" fmla="*/ 2147483647 h 182"/>
                <a:gd name="T40" fmla="*/ 2147483647 w 368"/>
                <a:gd name="T41" fmla="*/ 2147483647 h 182"/>
                <a:gd name="T42" fmla="*/ 2147483647 w 368"/>
                <a:gd name="T43" fmla="*/ 0 h 182"/>
                <a:gd name="T44" fmla="*/ 2147483647 w 368"/>
                <a:gd name="T45" fmla="*/ 0 h 182"/>
                <a:gd name="T46" fmla="*/ 2147483647 w 368"/>
                <a:gd name="T47" fmla="*/ 0 h 182"/>
                <a:gd name="T48" fmla="*/ 2147483647 w 368"/>
                <a:gd name="T49" fmla="*/ 0 h 182"/>
                <a:gd name="T50" fmla="*/ 2147483647 w 368"/>
                <a:gd name="T51" fmla="*/ 0 h 182"/>
                <a:gd name="T52" fmla="*/ 2147483647 w 368"/>
                <a:gd name="T53" fmla="*/ 0 h 182"/>
                <a:gd name="T54" fmla="*/ 2147483647 w 368"/>
                <a:gd name="T55" fmla="*/ 0 h 182"/>
                <a:gd name="T56" fmla="*/ 2147483647 w 368"/>
                <a:gd name="T57" fmla="*/ 0 h 182"/>
                <a:gd name="T58" fmla="*/ 2147483647 w 368"/>
                <a:gd name="T59" fmla="*/ 0 h 182"/>
                <a:gd name="T60" fmla="*/ 2147483647 w 368"/>
                <a:gd name="T61" fmla="*/ 0 h 182"/>
                <a:gd name="T62" fmla="*/ 2147483647 w 368"/>
                <a:gd name="T63" fmla="*/ 0 h 182"/>
                <a:gd name="T64" fmla="*/ 2147483647 w 368"/>
                <a:gd name="T65" fmla="*/ 0 h 182"/>
                <a:gd name="T66" fmla="*/ 0 w 368"/>
                <a:gd name="T67" fmla="*/ 0 h 182"/>
                <a:gd name="T68" fmla="*/ 0 w 368"/>
                <a:gd name="T69" fmla="*/ 0 h 182"/>
                <a:gd name="T70" fmla="*/ 0 w 368"/>
                <a:gd name="T71" fmla="*/ 0 h 182"/>
                <a:gd name="T72" fmla="*/ 0 w 368"/>
                <a:gd name="T73" fmla="*/ 0 h 182"/>
                <a:gd name="T74" fmla="*/ 2147483647 w 368"/>
                <a:gd name="T75" fmla="*/ 0 h 182"/>
                <a:gd name="T76" fmla="*/ 2147483647 w 368"/>
                <a:gd name="T77" fmla="*/ 0 h 182"/>
                <a:gd name="T78" fmla="*/ 2147483647 w 368"/>
                <a:gd name="T79" fmla="*/ 2147483647 h 182"/>
                <a:gd name="T80" fmla="*/ 2147483647 w 368"/>
                <a:gd name="T81" fmla="*/ 2147483647 h 182"/>
                <a:gd name="T82" fmla="*/ 2147483647 w 368"/>
                <a:gd name="T83" fmla="*/ 2147483647 h 182"/>
                <a:gd name="T84" fmla="*/ 2147483647 w 368"/>
                <a:gd name="T85" fmla="*/ 2147483647 h 18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68"/>
                <a:gd name="T130" fmla="*/ 0 h 182"/>
                <a:gd name="T131" fmla="*/ 368 w 368"/>
                <a:gd name="T132" fmla="*/ 182 h 18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68" h="182">
                  <a:moveTo>
                    <a:pt x="87" y="148"/>
                  </a:moveTo>
                  <a:lnTo>
                    <a:pt x="94" y="154"/>
                  </a:lnTo>
                  <a:lnTo>
                    <a:pt x="102" y="154"/>
                  </a:lnTo>
                  <a:lnTo>
                    <a:pt x="115" y="150"/>
                  </a:lnTo>
                  <a:lnTo>
                    <a:pt x="134" y="156"/>
                  </a:lnTo>
                  <a:lnTo>
                    <a:pt x="140" y="156"/>
                  </a:lnTo>
                  <a:lnTo>
                    <a:pt x="145" y="149"/>
                  </a:lnTo>
                  <a:lnTo>
                    <a:pt x="150" y="145"/>
                  </a:lnTo>
                  <a:lnTo>
                    <a:pt x="158" y="148"/>
                  </a:lnTo>
                  <a:lnTo>
                    <a:pt x="166" y="155"/>
                  </a:lnTo>
                  <a:lnTo>
                    <a:pt x="177" y="171"/>
                  </a:lnTo>
                  <a:lnTo>
                    <a:pt x="182" y="172"/>
                  </a:lnTo>
                  <a:lnTo>
                    <a:pt x="191" y="182"/>
                  </a:lnTo>
                  <a:lnTo>
                    <a:pt x="212" y="181"/>
                  </a:lnTo>
                  <a:lnTo>
                    <a:pt x="219" y="176"/>
                  </a:lnTo>
                  <a:lnTo>
                    <a:pt x="235" y="175"/>
                  </a:lnTo>
                  <a:lnTo>
                    <a:pt x="242" y="171"/>
                  </a:lnTo>
                  <a:lnTo>
                    <a:pt x="258" y="174"/>
                  </a:lnTo>
                  <a:lnTo>
                    <a:pt x="267" y="172"/>
                  </a:lnTo>
                  <a:lnTo>
                    <a:pt x="277" y="167"/>
                  </a:lnTo>
                  <a:lnTo>
                    <a:pt x="282" y="166"/>
                  </a:lnTo>
                  <a:lnTo>
                    <a:pt x="296" y="156"/>
                  </a:lnTo>
                  <a:lnTo>
                    <a:pt x="304" y="158"/>
                  </a:lnTo>
                  <a:lnTo>
                    <a:pt x="311" y="160"/>
                  </a:lnTo>
                  <a:lnTo>
                    <a:pt x="317" y="166"/>
                  </a:lnTo>
                  <a:lnTo>
                    <a:pt x="332" y="174"/>
                  </a:lnTo>
                  <a:lnTo>
                    <a:pt x="341" y="172"/>
                  </a:lnTo>
                  <a:lnTo>
                    <a:pt x="355" y="179"/>
                  </a:lnTo>
                  <a:lnTo>
                    <a:pt x="364" y="180"/>
                  </a:lnTo>
                  <a:lnTo>
                    <a:pt x="368" y="174"/>
                  </a:lnTo>
                  <a:lnTo>
                    <a:pt x="365" y="166"/>
                  </a:lnTo>
                  <a:lnTo>
                    <a:pt x="352" y="156"/>
                  </a:lnTo>
                  <a:lnTo>
                    <a:pt x="349" y="149"/>
                  </a:lnTo>
                  <a:lnTo>
                    <a:pt x="343" y="143"/>
                  </a:lnTo>
                  <a:lnTo>
                    <a:pt x="344" y="134"/>
                  </a:lnTo>
                  <a:lnTo>
                    <a:pt x="355" y="124"/>
                  </a:lnTo>
                  <a:lnTo>
                    <a:pt x="357" y="124"/>
                  </a:lnTo>
                  <a:lnTo>
                    <a:pt x="352" y="121"/>
                  </a:lnTo>
                  <a:lnTo>
                    <a:pt x="345" y="116"/>
                  </a:lnTo>
                  <a:lnTo>
                    <a:pt x="329" y="111"/>
                  </a:lnTo>
                  <a:lnTo>
                    <a:pt x="317" y="101"/>
                  </a:lnTo>
                  <a:lnTo>
                    <a:pt x="321" y="86"/>
                  </a:lnTo>
                  <a:lnTo>
                    <a:pt x="317" y="79"/>
                  </a:lnTo>
                  <a:lnTo>
                    <a:pt x="310" y="75"/>
                  </a:lnTo>
                  <a:lnTo>
                    <a:pt x="302" y="75"/>
                  </a:lnTo>
                  <a:lnTo>
                    <a:pt x="295" y="72"/>
                  </a:lnTo>
                  <a:lnTo>
                    <a:pt x="290" y="66"/>
                  </a:lnTo>
                  <a:lnTo>
                    <a:pt x="274" y="63"/>
                  </a:lnTo>
                  <a:lnTo>
                    <a:pt x="267" y="64"/>
                  </a:lnTo>
                  <a:lnTo>
                    <a:pt x="261" y="59"/>
                  </a:lnTo>
                  <a:lnTo>
                    <a:pt x="252" y="59"/>
                  </a:lnTo>
                  <a:lnTo>
                    <a:pt x="237" y="66"/>
                  </a:lnTo>
                  <a:lnTo>
                    <a:pt x="231" y="70"/>
                  </a:lnTo>
                  <a:lnTo>
                    <a:pt x="223" y="73"/>
                  </a:lnTo>
                  <a:lnTo>
                    <a:pt x="215" y="69"/>
                  </a:lnTo>
                  <a:lnTo>
                    <a:pt x="213" y="61"/>
                  </a:lnTo>
                  <a:lnTo>
                    <a:pt x="175" y="39"/>
                  </a:lnTo>
                  <a:lnTo>
                    <a:pt x="171" y="34"/>
                  </a:lnTo>
                  <a:lnTo>
                    <a:pt x="164" y="29"/>
                  </a:lnTo>
                  <a:lnTo>
                    <a:pt x="148" y="29"/>
                  </a:lnTo>
                  <a:lnTo>
                    <a:pt x="132" y="24"/>
                  </a:lnTo>
                  <a:lnTo>
                    <a:pt x="108" y="26"/>
                  </a:lnTo>
                  <a:lnTo>
                    <a:pt x="99" y="25"/>
                  </a:lnTo>
                  <a:lnTo>
                    <a:pt x="76" y="15"/>
                  </a:lnTo>
                  <a:lnTo>
                    <a:pt x="60" y="13"/>
                  </a:lnTo>
                  <a:lnTo>
                    <a:pt x="54" y="7"/>
                  </a:lnTo>
                  <a:lnTo>
                    <a:pt x="40" y="2"/>
                  </a:lnTo>
                  <a:lnTo>
                    <a:pt x="31" y="3"/>
                  </a:lnTo>
                  <a:lnTo>
                    <a:pt x="24" y="0"/>
                  </a:lnTo>
                  <a:lnTo>
                    <a:pt x="15" y="2"/>
                  </a:lnTo>
                  <a:lnTo>
                    <a:pt x="0" y="7"/>
                  </a:lnTo>
                  <a:lnTo>
                    <a:pt x="5" y="11"/>
                  </a:lnTo>
                  <a:lnTo>
                    <a:pt x="14" y="18"/>
                  </a:lnTo>
                  <a:lnTo>
                    <a:pt x="21" y="27"/>
                  </a:lnTo>
                  <a:lnTo>
                    <a:pt x="31" y="32"/>
                  </a:lnTo>
                  <a:lnTo>
                    <a:pt x="56" y="39"/>
                  </a:lnTo>
                  <a:lnTo>
                    <a:pt x="67" y="51"/>
                  </a:lnTo>
                  <a:lnTo>
                    <a:pt x="78" y="57"/>
                  </a:lnTo>
                  <a:lnTo>
                    <a:pt x="84" y="68"/>
                  </a:lnTo>
                  <a:lnTo>
                    <a:pt x="87" y="82"/>
                  </a:lnTo>
                  <a:lnTo>
                    <a:pt x="91" y="104"/>
                  </a:lnTo>
                  <a:lnTo>
                    <a:pt x="100" y="113"/>
                  </a:lnTo>
                  <a:lnTo>
                    <a:pt x="100" y="124"/>
                  </a:lnTo>
                  <a:lnTo>
                    <a:pt x="99" y="138"/>
                  </a:lnTo>
                  <a:lnTo>
                    <a:pt x="92" y="145"/>
                  </a:lnTo>
                  <a:lnTo>
                    <a:pt x="87" y="14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58" name="Freeform 163">
              <a:extLst>
                <a:ext uri="{FF2B5EF4-FFF2-40B4-BE49-F238E27FC236}">
                  <a16:creationId xmlns:a16="http://schemas.microsoft.com/office/drawing/2014/main" id="{195DC7B2-38D7-F6DB-A767-5A0E96D500E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408780" y="2748188"/>
              <a:ext cx="502919" cy="344473"/>
            </a:xfrm>
            <a:custGeom>
              <a:avLst/>
              <a:gdLst>
                <a:gd name="T0" fmla="*/ 0 w 940"/>
                <a:gd name="T1" fmla="*/ 2147483647 h 612"/>
                <a:gd name="T2" fmla="*/ 2147483647 w 940"/>
                <a:gd name="T3" fmla="*/ 2147483647 h 612"/>
                <a:gd name="T4" fmla="*/ 2147483647 w 940"/>
                <a:gd name="T5" fmla="*/ 2147483647 h 612"/>
                <a:gd name="T6" fmla="*/ 2147483647 w 940"/>
                <a:gd name="T7" fmla="*/ 2147483647 h 612"/>
                <a:gd name="T8" fmla="*/ 2147483647 w 940"/>
                <a:gd name="T9" fmla="*/ 2147483647 h 612"/>
                <a:gd name="T10" fmla="*/ 2147483647 w 940"/>
                <a:gd name="T11" fmla="*/ 2147483647 h 612"/>
                <a:gd name="T12" fmla="*/ 2147483647 w 940"/>
                <a:gd name="T13" fmla="*/ 2147483647 h 612"/>
                <a:gd name="T14" fmla="*/ 2147483647 w 940"/>
                <a:gd name="T15" fmla="*/ 2147483647 h 612"/>
                <a:gd name="T16" fmla="*/ 2147483647 w 940"/>
                <a:gd name="T17" fmla="*/ 2147483647 h 612"/>
                <a:gd name="T18" fmla="*/ 2147483647 w 940"/>
                <a:gd name="T19" fmla="*/ 2147483647 h 612"/>
                <a:gd name="T20" fmla="*/ 2147483647 w 940"/>
                <a:gd name="T21" fmla="*/ 2147483647 h 612"/>
                <a:gd name="T22" fmla="*/ 2147483647 w 940"/>
                <a:gd name="T23" fmla="*/ 2147483647 h 612"/>
                <a:gd name="T24" fmla="*/ 2147483647 w 940"/>
                <a:gd name="T25" fmla="*/ 2147483647 h 612"/>
                <a:gd name="T26" fmla="*/ 2147483647 w 940"/>
                <a:gd name="T27" fmla="*/ 2147483647 h 612"/>
                <a:gd name="T28" fmla="*/ 2147483647 w 940"/>
                <a:gd name="T29" fmla="*/ 2147483647 h 612"/>
                <a:gd name="T30" fmla="*/ 2147483647 w 940"/>
                <a:gd name="T31" fmla="*/ 2147483647 h 612"/>
                <a:gd name="T32" fmla="*/ 2147483647 w 940"/>
                <a:gd name="T33" fmla="*/ 2147483647 h 612"/>
                <a:gd name="T34" fmla="*/ 2147483647 w 940"/>
                <a:gd name="T35" fmla="*/ 2147483647 h 612"/>
                <a:gd name="T36" fmla="*/ 2147483647 w 940"/>
                <a:gd name="T37" fmla="*/ 2147483647 h 612"/>
                <a:gd name="T38" fmla="*/ 2147483647 w 940"/>
                <a:gd name="T39" fmla="*/ 2147483647 h 612"/>
                <a:gd name="T40" fmla="*/ 2147483647 w 940"/>
                <a:gd name="T41" fmla="*/ 2147483647 h 612"/>
                <a:gd name="T42" fmla="*/ 2147483647 w 940"/>
                <a:gd name="T43" fmla="*/ 2147483647 h 612"/>
                <a:gd name="T44" fmla="*/ 2147483647 w 940"/>
                <a:gd name="T45" fmla="*/ 2147483647 h 612"/>
                <a:gd name="T46" fmla="*/ 2147483647 w 940"/>
                <a:gd name="T47" fmla="*/ 2147483647 h 612"/>
                <a:gd name="T48" fmla="*/ 2147483647 w 940"/>
                <a:gd name="T49" fmla="*/ 2147483647 h 612"/>
                <a:gd name="T50" fmla="*/ 2147483647 w 940"/>
                <a:gd name="T51" fmla="*/ 2147483647 h 612"/>
                <a:gd name="T52" fmla="*/ 2147483647 w 940"/>
                <a:gd name="T53" fmla="*/ 2147483647 h 612"/>
                <a:gd name="T54" fmla="*/ 2147483647 w 940"/>
                <a:gd name="T55" fmla="*/ 2147483647 h 612"/>
                <a:gd name="T56" fmla="*/ 2147483647 w 940"/>
                <a:gd name="T57" fmla="*/ 2147483647 h 612"/>
                <a:gd name="T58" fmla="*/ 2147483647 w 940"/>
                <a:gd name="T59" fmla="*/ 2147483647 h 612"/>
                <a:gd name="T60" fmla="*/ 2147483647 w 940"/>
                <a:gd name="T61" fmla="*/ 2147483647 h 612"/>
                <a:gd name="T62" fmla="*/ 2147483647 w 940"/>
                <a:gd name="T63" fmla="*/ 2147483647 h 612"/>
                <a:gd name="T64" fmla="*/ 2147483647 w 940"/>
                <a:gd name="T65" fmla="*/ 2147483647 h 612"/>
                <a:gd name="T66" fmla="*/ 2147483647 w 940"/>
                <a:gd name="T67" fmla="*/ 2147483647 h 612"/>
                <a:gd name="T68" fmla="*/ 2147483647 w 940"/>
                <a:gd name="T69" fmla="*/ 2147483647 h 612"/>
                <a:gd name="T70" fmla="*/ 2147483647 w 940"/>
                <a:gd name="T71" fmla="*/ 2147483647 h 612"/>
                <a:gd name="T72" fmla="*/ 2147483647 w 940"/>
                <a:gd name="T73" fmla="*/ 2147483647 h 612"/>
                <a:gd name="T74" fmla="*/ 2147483647 w 940"/>
                <a:gd name="T75" fmla="*/ 2147483647 h 612"/>
                <a:gd name="T76" fmla="*/ 2147483647 w 940"/>
                <a:gd name="T77" fmla="*/ 2147483647 h 612"/>
                <a:gd name="T78" fmla="*/ 2147483647 w 940"/>
                <a:gd name="T79" fmla="*/ 2147483647 h 612"/>
                <a:gd name="T80" fmla="*/ 2147483647 w 940"/>
                <a:gd name="T81" fmla="*/ 2147483647 h 612"/>
                <a:gd name="T82" fmla="*/ 2147483647 w 940"/>
                <a:gd name="T83" fmla="*/ 2147483647 h 612"/>
                <a:gd name="T84" fmla="*/ 2147483647 w 940"/>
                <a:gd name="T85" fmla="*/ 2147483647 h 612"/>
                <a:gd name="T86" fmla="*/ 2147483647 w 940"/>
                <a:gd name="T87" fmla="*/ 2147483647 h 612"/>
                <a:gd name="T88" fmla="*/ 2147483647 w 940"/>
                <a:gd name="T89" fmla="*/ 2147483647 h 612"/>
                <a:gd name="T90" fmla="*/ 2147483647 w 940"/>
                <a:gd name="T91" fmla="*/ 2147483647 h 612"/>
                <a:gd name="T92" fmla="*/ 2147483647 w 940"/>
                <a:gd name="T93" fmla="*/ 2147483647 h 612"/>
                <a:gd name="T94" fmla="*/ 2147483647 w 940"/>
                <a:gd name="T95" fmla="*/ 2147483647 h 612"/>
                <a:gd name="T96" fmla="*/ 2147483647 w 940"/>
                <a:gd name="T97" fmla="*/ 2147483647 h 612"/>
                <a:gd name="T98" fmla="*/ 2147483647 w 940"/>
                <a:gd name="T99" fmla="*/ 2147483647 h 612"/>
                <a:gd name="T100" fmla="*/ 2147483647 w 940"/>
                <a:gd name="T101" fmla="*/ 2147483647 h 612"/>
                <a:gd name="T102" fmla="*/ 2147483647 w 940"/>
                <a:gd name="T103" fmla="*/ 2147483647 h 612"/>
                <a:gd name="T104" fmla="*/ 2147483647 w 940"/>
                <a:gd name="T105" fmla="*/ 2147483647 h 612"/>
                <a:gd name="T106" fmla="*/ 2147483647 w 940"/>
                <a:gd name="T107" fmla="*/ 2147483647 h 612"/>
                <a:gd name="T108" fmla="*/ 2147483647 w 940"/>
                <a:gd name="T109" fmla="*/ 2147483647 h 612"/>
                <a:gd name="T110" fmla="*/ 2147483647 w 940"/>
                <a:gd name="T111" fmla="*/ 2147483647 h 612"/>
                <a:gd name="T112" fmla="*/ 2147483647 w 940"/>
                <a:gd name="T113" fmla="*/ 0 h 612"/>
                <a:gd name="T114" fmla="*/ 0 w 940"/>
                <a:gd name="T115" fmla="*/ 0 h 61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940"/>
                <a:gd name="T175" fmla="*/ 0 h 612"/>
                <a:gd name="T176" fmla="*/ 940 w 940"/>
                <a:gd name="T177" fmla="*/ 612 h 61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940" h="612">
                  <a:moveTo>
                    <a:pt x="0" y="51"/>
                  </a:moveTo>
                  <a:lnTo>
                    <a:pt x="0" y="121"/>
                  </a:lnTo>
                  <a:lnTo>
                    <a:pt x="0" y="195"/>
                  </a:lnTo>
                  <a:lnTo>
                    <a:pt x="0" y="260"/>
                  </a:lnTo>
                  <a:lnTo>
                    <a:pt x="0" y="321"/>
                  </a:lnTo>
                  <a:lnTo>
                    <a:pt x="54" y="330"/>
                  </a:lnTo>
                  <a:lnTo>
                    <a:pt x="62" y="325"/>
                  </a:lnTo>
                  <a:lnTo>
                    <a:pt x="56" y="310"/>
                  </a:lnTo>
                  <a:lnTo>
                    <a:pt x="57" y="303"/>
                  </a:lnTo>
                  <a:lnTo>
                    <a:pt x="52" y="287"/>
                  </a:lnTo>
                  <a:lnTo>
                    <a:pt x="56" y="279"/>
                  </a:lnTo>
                  <a:lnTo>
                    <a:pt x="63" y="274"/>
                  </a:lnTo>
                  <a:lnTo>
                    <a:pt x="67" y="268"/>
                  </a:lnTo>
                  <a:lnTo>
                    <a:pt x="72" y="261"/>
                  </a:lnTo>
                  <a:lnTo>
                    <a:pt x="80" y="260"/>
                  </a:lnTo>
                  <a:lnTo>
                    <a:pt x="96" y="260"/>
                  </a:lnTo>
                  <a:lnTo>
                    <a:pt x="105" y="256"/>
                  </a:lnTo>
                  <a:lnTo>
                    <a:pt x="107" y="249"/>
                  </a:lnTo>
                  <a:lnTo>
                    <a:pt x="107" y="241"/>
                  </a:lnTo>
                  <a:lnTo>
                    <a:pt x="115" y="238"/>
                  </a:lnTo>
                  <a:lnTo>
                    <a:pt x="127" y="246"/>
                  </a:lnTo>
                  <a:lnTo>
                    <a:pt x="135" y="249"/>
                  </a:lnTo>
                  <a:lnTo>
                    <a:pt x="132" y="241"/>
                  </a:lnTo>
                  <a:lnTo>
                    <a:pt x="127" y="234"/>
                  </a:lnTo>
                  <a:lnTo>
                    <a:pt x="121" y="229"/>
                  </a:lnTo>
                  <a:lnTo>
                    <a:pt x="128" y="225"/>
                  </a:lnTo>
                  <a:lnTo>
                    <a:pt x="135" y="225"/>
                  </a:lnTo>
                  <a:lnTo>
                    <a:pt x="143" y="220"/>
                  </a:lnTo>
                  <a:lnTo>
                    <a:pt x="144" y="214"/>
                  </a:lnTo>
                  <a:lnTo>
                    <a:pt x="165" y="235"/>
                  </a:lnTo>
                  <a:lnTo>
                    <a:pt x="178" y="244"/>
                  </a:lnTo>
                  <a:lnTo>
                    <a:pt x="183" y="250"/>
                  </a:lnTo>
                  <a:lnTo>
                    <a:pt x="192" y="253"/>
                  </a:lnTo>
                  <a:lnTo>
                    <a:pt x="201" y="251"/>
                  </a:lnTo>
                  <a:lnTo>
                    <a:pt x="216" y="255"/>
                  </a:lnTo>
                  <a:lnTo>
                    <a:pt x="220" y="262"/>
                  </a:lnTo>
                  <a:lnTo>
                    <a:pt x="218" y="269"/>
                  </a:lnTo>
                  <a:lnTo>
                    <a:pt x="219" y="278"/>
                  </a:lnTo>
                  <a:lnTo>
                    <a:pt x="225" y="283"/>
                  </a:lnTo>
                  <a:lnTo>
                    <a:pt x="231" y="287"/>
                  </a:lnTo>
                  <a:lnTo>
                    <a:pt x="224" y="290"/>
                  </a:lnTo>
                  <a:lnTo>
                    <a:pt x="224" y="298"/>
                  </a:lnTo>
                  <a:lnTo>
                    <a:pt x="225" y="306"/>
                  </a:lnTo>
                  <a:lnTo>
                    <a:pt x="223" y="314"/>
                  </a:lnTo>
                  <a:lnTo>
                    <a:pt x="228" y="320"/>
                  </a:lnTo>
                  <a:lnTo>
                    <a:pt x="242" y="328"/>
                  </a:lnTo>
                  <a:lnTo>
                    <a:pt x="259" y="331"/>
                  </a:lnTo>
                  <a:lnTo>
                    <a:pt x="267" y="330"/>
                  </a:lnTo>
                  <a:lnTo>
                    <a:pt x="291" y="335"/>
                  </a:lnTo>
                  <a:lnTo>
                    <a:pt x="299" y="332"/>
                  </a:lnTo>
                  <a:lnTo>
                    <a:pt x="300" y="325"/>
                  </a:lnTo>
                  <a:lnTo>
                    <a:pt x="306" y="321"/>
                  </a:lnTo>
                  <a:lnTo>
                    <a:pt x="314" y="326"/>
                  </a:lnTo>
                  <a:lnTo>
                    <a:pt x="326" y="337"/>
                  </a:lnTo>
                  <a:lnTo>
                    <a:pt x="331" y="343"/>
                  </a:lnTo>
                  <a:lnTo>
                    <a:pt x="333" y="351"/>
                  </a:lnTo>
                  <a:lnTo>
                    <a:pt x="334" y="366"/>
                  </a:lnTo>
                  <a:lnTo>
                    <a:pt x="338" y="374"/>
                  </a:lnTo>
                  <a:lnTo>
                    <a:pt x="345" y="378"/>
                  </a:lnTo>
                  <a:lnTo>
                    <a:pt x="350" y="384"/>
                  </a:lnTo>
                  <a:lnTo>
                    <a:pt x="355" y="400"/>
                  </a:lnTo>
                  <a:lnTo>
                    <a:pt x="354" y="408"/>
                  </a:lnTo>
                  <a:lnTo>
                    <a:pt x="360" y="423"/>
                  </a:lnTo>
                  <a:lnTo>
                    <a:pt x="365" y="429"/>
                  </a:lnTo>
                  <a:lnTo>
                    <a:pt x="416" y="459"/>
                  </a:lnTo>
                  <a:lnTo>
                    <a:pt x="436" y="483"/>
                  </a:lnTo>
                  <a:lnTo>
                    <a:pt x="443" y="488"/>
                  </a:lnTo>
                  <a:lnTo>
                    <a:pt x="460" y="489"/>
                  </a:lnTo>
                  <a:lnTo>
                    <a:pt x="473" y="498"/>
                  </a:lnTo>
                  <a:lnTo>
                    <a:pt x="493" y="513"/>
                  </a:lnTo>
                  <a:lnTo>
                    <a:pt x="515" y="536"/>
                  </a:lnTo>
                  <a:lnTo>
                    <a:pt x="521" y="542"/>
                  </a:lnTo>
                  <a:lnTo>
                    <a:pt x="530" y="543"/>
                  </a:lnTo>
                  <a:lnTo>
                    <a:pt x="536" y="538"/>
                  </a:lnTo>
                  <a:lnTo>
                    <a:pt x="544" y="537"/>
                  </a:lnTo>
                  <a:lnTo>
                    <a:pt x="567" y="547"/>
                  </a:lnTo>
                  <a:lnTo>
                    <a:pt x="572" y="553"/>
                  </a:lnTo>
                  <a:lnTo>
                    <a:pt x="579" y="557"/>
                  </a:lnTo>
                  <a:lnTo>
                    <a:pt x="585" y="562"/>
                  </a:lnTo>
                  <a:lnTo>
                    <a:pt x="581" y="569"/>
                  </a:lnTo>
                  <a:lnTo>
                    <a:pt x="578" y="577"/>
                  </a:lnTo>
                  <a:lnTo>
                    <a:pt x="578" y="592"/>
                  </a:lnTo>
                  <a:lnTo>
                    <a:pt x="579" y="601"/>
                  </a:lnTo>
                  <a:lnTo>
                    <a:pt x="578" y="606"/>
                  </a:lnTo>
                  <a:lnTo>
                    <a:pt x="607" y="605"/>
                  </a:lnTo>
                  <a:lnTo>
                    <a:pt x="615" y="607"/>
                  </a:lnTo>
                  <a:lnTo>
                    <a:pt x="621" y="612"/>
                  </a:lnTo>
                  <a:lnTo>
                    <a:pt x="630" y="610"/>
                  </a:lnTo>
                  <a:lnTo>
                    <a:pt x="643" y="611"/>
                  </a:lnTo>
                  <a:lnTo>
                    <a:pt x="648" y="608"/>
                  </a:lnTo>
                  <a:lnTo>
                    <a:pt x="648" y="601"/>
                  </a:lnTo>
                  <a:lnTo>
                    <a:pt x="646" y="595"/>
                  </a:lnTo>
                  <a:lnTo>
                    <a:pt x="653" y="581"/>
                  </a:lnTo>
                  <a:lnTo>
                    <a:pt x="661" y="570"/>
                  </a:lnTo>
                  <a:lnTo>
                    <a:pt x="664" y="564"/>
                  </a:lnTo>
                  <a:lnTo>
                    <a:pt x="671" y="559"/>
                  </a:lnTo>
                  <a:lnTo>
                    <a:pt x="676" y="554"/>
                  </a:lnTo>
                  <a:lnTo>
                    <a:pt x="678" y="547"/>
                  </a:lnTo>
                  <a:lnTo>
                    <a:pt x="677" y="541"/>
                  </a:lnTo>
                  <a:lnTo>
                    <a:pt x="670" y="536"/>
                  </a:lnTo>
                  <a:lnTo>
                    <a:pt x="665" y="529"/>
                  </a:lnTo>
                  <a:lnTo>
                    <a:pt x="661" y="513"/>
                  </a:lnTo>
                  <a:lnTo>
                    <a:pt x="665" y="507"/>
                  </a:lnTo>
                  <a:lnTo>
                    <a:pt x="666" y="498"/>
                  </a:lnTo>
                  <a:lnTo>
                    <a:pt x="664" y="491"/>
                  </a:lnTo>
                  <a:lnTo>
                    <a:pt x="658" y="486"/>
                  </a:lnTo>
                  <a:lnTo>
                    <a:pt x="649" y="487"/>
                  </a:lnTo>
                  <a:lnTo>
                    <a:pt x="640" y="486"/>
                  </a:lnTo>
                  <a:lnTo>
                    <a:pt x="638" y="478"/>
                  </a:lnTo>
                  <a:lnTo>
                    <a:pt x="630" y="473"/>
                  </a:lnTo>
                  <a:lnTo>
                    <a:pt x="624" y="467"/>
                  </a:lnTo>
                  <a:lnTo>
                    <a:pt x="632" y="462"/>
                  </a:lnTo>
                  <a:lnTo>
                    <a:pt x="630" y="454"/>
                  </a:lnTo>
                  <a:lnTo>
                    <a:pt x="634" y="448"/>
                  </a:lnTo>
                  <a:lnTo>
                    <a:pt x="642" y="444"/>
                  </a:lnTo>
                  <a:lnTo>
                    <a:pt x="650" y="443"/>
                  </a:lnTo>
                  <a:lnTo>
                    <a:pt x="656" y="449"/>
                  </a:lnTo>
                  <a:lnTo>
                    <a:pt x="664" y="450"/>
                  </a:lnTo>
                  <a:lnTo>
                    <a:pt x="680" y="449"/>
                  </a:lnTo>
                  <a:lnTo>
                    <a:pt x="687" y="446"/>
                  </a:lnTo>
                  <a:lnTo>
                    <a:pt x="699" y="424"/>
                  </a:lnTo>
                  <a:lnTo>
                    <a:pt x="699" y="417"/>
                  </a:lnTo>
                  <a:lnTo>
                    <a:pt x="707" y="412"/>
                  </a:lnTo>
                  <a:lnTo>
                    <a:pt x="723" y="409"/>
                  </a:lnTo>
                  <a:lnTo>
                    <a:pt x="729" y="405"/>
                  </a:lnTo>
                  <a:lnTo>
                    <a:pt x="731" y="397"/>
                  </a:lnTo>
                  <a:lnTo>
                    <a:pt x="731" y="389"/>
                  </a:lnTo>
                  <a:lnTo>
                    <a:pt x="726" y="382"/>
                  </a:lnTo>
                  <a:lnTo>
                    <a:pt x="732" y="378"/>
                  </a:lnTo>
                  <a:lnTo>
                    <a:pt x="734" y="369"/>
                  </a:lnTo>
                  <a:lnTo>
                    <a:pt x="741" y="365"/>
                  </a:lnTo>
                  <a:lnTo>
                    <a:pt x="747" y="370"/>
                  </a:lnTo>
                  <a:lnTo>
                    <a:pt x="756" y="369"/>
                  </a:lnTo>
                  <a:lnTo>
                    <a:pt x="769" y="362"/>
                  </a:lnTo>
                  <a:lnTo>
                    <a:pt x="784" y="354"/>
                  </a:lnTo>
                  <a:lnTo>
                    <a:pt x="788" y="347"/>
                  </a:lnTo>
                  <a:lnTo>
                    <a:pt x="794" y="342"/>
                  </a:lnTo>
                  <a:lnTo>
                    <a:pt x="801" y="342"/>
                  </a:lnTo>
                  <a:lnTo>
                    <a:pt x="802" y="351"/>
                  </a:lnTo>
                  <a:lnTo>
                    <a:pt x="807" y="357"/>
                  </a:lnTo>
                  <a:lnTo>
                    <a:pt x="809" y="364"/>
                  </a:lnTo>
                  <a:lnTo>
                    <a:pt x="805" y="371"/>
                  </a:lnTo>
                  <a:lnTo>
                    <a:pt x="798" y="375"/>
                  </a:lnTo>
                  <a:lnTo>
                    <a:pt x="791" y="380"/>
                  </a:lnTo>
                  <a:lnTo>
                    <a:pt x="796" y="396"/>
                  </a:lnTo>
                  <a:lnTo>
                    <a:pt x="800" y="403"/>
                  </a:lnTo>
                  <a:lnTo>
                    <a:pt x="809" y="402"/>
                  </a:lnTo>
                  <a:lnTo>
                    <a:pt x="816" y="398"/>
                  </a:lnTo>
                  <a:lnTo>
                    <a:pt x="820" y="398"/>
                  </a:lnTo>
                  <a:lnTo>
                    <a:pt x="832" y="397"/>
                  </a:lnTo>
                  <a:lnTo>
                    <a:pt x="839" y="398"/>
                  </a:lnTo>
                  <a:lnTo>
                    <a:pt x="855" y="403"/>
                  </a:lnTo>
                  <a:lnTo>
                    <a:pt x="871" y="401"/>
                  </a:lnTo>
                  <a:lnTo>
                    <a:pt x="877" y="396"/>
                  </a:lnTo>
                  <a:lnTo>
                    <a:pt x="881" y="389"/>
                  </a:lnTo>
                  <a:lnTo>
                    <a:pt x="888" y="385"/>
                  </a:lnTo>
                  <a:lnTo>
                    <a:pt x="896" y="385"/>
                  </a:lnTo>
                  <a:lnTo>
                    <a:pt x="901" y="379"/>
                  </a:lnTo>
                  <a:lnTo>
                    <a:pt x="909" y="381"/>
                  </a:lnTo>
                  <a:lnTo>
                    <a:pt x="915" y="378"/>
                  </a:lnTo>
                  <a:lnTo>
                    <a:pt x="919" y="369"/>
                  </a:lnTo>
                  <a:lnTo>
                    <a:pt x="935" y="365"/>
                  </a:lnTo>
                  <a:lnTo>
                    <a:pt x="940" y="358"/>
                  </a:lnTo>
                  <a:lnTo>
                    <a:pt x="933" y="354"/>
                  </a:lnTo>
                  <a:lnTo>
                    <a:pt x="925" y="357"/>
                  </a:lnTo>
                  <a:lnTo>
                    <a:pt x="909" y="352"/>
                  </a:lnTo>
                  <a:lnTo>
                    <a:pt x="898" y="342"/>
                  </a:lnTo>
                  <a:lnTo>
                    <a:pt x="890" y="342"/>
                  </a:lnTo>
                  <a:lnTo>
                    <a:pt x="884" y="337"/>
                  </a:lnTo>
                  <a:lnTo>
                    <a:pt x="870" y="328"/>
                  </a:lnTo>
                  <a:lnTo>
                    <a:pt x="870" y="320"/>
                  </a:lnTo>
                  <a:lnTo>
                    <a:pt x="865" y="314"/>
                  </a:lnTo>
                  <a:lnTo>
                    <a:pt x="858" y="310"/>
                  </a:lnTo>
                  <a:lnTo>
                    <a:pt x="853" y="325"/>
                  </a:lnTo>
                  <a:lnTo>
                    <a:pt x="845" y="330"/>
                  </a:lnTo>
                  <a:lnTo>
                    <a:pt x="843" y="337"/>
                  </a:lnTo>
                  <a:lnTo>
                    <a:pt x="836" y="337"/>
                  </a:lnTo>
                  <a:lnTo>
                    <a:pt x="812" y="327"/>
                  </a:lnTo>
                  <a:lnTo>
                    <a:pt x="804" y="314"/>
                  </a:lnTo>
                  <a:lnTo>
                    <a:pt x="796" y="317"/>
                  </a:lnTo>
                  <a:lnTo>
                    <a:pt x="790" y="312"/>
                  </a:lnTo>
                  <a:lnTo>
                    <a:pt x="782" y="310"/>
                  </a:lnTo>
                  <a:lnTo>
                    <a:pt x="783" y="301"/>
                  </a:lnTo>
                  <a:lnTo>
                    <a:pt x="798" y="292"/>
                  </a:lnTo>
                  <a:lnTo>
                    <a:pt x="810" y="280"/>
                  </a:lnTo>
                  <a:lnTo>
                    <a:pt x="820" y="268"/>
                  </a:lnTo>
                  <a:lnTo>
                    <a:pt x="834" y="262"/>
                  </a:lnTo>
                  <a:lnTo>
                    <a:pt x="833" y="253"/>
                  </a:lnTo>
                  <a:lnTo>
                    <a:pt x="816" y="249"/>
                  </a:lnTo>
                  <a:lnTo>
                    <a:pt x="814" y="256"/>
                  </a:lnTo>
                  <a:lnTo>
                    <a:pt x="802" y="268"/>
                  </a:lnTo>
                  <a:lnTo>
                    <a:pt x="795" y="271"/>
                  </a:lnTo>
                  <a:lnTo>
                    <a:pt x="788" y="268"/>
                  </a:lnTo>
                  <a:lnTo>
                    <a:pt x="782" y="283"/>
                  </a:lnTo>
                  <a:lnTo>
                    <a:pt x="775" y="288"/>
                  </a:lnTo>
                  <a:lnTo>
                    <a:pt x="753" y="298"/>
                  </a:lnTo>
                  <a:lnTo>
                    <a:pt x="739" y="306"/>
                  </a:lnTo>
                  <a:lnTo>
                    <a:pt x="734" y="312"/>
                  </a:lnTo>
                  <a:lnTo>
                    <a:pt x="726" y="315"/>
                  </a:lnTo>
                  <a:lnTo>
                    <a:pt x="719" y="320"/>
                  </a:lnTo>
                  <a:lnTo>
                    <a:pt x="715" y="327"/>
                  </a:lnTo>
                  <a:lnTo>
                    <a:pt x="713" y="335"/>
                  </a:lnTo>
                  <a:lnTo>
                    <a:pt x="707" y="339"/>
                  </a:lnTo>
                  <a:lnTo>
                    <a:pt x="699" y="343"/>
                  </a:lnTo>
                  <a:lnTo>
                    <a:pt x="691" y="342"/>
                  </a:lnTo>
                  <a:lnTo>
                    <a:pt x="676" y="335"/>
                  </a:lnTo>
                  <a:lnTo>
                    <a:pt x="667" y="333"/>
                  </a:lnTo>
                  <a:lnTo>
                    <a:pt x="654" y="325"/>
                  </a:lnTo>
                  <a:lnTo>
                    <a:pt x="597" y="331"/>
                  </a:lnTo>
                  <a:lnTo>
                    <a:pt x="587" y="285"/>
                  </a:lnTo>
                  <a:lnTo>
                    <a:pt x="554" y="279"/>
                  </a:lnTo>
                  <a:lnTo>
                    <a:pt x="553" y="266"/>
                  </a:lnTo>
                  <a:lnTo>
                    <a:pt x="554" y="250"/>
                  </a:lnTo>
                  <a:lnTo>
                    <a:pt x="562" y="249"/>
                  </a:lnTo>
                  <a:lnTo>
                    <a:pt x="560" y="206"/>
                  </a:lnTo>
                  <a:lnTo>
                    <a:pt x="547" y="207"/>
                  </a:lnTo>
                  <a:lnTo>
                    <a:pt x="530" y="174"/>
                  </a:lnTo>
                  <a:lnTo>
                    <a:pt x="517" y="164"/>
                  </a:lnTo>
                  <a:lnTo>
                    <a:pt x="510" y="160"/>
                  </a:lnTo>
                  <a:lnTo>
                    <a:pt x="498" y="150"/>
                  </a:lnTo>
                  <a:lnTo>
                    <a:pt x="492" y="144"/>
                  </a:lnTo>
                  <a:lnTo>
                    <a:pt x="478" y="150"/>
                  </a:lnTo>
                  <a:lnTo>
                    <a:pt x="402" y="149"/>
                  </a:lnTo>
                  <a:lnTo>
                    <a:pt x="331" y="161"/>
                  </a:lnTo>
                  <a:lnTo>
                    <a:pt x="304" y="133"/>
                  </a:lnTo>
                  <a:lnTo>
                    <a:pt x="259" y="85"/>
                  </a:lnTo>
                  <a:lnTo>
                    <a:pt x="224" y="52"/>
                  </a:lnTo>
                  <a:lnTo>
                    <a:pt x="210" y="42"/>
                  </a:lnTo>
                  <a:lnTo>
                    <a:pt x="191" y="26"/>
                  </a:lnTo>
                  <a:lnTo>
                    <a:pt x="171" y="13"/>
                  </a:lnTo>
                  <a:lnTo>
                    <a:pt x="142" y="0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59" name="Freeform 164">
              <a:extLst>
                <a:ext uri="{FF2B5EF4-FFF2-40B4-BE49-F238E27FC236}">
                  <a16:creationId xmlns:a16="http://schemas.microsoft.com/office/drawing/2014/main" id="{A0EB90ED-5395-E03B-E366-444570BB693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305808" y="2865554"/>
              <a:ext cx="416364" cy="307892"/>
            </a:xfrm>
            <a:custGeom>
              <a:avLst/>
              <a:gdLst>
                <a:gd name="T0" fmla="*/ 2147483647 w 778"/>
                <a:gd name="T1" fmla="*/ 2147483647 h 536"/>
                <a:gd name="T2" fmla="*/ 2147483647 w 778"/>
                <a:gd name="T3" fmla="*/ 0 h 536"/>
                <a:gd name="T4" fmla="*/ 2147483647 w 778"/>
                <a:gd name="T5" fmla="*/ 0 h 536"/>
                <a:gd name="T6" fmla="*/ 2147483647 w 778"/>
                <a:gd name="T7" fmla="*/ 0 h 536"/>
                <a:gd name="T8" fmla="*/ 2147483647 w 778"/>
                <a:gd name="T9" fmla="*/ 0 h 536"/>
                <a:gd name="T10" fmla="*/ 2147483647 w 778"/>
                <a:gd name="T11" fmla="*/ 0 h 536"/>
                <a:gd name="T12" fmla="*/ 2147483647 w 778"/>
                <a:gd name="T13" fmla="*/ 0 h 536"/>
                <a:gd name="T14" fmla="*/ 2147483647 w 778"/>
                <a:gd name="T15" fmla="*/ 0 h 536"/>
                <a:gd name="T16" fmla="*/ 2147483647 w 778"/>
                <a:gd name="T17" fmla="*/ 0 h 536"/>
                <a:gd name="T18" fmla="*/ 2147483647 w 778"/>
                <a:gd name="T19" fmla="*/ 2147483647 h 536"/>
                <a:gd name="T20" fmla="*/ 2147483647 w 778"/>
                <a:gd name="T21" fmla="*/ 2147483647 h 536"/>
                <a:gd name="T22" fmla="*/ 2147483647 w 778"/>
                <a:gd name="T23" fmla="*/ 2147483647 h 536"/>
                <a:gd name="T24" fmla="*/ 2147483647 w 778"/>
                <a:gd name="T25" fmla="*/ 2147483647 h 536"/>
                <a:gd name="T26" fmla="*/ 2147483647 w 778"/>
                <a:gd name="T27" fmla="*/ 2147483647 h 536"/>
                <a:gd name="T28" fmla="*/ 2147483647 w 778"/>
                <a:gd name="T29" fmla="*/ 2147483647 h 536"/>
                <a:gd name="T30" fmla="*/ 2147483647 w 778"/>
                <a:gd name="T31" fmla="*/ 2147483647 h 536"/>
                <a:gd name="T32" fmla="*/ 2147483647 w 778"/>
                <a:gd name="T33" fmla="*/ 2147483647 h 536"/>
                <a:gd name="T34" fmla="*/ 2147483647 w 778"/>
                <a:gd name="T35" fmla="*/ 2147483647 h 536"/>
                <a:gd name="T36" fmla="*/ 2147483647 w 778"/>
                <a:gd name="T37" fmla="*/ 2147483647 h 536"/>
                <a:gd name="T38" fmla="*/ 2147483647 w 778"/>
                <a:gd name="T39" fmla="*/ 2147483647 h 536"/>
                <a:gd name="T40" fmla="*/ 2147483647 w 778"/>
                <a:gd name="T41" fmla="*/ 2147483647 h 536"/>
                <a:gd name="T42" fmla="*/ 2147483647 w 778"/>
                <a:gd name="T43" fmla="*/ 2147483647 h 536"/>
                <a:gd name="T44" fmla="*/ 2147483647 w 778"/>
                <a:gd name="T45" fmla="*/ 2147483647 h 536"/>
                <a:gd name="T46" fmla="*/ 2147483647 w 778"/>
                <a:gd name="T47" fmla="*/ 2147483647 h 536"/>
                <a:gd name="T48" fmla="*/ 2147483647 w 778"/>
                <a:gd name="T49" fmla="*/ 2147483647 h 536"/>
                <a:gd name="T50" fmla="*/ 2147483647 w 778"/>
                <a:gd name="T51" fmla="*/ 2147483647 h 536"/>
                <a:gd name="T52" fmla="*/ 2147483647 w 778"/>
                <a:gd name="T53" fmla="*/ 2147483647 h 536"/>
                <a:gd name="T54" fmla="*/ 2147483647 w 778"/>
                <a:gd name="T55" fmla="*/ 2147483647 h 536"/>
                <a:gd name="T56" fmla="*/ 2147483647 w 778"/>
                <a:gd name="T57" fmla="*/ 2147483647 h 536"/>
                <a:gd name="T58" fmla="*/ 2147483647 w 778"/>
                <a:gd name="T59" fmla="*/ 2147483647 h 536"/>
                <a:gd name="T60" fmla="*/ 2147483647 w 778"/>
                <a:gd name="T61" fmla="*/ 2147483647 h 536"/>
                <a:gd name="T62" fmla="*/ 2147483647 w 778"/>
                <a:gd name="T63" fmla="*/ 2147483647 h 536"/>
                <a:gd name="T64" fmla="*/ 2147483647 w 778"/>
                <a:gd name="T65" fmla="*/ 2147483647 h 536"/>
                <a:gd name="T66" fmla="*/ 2147483647 w 778"/>
                <a:gd name="T67" fmla="*/ 2147483647 h 536"/>
                <a:gd name="T68" fmla="*/ 2147483647 w 778"/>
                <a:gd name="T69" fmla="*/ 2147483647 h 536"/>
                <a:gd name="T70" fmla="*/ 2147483647 w 778"/>
                <a:gd name="T71" fmla="*/ 2147483647 h 536"/>
                <a:gd name="T72" fmla="*/ 2147483647 w 778"/>
                <a:gd name="T73" fmla="*/ 2147483647 h 536"/>
                <a:gd name="T74" fmla="*/ 2147483647 w 778"/>
                <a:gd name="T75" fmla="*/ 2147483647 h 536"/>
                <a:gd name="T76" fmla="*/ 2147483647 w 778"/>
                <a:gd name="T77" fmla="*/ 2147483647 h 536"/>
                <a:gd name="T78" fmla="*/ 2147483647 w 778"/>
                <a:gd name="T79" fmla="*/ 2147483647 h 536"/>
                <a:gd name="T80" fmla="*/ 2147483647 w 778"/>
                <a:gd name="T81" fmla="*/ 2147483647 h 536"/>
                <a:gd name="T82" fmla="*/ 2147483647 w 778"/>
                <a:gd name="T83" fmla="*/ 2147483647 h 536"/>
                <a:gd name="T84" fmla="*/ 2147483647 w 778"/>
                <a:gd name="T85" fmla="*/ 2147483647 h 536"/>
                <a:gd name="T86" fmla="*/ 2147483647 w 778"/>
                <a:gd name="T87" fmla="*/ 2147483647 h 536"/>
                <a:gd name="T88" fmla="*/ 0 w 778"/>
                <a:gd name="T89" fmla="*/ 2147483647 h 536"/>
                <a:gd name="T90" fmla="*/ 0 w 778"/>
                <a:gd name="T91" fmla="*/ 2147483647 h 536"/>
                <a:gd name="T92" fmla="*/ 0 w 778"/>
                <a:gd name="T93" fmla="*/ 2147483647 h 536"/>
                <a:gd name="T94" fmla="*/ 2147483647 w 778"/>
                <a:gd name="T95" fmla="*/ 2147483647 h 536"/>
                <a:gd name="T96" fmla="*/ 2147483647 w 778"/>
                <a:gd name="T97" fmla="*/ 2147483647 h 536"/>
                <a:gd name="T98" fmla="*/ 2147483647 w 778"/>
                <a:gd name="T99" fmla="*/ 2147483647 h 536"/>
                <a:gd name="T100" fmla="*/ 2147483647 w 778"/>
                <a:gd name="T101" fmla="*/ 0 h 536"/>
                <a:gd name="T102" fmla="*/ 0 w 778"/>
                <a:gd name="T103" fmla="*/ 2147483647 h 536"/>
                <a:gd name="T104" fmla="*/ 0 w 778"/>
                <a:gd name="T105" fmla="*/ 2147483647 h 536"/>
                <a:gd name="T106" fmla="*/ 2147483647 w 778"/>
                <a:gd name="T107" fmla="*/ 0 h 536"/>
                <a:gd name="T108" fmla="*/ 2147483647 w 778"/>
                <a:gd name="T109" fmla="*/ 0 h 536"/>
                <a:gd name="T110" fmla="*/ 2147483647 w 778"/>
                <a:gd name="T111" fmla="*/ 0 h 536"/>
                <a:gd name="T112" fmla="*/ 2147483647 w 778"/>
                <a:gd name="T113" fmla="*/ 2147483647 h 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78"/>
                <a:gd name="T172" fmla="*/ 0 h 536"/>
                <a:gd name="T173" fmla="*/ 778 w 778"/>
                <a:gd name="T174" fmla="*/ 536 h 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78" h="536">
                  <a:moveTo>
                    <a:pt x="193" y="107"/>
                  </a:moveTo>
                  <a:lnTo>
                    <a:pt x="247" y="116"/>
                  </a:lnTo>
                  <a:lnTo>
                    <a:pt x="255" y="111"/>
                  </a:lnTo>
                  <a:lnTo>
                    <a:pt x="249" y="96"/>
                  </a:lnTo>
                  <a:lnTo>
                    <a:pt x="250" y="89"/>
                  </a:lnTo>
                  <a:lnTo>
                    <a:pt x="245" y="73"/>
                  </a:lnTo>
                  <a:lnTo>
                    <a:pt x="249" y="65"/>
                  </a:lnTo>
                  <a:lnTo>
                    <a:pt x="256" y="60"/>
                  </a:lnTo>
                  <a:lnTo>
                    <a:pt x="260" y="54"/>
                  </a:lnTo>
                  <a:lnTo>
                    <a:pt x="265" y="47"/>
                  </a:lnTo>
                  <a:lnTo>
                    <a:pt x="273" y="46"/>
                  </a:lnTo>
                  <a:lnTo>
                    <a:pt x="289" y="46"/>
                  </a:lnTo>
                  <a:lnTo>
                    <a:pt x="298" y="42"/>
                  </a:lnTo>
                  <a:lnTo>
                    <a:pt x="300" y="35"/>
                  </a:lnTo>
                  <a:lnTo>
                    <a:pt x="300" y="27"/>
                  </a:lnTo>
                  <a:lnTo>
                    <a:pt x="308" y="24"/>
                  </a:lnTo>
                  <a:lnTo>
                    <a:pt x="320" y="32"/>
                  </a:lnTo>
                  <a:lnTo>
                    <a:pt x="328" y="35"/>
                  </a:lnTo>
                  <a:lnTo>
                    <a:pt x="325" y="27"/>
                  </a:lnTo>
                  <a:lnTo>
                    <a:pt x="320" y="20"/>
                  </a:lnTo>
                  <a:lnTo>
                    <a:pt x="314" y="15"/>
                  </a:lnTo>
                  <a:lnTo>
                    <a:pt x="321" y="11"/>
                  </a:lnTo>
                  <a:lnTo>
                    <a:pt x="328" y="11"/>
                  </a:lnTo>
                  <a:lnTo>
                    <a:pt x="336" y="6"/>
                  </a:lnTo>
                  <a:lnTo>
                    <a:pt x="337" y="0"/>
                  </a:lnTo>
                  <a:lnTo>
                    <a:pt x="358" y="21"/>
                  </a:lnTo>
                  <a:lnTo>
                    <a:pt x="371" y="30"/>
                  </a:lnTo>
                  <a:lnTo>
                    <a:pt x="376" y="36"/>
                  </a:lnTo>
                  <a:lnTo>
                    <a:pt x="385" y="39"/>
                  </a:lnTo>
                  <a:lnTo>
                    <a:pt x="394" y="37"/>
                  </a:lnTo>
                  <a:lnTo>
                    <a:pt x="409" y="41"/>
                  </a:lnTo>
                  <a:lnTo>
                    <a:pt x="413" y="48"/>
                  </a:lnTo>
                  <a:lnTo>
                    <a:pt x="411" y="55"/>
                  </a:lnTo>
                  <a:lnTo>
                    <a:pt x="412" y="64"/>
                  </a:lnTo>
                  <a:lnTo>
                    <a:pt x="418" y="69"/>
                  </a:lnTo>
                  <a:lnTo>
                    <a:pt x="424" y="73"/>
                  </a:lnTo>
                  <a:lnTo>
                    <a:pt x="417" y="76"/>
                  </a:lnTo>
                  <a:lnTo>
                    <a:pt x="417" y="84"/>
                  </a:lnTo>
                  <a:lnTo>
                    <a:pt x="418" y="92"/>
                  </a:lnTo>
                  <a:lnTo>
                    <a:pt x="416" y="100"/>
                  </a:lnTo>
                  <a:lnTo>
                    <a:pt x="421" y="106"/>
                  </a:lnTo>
                  <a:lnTo>
                    <a:pt x="435" y="114"/>
                  </a:lnTo>
                  <a:lnTo>
                    <a:pt x="452" y="117"/>
                  </a:lnTo>
                  <a:lnTo>
                    <a:pt x="460" y="116"/>
                  </a:lnTo>
                  <a:lnTo>
                    <a:pt x="484" y="121"/>
                  </a:lnTo>
                  <a:lnTo>
                    <a:pt x="492" y="118"/>
                  </a:lnTo>
                  <a:lnTo>
                    <a:pt x="493" y="111"/>
                  </a:lnTo>
                  <a:lnTo>
                    <a:pt x="499" y="107"/>
                  </a:lnTo>
                  <a:lnTo>
                    <a:pt x="507" y="112"/>
                  </a:lnTo>
                  <a:lnTo>
                    <a:pt x="519" y="123"/>
                  </a:lnTo>
                  <a:lnTo>
                    <a:pt x="524" y="129"/>
                  </a:lnTo>
                  <a:lnTo>
                    <a:pt x="526" y="137"/>
                  </a:lnTo>
                  <a:lnTo>
                    <a:pt x="527" y="152"/>
                  </a:lnTo>
                  <a:lnTo>
                    <a:pt x="531" y="160"/>
                  </a:lnTo>
                  <a:lnTo>
                    <a:pt x="538" y="164"/>
                  </a:lnTo>
                  <a:lnTo>
                    <a:pt x="543" y="170"/>
                  </a:lnTo>
                  <a:lnTo>
                    <a:pt x="548" y="186"/>
                  </a:lnTo>
                  <a:lnTo>
                    <a:pt x="547" y="194"/>
                  </a:lnTo>
                  <a:lnTo>
                    <a:pt x="553" y="209"/>
                  </a:lnTo>
                  <a:lnTo>
                    <a:pt x="558" y="215"/>
                  </a:lnTo>
                  <a:lnTo>
                    <a:pt x="609" y="245"/>
                  </a:lnTo>
                  <a:lnTo>
                    <a:pt x="629" y="269"/>
                  </a:lnTo>
                  <a:lnTo>
                    <a:pt x="636" y="274"/>
                  </a:lnTo>
                  <a:lnTo>
                    <a:pt x="653" y="275"/>
                  </a:lnTo>
                  <a:lnTo>
                    <a:pt x="666" y="284"/>
                  </a:lnTo>
                  <a:lnTo>
                    <a:pt x="686" y="299"/>
                  </a:lnTo>
                  <a:lnTo>
                    <a:pt x="708" y="322"/>
                  </a:lnTo>
                  <a:lnTo>
                    <a:pt x="714" y="328"/>
                  </a:lnTo>
                  <a:lnTo>
                    <a:pt x="723" y="329"/>
                  </a:lnTo>
                  <a:lnTo>
                    <a:pt x="729" y="324"/>
                  </a:lnTo>
                  <a:lnTo>
                    <a:pt x="737" y="323"/>
                  </a:lnTo>
                  <a:lnTo>
                    <a:pt x="760" y="333"/>
                  </a:lnTo>
                  <a:lnTo>
                    <a:pt x="765" y="339"/>
                  </a:lnTo>
                  <a:lnTo>
                    <a:pt x="772" y="343"/>
                  </a:lnTo>
                  <a:lnTo>
                    <a:pt x="778" y="348"/>
                  </a:lnTo>
                  <a:lnTo>
                    <a:pt x="774" y="355"/>
                  </a:lnTo>
                  <a:lnTo>
                    <a:pt x="771" y="363"/>
                  </a:lnTo>
                  <a:lnTo>
                    <a:pt x="771" y="378"/>
                  </a:lnTo>
                  <a:lnTo>
                    <a:pt x="772" y="387"/>
                  </a:lnTo>
                  <a:lnTo>
                    <a:pt x="771" y="392"/>
                  </a:lnTo>
                  <a:lnTo>
                    <a:pt x="756" y="392"/>
                  </a:lnTo>
                  <a:lnTo>
                    <a:pt x="746" y="388"/>
                  </a:lnTo>
                  <a:lnTo>
                    <a:pt x="733" y="380"/>
                  </a:lnTo>
                  <a:lnTo>
                    <a:pt x="728" y="380"/>
                  </a:lnTo>
                  <a:lnTo>
                    <a:pt x="723" y="380"/>
                  </a:lnTo>
                  <a:lnTo>
                    <a:pt x="720" y="383"/>
                  </a:lnTo>
                  <a:lnTo>
                    <a:pt x="719" y="391"/>
                  </a:lnTo>
                  <a:lnTo>
                    <a:pt x="717" y="397"/>
                  </a:lnTo>
                  <a:lnTo>
                    <a:pt x="714" y="398"/>
                  </a:lnTo>
                  <a:lnTo>
                    <a:pt x="699" y="398"/>
                  </a:lnTo>
                  <a:lnTo>
                    <a:pt x="693" y="397"/>
                  </a:lnTo>
                  <a:lnTo>
                    <a:pt x="685" y="398"/>
                  </a:lnTo>
                  <a:lnTo>
                    <a:pt x="680" y="404"/>
                  </a:lnTo>
                  <a:lnTo>
                    <a:pt x="676" y="408"/>
                  </a:lnTo>
                  <a:lnTo>
                    <a:pt x="675" y="410"/>
                  </a:lnTo>
                  <a:lnTo>
                    <a:pt x="675" y="417"/>
                  </a:lnTo>
                  <a:lnTo>
                    <a:pt x="669" y="434"/>
                  </a:lnTo>
                  <a:lnTo>
                    <a:pt x="666" y="437"/>
                  </a:lnTo>
                  <a:lnTo>
                    <a:pt x="664" y="450"/>
                  </a:lnTo>
                  <a:lnTo>
                    <a:pt x="664" y="457"/>
                  </a:lnTo>
                  <a:lnTo>
                    <a:pt x="663" y="462"/>
                  </a:lnTo>
                  <a:lnTo>
                    <a:pt x="648" y="472"/>
                  </a:lnTo>
                  <a:lnTo>
                    <a:pt x="640" y="473"/>
                  </a:lnTo>
                  <a:lnTo>
                    <a:pt x="634" y="479"/>
                  </a:lnTo>
                  <a:lnTo>
                    <a:pt x="626" y="483"/>
                  </a:lnTo>
                  <a:lnTo>
                    <a:pt x="618" y="488"/>
                  </a:lnTo>
                  <a:lnTo>
                    <a:pt x="601" y="491"/>
                  </a:lnTo>
                  <a:lnTo>
                    <a:pt x="594" y="494"/>
                  </a:lnTo>
                  <a:lnTo>
                    <a:pt x="586" y="493"/>
                  </a:lnTo>
                  <a:lnTo>
                    <a:pt x="586" y="499"/>
                  </a:lnTo>
                  <a:lnTo>
                    <a:pt x="593" y="504"/>
                  </a:lnTo>
                  <a:lnTo>
                    <a:pt x="589" y="509"/>
                  </a:lnTo>
                  <a:lnTo>
                    <a:pt x="585" y="510"/>
                  </a:lnTo>
                  <a:lnTo>
                    <a:pt x="583" y="522"/>
                  </a:lnTo>
                  <a:lnTo>
                    <a:pt x="579" y="525"/>
                  </a:lnTo>
                  <a:lnTo>
                    <a:pt x="570" y="528"/>
                  </a:lnTo>
                  <a:lnTo>
                    <a:pt x="564" y="534"/>
                  </a:lnTo>
                  <a:lnTo>
                    <a:pt x="551" y="534"/>
                  </a:lnTo>
                  <a:lnTo>
                    <a:pt x="543" y="536"/>
                  </a:lnTo>
                  <a:lnTo>
                    <a:pt x="538" y="536"/>
                  </a:lnTo>
                  <a:lnTo>
                    <a:pt x="534" y="530"/>
                  </a:lnTo>
                  <a:lnTo>
                    <a:pt x="526" y="526"/>
                  </a:lnTo>
                  <a:lnTo>
                    <a:pt x="520" y="521"/>
                  </a:lnTo>
                  <a:lnTo>
                    <a:pt x="508" y="523"/>
                  </a:lnTo>
                  <a:lnTo>
                    <a:pt x="497" y="520"/>
                  </a:lnTo>
                  <a:lnTo>
                    <a:pt x="494" y="517"/>
                  </a:lnTo>
                  <a:lnTo>
                    <a:pt x="488" y="511"/>
                  </a:lnTo>
                  <a:lnTo>
                    <a:pt x="482" y="507"/>
                  </a:lnTo>
                  <a:lnTo>
                    <a:pt x="484" y="494"/>
                  </a:lnTo>
                  <a:lnTo>
                    <a:pt x="481" y="483"/>
                  </a:lnTo>
                  <a:lnTo>
                    <a:pt x="481" y="446"/>
                  </a:lnTo>
                  <a:lnTo>
                    <a:pt x="476" y="441"/>
                  </a:lnTo>
                  <a:lnTo>
                    <a:pt x="450" y="441"/>
                  </a:lnTo>
                  <a:lnTo>
                    <a:pt x="434" y="431"/>
                  </a:lnTo>
                  <a:lnTo>
                    <a:pt x="412" y="413"/>
                  </a:lnTo>
                  <a:lnTo>
                    <a:pt x="396" y="403"/>
                  </a:lnTo>
                  <a:lnTo>
                    <a:pt x="386" y="399"/>
                  </a:lnTo>
                  <a:lnTo>
                    <a:pt x="382" y="387"/>
                  </a:lnTo>
                  <a:lnTo>
                    <a:pt x="373" y="374"/>
                  </a:lnTo>
                  <a:lnTo>
                    <a:pt x="364" y="369"/>
                  </a:lnTo>
                  <a:lnTo>
                    <a:pt x="349" y="366"/>
                  </a:lnTo>
                  <a:lnTo>
                    <a:pt x="338" y="369"/>
                  </a:lnTo>
                  <a:lnTo>
                    <a:pt x="327" y="366"/>
                  </a:lnTo>
                  <a:lnTo>
                    <a:pt x="314" y="359"/>
                  </a:lnTo>
                  <a:lnTo>
                    <a:pt x="276" y="347"/>
                  </a:lnTo>
                  <a:lnTo>
                    <a:pt x="267" y="335"/>
                  </a:lnTo>
                  <a:lnTo>
                    <a:pt x="252" y="323"/>
                  </a:lnTo>
                  <a:lnTo>
                    <a:pt x="231" y="321"/>
                  </a:lnTo>
                  <a:lnTo>
                    <a:pt x="217" y="323"/>
                  </a:lnTo>
                  <a:lnTo>
                    <a:pt x="214" y="332"/>
                  </a:lnTo>
                  <a:lnTo>
                    <a:pt x="209" y="337"/>
                  </a:lnTo>
                  <a:lnTo>
                    <a:pt x="198" y="337"/>
                  </a:lnTo>
                  <a:lnTo>
                    <a:pt x="187" y="333"/>
                  </a:lnTo>
                  <a:lnTo>
                    <a:pt x="176" y="333"/>
                  </a:lnTo>
                  <a:lnTo>
                    <a:pt x="160" y="337"/>
                  </a:lnTo>
                  <a:lnTo>
                    <a:pt x="145" y="351"/>
                  </a:lnTo>
                  <a:lnTo>
                    <a:pt x="111" y="378"/>
                  </a:lnTo>
                  <a:lnTo>
                    <a:pt x="93" y="382"/>
                  </a:lnTo>
                  <a:lnTo>
                    <a:pt x="79" y="382"/>
                  </a:lnTo>
                  <a:lnTo>
                    <a:pt x="80" y="378"/>
                  </a:lnTo>
                  <a:lnTo>
                    <a:pt x="74" y="338"/>
                  </a:lnTo>
                  <a:lnTo>
                    <a:pt x="73" y="312"/>
                  </a:lnTo>
                  <a:lnTo>
                    <a:pt x="77" y="289"/>
                  </a:lnTo>
                  <a:lnTo>
                    <a:pt x="86" y="275"/>
                  </a:lnTo>
                  <a:lnTo>
                    <a:pt x="75" y="272"/>
                  </a:lnTo>
                  <a:lnTo>
                    <a:pt x="64" y="262"/>
                  </a:lnTo>
                  <a:lnTo>
                    <a:pt x="57" y="252"/>
                  </a:lnTo>
                  <a:lnTo>
                    <a:pt x="50" y="250"/>
                  </a:lnTo>
                  <a:lnTo>
                    <a:pt x="50" y="247"/>
                  </a:lnTo>
                  <a:lnTo>
                    <a:pt x="70" y="238"/>
                  </a:lnTo>
                  <a:lnTo>
                    <a:pt x="77" y="234"/>
                  </a:lnTo>
                  <a:lnTo>
                    <a:pt x="66" y="230"/>
                  </a:lnTo>
                  <a:lnTo>
                    <a:pt x="58" y="225"/>
                  </a:lnTo>
                  <a:lnTo>
                    <a:pt x="51" y="219"/>
                  </a:lnTo>
                  <a:lnTo>
                    <a:pt x="61" y="209"/>
                  </a:lnTo>
                  <a:lnTo>
                    <a:pt x="68" y="214"/>
                  </a:lnTo>
                  <a:lnTo>
                    <a:pt x="78" y="218"/>
                  </a:lnTo>
                  <a:lnTo>
                    <a:pt x="72" y="207"/>
                  </a:lnTo>
                  <a:lnTo>
                    <a:pt x="51" y="199"/>
                  </a:lnTo>
                  <a:lnTo>
                    <a:pt x="34" y="203"/>
                  </a:lnTo>
                  <a:lnTo>
                    <a:pt x="26" y="211"/>
                  </a:lnTo>
                  <a:lnTo>
                    <a:pt x="21" y="211"/>
                  </a:lnTo>
                  <a:lnTo>
                    <a:pt x="14" y="181"/>
                  </a:lnTo>
                  <a:lnTo>
                    <a:pt x="16" y="166"/>
                  </a:lnTo>
                  <a:lnTo>
                    <a:pt x="23" y="155"/>
                  </a:lnTo>
                  <a:lnTo>
                    <a:pt x="24" y="151"/>
                  </a:lnTo>
                  <a:lnTo>
                    <a:pt x="21" y="128"/>
                  </a:lnTo>
                  <a:lnTo>
                    <a:pt x="27" y="143"/>
                  </a:lnTo>
                  <a:lnTo>
                    <a:pt x="32" y="151"/>
                  </a:lnTo>
                  <a:lnTo>
                    <a:pt x="53" y="151"/>
                  </a:lnTo>
                  <a:lnTo>
                    <a:pt x="73" y="157"/>
                  </a:lnTo>
                  <a:lnTo>
                    <a:pt x="84" y="156"/>
                  </a:lnTo>
                  <a:lnTo>
                    <a:pt x="99" y="160"/>
                  </a:lnTo>
                  <a:lnTo>
                    <a:pt x="109" y="155"/>
                  </a:lnTo>
                  <a:lnTo>
                    <a:pt x="99" y="154"/>
                  </a:lnTo>
                  <a:lnTo>
                    <a:pt x="97" y="148"/>
                  </a:lnTo>
                  <a:lnTo>
                    <a:pt x="112" y="144"/>
                  </a:lnTo>
                  <a:lnTo>
                    <a:pt x="126" y="127"/>
                  </a:lnTo>
                  <a:lnTo>
                    <a:pt x="102" y="109"/>
                  </a:lnTo>
                  <a:lnTo>
                    <a:pt x="86" y="91"/>
                  </a:lnTo>
                  <a:lnTo>
                    <a:pt x="80" y="74"/>
                  </a:lnTo>
                  <a:lnTo>
                    <a:pt x="70" y="60"/>
                  </a:lnTo>
                  <a:lnTo>
                    <a:pt x="68" y="58"/>
                  </a:lnTo>
                  <a:lnTo>
                    <a:pt x="57" y="57"/>
                  </a:lnTo>
                  <a:lnTo>
                    <a:pt x="39" y="62"/>
                  </a:lnTo>
                  <a:lnTo>
                    <a:pt x="23" y="70"/>
                  </a:lnTo>
                  <a:lnTo>
                    <a:pt x="14" y="82"/>
                  </a:lnTo>
                  <a:lnTo>
                    <a:pt x="14" y="91"/>
                  </a:lnTo>
                  <a:lnTo>
                    <a:pt x="19" y="94"/>
                  </a:lnTo>
                  <a:lnTo>
                    <a:pt x="20" y="119"/>
                  </a:lnTo>
                  <a:lnTo>
                    <a:pt x="18" y="117"/>
                  </a:lnTo>
                  <a:lnTo>
                    <a:pt x="4" y="92"/>
                  </a:lnTo>
                  <a:lnTo>
                    <a:pt x="0" y="74"/>
                  </a:lnTo>
                  <a:lnTo>
                    <a:pt x="30" y="48"/>
                  </a:lnTo>
                  <a:lnTo>
                    <a:pt x="53" y="39"/>
                  </a:lnTo>
                  <a:lnTo>
                    <a:pt x="77" y="32"/>
                  </a:lnTo>
                  <a:lnTo>
                    <a:pt x="85" y="31"/>
                  </a:lnTo>
                  <a:lnTo>
                    <a:pt x="93" y="31"/>
                  </a:lnTo>
                  <a:lnTo>
                    <a:pt x="100" y="35"/>
                  </a:lnTo>
                  <a:lnTo>
                    <a:pt x="107" y="41"/>
                  </a:lnTo>
                  <a:lnTo>
                    <a:pt x="122" y="47"/>
                  </a:lnTo>
                  <a:lnTo>
                    <a:pt x="127" y="54"/>
                  </a:lnTo>
                  <a:lnTo>
                    <a:pt x="133" y="69"/>
                  </a:lnTo>
                  <a:lnTo>
                    <a:pt x="139" y="75"/>
                  </a:lnTo>
                  <a:lnTo>
                    <a:pt x="143" y="82"/>
                  </a:lnTo>
                  <a:lnTo>
                    <a:pt x="153" y="105"/>
                  </a:lnTo>
                  <a:lnTo>
                    <a:pt x="163" y="112"/>
                  </a:lnTo>
                  <a:lnTo>
                    <a:pt x="181" y="113"/>
                  </a:lnTo>
                  <a:lnTo>
                    <a:pt x="193" y="10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60" name="Freeform 166">
              <a:extLst>
                <a:ext uri="{FF2B5EF4-FFF2-40B4-BE49-F238E27FC236}">
                  <a16:creationId xmlns:a16="http://schemas.microsoft.com/office/drawing/2014/main" id="{338D8819-6CF3-5185-15A1-65DE57C8C0E2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081956" y="2993588"/>
              <a:ext cx="35816" cy="35057"/>
            </a:xfrm>
            <a:custGeom>
              <a:avLst/>
              <a:gdLst>
                <a:gd name="T0" fmla="*/ 0 w 65"/>
                <a:gd name="T1" fmla="*/ 0 h 59"/>
                <a:gd name="T2" fmla="*/ 0 w 65"/>
                <a:gd name="T3" fmla="*/ 0 h 59"/>
                <a:gd name="T4" fmla="*/ 0 w 65"/>
                <a:gd name="T5" fmla="*/ 0 h 59"/>
                <a:gd name="T6" fmla="*/ 0 w 65"/>
                <a:gd name="T7" fmla="*/ 0 h 59"/>
                <a:gd name="T8" fmla="*/ 0 w 65"/>
                <a:gd name="T9" fmla="*/ 0 h 59"/>
                <a:gd name="T10" fmla="*/ 0 w 65"/>
                <a:gd name="T11" fmla="*/ 0 h 59"/>
                <a:gd name="T12" fmla="*/ 0 w 65"/>
                <a:gd name="T13" fmla="*/ 0 h 59"/>
                <a:gd name="T14" fmla="*/ 0 w 65"/>
                <a:gd name="T15" fmla="*/ 0 h 59"/>
                <a:gd name="T16" fmla="*/ 0 w 65"/>
                <a:gd name="T17" fmla="*/ 0 h 59"/>
                <a:gd name="T18" fmla="*/ 0 w 65"/>
                <a:gd name="T19" fmla="*/ 0 h 59"/>
                <a:gd name="T20" fmla="*/ 0 w 65"/>
                <a:gd name="T21" fmla="*/ 0 h 59"/>
                <a:gd name="T22" fmla="*/ 0 w 65"/>
                <a:gd name="T23" fmla="*/ 0 h 59"/>
                <a:gd name="T24" fmla="*/ 0 w 65"/>
                <a:gd name="T25" fmla="*/ 0 h 59"/>
                <a:gd name="T26" fmla="*/ 0 w 65"/>
                <a:gd name="T27" fmla="*/ 0 h 59"/>
                <a:gd name="T28" fmla="*/ 0 w 65"/>
                <a:gd name="T29" fmla="*/ 0 h 59"/>
                <a:gd name="T30" fmla="*/ 0 w 65"/>
                <a:gd name="T31" fmla="*/ 0 h 5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65"/>
                <a:gd name="T49" fmla="*/ 0 h 59"/>
                <a:gd name="T50" fmla="*/ 65 w 65"/>
                <a:gd name="T51" fmla="*/ 59 h 5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65" h="59">
                  <a:moveTo>
                    <a:pt x="65" y="59"/>
                  </a:moveTo>
                  <a:lnTo>
                    <a:pt x="52" y="56"/>
                  </a:lnTo>
                  <a:lnTo>
                    <a:pt x="36" y="53"/>
                  </a:lnTo>
                  <a:lnTo>
                    <a:pt x="4" y="7"/>
                  </a:lnTo>
                  <a:lnTo>
                    <a:pt x="0" y="2"/>
                  </a:lnTo>
                  <a:lnTo>
                    <a:pt x="10" y="0"/>
                  </a:lnTo>
                  <a:lnTo>
                    <a:pt x="17" y="1"/>
                  </a:lnTo>
                  <a:lnTo>
                    <a:pt x="22" y="9"/>
                  </a:lnTo>
                  <a:lnTo>
                    <a:pt x="30" y="12"/>
                  </a:lnTo>
                  <a:lnTo>
                    <a:pt x="37" y="13"/>
                  </a:lnTo>
                  <a:lnTo>
                    <a:pt x="44" y="10"/>
                  </a:lnTo>
                  <a:lnTo>
                    <a:pt x="52" y="12"/>
                  </a:lnTo>
                  <a:lnTo>
                    <a:pt x="55" y="20"/>
                  </a:lnTo>
                  <a:lnTo>
                    <a:pt x="60" y="27"/>
                  </a:lnTo>
                  <a:lnTo>
                    <a:pt x="64" y="34"/>
                  </a:lnTo>
                  <a:lnTo>
                    <a:pt x="65" y="5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61" name="Freeform 167">
              <a:extLst>
                <a:ext uri="{FF2B5EF4-FFF2-40B4-BE49-F238E27FC236}">
                  <a16:creationId xmlns:a16="http://schemas.microsoft.com/office/drawing/2014/main" id="{77BD16EC-DE23-16F9-4F96-1A648A91750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087926" y="2905183"/>
              <a:ext cx="156696" cy="140228"/>
            </a:xfrm>
            <a:custGeom>
              <a:avLst/>
              <a:gdLst>
                <a:gd name="T0" fmla="*/ 0 w 294"/>
                <a:gd name="T1" fmla="*/ 0 h 245"/>
                <a:gd name="T2" fmla="*/ 0 w 294"/>
                <a:gd name="T3" fmla="*/ 0 h 245"/>
                <a:gd name="T4" fmla="*/ 0 w 294"/>
                <a:gd name="T5" fmla="*/ 0 h 245"/>
                <a:gd name="T6" fmla="*/ 0 w 294"/>
                <a:gd name="T7" fmla="*/ 0 h 245"/>
                <a:gd name="T8" fmla="*/ 0 w 294"/>
                <a:gd name="T9" fmla="*/ 0 h 245"/>
                <a:gd name="T10" fmla="*/ 0 w 294"/>
                <a:gd name="T11" fmla="*/ 0 h 245"/>
                <a:gd name="T12" fmla="*/ 0 w 294"/>
                <a:gd name="T13" fmla="*/ 0 h 245"/>
                <a:gd name="T14" fmla="*/ 0 w 294"/>
                <a:gd name="T15" fmla="*/ 0 h 245"/>
                <a:gd name="T16" fmla="*/ 0 w 294"/>
                <a:gd name="T17" fmla="*/ 0 h 245"/>
                <a:gd name="T18" fmla="*/ 0 w 294"/>
                <a:gd name="T19" fmla="*/ 0 h 245"/>
                <a:gd name="T20" fmla="*/ 0 w 294"/>
                <a:gd name="T21" fmla="*/ 0 h 245"/>
                <a:gd name="T22" fmla="*/ 0 w 294"/>
                <a:gd name="T23" fmla="*/ 0 h 245"/>
                <a:gd name="T24" fmla="*/ 0 w 294"/>
                <a:gd name="T25" fmla="*/ 0 h 245"/>
                <a:gd name="T26" fmla="*/ 0 w 294"/>
                <a:gd name="T27" fmla="*/ 0 h 245"/>
                <a:gd name="T28" fmla="*/ 0 w 294"/>
                <a:gd name="T29" fmla="*/ 0 h 245"/>
                <a:gd name="T30" fmla="*/ 0 w 294"/>
                <a:gd name="T31" fmla="*/ 0 h 245"/>
                <a:gd name="T32" fmla="*/ 0 w 294"/>
                <a:gd name="T33" fmla="*/ 0 h 245"/>
                <a:gd name="T34" fmla="*/ 0 w 294"/>
                <a:gd name="T35" fmla="*/ 0 h 245"/>
                <a:gd name="T36" fmla="*/ 0 w 294"/>
                <a:gd name="T37" fmla="*/ 0 h 245"/>
                <a:gd name="T38" fmla="*/ 0 w 294"/>
                <a:gd name="T39" fmla="*/ 0 h 245"/>
                <a:gd name="T40" fmla="*/ 0 w 294"/>
                <a:gd name="T41" fmla="*/ 0 h 245"/>
                <a:gd name="T42" fmla="*/ 0 w 294"/>
                <a:gd name="T43" fmla="*/ 0 h 245"/>
                <a:gd name="T44" fmla="*/ 0 w 294"/>
                <a:gd name="T45" fmla="*/ 0 h 245"/>
                <a:gd name="T46" fmla="*/ 0 w 294"/>
                <a:gd name="T47" fmla="*/ 0 h 245"/>
                <a:gd name="T48" fmla="*/ 0 w 294"/>
                <a:gd name="T49" fmla="*/ 0 h 245"/>
                <a:gd name="T50" fmla="*/ 0 w 294"/>
                <a:gd name="T51" fmla="*/ 0 h 245"/>
                <a:gd name="T52" fmla="*/ 0 w 294"/>
                <a:gd name="T53" fmla="*/ 0 h 245"/>
                <a:gd name="T54" fmla="*/ 0 w 294"/>
                <a:gd name="T55" fmla="*/ 0 h 245"/>
                <a:gd name="T56" fmla="*/ 0 w 294"/>
                <a:gd name="T57" fmla="*/ 0 h 245"/>
                <a:gd name="T58" fmla="*/ 0 w 294"/>
                <a:gd name="T59" fmla="*/ 0 h 245"/>
                <a:gd name="T60" fmla="*/ 0 w 294"/>
                <a:gd name="T61" fmla="*/ 0 h 245"/>
                <a:gd name="T62" fmla="*/ 0 w 294"/>
                <a:gd name="T63" fmla="*/ 0 h 245"/>
                <a:gd name="T64" fmla="*/ 0 w 294"/>
                <a:gd name="T65" fmla="*/ 0 h 245"/>
                <a:gd name="T66" fmla="*/ 0 w 294"/>
                <a:gd name="T67" fmla="*/ 0 h 245"/>
                <a:gd name="T68" fmla="*/ 0 w 294"/>
                <a:gd name="T69" fmla="*/ 0 h 245"/>
                <a:gd name="T70" fmla="*/ 0 w 294"/>
                <a:gd name="T71" fmla="*/ 0 h 245"/>
                <a:gd name="T72" fmla="*/ 0 w 294"/>
                <a:gd name="T73" fmla="*/ 0 h 245"/>
                <a:gd name="T74" fmla="*/ 0 w 294"/>
                <a:gd name="T75" fmla="*/ 0 h 245"/>
                <a:gd name="T76" fmla="*/ 0 w 294"/>
                <a:gd name="T77" fmla="*/ 0 h 245"/>
                <a:gd name="T78" fmla="*/ 0 w 294"/>
                <a:gd name="T79" fmla="*/ 0 h 245"/>
                <a:gd name="T80" fmla="*/ 0 w 294"/>
                <a:gd name="T81" fmla="*/ 0 h 245"/>
                <a:gd name="T82" fmla="*/ 0 w 294"/>
                <a:gd name="T83" fmla="*/ 0 h 245"/>
                <a:gd name="T84" fmla="*/ 0 w 294"/>
                <a:gd name="T85" fmla="*/ 0 h 245"/>
                <a:gd name="T86" fmla="*/ 0 w 294"/>
                <a:gd name="T87" fmla="*/ 0 h 245"/>
                <a:gd name="T88" fmla="*/ 0 w 294"/>
                <a:gd name="T89" fmla="*/ 0 h 245"/>
                <a:gd name="T90" fmla="*/ 0 w 294"/>
                <a:gd name="T91" fmla="*/ 0 h 245"/>
                <a:gd name="T92" fmla="*/ 0 w 294"/>
                <a:gd name="T93" fmla="*/ 0 h 245"/>
                <a:gd name="T94" fmla="*/ 0 w 294"/>
                <a:gd name="T95" fmla="*/ 0 h 245"/>
                <a:gd name="T96" fmla="*/ 0 w 294"/>
                <a:gd name="T97" fmla="*/ 0 h 245"/>
                <a:gd name="T98" fmla="*/ 0 w 294"/>
                <a:gd name="T99" fmla="*/ 0 h 245"/>
                <a:gd name="T100" fmla="*/ 0 w 294"/>
                <a:gd name="T101" fmla="*/ 0 h 24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94"/>
                <a:gd name="T154" fmla="*/ 0 h 245"/>
                <a:gd name="T155" fmla="*/ 294 w 294"/>
                <a:gd name="T156" fmla="*/ 245 h 24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94" h="245">
                  <a:moveTo>
                    <a:pt x="80" y="0"/>
                  </a:moveTo>
                  <a:lnTo>
                    <a:pt x="88" y="5"/>
                  </a:lnTo>
                  <a:lnTo>
                    <a:pt x="95" y="5"/>
                  </a:lnTo>
                  <a:lnTo>
                    <a:pt x="107" y="16"/>
                  </a:lnTo>
                  <a:lnTo>
                    <a:pt x="111" y="24"/>
                  </a:lnTo>
                  <a:lnTo>
                    <a:pt x="119" y="24"/>
                  </a:lnTo>
                  <a:lnTo>
                    <a:pt x="124" y="40"/>
                  </a:lnTo>
                  <a:lnTo>
                    <a:pt x="126" y="47"/>
                  </a:lnTo>
                  <a:lnTo>
                    <a:pt x="135" y="47"/>
                  </a:lnTo>
                  <a:lnTo>
                    <a:pt x="151" y="51"/>
                  </a:lnTo>
                  <a:lnTo>
                    <a:pt x="159" y="48"/>
                  </a:lnTo>
                  <a:lnTo>
                    <a:pt x="164" y="43"/>
                  </a:lnTo>
                  <a:lnTo>
                    <a:pt x="170" y="28"/>
                  </a:lnTo>
                  <a:lnTo>
                    <a:pt x="178" y="24"/>
                  </a:lnTo>
                  <a:lnTo>
                    <a:pt x="185" y="20"/>
                  </a:lnTo>
                  <a:lnTo>
                    <a:pt x="188" y="13"/>
                  </a:lnTo>
                  <a:lnTo>
                    <a:pt x="194" y="3"/>
                  </a:lnTo>
                  <a:lnTo>
                    <a:pt x="220" y="34"/>
                  </a:lnTo>
                  <a:lnTo>
                    <a:pt x="236" y="68"/>
                  </a:lnTo>
                  <a:lnTo>
                    <a:pt x="245" y="83"/>
                  </a:lnTo>
                  <a:lnTo>
                    <a:pt x="253" y="93"/>
                  </a:lnTo>
                  <a:lnTo>
                    <a:pt x="261" y="98"/>
                  </a:lnTo>
                  <a:lnTo>
                    <a:pt x="274" y="93"/>
                  </a:lnTo>
                  <a:lnTo>
                    <a:pt x="281" y="98"/>
                  </a:lnTo>
                  <a:lnTo>
                    <a:pt x="287" y="100"/>
                  </a:lnTo>
                  <a:lnTo>
                    <a:pt x="292" y="109"/>
                  </a:lnTo>
                  <a:lnTo>
                    <a:pt x="294" y="118"/>
                  </a:lnTo>
                  <a:lnTo>
                    <a:pt x="283" y="109"/>
                  </a:lnTo>
                  <a:lnTo>
                    <a:pt x="269" y="110"/>
                  </a:lnTo>
                  <a:lnTo>
                    <a:pt x="259" y="117"/>
                  </a:lnTo>
                  <a:lnTo>
                    <a:pt x="251" y="127"/>
                  </a:lnTo>
                  <a:lnTo>
                    <a:pt x="248" y="147"/>
                  </a:lnTo>
                  <a:lnTo>
                    <a:pt x="247" y="164"/>
                  </a:lnTo>
                  <a:lnTo>
                    <a:pt x="240" y="180"/>
                  </a:lnTo>
                  <a:lnTo>
                    <a:pt x="236" y="206"/>
                  </a:lnTo>
                  <a:lnTo>
                    <a:pt x="223" y="192"/>
                  </a:lnTo>
                  <a:lnTo>
                    <a:pt x="216" y="197"/>
                  </a:lnTo>
                  <a:lnTo>
                    <a:pt x="213" y="206"/>
                  </a:lnTo>
                  <a:lnTo>
                    <a:pt x="213" y="227"/>
                  </a:lnTo>
                  <a:lnTo>
                    <a:pt x="215" y="244"/>
                  </a:lnTo>
                  <a:lnTo>
                    <a:pt x="211" y="245"/>
                  </a:lnTo>
                  <a:lnTo>
                    <a:pt x="204" y="245"/>
                  </a:lnTo>
                  <a:lnTo>
                    <a:pt x="197" y="242"/>
                  </a:lnTo>
                  <a:lnTo>
                    <a:pt x="189" y="235"/>
                  </a:lnTo>
                  <a:lnTo>
                    <a:pt x="181" y="231"/>
                  </a:lnTo>
                  <a:lnTo>
                    <a:pt x="177" y="227"/>
                  </a:lnTo>
                  <a:lnTo>
                    <a:pt x="166" y="220"/>
                  </a:lnTo>
                  <a:lnTo>
                    <a:pt x="169" y="215"/>
                  </a:lnTo>
                  <a:lnTo>
                    <a:pt x="184" y="207"/>
                  </a:lnTo>
                  <a:lnTo>
                    <a:pt x="177" y="186"/>
                  </a:lnTo>
                  <a:lnTo>
                    <a:pt x="178" y="172"/>
                  </a:lnTo>
                  <a:lnTo>
                    <a:pt x="161" y="163"/>
                  </a:lnTo>
                  <a:lnTo>
                    <a:pt x="135" y="169"/>
                  </a:lnTo>
                  <a:lnTo>
                    <a:pt x="123" y="177"/>
                  </a:lnTo>
                  <a:lnTo>
                    <a:pt x="113" y="187"/>
                  </a:lnTo>
                  <a:lnTo>
                    <a:pt x="107" y="203"/>
                  </a:lnTo>
                  <a:lnTo>
                    <a:pt x="95" y="217"/>
                  </a:lnTo>
                  <a:lnTo>
                    <a:pt x="84" y="218"/>
                  </a:lnTo>
                  <a:lnTo>
                    <a:pt x="83" y="211"/>
                  </a:lnTo>
                  <a:lnTo>
                    <a:pt x="80" y="203"/>
                  </a:lnTo>
                  <a:lnTo>
                    <a:pt x="75" y="197"/>
                  </a:lnTo>
                  <a:lnTo>
                    <a:pt x="82" y="196"/>
                  </a:lnTo>
                  <a:lnTo>
                    <a:pt x="83" y="187"/>
                  </a:lnTo>
                  <a:lnTo>
                    <a:pt x="77" y="182"/>
                  </a:lnTo>
                  <a:lnTo>
                    <a:pt x="78" y="175"/>
                  </a:lnTo>
                  <a:lnTo>
                    <a:pt x="82" y="166"/>
                  </a:lnTo>
                  <a:lnTo>
                    <a:pt x="75" y="165"/>
                  </a:lnTo>
                  <a:lnTo>
                    <a:pt x="67" y="165"/>
                  </a:lnTo>
                  <a:lnTo>
                    <a:pt x="52" y="156"/>
                  </a:lnTo>
                  <a:lnTo>
                    <a:pt x="43" y="144"/>
                  </a:lnTo>
                  <a:lnTo>
                    <a:pt x="40" y="137"/>
                  </a:lnTo>
                  <a:lnTo>
                    <a:pt x="49" y="136"/>
                  </a:lnTo>
                  <a:lnTo>
                    <a:pt x="52" y="127"/>
                  </a:lnTo>
                  <a:lnTo>
                    <a:pt x="51" y="120"/>
                  </a:lnTo>
                  <a:lnTo>
                    <a:pt x="37" y="111"/>
                  </a:lnTo>
                  <a:lnTo>
                    <a:pt x="32" y="106"/>
                  </a:lnTo>
                  <a:lnTo>
                    <a:pt x="27" y="99"/>
                  </a:lnTo>
                  <a:lnTo>
                    <a:pt x="24" y="91"/>
                  </a:lnTo>
                  <a:lnTo>
                    <a:pt x="24" y="83"/>
                  </a:lnTo>
                  <a:lnTo>
                    <a:pt x="29" y="77"/>
                  </a:lnTo>
                  <a:lnTo>
                    <a:pt x="28" y="69"/>
                  </a:lnTo>
                  <a:lnTo>
                    <a:pt x="21" y="64"/>
                  </a:lnTo>
                  <a:lnTo>
                    <a:pt x="13" y="64"/>
                  </a:lnTo>
                  <a:lnTo>
                    <a:pt x="3" y="51"/>
                  </a:lnTo>
                  <a:lnTo>
                    <a:pt x="1" y="43"/>
                  </a:lnTo>
                  <a:lnTo>
                    <a:pt x="0" y="43"/>
                  </a:lnTo>
                  <a:lnTo>
                    <a:pt x="5" y="42"/>
                  </a:lnTo>
                  <a:lnTo>
                    <a:pt x="19" y="32"/>
                  </a:lnTo>
                  <a:lnTo>
                    <a:pt x="27" y="34"/>
                  </a:lnTo>
                  <a:lnTo>
                    <a:pt x="34" y="36"/>
                  </a:lnTo>
                  <a:lnTo>
                    <a:pt x="40" y="42"/>
                  </a:lnTo>
                  <a:lnTo>
                    <a:pt x="55" y="50"/>
                  </a:lnTo>
                  <a:lnTo>
                    <a:pt x="64" y="48"/>
                  </a:lnTo>
                  <a:lnTo>
                    <a:pt x="78" y="55"/>
                  </a:lnTo>
                  <a:lnTo>
                    <a:pt x="87" y="56"/>
                  </a:lnTo>
                  <a:lnTo>
                    <a:pt x="91" y="50"/>
                  </a:lnTo>
                  <a:lnTo>
                    <a:pt x="88" y="42"/>
                  </a:lnTo>
                  <a:lnTo>
                    <a:pt x="75" y="32"/>
                  </a:lnTo>
                  <a:lnTo>
                    <a:pt x="72" y="25"/>
                  </a:lnTo>
                  <a:lnTo>
                    <a:pt x="66" y="19"/>
                  </a:lnTo>
                  <a:lnTo>
                    <a:pt x="67" y="10"/>
                  </a:lnTo>
                  <a:lnTo>
                    <a:pt x="78" y="0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62" name="Freeform 170">
              <a:extLst>
                <a:ext uri="{FF2B5EF4-FFF2-40B4-BE49-F238E27FC236}">
                  <a16:creationId xmlns:a16="http://schemas.microsoft.com/office/drawing/2014/main" id="{80624E2F-5934-5140-844B-D0456569CC0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044779" y="2594243"/>
              <a:ext cx="225343" cy="117364"/>
            </a:xfrm>
            <a:custGeom>
              <a:avLst/>
              <a:gdLst>
                <a:gd name="T0" fmla="*/ 0 w 420"/>
                <a:gd name="T1" fmla="*/ 0 h 205"/>
                <a:gd name="T2" fmla="*/ 0 w 420"/>
                <a:gd name="T3" fmla="*/ 0 h 205"/>
                <a:gd name="T4" fmla="*/ 0 w 420"/>
                <a:gd name="T5" fmla="*/ 0 h 205"/>
                <a:gd name="T6" fmla="*/ 0 w 420"/>
                <a:gd name="T7" fmla="*/ 0 h 205"/>
                <a:gd name="T8" fmla="*/ 0 w 420"/>
                <a:gd name="T9" fmla="*/ 0 h 205"/>
                <a:gd name="T10" fmla="*/ 0 w 420"/>
                <a:gd name="T11" fmla="*/ 0 h 205"/>
                <a:gd name="T12" fmla="*/ 0 w 420"/>
                <a:gd name="T13" fmla="*/ 0 h 205"/>
                <a:gd name="T14" fmla="*/ 0 w 420"/>
                <a:gd name="T15" fmla="*/ 0 h 205"/>
                <a:gd name="T16" fmla="*/ 0 w 420"/>
                <a:gd name="T17" fmla="*/ 0 h 205"/>
                <a:gd name="T18" fmla="*/ 0 w 420"/>
                <a:gd name="T19" fmla="*/ 0 h 205"/>
                <a:gd name="T20" fmla="*/ 0 w 420"/>
                <a:gd name="T21" fmla="*/ 0 h 205"/>
                <a:gd name="T22" fmla="*/ 0 w 420"/>
                <a:gd name="T23" fmla="*/ 0 h 205"/>
                <a:gd name="T24" fmla="*/ 0 w 420"/>
                <a:gd name="T25" fmla="*/ 0 h 205"/>
                <a:gd name="T26" fmla="*/ 0 w 420"/>
                <a:gd name="T27" fmla="*/ 0 h 205"/>
                <a:gd name="T28" fmla="*/ 0 w 420"/>
                <a:gd name="T29" fmla="*/ 0 h 205"/>
                <a:gd name="T30" fmla="*/ 0 w 420"/>
                <a:gd name="T31" fmla="*/ 0 h 205"/>
                <a:gd name="T32" fmla="*/ 0 w 420"/>
                <a:gd name="T33" fmla="*/ 0 h 205"/>
                <a:gd name="T34" fmla="*/ 0 w 420"/>
                <a:gd name="T35" fmla="*/ 0 h 205"/>
                <a:gd name="T36" fmla="*/ 0 w 420"/>
                <a:gd name="T37" fmla="*/ 0 h 205"/>
                <a:gd name="T38" fmla="*/ 0 w 420"/>
                <a:gd name="T39" fmla="*/ 0 h 205"/>
                <a:gd name="T40" fmla="*/ 0 w 420"/>
                <a:gd name="T41" fmla="*/ 0 h 205"/>
                <a:gd name="T42" fmla="*/ 0 w 420"/>
                <a:gd name="T43" fmla="*/ 0 h 205"/>
                <a:gd name="T44" fmla="*/ 0 w 420"/>
                <a:gd name="T45" fmla="*/ 0 h 205"/>
                <a:gd name="T46" fmla="*/ 0 w 420"/>
                <a:gd name="T47" fmla="*/ 0 h 205"/>
                <a:gd name="T48" fmla="*/ 0 w 420"/>
                <a:gd name="T49" fmla="*/ 0 h 205"/>
                <a:gd name="T50" fmla="*/ 0 w 420"/>
                <a:gd name="T51" fmla="*/ 0 h 205"/>
                <a:gd name="T52" fmla="*/ 0 w 420"/>
                <a:gd name="T53" fmla="*/ 0 h 205"/>
                <a:gd name="T54" fmla="*/ 0 w 420"/>
                <a:gd name="T55" fmla="*/ 0 h 205"/>
                <a:gd name="T56" fmla="*/ 0 w 420"/>
                <a:gd name="T57" fmla="*/ 0 h 205"/>
                <a:gd name="T58" fmla="*/ 0 w 420"/>
                <a:gd name="T59" fmla="*/ 0 h 205"/>
                <a:gd name="T60" fmla="*/ 2147483647 w 420"/>
                <a:gd name="T61" fmla="*/ 0 h 205"/>
                <a:gd name="T62" fmla="*/ 2147483647 w 420"/>
                <a:gd name="T63" fmla="*/ 0 h 205"/>
                <a:gd name="T64" fmla="*/ 2147483647 w 420"/>
                <a:gd name="T65" fmla="*/ 0 h 205"/>
                <a:gd name="T66" fmla="*/ 2147483647 w 420"/>
                <a:gd name="T67" fmla="*/ 0 h 205"/>
                <a:gd name="T68" fmla="*/ 2147483647 w 420"/>
                <a:gd name="T69" fmla="*/ 0 h 205"/>
                <a:gd name="T70" fmla="*/ 2147483647 w 420"/>
                <a:gd name="T71" fmla="*/ 0 h 205"/>
                <a:gd name="T72" fmla="*/ 2147483647 w 420"/>
                <a:gd name="T73" fmla="*/ 0 h 205"/>
                <a:gd name="T74" fmla="*/ 2147483647 w 420"/>
                <a:gd name="T75" fmla="*/ 0 h 205"/>
                <a:gd name="T76" fmla="*/ 2147483647 w 420"/>
                <a:gd name="T77" fmla="*/ 0 h 205"/>
                <a:gd name="T78" fmla="*/ 2147483647 w 420"/>
                <a:gd name="T79" fmla="*/ 0 h 205"/>
                <a:gd name="T80" fmla="*/ 2147483647 w 420"/>
                <a:gd name="T81" fmla="*/ 0 h 205"/>
                <a:gd name="T82" fmla="*/ 2147483647 w 420"/>
                <a:gd name="T83" fmla="*/ 0 h 205"/>
                <a:gd name="T84" fmla="*/ 0 w 420"/>
                <a:gd name="T85" fmla="*/ 0 h 205"/>
                <a:gd name="T86" fmla="*/ 0 w 420"/>
                <a:gd name="T87" fmla="*/ 0 h 205"/>
                <a:gd name="T88" fmla="*/ 0 w 420"/>
                <a:gd name="T89" fmla="*/ 0 h 205"/>
                <a:gd name="T90" fmla="*/ 0 w 420"/>
                <a:gd name="T91" fmla="*/ 0 h 2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20"/>
                <a:gd name="T139" fmla="*/ 0 h 205"/>
                <a:gd name="T140" fmla="*/ 420 w 420"/>
                <a:gd name="T141" fmla="*/ 205 h 20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20" h="205">
                  <a:moveTo>
                    <a:pt x="235" y="20"/>
                  </a:moveTo>
                  <a:lnTo>
                    <a:pt x="234" y="27"/>
                  </a:lnTo>
                  <a:lnTo>
                    <a:pt x="217" y="35"/>
                  </a:lnTo>
                  <a:lnTo>
                    <a:pt x="213" y="43"/>
                  </a:lnTo>
                  <a:lnTo>
                    <a:pt x="210" y="53"/>
                  </a:lnTo>
                  <a:lnTo>
                    <a:pt x="188" y="62"/>
                  </a:lnTo>
                  <a:lnTo>
                    <a:pt x="183" y="74"/>
                  </a:lnTo>
                  <a:lnTo>
                    <a:pt x="184" y="90"/>
                  </a:lnTo>
                  <a:lnTo>
                    <a:pt x="191" y="106"/>
                  </a:lnTo>
                  <a:lnTo>
                    <a:pt x="191" y="113"/>
                  </a:lnTo>
                  <a:lnTo>
                    <a:pt x="184" y="117"/>
                  </a:lnTo>
                  <a:lnTo>
                    <a:pt x="179" y="110"/>
                  </a:lnTo>
                  <a:lnTo>
                    <a:pt x="164" y="110"/>
                  </a:lnTo>
                  <a:lnTo>
                    <a:pt x="153" y="106"/>
                  </a:lnTo>
                  <a:lnTo>
                    <a:pt x="149" y="111"/>
                  </a:lnTo>
                  <a:lnTo>
                    <a:pt x="116" y="114"/>
                  </a:lnTo>
                  <a:lnTo>
                    <a:pt x="97" y="127"/>
                  </a:lnTo>
                  <a:lnTo>
                    <a:pt x="83" y="127"/>
                  </a:lnTo>
                  <a:lnTo>
                    <a:pt x="70" y="119"/>
                  </a:lnTo>
                  <a:lnTo>
                    <a:pt x="59" y="118"/>
                  </a:lnTo>
                  <a:lnTo>
                    <a:pt x="51" y="124"/>
                  </a:lnTo>
                  <a:lnTo>
                    <a:pt x="49" y="132"/>
                  </a:lnTo>
                  <a:lnTo>
                    <a:pt x="44" y="134"/>
                  </a:lnTo>
                  <a:lnTo>
                    <a:pt x="34" y="129"/>
                  </a:lnTo>
                  <a:lnTo>
                    <a:pt x="28" y="121"/>
                  </a:lnTo>
                  <a:lnTo>
                    <a:pt x="19" y="119"/>
                  </a:lnTo>
                  <a:lnTo>
                    <a:pt x="11" y="119"/>
                  </a:lnTo>
                  <a:lnTo>
                    <a:pt x="0" y="123"/>
                  </a:lnTo>
                  <a:lnTo>
                    <a:pt x="7" y="132"/>
                  </a:lnTo>
                  <a:lnTo>
                    <a:pt x="16" y="137"/>
                  </a:lnTo>
                  <a:lnTo>
                    <a:pt x="17" y="144"/>
                  </a:lnTo>
                  <a:lnTo>
                    <a:pt x="17" y="155"/>
                  </a:lnTo>
                  <a:lnTo>
                    <a:pt x="11" y="162"/>
                  </a:lnTo>
                  <a:lnTo>
                    <a:pt x="17" y="167"/>
                  </a:lnTo>
                  <a:lnTo>
                    <a:pt x="27" y="171"/>
                  </a:lnTo>
                  <a:lnTo>
                    <a:pt x="36" y="172"/>
                  </a:lnTo>
                  <a:lnTo>
                    <a:pt x="44" y="168"/>
                  </a:lnTo>
                  <a:lnTo>
                    <a:pt x="51" y="173"/>
                  </a:lnTo>
                  <a:lnTo>
                    <a:pt x="65" y="178"/>
                  </a:lnTo>
                  <a:lnTo>
                    <a:pt x="68" y="177"/>
                  </a:lnTo>
                  <a:lnTo>
                    <a:pt x="84" y="172"/>
                  </a:lnTo>
                  <a:lnTo>
                    <a:pt x="104" y="165"/>
                  </a:lnTo>
                  <a:lnTo>
                    <a:pt x="122" y="164"/>
                  </a:lnTo>
                  <a:lnTo>
                    <a:pt x="132" y="161"/>
                  </a:lnTo>
                  <a:lnTo>
                    <a:pt x="137" y="157"/>
                  </a:lnTo>
                  <a:lnTo>
                    <a:pt x="143" y="156"/>
                  </a:lnTo>
                  <a:lnTo>
                    <a:pt x="146" y="159"/>
                  </a:lnTo>
                  <a:lnTo>
                    <a:pt x="146" y="164"/>
                  </a:lnTo>
                  <a:lnTo>
                    <a:pt x="148" y="171"/>
                  </a:lnTo>
                  <a:lnTo>
                    <a:pt x="152" y="178"/>
                  </a:lnTo>
                  <a:lnTo>
                    <a:pt x="163" y="187"/>
                  </a:lnTo>
                  <a:lnTo>
                    <a:pt x="168" y="187"/>
                  </a:lnTo>
                  <a:lnTo>
                    <a:pt x="178" y="193"/>
                  </a:lnTo>
                  <a:lnTo>
                    <a:pt x="208" y="198"/>
                  </a:lnTo>
                  <a:lnTo>
                    <a:pt x="222" y="203"/>
                  </a:lnTo>
                  <a:lnTo>
                    <a:pt x="231" y="203"/>
                  </a:lnTo>
                  <a:lnTo>
                    <a:pt x="247" y="203"/>
                  </a:lnTo>
                  <a:lnTo>
                    <a:pt x="275" y="205"/>
                  </a:lnTo>
                  <a:lnTo>
                    <a:pt x="283" y="200"/>
                  </a:lnTo>
                  <a:lnTo>
                    <a:pt x="292" y="189"/>
                  </a:lnTo>
                  <a:lnTo>
                    <a:pt x="305" y="187"/>
                  </a:lnTo>
                  <a:lnTo>
                    <a:pt x="325" y="191"/>
                  </a:lnTo>
                  <a:lnTo>
                    <a:pt x="330" y="182"/>
                  </a:lnTo>
                  <a:lnTo>
                    <a:pt x="334" y="182"/>
                  </a:lnTo>
                  <a:lnTo>
                    <a:pt x="351" y="184"/>
                  </a:lnTo>
                  <a:lnTo>
                    <a:pt x="353" y="176"/>
                  </a:lnTo>
                  <a:lnTo>
                    <a:pt x="362" y="172"/>
                  </a:lnTo>
                  <a:lnTo>
                    <a:pt x="372" y="161"/>
                  </a:lnTo>
                  <a:lnTo>
                    <a:pt x="383" y="159"/>
                  </a:lnTo>
                  <a:lnTo>
                    <a:pt x="382" y="148"/>
                  </a:lnTo>
                  <a:lnTo>
                    <a:pt x="382" y="138"/>
                  </a:lnTo>
                  <a:lnTo>
                    <a:pt x="390" y="119"/>
                  </a:lnTo>
                  <a:lnTo>
                    <a:pt x="384" y="111"/>
                  </a:lnTo>
                  <a:lnTo>
                    <a:pt x="388" y="103"/>
                  </a:lnTo>
                  <a:lnTo>
                    <a:pt x="415" y="103"/>
                  </a:lnTo>
                  <a:lnTo>
                    <a:pt x="420" y="95"/>
                  </a:lnTo>
                  <a:lnTo>
                    <a:pt x="420" y="75"/>
                  </a:lnTo>
                  <a:lnTo>
                    <a:pt x="412" y="62"/>
                  </a:lnTo>
                  <a:lnTo>
                    <a:pt x="406" y="40"/>
                  </a:lnTo>
                  <a:lnTo>
                    <a:pt x="406" y="26"/>
                  </a:lnTo>
                  <a:lnTo>
                    <a:pt x="398" y="15"/>
                  </a:lnTo>
                  <a:lnTo>
                    <a:pt x="362" y="19"/>
                  </a:lnTo>
                  <a:lnTo>
                    <a:pt x="348" y="6"/>
                  </a:lnTo>
                  <a:lnTo>
                    <a:pt x="340" y="1"/>
                  </a:lnTo>
                  <a:lnTo>
                    <a:pt x="307" y="0"/>
                  </a:lnTo>
                  <a:lnTo>
                    <a:pt x="301" y="10"/>
                  </a:lnTo>
                  <a:lnTo>
                    <a:pt x="297" y="19"/>
                  </a:lnTo>
                  <a:lnTo>
                    <a:pt x="287" y="27"/>
                  </a:lnTo>
                  <a:lnTo>
                    <a:pt x="278" y="31"/>
                  </a:lnTo>
                  <a:lnTo>
                    <a:pt x="267" y="32"/>
                  </a:lnTo>
                  <a:lnTo>
                    <a:pt x="256" y="31"/>
                  </a:lnTo>
                  <a:lnTo>
                    <a:pt x="249" y="25"/>
                  </a:lnTo>
                  <a:lnTo>
                    <a:pt x="235" y="2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63" name="Freeform 171">
              <a:extLst>
                <a:ext uri="{FF2B5EF4-FFF2-40B4-BE49-F238E27FC236}">
                  <a16:creationId xmlns:a16="http://schemas.microsoft.com/office/drawing/2014/main" id="{867B5E03-A182-AB35-F3B7-40ECD73E8D6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810481" y="2879271"/>
              <a:ext cx="14923" cy="7622"/>
            </a:xfrm>
            <a:custGeom>
              <a:avLst/>
              <a:gdLst>
                <a:gd name="T0" fmla="*/ 0 w 21"/>
                <a:gd name="T1" fmla="*/ 0 h 13"/>
                <a:gd name="T2" fmla="*/ 0 w 21"/>
                <a:gd name="T3" fmla="*/ 0 h 13"/>
                <a:gd name="T4" fmla="*/ 0 w 21"/>
                <a:gd name="T5" fmla="*/ 0 h 13"/>
                <a:gd name="T6" fmla="*/ 0 w 21"/>
                <a:gd name="T7" fmla="*/ 0 h 13"/>
                <a:gd name="T8" fmla="*/ 0 w 21"/>
                <a:gd name="T9" fmla="*/ 0 h 13"/>
                <a:gd name="T10" fmla="*/ 0 w 21"/>
                <a:gd name="T11" fmla="*/ 0 h 13"/>
                <a:gd name="T12" fmla="*/ 0 w 21"/>
                <a:gd name="T13" fmla="*/ 0 h 13"/>
                <a:gd name="T14" fmla="*/ 0 w 21"/>
                <a:gd name="T15" fmla="*/ 0 h 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1"/>
                <a:gd name="T25" fmla="*/ 0 h 13"/>
                <a:gd name="T26" fmla="*/ 21 w 21"/>
                <a:gd name="T27" fmla="*/ 13 h 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" h="13">
                  <a:moveTo>
                    <a:pt x="18" y="7"/>
                  </a:moveTo>
                  <a:lnTo>
                    <a:pt x="21" y="11"/>
                  </a:lnTo>
                  <a:lnTo>
                    <a:pt x="16" y="13"/>
                  </a:lnTo>
                  <a:lnTo>
                    <a:pt x="10" y="12"/>
                  </a:lnTo>
                  <a:lnTo>
                    <a:pt x="6" y="7"/>
                  </a:lnTo>
                  <a:lnTo>
                    <a:pt x="0" y="0"/>
                  </a:lnTo>
                  <a:lnTo>
                    <a:pt x="13" y="1"/>
                  </a:lnTo>
                  <a:lnTo>
                    <a:pt x="18" y="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64" name="Freeform 172">
              <a:extLst>
                <a:ext uri="{FF2B5EF4-FFF2-40B4-BE49-F238E27FC236}">
                  <a16:creationId xmlns:a16="http://schemas.microsoft.com/office/drawing/2014/main" id="{B2628098-B97A-B93D-69D4-C4009EE6FE4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049256" y="2668929"/>
              <a:ext cx="7462" cy="16767"/>
            </a:xfrm>
            <a:custGeom>
              <a:avLst/>
              <a:gdLst>
                <a:gd name="T0" fmla="*/ 0 w 14"/>
                <a:gd name="T1" fmla="*/ 0 h 30"/>
                <a:gd name="T2" fmla="*/ 0 w 14"/>
                <a:gd name="T3" fmla="*/ 0 h 30"/>
                <a:gd name="T4" fmla="*/ 0 w 14"/>
                <a:gd name="T5" fmla="*/ 0 h 30"/>
                <a:gd name="T6" fmla="*/ 0 w 14"/>
                <a:gd name="T7" fmla="*/ 0 h 30"/>
                <a:gd name="T8" fmla="*/ 0 w 14"/>
                <a:gd name="T9" fmla="*/ 0 h 30"/>
                <a:gd name="T10" fmla="*/ 0 w 14"/>
                <a:gd name="T11" fmla="*/ 0 h 30"/>
                <a:gd name="T12" fmla="*/ 0 w 14"/>
                <a:gd name="T13" fmla="*/ 0 h 30"/>
                <a:gd name="T14" fmla="*/ 0 w 14"/>
                <a:gd name="T15" fmla="*/ 0 h 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30"/>
                <a:gd name="T26" fmla="*/ 14 w 14"/>
                <a:gd name="T27" fmla="*/ 30 h 3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30">
                  <a:moveTo>
                    <a:pt x="8" y="30"/>
                  </a:moveTo>
                  <a:lnTo>
                    <a:pt x="14" y="23"/>
                  </a:lnTo>
                  <a:lnTo>
                    <a:pt x="14" y="12"/>
                  </a:lnTo>
                  <a:lnTo>
                    <a:pt x="13" y="5"/>
                  </a:lnTo>
                  <a:lnTo>
                    <a:pt x="4" y="0"/>
                  </a:lnTo>
                  <a:lnTo>
                    <a:pt x="2" y="8"/>
                  </a:lnTo>
                  <a:lnTo>
                    <a:pt x="0" y="18"/>
                  </a:lnTo>
                  <a:lnTo>
                    <a:pt x="8" y="3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65" name="Freeform 174">
              <a:extLst>
                <a:ext uri="{FF2B5EF4-FFF2-40B4-BE49-F238E27FC236}">
                  <a16:creationId xmlns:a16="http://schemas.microsoft.com/office/drawing/2014/main" id="{AAFEDF99-BB85-F05B-2597-D4931F6870E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136500" y="3054857"/>
              <a:ext cx="90346" cy="62606"/>
            </a:xfrm>
            <a:custGeom>
              <a:avLst/>
              <a:gdLst>
                <a:gd name="T0" fmla="*/ 0 w 172"/>
                <a:gd name="T1" fmla="*/ 0 h 110"/>
                <a:gd name="T2" fmla="*/ 0 w 172"/>
                <a:gd name="T3" fmla="*/ 0 h 110"/>
                <a:gd name="T4" fmla="*/ 0 w 172"/>
                <a:gd name="T5" fmla="*/ 0 h 110"/>
                <a:gd name="T6" fmla="*/ 0 w 172"/>
                <a:gd name="T7" fmla="*/ 0 h 110"/>
                <a:gd name="T8" fmla="*/ 0 w 172"/>
                <a:gd name="T9" fmla="*/ 0 h 110"/>
                <a:gd name="T10" fmla="*/ 0 w 172"/>
                <a:gd name="T11" fmla="*/ 0 h 110"/>
                <a:gd name="T12" fmla="*/ 0 w 172"/>
                <a:gd name="T13" fmla="*/ 0 h 110"/>
                <a:gd name="T14" fmla="*/ 0 w 172"/>
                <a:gd name="T15" fmla="*/ 0 h 110"/>
                <a:gd name="T16" fmla="*/ 0 w 172"/>
                <a:gd name="T17" fmla="*/ 0 h 110"/>
                <a:gd name="T18" fmla="*/ 0 w 172"/>
                <a:gd name="T19" fmla="*/ 0 h 110"/>
                <a:gd name="T20" fmla="*/ 0 w 172"/>
                <a:gd name="T21" fmla="*/ 0 h 110"/>
                <a:gd name="T22" fmla="*/ 0 w 172"/>
                <a:gd name="T23" fmla="*/ 0 h 110"/>
                <a:gd name="T24" fmla="*/ 0 w 172"/>
                <a:gd name="T25" fmla="*/ 0 h 110"/>
                <a:gd name="T26" fmla="*/ 0 w 172"/>
                <a:gd name="T27" fmla="*/ 0 h 110"/>
                <a:gd name="T28" fmla="*/ 0 w 172"/>
                <a:gd name="T29" fmla="*/ 0 h 110"/>
                <a:gd name="T30" fmla="*/ 0 w 172"/>
                <a:gd name="T31" fmla="*/ 0 h 110"/>
                <a:gd name="T32" fmla="*/ 0 w 172"/>
                <a:gd name="T33" fmla="*/ 0 h 110"/>
                <a:gd name="T34" fmla="*/ 0 w 172"/>
                <a:gd name="T35" fmla="*/ 0 h 110"/>
                <a:gd name="T36" fmla="*/ 0 w 172"/>
                <a:gd name="T37" fmla="*/ 0 h 110"/>
                <a:gd name="T38" fmla="*/ 0 w 172"/>
                <a:gd name="T39" fmla="*/ 0 h 110"/>
                <a:gd name="T40" fmla="*/ 0 w 172"/>
                <a:gd name="T41" fmla="*/ 0 h 110"/>
                <a:gd name="T42" fmla="*/ 0 w 172"/>
                <a:gd name="T43" fmla="*/ 0 h 110"/>
                <a:gd name="T44" fmla="*/ 0 w 172"/>
                <a:gd name="T45" fmla="*/ 0 h 110"/>
                <a:gd name="T46" fmla="*/ 0 w 172"/>
                <a:gd name="T47" fmla="*/ 0 h 110"/>
                <a:gd name="T48" fmla="*/ 0 w 172"/>
                <a:gd name="T49" fmla="*/ 0 h 110"/>
                <a:gd name="T50" fmla="*/ 0 w 172"/>
                <a:gd name="T51" fmla="*/ 0 h 110"/>
                <a:gd name="T52" fmla="*/ 0 w 172"/>
                <a:gd name="T53" fmla="*/ 0 h 110"/>
                <a:gd name="T54" fmla="*/ 0 w 172"/>
                <a:gd name="T55" fmla="*/ 0 h 110"/>
                <a:gd name="T56" fmla="*/ 0 w 172"/>
                <a:gd name="T57" fmla="*/ 0 h 110"/>
                <a:gd name="T58" fmla="*/ 0 w 172"/>
                <a:gd name="T59" fmla="*/ 0 h 110"/>
                <a:gd name="T60" fmla="*/ 0 w 172"/>
                <a:gd name="T61" fmla="*/ 0 h 110"/>
                <a:gd name="T62" fmla="*/ 0 w 172"/>
                <a:gd name="T63" fmla="*/ 0 h 110"/>
                <a:gd name="T64" fmla="*/ 0 w 172"/>
                <a:gd name="T65" fmla="*/ 0 h 110"/>
                <a:gd name="T66" fmla="*/ 0 w 172"/>
                <a:gd name="T67" fmla="*/ 0 h 110"/>
                <a:gd name="T68" fmla="*/ 0 w 172"/>
                <a:gd name="T69" fmla="*/ 0 h 110"/>
                <a:gd name="T70" fmla="*/ 0 w 172"/>
                <a:gd name="T71" fmla="*/ 0 h 110"/>
                <a:gd name="T72" fmla="*/ 0 w 172"/>
                <a:gd name="T73" fmla="*/ 0 h 110"/>
                <a:gd name="T74" fmla="*/ 0 w 172"/>
                <a:gd name="T75" fmla="*/ 0 h 110"/>
                <a:gd name="T76" fmla="*/ 0 w 172"/>
                <a:gd name="T77" fmla="*/ 0 h 110"/>
                <a:gd name="T78" fmla="*/ 0 w 172"/>
                <a:gd name="T79" fmla="*/ 0 h 110"/>
                <a:gd name="T80" fmla="*/ 0 w 172"/>
                <a:gd name="T81" fmla="*/ 0 h 110"/>
                <a:gd name="T82" fmla="*/ 0 w 172"/>
                <a:gd name="T83" fmla="*/ 0 h 110"/>
                <a:gd name="T84" fmla="*/ 0 w 172"/>
                <a:gd name="T85" fmla="*/ 0 h 110"/>
                <a:gd name="T86" fmla="*/ 0 w 172"/>
                <a:gd name="T87" fmla="*/ 0 h 11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72"/>
                <a:gd name="T133" fmla="*/ 0 h 110"/>
                <a:gd name="T134" fmla="*/ 172 w 172"/>
                <a:gd name="T135" fmla="*/ 110 h 11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72" h="110">
                  <a:moveTo>
                    <a:pt x="172" y="0"/>
                  </a:moveTo>
                  <a:lnTo>
                    <a:pt x="168" y="1"/>
                  </a:lnTo>
                  <a:lnTo>
                    <a:pt x="168" y="2"/>
                  </a:lnTo>
                  <a:lnTo>
                    <a:pt x="167" y="12"/>
                  </a:lnTo>
                  <a:lnTo>
                    <a:pt x="153" y="34"/>
                  </a:lnTo>
                  <a:lnTo>
                    <a:pt x="143" y="60"/>
                  </a:lnTo>
                  <a:lnTo>
                    <a:pt x="142" y="66"/>
                  </a:lnTo>
                  <a:lnTo>
                    <a:pt x="146" y="70"/>
                  </a:lnTo>
                  <a:lnTo>
                    <a:pt x="147" y="75"/>
                  </a:lnTo>
                  <a:lnTo>
                    <a:pt x="152" y="87"/>
                  </a:lnTo>
                  <a:lnTo>
                    <a:pt x="146" y="103"/>
                  </a:lnTo>
                  <a:lnTo>
                    <a:pt x="145" y="110"/>
                  </a:lnTo>
                  <a:lnTo>
                    <a:pt x="130" y="110"/>
                  </a:lnTo>
                  <a:lnTo>
                    <a:pt x="118" y="108"/>
                  </a:lnTo>
                  <a:lnTo>
                    <a:pt x="108" y="98"/>
                  </a:lnTo>
                  <a:lnTo>
                    <a:pt x="99" y="88"/>
                  </a:lnTo>
                  <a:lnTo>
                    <a:pt x="84" y="83"/>
                  </a:lnTo>
                  <a:lnTo>
                    <a:pt x="76" y="82"/>
                  </a:lnTo>
                  <a:lnTo>
                    <a:pt x="67" y="79"/>
                  </a:lnTo>
                  <a:lnTo>
                    <a:pt x="61" y="71"/>
                  </a:lnTo>
                  <a:lnTo>
                    <a:pt x="49" y="66"/>
                  </a:lnTo>
                  <a:lnTo>
                    <a:pt x="37" y="56"/>
                  </a:lnTo>
                  <a:lnTo>
                    <a:pt x="25" y="51"/>
                  </a:lnTo>
                  <a:lnTo>
                    <a:pt x="8" y="48"/>
                  </a:lnTo>
                  <a:lnTo>
                    <a:pt x="2" y="40"/>
                  </a:lnTo>
                  <a:lnTo>
                    <a:pt x="0" y="26"/>
                  </a:lnTo>
                  <a:lnTo>
                    <a:pt x="1" y="18"/>
                  </a:lnTo>
                  <a:lnTo>
                    <a:pt x="3" y="15"/>
                  </a:lnTo>
                  <a:lnTo>
                    <a:pt x="6" y="10"/>
                  </a:lnTo>
                  <a:lnTo>
                    <a:pt x="9" y="8"/>
                  </a:lnTo>
                  <a:lnTo>
                    <a:pt x="19" y="15"/>
                  </a:lnTo>
                  <a:lnTo>
                    <a:pt x="25" y="15"/>
                  </a:lnTo>
                  <a:lnTo>
                    <a:pt x="41" y="5"/>
                  </a:lnTo>
                  <a:lnTo>
                    <a:pt x="62" y="15"/>
                  </a:lnTo>
                  <a:lnTo>
                    <a:pt x="66" y="22"/>
                  </a:lnTo>
                  <a:lnTo>
                    <a:pt x="73" y="22"/>
                  </a:lnTo>
                  <a:lnTo>
                    <a:pt x="80" y="20"/>
                  </a:lnTo>
                  <a:lnTo>
                    <a:pt x="110" y="16"/>
                  </a:lnTo>
                  <a:lnTo>
                    <a:pt x="119" y="13"/>
                  </a:lnTo>
                  <a:lnTo>
                    <a:pt x="127" y="8"/>
                  </a:lnTo>
                  <a:lnTo>
                    <a:pt x="146" y="8"/>
                  </a:lnTo>
                  <a:lnTo>
                    <a:pt x="152" y="4"/>
                  </a:lnTo>
                  <a:lnTo>
                    <a:pt x="163" y="2"/>
                  </a:lnTo>
                  <a:lnTo>
                    <a:pt x="172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66" name="Freeform 175">
              <a:extLst>
                <a:ext uri="{FF2B5EF4-FFF2-40B4-BE49-F238E27FC236}">
                  <a16:creationId xmlns:a16="http://schemas.microsoft.com/office/drawing/2014/main" id="{3B89A4EC-3016-E423-AC03-BEF2FABCDC3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011609" y="2932490"/>
              <a:ext cx="42516" cy="99601"/>
            </a:xfrm>
            <a:custGeom>
              <a:avLst/>
              <a:gdLst>
                <a:gd name="T0" fmla="*/ 0 w 82"/>
                <a:gd name="T1" fmla="*/ 0 h 173"/>
                <a:gd name="T2" fmla="*/ 0 w 82"/>
                <a:gd name="T3" fmla="*/ 0 h 173"/>
                <a:gd name="T4" fmla="*/ 0 w 82"/>
                <a:gd name="T5" fmla="*/ 0 h 173"/>
                <a:gd name="T6" fmla="*/ 0 w 82"/>
                <a:gd name="T7" fmla="*/ 0 h 173"/>
                <a:gd name="T8" fmla="*/ 0 w 82"/>
                <a:gd name="T9" fmla="*/ 0 h 173"/>
                <a:gd name="T10" fmla="*/ 0 w 82"/>
                <a:gd name="T11" fmla="*/ 0 h 173"/>
                <a:gd name="T12" fmla="*/ 0 w 82"/>
                <a:gd name="T13" fmla="*/ 0 h 173"/>
                <a:gd name="T14" fmla="*/ 0 w 82"/>
                <a:gd name="T15" fmla="*/ 0 h 173"/>
                <a:gd name="T16" fmla="*/ 0 w 82"/>
                <a:gd name="T17" fmla="*/ 0 h 173"/>
                <a:gd name="T18" fmla="*/ 0 w 82"/>
                <a:gd name="T19" fmla="*/ 0 h 173"/>
                <a:gd name="T20" fmla="*/ 0 w 82"/>
                <a:gd name="T21" fmla="*/ 0 h 173"/>
                <a:gd name="T22" fmla="*/ 0 w 82"/>
                <a:gd name="T23" fmla="*/ 0 h 173"/>
                <a:gd name="T24" fmla="*/ 0 w 82"/>
                <a:gd name="T25" fmla="*/ 0 h 173"/>
                <a:gd name="T26" fmla="*/ 0 w 82"/>
                <a:gd name="T27" fmla="*/ 0 h 173"/>
                <a:gd name="T28" fmla="*/ 0 w 82"/>
                <a:gd name="T29" fmla="*/ 0 h 173"/>
                <a:gd name="T30" fmla="*/ 0 w 82"/>
                <a:gd name="T31" fmla="*/ 0 h 173"/>
                <a:gd name="T32" fmla="*/ 0 w 82"/>
                <a:gd name="T33" fmla="*/ 0 h 173"/>
                <a:gd name="T34" fmla="*/ 0 w 82"/>
                <a:gd name="T35" fmla="*/ 0 h 173"/>
                <a:gd name="T36" fmla="*/ 0 w 82"/>
                <a:gd name="T37" fmla="*/ 0 h 173"/>
                <a:gd name="T38" fmla="*/ 0 w 82"/>
                <a:gd name="T39" fmla="*/ 0 h 173"/>
                <a:gd name="T40" fmla="*/ 0 w 82"/>
                <a:gd name="T41" fmla="*/ 0 h 173"/>
                <a:gd name="T42" fmla="*/ 0 w 82"/>
                <a:gd name="T43" fmla="*/ 0 h 173"/>
                <a:gd name="T44" fmla="*/ 0 w 82"/>
                <a:gd name="T45" fmla="*/ 0 h 173"/>
                <a:gd name="T46" fmla="*/ 0 w 82"/>
                <a:gd name="T47" fmla="*/ 0 h 173"/>
                <a:gd name="T48" fmla="*/ 0 w 82"/>
                <a:gd name="T49" fmla="*/ 0 h 173"/>
                <a:gd name="T50" fmla="*/ 0 w 82"/>
                <a:gd name="T51" fmla="*/ 0 h 173"/>
                <a:gd name="T52" fmla="*/ 0 w 82"/>
                <a:gd name="T53" fmla="*/ 0 h 173"/>
                <a:gd name="T54" fmla="*/ 0 w 82"/>
                <a:gd name="T55" fmla="*/ 0 h 173"/>
                <a:gd name="T56" fmla="*/ 0 w 82"/>
                <a:gd name="T57" fmla="*/ 0 h 173"/>
                <a:gd name="T58" fmla="*/ 0 w 82"/>
                <a:gd name="T59" fmla="*/ 0 h 173"/>
                <a:gd name="T60" fmla="*/ 0 w 82"/>
                <a:gd name="T61" fmla="*/ 0 h 173"/>
                <a:gd name="T62" fmla="*/ 0 w 82"/>
                <a:gd name="T63" fmla="*/ 0 h 173"/>
                <a:gd name="T64" fmla="*/ 0 w 82"/>
                <a:gd name="T65" fmla="*/ 0 h 173"/>
                <a:gd name="T66" fmla="*/ 0 w 82"/>
                <a:gd name="T67" fmla="*/ 0 h 173"/>
                <a:gd name="T68" fmla="*/ 0 w 82"/>
                <a:gd name="T69" fmla="*/ 0 h 173"/>
                <a:gd name="T70" fmla="*/ 0 w 82"/>
                <a:gd name="T71" fmla="*/ 0 h 173"/>
                <a:gd name="T72" fmla="*/ 0 w 82"/>
                <a:gd name="T73" fmla="*/ 0 h 173"/>
                <a:gd name="T74" fmla="*/ 0 w 82"/>
                <a:gd name="T75" fmla="*/ 0 h 173"/>
                <a:gd name="T76" fmla="*/ 0 w 82"/>
                <a:gd name="T77" fmla="*/ 0 h 173"/>
                <a:gd name="T78" fmla="*/ 0 w 82"/>
                <a:gd name="T79" fmla="*/ 0 h 173"/>
                <a:gd name="T80" fmla="*/ 0 w 82"/>
                <a:gd name="T81" fmla="*/ 0 h 173"/>
                <a:gd name="T82" fmla="*/ 0 w 82"/>
                <a:gd name="T83" fmla="*/ 0 h 17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82"/>
                <a:gd name="T127" fmla="*/ 0 h 173"/>
                <a:gd name="T128" fmla="*/ 82 w 82"/>
                <a:gd name="T129" fmla="*/ 173 h 17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82" h="173">
                  <a:moveTo>
                    <a:pt x="50" y="0"/>
                  </a:moveTo>
                  <a:lnTo>
                    <a:pt x="63" y="5"/>
                  </a:lnTo>
                  <a:lnTo>
                    <a:pt x="64" y="8"/>
                  </a:lnTo>
                  <a:lnTo>
                    <a:pt x="70" y="12"/>
                  </a:lnTo>
                  <a:lnTo>
                    <a:pt x="75" y="24"/>
                  </a:lnTo>
                  <a:lnTo>
                    <a:pt x="81" y="43"/>
                  </a:lnTo>
                  <a:lnTo>
                    <a:pt x="82" y="63"/>
                  </a:lnTo>
                  <a:lnTo>
                    <a:pt x="80" y="79"/>
                  </a:lnTo>
                  <a:lnTo>
                    <a:pt x="81" y="111"/>
                  </a:lnTo>
                  <a:lnTo>
                    <a:pt x="80" y="138"/>
                  </a:lnTo>
                  <a:lnTo>
                    <a:pt x="76" y="144"/>
                  </a:lnTo>
                  <a:lnTo>
                    <a:pt x="76" y="149"/>
                  </a:lnTo>
                  <a:lnTo>
                    <a:pt x="70" y="154"/>
                  </a:lnTo>
                  <a:lnTo>
                    <a:pt x="57" y="150"/>
                  </a:lnTo>
                  <a:lnTo>
                    <a:pt x="52" y="155"/>
                  </a:lnTo>
                  <a:lnTo>
                    <a:pt x="47" y="165"/>
                  </a:lnTo>
                  <a:lnTo>
                    <a:pt x="41" y="171"/>
                  </a:lnTo>
                  <a:lnTo>
                    <a:pt x="31" y="173"/>
                  </a:lnTo>
                  <a:lnTo>
                    <a:pt x="26" y="168"/>
                  </a:lnTo>
                  <a:lnTo>
                    <a:pt x="15" y="152"/>
                  </a:lnTo>
                  <a:lnTo>
                    <a:pt x="14" y="144"/>
                  </a:lnTo>
                  <a:lnTo>
                    <a:pt x="14" y="139"/>
                  </a:lnTo>
                  <a:lnTo>
                    <a:pt x="11" y="130"/>
                  </a:lnTo>
                  <a:lnTo>
                    <a:pt x="14" y="109"/>
                  </a:lnTo>
                  <a:lnTo>
                    <a:pt x="17" y="106"/>
                  </a:lnTo>
                  <a:lnTo>
                    <a:pt x="18" y="101"/>
                  </a:lnTo>
                  <a:lnTo>
                    <a:pt x="16" y="97"/>
                  </a:lnTo>
                  <a:lnTo>
                    <a:pt x="14" y="89"/>
                  </a:lnTo>
                  <a:lnTo>
                    <a:pt x="15" y="80"/>
                  </a:lnTo>
                  <a:lnTo>
                    <a:pt x="15" y="70"/>
                  </a:lnTo>
                  <a:lnTo>
                    <a:pt x="12" y="63"/>
                  </a:lnTo>
                  <a:lnTo>
                    <a:pt x="10" y="54"/>
                  </a:lnTo>
                  <a:lnTo>
                    <a:pt x="7" y="53"/>
                  </a:lnTo>
                  <a:lnTo>
                    <a:pt x="4" y="53"/>
                  </a:lnTo>
                  <a:lnTo>
                    <a:pt x="0" y="47"/>
                  </a:lnTo>
                  <a:lnTo>
                    <a:pt x="0" y="26"/>
                  </a:lnTo>
                  <a:lnTo>
                    <a:pt x="1" y="25"/>
                  </a:lnTo>
                  <a:lnTo>
                    <a:pt x="10" y="33"/>
                  </a:lnTo>
                  <a:lnTo>
                    <a:pt x="20" y="32"/>
                  </a:lnTo>
                  <a:lnTo>
                    <a:pt x="39" y="12"/>
                  </a:lnTo>
                  <a:lnTo>
                    <a:pt x="45" y="10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67" name="Freeform 176">
              <a:extLst>
                <a:ext uri="{FF2B5EF4-FFF2-40B4-BE49-F238E27FC236}">
                  <a16:creationId xmlns:a16="http://schemas.microsoft.com/office/drawing/2014/main" id="{562DDF7A-6394-8988-C775-499CAE4CBBA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966436" y="2682064"/>
              <a:ext cx="342785" cy="387022"/>
            </a:xfrm>
            <a:custGeom>
              <a:avLst/>
              <a:gdLst>
                <a:gd name="T0" fmla="*/ 0 w 645"/>
                <a:gd name="T1" fmla="*/ 0 h 681"/>
                <a:gd name="T2" fmla="*/ 0 w 645"/>
                <a:gd name="T3" fmla="*/ 0 h 681"/>
                <a:gd name="T4" fmla="*/ 0 w 645"/>
                <a:gd name="T5" fmla="*/ 0 h 681"/>
                <a:gd name="T6" fmla="*/ 0 w 645"/>
                <a:gd name="T7" fmla="*/ 0 h 681"/>
                <a:gd name="T8" fmla="*/ 0 w 645"/>
                <a:gd name="T9" fmla="*/ 0 h 681"/>
                <a:gd name="T10" fmla="*/ 0 w 645"/>
                <a:gd name="T11" fmla="*/ 0 h 681"/>
                <a:gd name="T12" fmla="*/ 0 w 645"/>
                <a:gd name="T13" fmla="*/ 0 h 681"/>
                <a:gd name="T14" fmla="*/ 0 w 645"/>
                <a:gd name="T15" fmla="*/ 0 h 681"/>
                <a:gd name="T16" fmla="*/ 0 w 645"/>
                <a:gd name="T17" fmla="*/ 0 h 681"/>
                <a:gd name="T18" fmla="*/ 0 w 645"/>
                <a:gd name="T19" fmla="*/ 0 h 681"/>
                <a:gd name="T20" fmla="*/ 0 w 645"/>
                <a:gd name="T21" fmla="*/ 0 h 681"/>
                <a:gd name="T22" fmla="*/ 0 w 645"/>
                <a:gd name="T23" fmla="*/ 0 h 681"/>
                <a:gd name="T24" fmla="*/ 0 w 645"/>
                <a:gd name="T25" fmla="*/ 0 h 681"/>
                <a:gd name="T26" fmla="*/ 0 w 645"/>
                <a:gd name="T27" fmla="*/ 0 h 681"/>
                <a:gd name="T28" fmla="*/ 0 w 645"/>
                <a:gd name="T29" fmla="*/ 0 h 681"/>
                <a:gd name="T30" fmla="*/ 0 w 645"/>
                <a:gd name="T31" fmla="*/ 0 h 681"/>
                <a:gd name="T32" fmla="*/ 0 w 645"/>
                <a:gd name="T33" fmla="*/ 0 h 681"/>
                <a:gd name="T34" fmla="*/ 0 w 645"/>
                <a:gd name="T35" fmla="*/ 0 h 681"/>
                <a:gd name="T36" fmla="*/ 0 w 645"/>
                <a:gd name="T37" fmla="*/ 0 h 681"/>
                <a:gd name="T38" fmla="*/ 0 w 645"/>
                <a:gd name="T39" fmla="*/ 0 h 681"/>
                <a:gd name="T40" fmla="*/ 0 w 645"/>
                <a:gd name="T41" fmla="*/ 0 h 681"/>
                <a:gd name="T42" fmla="*/ 0 w 645"/>
                <a:gd name="T43" fmla="*/ 0 h 681"/>
                <a:gd name="T44" fmla="*/ 0 w 645"/>
                <a:gd name="T45" fmla="*/ 0 h 681"/>
                <a:gd name="T46" fmla="*/ 0 w 645"/>
                <a:gd name="T47" fmla="*/ 0 h 681"/>
                <a:gd name="T48" fmla="*/ 0 w 645"/>
                <a:gd name="T49" fmla="*/ 0 h 681"/>
                <a:gd name="T50" fmla="*/ 0 w 645"/>
                <a:gd name="T51" fmla="*/ 0 h 681"/>
                <a:gd name="T52" fmla="*/ 0 w 645"/>
                <a:gd name="T53" fmla="*/ 0 h 681"/>
                <a:gd name="T54" fmla="*/ 0 w 645"/>
                <a:gd name="T55" fmla="*/ 0 h 681"/>
                <a:gd name="T56" fmla="*/ 0 w 645"/>
                <a:gd name="T57" fmla="*/ 0 h 681"/>
                <a:gd name="T58" fmla="*/ 0 w 645"/>
                <a:gd name="T59" fmla="*/ 0 h 681"/>
                <a:gd name="T60" fmla="*/ 0 w 645"/>
                <a:gd name="T61" fmla="*/ 0 h 681"/>
                <a:gd name="T62" fmla="*/ 0 w 645"/>
                <a:gd name="T63" fmla="*/ 0 h 681"/>
                <a:gd name="T64" fmla="*/ 0 w 645"/>
                <a:gd name="T65" fmla="*/ 0 h 681"/>
                <a:gd name="T66" fmla="*/ 0 w 645"/>
                <a:gd name="T67" fmla="*/ 0 h 681"/>
                <a:gd name="T68" fmla="*/ 0 w 645"/>
                <a:gd name="T69" fmla="*/ 0 h 681"/>
                <a:gd name="T70" fmla="*/ 0 w 645"/>
                <a:gd name="T71" fmla="*/ 0 h 681"/>
                <a:gd name="T72" fmla="*/ 0 w 645"/>
                <a:gd name="T73" fmla="*/ 0 h 681"/>
                <a:gd name="T74" fmla="*/ 0 w 645"/>
                <a:gd name="T75" fmla="*/ 0 h 681"/>
                <a:gd name="T76" fmla="*/ 0 w 645"/>
                <a:gd name="T77" fmla="*/ 0 h 681"/>
                <a:gd name="T78" fmla="*/ 0 w 645"/>
                <a:gd name="T79" fmla="*/ 0 h 681"/>
                <a:gd name="T80" fmla="*/ 0 w 645"/>
                <a:gd name="T81" fmla="*/ 0 h 681"/>
                <a:gd name="T82" fmla="*/ 0 w 645"/>
                <a:gd name="T83" fmla="*/ 0 h 681"/>
                <a:gd name="T84" fmla="*/ 0 w 645"/>
                <a:gd name="T85" fmla="*/ 0 h 681"/>
                <a:gd name="T86" fmla="*/ 0 w 645"/>
                <a:gd name="T87" fmla="*/ 0 h 681"/>
                <a:gd name="T88" fmla="*/ 0 w 645"/>
                <a:gd name="T89" fmla="*/ 0 h 681"/>
                <a:gd name="T90" fmla="*/ 0 w 645"/>
                <a:gd name="T91" fmla="*/ 0 h 681"/>
                <a:gd name="T92" fmla="*/ 0 w 645"/>
                <a:gd name="T93" fmla="*/ 0 h 681"/>
                <a:gd name="T94" fmla="*/ 0 w 645"/>
                <a:gd name="T95" fmla="*/ 0 h 681"/>
                <a:gd name="T96" fmla="*/ 0 w 645"/>
                <a:gd name="T97" fmla="*/ 0 h 681"/>
                <a:gd name="T98" fmla="*/ 0 w 645"/>
                <a:gd name="T99" fmla="*/ 0 h 681"/>
                <a:gd name="T100" fmla="*/ 0 w 645"/>
                <a:gd name="T101" fmla="*/ 0 h 681"/>
                <a:gd name="T102" fmla="*/ 0 w 645"/>
                <a:gd name="T103" fmla="*/ 0 h 681"/>
                <a:gd name="T104" fmla="*/ 0 w 645"/>
                <a:gd name="T105" fmla="*/ 0 h 681"/>
                <a:gd name="T106" fmla="*/ 0 w 645"/>
                <a:gd name="T107" fmla="*/ 0 h 681"/>
                <a:gd name="T108" fmla="*/ 0 w 645"/>
                <a:gd name="T109" fmla="*/ 0 h 681"/>
                <a:gd name="T110" fmla="*/ 0 w 645"/>
                <a:gd name="T111" fmla="*/ 0 h 681"/>
                <a:gd name="T112" fmla="*/ 0 w 645"/>
                <a:gd name="T113" fmla="*/ 0 h 681"/>
                <a:gd name="T114" fmla="*/ 0 w 645"/>
                <a:gd name="T115" fmla="*/ 0 h 681"/>
                <a:gd name="T116" fmla="*/ 0 w 645"/>
                <a:gd name="T117" fmla="*/ 0 h 681"/>
                <a:gd name="T118" fmla="*/ 0 w 645"/>
                <a:gd name="T119" fmla="*/ 0 h 681"/>
                <a:gd name="T120" fmla="*/ 0 w 645"/>
                <a:gd name="T121" fmla="*/ 0 h 68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45"/>
                <a:gd name="T184" fmla="*/ 0 h 681"/>
                <a:gd name="T185" fmla="*/ 645 w 645"/>
                <a:gd name="T186" fmla="*/ 681 h 68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45" h="681">
                  <a:moveTo>
                    <a:pt x="201" y="17"/>
                  </a:moveTo>
                  <a:lnTo>
                    <a:pt x="199" y="28"/>
                  </a:lnTo>
                  <a:lnTo>
                    <a:pt x="199" y="36"/>
                  </a:lnTo>
                  <a:lnTo>
                    <a:pt x="195" y="38"/>
                  </a:lnTo>
                  <a:lnTo>
                    <a:pt x="184" y="40"/>
                  </a:lnTo>
                  <a:lnTo>
                    <a:pt x="183" y="46"/>
                  </a:lnTo>
                  <a:lnTo>
                    <a:pt x="184" y="53"/>
                  </a:lnTo>
                  <a:lnTo>
                    <a:pt x="186" y="59"/>
                  </a:lnTo>
                  <a:lnTo>
                    <a:pt x="185" y="63"/>
                  </a:lnTo>
                  <a:lnTo>
                    <a:pt x="164" y="59"/>
                  </a:lnTo>
                  <a:lnTo>
                    <a:pt x="153" y="58"/>
                  </a:lnTo>
                  <a:lnTo>
                    <a:pt x="147" y="53"/>
                  </a:lnTo>
                  <a:lnTo>
                    <a:pt x="140" y="49"/>
                  </a:lnTo>
                  <a:lnTo>
                    <a:pt x="137" y="60"/>
                  </a:lnTo>
                  <a:lnTo>
                    <a:pt x="126" y="79"/>
                  </a:lnTo>
                  <a:lnTo>
                    <a:pt x="125" y="89"/>
                  </a:lnTo>
                  <a:lnTo>
                    <a:pt x="123" y="94"/>
                  </a:lnTo>
                  <a:lnTo>
                    <a:pt x="115" y="89"/>
                  </a:lnTo>
                  <a:lnTo>
                    <a:pt x="109" y="81"/>
                  </a:lnTo>
                  <a:lnTo>
                    <a:pt x="98" y="73"/>
                  </a:lnTo>
                  <a:lnTo>
                    <a:pt x="92" y="53"/>
                  </a:lnTo>
                  <a:lnTo>
                    <a:pt x="81" y="59"/>
                  </a:lnTo>
                  <a:lnTo>
                    <a:pt x="75" y="68"/>
                  </a:lnTo>
                  <a:lnTo>
                    <a:pt x="75" y="76"/>
                  </a:lnTo>
                  <a:lnTo>
                    <a:pt x="71" y="81"/>
                  </a:lnTo>
                  <a:lnTo>
                    <a:pt x="60" y="90"/>
                  </a:lnTo>
                  <a:lnTo>
                    <a:pt x="48" y="90"/>
                  </a:lnTo>
                  <a:lnTo>
                    <a:pt x="23" y="96"/>
                  </a:lnTo>
                  <a:lnTo>
                    <a:pt x="14" y="96"/>
                  </a:lnTo>
                  <a:lnTo>
                    <a:pt x="5" y="97"/>
                  </a:lnTo>
                  <a:lnTo>
                    <a:pt x="3" y="102"/>
                  </a:lnTo>
                  <a:lnTo>
                    <a:pt x="5" y="107"/>
                  </a:lnTo>
                  <a:lnTo>
                    <a:pt x="16" y="133"/>
                  </a:lnTo>
                  <a:lnTo>
                    <a:pt x="18" y="143"/>
                  </a:lnTo>
                  <a:lnTo>
                    <a:pt x="7" y="150"/>
                  </a:lnTo>
                  <a:lnTo>
                    <a:pt x="2" y="156"/>
                  </a:lnTo>
                  <a:lnTo>
                    <a:pt x="0" y="165"/>
                  </a:lnTo>
                  <a:lnTo>
                    <a:pt x="1" y="170"/>
                  </a:lnTo>
                  <a:lnTo>
                    <a:pt x="2" y="175"/>
                  </a:lnTo>
                  <a:lnTo>
                    <a:pt x="11" y="177"/>
                  </a:lnTo>
                  <a:lnTo>
                    <a:pt x="12" y="186"/>
                  </a:lnTo>
                  <a:lnTo>
                    <a:pt x="10" y="194"/>
                  </a:lnTo>
                  <a:lnTo>
                    <a:pt x="11" y="205"/>
                  </a:lnTo>
                  <a:lnTo>
                    <a:pt x="13" y="216"/>
                  </a:lnTo>
                  <a:lnTo>
                    <a:pt x="19" y="225"/>
                  </a:lnTo>
                  <a:lnTo>
                    <a:pt x="44" y="227"/>
                  </a:lnTo>
                  <a:lnTo>
                    <a:pt x="48" y="236"/>
                  </a:lnTo>
                  <a:lnTo>
                    <a:pt x="48" y="245"/>
                  </a:lnTo>
                  <a:lnTo>
                    <a:pt x="45" y="251"/>
                  </a:lnTo>
                  <a:lnTo>
                    <a:pt x="46" y="254"/>
                  </a:lnTo>
                  <a:lnTo>
                    <a:pt x="54" y="254"/>
                  </a:lnTo>
                  <a:lnTo>
                    <a:pt x="64" y="254"/>
                  </a:lnTo>
                  <a:lnTo>
                    <a:pt x="80" y="247"/>
                  </a:lnTo>
                  <a:lnTo>
                    <a:pt x="81" y="240"/>
                  </a:lnTo>
                  <a:lnTo>
                    <a:pt x="89" y="226"/>
                  </a:lnTo>
                  <a:lnTo>
                    <a:pt x="94" y="224"/>
                  </a:lnTo>
                  <a:lnTo>
                    <a:pt x="97" y="218"/>
                  </a:lnTo>
                  <a:lnTo>
                    <a:pt x="114" y="210"/>
                  </a:lnTo>
                  <a:lnTo>
                    <a:pt x="123" y="210"/>
                  </a:lnTo>
                  <a:lnTo>
                    <a:pt x="132" y="213"/>
                  </a:lnTo>
                  <a:lnTo>
                    <a:pt x="173" y="236"/>
                  </a:lnTo>
                  <a:lnTo>
                    <a:pt x="190" y="243"/>
                  </a:lnTo>
                  <a:lnTo>
                    <a:pt x="193" y="248"/>
                  </a:lnTo>
                  <a:lnTo>
                    <a:pt x="195" y="259"/>
                  </a:lnTo>
                  <a:lnTo>
                    <a:pt x="207" y="294"/>
                  </a:lnTo>
                  <a:lnTo>
                    <a:pt x="211" y="306"/>
                  </a:lnTo>
                  <a:lnTo>
                    <a:pt x="210" y="313"/>
                  </a:lnTo>
                  <a:lnTo>
                    <a:pt x="231" y="333"/>
                  </a:lnTo>
                  <a:lnTo>
                    <a:pt x="241" y="345"/>
                  </a:lnTo>
                  <a:lnTo>
                    <a:pt x="244" y="361"/>
                  </a:lnTo>
                  <a:lnTo>
                    <a:pt x="252" y="358"/>
                  </a:lnTo>
                  <a:lnTo>
                    <a:pt x="259" y="358"/>
                  </a:lnTo>
                  <a:lnTo>
                    <a:pt x="269" y="365"/>
                  </a:lnTo>
                  <a:lnTo>
                    <a:pt x="282" y="386"/>
                  </a:lnTo>
                  <a:lnTo>
                    <a:pt x="292" y="387"/>
                  </a:lnTo>
                  <a:lnTo>
                    <a:pt x="309" y="410"/>
                  </a:lnTo>
                  <a:lnTo>
                    <a:pt x="323" y="424"/>
                  </a:lnTo>
                  <a:lnTo>
                    <a:pt x="347" y="444"/>
                  </a:lnTo>
                  <a:lnTo>
                    <a:pt x="352" y="442"/>
                  </a:lnTo>
                  <a:lnTo>
                    <a:pt x="379" y="444"/>
                  </a:lnTo>
                  <a:lnTo>
                    <a:pt x="385" y="445"/>
                  </a:lnTo>
                  <a:lnTo>
                    <a:pt x="400" y="462"/>
                  </a:lnTo>
                  <a:lnTo>
                    <a:pt x="404" y="472"/>
                  </a:lnTo>
                  <a:lnTo>
                    <a:pt x="421" y="479"/>
                  </a:lnTo>
                  <a:lnTo>
                    <a:pt x="422" y="482"/>
                  </a:lnTo>
                  <a:lnTo>
                    <a:pt x="421" y="490"/>
                  </a:lnTo>
                  <a:lnTo>
                    <a:pt x="440" y="487"/>
                  </a:lnTo>
                  <a:lnTo>
                    <a:pt x="444" y="488"/>
                  </a:lnTo>
                  <a:lnTo>
                    <a:pt x="449" y="494"/>
                  </a:lnTo>
                  <a:lnTo>
                    <a:pt x="453" y="505"/>
                  </a:lnTo>
                  <a:lnTo>
                    <a:pt x="451" y="512"/>
                  </a:lnTo>
                  <a:lnTo>
                    <a:pt x="455" y="520"/>
                  </a:lnTo>
                  <a:lnTo>
                    <a:pt x="467" y="525"/>
                  </a:lnTo>
                  <a:lnTo>
                    <a:pt x="473" y="530"/>
                  </a:lnTo>
                  <a:lnTo>
                    <a:pt x="478" y="537"/>
                  </a:lnTo>
                  <a:lnTo>
                    <a:pt x="483" y="527"/>
                  </a:lnTo>
                  <a:lnTo>
                    <a:pt x="487" y="527"/>
                  </a:lnTo>
                  <a:lnTo>
                    <a:pt x="495" y="539"/>
                  </a:lnTo>
                  <a:lnTo>
                    <a:pt x="495" y="546"/>
                  </a:lnTo>
                  <a:lnTo>
                    <a:pt x="498" y="559"/>
                  </a:lnTo>
                  <a:lnTo>
                    <a:pt x="510" y="578"/>
                  </a:lnTo>
                  <a:lnTo>
                    <a:pt x="513" y="596"/>
                  </a:lnTo>
                  <a:lnTo>
                    <a:pt x="522" y="617"/>
                  </a:lnTo>
                  <a:lnTo>
                    <a:pt x="507" y="624"/>
                  </a:lnTo>
                  <a:lnTo>
                    <a:pt x="500" y="629"/>
                  </a:lnTo>
                  <a:lnTo>
                    <a:pt x="503" y="640"/>
                  </a:lnTo>
                  <a:lnTo>
                    <a:pt x="496" y="651"/>
                  </a:lnTo>
                  <a:lnTo>
                    <a:pt x="492" y="661"/>
                  </a:lnTo>
                  <a:lnTo>
                    <a:pt x="494" y="673"/>
                  </a:lnTo>
                  <a:lnTo>
                    <a:pt x="496" y="681"/>
                  </a:lnTo>
                  <a:lnTo>
                    <a:pt x="496" y="678"/>
                  </a:lnTo>
                  <a:lnTo>
                    <a:pt x="496" y="681"/>
                  </a:lnTo>
                  <a:lnTo>
                    <a:pt x="503" y="681"/>
                  </a:lnTo>
                  <a:lnTo>
                    <a:pt x="511" y="681"/>
                  </a:lnTo>
                  <a:lnTo>
                    <a:pt x="514" y="678"/>
                  </a:lnTo>
                  <a:lnTo>
                    <a:pt x="522" y="661"/>
                  </a:lnTo>
                  <a:lnTo>
                    <a:pt x="525" y="656"/>
                  </a:lnTo>
                  <a:lnTo>
                    <a:pt x="532" y="651"/>
                  </a:lnTo>
                  <a:lnTo>
                    <a:pt x="538" y="649"/>
                  </a:lnTo>
                  <a:lnTo>
                    <a:pt x="540" y="643"/>
                  </a:lnTo>
                  <a:lnTo>
                    <a:pt x="541" y="621"/>
                  </a:lnTo>
                  <a:lnTo>
                    <a:pt x="544" y="616"/>
                  </a:lnTo>
                  <a:lnTo>
                    <a:pt x="553" y="613"/>
                  </a:lnTo>
                  <a:lnTo>
                    <a:pt x="562" y="607"/>
                  </a:lnTo>
                  <a:lnTo>
                    <a:pt x="567" y="607"/>
                  </a:lnTo>
                  <a:lnTo>
                    <a:pt x="570" y="603"/>
                  </a:lnTo>
                  <a:lnTo>
                    <a:pt x="570" y="590"/>
                  </a:lnTo>
                  <a:lnTo>
                    <a:pt x="568" y="585"/>
                  </a:lnTo>
                  <a:lnTo>
                    <a:pt x="567" y="575"/>
                  </a:lnTo>
                  <a:lnTo>
                    <a:pt x="564" y="570"/>
                  </a:lnTo>
                  <a:lnTo>
                    <a:pt x="554" y="564"/>
                  </a:lnTo>
                  <a:lnTo>
                    <a:pt x="549" y="558"/>
                  </a:lnTo>
                  <a:lnTo>
                    <a:pt x="538" y="553"/>
                  </a:lnTo>
                  <a:lnTo>
                    <a:pt x="538" y="543"/>
                  </a:lnTo>
                  <a:lnTo>
                    <a:pt x="543" y="523"/>
                  </a:lnTo>
                  <a:lnTo>
                    <a:pt x="551" y="511"/>
                  </a:lnTo>
                  <a:lnTo>
                    <a:pt x="564" y="499"/>
                  </a:lnTo>
                  <a:lnTo>
                    <a:pt x="575" y="496"/>
                  </a:lnTo>
                  <a:lnTo>
                    <a:pt x="591" y="509"/>
                  </a:lnTo>
                  <a:lnTo>
                    <a:pt x="604" y="512"/>
                  </a:lnTo>
                  <a:lnTo>
                    <a:pt x="615" y="519"/>
                  </a:lnTo>
                  <a:lnTo>
                    <a:pt x="619" y="527"/>
                  </a:lnTo>
                  <a:lnTo>
                    <a:pt x="626" y="539"/>
                  </a:lnTo>
                  <a:lnTo>
                    <a:pt x="637" y="546"/>
                  </a:lnTo>
                  <a:lnTo>
                    <a:pt x="637" y="543"/>
                  </a:lnTo>
                  <a:lnTo>
                    <a:pt x="645" y="527"/>
                  </a:lnTo>
                  <a:lnTo>
                    <a:pt x="642" y="520"/>
                  </a:lnTo>
                  <a:lnTo>
                    <a:pt x="636" y="511"/>
                  </a:lnTo>
                  <a:lnTo>
                    <a:pt x="626" y="500"/>
                  </a:lnTo>
                  <a:lnTo>
                    <a:pt x="615" y="482"/>
                  </a:lnTo>
                  <a:lnTo>
                    <a:pt x="580" y="468"/>
                  </a:lnTo>
                  <a:lnTo>
                    <a:pt x="572" y="460"/>
                  </a:lnTo>
                  <a:lnTo>
                    <a:pt x="560" y="452"/>
                  </a:lnTo>
                  <a:lnTo>
                    <a:pt x="524" y="437"/>
                  </a:lnTo>
                  <a:lnTo>
                    <a:pt x="516" y="433"/>
                  </a:lnTo>
                  <a:lnTo>
                    <a:pt x="510" y="430"/>
                  </a:lnTo>
                  <a:lnTo>
                    <a:pt x="506" y="430"/>
                  </a:lnTo>
                  <a:lnTo>
                    <a:pt x="502" y="426"/>
                  </a:lnTo>
                  <a:lnTo>
                    <a:pt x="502" y="420"/>
                  </a:lnTo>
                  <a:lnTo>
                    <a:pt x="508" y="414"/>
                  </a:lnTo>
                  <a:lnTo>
                    <a:pt x="516" y="409"/>
                  </a:lnTo>
                  <a:lnTo>
                    <a:pt x="517" y="401"/>
                  </a:lnTo>
                  <a:lnTo>
                    <a:pt x="511" y="392"/>
                  </a:lnTo>
                  <a:lnTo>
                    <a:pt x="500" y="392"/>
                  </a:lnTo>
                  <a:lnTo>
                    <a:pt x="496" y="394"/>
                  </a:lnTo>
                  <a:lnTo>
                    <a:pt x="503" y="392"/>
                  </a:lnTo>
                  <a:lnTo>
                    <a:pt x="496" y="394"/>
                  </a:lnTo>
                  <a:lnTo>
                    <a:pt x="465" y="394"/>
                  </a:lnTo>
                  <a:lnTo>
                    <a:pt x="465" y="403"/>
                  </a:lnTo>
                  <a:lnTo>
                    <a:pt x="453" y="390"/>
                  </a:lnTo>
                  <a:lnTo>
                    <a:pt x="442" y="382"/>
                  </a:lnTo>
                  <a:lnTo>
                    <a:pt x="437" y="382"/>
                  </a:lnTo>
                  <a:lnTo>
                    <a:pt x="435" y="374"/>
                  </a:lnTo>
                  <a:lnTo>
                    <a:pt x="431" y="374"/>
                  </a:lnTo>
                  <a:lnTo>
                    <a:pt x="410" y="354"/>
                  </a:lnTo>
                  <a:lnTo>
                    <a:pt x="405" y="345"/>
                  </a:lnTo>
                  <a:lnTo>
                    <a:pt x="398" y="332"/>
                  </a:lnTo>
                  <a:lnTo>
                    <a:pt x="392" y="313"/>
                  </a:lnTo>
                  <a:lnTo>
                    <a:pt x="388" y="309"/>
                  </a:lnTo>
                  <a:lnTo>
                    <a:pt x="382" y="285"/>
                  </a:lnTo>
                  <a:lnTo>
                    <a:pt x="374" y="270"/>
                  </a:lnTo>
                  <a:lnTo>
                    <a:pt x="369" y="267"/>
                  </a:lnTo>
                  <a:lnTo>
                    <a:pt x="363" y="267"/>
                  </a:lnTo>
                  <a:lnTo>
                    <a:pt x="362" y="263"/>
                  </a:lnTo>
                  <a:lnTo>
                    <a:pt x="347" y="254"/>
                  </a:lnTo>
                  <a:lnTo>
                    <a:pt x="341" y="247"/>
                  </a:lnTo>
                  <a:lnTo>
                    <a:pt x="320" y="237"/>
                  </a:lnTo>
                  <a:lnTo>
                    <a:pt x="314" y="230"/>
                  </a:lnTo>
                  <a:lnTo>
                    <a:pt x="309" y="220"/>
                  </a:lnTo>
                  <a:lnTo>
                    <a:pt x="306" y="211"/>
                  </a:lnTo>
                  <a:lnTo>
                    <a:pt x="306" y="193"/>
                  </a:lnTo>
                  <a:lnTo>
                    <a:pt x="308" y="177"/>
                  </a:lnTo>
                  <a:lnTo>
                    <a:pt x="313" y="172"/>
                  </a:lnTo>
                  <a:lnTo>
                    <a:pt x="314" y="165"/>
                  </a:lnTo>
                  <a:lnTo>
                    <a:pt x="312" y="159"/>
                  </a:lnTo>
                  <a:lnTo>
                    <a:pt x="304" y="156"/>
                  </a:lnTo>
                  <a:lnTo>
                    <a:pt x="302" y="141"/>
                  </a:lnTo>
                  <a:lnTo>
                    <a:pt x="304" y="134"/>
                  </a:lnTo>
                  <a:lnTo>
                    <a:pt x="314" y="126"/>
                  </a:lnTo>
                  <a:lnTo>
                    <a:pt x="318" y="126"/>
                  </a:lnTo>
                  <a:lnTo>
                    <a:pt x="319" y="127"/>
                  </a:lnTo>
                  <a:lnTo>
                    <a:pt x="324" y="126"/>
                  </a:lnTo>
                  <a:lnTo>
                    <a:pt x="357" y="108"/>
                  </a:lnTo>
                  <a:lnTo>
                    <a:pt x="366" y="111"/>
                  </a:lnTo>
                  <a:lnTo>
                    <a:pt x="376" y="106"/>
                  </a:lnTo>
                  <a:lnTo>
                    <a:pt x="382" y="107"/>
                  </a:lnTo>
                  <a:lnTo>
                    <a:pt x="383" y="113"/>
                  </a:lnTo>
                  <a:lnTo>
                    <a:pt x="379" y="121"/>
                  </a:lnTo>
                  <a:lnTo>
                    <a:pt x="379" y="122"/>
                  </a:lnTo>
                  <a:lnTo>
                    <a:pt x="384" y="123"/>
                  </a:lnTo>
                  <a:lnTo>
                    <a:pt x="389" y="122"/>
                  </a:lnTo>
                  <a:lnTo>
                    <a:pt x="393" y="119"/>
                  </a:lnTo>
                  <a:lnTo>
                    <a:pt x="394" y="114"/>
                  </a:lnTo>
                  <a:lnTo>
                    <a:pt x="392" y="111"/>
                  </a:lnTo>
                  <a:lnTo>
                    <a:pt x="388" y="110"/>
                  </a:lnTo>
                  <a:lnTo>
                    <a:pt x="385" y="105"/>
                  </a:lnTo>
                  <a:lnTo>
                    <a:pt x="378" y="101"/>
                  </a:lnTo>
                  <a:lnTo>
                    <a:pt x="376" y="98"/>
                  </a:lnTo>
                  <a:lnTo>
                    <a:pt x="376" y="90"/>
                  </a:lnTo>
                  <a:lnTo>
                    <a:pt x="371" y="84"/>
                  </a:lnTo>
                  <a:lnTo>
                    <a:pt x="372" y="76"/>
                  </a:lnTo>
                  <a:lnTo>
                    <a:pt x="374" y="69"/>
                  </a:lnTo>
                  <a:lnTo>
                    <a:pt x="369" y="70"/>
                  </a:lnTo>
                  <a:lnTo>
                    <a:pt x="367" y="69"/>
                  </a:lnTo>
                  <a:lnTo>
                    <a:pt x="367" y="64"/>
                  </a:lnTo>
                  <a:lnTo>
                    <a:pt x="369" y="57"/>
                  </a:lnTo>
                  <a:lnTo>
                    <a:pt x="381" y="47"/>
                  </a:lnTo>
                  <a:lnTo>
                    <a:pt x="372" y="47"/>
                  </a:lnTo>
                  <a:lnTo>
                    <a:pt x="358" y="42"/>
                  </a:lnTo>
                  <a:lnTo>
                    <a:pt x="328" y="37"/>
                  </a:lnTo>
                  <a:lnTo>
                    <a:pt x="318" y="31"/>
                  </a:lnTo>
                  <a:lnTo>
                    <a:pt x="313" y="31"/>
                  </a:lnTo>
                  <a:lnTo>
                    <a:pt x="302" y="22"/>
                  </a:lnTo>
                  <a:lnTo>
                    <a:pt x="298" y="15"/>
                  </a:lnTo>
                  <a:lnTo>
                    <a:pt x="296" y="8"/>
                  </a:lnTo>
                  <a:lnTo>
                    <a:pt x="296" y="3"/>
                  </a:lnTo>
                  <a:lnTo>
                    <a:pt x="293" y="0"/>
                  </a:lnTo>
                  <a:lnTo>
                    <a:pt x="287" y="1"/>
                  </a:lnTo>
                  <a:lnTo>
                    <a:pt x="282" y="5"/>
                  </a:lnTo>
                  <a:lnTo>
                    <a:pt x="272" y="8"/>
                  </a:lnTo>
                  <a:lnTo>
                    <a:pt x="254" y="9"/>
                  </a:lnTo>
                  <a:lnTo>
                    <a:pt x="234" y="16"/>
                  </a:lnTo>
                  <a:lnTo>
                    <a:pt x="218" y="21"/>
                  </a:lnTo>
                  <a:lnTo>
                    <a:pt x="215" y="22"/>
                  </a:lnTo>
                  <a:lnTo>
                    <a:pt x="201" y="1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68" name="Freeform 177">
              <a:extLst>
                <a:ext uri="{FF2B5EF4-FFF2-40B4-BE49-F238E27FC236}">
                  <a16:creationId xmlns:a16="http://schemas.microsoft.com/office/drawing/2014/main" id="{F7A2B36C-DEAF-0A7A-F844-ACB6A1E9FD2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937330" y="2536323"/>
              <a:ext cx="17908" cy="32008"/>
            </a:xfrm>
            <a:custGeom>
              <a:avLst/>
              <a:gdLst>
                <a:gd name="T0" fmla="*/ 0 w 38"/>
                <a:gd name="T1" fmla="*/ 0 h 53"/>
                <a:gd name="T2" fmla="*/ 0 w 38"/>
                <a:gd name="T3" fmla="*/ 0 h 53"/>
                <a:gd name="T4" fmla="*/ 0 w 38"/>
                <a:gd name="T5" fmla="*/ 0 h 53"/>
                <a:gd name="T6" fmla="*/ 0 w 38"/>
                <a:gd name="T7" fmla="*/ 0 h 53"/>
                <a:gd name="T8" fmla="*/ 0 w 38"/>
                <a:gd name="T9" fmla="*/ 0 h 53"/>
                <a:gd name="T10" fmla="*/ 0 w 38"/>
                <a:gd name="T11" fmla="*/ 0 h 53"/>
                <a:gd name="T12" fmla="*/ 0 w 38"/>
                <a:gd name="T13" fmla="*/ 0 h 53"/>
                <a:gd name="T14" fmla="*/ 0 w 38"/>
                <a:gd name="T15" fmla="*/ 0 h 53"/>
                <a:gd name="T16" fmla="*/ 0 w 38"/>
                <a:gd name="T17" fmla="*/ 0 h 53"/>
                <a:gd name="T18" fmla="*/ 0 w 38"/>
                <a:gd name="T19" fmla="*/ 0 h 53"/>
                <a:gd name="T20" fmla="*/ 0 w 38"/>
                <a:gd name="T21" fmla="*/ 0 h 53"/>
                <a:gd name="T22" fmla="*/ 0 w 38"/>
                <a:gd name="T23" fmla="*/ 0 h 53"/>
                <a:gd name="T24" fmla="*/ 0 w 38"/>
                <a:gd name="T25" fmla="*/ 0 h 53"/>
                <a:gd name="T26" fmla="*/ 0 w 38"/>
                <a:gd name="T27" fmla="*/ 0 h 53"/>
                <a:gd name="T28" fmla="*/ 0 w 38"/>
                <a:gd name="T29" fmla="*/ 0 h 5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8"/>
                <a:gd name="T46" fmla="*/ 0 h 53"/>
                <a:gd name="T47" fmla="*/ 38 w 38"/>
                <a:gd name="T48" fmla="*/ 53 h 5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8" h="53">
                  <a:moveTo>
                    <a:pt x="21" y="53"/>
                  </a:moveTo>
                  <a:lnTo>
                    <a:pt x="33" y="52"/>
                  </a:lnTo>
                  <a:lnTo>
                    <a:pt x="38" y="45"/>
                  </a:lnTo>
                  <a:lnTo>
                    <a:pt x="37" y="33"/>
                  </a:lnTo>
                  <a:lnTo>
                    <a:pt x="33" y="26"/>
                  </a:lnTo>
                  <a:lnTo>
                    <a:pt x="28" y="18"/>
                  </a:lnTo>
                  <a:lnTo>
                    <a:pt x="28" y="11"/>
                  </a:lnTo>
                  <a:lnTo>
                    <a:pt x="30" y="4"/>
                  </a:lnTo>
                  <a:lnTo>
                    <a:pt x="22" y="0"/>
                  </a:lnTo>
                  <a:lnTo>
                    <a:pt x="16" y="0"/>
                  </a:lnTo>
                  <a:lnTo>
                    <a:pt x="6" y="7"/>
                  </a:lnTo>
                  <a:lnTo>
                    <a:pt x="0" y="20"/>
                  </a:lnTo>
                  <a:lnTo>
                    <a:pt x="3" y="33"/>
                  </a:lnTo>
                  <a:lnTo>
                    <a:pt x="3" y="48"/>
                  </a:lnTo>
                  <a:lnTo>
                    <a:pt x="21" y="5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69" name="Freeform 178">
              <a:extLst>
                <a:ext uri="{FF2B5EF4-FFF2-40B4-BE49-F238E27FC236}">
                  <a16:creationId xmlns:a16="http://schemas.microsoft.com/office/drawing/2014/main" id="{D42B10FE-514C-4476-CE36-CC1A2DABC65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943300" y="2656735"/>
              <a:ext cx="131326" cy="79259"/>
            </a:xfrm>
            <a:custGeom>
              <a:avLst/>
              <a:gdLst>
                <a:gd name="T0" fmla="*/ 0 w 241"/>
                <a:gd name="T1" fmla="*/ 0 h 142"/>
                <a:gd name="T2" fmla="*/ 0 w 241"/>
                <a:gd name="T3" fmla="*/ 0 h 142"/>
                <a:gd name="T4" fmla="*/ 0 w 241"/>
                <a:gd name="T5" fmla="*/ 0 h 142"/>
                <a:gd name="T6" fmla="*/ 0 w 241"/>
                <a:gd name="T7" fmla="*/ 0 h 142"/>
                <a:gd name="T8" fmla="*/ 0 w 241"/>
                <a:gd name="T9" fmla="*/ 0 h 142"/>
                <a:gd name="T10" fmla="*/ 0 w 241"/>
                <a:gd name="T11" fmla="*/ 0 h 142"/>
                <a:gd name="T12" fmla="*/ 0 w 241"/>
                <a:gd name="T13" fmla="*/ 0 h 142"/>
                <a:gd name="T14" fmla="*/ 0 w 241"/>
                <a:gd name="T15" fmla="*/ 0 h 142"/>
                <a:gd name="T16" fmla="*/ 0 w 241"/>
                <a:gd name="T17" fmla="*/ 0 h 142"/>
                <a:gd name="T18" fmla="*/ 0 w 241"/>
                <a:gd name="T19" fmla="*/ 0 h 142"/>
                <a:gd name="T20" fmla="*/ 0 w 241"/>
                <a:gd name="T21" fmla="*/ 0 h 142"/>
                <a:gd name="T22" fmla="*/ 0 w 241"/>
                <a:gd name="T23" fmla="*/ 0 h 142"/>
                <a:gd name="T24" fmla="*/ 0 w 241"/>
                <a:gd name="T25" fmla="*/ 0 h 142"/>
                <a:gd name="T26" fmla="*/ 0 w 241"/>
                <a:gd name="T27" fmla="*/ 0 h 142"/>
                <a:gd name="T28" fmla="*/ 0 w 241"/>
                <a:gd name="T29" fmla="*/ 0 h 142"/>
                <a:gd name="T30" fmla="*/ 0 w 241"/>
                <a:gd name="T31" fmla="*/ 0 h 142"/>
                <a:gd name="T32" fmla="*/ 0 w 241"/>
                <a:gd name="T33" fmla="*/ 0 h 142"/>
                <a:gd name="T34" fmla="*/ 0 w 241"/>
                <a:gd name="T35" fmla="*/ 0 h 142"/>
                <a:gd name="T36" fmla="*/ 0 w 241"/>
                <a:gd name="T37" fmla="*/ 0 h 142"/>
                <a:gd name="T38" fmla="*/ 0 w 241"/>
                <a:gd name="T39" fmla="*/ 0 h 142"/>
                <a:gd name="T40" fmla="*/ 0 w 241"/>
                <a:gd name="T41" fmla="*/ 0 h 142"/>
                <a:gd name="T42" fmla="*/ 0 w 241"/>
                <a:gd name="T43" fmla="*/ 0 h 142"/>
                <a:gd name="T44" fmla="*/ 0 w 241"/>
                <a:gd name="T45" fmla="*/ 0 h 142"/>
                <a:gd name="T46" fmla="*/ 0 w 241"/>
                <a:gd name="T47" fmla="*/ 0 h 142"/>
                <a:gd name="T48" fmla="*/ 0 w 241"/>
                <a:gd name="T49" fmla="*/ 0 h 142"/>
                <a:gd name="T50" fmla="*/ 0 w 241"/>
                <a:gd name="T51" fmla="*/ 0 h 142"/>
                <a:gd name="T52" fmla="*/ 0 w 241"/>
                <a:gd name="T53" fmla="*/ 0 h 142"/>
                <a:gd name="T54" fmla="*/ 0 w 241"/>
                <a:gd name="T55" fmla="*/ 0 h 142"/>
                <a:gd name="T56" fmla="*/ 0 w 241"/>
                <a:gd name="T57" fmla="*/ 0 h 142"/>
                <a:gd name="T58" fmla="*/ 0 w 241"/>
                <a:gd name="T59" fmla="*/ 0 h 142"/>
                <a:gd name="T60" fmla="*/ 0 w 241"/>
                <a:gd name="T61" fmla="*/ 0 h 142"/>
                <a:gd name="T62" fmla="*/ 0 w 241"/>
                <a:gd name="T63" fmla="*/ 0 h 142"/>
                <a:gd name="T64" fmla="*/ 0 w 241"/>
                <a:gd name="T65" fmla="*/ 0 h 14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41"/>
                <a:gd name="T100" fmla="*/ 0 h 142"/>
                <a:gd name="T101" fmla="*/ 241 w 241"/>
                <a:gd name="T102" fmla="*/ 142 h 14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41" h="142">
                  <a:moveTo>
                    <a:pt x="54" y="142"/>
                  </a:moveTo>
                  <a:lnTo>
                    <a:pt x="52" y="131"/>
                  </a:lnTo>
                  <a:lnTo>
                    <a:pt x="45" y="130"/>
                  </a:lnTo>
                  <a:lnTo>
                    <a:pt x="42" y="119"/>
                  </a:lnTo>
                  <a:lnTo>
                    <a:pt x="42" y="101"/>
                  </a:lnTo>
                  <a:lnTo>
                    <a:pt x="38" y="100"/>
                  </a:lnTo>
                  <a:lnTo>
                    <a:pt x="21" y="100"/>
                  </a:lnTo>
                  <a:lnTo>
                    <a:pt x="10" y="117"/>
                  </a:lnTo>
                  <a:lnTo>
                    <a:pt x="4" y="121"/>
                  </a:lnTo>
                  <a:lnTo>
                    <a:pt x="0" y="119"/>
                  </a:lnTo>
                  <a:lnTo>
                    <a:pt x="2" y="97"/>
                  </a:lnTo>
                  <a:lnTo>
                    <a:pt x="5" y="84"/>
                  </a:lnTo>
                  <a:lnTo>
                    <a:pt x="9" y="81"/>
                  </a:lnTo>
                  <a:lnTo>
                    <a:pt x="13" y="74"/>
                  </a:lnTo>
                  <a:lnTo>
                    <a:pt x="20" y="70"/>
                  </a:lnTo>
                  <a:lnTo>
                    <a:pt x="21" y="67"/>
                  </a:lnTo>
                  <a:lnTo>
                    <a:pt x="24" y="57"/>
                  </a:lnTo>
                  <a:lnTo>
                    <a:pt x="30" y="49"/>
                  </a:lnTo>
                  <a:lnTo>
                    <a:pt x="53" y="23"/>
                  </a:lnTo>
                  <a:lnTo>
                    <a:pt x="50" y="18"/>
                  </a:lnTo>
                  <a:lnTo>
                    <a:pt x="53" y="11"/>
                  </a:lnTo>
                  <a:lnTo>
                    <a:pt x="70" y="13"/>
                  </a:lnTo>
                  <a:lnTo>
                    <a:pt x="78" y="9"/>
                  </a:lnTo>
                  <a:lnTo>
                    <a:pt x="85" y="3"/>
                  </a:lnTo>
                  <a:lnTo>
                    <a:pt x="91" y="9"/>
                  </a:lnTo>
                  <a:lnTo>
                    <a:pt x="127" y="6"/>
                  </a:lnTo>
                  <a:lnTo>
                    <a:pt x="153" y="0"/>
                  </a:lnTo>
                  <a:lnTo>
                    <a:pt x="172" y="6"/>
                  </a:lnTo>
                  <a:lnTo>
                    <a:pt x="190" y="13"/>
                  </a:lnTo>
                  <a:lnTo>
                    <a:pt x="197" y="22"/>
                  </a:lnTo>
                  <a:lnTo>
                    <a:pt x="195" y="30"/>
                  </a:lnTo>
                  <a:lnTo>
                    <a:pt x="193" y="40"/>
                  </a:lnTo>
                  <a:lnTo>
                    <a:pt x="201" y="52"/>
                  </a:lnTo>
                  <a:lnTo>
                    <a:pt x="207" y="57"/>
                  </a:lnTo>
                  <a:lnTo>
                    <a:pt x="217" y="62"/>
                  </a:lnTo>
                  <a:lnTo>
                    <a:pt x="226" y="63"/>
                  </a:lnTo>
                  <a:lnTo>
                    <a:pt x="234" y="58"/>
                  </a:lnTo>
                  <a:lnTo>
                    <a:pt x="241" y="63"/>
                  </a:lnTo>
                  <a:lnTo>
                    <a:pt x="239" y="74"/>
                  </a:lnTo>
                  <a:lnTo>
                    <a:pt x="239" y="82"/>
                  </a:lnTo>
                  <a:lnTo>
                    <a:pt x="235" y="84"/>
                  </a:lnTo>
                  <a:lnTo>
                    <a:pt x="224" y="86"/>
                  </a:lnTo>
                  <a:lnTo>
                    <a:pt x="223" y="92"/>
                  </a:lnTo>
                  <a:lnTo>
                    <a:pt x="224" y="99"/>
                  </a:lnTo>
                  <a:lnTo>
                    <a:pt x="226" y="105"/>
                  </a:lnTo>
                  <a:lnTo>
                    <a:pt x="225" y="109"/>
                  </a:lnTo>
                  <a:lnTo>
                    <a:pt x="204" y="105"/>
                  </a:lnTo>
                  <a:lnTo>
                    <a:pt x="193" y="104"/>
                  </a:lnTo>
                  <a:lnTo>
                    <a:pt x="187" y="99"/>
                  </a:lnTo>
                  <a:lnTo>
                    <a:pt x="180" y="95"/>
                  </a:lnTo>
                  <a:lnTo>
                    <a:pt x="177" y="106"/>
                  </a:lnTo>
                  <a:lnTo>
                    <a:pt x="166" y="126"/>
                  </a:lnTo>
                  <a:lnTo>
                    <a:pt x="165" y="135"/>
                  </a:lnTo>
                  <a:lnTo>
                    <a:pt x="163" y="140"/>
                  </a:lnTo>
                  <a:lnTo>
                    <a:pt x="155" y="135"/>
                  </a:lnTo>
                  <a:lnTo>
                    <a:pt x="149" y="127"/>
                  </a:lnTo>
                  <a:lnTo>
                    <a:pt x="138" y="119"/>
                  </a:lnTo>
                  <a:lnTo>
                    <a:pt x="132" y="99"/>
                  </a:lnTo>
                  <a:lnTo>
                    <a:pt x="121" y="105"/>
                  </a:lnTo>
                  <a:lnTo>
                    <a:pt x="115" y="114"/>
                  </a:lnTo>
                  <a:lnTo>
                    <a:pt x="115" y="122"/>
                  </a:lnTo>
                  <a:lnTo>
                    <a:pt x="111" y="127"/>
                  </a:lnTo>
                  <a:lnTo>
                    <a:pt x="100" y="136"/>
                  </a:lnTo>
                  <a:lnTo>
                    <a:pt x="88" y="136"/>
                  </a:lnTo>
                  <a:lnTo>
                    <a:pt x="63" y="142"/>
                  </a:lnTo>
                  <a:lnTo>
                    <a:pt x="54" y="14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70" name="Freeform 179">
              <a:extLst>
                <a:ext uri="{FF2B5EF4-FFF2-40B4-BE49-F238E27FC236}">
                  <a16:creationId xmlns:a16="http://schemas.microsoft.com/office/drawing/2014/main" id="{6F30312A-36F1-2A8C-1985-F9948524974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855251" y="2475353"/>
              <a:ext cx="97003" cy="89929"/>
            </a:xfrm>
            <a:custGeom>
              <a:avLst/>
              <a:gdLst>
                <a:gd name="T0" fmla="*/ 0 w 188"/>
                <a:gd name="T1" fmla="*/ 0 h 161"/>
                <a:gd name="T2" fmla="*/ 0 w 188"/>
                <a:gd name="T3" fmla="*/ 0 h 161"/>
                <a:gd name="T4" fmla="*/ 0 w 188"/>
                <a:gd name="T5" fmla="*/ 0 h 161"/>
                <a:gd name="T6" fmla="*/ 0 w 188"/>
                <a:gd name="T7" fmla="*/ 0 h 161"/>
                <a:gd name="T8" fmla="*/ 0 w 188"/>
                <a:gd name="T9" fmla="*/ 0 h 161"/>
                <a:gd name="T10" fmla="*/ 0 w 188"/>
                <a:gd name="T11" fmla="*/ 0 h 161"/>
                <a:gd name="T12" fmla="*/ 0 w 188"/>
                <a:gd name="T13" fmla="*/ 0 h 161"/>
                <a:gd name="T14" fmla="*/ 0 w 188"/>
                <a:gd name="T15" fmla="*/ 0 h 161"/>
                <a:gd name="T16" fmla="*/ 0 w 188"/>
                <a:gd name="T17" fmla="*/ 0 h 161"/>
                <a:gd name="T18" fmla="*/ 0 w 188"/>
                <a:gd name="T19" fmla="*/ 0 h 161"/>
                <a:gd name="T20" fmla="*/ 0 w 188"/>
                <a:gd name="T21" fmla="*/ 0 h 161"/>
                <a:gd name="T22" fmla="*/ 0 w 188"/>
                <a:gd name="T23" fmla="*/ 0 h 161"/>
                <a:gd name="T24" fmla="*/ 0 w 188"/>
                <a:gd name="T25" fmla="*/ 0 h 161"/>
                <a:gd name="T26" fmla="*/ 0 w 188"/>
                <a:gd name="T27" fmla="*/ 0 h 161"/>
                <a:gd name="T28" fmla="*/ 0 w 188"/>
                <a:gd name="T29" fmla="*/ 0 h 161"/>
                <a:gd name="T30" fmla="*/ 0 w 188"/>
                <a:gd name="T31" fmla="*/ 0 h 161"/>
                <a:gd name="T32" fmla="*/ 0 w 188"/>
                <a:gd name="T33" fmla="*/ 0 h 161"/>
                <a:gd name="T34" fmla="*/ 0 w 188"/>
                <a:gd name="T35" fmla="*/ 0 h 161"/>
                <a:gd name="T36" fmla="*/ 0 w 188"/>
                <a:gd name="T37" fmla="*/ 0 h 161"/>
                <a:gd name="T38" fmla="*/ 0 w 188"/>
                <a:gd name="T39" fmla="*/ 0 h 161"/>
                <a:gd name="T40" fmla="*/ 0 w 188"/>
                <a:gd name="T41" fmla="*/ 0 h 161"/>
                <a:gd name="T42" fmla="*/ 0 w 188"/>
                <a:gd name="T43" fmla="*/ 0 h 161"/>
                <a:gd name="T44" fmla="*/ 0 w 188"/>
                <a:gd name="T45" fmla="*/ 0 h 161"/>
                <a:gd name="T46" fmla="*/ 0 w 188"/>
                <a:gd name="T47" fmla="*/ 0 h 161"/>
                <a:gd name="T48" fmla="*/ 0 w 188"/>
                <a:gd name="T49" fmla="*/ 0 h 161"/>
                <a:gd name="T50" fmla="*/ 0 w 188"/>
                <a:gd name="T51" fmla="*/ 0 h 161"/>
                <a:gd name="T52" fmla="*/ 0 w 188"/>
                <a:gd name="T53" fmla="*/ 0 h 161"/>
                <a:gd name="T54" fmla="*/ 0 w 188"/>
                <a:gd name="T55" fmla="*/ 0 h 161"/>
                <a:gd name="T56" fmla="*/ 0 w 188"/>
                <a:gd name="T57" fmla="*/ 0 h 161"/>
                <a:gd name="T58" fmla="*/ 0 w 188"/>
                <a:gd name="T59" fmla="*/ 0 h 161"/>
                <a:gd name="T60" fmla="*/ 0 w 188"/>
                <a:gd name="T61" fmla="*/ 0 h 161"/>
                <a:gd name="T62" fmla="*/ 0 w 188"/>
                <a:gd name="T63" fmla="*/ 0 h 161"/>
                <a:gd name="T64" fmla="*/ 0 w 188"/>
                <a:gd name="T65" fmla="*/ 0 h 161"/>
                <a:gd name="T66" fmla="*/ 0 w 188"/>
                <a:gd name="T67" fmla="*/ 0 h 161"/>
                <a:gd name="T68" fmla="*/ 0 w 188"/>
                <a:gd name="T69" fmla="*/ 0 h 161"/>
                <a:gd name="T70" fmla="*/ 0 w 188"/>
                <a:gd name="T71" fmla="*/ 0 h 161"/>
                <a:gd name="T72" fmla="*/ 0 w 188"/>
                <a:gd name="T73" fmla="*/ 0 h 161"/>
                <a:gd name="T74" fmla="*/ 0 w 188"/>
                <a:gd name="T75" fmla="*/ 0 h 161"/>
                <a:gd name="T76" fmla="*/ 0 w 188"/>
                <a:gd name="T77" fmla="*/ 0 h 161"/>
                <a:gd name="T78" fmla="*/ 0 w 188"/>
                <a:gd name="T79" fmla="*/ 0 h 161"/>
                <a:gd name="T80" fmla="*/ 0 w 188"/>
                <a:gd name="T81" fmla="*/ 0 h 161"/>
                <a:gd name="T82" fmla="*/ 0 w 188"/>
                <a:gd name="T83" fmla="*/ 0 h 161"/>
                <a:gd name="T84" fmla="*/ 0 w 188"/>
                <a:gd name="T85" fmla="*/ 0 h 161"/>
                <a:gd name="T86" fmla="*/ 0 w 188"/>
                <a:gd name="T87" fmla="*/ 0 h 161"/>
                <a:gd name="T88" fmla="*/ 0 w 188"/>
                <a:gd name="T89" fmla="*/ 0 h 161"/>
                <a:gd name="T90" fmla="*/ 0 w 188"/>
                <a:gd name="T91" fmla="*/ 0 h 161"/>
                <a:gd name="T92" fmla="*/ 0 w 188"/>
                <a:gd name="T93" fmla="*/ 0 h 161"/>
                <a:gd name="T94" fmla="*/ 0 w 188"/>
                <a:gd name="T95" fmla="*/ 0 h 161"/>
                <a:gd name="T96" fmla="*/ 0 w 188"/>
                <a:gd name="T97" fmla="*/ 0 h 161"/>
                <a:gd name="T98" fmla="*/ 0 w 188"/>
                <a:gd name="T99" fmla="*/ 0 h 161"/>
                <a:gd name="T100" fmla="*/ 0 w 188"/>
                <a:gd name="T101" fmla="*/ 0 h 161"/>
                <a:gd name="T102" fmla="*/ 0 w 188"/>
                <a:gd name="T103" fmla="*/ 0 h 161"/>
                <a:gd name="T104" fmla="*/ 0 w 188"/>
                <a:gd name="T105" fmla="*/ 0 h 161"/>
                <a:gd name="T106" fmla="*/ 0 w 188"/>
                <a:gd name="T107" fmla="*/ 0 h 161"/>
                <a:gd name="T108" fmla="*/ 0 w 188"/>
                <a:gd name="T109" fmla="*/ 0 h 16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88"/>
                <a:gd name="T166" fmla="*/ 0 h 161"/>
                <a:gd name="T167" fmla="*/ 188 w 188"/>
                <a:gd name="T168" fmla="*/ 161 h 16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88" h="161">
                  <a:moveTo>
                    <a:pt x="158" y="160"/>
                  </a:moveTo>
                  <a:lnTo>
                    <a:pt x="150" y="161"/>
                  </a:lnTo>
                  <a:lnTo>
                    <a:pt x="140" y="159"/>
                  </a:lnTo>
                  <a:lnTo>
                    <a:pt x="131" y="152"/>
                  </a:lnTo>
                  <a:lnTo>
                    <a:pt x="120" y="146"/>
                  </a:lnTo>
                  <a:lnTo>
                    <a:pt x="123" y="140"/>
                  </a:lnTo>
                  <a:lnTo>
                    <a:pt x="118" y="138"/>
                  </a:lnTo>
                  <a:lnTo>
                    <a:pt x="118" y="114"/>
                  </a:lnTo>
                  <a:lnTo>
                    <a:pt x="112" y="114"/>
                  </a:lnTo>
                  <a:lnTo>
                    <a:pt x="106" y="122"/>
                  </a:lnTo>
                  <a:lnTo>
                    <a:pt x="101" y="129"/>
                  </a:lnTo>
                  <a:lnTo>
                    <a:pt x="91" y="129"/>
                  </a:lnTo>
                  <a:lnTo>
                    <a:pt x="81" y="125"/>
                  </a:lnTo>
                  <a:lnTo>
                    <a:pt x="79" y="110"/>
                  </a:lnTo>
                  <a:lnTo>
                    <a:pt x="76" y="101"/>
                  </a:lnTo>
                  <a:lnTo>
                    <a:pt x="70" y="96"/>
                  </a:lnTo>
                  <a:lnTo>
                    <a:pt x="58" y="92"/>
                  </a:lnTo>
                  <a:lnTo>
                    <a:pt x="44" y="84"/>
                  </a:lnTo>
                  <a:lnTo>
                    <a:pt x="34" y="80"/>
                  </a:lnTo>
                  <a:lnTo>
                    <a:pt x="25" y="62"/>
                  </a:lnTo>
                  <a:lnTo>
                    <a:pt x="13" y="63"/>
                  </a:lnTo>
                  <a:lnTo>
                    <a:pt x="2" y="58"/>
                  </a:lnTo>
                  <a:lnTo>
                    <a:pt x="0" y="48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23" y="15"/>
                  </a:lnTo>
                  <a:lnTo>
                    <a:pt x="33" y="11"/>
                  </a:lnTo>
                  <a:lnTo>
                    <a:pt x="39" y="10"/>
                  </a:lnTo>
                  <a:lnTo>
                    <a:pt x="39" y="11"/>
                  </a:lnTo>
                  <a:lnTo>
                    <a:pt x="56" y="20"/>
                  </a:lnTo>
                  <a:lnTo>
                    <a:pt x="76" y="14"/>
                  </a:lnTo>
                  <a:lnTo>
                    <a:pt x="91" y="4"/>
                  </a:lnTo>
                  <a:lnTo>
                    <a:pt x="103" y="1"/>
                  </a:lnTo>
                  <a:lnTo>
                    <a:pt x="118" y="0"/>
                  </a:lnTo>
                  <a:lnTo>
                    <a:pt x="124" y="6"/>
                  </a:lnTo>
                  <a:lnTo>
                    <a:pt x="127" y="6"/>
                  </a:lnTo>
                  <a:lnTo>
                    <a:pt x="129" y="14"/>
                  </a:lnTo>
                  <a:lnTo>
                    <a:pt x="138" y="17"/>
                  </a:lnTo>
                  <a:lnTo>
                    <a:pt x="146" y="19"/>
                  </a:lnTo>
                  <a:lnTo>
                    <a:pt x="155" y="24"/>
                  </a:lnTo>
                  <a:lnTo>
                    <a:pt x="155" y="35"/>
                  </a:lnTo>
                  <a:lnTo>
                    <a:pt x="154" y="44"/>
                  </a:lnTo>
                  <a:lnTo>
                    <a:pt x="156" y="55"/>
                  </a:lnTo>
                  <a:lnTo>
                    <a:pt x="163" y="62"/>
                  </a:lnTo>
                  <a:lnTo>
                    <a:pt x="176" y="62"/>
                  </a:lnTo>
                  <a:lnTo>
                    <a:pt x="181" y="68"/>
                  </a:lnTo>
                  <a:lnTo>
                    <a:pt x="182" y="79"/>
                  </a:lnTo>
                  <a:lnTo>
                    <a:pt x="188" y="87"/>
                  </a:lnTo>
                  <a:lnTo>
                    <a:pt x="188" y="96"/>
                  </a:lnTo>
                  <a:lnTo>
                    <a:pt x="177" y="112"/>
                  </a:lnTo>
                  <a:lnTo>
                    <a:pt x="171" y="112"/>
                  </a:lnTo>
                  <a:lnTo>
                    <a:pt x="161" y="119"/>
                  </a:lnTo>
                  <a:lnTo>
                    <a:pt x="155" y="132"/>
                  </a:lnTo>
                  <a:lnTo>
                    <a:pt x="158" y="145"/>
                  </a:lnTo>
                  <a:lnTo>
                    <a:pt x="158" y="16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71" name="Freeform 180">
              <a:extLst>
                <a:ext uri="{FF2B5EF4-FFF2-40B4-BE49-F238E27FC236}">
                  <a16:creationId xmlns:a16="http://schemas.microsoft.com/office/drawing/2014/main" id="{C9FCE218-D807-5E29-E2D4-6A92454F315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504551" y="2830496"/>
              <a:ext cx="365623" cy="310940"/>
            </a:xfrm>
            <a:custGeom>
              <a:avLst/>
              <a:gdLst>
                <a:gd name="T0" fmla="*/ 0 w 687"/>
                <a:gd name="T1" fmla="*/ 2147483647 h 545"/>
                <a:gd name="T2" fmla="*/ 0 w 687"/>
                <a:gd name="T3" fmla="*/ 2147483647 h 545"/>
                <a:gd name="T4" fmla="*/ 0 w 687"/>
                <a:gd name="T5" fmla="*/ 2147483647 h 545"/>
                <a:gd name="T6" fmla="*/ 0 w 687"/>
                <a:gd name="T7" fmla="*/ 2147483647 h 545"/>
                <a:gd name="T8" fmla="*/ 0 w 687"/>
                <a:gd name="T9" fmla="*/ 0 h 545"/>
                <a:gd name="T10" fmla="*/ 0 w 687"/>
                <a:gd name="T11" fmla="*/ 0 h 545"/>
                <a:gd name="T12" fmla="*/ 0 w 687"/>
                <a:gd name="T13" fmla="*/ 0 h 545"/>
                <a:gd name="T14" fmla="*/ 0 w 687"/>
                <a:gd name="T15" fmla="*/ 0 h 545"/>
                <a:gd name="T16" fmla="*/ 0 w 687"/>
                <a:gd name="T17" fmla="*/ 0 h 545"/>
                <a:gd name="T18" fmla="*/ 0 w 687"/>
                <a:gd name="T19" fmla="*/ 0 h 545"/>
                <a:gd name="T20" fmla="*/ 0 w 687"/>
                <a:gd name="T21" fmla="*/ 0 h 545"/>
                <a:gd name="T22" fmla="*/ 0 w 687"/>
                <a:gd name="T23" fmla="*/ 0 h 545"/>
                <a:gd name="T24" fmla="*/ 0 w 687"/>
                <a:gd name="T25" fmla="*/ 0 h 545"/>
                <a:gd name="T26" fmla="*/ 0 w 687"/>
                <a:gd name="T27" fmla="*/ 0 h 545"/>
                <a:gd name="T28" fmla="*/ 0 w 687"/>
                <a:gd name="T29" fmla="*/ 0 h 545"/>
                <a:gd name="T30" fmla="*/ 0 w 687"/>
                <a:gd name="T31" fmla="*/ 0 h 545"/>
                <a:gd name="T32" fmla="*/ 0 w 687"/>
                <a:gd name="T33" fmla="*/ 0 h 545"/>
                <a:gd name="T34" fmla="*/ 0 w 687"/>
                <a:gd name="T35" fmla="*/ 0 h 545"/>
                <a:gd name="T36" fmla="*/ 0 w 687"/>
                <a:gd name="T37" fmla="*/ 0 h 545"/>
                <a:gd name="T38" fmla="*/ 0 w 687"/>
                <a:gd name="T39" fmla="*/ 0 h 545"/>
                <a:gd name="T40" fmla="*/ 0 w 687"/>
                <a:gd name="T41" fmla="*/ 0 h 545"/>
                <a:gd name="T42" fmla="*/ 0 w 687"/>
                <a:gd name="T43" fmla="*/ 0 h 545"/>
                <a:gd name="T44" fmla="*/ 0 w 687"/>
                <a:gd name="T45" fmla="*/ 0 h 545"/>
                <a:gd name="T46" fmla="*/ 0 w 687"/>
                <a:gd name="T47" fmla="*/ 0 h 545"/>
                <a:gd name="T48" fmla="*/ 2147483647 w 687"/>
                <a:gd name="T49" fmla="*/ 0 h 545"/>
                <a:gd name="T50" fmla="*/ 2147483647 w 687"/>
                <a:gd name="T51" fmla="*/ 0 h 545"/>
                <a:gd name="T52" fmla="*/ 2147483647 w 687"/>
                <a:gd name="T53" fmla="*/ 0 h 545"/>
                <a:gd name="T54" fmla="*/ 2147483647 w 687"/>
                <a:gd name="T55" fmla="*/ 0 h 545"/>
                <a:gd name="T56" fmla="*/ 2147483647 w 687"/>
                <a:gd name="T57" fmla="*/ 0 h 545"/>
                <a:gd name="T58" fmla="*/ 2147483647 w 687"/>
                <a:gd name="T59" fmla="*/ 0 h 545"/>
                <a:gd name="T60" fmla="*/ 2147483647 w 687"/>
                <a:gd name="T61" fmla="*/ 0 h 545"/>
                <a:gd name="T62" fmla="*/ 2147483647 w 687"/>
                <a:gd name="T63" fmla="*/ 0 h 545"/>
                <a:gd name="T64" fmla="*/ 2147483647 w 687"/>
                <a:gd name="T65" fmla="*/ 0 h 545"/>
                <a:gd name="T66" fmla="*/ 2147483647 w 687"/>
                <a:gd name="T67" fmla="*/ 0 h 545"/>
                <a:gd name="T68" fmla="*/ 2147483647 w 687"/>
                <a:gd name="T69" fmla="*/ 0 h 545"/>
                <a:gd name="T70" fmla="*/ 2147483647 w 687"/>
                <a:gd name="T71" fmla="*/ 0 h 545"/>
                <a:gd name="T72" fmla="*/ 2147483647 w 687"/>
                <a:gd name="T73" fmla="*/ 0 h 545"/>
                <a:gd name="T74" fmla="*/ 2147483647 w 687"/>
                <a:gd name="T75" fmla="*/ 0 h 545"/>
                <a:gd name="T76" fmla="*/ 2147483647 w 687"/>
                <a:gd name="T77" fmla="*/ 0 h 545"/>
                <a:gd name="T78" fmla="*/ 2147483647 w 687"/>
                <a:gd name="T79" fmla="*/ 2147483647 h 545"/>
                <a:gd name="T80" fmla="*/ 2147483647 w 687"/>
                <a:gd name="T81" fmla="*/ 2147483647 h 545"/>
                <a:gd name="T82" fmla="*/ 2147483647 w 687"/>
                <a:gd name="T83" fmla="*/ 2147483647 h 545"/>
                <a:gd name="T84" fmla="*/ 2147483647 w 687"/>
                <a:gd name="T85" fmla="*/ 2147483647 h 545"/>
                <a:gd name="T86" fmla="*/ 2147483647 w 687"/>
                <a:gd name="T87" fmla="*/ 2147483647 h 545"/>
                <a:gd name="T88" fmla="*/ 2147483647 w 687"/>
                <a:gd name="T89" fmla="*/ 2147483647 h 545"/>
                <a:gd name="T90" fmla="*/ 2147483647 w 687"/>
                <a:gd name="T91" fmla="*/ 2147483647 h 545"/>
                <a:gd name="T92" fmla="*/ 2147483647 w 687"/>
                <a:gd name="T93" fmla="*/ 2147483647 h 545"/>
                <a:gd name="T94" fmla="*/ 2147483647 w 687"/>
                <a:gd name="T95" fmla="*/ 2147483647 h 545"/>
                <a:gd name="T96" fmla="*/ 2147483647 w 687"/>
                <a:gd name="T97" fmla="*/ 2147483647 h 545"/>
                <a:gd name="T98" fmla="*/ 0 w 687"/>
                <a:gd name="T99" fmla="*/ 2147483647 h 545"/>
                <a:gd name="T100" fmla="*/ 0 w 687"/>
                <a:gd name="T101" fmla="*/ 2147483647 h 545"/>
                <a:gd name="T102" fmla="*/ 0 w 687"/>
                <a:gd name="T103" fmla="*/ 2147483647 h 545"/>
                <a:gd name="T104" fmla="*/ 0 w 687"/>
                <a:gd name="T105" fmla="*/ 2147483647 h 545"/>
                <a:gd name="T106" fmla="*/ 0 w 687"/>
                <a:gd name="T107" fmla="*/ 2147483647 h 545"/>
                <a:gd name="T108" fmla="*/ 0 w 687"/>
                <a:gd name="T109" fmla="*/ 2147483647 h 545"/>
                <a:gd name="T110" fmla="*/ 0 w 687"/>
                <a:gd name="T111" fmla="*/ 2147483647 h 54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87"/>
                <a:gd name="T169" fmla="*/ 0 h 545"/>
                <a:gd name="T170" fmla="*/ 687 w 687"/>
                <a:gd name="T171" fmla="*/ 545 h 54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87" h="545">
                  <a:moveTo>
                    <a:pt x="105" y="468"/>
                  </a:moveTo>
                  <a:lnTo>
                    <a:pt x="101" y="451"/>
                  </a:lnTo>
                  <a:lnTo>
                    <a:pt x="100" y="440"/>
                  </a:lnTo>
                  <a:lnTo>
                    <a:pt x="107" y="430"/>
                  </a:lnTo>
                  <a:lnTo>
                    <a:pt x="122" y="419"/>
                  </a:lnTo>
                  <a:lnTo>
                    <a:pt x="128" y="410"/>
                  </a:lnTo>
                  <a:lnTo>
                    <a:pt x="126" y="399"/>
                  </a:lnTo>
                  <a:lnTo>
                    <a:pt x="116" y="388"/>
                  </a:lnTo>
                  <a:lnTo>
                    <a:pt x="112" y="376"/>
                  </a:lnTo>
                  <a:lnTo>
                    <a:pt x="113" y="361"/>
                  </a:lnTo>
                  <a:lnTo>
                    <a:pt x="121" y="349"/>
                  </a:lnTo>
                  <a:lnTo>
                    <a:pt x="124" y="340"/>
                  </a:lnTo>
                  <a:lnTo>
                    <a:pt x="122" y="335"/>
                  </a:lnTo>
                  <a:lnTo>
                    <a:pt x="110" y="317"/>
                  </a:lnTo>
                  <a:lnTo>
                    <a:pt x="106" y="301"/>
                  </a:lnTo>
                  <a:lnTo>
                    <a:pt x="114" y="295"/>
                  </a:lnTo>
                  <a:lnTo>
                    <a:pt x="126" y="291"/>
                  </a:lnTo>
                  <a:lnTo>
                    <a:pt x="135" y="280"/>
                  </a:lnTo>
                  <a:lnTo>
                    <a:pt x="137" y="270"/>
                  </a:lnTo>
                  <a:lnTo>
                    <a:pt x="129" y="260"/>
                  </a:lnTo>
                  <a:lnTo>
                    <a:pt x="129" y="253"/>
                  </a:lnTo>
                  <a:lnTo>
                    <a:pt x="135" y="238"/>
                  </a:lnTo>
                  <a:lnTo>
                    <a:pt x="138" y="224"/>
                  </a:lnTo>
                  <a:lnTo>
                    <a:pt x="138" y="210"/>
                  </a:lnTo>
                  <a:lnTo>
                    <a:pt x="139" y="200"/>
                  </a:lnTo>
                  <a:lnTo>
                    <a:pt x="161" y="178"/>
                  </a:lnTo>
                  <a:lnTo>
                    <a:pt x="169" y="165"/>
                  </a:lnTo>
                  <a:lnTo>
                    <a:pt x="169" y="156"/>
                  </a:lnTo>
                  <a:lnTo>
                    <a:pt x="161" y="147"/>
                  </a:lnTo>
                  <a:lnTo>
                    <a:pt x="155" y="138"/>
                  </a:lnTo>
                  <a:lnTo>
                    <a:pt x="140" y="134"/>
                  </a:lnTo>
                  <a:lnTo>
                    <a:pt x="123" y="134"/>
                  </a:lnTo>
                  <a:lnTo>
                    <a:pt x="110" y="140"/>
                  </a:lnTo>
                  <a:lnTo>
                    <a:pt x="86" y="138"/>
                  </a:lnTo>
                  <a:lnTo>
                    <a:pt x="73" y="140"/>
                  </a:lnTo>
                  <a:lnTo>
                    <a:pt x="65" y="135"/>
                  </a:lnTo>
                  <a:lnTo>
                    <a:pt x="64" y="123"/>
                  </a:lnTo>
                  <a:lnTo>
                    <a:pt x="51" y="125"/>
                  </a:lnTo>
                  <a:lnTo>
                    <a:pt x="36" y="131"/>
                  </a:lnTo>
                  <a:lnTo>
                    <a:pt x="27" y="141"/>
                  </a:lnTo>
                  <a:lnTo>
                    <a:pt x="25" y="136"/>
                  </a:lnTo>
                  <a:lnTo>
                    <a:pt x="25" y="128"/>
                  </a:lnTo>
                  <a:lnTo>
                    <a:pt x="28" y="116"/>
                  </a:lnTo>
                  <a:lnTo>
                    <a:pt x="35" y="107"/>
                  </a:lnTo>
                  <a:lnTo>
                    <a:pt x="26" y="108"/>
                  </a:lnTo>
                  <a:lnTo>
                    <a:pt x="30" y="100"/>
                  </a:lnTo>
                  <a:lnTo>
                    <a:pt x="20" y="95"/>
                  </a:lnTo>
                  <a:lnTo>
                    <a:pt x="27" y="82"/>
                  </a:lnTo>
                  <a:lnTo>
                    <a:pt x="22" y="82"/>
                  </a:lnTo>
                  <a:lnTo>
                    <a:pt x="15" y="79"/>
                  </a:lnTo>
                  <a:lnTo>
                    <a:pt x="16" y="70"/>
                  </a:lnTo>
                  <a:lnTo>
                    <a:pt x="0" y="57"/>
                  </a:lnTo>
                  <a:lnTo>
                    <a:pt x="5" y="43"/>
                  </a:lnTo>
                  <a:lnTo>
                    <a:pt x="17" y="34"/>
                  </a:lnTo>
                  <a:lnTo>
                    <a:pt x="28" y="31"/>
                  </a:lnTo>
                  <a:lnTo>
                    <a:pt x="47" y="31"/>
                  </a:lnTo>
                  <a:lnTo>
                    <a:pt x="56" y="22"/>
                  </a:lnTo>
                  <a:lnTo>
                    <a:pt x="54" y="16"/>
                  </a:lnTo>
                  <a:lnTo>
                    <a:pt x="62" y="5"/>
                  </a:lnTo>
                  <a:lnTo>
                    <a:pt x="84" y="0"/>
                  </a:lnTo>
                  <a:lnTo>
                    <a:pt x="95" y="3"/>
                  </a:lnTo>
                  <a:lnTo>
                    <a:pt x="110" y="10"/>
                  </a:lnTo>
                  <a:lnTo>
                    <a:pt x="129" y="14"/>
                  </a:lnTo>
                  <a:lnTo>
                    <a:pt x="170" y="12"/>
                  </a:lnTo>
                  <a:lnTo>
                    <a:pt x="180" y="7"/>
                  </a:lnTo>
                  <a:lnTo>
                    <a:pt x="192" y="9"/>
                  </a:lnTo>
                  <a:lnTo>
                    <a:pt x="212" y="15"/>
                  </a:lnTo>
                  <a:lnTo>
                    <a:pt x="223" y="15"/>
                  </a:lnTo>
                  <a:lnTo>
                    <a:pt x="256" y="22"/>
                  </a:lnTo>
                  <a:lnTo>
                    <a:pt x="273" y="23"/>
                  </a:lnTo>
                  <a:lnTo>
                    <a:pt x="293" y="22"/>
                  </a:lnTo>
                  <a:lnTo>
                    <a:pt x="306" y="18"/>
                  </a:lnTo>
                  <a:lnTo>
                    <a:pt x="317" y="22"/>
                  </a:lnTo>
                  <a:lnTo>
                    <a:pt x="337" y="25"/>
                  </a:lnTo>
                  <a:lnTo>
                    <a:pt x="366" y="23"/>
                  </a:lnTo>
                  <a:lnTo>
                    <a:pt x="381" y="28"/>
                  </a:lnTo>
                  <a:lnTo>
                    <a:pt x="398" y="30"/>
                  </a:lnTo>
                  <a:lnTo>
                    <a:pt x="408" y="27"/>
                  </a:lnTo>
                  <a:lnTo>
                    <a:pt x="409" y="31"/>
                  </a:lnTo>
                  <a:lnTo>
                    <a:pt x="431" y="49"/>
                  </a:lnTo>
                  <a:lnTo>
                    <a:pt x="440" y="54"/>
                  </a:lnTo>
                  <a:lnTo>
                    <a:pt x="451" y="57"/>
                  </a:lnTo>
                  <a:lnTo>
                    <a:pt x="462" y="63"/>
                  </a:lnTo>
                  <a:lnTo>
                    <a:pt x="469" y="69"/>
                  </a:lnTo>
                  <a:lnTo>
                    <a:pt x="515" y="81"/>
                  </a:lnTo>
                  <a:lnTo>
                    <a:pt x="531" y="82"/>
                  </a:lnTo>
                  <a:lnTo>
                    <a:pt x="537" y="81"/>
                  </a:lnTo>
                  <a:lnTo>
                    <a:pt x="547" y="74"/>
                  </a:lnTo>
                  <a:lnTo>
                    <a:pt x="555" y="73"/>
                  </a:lnTo>
                  <a:lnTo>
                    <a:pt x="564" y="75"/>
                  </a:lnTo>
                  <a:lnTo>
                    <a:pt x="579" y="85"/>
                  </a:lnTo>
                  <a:lnTo>
                    <a:pt x="585" y="92"/>
                  </a:lnTo>
                  <a:lnTo>
                    <a:pt x="589" y="97"/>
                  </a:lnTo>
                  <a:lnTo>
                    <a:pt x="595" y="98"/>
                  </a:lnTo>
                  <a:lnTo>
                    <a:pt x="600" y="96"/>
                  </a:lnTo>
                  <a:lnTo>
                    <a:pt x="597" y="92"/>
                  </a:lnTo>
                  <a:lnTo>
                    <a:pt x="608" y="101"/>
                  </a:lnTo>
                  <a:lnTo>
                    <a:pt x="616" y="103"/>
                  </a:lnTo>
                  <a:lnTo>
                    <a:pt x="644" y="101"/>
                  </a:lnTo>
                  <a:lnTo>
                    <a:pt x="657" y="98"/>
                  </a:lnTo>
                  <a:lnTo>
                    <a:pt x="671" y="98"/>
                  </a:lnTo>
                  <a:lnTo>
                    <a:pt x="678" y="100"/>
                  </a:lnTo>
                  <a:lnTo>
                    <a:pt x="686" y="102"/>
                  </a:lnTo>
                  <a:lnTo>
                    <a:pt x="687" y="109"/>
                  </a:lnTo>
                  <a:lnTo>
                    <a:pt x="678" y="114"/>
                  </a:lnTo>
                  <a:lnTo>
                    <a:pt x="680" y="124"/>
                  </a:lnTo>
                  <a:lnTo>
                    <a:pt x="683" y="133"/>
                  </a:lnTo>
                  <a:lnTo>
                    <a:pt x="675" y="144"/>
                  </a:lnTo>
                  <a:lnTo>
                    <a:pt x="637" y="167"/>
                  </a:lnTo>
                  <a:lnTo>
                    <a:pt x="623" y="181"/>
                  </a:lnTo>
                  <a:lnTo>
                    <a:pt x="564" y="203"/>
                  </a:lnTo>
                  <a:lnTo>
                    <a:pt x="552" y="217"/>
                  </a:lnTo>
                  <a:lnTo>
                    <a:pt x="552" y="224"/>
                  </a:lnTo>
                  <a:lnTo>
                    <a:pt x="543" y="232"/>
                  </a:lnTo>
                  <a:lnTo>
                    <a:pt x="531" y="247"/>
                  </a:lnTo>
                  <a:lnTo>
                    <a:pt x="515" y="274"/>
                  </a:lnTo>
                  <a:lnTo>
                    <a:pt x="495" y="300"/>
                  </a:lnTo>
                  <a:lnTo>
                    <a:pt x="492" y="312"/>
                  </a:lnTo>
                  <a:lnTo>
                    <a:pt x="489" y="318"/>
                  </a:lnTo>
                  <a:lnTo>
                    <a:pt x="489" y="321"/>
                  </a:lnTo>
                  <a:lnTo>
                    <a:pt x="492" y="327"/>
                  </a:lnTo>
                  <a:lnTo>
                    <a:pt x="494" y="337"/>
                  </a:lnTo>
                  <a:lnTo>
                    <a:pt x="497" y="343"/>
                  </a:lnTo>
                  <a:lnTo>
                    <a:pt x="501" y="349"/>
                  </a:lnTo>
                  <a:lnTo>
                    <a:pt x="506" y="351"/>
                  </a:lnTo>
                  <a:lnTo>
                    <a:pt x="515" y="354"/>
                  </a:lnTo>
                  <a:lnTo>
                    <a:pt x="519" y="360"/>
                  </a:lnTo>
                  <a:lnTo>
                    <a:pt x="514" y="369"/>
                  </a:lnTo>
                  <a:lnTo>
                    <a:pt x="500" y="378"/>
                  </a:lnTo>
                  <a:lnTo>
                    <a:pt x="492" y="385"/>
                  </a:lnTo>
                  <a:lnTo>
                    <a:pt x="484" y="392"/>
                  </a:lnTo>
                  <a:lnTo>
                    <a:pt x="474" y="409"/>
                  </a:lnTo>
                  <a:lnTo>
                    <a:pt x="472" y="418"/>
                  </a:lnTo>
                  <a:lnTo>
                    <a:pt x="467" y="426"/>
                  </a:lnTo>
                  <a:lnTo>
                    <a:pt x="465" y="435"/>
                  </a:lnTo>
                  <a:lnTo>
                    <a:pt x="467" y="441"/>
                  </a:lnTo>
                  <a:lnTo>
                    <a:pt x="435" y="445"/>
                  </a:lnTo>
                  <a:lnTo>
                    <a:pt x="415" y="463"/>
                  </a:lnTo>
                  <a:lnTo>
                    <a:pt x="408" y="482"/>
                  </a:lnTo>
                  <a:lnTo>
                    <a:pt x="404" y="490"/>
                  </a:lnTo>
                  <a:lnTo>
                    <a:pt x="398" y="496"/>
                  </a:lnTo>
                  <a:lnTo>
                    <a:pt x="391" y="498"/>
                  </a:lnTo>
                  <a:lnTo>
                    <a:pt x="379" y="495"/>
                  </a:lnTo>
                  <a:lnTo>
                    <a:pt x="364" y="501"/>
                  </a:lnTo>
                  <a:lnTo>
                    <a:pt x="350" y="501"/>
                  </a:lnTo>
                  <a:lnTo>
                    <a:pt x="334" y="498"/>
                  </a:lnTo>
                  <a:lnTo>
                    <a:pt x="318" y="500"/>
                  </a:lnTo>
                  <a:lnTo>
                    <a:pt x="306" y="498"/>
                  </a:lnTo>
                  <a:lnTo>
                    <a:pt x="269" y="502"/>
                  </a:lnTo>
                  <a:lnTo>
                    <a:pt x="258" y="515"/>
                  </a:lnTo>
                  <a:lnTo>
                    <a:pt x="246" y="516"/>
                  </a:lnTo>
                  <a:lnTo>
                    <a:pt x="234" y="521"/>
                  </a:lnTo>
                  <a:lnTo>
                    <a:pt x="226" y="529"/>
                  </a:lnTo>
                  <a:lnTo>
                    <a:pt x="223" y="536"/>
                  </a:lnTo>
                  <a:lnTo>
                    <a:pt x="218" y="541"/>
                  </a:lnTo>
                  <a:lnTo>
                    <a:pt x="210" y="545"/>
                  </a:lnTo>
                  <a:lnTo>
                    <a:pt x="193" y="542"/>
                  </a:lnTo>
                  <a:lnTo>
                    <a:pt x="181" y="533"/>
                  </a:lnTo>
                  <a:lnTo>
                    <a:pt x="170" y="517"/>
                  </a:lnTo>
                  <a:lnTo>
                    <a:pt x="169" y="509"/>
                  </a:lnTo>
                  <a:lnTo>
                    <a:pt x="161" y="502"/>
                  </a:lnTo>
                  <a:lnTo>
                    <a:pt x="161" y="491"/>
                  </a:lnTo>
                  <a:lnTo>
                    <a:pt x="160" y="488"/>
                  </a:lnTo>
                  <a:lnTo>
                    <a:pt x="156" y="484"/>
                  </a:lnTo>
                  <a:lnTo>
                    <a:pt x="148" y="477"/>
                  </a:lnTo>
                  <a:lnTo>
                    <a:pt x="133" y="468"/>
                  </a:lnTo>
                  <a:lnTo>
                    <a:pt x="126" y="467"/>
                  </a:lnTo>
                  <a:lnTo>
                    <a:pt x="105" y="46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72" name="Freeform 181">
              <a:extLst>
                <a:ext uri="{FF2B5EF4-FFF2-40B4-BE49-F238E27FC236}">
                  <a16:creationId xmlns:a16="http://schemas.microsoft.com/office/drawing/2014/main" id="{E1ECA462-1B9C-0FC8-7889-B03A0C6FED7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871667" y="2371707"/>
              <a:ext cx="107449" cy="138704"/>
            </a:xfrm>
            <a:custGeom>
              <a:avLst/>
              <a:gdLst>
                <a:gd name="T0" fmla="*/ 0 w 196"/>
                <a:gd name="T1" fmla="*/ 0 h 239"/>
                <a:gd name="T2" fmla="*/ 0 w 196"/>
                <a:gd name="T3" fmla="*/ 0 h 239"/>
                <a:gd name="T4" fmla="*/ 0 w 196"/>
                <a:gd name="T5" fmla="*/ 0 h 239"/>
                <a:gd name="T6" fmla="*/ 0 w 196"/>
                <a:gd name="T7" fmla="*/ 0 h 239"/>
                <a:gd name="T8" fmla="*/ 0 w 196"/>
                <a:gd name="T9" fmla="*/ 0 h 239"/>
                <a:gd name="T10" fmla="*/ 0 w 196"/>
                <a:gd name="T11" fmla="*/ 0 h 239"/>
                <a:gd name="T12" fmla="*/ 0 w 196"/>
                <a:gd name="T13" fmla="*/ 0 h 239"/>
                <a:gd name="T14" fmla="*/ 0 w 196"/>
                <a:gd name="T15" fmla="*/ 0 h 239"/>
                <a:gd name="T16" fmla="*/ 0 w 196"/>
                <a:gd name="T17" fmla="*/ 0 h 239"/>
                <a:gd name="T18" fmla="*/ 0 w 196"/>
                <a:gd name="T19" fmla="*/ 0 h 239"/>
                <a:gd name="T20" fmla="*/ 0 w 196"/>
                <a:gd name="T21" fmla="*/ 0 h 239"/>
                <a:gd name="T22" fmla="*/ 0 w 196"/>
                <a:gd name="T23" fmla="*/ 0 h 239"/>
                <a:gd name="T24" fmla="*/ 0 w 196"/>
                <a:gd name="T25" fmla="*/ 0 h 239"/>
                <a:gd name="T26" fmla="*/ 0 w 196"/>
                <a:gd name="T27" fmla="*/ 0 h 239"/>
                <a:gd name="T28" fmla="*/ 0 w 196"/>
                <a:gd name="T29" fmla="*/ 0 h 239"/>
                <a:gd name="T30" fmla="*/ 0 w 196"/>
                <a:gd name="T31" fmla="*/ 0 h 239"/>
                <a:gd name="T32" fmla="*/ 0 w 196"/>
                <a:gd name="T33" fmla="*/ 0 h 239"/>
                <a:gd name="T34" fmla="*/ 0 w 196"/>
                <a:gd name="T35" fmla="*/ 0 h 239"/>
                <a:gd name="T36" fmla="*/ 0 w 196"/>
                <a:gd name="T37" fmla="*/ 0 h 239"/>
                <a:gd name="T38" fmla="*/ 0 w 196"/>
                <a:gd name="T39" fmla="*/ 0 h 239"/>
                <a:gd name="T40" fmla="*/ 0 w 196"/>
                <a:gd name="T41" fmla="*/ 0 h 239"/>
                <a:gd name="T42" fmla="*/ 0 w 196"/>
                <a:gd name="T43" fmla="*/ 0 h 239"/>
                <a:gd name="T44" fmla="*/ 0 w 196"/>
                <a:gd name="T45" fmla="*/ 0 h 239"/>
                <a:gd name="T46" fmla="*/ 0 w 196"/>
                <a:gd name="T47" fmla="*/ 0 h 239"/>
                <a:gd name="T48" fmla="*/ 0 w 196"/>
                <a:gd name="T49" fmla="*/ 0 h 239"/>
                <a:gd name="T50" fmla="*/ 0 w 196"/>
                <a:gd name="T51" fmla="*/ 0 h 239"/>
                <a:gd name="T52" fmla="*/ 0 w 196"/>
                <a:gd name="T53" fmla="*/ 0 h 239"/>
                <a:gd name="T54" fmla="*/ 0 w 196"/>
                <a:gd name="T55" fmla="*/ 0 h 239"/>
                <a:gd name="T56" fmla="*/ 0 w 196"/>
                <a:gd name="T57" fmla="*/ 0 h 239"/>
                <a:gd name="T58" fmla="*/ 0 w 196"/>
                <a:gd name="T59" fmla="*/ 0 h 239"/>
                <a:gd name="T60" fmla="*/ 0 w 196"/>
                <a:gd name="T61" fmla="*/ 0 h 239"/>
                <a:gd name="T62" fmla="*/ 0 w 196"/>
                <a:gd name="T63" fmla="*/ 0 h 239"/>
                <a:gd name="T64" fmla="*/ 0 w 196"/>
                <a:gd name="T65" fmla="*/ 0 h 239"/>
                <a:gd name="T66" fmla="*/ 0 w 196"/>
                <a:gd name="T67" fmla="*/ 0 h 239"/>
                <a:gd name="T68" fmla="*/ 0 w 196"/>
                <a:gd name="T69" fmla="*/ 0 h 239"/>
                <a:gd name="T70" fmla="*/ 0 w 196"/>
                <a:gd name="T71" fmla="*/ 0 h 239"/>
                <a:gd name="T72" fmla="*/ 0 w 196"/>
                <a:gd name="T73" fmla="*/ 0 h 239"/>
                <a:gd name="T74" fmla="*/ 0 w 196"/>
                <a:gd name="T75" fmla="*/ 0 h 239"/>
                <a:gd name="T76" fmla="*/ 0 w 196"/>
                <a:gd name="T77" fmla="*/ 0 h 239"/>
                <a:gd name="T78" fmla="*/ 0 w 196"/>
                <a:gd name="T79" fmla="*/ 0 h 239"/>
                <a:gd name="T80" fmla="*/ 0 w 196"/>
                <a:gd name="T81" fmla="*/ 0 h 239"/>
                <a:gd name="T82" fmla="*/ 0 w 196"/>
                <a:gd name="T83" fmla="*/ 0 h 239"/>
                <a:gd name="T84" fmla="*/ 0 w 196"/>
                <a:gd name="T85" fmla="*/ 0 h 239"/>
                <a:gd name="T86" fmla="*/ 0 w 196"/>
                <a:gd name="T87" fmla="*/ 0 h 239"/>
                <a:gd name="T88" fmla="*/ 0 w 196"/>
                <a:gd name="T89" fmla="*/ 0 h 239"/>
                <a:gd name="T90" fmla="*/ 0 w 196"/>
                <a:gd name="T91" fmla="*/ 0 h 239"/>
                <a:gd name="T92" fmla="*/ 0 w 196"/>
                <a:gd name="T93" fmla="*/ 0 h 239"/>
                <a:gd name="T94" fmla="*/ 0 w 196"/>
                <a:gd name="T95" fmla="*/ 0 h 239"/>
                <a:gd name="T96" fmla="*/ 0 w 196"/>
                <a:gd name="T97" fmla="*/ 0 h 23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96"/>
                <a:gd name="T148" fmla="*/ 0 h 239"/>
                <a:gd name="T149" fmla="*/ 196 w 196"/>
                <a:gd name="T150" fmla="*/ 239 h 23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96" h="239">
                  <a:moveTo>
                    <a:pt x="137" y="239"/>
                  </a:moveTo>
                  <a:lnTo>
                    <a:pt x="124" y="239"/>
                  </a:lnTo>
                  <a:lnTo>
                    <a:pt x="117" y="232"/>
                  </a:lnTo>
                  <a:lnTo>
                    <a:pt x="116" y="221"/>
                  </a:lnTo>
                  <a:lnTo>
                    <a:pt x="117" y="212"/>
                  </a:lnTo>
                  <a:lnTo>
                    <a:pt x="116" y="201"/>
                  </a:lnTo>
                  <a:lnTo>
                    <a:pt x="107" y="196"/>
                  </a:lnTo>
                  <a:lnTo>
                    <a:pt x="99" y="194"/>
                  </a:lnTo>
                  <a:lnTo>
                    <a:pt x="90" y="189"/>
                  </a:lnTo>
                  <a:lnTo>
                    <a:pt x="88" y="183"/>
                  </a:lnTo>
                  <a:lnTo>
                    <a:pt x="85" y="183"/>
                  </a:lnTo>
                  <a:lnTo>
                    <a:pt x="79" y="177"/>
                  </a:lnTo>
                  <a:lnTo>
                    <a:pt x="64" y="178"/>
                  </a:lnTo>
                  <a:lnTo>
                    <a:pt x="52" y="181"/>
                  </a:lnTo>
                  <a:lnTo>
                    <a:pt x="37" y="191"/>
                  </a:lnTo>
                  <a:lnTo>
                    <a:pt x="17" y="197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3" y="185"/>
                  </a:lnTo>
                  <a:lnTo>
                    <a:pt x="10" y="185"/>
                  </a:lnTo>
                  <a:lnTo>
                    <a:pt x="21" y="191"/>
                  </a:lnTo>
                  <a:lnTo>
                    <a:pt x="30" y="186"/>
                  </a:lnTo>
                  <a:lnTo>
                    <a:pt x="38" y="186"/>
                  </a:lnTo>
                  <a:lnTo>
                    <a:pt x="42" y="182"/>
                  </a:lnTo>
                  <a:lnTo>
                    <a:pt x="35" y="181"/>
                  </a:lnTo>
                  <a:lnTo>
                    <a:pt x="25" y="182"/>
                  </a:lnTo>
                  <a:lnTo>
                    <a:pt x="20" y="181"/>
                  </a:lnTo>
                  <a:lnTo>
                    <a:pt x="24" y="172"/>
                  </a:lnTo>
                  <a:lnTo>
                    <a:pt x="43" y="169"/>
                  </a:lnTo>
                  <a:lnTo>
                    <a:pt x="54" y="162"/>
                  </a:lnTo>
                  <a:lnTo>
                    <a:pt x="72" y="159"/>
                  </a:lnTo>
                  <a:lnTo>
                    <a:pt x="78" y="155"/>
                  </a:lnTo>
                  <a:lnTo>
                    <a:pt x="73" y="151"/>
                  </a:lnTo>
                  <a:lnTo>
                    <a:pt x="62" y="156"/>
                  </a:lnTo>
                  <a:lnTo>
                    <a:pt x="52" y="155"/>
                  </a:lnTo>
                  <a:lnTo>
                    <a:pt x="45" y="153"/>
                  </a:lnTo>
                  <a:lnTo>
                    <a:pt x="38" y="146"/>
                  </a:lnTo>
                  <a:lnTo>
                    <a:pt x="38" y="138"/>
                  </a:lnTo>
                  <a:lnTo>
                    <a:pt x="40" y="133"/>
                  </a:lnTo>
                  <a:lnTo>
                    <a:pt x="62" y="106"/>
                  </a:lnTo>
                  <a:lnTo>
                    <a:pt x="68" y="69"/>
                  </a:lnTo>
                  <a:lnTo>
                    <a:pt x="74" y="52"/>
                  </a:lnTo>
                  <a:lnTo>
                    <a:pt x="84" y="48"/>
                  </a:lnTo>
                  <a:lnTo>
                    <a:pt x="88" y="57"/>
                  </a:lnTo>
                  <a:lnTo>
                    <a:pt x="94" y="62"/>
                  </a:lnTo>
                  <a:lnTo>
                    <a:pt x="94" y="65"/>
                  </a:lnTo>
                  <a:lnTo>
                    <a:pt x="94" y="67"/>
                  </a:lnTo>
                  <a:lnTo>
                    <a:pt x="85" y="69"/>
                  </a:lnTo>
                  <a:lnTo>
                    <a:pt x="84" y="73"/>
                  </a:lnTo>
                  <a:lnTo>
                    <a:pt x="83" y="79"/>
                  </a:lnTo>
                  <a:lnTo>
                    <a:pt x="84" y="90"/>
                  </a:lnTo>
                  <a:lnTo>
                    <a:pt x="84" y="94"/>
                  </a:lnTo>
                  <a:lnTo>
                    <a:pt x="89" y="100"/>
                  </a:lnTo>
                  <a:lnTo>
                    <a:pt x="100" y="103"/>
                  </a:lnTo>
                  <a:lnTo>
                    <a:pt x="105" y="103"/>
                  </a:lnTo>
                  <a:lnTo>
                    <a:pt x="106" y="101"/>
                  </a:lnTo>
                  <a:lnTo>
                    <a:pt x="105" y="94"/>
                  </a:lnTo>
                  <a:lnTo>
                    <a:pt x="101" y="88"/>
                  </a:lnTo>
                  <a:lnTo>
                    <a:pt x="100" y="83"/>
                  </a:lnTo>
                  <a:lnTo>
                    <a:pt x="103" y="81"/>
                  </a:lnTo>
                  <a:lnTo>
                    <a:pt x="110" y="76"/>
                  </a:lnTo>
                  <a:lnTo>
                    <a:pt x="111" y="65"/>
                  </a:lnTo>
                  <a:lnTo>
                    <a:pt x="116" y="53"/>
                  </a:lnTo>
                  <a:lnTo>
                    <a:pt x="112" y="51"/>
                  </a:lnTo>
                  <a:lnTo>
                    <a:pt x="106" y="51"/>
                  </a:lnTo>
                  <a:lnTo>
                    <a:pt x="105" y="48"/>
                  </a:lnTo>
                  <a:lnTo>
                    <a:pt x="102" y="31"/>
                  </a:lnTo>
                  <a:lnTo>
                    <a:pt x="103" y="26"/>
                  </a:lnTo>
                  <a:lnTo>
                    <a:pt x="108" y="19"/>
                  </a:lnTo>
                  <a:lnTo>
                    <a:pt x="117" y="11"/>
                  </a:lnTo>
                  <a:lnTo>
                    <a:pt x="128" y="6"/>
                  </a:lnTo>
                  <a:lnTo>
                    <a:pt x="138" y="4"/>
                  </a:lnTo>
                  <a:lnTo>
                    <a:pt x="151" y="6"/>
                  </a:lnTo>
                  <a:lnTo>
                    <a:pt x="161" y="2"/>
                  </a:lnTo>
                  <a:lnTo>
                    <a:pt x="173" y="0"/>
                  </a:lnTo>
                  <a:lnTo>
                    <a:pt x="182" y="3"/>
                  </a:lnTo>
                  <a:lnTo>
                    <a:pt x="191" y="10"/>
                  </a:lnTo>
                  <a:lnTo>
                    <a:pt x="196" y="16"/>
                  </a:lnTo>
                  <a:lnTo>
                    <a:pt x="186" y="62"/>
                  </a:lnTo>
                  <a:lnTo>
                    <a:pt x="170" y="73"/>
                  </a:lnTo>
                  <a:lnTo>
                    <a:pt x="172" y="81"/>
                  </a:lnTo>
                  <a:lnTo>
                    <a:pt x="191" y="90"/>
                  </a:lnTo>
                  <a:lnTo>
                    <a:pt x="189" y="101"/>
                  </a:lnTo>
                  <a:lnTo>
                    <a:pt x="182" y="111"/>
                  </a:lnTo>
                  <a:lnTo>
                    <a:pt x="172" y="118"/>
                  </a:lnTo>
                  <a:lnTo>
                    <a:pt x="171" y="129"/>
                  </a:lnTo>
                  <a:lnTo>
                    <a:pt x="166" y="140"/>
                  </a:lnTo>
                  <a:lnTo>
                    <a:pt x="158" y="142"/>
                  </a:lnTo>
                  <a:lnTo>
                    <a:pt x="145" y="137"/>
                  </a:lnTo>
                  <a:lnTo>
                    <a:pt x="135" y="137"/>
                  </a:lnTo>
                  <a:lnTo>
                    <a:pt x="134" y="145"/>
                  </a:lnTo>
                  <a:lnTo>
                    <a:pt x="138" y="160"/>
                  </a:lnTo>
                  <a:lnTo>
                    <a:pt x="139" y="170"/>
                  </a:lnTo>
                  <a:lnTo>
                    <a:pt x="138" y="182"/>
                  </a:lnTo>
                  <a:lnTo>
                    <a:pt x="138" y="201"/>
                  </a:lnTo>
                  <a:lnTo>
                    <a:pt x="132" y="208"/>
                  </a:lnTo>
                  <a:lnTo>
                    <a:pt x="132" y="215"/>
                  </a:lnTo>
                  <a:lnTo>
                    <a:pt x="137" y="232"/>
                  </a:lnTo>
                  <a:lnTo>
                    <a:pt x="137" y="23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73" name="Freeform 182">
              <a:extLst>
                <a:ext uri="{FF2B5EF4-FFF2-40B4-BE49-F238E27FC236}">
                  <a16:creationId xmlns:a16="http://schemas.microsoft.com/office/drawing/2014/main" id="{666F2035-90BF-0D92-2D38-0DDFD5F0A24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500074" y="2900610"/>
              <a:ext cx="92525" cy="202722"/>
            </a:xfrm>
            <a:custGeom>
              <a:avLst/>
              <a:gdLst>
                <a:gd name="T0" fmla="*/ 0 w 177"/>
                <a:gd name="T1" fmla="*/ 2147483647 h 356"/>
                <a:gd name="T2" fmla="*/ 0 w 177"/>
                <a:gd name="T3" fmla="*/ 0 h 356"/>
                <a:gd name="T4" fmla="*/ 0 w 177"/>
                <a:gd name="T5" fmla="*/ 0 h 356"/>
                <a:gd name="T6" fmla="*/ 0 w 177"/>
                <a:gd name="T7" fmla="*/ 0 h 356"/>
                <a:gd name="T8" fmla="*/ 0 w 177"/>
                <a:gd name="T9" fmla="*/ 0 h 356"/>
                <a:gd name="T10" fmla="*/ 0 w 177"/>
                <a:gd name="T11" fmla="*/ 0 h 356"/>
                <a:gd name="T12" fmla="*/ 0 w 177"/>
                <a:gd name="T13" fmla="*/ 0 h 356"/>
                <a:gd name="T14" fmla="*/ 0 w 177"/>
                <a:gd name="T15" fmla="*/ 0 h 356"/>
                <a:gd name="T16" fmla="*/ 0 w 177"/>
                <a:gd name="T17" fmla="*/ 0 h 356"/>
                <a:gd name="T18" fmla="*/ 0 w 177"/>
                <a:gd name="T19" fmla="*/ 0 h 356"/>
                <a:gd name="T20" fmla="*/ 0 w 177"/>
                <a:gd name="T21" fmla="*/ 0 h 356"/>
                <a:gd name="T22" fmla="*/ 0 w 177"/>
                <a:gd name="T23" fmla="*/ 0 h 356"/>
                <a:gd name="T24" fmla="*/ 0 w 177"/>
                <a:gd name="T25" fmla="*/ 0 h 356"/>
                <a:gd name="T26" fmla="*/ 0 w 177"/>
                <a:gd name="T27" fmla="*/ 0 h 356"/>
                <a:gd name="T28" fmla="*/ 0 w 177"/>
                <a:gd name="T29" fmla="*/ 0 h 356"/>
                <a:gd name="T30" fmla="*/ 0 w 177"/>
                <a:gd name="T31" fmla="*/ 0 h 356"/>
                <a:gd name="T32" fmla="*/ 0 w 177"/>
                <a:gd name="T33" fmla="*/ 0 h 356"/>
                <a:gd name="T34" fmla="*/ 0 w 177"/>
                <a:gd name="T35" fmla="*/ 0 h 356"/>
                <a:gd name="T36" fmla="*/ 0 w 177"/>
                <a:gd name="T37" fmla="*/ 0 h 356"/>
                <a:gd name="T38" fmla="*/ 0 w 177"/>
                <a:gd name="T39" fmla="*/ 0 h 356"/>
                <a:gd name="T40" fmla="*/ 0 w 177"/>
                <a:gd name="T41" fmla="*/ 0 h 356"/>
                <a:gd name="T42" fmla="*/ 0 w 177"/>
                <a:gd name="T43" fmla="*/ 0 h 356"/>
                <a:gd name="T44" fmla="*/ 0 w 177"/>
                <a:gd name="T45" fmla="*/ 0 h 356"/>
                <a:gd name="T46" fmla="*/ 0 w 177"/>
                <a:gd name="T47" fmla="*/ 0 h 356"/>
                <a:gd name="T48" fmla="*/ 0 w 177"/>
                <a:gd name="T49" fmla="*/ 0 h 356"/>
                <a:gd name="T50" fmla="*/ 0 w 177"/>
                <a:gd name="T51" fmla="*/ 0 h 356"/>
                <a:gd name="T52" fmla="*/ 0 w 177"/>
                <a:gd name="T53" fmla="*/ 0 h 356"/>
                <a:gd name="T54" fmla="*/ 0 w 177"/>
                <a:gd name="T55" fmla="*/ 0 h 356"/>
                <a:gd name="T56" fmla="*/ 0 w 177"/>
                <a:gd name="T57" fmla="*/ 0 h 356"/>
                <a:gd name="T58" fmla="*/ 0 w 177"/>
                <a:gd name="T59" fmla="*/ 0 h 356"/>
                <a:gd name="T60" fmla="*/ 0 w 177"/>
                <a:gd name="T61" fmla="*/ 0 h 356"/>
                <a:gd name="T62" fmla="*/ 0 w 177"/>
                <a:gd name="T63" fmla="*/ 2147483647 h 356"/>
                <a:gd name="T64" fmla="*/ 0 w 177"/>
                <a:gd name="T65" fmla="*/ 2147483647 h 356"/>
                <a:gd name="T66" fmla="*/ 0 w 177"/>
                <a:gd name="T67" fmla="*/ 2147483647 h 356"/>
                <a:gd name="T68" fmla="*/ 0 w 177"/>
                <a:gd name="T69" fmla="*/ 2147483647 h 356"/>
                <a:gd name="T70" fmla="*/ 0 w 177"/>
                <a:gd name="T71" fmla="*/ 2147483647 h 356"/>
                <a:gd name="T72" fmla="*/ 0 w 177"/>
                <a:gd name="T73" fmla="*/ 2147483647 h 356"/>
                <a:gd name="T74" fmla="*/ 0 w 177"/>
                <a:gd name="T75" fmla="*/ 2147483647 h 35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77"/>
                <a:gd name="T115" fmla="*/ 0 h 356"/>
                <a:gd name="T116" fmla="*/ 177 w 177"/>
                <a:gd name="T117" fmla="*/ 356 h 35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77" h="356">
                  <a:moveTo>
                    <a:pt x="113" y="345"/>
                  </a:moveTo>
                  <a:lnTo>
                    <a:pt x="109" y="328"/>
                  </a:lnTo>
                  <a:lnTo>
                    <a:pt x="108" y="317"/>
                  </a:lnTo>
                  <a:lnTo>
                    <a:pt x="115" y="307"/>
                  </a:lnTo>
                  <a:lnTo>
                    <a:pt x="130" y="296"/>
                  </a:lnTo>
                  <a:lnTo>
                    <a:pt x="136" y="287"/>
                  </a:lnTo>
                  <a:lnTo>
                    <a:pt x="134" y="275"/>
                  </a:lnTo>
                  <a:lnTo>
                    <a:pt x="124" y="265"/>
                  </a:lnTo>
                  <a:lnTo>
                    <a:pt x="120" y="253"/>
                  </a:lnTo>
                  <a:lnTo>
                    <a:pt x="121" y="238"/>
                  </a:lnTo>
                  <a:lnTo>
                    <a:pt x="129" y="226"/>
                  </a:lnTo>
                  <a:lnTo>
                    <a:pt x="132" y="217"/>
                  </a:lnTo>
                  <a:lnTo>
                    <a:pt x="130" y="212"/>
                  </a:lnTo>
                  <a:lnTo>
                    <a:pt x="118" y="194"/>
                  </a:lnTo>
                  <a:lnTo>
                    <a:pt x="114" y="178"/>
                  </a:lnTo>
                  <a:lnTo>
                    <a:pt x="122" y="172"/>
                  </a:lnTo>
                  <a:lnTo>
                    <a:pt x="134" y="168"/>
                  </a:lnTo>
                  <a:lnTo>
                    <a:pt x="143" y="157"/>
                  </a:lnTo>
                  <a:lnTo>
                    <a:pt x="145" y="147"/>
                  </a:lnTo>
                  <a:lnTo>
                    <a:pt x="137" y="137"/>
                  </a:lnTo>
                  <a:lnTo>
                    <a:pt x="137" y="130"/>
                  </a:lnTo>
                  <a:lnTo>
                    <a:pt x="143" y="115"/>
                  </a:lnTo>
                  <a:lnTo>
                    <a:pt x="146" y="101"/>
                  </a:lnTo>
                  <a:lnTo>
                    <a:pt x="146" y="87"/>
                  </a:lnTo>
                  <a:lnTo>
                    <a:pt x="147" y="77"/>
                  </a:lnTo>
                  <a:lnTo>
                    <a:pt x="169" y="55"/>
                  </a:lnTo>
                  <a:lnTo>
                    <a:pt x="177" y="42"/>
                  </a:lnTo>
                  <a:lnTo>
                    <a:pt x="177" y="33"/>
                  </a:lnTo>
                  <a:lnTo>
                    <a:pt x="169" y="24"/>
                  </a:lnTo>
                  <a:lnTo>
                    <a:pt x="163" y="15"/>
                  </a:lnTo>
                  <a:lnTo>
                    <a:pt x="148" y="11"/>
                  </a:lnTo>
                  <a:lnTo>
                    <a:pt x="131" y="11"/>
                  </a:lnTo>
                  <a:lnTo>
                    <a:pt x="118" y="17"/>
                  </a:lnTo>
                  <a:lnTo>
                    <a:pt x="94" y="15"/>
                  </a:lnTo>
                  <a:lnTo>
                    <a:pt x="81" y="17"/>
                  </a:lnTo>
                  <a:lnTo>
                    <a:pt x="73" y="12"/>
                  </a:lnTo>
                  <a:lnTo>
                    <a:pt x="72" y="0"/>
                  </a:lnTo>
                  <a:lnTo>
                    <a:pt x="59" y="2"/>
                  </a:lnTo>
                  <a:lnTo>
                    <a:pt x="44" y="8"/>
                  </a:lnTo>
                  <a:lnTo>
                    <a:pt x="35" y="18"/>
                  </a:lnTo>
                  <a:lnTo>
                    <a:pt x="44" y="63"/>
                  </a:lnTo>
                  <a:lnTo>
                    <a:pt x="45" y="74"/>
                  </a:lnTo>
                  <a:lnTo>
                    <a:pt x="41" y="81"/>
                  </a:lnTo>
                  <a:lnTo>
                    <a:pt x="38" y="104"/>
                  </a:lnTo>
                  <a:lnTo>
                    <a:pt x="35" y="113"/>
                  </a:lnTo>
                  <a:lnTo>
                    <a:pt x="32" y="129"/>
                  </a:lnTo>
                  <a:lnTo>
                    <a:pt x="30" y="144"/>
                  </a:lnTo>
                  <a:lnTo>
                    <a:pt x="28" y="155"/>
                  </a:lnTo>
                  <a:lnTo>
                    <a:pt x="22" y="173"/>
                  </a:lnTo>
                  <a:lnTo>
                    <a:pt x="16" y="184"/>
                  </a:lnTo>
                  <a:lnTo>
                    <a:pt x="3" y="203"/>
                  </a:lnTo>
                  <a:lnTo>
                    <a:pt x="3" y="220"/>
                  </a:lnTo>
                  <a:lnTo>
                    <a:pt x="0" y="235"/>
                  </a:lnTo>
                  <a:lnTo>
                    <a:pt x="1" y="238"/>
                  </a:lnTo>
                  <a:lnTo>
                    <a:pt x="8" y="243"/>
                  </a:lnTo>
                  <a:lnTo>
                    <a:pt x="18" y="259"/>
                  </a:lnTo>
                  <a:lnTo>
                    <a:pt x="25" y="255"/>
                  </a:lnTo>
                  <a:lnTo>
                    <a:pt x="40" y="253"/>
                  </a:lnTo>
                  <a:lnTo>
                    <a:pt x="39" y="258"/>
                  </a:lnTo>
                  <a:lnTo>
                    <a:pt x="36" y="262"/>
                  </a:lnTo>
                  <a:lnTo>
                    <a:pt x="38" y="277"/>
                  </a:lnTo>
                  <a:lnTo>
                    <a:pt x="35" y="290"/>
                  </a:lnTo>
                  <a:lnTo>
                    <a:pt x="36" y="296"/>
                  </a:lnTo>
                  <a:lnTo>
                    <a:pt x="36" y="319"/>
                  </a:lnTo>
                  <a:lnTo>
                    <a:pt x="35" y="328"/>
                  </a:lnTo>
                  <a:lnTo>
                    <a:pt x="29" y="340"/>
                  </a:lnTo>
                  <a:lnTo>
                    <a:pt x="29" y="351"/>
                  </a:lnTo>
                  <a:lnTo>
                    <a:pt x="32" y="355"/>
                  </a:lnTo>
                  <a:lnTo>
                    <a:pt x="43" y="352"/>
                  </a:lnTo>
                  <a:lnTo>
                    <a:pt x="55" y="352"/>
                  </a:lnTo>
                  <a:lnTo>
                    <a:pt x="67" y="352"/>
                  </a:lnTo>
                  <a:lnTo>
                    <a:pt x="76" y="356"/>
                  </a:lnTo>
                  <a:lnTo>
                    <a:pt x="87" y="356"/>
                  </a:lnTo>
                  <a:lnTo>
                    <a:pt x="97" y="352"/>
                  </a:lnTo>
                  <a:lnTo>
                    <a:pt x="104" y="348"/>
                  </a:lnTo>
                  <a:lnTo>
                    <a:pt x="113" y="34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74" name="Freeform 183">
              <a:extLst>
                <a:ext uri="{FF2B5EF4-FFF2-40B4-BE49-F238E27FC236}">
                  <a16:creationId xmlns:a16="http://schemas.microsoft.com/office/drawing/2014/main" id="{779A867D-3D0A-BAF8-26D7-39DC68C8AD1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943300" y="2295496"/>
              <a:ext cx="262652" cy="373432"/>
            </a:xfrm>
            <a:custGeom>
              <a:avLst/>
              <a:gdLst>
                <a:gd name="T0" fmla="*/ 0 w 490"/>
                <a:gd name="T1" fmla="*/ 0 h 659"/>
                <a:gd name="T2" fmla="*/ 0 w 490"/>
                <a:gd name="T3" fmla="*/ 0 h 659"/>
                <a:gd name="T4" fmla="*/ 0 w 490"/>
                <a:gd name="T5" fmla="*/ 0 h 659"/>
                <a:gd name="T6" fmla="*/ 0 w 490"/>
                <a:gd name="T7" fmla="*/ 0 h 659"/>
                <a:gd name="T8" fmla="*/ 0 w 490"/>
                <a:gd name="T9" fmla="*/ 0 h 659"/>
                <a:gd name="T10" fmla="*/ 0 w 490"/>
                <a:gd name="T11" fmla="*/ 0 h 659"/>
                <a:gd name="T12" fmla="*/ 0 w 490"/>
                <a:gd name="T13" fmla="*/ 0 h 659"/>
                <a:gd name="T14" fmla="*/ 0 w 490"/>
                <a:gd name="T15" fmla="*/ 0 h 659"/>
                <a:gd name="T16" fmla="*/ 0 w 490"/>
                <a:gd name="T17" fmla="*/ 0 h 659"/>
                <a:gd name="T18" fmla="*/ 0 w 490"/>
                <a:gd name="T19" fmla="*/ 0 h 659"/>
                <a:gd name="T20" fmla="*/ 0 w 490"/>
                <a:gd name="T21" fmla="*/ 0 h 659"/>
                <a:gd name="T22" fmla="*/ 0 w 490"/>
                <a:gd name="T23" fmla="*/ 0 h 659"/>
                <a:gd name="T24" fmla="*/ 0 w 490"/>
                <a:gd name="T25" fmla="*/ 0 h 659"/>
                <a:gd name="T26" fmla="*/ 0 w 490"/>
                <a:gd name="T27" fmla="*/ 0 h 659"/>
                <a:gd name="T28" fmla="*/ 0 w 490"/>
                <a:gd name="T29" fmla="*/ 0 h 659"/>
                <a:gd name="T30" fmla="*/ 0 w 490"/>
                <a:gd name="T31" fmla="*/ 0 h 659"/>
                <a:gd name="T32" fmla="*/ 0 w 490"/>
                <a:gd name="T33" fmla="*/ 0 h 659"/>
                <a:gd name="T34" fmla="*/ 0 w 490"/>
                <a:gd name="T35" fmla="*/ 0 h 659"/>
                <a:gd name="T36" fmla="*/ 0 w 490"/>
                <a:gd name="T37" fmla="*/ 0 h 659"/>
                <a:gd name="T38" fmla="*/ 0 w 490"/>
                <a:gd name="T39" fmla="*/ 0 h 659"/>
                <a:gd name="T40" fmla="*/ 0 w 490"/>
                <a:gd name="T41" fmla="*/ 2147483647 h 659"/>
                <a:gd name="T42" fmla="*/ 0 w 490"/>
                <a:gd name="T43" fmla="*/ 2147483647 h 659"/>
                <a:gd name="T44" fmla="*/ 0 w 490"/>
                <a:gd name="T45" fmla="*/ 2147483647 h 659"/>
                <a:gd name="T46" fmla="*/ 0 w 490"/>
                <a:gd name="T47" fmla="*/ 2147483647 h 659"/>
                <a:gd name="T48" fmla="*/ 0 w 490"/>
                <a:gd name="T49" fmla="*/ 2147483647 h 659"/>
                <a:gd name="T50" fmla="*/ 0 w 490"/>
                <a:gd name="T51" fmla="*/ 2147483647 h 659"/>
                <a:gd name="T52" fmla="*/ 0 w 490"/>
                <a:gd name="T53" fmla="*/ 2147483647 h 659"/>
                <a:gd name="T54" fmla="*/ 0 w 490"/>
                <a:gd name="T55" fmla="*/ 2147483647 h 659"/>
                <a:gd name="T56" fmla="*/ 0 w 490"/>
                <a:gd name="T57" fmla="*/ 2147483647 h 659"/>
                <a:gd name="T58" fmla="*/ 0 w 490"/>
                <a:gd name="T59" fmla="*/ 2147483647 h 659"/>
                <a:gd name="T60" fmla="*/ 0 w 490"/>
                <a:gd name="T61" fmla="*/ 2147483647 h 659"/>
                <a:gd name="T62" fmla="*/ 0 w 490"/>
                <a:gd name="T63" fmla="*/ 2147483647 h 659"/>
                <a:gd name="T64" fmla="*/ 2147483647 w 490"/>
                <a:gd name="T65" fmla="*/ 2147483647 h 659"/>
                <a:gd name="T66" fmla="*/ 2147483647 w 490"/>
                <a:gd name="T67" fmla="*/ 2147483647 h 659"/>
                <a:gd name="T68" fmla="*/ 2147483647 w 490"/>
                <a:gd name="T69" fmla="*/ 2147483647 h 659"/>
                <a:gd name="T70" fmla="*/ 2147483647 w 490"/>
                <a:gd name="T71" fmla="*/ 2147483647 h 659"/>
                <a:gd name="T72" fmla="*/ 2147483647 w 490"/>
                <a:gd name="T73" fmla="*/ 2147483647 h 659"/>
                <a:gd name="T74" fmla="*/ 2147483647 w 490"/>
                <a:gd name="T75" fmla="*/ 2147483647 h 659"/>
                <a:gd name="T76" fmla="*/ 2147483647 w 490"/>
                <a:gd name="T77" fmla="*/ 2147483647 h 659"/>
                <a:gd name="T78" fmla="*/ 2147483647 w 490"/>
                <a:gd name="T79" fmla="*/ 2147483647 h 659"/>
                <a:gd name="T80" fmla="*/ 2147483647 w 490"/>
                <a:gd name="T81" fmla="*/ 2147483647 h 659"/>
                <a:gd name="T82" fmla="*/ 2147483647 w 490"/>
                <a:gd name="T83" fmla="*/ 2147483647 h 659"/>
                <a:gd name="T84" fmla="*/ 2147483647 w 490"/>
                <a:gd name="T85" fmla="*/ 2147483647 h 659"/>
                <a:gd name="T86" fmla="*/ 2147483647 w 490"/>
                <a:gd name="T87" fmla="*/ 0 h 659"/>
                <a:gd name="T88" fmla="*/ 2147483647 w 490"/>
                <a:gd name="T89" fmla="*/ 0 h 659"/>
                <a:gd name="T90" fmla="*/ 2147483647 w 490"/>
                <a:gd name="T91" fmla="*/ 0 h 659"/>
                <a:gd name="T92" fmla="*/ 2147483647 w 490"/>
                <a:gd name="T93" fmla="*/ 0 h 659"/>
                <a:gd name="T94" fmla="*/ 2147483647 w 490"/>
                <a:gd name="T95" fmla="*/ 0 h 659"/>
                <a:gd name="T96" fmla="*/ 2147483647 w 490"/>
                <a:gd name="T97" fmla="*/ 0 h 659"/>
                <a:gd name="T98" fmla="*/ 2147483647 w 490"/>
                <a:gd name="T99" fmla="*/ 0 h 659"/>
                <a:gd name="T100" fmla="*/ 2147483647 w 490"/>
                <a:gd name="T101" fmla="*/ 0 h 659"/>
                <a:gd name="T102" fmla="*/ 2147483647 w 490"/>
                <a:gd name="T103" fmla="*/ 0 h 659"/>
                <a:gd name="T104" fmla="*/ 0 w 490"/>
                <a:gd name="T105" fmla="*/ 0 h 659"/>
                <a:gd name="T106" fmla="*/ 0 w 490"/>
                <a:gd name="T107" fmla="*/ 0 h 65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490"/>
                <a:gd name="T163" fmla="*/ 0 h 659"/>
                <a:gd name="T164" fmla="*/ 490 w 490"/>
                <a:gd name="T165" fmla="*/ 659 h 65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490" h="659">
                  <a:moveTo>
                    <a:pt x="261" y="88"/>
                  </a:moveTo>
                  <a:lnTo>
                    <a:pt x="260" y="83"/>
                  </a:lnTo>
                  <a:lnTo>
                    <a:pt x="264" y="73"/>
                  </a:lnTo>
                  <a:lnTo>
                    <a:pt x="271" y="68"/>
                  </a:lnTo>
                  <a:lnTo>
                    <a:pt x="276" y="62"/>
                  </a:lnTo>
                  <a:lnTo>
                    <a:pt x="276" y="52"/>
                  </a:lnTo>
                  <a:lnTo>
                    <a:pt x="272" y="49"/>
                  </a:lnTo>
                  <a:lnTo>
                    <a:pt x="255" y="55"/>
                  </a:lnTo>
                  <a:lnTo>
                    <a:pt x="249" y="55"/>
                  </a:lnTo>
                  <a:lnTo>
                    <a:pt x="244" y="49"/>
                  </a:lnTo>
                  <a:lnTo>
                    <a:pt x="233" y="44"/>
                  </a:lnTo>
                  <a:lnTo>
                    <a:pt x="228" y="50"/>
                  </a:lnTo>
                  <a:lnTo>
                    <a:pt x="223" y="50"/>
                  </a:lnTo>
                  <a:lnTo>
                    <a:pt x="222" y="42"/>
                  </a:lnTo>
                  <a:lnTo>
                    <a:pt x="215" y="42"/>
                  </a:lnTo>
                  <a:lnTo>
                    <a:pt x="211" y="39"/>
                  </a:lnTo>
                  <a:lnTo>
                    <a:pt x="217" y="31"/>
                  </a:lnTo>
                  <a:lnTo>
                    <a:pt x="217" y="22"/>
                  </a:lnTo>
                  <a:lnTo>
                    <a:pt x="212" y="11"/>
                  </a:lnTo>
                  <a:lnTo>
                    <a:pt x="196" y="6"/>
                  </a:lnTo>
                  <a:lnTo>
                    <a:pt x="189" y="7"/>
                  </a:lnTo>
                  <a:lnTo>
                    <a:pt x="190" y="2"/>
                  </a:lnTo>
                  <a:lnTo>
                    <a:pt x="182" y="6"/>
                  </a:lnTo>
                  <a:lnTo>
                    <a:pt x="158" y="0"/>
                  </a:lnTo>
                  <a:lnTo>
                    <a:pt x="150" y="1"/>
                  </a:lnTo>
                  <a:lnTo>
                    <a:pt x="150" y="11"/>
                  </a:lnTo>
                  <a:lnTo>
                    <a:pt x="158" y="25"/>
                  </a:lnTo>
                  <a:lnTo>
                    <a:pt x="164" y="31"/>
                  </a:lnTo>
                  <a:lnTo>
                    <a:pt x="167" y="38"/>
                  </a:lnTo>
                  <a:lnTo>
                    <a:pt x="153" y="46"/>
                  </a:lnTo>
                  <a:lnTo>
                    <a:pt x="152" y="50"/>
                  </a:lnTo>
                  <a:lnTo>
                    <a:pt x="148" y="55"/>
                  </a:lnTo>
                  <a:lnTo>
                    <a:pt x="155" y="55"/>
                  </a:lnTo>
                  <a:lnTo>
                    <a:pt x="159" y="58"/>
                  </a:lnTo>
                  <a:lnTo>
                    <a:pt x="157" y="65"/>
                  </a:lnTo>
                  <a:lnTo>
                    <a:pt x="161" y="71"/>
                  </a:lnTo>
                  <a:lnTo>
                    <a:pt x="166" y="74"/>
                  </a:lnTo>
                  <a:lnTo>
                    <a:pt x="164" y="78"/>
                  </a:lnTo>
                  <a:lnTo>
                    <a:pt x="159" y="79"/>
                  </a:lnTo>
                  <a:lnTo>
                    <a:pt x="159" y="87"/>
                  </a:lnTo>
                  <a:lnTo>
                    <a:pt x="172" y="97"/>
                  </a:lnTo>
                  <a:lnTo>
                    <a:pt x="170" y="99"/>
                  </a:lnTo>
                  <a:lnTo>
                    <a:pt x="148" y="99"/>
                  </a:lnTo>
                  <a:lnTo>
                    <a:pt x="145" y="106"/>
                  </a:lnTo>
                  <a:lnTo>
                    <a:pt x="142" y="110"/>
                  </a:lnTo>
                  <a:lnTo>
                    <a:pt x="142" y="128"/>
                  </a:lnTo>
                  <a:lnTo>
                    <a:pt x="148" y="148"/>
                  </a:lnTo>
                  <a:lnTo>
                    <a:pt x="142" y="142"/>
                  </a:lnTo>
                  <a:lnTo>
                    <a:pt x="137" y="128"/>
                  </a:lnTo>
                  <a:lnTo>
                    <a:pt x="130" y="126"/>
                  </a:lnTo>
                  <a:lnTo>
                    <a:pt x="129" y="137"/>
                  </a:lnTo>
                  <a:lnTo>
                    <a:pt x="123" y="137"/>
                  </a:lnTo>
                  <a:lnTo>
                    <a:pt x="120" y="125"/>
                  </a:lnTo>
                  <a:lnTo>
                    <a:pt x="115" y="115"/>
                  </a:lnTo>
                  <a:lnTo>
                    <a:pt x="99" y="113"/>
                  </a:lnTo>
                  <a:lnTo>
                    <a:pt x="72" y="117"/>
                  </a:lnTo>
                  <a:lnTo>
                    <a:pt x="69" y="126"/>
                  </a:lnTo>
                  <a:lnTo>
                    <a:pt x="65" y="130"/>
                  </a:lnTo>
                  <a:lnTo>
                    <a:pt x="61" y="137"/>
                  </a:lnTo>
                  <a:lnTo>
                    <a:pt x="62" y="140"/>
                  </a:lnTo>
                  <a:lnTo>
                    <a:pt x="73" y="142"/>
                  </a:lnTo>
                  <a:lnTo>
                    <a:pt x="78" y="146"/>
                  </a:lnTo>
                  <a:lnTo>
                    <a:pt x="83" y="152"/>
                  </a:lnTo>
                  <a:lnTo>
                    <a:pt x="86" y="160"/>
                  </a:lnTo>
                  <a:lnTo>
                    <a:pt x="83" y="159"/>
                  </a:lnTo>
                  <a:lnTo>
                    <a:pt x="78" y="151"/>
                  </a:lnTo>
                  <a:lnTo>
                    <a:pt x="64" y="154"/>
                  </a:lnTo>
                  <a:lnTo>
                    <a:pt x="54" y="200"/>
                  </a:lnTo>
                  <a:lnTo>
                    <a:pt x="38" y="211"/>
                  </a:lnTo>
                  <a:lnTo>
                    <a:pt x="40" y="219"/>
                  </a:lnTo>
                  <a:lnTo>
                    <a:pt x="59" y="228"/>
                  </a:lnTo>
                  <a:lnTo>
                    <a:pt x="57" y="239"/>
                  </a:lnTo>
                  <a:lnTo>
                    <a:pt x="50" y="249"/>
                  </a:lnTo>
                  <a:lnTo>
                    <a:pt x="40" y="256"/>
                  </a:lnTo>
                  <a:lnTo>
                    <a:pt x="39" y="267"/>
                  </a:lnTo>
                  <a:lnTo>
                    <a:pt x="34" y="278"/>
                  </a:lnTo>
                  <a:lnTo>
                    <a:pt x="26" y="280"/>
                  </a:lnTo>
                  <a:lnTo>
                    <a:pt x="13" y="275"/>
                  </a:lnTo>
                  <a:lnTo>
                    <a:pt x="3" y="275"/>
                  </a:lnTo>
                  <a:lnTo>
                    <a:pt x="2" y="283"/>
                  </a:lnTo>
                  <a:lnTo>
                    <a:pt x="6" y="298"/>
                  </a:lnTo>
                  <a:lnTo>
                    <a:pt x="7" y="308"/>
                  </a:lnTo>
                  <a:lnTo>
                    <a:pt x="6" y="320"/>
                  </a:lnTo>
                  <a:lnTo>
                    <a:pt x="6" y="339"/>
                  </a:lnTo>
                  <a:lnTo>
                    <a:pt x="0" y="346"/>
                  </a:lnTo>
                  <a:lnTo>
                    <a:pt x="0" y="353"/>
                  </a:lnTo>
                  <a:lnTo>
                    <a:pt x="5" y="370"/>
                  </a:lnTo>
                  <a:lnTo>
                    <a:pt x="5" y="377"/>
                  </a:lnTo>
                  <a:lnTo>
                    <a:pt x="10" y="383"/>
                  </a:lnTo>
                  <a:lnTo>
                    <a:pt x="11" y="394"/>
                  </a:lnTo>
                  <a:lnTo>
                    <a:pt x="17" y="402"/>
                  </a:lnTo>
                  <a:lnTo>
                    <a:pt x="17" y="410"/>
                  </a:lnTo>
                  <a:lnTo>
                    <a:pt x="6" y="427"/>
                  </a:lnTo>
                  <a:lnTo>
                    <a:pt x="14" y="431"/>
                  </a:lnTo>
                  <a:lnTo>
                    <a:pt x="12" y="438"/>
                  </a:lnTo>
                  <a:lnTo>
                    <a:pt x="12" y="445"/>
                  </a:lnTo>
                  <a:lnTo>
                    <a:pt x="17" y="453"/>
                  </a:lnTo>
                  <a:lnTo>
                    <a:pt x="21" y="460"/>
                  </a:lnTo>
                  <a:lnTo>
                    <a:pt x="22" y="472"/>
                  </a:lnTo>
                  <a:lnTo>
                    <a:pt x="17" y="479"/>
                  </a:lnTo>
                  <a:lnTo>
                    <a:pt x="29" y="490"/>
                  </a:lnTo>
                  <a:lnTo>
                    <a:pt x="37" y="496"/>
                  </a:lnTo>
                  <a:lnTo>
                    <a:pt x="43" y="507"/>
                  </a:lnTo>
                  <a:lnTo>
                    <a:pt x="61" y="508"/>
                  </a:lnTo>
                  <a:lnTo>
                    <a:pt x="102" y="520"/>
                  </a:lnTo>
                  <a:lnTo>
                    <a:pt x="115" y="526"/>
                  </a:lnTo>
                  <a:lnTo>
                    <a:pt x="113" y="538"/>
                  </a:lnTo>
                  <a:lnTo>
                    <a:pt x="96" y="561"/>
                  </a:lnTo>
                  <a:lnTo>
                    <a:pt x="93" y="573"/>
                  </a:lnTo>
                  <a:lnTo>
                    <a:pt x="86" y="598"/>
                  </a:lnTo>
                  <a:lnTo>
                    <a:pt x="84" y="626"/>
                  </a:lnTo>
                  <a:lnTo>
                    <a:pt x="86" y="636"/>
                  </a:lnTo>
                  <a:lnTo>
                    <a:pt x="88" y="638"/>
                  </a:lnTo>
                  <a:lnTo>
                    <a:pt x="94" y="644"/>
                  </a:lnTo>
                  <a:lnTo>
                    <a:pt x="130" y="639"/>
                  </a:lnTo>
                  <a:lnTo>
                    <a:pt x="156" y="635"/>
                  </a:lnTo>
                  <a:lnTo>
                    <a:pt x="175" y="639"/>
                  </a:lnTo>
                  <a:lnTo>
                    <a:pt x="193" y="648"/>
                  </a:lnTo>
                  <a:lnTo>
                    <a:pt x="204" y="644"/>
                  </a:lnTo>
                  <a:lnTo>
                    <a:pt x="212" y="644"/>
                  </a:lnTo>
                  <a:lnTo>
                    <a:pt x="221" y="646"/>
                  </a:lnTo>
                  <a:lnTo>
                    <a:pt x="227" y="654"/>
                  </a:lnTo>
                  <a:lnTo>
                    <a:pt x="237" y="659"/>
                  </a:lnTo>
                  <a:lnTo>
                    <a:pt x="242" y="657"/>
                  </a:lnTo>
                  <a:lnTo>
                    <a:pt x="244" y="649"/>
                  </a:lnTo>
                  <a:lnTo>
                    <a:pt x="252" y="643"/>
                  </a:lnTo>
                  <a:lnTo>
                    <a:pt x="263" y="644"/>
                  </a:lnTo>
                  <a:lnTo>
                    <a:pt x="276" y="652"/>
                  </a:lnTo>
                  <a:lnTo>
                    <a:pt x="290" y="652"/>
                  </a:lnTo>
                  <a:lnTo>
                    <a:pt x="309" y="639"/>
                  </a:lnTo>
                  <a:lnTo>
                    <a:pt x="342" y="636"/>
                  </a:lnTo>
                  <a:lnTo>
                    <a:pt x="346" y="631"/>
                  </a:lnTo>
                  <a:lnTo>
                    <a:pt x="357" y="635"/>
                  </a:lnTo>
                  <a:lnTo>
                    <a:pt x="372" y="635"/>
                  </a:lnTo>
                  <a:lnTo>
                    <a:pt x="377" y="642"/>
                  </a:lnTo>
                  <a:lnTo>
                    <a:pt x="384" y="638"/>
                  </a:lnTo>
                  <a:lnTo>
                    <a:pt x="384" y="631"/>
                  </a:lnTo>
                  <a:lnTo>
                    <a:pt x="377" y="615"/>
                  </a:lnTo>
                  <a:lnTo>
                    <a:pt x="376" y="599"/>
                  </a:lnTo>
                  <a:lnTo>
                    <a:pt x="381" y="587"/>
                  </a:lnTo>
                  <a:lnTo>
                    <a:pt x="403" y="578"/>
                  </a:lnTo>
                  <a:lnTo>
                    <a:pt x="406" y="568"/>
                  </a:lnTo>
                  <a:lnTo>
                    <a:pt x="410" y="560"/>
                  </a:lnTo>
                  <a:lnTo>
                    <a:pt x="427" y="552"/>
                  </a:lnTo>
                  <a:lnTo>
                    <a:pt x="428" y="545"/>
                  </a:lnTo>
                  <a:lnTo>
                    <a:pt x="425" y="539"/>
                  </a:lnTo>
                  <a:lnTo>
                    <a:pt x="399" y="519"/>
                  </a:lnTo>
                  <a:lnTo>
                    <a:pt x="389" y="506"/>
                  </a:lnTo>
                  <a:lnTo>
                    <a:pt x="361" y="483"/>
                  </a:lnTo>
                  <a:lnTo>
                    <a:pt x="351" y="470"/>
                  </a:lnTo>
                  <a:lnTo>
                    <a:pt x="351" y="453"/>
                  </a:lnTo>
                  <a:lnTo>
                    <a:pt x="349" y="440"/>
                  </a:lnTo>
                  <a:lnTo>
                    <a:pt x="336" y="434"/>
                  </a:lnTo>
                  <a:lnTo>
                    <a:pt x="328" y="425"/>
                  </a:lnTo>
                  <a:lnTo>
                    <a:pt x="328" y="416"/>
                  </a:lnTo>
                  <a:lnTo>
                    <a:pt x="329" y="411"/>
                  </a:lnTo>
                  <a:lnTo>
                    <a:pt x="345" y="426"/>
                  </a:lnTo>
                  <a:lnTo>
                    <a:pt x="347" y="426"/>
                  </a:lnTo>
                  <a:lnTo>
                    <a:pt x="352" y="412"/>
                  </a:lnTo>
                  <a:lnTo>
                    <a:pt x="368" y="405"/>
                  </a:lnTo>
                  <a:lnTo>
                    <a:pt x="385" y="399"/>
                  </a:lnTo>
                  <a:lnTo>
                    <a:pt x="403" y="391"/>
                  </a:lnTo>
                  <a:lnTo>
                    <a:pt x="409" y="379"/>
                  </a:lnTo>
                  <a:lnTo>
                    <a:pt x="447" y="366"/>
                  </a:lnTo>
                  <a:lnTo>
                    <a:pt x="451" y="343"/>
                  </a:lnTo>
                  <a:lnTo>
                    <a:pt x="460" y="346"/>
                  </a:lnTo>
                  <a:lnTo>
                    <a:pt x="468" y="358"/>
                  </a:lnTo>
                  <a:lnTo>
                    <a:pt x="474" y="367"/>
                  </a:lnTo>
                  <a:lnTo>
                    <a:pt x="481" y="367"/>
                  </a:lnTo>
                  <a:lnTo>
                    <a:pt x="485" y="358"/>
                  </a:lnTo>
                  <a:lnTo>
                    <a:pt x="489" y="341"/>
                  </a:lnTo>
                  <a:lnTo>
                    <a:pt x="490" y="320"/>
                  </a:lnTo>
                  <a:lnTo>
                    <a:pt x="489" y="316"/>
                  </a:lnTo>
                  <a:lnTo>
                    <a:pt x="473" y="297"/>
                  </a:lnTo>
                  <a:lnTo>
                    <a:pt x="470" y="273"/>
                  </a:lnTo>
                  <a:lnTo>
                    <a:pt x="470" y="262"/>
                  </a:lnTo>
                  <a:lnTo>
                    <a:pt x="469" y="246"/>
                  </a:lnTo>
                  <a:lnTo>
                    <a:pt x="467" y="237"/>
                  </a:lnTo>
                  <a:lnTo>
                    <a:pt x="464" y="213"/>
                  </a:lnTo>
                  <a:lnTo>
                    <a:pt x="463" y="205"/>
                  </a:lnTo>
                  <a:lnTo>
                    <a:pt x="448" y="194"/>
                  </a:lnTo>
                  <a:lnTo>
                    <a:pt x="447" y="186"/>
                  </a:lnTo>
                  <a:lnTo>
                    <a:pt x="452" y="174"/>
                  </a:lnTo>
                  <a:lnTo>
                    <a:pt x="458" y="162"/>
                  </a:lnTo>
                  <a:lnTo>
                    <a:pt x="459" y="149"/>
                  </a:lnTo>
                  <a:lnTo>
                    <a:pt x="459" y="132"/>
                  </a:lnTo>
                  <a:lnTo>
                    <a:pt x="451" y="115"/>
                  </a:lnTo>
                  <a:lnTo>
                    <a:pt x="448" y="106"/>
                  </a:lnTo>
                  <a:lnTo>
                    <a:pt x="426" y="99"/>
                  </a:lnTo>
                  <a:lnTo>
                    <a:pt x="424" y="85"/>
                  </a:lnTo>
                  <a:lnTo>
                    <a:pt x="415" y="72"/>
                  </a:lnTo>
                  <a:lnTo>
                    <a:pt x="405" y="73"/>
                  </a:lnTo>
                  <a:lnTo>
                    <a:pt x="399" y="68"/>
                  </a:lnTo>
                  <a:lnTo>
                    <a:pt x="397" y="67"/>
                  </a:lnTo>
                  <a:lnTo>
                    <a:pt x="394" y="60"/>
                  </a:lnTo>
                  <a:lnTo>
                    <a:pt x="387" y="55"/>
                  </a:lnTo>
                  <a:lnTo>
                    <a:pt x="381" y="49"/>
                  </a:lnTo>
                  <a:lnTo>
                    <a:pt x="365" y="51"/>
                  </a:lnTo>
                  <a:lnTo>
                    <a:pt x="357" y="55"/>
                  </a:lnTo>
                  <a:lnTo>
                    <a:pt x="351" y="60"/>
                  </a:lnTo>
                  <a:lnTo>
                    <a:pt x="352" y="54"/>
                  </a:lnTo>
                  <a:lnTo>
                    <a:pt x="358" y="49"/>
                  </a:lnTo>
                  <a:lnTo>
                    <a:pt x="368" y="42"/>
                  </a:lnTo>
                  <a:lnTo>
                    <a:pt x="361" y="41"/>
                  </a:lnTo>
                  <a:lnTo>
                    <a:pt x="352" y="42"/>
                  </a:lnTo>
                  <a:lnTo>
                    <a:pt x="339" y="60"/>
                  </a:lnTo>
                  <a:lnTo>
                    <a:pt x="335" y="70"/>
                  </a:lnTo>
                  <a:lnTo>
                    <a:pt x="330" y="72"/>
                  </a:lnTo>
                  <a:lnTo>
                    <a:pt x="330" y="66"/>
                  </a:lnTo>
                  <a:lnTo>
                    <a:pt x="312" y="71"/>
                  </a:lnTo>
                  <a:lnTo>
                    <a:pt x="296" y="83"/>
                  </a:lnTo>
                  <a:lnTo>
                    <a:pt x="299" y="88"/>
                  </a:lnTo>
                  <a:lnTo>
                    <a:pt x="290" y="88"/>
                  </a:lnTo>
                  <a:lnTo>
                    <a:pt x="277" y="84"/>
                  </a:lnTo>
                  <a:lnTo>
                    <a:pt x="264" y="94"/>
                  </a:lnTo>
                  <a:lnTo>
                    <a:pt x="261" y="8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75" name="Freeform 185">
              <a:extLst>
                <a:ext uri="{FF2B5EF4-FFF2-40B4-BE49-F238E27FC236}">
                  <a16:creationId xmlns:a16="http://schemas.microsoft.com/office/drawing/2014/main" id="{A653204C-0380-4FCA-85E0-22E71F5C259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022779" y="2861601"/>
              <a:ext cx="29350" cy="68156"/>
            </a:xfrm>
            <a:custGeom>
              <a:avLst/>
              <a:gdLst>
                <a:gd name="T0" fmla="*/ 0 w 52"/>
                <a:gd name="T1" fmla="*/ 0 h 121"/>
                <a:gd name="T2" fmla="*/ 0 w 52"/>
                <a:gd name="T3" fmla="*/ 0 h 121"/>
                <a:gd name="T4" fmla="*/ 0 w 52"/>
                <a:gd name="T5" fmla="*/ 0 h 121"/>
                <a:gd name="T6" fmla="*/ 0 w 52"/>
                <a:gd name="T7" fmla="*/ 0 h 121"/>
                <a:gd name="T8" fmla="*/ 0 w 52"/>
                <a:gd name="T9" fmla="*/ 0 h 121"/>
                <a:gd name="T10" fmla="*/ 0 w 52"/>
                <a:gd name="T11" fmla="*/ 0 h 121"/>
                <a:gd name="T12" fmla="*/ 0 w 52"/>
                <a:gd name="T13" fmla="*/ 0 h 121"/>
                <a:gd name="T14" fmla="*/ 0 w 52"/>
                <a:gd name="T15" fmla="*/ 0 h 121"/>
                <a:gd name="T16" fmla="*/ 0 w 52"/>
                <a:gd name="T17" fmla="*/ 0 h 121"/>
                <a:gd name="T18" fmla="*/ 0 w 52"/>
                <a:gd name="T19" fmla="*/ 0 h 121"/>
                <a:gd name="T20" fmla="*/ 0 w 52"/>
                <a:gd name="T21" fmla="*/ 0 h 121"/>
                <a:gd name="T22" fmla="*/ 0 w 52"/>
                <a:gd name="T23" fmla="*/ 0 h 121"/>
                <a:gd name="T24" fmla="*/ 0 w 52"/>
                <a:gd name="T25" fmla="*/ 0 h 121"/>
                <a:gd name="T26" fmla="*/ 0 w 52"/>
                <a:gd name="T27" fmla="*/ 0 h 121"/>
                <a:gd name="T28" fmla="*/ 0 w 52"/>
                <a:gd name="T29" fmla="*/ 0 h 121"/>
                <a:gd name="T30" fmla="*/ 0 w 52"/>
                <a:gd name="T31" fmla="*/ 0 h 121"/>
                <a:gd name="T32" fmla="*/ 0 w 52"/>
                <a:gd name="T33" fmla="*/ 0 h 121"/>
                <a:gd name="T34" fmla="*/ 0 w 52"/>
                <a:gd name="T35" fmla="*/ 0 h 121"/>
                <a:gd name="T36" fmla="*/ 0 w 52"/>
                <a:gd name="T37" fmla="*/ 0 h 121"/>
                <a:gd name="T38" fmla="*/ 0 w 52"/>
                <a:gd name="T39" fmla="*/ 0 h 121"/>
                <a:gd name="T40" fmla="*/ 0 w 52"/>
                <a:gd name="T41" fmla="*/ 0 h 121"/>
                <a:gd name="T42" fmla="*/ 0 w 52"/>
                <a:gd name="T43" fmla="*/ 0 h 121"/>
                <a:gd name="T44" fmla="*/ 0 w 52"/>
                <a:gd name="T45" fmla="*/ 0 h 121"/>
                <a:gd name="T46" fmla="*/ 0 w 52"/>
                <a:gd name="T47" fmla="*/ 0 h 121"/>
                <a:gd name="T48" fmla="*/ 0 w 52"/>
                <a:gd name="T49" fmla="*/ 0 h 121"/>
                <a:gd name="T50" fmla="*/ 0 w 52"/>
                <a:gd name="T51" fmla="*/ 0 h 121"/>
                <a:gd name="T52" fmla="*/ 0 w 52"/>
                <a:gd name="T53" fmla="*/ 0 h 12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52"/>
                <a:gd name="T82" fmla="*/ 0 h 121"/>
                <a:gd name="T83" fmla="*/ 52 w 52"/>
                <a:gd name="T84" fmla="*/ 121 h 121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52" h="121">
                  <a:moveTo>
                    <a:pt x="41" y="0"/>
                  </a:moveTo>
                  <a:lnTo>
                    <a:pt x="46" y="2"/>
                  </a:lnTo>
                  <a:lnTo>
                    <a:pt x="47" y="32"/>
                  </a:lnTo>
                  <a:lnTo>
                    <a:pt x="52" y="59"/>
                  </a:lnTo>
                  <a:lnTo>
                    <a:pt x="51" y="70"/>
                  </a:lnTo>
                  <a:lnTo>
                    <a:pt x="47" y="79"/>
                  </a:lnTo>
                  <a:lnTo>
                    <a:pt x="44" y="89"/>
                  </a:lnTo>
                  <a:lnTo>
                    <a:pt x="41" y="103"/>
                  </a:lnTo>
                  <a:lnTo>
                    <a:pt x="33" y="115"/>
                  </a:lnTo>
                  <a:lnTo>
                    <a:pt x="33" y="121"/>
                  </a:lnTo>
                  <a:lnTo>
                    <a:pt x="28" y="114"/>
                  </a:lnTo>
                  <a:lnTo>
                    <a:pt x="22" y="113"/>
                  </a:lnTo>
                  <a:lnTo>
                    <a:pt x="16" y="109"/>
                  </a:lnTo>
                  <a:lnTo>
                    <a:pt x="14" y="103"/>
                  </a:lnTo>
                  <a:lnTo>
                    <a:pt x="14" y="95"/>
                  </a:lnTo>
                  <a:lnTo>
                    <a:pt x="8" y="93"/>
                  </a:lnTo>
                  <a:lnTo>
                    <a:pt x="5" y="87"/>
                  </a:lnTo>
                  <a:lnTo>
                    <a:pt x="4" y="65"/>
                  </a:lnTo>
                  <a:lnTo>
                    <a:pt x="0" y="60"/>
                  </a:lnTo>
                  <a:lnTo>
                    <a:pt x="0" y="44"/>
                  </a:lnTo>
                  <a:lnTo>
                    <a:pt x="5" y="30"/>
                  </a:lnTo>
                  <a:lnTo>
                    <a:pt x="10" y="32"/>
                  </a:lnTo>
                  <a:lnTo>
                    <a:pt x="16" y="29"/>
                  </a:lnTo>
                  <a:lnTo>
                    <a:pt x="27" y="22"/>
                  </a:lnTo>
                  <a:lnTo>
                    <a:pt x="36" y="18"/>
                  </a:lnTo>
                  <a:lnTo>
                    <a:pt x="38" y="14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76" name="Freeform 186">
              <a:extLst>
                <a:ext uri="{FF2B5EF4-FFF2-40B4-BE49-F238E27FC236}">
                  <a16:creationId xmlns:a16="http://schemas.microsoft.com/office/drawing/2014/main" id="{E893C561-4EE2-0E92-C237-A03DEBA2007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635891" y="2492422"/>
              <a:ext cx="370879" cy="397577"/>
            </a:xfrm>
            <a:custGeom>
              <a:avLst/>
              <a:gdLst>
                <a:gd name="T0" fmla="*/ 0 w 694"/>
                <a:gd name="T1" fmla="*/ 0 h 700"/>
                <a:gd name="T2" fmla="*/ 0 w 694"/>
                <a:gd name="T3" fmla="*/ 0 h 700"/>
                <a:gd name="T4" fmla="*/ 0 w 694"/>
                <a:gd name="T5" fmla="*/ 0 h 700"/>
                <a:gd name="T6" fmla="*/ 0 w 694"/>
                <a:gd name="T7" fmla="*/ 0 h 700"/>
                <a:gd name="T8" fmla="*/ 0 w 694"/>
                <a:gd name="T9" fmla="*/ 0 h 700"/>
                <a:gd name="T10" fmla="*/ 0 w 694"/>
                <a:gd name="T11" fmla="*/ 0 h 700"/>
                <a:gd name="T12" fmla="*/ 0 w 694"/>
                <a:gd name="T13" fmla="*/ 0 h 700"/>
                <a:gd name="T14" fmla="*/ 0 w 694"/>
                <a:gd name="T15" fmla="*/ 0 h 700"/>
                <a:gd name="T16" fmla="*/ 0 w 694"/>
                <a:gd name="T17" fmla="*/ 0 h 700"/>
                <a:gd name="T18" fmla="*/ 0 w 694"/>
                <a:gd name="T19" fmla="*/ 0 h 700"/>
                <a:gd name="T20" fmla="*/ 0 w 694"/>
                <a:gd name="T21" fmla="*/ 0 h 700"/>
                <a:gd name="T22" fmla="*/ 0 w 694"/>
                <a:gd name="T23" fmla="*/ 0 h 700"/>
                <a:gd name="T24" fmla="*/ 0 w 694"/>
                <a:gd name="T25" fmla="*/ 0 h 700"/>
                <a:gd name="T26" fmla="*/ 0 w 694"/>
                <a:gd name="T27" fmla="*/ 0 h 700"/>
                <a:gd name="T28" fmla="*/ 0 w 694"/>
                <a:gd name="T29" fmla="*/ 0 h 700"/>
                <a:gd name="T30" fmla="*/ 0 w 694"/>
                <a:gd name="T31" fmla="*/ 0 h 700"/>
                <a:gd name="T32" fmla="*/ 0 w 694"/>
                <a:gd name="T33" fmla="*/ 0 h 700"/>
                <a:gd name="T34" fmla="*/ 0 w 694"/>
                <a:gd name="T35" fmla="*/ 0 h 700"/>
                <a:gd name="T36" fmla="*/ 0 w 694"/>
                <a:gd name="T37" fmla="*/ 0 h 700"/>
                <a:gd name="T38" fmla="*/ 0 w 694"/>
                <a:gd name="T39" fmla="*/ 0 h 700"/>
                <a:gd name="T40" fmla="*/ 0 w 694"/>
                <a:gd name="T41" fmla="*/ 0 h 700"/>
                <a:gd name="T42" fmla="*/ 0 w 694"/>
                <a:gd name="T43" fmla="*/ 0 h 700"/>
                <a:gd name="T44" fmla="*/ 0 w 694"/>
                <a:gd name="T45" fmla="*/ 0 h 700"/>
                <a:gd name="T46" fmla="*/ 0 w 694"/>
                <a:gd name="T47" fmla="*/ 0 h 700"/>
                <a:gd name="T48" fmla="*/ 0 w 694"/>
                <a:gd name="T49" fmla="*/ 0 h 700"/>
                <a:gd name="T50" fmla="*/ 0 w 694"/>
                <a:gd name="T51" fmla="*/ 0 h 700"/>
                <a:gd name="T52" fmla="*/ 0 w 694"/>
                <a:gd name="T53" fmla="*/ 0 h 700"/>
                <a:gd name="T54" fmla="*/ 0 w 694"/>
                <a:gd name="T55" fmla="*/ 0 h 700"/>
                <a:gd name="T56" fmla="*/ 0 w 694"/>
                <a:gd name="T57" fmla="*/ 0 h 700"/>
                <a:gd name="T58" fmla="*/ 0 w 694"/>
                <a:gd name="T59" fmla="*/ 0 h 700"/>
                <a:gd name="T60" fmla="*/ 0 w 694"/>
                <a:gd name="T61" fmla="*/ 0 h 700"/>
                <a:gd name="T62" fmla="*/ 0 w 694"/>
                <a:gd name="T63" fmla="*/ 0 h 700"/>
                <a:gd name="T64" fmla="*/ 0 w 694"/>
                <a:gd name="T65" fmla="*/ 0 h 700"/>
                <a:gd name="T66" fmla="*/ 0 w 694"/>
                <a:gd name="T67" fmla="*/ 0 h 700"/>
                <a:gd name="T68" fmla="*/ 0 w 694"/>
                <a:gd name="T69" fmla="*/ 0 h 700"/>
                <a:gd name="T70" fmla="*/ 0 w 694"/>
                <a:gd name="T71" fmla="*/ 0 h 700"/>
                <a:gd name="T72" fmla="*/ 0 w 694"/>
                <a:gd name="T73" fmla="*/ 0 h 700"/>
                <a:gd name="T74" fmla="*/ 0 w 694"/>
                <a:gd name="T75" fmla="*/ 0 h 700"/>
                <a:gd name="T76" fmla="*/ 0 w 694"/>
                <a:gd name="T77" fmla="*/ 0 h 700"/>
                <a:gd name="T78" fmla="*/ 0 w 694"/>
                <a:gd name="T79" fmla="*/ 0 h 700"/>
                <a:gd name="T80" fmla="*/ 0 w 694"/>
                <a:gd name="T81" fmla="*/ 0 h 700"/>
                <a:gd name="T82" fmla="*/ 0 w 694"/>
                <a:gd name="T83" fmla="*/ 0 h 700"/>
                <a:gd name="T84" fmla="*/ 0 w 694"/>
                <a:gd name="T85" fmla="*/ 0 h 700"/>
                <a:gd name="T86" fmla="*/ 0 w 694"/>
                <a:gd name="T87" fmla="*/ 0 h 700"/>
                <a:gd name="T88" fmla="*/ 0 w 694"/>
                <a:gd name="T89" fmla="*/ 0 h 700"/>
                <a:gd name="T90" fmla="*/ 0 w 694"/>
                <a:gd name="T91" fmla="*/ 0 h 700"/>
                <a:gd name="T92" fmla="*/ 0 w 694"/>
                <a:gd name="T93" fmla="*/ 0 h 700"/>
                <a:gd name="T94" fmla="*/ 0 w 694"/>
                <a:gd name="T95" fmla="*/ 0 h 700"/>
                <a:gd name="T96" fmla="*/ 0 w 694"/>
                <a:gd name="T97" fmla="*/ 0 h 700"/>
                <a:gd name="T98" fmla="*/ 0 w 694"/>
                <a:gd name="T99" fmla="*/ 0 h 700"/>
                <a:gd name="T100" fmla="*/ 0 w 694"/>
                <a:gd name="T101" fmla="*/ 0 h 70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4"/>
                <a:gd name="T154" fmla="*/ 0 h 700"/>
                <a:gd name="T155" fmla="*/ 694 w 694"/>
                <a:gd name="T156" fmla="*/ 700 h 70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4" h="700">
                  <a:moveTo>
                    <a:pt x="408" y="0"/>
                  </a:moveTo>
                  <a:lnTo>
                    <a:pt x="403" y="4"/>
                  </a:lnTo>
                  <a:lnTo>
                    <a:pt x="381" y="7"/>
                  </a:lnTo>
                  <a:lnTo>
                    <a:pt x="355" y="17"/>
                  </a:lnTo>
                  <a:lnTo>
                    <a:pt x="349" y="36"/>
                  </a:lnTo>
                  <a:lnTo>
                    <a:pt x="345" y="66"/>
                  </a:lnTo>
                  <a:lnTo>
                    <a:pt x="349" y="70"/>
                  </a:lnTo>
                  <a:lnTo>
                    <a:pt x="348" y="76"/>
                  </a:lnTo>
                  <a:lnTo>
                    <a:pt x="336" y="90"/>
                  </a:lnTo>
                  <a:lnTo>
                    <a:pt x="322" y="100"/>
                  </a:lnTo>
                  <a:lnTo>
                    <a:pt x="290" y="109"/>
                  </a:lnTo>
                  <a:lnTo>
                    <a:pt x="275" y="119"/>
                  </a:lnTo>
                  <a:lnTo>
                    <a:pt x="268" y="132"/>
                  </a:lnTo>
                  <a:lnTo>
                    <a:pt x="269" y="138"/>
                  </a:lnTo>
                  <a:lnTo>
                    <a:pt x="284" y="138"/>
                  </a:lnTo>
                  <a:lnTo>
                    <a:pt x="289" y="139"/>
                  </a:lnTo>
                  <a:lnTo>
                    <a:pt x="288" y="143"/>
                  </a:lnTo>
                  <a:lnTo>
                    <a:pt x="267" y="145"/>
                  </a:lnTo>
                  <a:lnTo>
                    <a:pt x="257" y="152"/>
                  </a:lnTo>
                  <a:lnTo>
                    <a:pt x="248" y="154"/>
                  </a:lnTo>
                  <a:lnTo>
                    <a:pt x="237" y="154"/>
                  </a:lnTo>
                  <a:lnTo>
                    <a:pt x="224" y="150"/>
                  </a:lnTo>
                  <a:lnTo>
                    <a:pt x="208" y="148"/>
                  </a:lnTo>
                  <a:lnTo>
                    <a:pt x="203" y="149"/>
                  </a:lnTo>
                  <a:lnTo>
                    <a:pt x="191" y="133"/>
                  </a:lnTo>
                  <a:lnTo>
                    <a:pt x="192" y="124"/>
                  </a:lnTo>
                  <a:lnTo>
                    <a:pt x="188" y="122"/>
                  </a:lnTo>
                  <a:lnTo>
                    <a:pt x="167" y="123"/>
                  </a:lnTo>
                  <a:lnTo>
                    <a:pt x="157" y="120"/>
                  </a:lnTo>
                  <a:lnTo>
                    <a:pt x="159" y="140"/>
                  </a:lnTo>
                  <a:lnTo>
                    <a:pt x="162" y="149"/>
                  </a:lnTo>
                  <a:lnTo>
                    <a:pt x="168" y="154"/>
                  </a:lnTo>
                  <a:lnTo>
                    <a:pt x="175" y="177"/>
                  </a:lnTo>
                  <a:lnTo>
                    <a:pt x="175" y="189"/>
                  </a:lnTo>
                  <a:lnTo>
                    <a:pt x="177" y="202"/>
                  </a:lnTo>
                  <a:lnTo>
                    <a:pt x="183" y="206"/>
                  </a:lnTo>
                  <a:lnTo>
                    <a:pt x="179" y="210"/>
                  </a:lnTo>
                  <a:lnTo>
                    <a:pt x="168" y="211"/>
                  </a:lnTo>
                  <a:lnTo>
                    <a:pt x="165" y="208"/>
                  </a:lnTo>
                  <a:lnTo>
                    <a:pt x="160" y="205"/>
                  </a:lnTo>
                  <a:lnTo>
                    <a:pt x="152" y="208"/>
                  </a:lnTo>
                  <a:lnTo>
                    <a:pt x="145" y="210"/>
                  </a:lnTo>
                  <a:lnTo>
                    <a:pt x="136" y="209"/>
                  </a:lnTo>
                  <a:lnTo>
                    <a:pt x="118" y="215"/>
                  </a:lnTo>
                  <a:lnTo>
                    <a:pt x="93" y="194"/>
                  </a:lnTo>
                  <a:lnTo>
                    <a:pt x="76" y="195"/>
                  </a:lnTo>
                  <a:lnTo>
                    <a:pt x="71" y="193"/>
                  </a:lnTo>
                  <a:lnTo>
                    <a:pt x="66" y="197"/>
                  </a:lnTo>
                  <a:lnTo>
                    <a:pt x="65" y="202"/>
                  </a:lnTo>
                  <a:lnTo>
                    <a:pt x="51" y="206"/>
                  </a:lnTo>
                  <a:lnTo>
                    <a:pt x="42" y="206"/>
                  </a:lnTo>
                  <a:lnTo>
                    <a:pt x="26" y="209"/>
                  </a:lnTo>
                  <a:lnTo>
                    <a:pt x="4" y="219"/>
                  </a:lnTo>
                  <a:lnTo>
                    <a:pt x="0" y="229"/>
                  </a:lnTo>
                  <a:lnTo>
                    <a:pt x="0" y="235"/>
                  </a:lnTo>
                  <a:lnTo>
                    <a:pt x="20" y="232"/>
                  </a:lnTo>
                  <a:lnTo>
                    <a:pt x="19" y="237"/>
                  </a:lnTo>
                  <a:lnTo>
                    <a:pt x="14" y="237"/>
                  </a:lnTo>
                  <a:lnTo>
                    <a:pt x="9" y="243"/>
                  </a:lnTo>
                  <a:lnTo>
                    <a:pt x="11" y="248"/>
                  </a:lnTo>
                  <a:lnTo>
                    <a:pt x="19" y="247"/>
                  </a:lnTo>
                  <a:lnTo>
                    <a:pt x="28" y="247"/>
                  </a:lnTo>
                  <a:lnTo>
                    <a:pt x="26" y="254"/>
                  </a:lnTo>
                  <a:lnTo>
                    <a:pt x="5" y="258"/>
                  </a:lnTo>
                  <a:lnTo>
                    <a:pt x="10" y="263"/>
                  </a:lnTo>
                  <a:lnTo>
                    <a:pt x="23" y="268"/>
                  </a:lnTo>
                  <a:lnTo>
                    <a:pt x="23" y="279"/>
                  </a:lnTo>
                  <a:lnTo>
                    <a:pt x="35" y="280"/>
                  </a:lnTo>
                  <a:lnTo>
                    <a:pt x="35" y="274"/>
                  </a:lnTo>
                  <a:lnTo>
                    <a:pt x="43" y="273"/>
                  </a:lnTo>
                  <a:lnTo>
                    <a:pt x="74" y="284"/>
                  </a:lnTo>
                  <a:lnTo>
                    <a:pt x="84" y="291"/>
                  </a:lnTo>
                  <a:lnTo>
                    <a:pt x="86" y="296"/>
                  </a:lnTo>
                  <a:lnTo>
                    <a:pt x="91" y="299"/>
                  </a:lnTo>
                  <a:lnTo>
                    <a:pt x="103" y="294"/>
                  </a:lnTo>
                  <a:lnTo>
                    <a:pt x="111" y="296"/>
                  </a:lnTo>
                  <a:lnTo>
                    <a:pt x="106" y="300"/>
                  </a:lnTo>
                  <a:lnTo>
                    <a:pt x="118" y="305"/>
                  </a:lnTo>
                  <a:lnTo>
                    <a:pt x="124" y="300"/>
                  </a:lnTo>
                  <a:lnTo>
                    <a:pt x="128" y="302"/>
                  </a:lnTo>
                  <a:lnTo>
                    <a:pt x="125" y="318"/>
                  </a:lnTo>
                  <a:lnTo>
                    <a:pt x="140" y="322"/>
                  </a:lnTo>
                  <a:lnTo>
                    <a:pt x="155" y="318"/>
                  </a:lnTo>
                  <a:lnTo>
                    <a:pt x="165" y="323"/>
                  </a:lnTo>
                  <a:lnTo>
                    <a:pt x="148" y="328"/>
                  </a:lnTo>
                  <a:lnTo>
                    <a:pt x="148" y="334"/>
                  </a:lnTo>
                  <a:lnTo>
                    <a:pt x="155" y="342"/>
                  </a:lnTo>
                  <a:lnTo>
                    <a:pt x="150" y="349"/>
                  </a:lnTo>
                  <a:lnTo>
                    <a:pt x="144" y="344"/>
                  </a:lnTo>
                  <a:lnTo>
                    <a:pt x="144" y="351"/>
                  </a:lnTo>
                  <a:lnTo>
                    <a:pt x="155" y="364"/>
                  </a:lnTo>
                  <a:lnTo>
                    <a:pt x="161" y="374"/>
                  </a:lnTo>
                  <a:lnTo>
                    <a:pt x="164" y="381"/>
                  </a:lnTo>
                  <a:lnTo>
                    <a:pt x="176" y="389"/>
                  </a:lnTo>
                  <a:lnTo>
                    <a:pt x="188" y="397"/>
                  </a:lnTo>
                  <a:lnTo>
                    <a:pt x="203" y="401"/>
                  </a:lnTo>
                  <a:lnTo>
                    <a:pt x="200" y="408"/>
                  </a:lnTo>
                  <a:lnTo>
                    <a:pt x="204" y="417"/>
                  </a:lnTo>
                  <a:lnTo>
                    <a:pt x="204" y="429"/>
                  </a:lnTo>
                  <a:lnTo>
                    <a:pt x="199" y="440"/>
                  </a:lnTo>
                  <a:lnTo>
                    <a:pt x="203" y="450"/>
                  </a:lnTo>
                  <a:lnTo>
                    <a:pt x="213" y="457"/>
                  </a:lnTo>
                  <a:lnTo>
                    <a:pt x="220" y="467"/>
                  </a:lnTo>
                  <a:lnTo>
                    <a:pt x="224" y="480"/>
                  </a:lnTo>
                  <a:lnTo>
                    <a:pt x="220" y="475"/>
                  </a:lnTo>
                  <a:lnTo>
                    <a:pt x="207" y="460"/>
                  </a:lnTo>
                  <a:lnTo>
                    <a:pt x="203" y="467"/>
                  </a:lnTo>
                  <a:lnTo>
                    <a:pt x="203" y="484"/>
                  </a:lnTo>
                  <a:lnTo>
                    <a:pt x="198" y="517"/>
                  </a:lnTo>
                  <a:lnTo>
                    <a:pt x="197" y="527"/>
                  </a:lnTo>
                  <a:lnTo>
                    <a:pt x="203" y="518"/>
                  </a:lnTo>
                  <a:lnTo>
                    <a:pt x="207" y="526"/>
                  </a:lnTo>
                  <a:lnTo>
                    <a:pt x="204" y="530"/>
                  </a:lnTo>
                  <a:lnTo>
                    <a:pt x="197" y="534"/>
                  </a:lnTo>
                  <a:lnTo>
                    <a:pt x="197" y="547"/>
                  </a:lnTo>
                  <a:lnTo>
                    <a:pt x="186" y="607"/>
                  </a:lnTo>
                  <a:lnTo>
                    <a:pt x="181" y="618"/>
                  </a:lnTo>
                  <a:lnTo>
                    <a:pt x="171" y="624"/>
                  </a:lnTo>
                  <a:lnTo>
                    <a:pt x="161" y="624"/>
                  </a:lnTo>
                  <a:lnTo>
                    <a:pt x="162" y="628"/>
                  </a:lnTo>
                  <a:lnTo>
                    <a:pt x="184" y="646"/>
                  </a:lnTo>
                  <a:lnTo>
                    <a:pt x="193" y="650"/>
                  </a:lnTo>
                  <a:lnTo>
                    <a:pt x="204" y="652"/>
                  </a:lnTo>
                  <a:lnTo>
                    <a:pt x="215" y="660"/>
                  </a:lnTo>
                  <a:lnTo>
                    <a:pt x="222" y="666"/>
                  </a:lnTo>
                  <a:lnTo>
                    <a:pt x="268" y="678"/>
                  </a:lnTo>
                  <a:lnTo>
                    <a:pt x="284" y="679"/>
                  </a:lnTo>
                  <a:lnTo>
                    <a:pt x="290" y="678"/>
                  </a:lnTo>
                  <a:lnTo>
                    <a:pt x="300" y="671"/>
                  </a:lnTo>
                  <a:lnTo>
                    <a:pt x="308" y="670"/>
                  </a:lnTo>
                  <a:lnTo>
                    <a:pt x="317" y="672"/>
                  </a:lnTo>
                  <a:lnTo>
                    <a:pt x="332" y="682"/>
                  </a:lnTo>
                  <a:lnTo>
                    <a:pt x="345" y="683"/>
                  </a:lnTo>
                  <a:lnTo>
                    <a:pt x="350" y="689"/>
                  </a:lnTo>
                  <a:lnTo>
                    <a:pt x="361" y="698"/>
                  </a:lnTo>
                  <a:lnTo>
                    <a:pt x="369" y="700"/>
                  </a:lnTo>
                  <a:lnTo>
                    <a:pt x="397" y="698"/>
                  </a:lnTo>
                  <a:lnTo>
                    <a:pt x="410" y="695"/>
                  </a:lnTo>
                  <a:lnTo>
                    <a:pt x="424" y="695"/>
                  </a:lnTo>
                  <a:lnTo>
                    <a:pt x="431" y="697"/>
                  </a:lnTo>
                  <a:lnTo>
                    <a:pt x="429" y="667"/>
                  </a:lnTo>
                  <a:lnTo>
                    <a:pt x="425" y="663"/>
                  </a:lnTo>
                  <a:lnTo>
                    <a:pt x="428" y="649"/>
                  </a:lnTo>
                  <a:lnTo>
                    <a:pt x="434" y="638"/>
                  </a:lnTo>
                  <a:lnTo>
                    <a:pt x="452" y="629"/>
                  </a:lnTo>
                  <a:lnTo>
                    <a:pt x="463" y="622"/>
                  </a:lnTo>
                  <a:lnTo>
                    <a:pt x="469" y="617"/>
                  </a:lnTo>
                  <a:lnTo>
                    <a:pt x="478" y="612"/>
                  </a:lnTo>
                  <a:lnTo>
                    <a:pt x="483" y="612"/>
                  </a:lnTo>
                  <a:lnTo>
                    <a:pt x="487" y="615"/>
                  </a:lnTo>
                  <a:lnTo>
                    <a:pt x="503" y="618"/>
                  </a:lnTo>
                  <a:lnTo>
                    <a:pt x="505" y="619"/>
                  </a:lnTo>
                  <a:lnTo>
                    <a:pt x="507" y="623"/>
                  </a:lnTo>
                  <a:lnTo>
                    <a:pt x="512" y="624"/>
                  </a:lnTo>
                  <a:lnTo>
                    <a:pt x="525" y="625"/>
                  </a:lnTo>
                  <a:lnTo>
                    <a:pt x="526" y="622"/>
                  </a:lnTo>
                  <a:lnTo>
                    <a:pt x="536" y="623"/>
                  </a:lnTo>
                  <a:lnTo>
                    <a:pt x="538" y="625"/>
                  </a:lnTo>
                  <a:lnTo>
                    <a:pt x="546" y="625"/>
                  </a:lnTo>
                  <a:lnTo>
                    <a:pt x="552" y="628"/>
                  </a:lnTo>
                  <a:lnTo>
                    <a:pt x="553" y="633"/>
                  </a:lnTo>
                  <a:lnTo>
                    <a:pt x="557" y="634"/>
                  </a:lnTo>
                  <a:lnTo>
                    <a:pt x="569" y="635"/>
                  </a:lnTo>
                  <a:lnTo>
                    <a:pt x="578" y="644"/>
                  </a:lnTo>
                  <a:lnTo>
                    <a:pt x="593" y="645"/>
                  </a:lnTo>
                  <a:lnTo>
                    <a:pt x="617" y="634"/>
                  </a:lnTo>
                  <a:lnTo>
                    <a:pt x="619" y="631"/>
                  </a:lnTo>
                  <a:lnTo>
                    <a:pt x="620" y="625"/>
                  </a:lnTo>
                  <a:lnTo>
                    <a:pt x="629" y="619"/>
                  </a:lnTo>
                  <a:lnTo>
                    <a:pt x="640" y="608"/>
                  </a:lnTo>
                  <a:lnTo>
                    <a:pt x="646" y="604"/>
                  </a:lnTo>
                  <a:lnTo>
                    <a:pt x="648" y="600"/>
                  </a:lnTo>
                  <a:lnTo>
                    <a:pt x="667" y="590"/>
                  </a:lnTo>
                  <a:lnTo>
                    <a:pt x="668" y="588"/>
                  </a:lnTo>
                  <a:lnTo>
                    <a:pt x="667" y="585"/>
                  </a:lnTo>
                  <a:lnTo>
                    <a:pt x="670" y="579"/>
                  </a:lnTo>
                  <a:lnTo>
                    <a:pt x="670" y="570"/>
                  </a:lnTo>
                  <a:lnTo>
                    <a:pt x="666" y="561"/>
                  </a:lnTo>
                  <a:lnTo>
                    <a:pt x="641" y="559"/>
                  </a:lnTo>
                  <a:lnTo>
                    <a:pt x="635" y="550"/>
                  </a:lnTo>
                  <a:lnTo>
                    <a:pt x="633" y="539"/>
                  </a:lnTo>
                  <a:lnTo>
                    <a:pt x="632" y="528"/>
                  </a:lnTo>
                  <a:lnTo>
                    <a:pt x="634" y="520"/>
                  </a:lnTo>
                  <a:lnTo>
                    <a:pt x="633" y="511"/>
                  </a:lnTo>
                  <a:lnTo>
                    <a:pt x="624" y="509"/>
                  </a:lnTo>
                  <a:lnTo>
                    <a:pt x="623" y="504"/>
                  </a:lnTo>
                  <a:lnTo>
                    <a:pt x="622" y="499"/>
                  </a:lnTo>
                  <a:lnTo>
                    <a:pt x="624" y="490"/>
                  </a:lnTo>
                  <a:lnTo>
                    <a:pt x="629" y="484"/>
                  </a:lnTo>
                  <a:lnTo>
                    <a:pt x="640" y="477"/>
                  </a:lnTo>
                  <a:lnTo>
                    <a:pt x="638" y="467"/>
                  </a:lnTo>
                  <a:lnTo>
                    <a:pt x="627" y="441"/>
                  </a:lnTo>
                  <a:lnTo>
                    <a:pt x="625" y="436"/>
                  </a:lnTo>
                  <a:lnTo>
                    <a:pt x="627" y="431"/>
                  </a:lnTo>
                  <a:lnTo>
                    <a:pt x="636" y="430"/>
                  </a:lnTo>
                  <a:lnTo>
                    <a:pt x="634" y="419"/>
                  </a:lnTo>
                  <a:lnTo>
                    <a:pt x="627" y="418"/>
                  </a:lnTo>
                  <a:lnTo>
                    <a:pt x="624" y="407"/>
                  </a:lnTo>
                  <a:lnTo>
                    <a:pt x="624" y="389"/>
                  </a:lnTo>
                  <a:lnTo>
                    <a:pt x="620" y="388"/>
                  </a:lnTo>
                  <a:lnTo>
                    <a:pt x="603" y="388"/>
                  </a:lnTo>
                  <a:lnTo>
                    <a:pt x="592" y="404"/>
                  </a:lnTo>
                  <a:lnTo>
                    <a:pt x="586" y="409"/>
                  </a:lnTo>
                  <a:lnTo>
                    <a:pt x="582" y="407"/>
                  </a:lnTo>
                  <a:lnTo>
                    <a:pt x="584" y="385"/>
                  </a:lnTo>
                  <a:lnTo>
                    <a:pt x="587" y="372"/>
                  </a:lnTo>
                  <a:lnTo>
                    <a:pt x="591" y="369"/>
                  </a:lnTo>
                  <a:lnTo>
                    <a:pt x="595" y="362"/>
                  </a:lnTo>
                  <a:lnTo>
                    <a:pt x="602" y="358"/>
                  </a:lnTo>
                  <a:lnTo>
                    <a:pt x="603" y="355"/>
                  </a:lnTo>
                  <a:lnTo>
                    <a:pt x="606" y="345"/>
                  </a:lnTo>
                  <a:lnTo>
                    <a:pt x="612" y="337"/>
                  </a:lnTo>
                  <a:lnTo>
                    <a:pt x="635" y="311"/>
                  </a:lnTo>
                  <a:lnTo>
                    <a:pt x="632" y="306"/>
                  </a:lnTo>
                  <a:lnTo>
                    <a:pt x="635" y="299"/>
                  </a:lnTo>
                  <a:lnTo>
                    <a:pt x="652" y="300"/>
                  </a:lnTo>
                  <a:lnTo>
                    <a:pt x="660" y="297"/>
                  </a:lnTo>
                  <a:lnTo>
                    <a:pt x="667" y="291"/>
                  </a:lnTo>
                  <a:lnTo>
                    <a:pt x="665" y="289"/>
                  </a:lnTo>
                  <a:lnTo>
                    <a:pt x="663" y="279"/>
                  </a:lnTo>
                  <a:lnTo>
                    <a:pt x="665" y="251"/>
                  </a:lnTo>
                  <a:lnTo>
                    <a:pt x="672" y="226"/>
                  </a:lnTo>
                  <a:lnTo>
                    <a:pt x="675" y="214"/>
                  </a:lnTo>
                  <a:lnTo>
                    <a:pt x="692" y="191"/>
                  </a:lnTo>
                  <a:lnTo>
                    <a:pt x="694" y="179"/>
                  </a:lnTo>
                  <a:lnTo>
                    <a:pt x="681" y="173"/>
                  </a:lnTo>
                  <a:lnTo>
                    <a:pt x="640" y="161"/>
                  </a:lnTo>
                  <a:lnTo>
                    <a:pt x="622" y="160"/>
                  </a:lnTo>
                  <a:lnTo>
                    <a:pt x="616" y="149"/>
                  </a:lnTo>
                  <a:lnTo>
                    <a:pt x="608" y="143"/>
                  </a:lnTo>
                  <a:lnTo>
                    <a:pt x="596" y="132"/>
                  </a:lnTo>
                  <a:lnTo>
                    <a:pt x="584" y="133"/>
                  </a:lnTo>
                  <a:lnTo>
                    <a:pt x="566" y="128"/>
                  </a:lnTo>
                  <a:lnTo>
                    <a:pt x="558" y="129"/>
                  </a:lnTo>
                  <a:lnTo>
                    <a:pt x="548" y="127"/>
                  </a:lnTo>
                  <a:lnTo>
                    <a:pt x="539" y="119"/>
                  </a:lnTo>
                  <a:lnTo>
                    <a:pt x="528" y="114"/>
                  </a:lnTo>
                  <a:lnTo>
                    <a:pt x="531" y="108"/>
                  </a:lnTo>
                  <a:lnTo>
                    <a:pt x="526" y="106"/>
                  </a:lnTo>
                  <a:lnTo>
                    <a:pt x="526" y="82"/>
                  </a:lnTo>
                  <a:lnTo>
                    <a:pt x="520" y="82"/>
                  </a:lnTo>
                  <a:lnTo>
                    <a:pt x="514" y="90"/>
                  </a:lnTo>
                  <a:lnTo>
                    <a:pt x="509" y="97"/>
                  </a:lnTo>
                  <a:lnTo>
                    <a:pt x="499" y="97"/>
                  </a:lnTo>
                  <a:lnTo>
                    <a:pt x="489" y="93"/>
                  </a:lnTo>
                  <a:lnTo>
                    <a:pt x="487" y="78"/>
                  </a:lnTo>
                  <a:lnTo>
                    <a:pt x="484" y="69"/>
                  </a:lnTo>
                  <a:lnTo>
                    <a:pt x="478" y="64"/>
                  </a:lnTo>
                  <a:lnTo>
                    <a:pt x="466" y="60"/>
                  </a:lnTo>
                  <a:lnTo>
                    <a:pt x="452" y="52"/>
                  </a:lnTo>
                  <a:lnTo>
                    <a:pt x="442" y="48"/>
                  </a:lnTo>
                  <a:lnTo>
                    <a:pt x="433" y="30"/>
                  </a:lnTo>
                  <a:lnTo>
                    <a:pt x="421" y="31"/>
                  </a:lnTo>
                  <a:lnTo>
                    <a:pt x="410" y="26"/>
                  </a:lnTo>
                  <a:lnTo>
                    <a:pt x="408" y="16"/>
                  </a:lnTo>
                  <a:lnTo>
                    <a:pt x="408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77" name="Freeform 188">
              <a:extLst>
                <a:ext uri="{FF2B5EF4-FFF2-40B4-BE49-F238E27FC236}">
                  <a16:creationId xmlns:a16="http://schemas.microsoft.com/office/drawing/2014/main" id="{5CF7BEC8-AFB2-CE9F-3040-35F96C722F5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594988" y="2082182"/>
              <a:ext cx="229785" cy="464427"/>
            </a:xfrm>
            <a:custGeom>
              <a:avLst/>
              <a:gdLst>
                <a:gd name="T0" fmla="*/ 0 w 430"/>
                <a:gd name="T1" fmla="*/ 0 h 814"/>
                <a:gd name="T2" fmla="*/ 0 w 430"/>
                <a:gd name="T3" fmla="*/ 0 h 814"/>
                <a:gd name="T4" fmla="*/ 0 w 430"/>
                <a:gd name="T5" fmla="*/ 0 h 814"/>
                <a:gd name="T6" fmla="*/ 0 w 430"/>
                <a:gd name="T7" fmla="*/ 0 h 814"/>
                <a:gd name="T8" fmla="*/ 0 w 430"/>
                <a:gd name="T9" fmla="*/ 0 h 814"/>
                <a:gd name="T10" fmla="*/ 0 w 430"/>
                <a:gd name="T11" fmla="*/ 0 h 814"/>
                <a:gd name="T12" fmla="*/ 0 w 430"/>
                <a:gd name="T13" fmla="*/ 0 h 814"/>
                <a:gd name="T14" fmla="*/ 0 w 430"/>
                <a:gd name="T15" fmla="*/ 0 h 814"/>
                <a:gd name="T16" fmla="*/ 0 w 430"/>
                <a:gd name="T17" fmla="*/ 0 h 814"/>
                <a:gd name="T18" fmla="*/ 0 w 430"/>
                <a:gd name="T19" fmla="*/ 0 h 814"/>
                <a:gd name="T20" fmla="*/ 0 w 430"/>
                <a:gd name="T21" fmla="*/ 0 h 814"/>
                <a:gd name="T22" fmla="*/ 0 w 430"/>
                <a:gd name="T23" fmla="*/ 0 h 814"/>
                <a:gd name="T24" fmla="*/ 0 w 430"/>
                <a:gd name="T25" fmla="*/ 0 h 814"/>
                <a:gd name="T26" fmla="*/ 0 w 430"/>
                <a:gd name="T27" fmla="*/ 0 h 814"/>
                <a:gd name="T28" fmla="*/ 0 w 430"/>
                <a:gd name="T29" fmla="*/ 0 h 814"/>
                <a:gd name="T30" fmla="*/ 0 w 430"/>
                <a:gd name="T31" fmla="*/ 0 h 814"/>
                <a:gd name="T32" fmla="*/ 0 w 430"/>
                <a:gd name="T33" fmla="*/ 0 h 814"/>
                <a:gd name="T34" fmla="*/ 0 w 430"/>
                <a:gd name="T35" fmla="*/ 0 h 814"/>
                <a:gd name="T36" fmla="*/ 0 w 430"/>
                <a:gd name="T37" fmla="*/ 0 h 814"/>
                <a:gd name="T38" fmla="*/ 0 w 430"/>
                <a:gd name="T39" fmla="*/ 0 h 814"/>
                <a:gd name="T40" fmla="*/ 0 w 430"/>
                <a:gd name="T41" fmla="*/ 0 h 814"/>
                <a:gd name="T42" fmla="*/ 0 w 430"/>
                <a:gd name="T43" fmla="*/ 0 h 814"/>
                <a:gd name="T44" fmla="*/ 0 w 430"/>
                <a:gd name="T45" fmla="*/ 0 h 814"/>
                <a:gd name="T46" fmla="*/ 0 w 430"/>
                <a:gd name="T47" fmla="*/ 0 h 814"/>
                <a:gd name="T48" fmla="*/ 0 w 430"/>
                <a:gd name="T49" fmla="*/ 0 h 814"/>
                <a:gd name="T50" fmla="*/ 0 w 430"/>
                <a:gd name="T51" fmla="*/ 0 h 814"/>
                <a:gd name="T52" fmla="*/ 0 w 430"/>
                <a:gd name="T53" fmla="*/ 0 h 814"/>
                <a:gd name="T54" fmla="*/ 0 w 430"/>
                <a:gd name="T55" fmla="*/ 0 h 814"/>
                <a:gd name="T56" fmla="*/ 0 w 430"/>
                <a:gd name="T57" fmla="*/ 0 h 814"/>
                <a:gd name="T58" fmla="*/ 0 w 430"/>
                <a:gd name="T59" fmla="*/ 0 h 814"/>
                <a:gd name="T60" fmla="*/ 0 w 430"/>
                <a:gd name="T61" fmla="*/ 0 h 814"/>
                <a:gd name="T62" fmla="*/ 0 w 430"/>
                <a:gd name="T63" fmla="*/ 0 h 814"/>
                <a:gd name="T64" fmla="*/ 0 w 430"/>
                <a:gd name="T65" fmla="*/ 0 h 814"/>
                <a:gd name="T66" fmla="*/ 0 w 430"/>
                <a:gd name="T67" fmla="*/ 0 h 814"/>
                <a:gd name="T68" fmla="*/ 0 w 430"/>
                <a:gd name="T69" fmla="*/ 0 h 814"/>
                <a:gd name="T70" fmla="*/ 0 w 430"/>
                <a:gd name="T71" fmla="*/ 0 h 814"/>
                <a:gd name="T72" fmla="*/ 0 w 430"/>
                <a:gd name="T73" fmla="*/ 0 h 814"/>
                <a:gd name="T74" fmla="*/ 0 w 430"/>
                <a:gd name="T75" fmla="*/ 0 h 814"/>
                <a:gd name="T76" fmla="*/ 0 w 430"/>
                <a:gd name="T77" fmla="*/ 0 h 814"/>
                <a:gd name="T78" fmla="*/ 0 w 430"/>
                <a:gd name="T79" fmla="*/ 0 h 814"/>
                <a:gd name="T80" fmla="*/ 0 w 430"/>
                <a:gd name="T81" fmla="*/ 0 h 814"/>
                <a:gd name="T82" fmla="*/ 0 w 430"/>
                <a:gd name="T83" fmla="*/ 0 h 814"/>
                <a:gd name="T84" fmla="*/ 0 w 430"/>
                <a:gd name="T85" fmla="*/ 0 h 814"/>
                <a:gd name="T86" fmla="*/ 0 w 430"/>
                <a:gd name="T87" fmla="*/ 0 h 814"/>
                <a:gd name="T88" fmla="*/ 0 w 430"/>
                <a:gd name="T89" fmla="*/ 0 h 814"/>
                <a:gd name="T90" fmla="*/ 0 w 430"/>
                <a:gd name="T91" fmla="*/ 0 h 814"/>
                <a:gd name="T92" fmla="*/ 0 w 430"/>
                <a:gd name="T93" fmla="*/ 0 h 814"/>
                <a:gd name="T94" fmla="*/ 0 w 430"/>
                <a:gd name="T95" fmla="*/ 0 h 814"/>
                <a:gd name="T96" fmla="*/ 0 w 430"/>
                <a:gd name="T97" fmla="*/ 0 h 814"/>
                <a:gd name="T98" fmla="*/ 0 w 430"/>
                <a:gd name="T99" fmla="*/ 0 h 814"/>
                <a:gd name="T100" fmla="*/ 0 w 430"/>
                <a:gd name="T101" fmla="*/ 0 h 814"/>
                <a:gd name="T102" fmla="*/ 0 w 430"/>
                <a:gd name="T103" fmla="*/ 0 h 814"/>
                <a:gd name="T104" fmla="*/ 0 w 430"/>
                <a:gd name="T105" fmla="*/ 0 h 814"/>
                <a:gd name="T106" fmla="*/ 0 w 430"/>
                <a:gd name="T107" fmla="*/ 0 h 814"/>
                <a:gd name="T108" fmla="*/ 0 w 430"/>
                <a:gd name="T109" fmla="*/ 0 h 8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30"/>
                <a:gd name="T166" fmla="*/ 0 h 814"/>
                <a:gd name="T167" fmla="*/ 430 w 430"/>
                <a:gd name="T168" fmla="*/ 814 h 81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30" h="814">
                  <a:moveTo>
                    <a:pt x="199" y="767"/>
                  </a:moveTo>
                  <a:lnTo>
                    <a:pt x="200" y="768"/>
                  </a:lnTo>
                  <a:lnTo>
                    <a:pt x="203" y="762"/>
                  </a:lnTo>
                  <a:lnTo>
                    <a:pt x="212" y="760"/>
                  </a:lnTo>
                  <a:lnTo>
                    <a:pt x="222" y="764"/>
                  </a:lnTo>
                  <a:lnTo>
                    <a:pt x="227" y="761"/>
                  </a:lnTo>
                  <a:lnTo>
                    <a:pt x="225" y="754"/>
                  </a:lnTo>
                  <a:lnTo>
                    <a:pt x="251" y="754"/>
                  </a:lnTo>
                  <a:lnTo>
                    <a:pt x="253" y="750"/>
                  </a:lnTo>
                  <a:lnTo>
                    <a:pt x="259" y="748"/>
                  </a:lnTo>
                  <a:lnTo>
                    <a:pt x="260" y="743"/>
                  </a:lnTo>
                  <a:lnTo>
                    <a:pt x="260" y="737"/>
                  </a:lnTo>
                  <a:lnTo>
                    <a:pt x="267" y="741"/>
                  </a:lnTo>
                  <a:lnTo>
                    <a:pt x="274" y="744"/>
                  </a:lnTo>
                  <a:lnTo>
                    <a:pt x="283" y="741"/>
                  </a:lnTo>
                  <a:lnTo>
                    <a:pt x="285" y="745"/>
                  </a:lnTo>
                  <a:lnTo>
                    <a:pt x="290" y="750"/>
                  </a:lnTo>
                  <a:lnTo>
                    <a:pt x="328" y="744"/>
                  </a:lnTo>
                  <a:lnTo>
                    <a:pt x="339" y="746"/>
                  </a:lnTo>
                  <a:lnTo>
                    <a:pt x="388" y="733"/>
                  </a:lnTo>
                  <a:lnTo>
                    <a:pt x="389" y="729"/>
                  </a:lnTo>
                  <a:lnTo>
                    <a:pt x="410" y="713"/>
                  </a:lnTo>
                  <a:lnTo>
                    <a:pt x="413" y="702"/>
                  </a:lnTo>
                  <a:lnTo>
                    <a:pt x="410" y="698"/>
                  </a:lnTo>
                  <a:lnTo>
                    <a:pt x="386" y="698"/>
                  </a:lnTo>
                  <a:lnTo>
                    <a:pt x="373" y="697"/>
                  </a:lnTo>
                  <a:lnTo>
                    <a:pt x="373" y="689"/>
                  </a:lnTo>
                  <a:lnTo>
                    <a:pt x="369" y="682"/>
                  </a:lnTo>
                  <a:lnTo>
                    <a:pt x="378" y="679"/>
                  </a:lnTo>
                  <a:lnTo>
                    <a:pt x="381" y="674"/>
                  </a:lnTo>
                  <a:lnTo>
                    <a:pt x="386" y="668"/>
                  </a:lnTo>
                  <a:lnTo>
                    <a:pt x="383" y="665"/>
                  </a:lnTo>
                  <a:lnTo>
                    <a:pt x="377" y="663"/>
                  </a:lnTo>
                  <a:lnTo>
                    <a:pt x="383" y="658"/>
                  </a:lnTo>
                  <a:lnTo>
                    <a:pt x="391" y="655"/>
                  </a:lnTo>
                  <a:lnTo>
                    <a:pt x="394" y="659"/>
                  </a:lnTo>
                  <a:lnTo>
                    <a:pt x="403" y="657"/>
                  </a:lnTo>
                  <a:lnTo>
                    <a:pt x="404" y="651"/>
                  </a:lnTo>
                  <a:lnTo>
                    <a:pt x="403" y="642"/>
                  </a:lnTo>
                  <a:lnTo>
                    <a:pt x="408" y="642"/>
                  </a:lnTo>
                  <a:lnTo>
                    <a:pt x="415" y="638"/>
                  </a:lnTo>
                  <a:lnTo>
                    <a:pt x="423" y="628"/>
                  </a:lnTo>
                  <a:lnTo>
                    <a:pt x="429" y="608"/>
                  </a:lnTo>
                  <a:lnTo>
                    <a:pt x="430" y="593"/>
                  </a:lnTo>
                  <a:lnTo>
                    <a:pt x="426" y="577"/>
                  </a:lnTo>
                  <a:lnTo>
                    <a:pt x="418" y="563"/>
                  </a:lnTo>
                  <a:lnTo>
                    <a:pt x="408" y="557"/>
                  </a:lnTo>
                  <a:lnTo>
                    <a:pt x="399" y="554"/>
                  </a:lnTo>
                  <a:lnTo>
                    <a:pt x="387" y="554"/>
                  </a:lnTo>
                  <a:lnTo>
                    <a:pt x="365" y="557"/>
                  </a:lnTo>
                  <a:lnTo>
                    <a:pt x="355" y="572"/>
                  </a:lnTo>
                  <a:lnTo>
                    <a:pt x="350" y="567"/>
                  </a:lnTo>
                  <a:lnTo>
                    <a:pt x="340" y="566"/>
                  </a:lnTo>
                  <a:lnTo>
                    <a:pt x="337" y="565"/>
                  </a:lnTo>
                  <a:lnTo>
                    <a:pt x="340" y="555"/>
                  </a:lnTo>
                  <a:lnTo>
                    <a:pt x="353" y="540"/>
                  </a:lnTo>
                  <a:lnTo>
                    <a:pt x="355" y="534"/>
                  </a:lnTo>
                  <a:lnTo>
                    <a:pt x="355" y="525"/>
                  </a:lnTo>
                  <a:lnTo>
                    <a:pt x="345" y="512"/>
                  </a:lnTo>
                  <a:lnTo>
                    <a:pt x="339" y="507"/>
                  </a:lnTo>
                  <a:lnTo>
                    <a:pt x="335" y="501"/>
                  </a:lnTo>
                  <a:lnTo>
                    <a:pt x="330" y="498"/>
                  </a:lnTo>
                  <a:lnTo>
                    <a:pt x="317" y="485"/>
                  </a:lnTo>
                  <a:lnTo>
                    <a:pt x="321" y="482"/>
                  </a:lnTo>
                  <a:lnTo>
                    <a:pt x="332" y="492"/>
                  </a:lnTo>
                  <a:lnTo>
                    <a:pt x="344" y="495"/>
                  </a:lnTo>
                  <a:lnTo>
                    <a:pt x="345" y="493"/>
                  </a:lnTo>
                  <a:lnTo>
                    <a:pt x="343" y="477"/>
                  </a:lnTo>
                  <a:lnTo>
                    <a:pt x="335" y="471"/>
                  </a:lnTo>
                  <a:lnTo>
                    <a:pt x="326" y="459"/>
                  </a:lnTo>
                  <a:lnTo>
                    <a:pt x="323" y="444"/>
                  </a:lnTo>
                  <a:lnTo>
                    <a:pt x="316" y="433"/>
                  </a:lnTo>
                  <a:lnTo>
                    <a:pt x="311" y="423"/>
                  </a:lnTo>
                  <a:lnTo>
                    <a:pt x="301" y="410"/>
                  </a:lnTo>
                  <a:lnTo>
                    <a:pt x="290" y="405"/>
                  </a:lnTo>
                  <a:lnTo>
                    <a:pt x="276" y="402"/>
                  </a:lnTo>
                  <a:lnTo>
                    <a:pt x="273" y="399"/>
                  </a:lnTo>
                  <a:lnTo>
                    <a:pt x="268" y="385"/>
                  </a:lnTo>
                  <a:lnTo>
                    <a:pt x="260" y="374"/>
                  </a:lnTo>
                  <a:lnTo>
                    <a:pt x="254" y="361"/>
                  </a:lnTo>
                  <a:lnTo>
                    <a:pt x="252" y="350"/>
                  </a:lnTo>
                  <a:lnTo>
                    <a:pt x="248" y="312"/>
                  </a:lnTo>
                  <a:lnTo>
                    <a:pt x="240" y="305"/>
                  </a:lnTo>
                  <a:lnTo>
                    <a:pt x="228" y="293"/>
                  </a:lnTo>
                  <a:lnTo>
                    <a:pt x="221" y="282"/>
                  </a:lnTo>
                  <a:lnTo>
                    <a:pt x="193" y="266"/>
                  </a:lnTo>
                  <a:lnTo>
                    <a:pt x="188" y="265"/>
                  </a:lnTo>
                  <a:lnTo>
                    <a:pt x="171" y="271"/>
                  </a:lnTo>
                  <a:lnTo>
                    <a:pt x="156" y="267"/>
                  </a:lnTo>
                  <a:lnTo>
                    <a:pt x="155" y="265"/>
                  </a:lnTo>
                  <a:lnTo>
                    <a:pt x="157" y="258"/>
                  </a:lnTo>
                  <a:lnTo>
                    <a:pt x="163" y="251"/>
                  </a:lnTo>
                  <a:lnTo>
                    <a:pt x="172" y="249"/>
                  </a:lnTo>
                  <a:lnTo>
                    <a:pt x="182" y="249"/>
                  </a:lnTo>
                  <a:lnTo>
                    <a:pt x="192" y="244"/>
                  </a:lnTo>
                  <a:lnTo>
                    <a:pt x="181" y="229"/>
                  </a:lnTo>
                  <a:lnTo>
                    <a:pt x="176" y="228"/>
                  </a:lnTo>
                  <a:lnTo>
                    <a:pt x="174" y="222"/>
                  </a:lnTo>
                  <a:lnTo>
                    <a:pt x="183" y="223"/>
                  </a:lnTo>
                  <a:lnTo>
                    <a:pt x="189" y="218"/>
                  </a:lnTo>
                  <a:lnTo>
                    <a:pt x="195" y="210"/>
                  </a:lnTo>
                  <a:lnTo>
                    <a:pt x="198" y="202"/>
                  </a:lnTo>
                  <a:lnTo>
                    <a:pt x="211" y="183"/>
                  </a:lnTo>
                  <a:lnTo>
                    <a:pt x="212" y="173"/>
                  </a:lnTo>
                  <a:lnTo>
                    <a:pt x="216" y="160"/>
                  </a:lnTo>
                  <a:lnTo>
                    <a:pt x="220" y="145"/>
                  </a:lnTo>
                  <a:lnTo>
                    <a:pt x="233" y="129"/>
                  </a:lnTo>
                  <a:lnTo>
                    <a:pt x="233" y="109"/>
                  </a:lnTo>
                  <a:lnTo>
                    <a:pt x="230" y="100"/>
                  </a:lnTo>
                  <a:lnTo>
                    <a:pt x="214" y="99"/>
                  </a:lnTo>
                  <a:lnTo>
                    <a:pt x="200" y="102"/>
                  </a:lnTo>
                  <a:lnTo>
                    <a:pt x="178" y="98"/>
                  </a:lnTo>
                  <a:lnTo>
                    <a:pt x="166" y="100"/>
                  </a:lnTo>
                  <a:lnTo>
                    <a:pt x="154" y="97"/>
                  </a:lnTo>
                  <a:lnTo>
                    <a:pt x="118" y="109"/>
                  </a:lnTo>
                  <a:lnTo>
                    <a:pt x="111" y="116"/>
                  </a:lnTo>
                  <a:lnTo>
                    <a:pt x="106" y="113"/>
                  </a:lnTo>
                  <a:lnTo>
                    <a:pt x="108" y="105"/>
                  </a:lnTo>
                  <a:lnTo>
                    <a:pt x="108" y="102"/>
                  </a:lnTo>
                  <a:lnTo>
                    <a:pt x="99" y="104"/>
                  </a:lnTo>
                  <a:lnTo>
                    <a:pt x="99" y="99"/>
                  </a:lnTo>
                  <a:lnTo>
                    <a:pt x="114" y="95"/>
                  </a:lnTo>
                  <a:lnTo>
                    <a:pt x="124" y="86"/>
                  </a:lnTo>
                  <a:lnTo>
                    <a:pt x="107" y="84"/>
                  </a:lnTo>
                  <a:lnTo>
                    <a:pt x="108" y="77"/>
                  </a:lnTo>
                  <a:lnTo>
                    <a:pt x="109" y="78"/>
                  </a:lnTo>
                  <a:lnTo>
                    <a:pt x="119" y="66"/>
                  </a:lnTo>
                  <a:lnTo>
                    <a:pt x="139" y="54"/>
                  </a:lnTo>
                  <a:lnTo>
                    <a:pt x="147" y="39"/>
                  </a:lnTo>
                  <a:lnTo>
                    <a:pt x="161" y="30"/>
                  </a:lnTo>
                  <a:lnTo>
                    <a:pt x="163" y="4"/>
                  </a:lnTo>
                  <a:lnTo>
                    <a:pt x="151" y="0"/>
                  </a:lnTo>
                  <a:lnTo>
                    <a:pt x="138" y="4"/>
                  </a:lnTo>
                  <a:lnTo>
                    <a:pt x="124" y="8"/>
                  </a:lnTo>
                  <a:lnTo>
                    <a:pt x="112" y="8"/>
                  </a:lnTo>
                  <a:lnTo>
                    <a:pt x="96" y="12"/>
                  </a:lnTo>
                  <a:lnTo>
                    <a:pt x="95" y="11"/>
                  </a:lnTo>
                  <a:lnTo>
                    <a:pt x="75" y="6"/>
                  </a:lnTo>
                  <a:lnTo>
                    <a:pt x="64" y="9"/>
                  </a:lnTo>
                  <a:lnTo>
                    <a:pt x="54" y="27"/>
                  </a:lnTo>
                  <a:lnTo>
                    <a:pt x="54" y="41"/>
                  </a:lnTo>
                  <a:lnTo>
                    <a:pt x="42" y="43"/>
                  </a:lnTo>
                  <a:lnTo>
                    <a:pt x="43" y="57"/>
                  </a:lnTo>
                  <a:lnTo>
                    <a:pt x="37" y="60"/>
                  </a:lnTo>
                  <a:lnTo>
                    <a:pt x="39" y="65"/>
                  </a:lnTo>
                  <a:lnTo>
                    <a:pt x="47" y="73"/>
                  </a:lnTo>
                  <a:lnTo>
                    <a:pt x="20" y="88"/>
                  </a:lnTo>
                  <a:lnTo>
                    <a:pt x="20" y="109"/>
                  </a:lnTo>
                  <a:lnTo>
                    <a:pt x="27" y="113"/>
                  </a:lnTo>
                  <a:lnTo>
                    <a:pt x="25" y="115"/>
                  </a:lnTo>
                  <a:lnTo>
                    <a:pt x="18" y="114"/>
                  </a:lnTo>
                  <a:lnTo>
                    <a:pt x="16" y="115"/>
                  </a:lnTo>
                  <a:lnTo>
                    <a:pt x="16" y="130"/>
                  </a:lnTo>
                  <a:lnTo>
                    <a:pt x="22" y="131"/>
                  </a:lnTo>
                  <a:lnTo>
                    <a:pt x="34" y="129"/>
                  </a:lnTo>
                  <a:lnTo>
                    <a:pt x="33" y="133"/>
                  </a:lnTo>
                  <a:lnTo>
                    <a:pt x="27" y="136"/>
                  </a:lnTo>
                  <a:lnTo>
                    <a:pt x="33" y="138"/>
                  </a:lnTo>
                  <a:lnTo>
                    <a:pt x="28" y="147"/>
                  </a:lnTo>
                  <a:lnTo>
                    <a:pt x="27" y="151"/>
                  </a:lnTo>
                  <a:lnTo>
                    <a:pt x="28" y="157"/>
                  </a:lnTo>
                  <a:lnTo>
                    <a:pt x="26" y="158"/>
                  </a:lnTo>
                  <a:lnTo>
                    <a:pt x="22" y="163"/>
                  </a:lnTo>
                  <a:lnTo>
                    <a:pt x="22" y="167"/>
                  </a:lnTo>
                  <a:lnTo>
                    <a:pt x="18" y="170"/>
                  </a:lnTo>
                  <a:lnTo>
                    <a:pt x="16" y="178"/>
                  </a:lnTo>
                  <a:lnTo>
                    <a:pt x="16" y="192"/>
                  </a:lnTo>
                  <a:lnTo>
                    <a:pt x="5" y="195"/>
                  </a:lnTo>
                  <a:lnTo>
                    <a:pt x="0" y="197"/>
                  </a:lnTo>
                  <a:lnTo>
                    <a:pt x="0" y="201"/>
                  </a:lnTo>
                  <a:lnTo>
                    <a:pt x="10" y="202"/>
                  </a:lnTo>
                  <a:lnTo>
                    <a:pt x="11" y="211"/>
                  </a:lnTo>
                  <a:lnTo>
                    <a:pt x="23" y="222"/>
                  </a:lnTo>
                  <a:lnTo>
                    <a:pt x="33" y="215"/>
                  </a:lnTo>
                  <a:lnTo>
                    <a:pt x="43" y="206"/>
                  </a:lnTo>
                  <a:lnTo>
                    <a:pt x="44" y="205"/>
                  </a:lnTo>
                  <a:lnTo>
                    <a:pt x="45" y="206"/>
                  </a:lnTo>
                  <a:lnTo>
                    <a:pt x="45" y="212"/>
                  </a:lnTo>
                  <a:lnTo>
                    <a:pt x="33" y="243"/>
                  </a:lnTo>
                  <a:lnTo>
                    <a:pt x="31" y="254"/>
                  </a:lnTo>
                  <a:lnTo>
                    <a:pt x="31" y="259"/>
                  </a:lnTo>
                  <a:lnTo>
                    <a:pt x="28" y="264"/>
                  </a:lnTo>
                  <a:lnTo>
                    <a:pt x="26" y="275"/>
                  </a:lnTo>
                  <a:lnTo>
                    <a:pt x="26" y="283"/>
                  </a:lnTo>
                  <a:lnTo>
                    <a:pt x="32" y="282"/>
                  </a:lnTo>
                  <a:lnTo>
                    <a:pt x="34" y="286"/>
                  </a:lnTo>
                  <a:lnTo>
                    <a:pt x="33" y="292"/>
                  </a:lnTo>
                  <a:lnTo>
                    <a:pt x="25" y="307"/>
                  </a:lnTo>
                  <a:lnTo>
                    <a:pt x="20" y="331"/>
                  </a:lnTo>
                  <a:lnTo>
                    <a:pt x="20" y="334"/>
                  </a:lnTo>
                  <a:lnTo>
                    <a:pt x="26" y="334"/>
                  </a:lnTo>
                  <a:lnTo>
                    <a:pt x="28" y="330"/>
                  </a:lnTo>
                  <a:lnTo>
                    <a:pt x="32" y="318"/>
                  </a:lnTo>
                  <a:lnTo>
                    <a:pt x="43" y="291"/>
                  </a:lnTo>
                  <a:lnTo>
                    <a:pt x="42" y="277"/>
                  </a:lnTo>
                  <a:lnTo>
                    <a:pt x="39" y="270"/>
                  </a:lnTo>
                  <a:lnTo>
                    <a:pt x="38" y="266"/>
                  </a:lnTo>
                  <a:lnTo>
                    <a:pt x="54" y="248"/>
                  </a:lnTo>
                  <a:lnTo>
                    <a:pt x="54" y="254"/>
                  </a:lnTo>
                  <a:lnTo>
                    <a:pt x="47" y="271"/>
                  </a:lnTo>
                  <a:lnTo>
                    <a:pt x="47" y="282"/>
                  </a:lnTo>
                  <a:lnTo>
                    <a:pt x="49" y="278"/>
                  </a:lnTo>
                  <a:lnTo>
                    <a:pt x="52" y="277"/>
                  </a:lnTo>
                  <a:lnTo>
                    <a:pt x="53" y="273"/>
                  </a:lnTo>
                  <a:lnTo>
                    <a:pt x="55" y="271"/>
                  </a:lnTo>
                  <a:lnTo>
                    <a:pt x="61" y="276"/>
                  </a:lnTo>
                  <a:lnTo>
                    <a:pt x="64" y="275"/>
                  </a:lnTo>
                  <a:lnTo>
                    <a:pt x="64" y="261"/>
                  </a:lnTo>
                  <a:lnTo>
                    <a:pt x="72" y="266"/>
                  </a:lnTo>
                  <a:lnTo>
                    <a:pt x="79" y="272"/>
                  </a:lnTo>
                  <a:lnTo>
                    <a:pt x="74" y="273"/>
                  </a:lnTo>
                  <a:lnTo>
                    <a:pt x="71" y="278"/>
                  </a:lnTo>
                  <a:lnTo>
                    <a:pt x="69" y="283"/>
                  </a:lnTo>
                  <a:lnTo>
                    <a:pt x="68" y="298"/>
                  </a:lnTo>
                  <a:lnTo>
                    <a:pt x="71" y="303"/>
                  </a:lnTo>
                  <a:lnTo>
                    <a:pt x="77" y="308"/>
                  </a:lnTo>
                  <a:lnTo>
                    <a:pt x="79" y="319"/>
                  </a:lnTo>
                  <a:lnTo>
                    <a:pt x="74" y="328"/>
                  </a:lnTo>
                  <a:lnTo>
                    <a:pt x="69" y="341"/>
                  </a:lnTo>
                  <a:lnTo>
                    <a:pt x="61" y="355"/>
                  </a:lnTo>
                  <a:lnTo>
                    <a:pt x="59" y="363"/>
                  </a:lnTo>
                  <a:lnTo>
                    <a:pt x="60" y="372"/>
                  </a:lnTo>
                  <a:lnTo>
                    <a:pt x="54" y="367"/>
                  </a:lnTo>
                  <a:lnTo>
                    <a:pt x="52" y="372"/>
                  </a:lnTo>
                  <a:lnTo>
                    <a:pt x="59" y="395"/>
                  </a:lnTo>
                  <a:lnTo>
                    <a:pt x="64" y="399"/>
                  </a:lnTo>
                  <a:lnTo>
                    <a:pt x="66" y="398"/>
                  </a:lnTo>
                  <a:lnTo>
                    <a:pt x="65" y="384"/>
                  </a:lnTo>
                  <a:lnTo>
                    <a:pt x="66" y="380"/>
                  </a:lnTo>
                  <a:lnTo>
                    <a:pt x="70" y="379"/>
                  </a:lnTo>
                  <a:lnTo>
                    <a:pt x="87" y="391"/>
                  </a:lnTo>
                  <a:lnTo>
                    <a:pt x="92" y="394"/>
                  </a:lnTo>
                  <a:lnTo>
                    <a:pt x="95" y="388"/>
                  </a:lnTo>
                  <a:lnTo>
                    <a:pt x="95" y="380"/>
                  </a:lnTo>
                  <a:lnTo>
                    <a:pt x="119" y="383"/>
                  </a:lnTo>
                  <a:lnTo>
                    <a:pt x="135" y="374"/>
                  </a:lnTo>
                  <a:lnTo>
                    <a:pt x="136" y="372"/>
                  </a:lnTo>
                  <a:lnTo>
                    <a:pt x="144" y="368"/>
                  </a:lnTo>
                  <a:lnTo>
                    <a:pt x="165" y="371"/>
                  </a:lnTo>
                  <a:lnTo>
                    <a:pt x="162" y="373"/>
                  </a:lnTo>
                  <a:lnTo>
                    <a:pt x="158" y="373"/>
                  </a:lnTo>
                  <a:lnTo>
                    <a:pt x="150" y="380"/>
                  </a:lnTo>
                  <a:lnTo>
                    <a:pt x="138" y="406"/>
                  </a:lnTo>
                  <a:lnTo>
                    <a:pt x="135" y="413"/>
                  </a:lnTo>
                  <a:lnTo>
                    <a:pt x="138" y="421"/>
                  </a:lnTo>
                  <a:lnTo>
                    <a:pt x="145" y="431"/>
                  </a:lnTo>
                  <a:lnTo>
                    <a:pt x="149" y="438"/>
                  </a:lnTo>
                  <a:lnTo>
                    <a:pt x="150" y="439"/>
                  </a:lnTo>
                  <a:lnTo>
                    <a:pt x="151" y="437"/>
                  </a:lnTo>
                  <a:lnTo>
                    <a:pt x="158" y="449"/>
                  </a:lnTo>
                  <a:lnTo>
                    <a:pt x="172" y="444"/>
                  </a:lnTo>
                  <a:lnTo>
                    <a:pt x="181" y="437"/>
                  </a:lnTo>
                  <a:lnTo>
                    <a:pt x="184" y="438"/>
                  </a:lnTo>
                  <a:lnTo>
                    <a:pt x="181" y="444"/>
                  </a:lnTo>
                  <a:lnTo>
                    <a:pt x="179" y="461"/>
                  </a:lnTo>
                  <a:lnTo>
                    <a:pt x="174" y="468"/>
                  </a:lnTo>
                  <a:lnTo>
                    <a:pt x="169" y="479"/>
                  </a:lnTo>
                  <a:lnTo>
                    <a:pt x="179" y="481"/>
                  </a:lnTo>
                  <a:lnTo>
                    <a:pt x="174" y="490"/>
                  </a:lnTo>
                  <a:lnTo>
                    <a:pt x="168" y="506"/>
                  </a:lnTo>
                  <a:lnTo>
                    <a:pt x="172" y="509"/>
                  </a:lnTo>
                  <a:lnTo>
                    <a:pt x="177" y="513"/>
                  </a:lnTo>
                  <a:lnTo>
                    <a:pt x="173" y="514"/>
                  </a:lnTo>
                  <a:lnTo>
                    <a:pt x="168" y="523"/>
                  </a:lnTo>
                  <a:lnTo>
                    <a:pt x="128" y="522"/>
                  </a:lnTo>
                  <a:lnTo>
                    <a:pt x="115" y="529"/>
                  </a:lnTo>
                  <a:lnTo>
                    <a:pt x="102" y="540"/>
                  </a:lnTo>
                  <a:lnTo>
                    <a:pt x="79" y="565"/>
                  </a:lnTo>
                  <a:lnTo>
                    <a:pt x="84" y="568"/>
                  </a:lnTo>
                  <a:lnTo>
                    <a:pt x="98" y="558"/>
                  </a:lnTo>
                  <a:lnTo>
                    <a:pt x="109" y="556"/>
                  </a:lnTo>
                  <a:lnTo>
                    <a:pt x="111" y="565"/>
                  </a:lnTo>
                  <a:lnTo>
                    <a:pt x="112" y="585"/>
                  </a:lnTo>
                  <a:lnTo>
                    <a:pt x="113" y="589"/>
                  </a:lnTo>
                  <a:lnTo>
                    <a:pt x="119" y="593"/>
                  </a:lnTo>
                  <a:lnTo>
                    <a:pt x="108" y="615"/>
                  </a:lnTo>
                  <a:lnTo>
                    <a:pt x="79" y="636"/>
                  </a:lnTo>
                  <a:lnTo>
                    <a:pt x="48" y="652"/>
                  </a:lnTo>
                  <a:lnTo>
                    <a:pt x="50" y="654"/>
                  </a:lnTo>
                  <a:lnTo>
                    <a:pt x="52" y="660"/>
                  </a:lnTo>
                  <a:lnTo>
                    <a:pt x="56" y="671"/>
                  </a:lnTo>
                  <a:lnTo>
                    <a:pt x="59" y="674"/>
                  </a:lnTo>
                  <a:lnTo>
                    <a:pt x="65" y="675"/>
                  </a:lnTo>
                  <a:lnTo>
                    <a:pt x="72" y="671"/>
                  </a:lnTo>
                  <a:lnTo>
                    <a:pt x="82" y="663"/>
                  </a:lnTo>
                  <a:lnTo>
                    <a:pt x="91" y="659"/>
                  </a:lnTo>
                  <a:lnTo>
                    <a:pt x="95" y="660"/>
                  </a:lnTo>
                  <a:lnTo>
                    <a:pt x="97" y="674"/>
                  </a:lnTo>
                  <a:lnTo>
                    <a:pt x="101" y="678"/>
                  </a:lnTo>
                  <a:lnTo>
                    <a:pt x="113" y="678"/>
                  </a:lnTo>
                  <a:lnTo>
                    <a:pt x="120" y="671"/>
                  </a:lnTo>
                  <a:lnTo>
                    <a:pt x="123" y="670"/>
                  </a:lnTo>
                  <a:lnTo>
                    <a:pt x="127" y="673"/>
                  </a:lnTo>
                  <a:lnTo>
                    <a:pt x="141" y="692"/>
                  </a:lnTo>
                  <a:lnTo>
                    <a:pt x="147" y="694"/>
                  </a:lnTo>
                  <a:lnTo>
                    <a:pt x="156" y="694"/>
                  </a:lnTo>
                  <a:lnTo>
                    <a:pt x="162" y="689"/>
                  </a:lnTo>
                  <a:lnTo>
                    <a:pt x="166" y="682"/>
                  </a:lnTo>
                  <a:lnTo>
                    <a:pt x="179" y="675"/>
                  </a:lnTo>
                  <a:lnTo>
                    <a:pt x="194" y="663"/>
                  </a:lnTo>
                  <a:lnTo>
                    <a:pt x="195" y="670"/>
                  </a:lnTo>
                  <a:lnTo>
                    <a:pt x="190" y="678"/>
                  </a:lnTo>
                  <a:lnTo>
                    <a:pt x="174" y="697"/>
                  </a:lnTo>
                  <a:lnTo>
                    <a:pt x="172" y="705"/>
                  </a:lnTo>
                  <a:lnTo>
                    <a:pt x="168" y="708"/>
                  </a:lnTo>
                  <a:lnTo>
                    <a:pt x="156" y="711"/>
                  </a:lnTo>
                  <a:lnTo>
                    <a:pt x="124" y="711"/>
                  </a:lnTo>
                  <a:lnTo>
                    <a:pt x="109" y="713"/>
                  </a:lnTo>
                  <a:lnTo>
                    <a:pt x="104" y="724"/>
                  </a:lnTo>
                  <a:lnTo>
                    <a:pt x="95" y="730"/>
                  </a:lnTo>
                  <a:lnTo>
                    <a:pt x="88" y="745"/>
                  </a:lnTo>
                  <a:lnTo>
                    <a:pt x="47" y="791"/>
                  </a:lnTo>
                  <a:lnTo>
                    <a:pt x="31" y="800"/>
                  </a:lnTo>
                  <a:lnTo>
                    <a:pt x="28" y="809"/>
                  </a:lnTo>
                  <a:lnTo>
                    <a:pt x="28" y="813"/>
                  </a:lnTo>
                  <a:lnTo>
                    <a:pt x="31" y="807"/>
                  </a:lnTo>
                  <a:lnTo>
                    <a:pt x="34" y="804"/>
                  </a:lnTo>
                  <a:lnTo>
                    <a:pt x="45" y="810"/>
                  </a:lnTo>
                  <a:lnTo>
                    <a:pt x="50" y="809"/>
                  </a:lnTo>
                  <a:lnTo>
                    <a:pt x="54" y="814"/>
                  </a:lnTo>
                  <a:lnTo>
                    <a:pt x="58" y="809"/>
                  </a:lnTo>
                  <a:lnTo>
                    <a:pt x="60" y="800"/>
                  </a:lnTo>
                  <a:lnTo>
                    <a:pt x="71" y="796"/>
                  </a:lnTo>
                  <a:lnTo>
                    <a:pt x="77" y="784"/>
                  </a:lnTo>
                  <a:lnTo>
                    <a:pt x="107" y="783"/>
                  </a:lnTo>
                  <a:lnTo>
                    <a:pt x="127" y="791"/>
                  </a:lnTo>
                  <a:lnTo>
                    <a:pt x="134" y="791"/>
                  </a:lnTo>
                  <a:lnTo>
                    <a:pt x="141" y="782"/>
                  </a:lnTo>
                  <a:lnTo>
                    <a:pt x="145" y="760"/>
                  </a:lnTo>
                  <a:lnTo>
                    <a:pt x="149" y="759"/>
                  </a:lnTo>
                  <a:lnTo>
                    <a:pt x="156" y="759"/>
                  </a:lnTo>
                  <a:lnTo>
                    <a:pt x="166" y="754"/>
                  </a:lnTo>
                  <a:lnTo>
                    <a:pt x="182" y="750"/>
                  </a:lnTo>
                  <a:lnTo>
                    <a:pt x="199" y="76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78" name="Freeform 189">
              <a:extLst>
                <a:ext uri="{FF2B5EF4-FFF2-40B4-BE49-F238E27FC236}">
                  <a16:creationId xmlns:a16="http://schemas.microsoft.com/office/drawing/2014/main" id="{0E9F9749-3647-6F57-53D1-509F1D59B19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536205" y="2273081"/>
              <a:ext cx="74814" cy="71231"/>
            </a:xfrm>
            <a:custGeom>
              <a:avLst/>
              <a:gdLst>
                <a:gd name="T0" fmla="*/ 0 w 140"/>
                <a:gd name="T1" fmla="*/ 0 h 126"/>
                <a:gd name="T2" fmla="*/ 0 w 140"/>
                <a:gd name="T3" fmla="*/ 0 h 126"/>
                <a:gd name="T4" fmla="*/ 0 w 140"/>
                <a:gd name="T5" fmla="*/ 0 h 126"/>
                <a:gd name="T6" fmla="*/ 0 w 140"/>
                <a:gd name="T7" fmla="*/ 0 h 126"/>
                <a:gd name="T8" fmla="*/ 0 w 140"/>
                <a:gd name="T9" fmla="*/ 0 h 126"/>
                <a:gd name="T10" fmla="*/ 0 w 140"/>
                <a:gd name="T11" fmla="*/ 0 h 126"/>
                <a:gd name="T12" fmla="*/ 0 w 140"/>
                <a:gd name="T13" fmla="*/ 0 h 126"/>
                <a:gd name="T14" fmla="*/ 0 w 140"/>
                <a:gd name="T15" fmla="*/ 0 h 126"/>
                <a:gd name="T16" fmla="*/ 0 w 140"/>
                <a:gd name="T17" fmla="*/ 0 h 126"/>
                <a:gd name="T18" fmla="*/ 0 w 140"/>
                <a:gd name="T19" fmla="*/ 0 h 126"/>
                <a:gd name="T20" fmla="*/ 0 w 140"/>
                <a:gd name="T21" fmla="*/ 0 h 126"/>
                <a:gd name="T22" fmla="*/ 0 w 140"/>
                <a:gd name="T23" fmla="*/ 0 h 126"/>
                <a:gd name="T24" fmla="*/ 0 w 140"/>
                <a:gd name="T25" fmla="*/ 0 h 126"/>
                <a:gd name="T26" fmla="*/ 0 w 140"/>
                <a:gd name="T27" fmla="*/ 0 h 126"/>
                <a:gd name="T28" fmla="*/ 0 w 140"/>
                <a:gd name="T29" fmla="*/ 0 h 126"/>
                <a:gd name="T30" fmla="*/ 0 w 140"/>
                <a:gd name="T31" fmla="*/ 0 h 126"/>
                <a:gd name="T32" fmla="*/ 0 w 140"/>
                <a:gd name="T33" fmla="*/ 0 h 126"/>
                <a:gd name="T34" fmla="*/ 0 w 140"/>
                <a:gd name="T35" fmla="*/ 0 h 126"/>
                <a:gd name="T36" fmla="*/ 0 w 140"/>
                <a:gd name="T37" fmla="*/ 0 h 126"/>
                <a:gd name="T38" fmla="*/ 0 w 140"/>
                <a:gd name="T39" fmla="*/ 0 h 126"/>
                <a:gd name="T40" fmla="*/ 0 w 140"/>
                <a:gd name="T41" fmla="*/ 0 h 126"/>
                <a:gd name="T42" fmla="*/ 0 w 140"/>
                <a:gd name="T43" fmla="*/ 0 h 126"/>
                <a:gd name="T44" fmla="*/ 0 w 140"/>
                <a:gd name="T45" fmla="*/ 0 h 126"/>
                <a:gd name="T46" fmla="*/ 0 w 140"/>
                <a:gd name="T47" fmla="*/ 0 h 126"/>
                <a:gd name="T48" fmla="*/ 0 w 140"/>
                <a:gd name="T49" fmla="*/ 0 h 126"/>
                <a:gd name="T50" fmla="*/ 0 w 140"/>
                <a:gd name="T51" fmla="*/ 0 h 126"/>
                <a:gd name="T52" fmla="*/ 0 w 140"/>
                <a:gd name="T53" fmla="*/ 0 h 126"/>
                <a:gd name="T54" fmla="*/ 0 w 140"/>
                <a:gd name="T55" fmla="*/ 0 h 126"/>
                <a:gd name="T56" fmla="*/ 0 w 140"/>
                <a:gd name="T57" fmla="*/ 0 h 126"/>
                <a:gd name="T58" fmla="*/ 0 w 140"/>
                <a:gd name="T59" fmla="*/ 0 h 126"/>
                <a:gd name="T60" fmla="*/ 0 w 140"/>
                <a:gd name="T61" fmla="*/ 0 h 126"/>
                <a:gd name="T62" fmla="*/ 0 w 140"/>
                <a:gd name="T63" fmla="*/ 0 h 126"/>
                <a:gd name="T64" fmla="*/ 0 w 140"/>
                <a:gd name="T65" fmla="*/ 0 h 126"/>
                <a:gd name="T66" fmla="*/ 0 w 140"/>
                <a:gd name="T67" fmla="*/ 0 h 126"/>
                <a:gd name="T68" fmla="*/ 0 w 140"/>
                <a:gd name="T69" fmla="*/ 0 h 126"/>
                <a:gd name="T70" fmla="*/ 0 w 140"/>
                <a:gd name="T71" fmla="*/ 0 h 126"/>
                <a:gd name="T72" fmla="*/ 0 w 140"/>
                <a:gd name="T73" fmla="*/ 0 h 126"/>
                <a:gd name="T74" fmla="*/ 0 w 140"/>
                <a:gd name="T75" fmla="*/ 0 h 126"/>
                <a:gd name="T76" fmla="*/ 0 w 140"/>
                <a:gd name="T77" fmla="*/ 0 h 126"/>
                <a:gd name="T78" fmla="*/ 0 w 140"/>
                <a:gd name="T79" fmla="*/ 0 h 126"/>
                <a:gd name="T80" fmla="*/ 0 w 140"/>
                <a:gd name="T81" fmla="*/ 0 h 126"/>
                <a:gd name="T82" fmla="*/ 0 w 140"/>
                <a:gd name="T83" fmla="*/ 0 h 126"/>
                <a:gd name="T84" fmla="*/ 0 w 140"/>
                <a:gd name="T85" fmla="*/ 0 h 126"/>
                <a:gd name="T86" fmla="*/ 0 w 140"/>
                <a:gd name="T87" fmla="*/ 0 h 126"/>
                <a:gd name="T88" fmla="*/ 0 w 140"/>
                <a:gd name="T89" fmla="*/ 0 h 126"/>
                <a:gd name="T90" fmla="*/ 0 w 140"/>
                <a:gd name="T91" fmla="*/ 0 h 126"/>
                <a:gd name="T92" fmla="*/ 0 w 140"/>
                <a:gd name="T93" fmla="*/ 0 h 126"/>
                <a:gd name="T94" fmla="*/ 0 w 140"/>
                <a:gd name="T95" fmla="*/ 0 h 12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40"/>
                <a:gd name="T145" fmla="*/ 0 h 126"/>
                <a:gd name="T146" fmla="*/ 140 w 140"/>
                <a:gd name="T147" fmla="*/ 126 h 12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40" h="126">
                  <a:moveTo>
                    <a:pt x="28" y="36"/>
                  </a:moveTo>
                  <a:lnTo>
                    <a:pt x="27" y="48"/>
                  </a:lnTo>
                  <a:lnTo>
                    <a:pt x="21" y="58"/>
                  </a:lnTo>
                  <a:lnTo>
                    <a:pt x="11" y="59"/>
                  </a:lnTo>
                  <a:lnTo>
                    <a:pt x="11" y="72"/>
                  </a:lnTo>
                  <a:lnTo>
                    <a:pt x="0" y="80"/>
                  </a:lnTo>
                  <a:lnTo>
                    <a:pt x="16" y="91"/>
                  </a:lnTo>
                  <a:lnTo>
                    <a:pt x="23" y="110"/>
                  </a:lnTo>
                  <a:lnTo>
                    <a:pt x="34" y="115"/>
                  </a:lnTo>
                  <a:lnTo>
                    <a:pt x="47" y="104"/>
                  </a:lnTo>
                  <a:lnTo>
                    <a:pt x="53" y="93"/>
                  </a:lnTo>
                  <a:lnTo>
                    <a:pt x="82" y="85"/>
                  </a:lnTo>
                  <a:lnTo>
                    <a:pt x="97" y="99"/>
                  </a:lnTo>
                  <a:lnTo>
                    <a:pt x="98" y="106"/>
                  </a:lnTo>
                  <a:lnTo>
                    <a:pt x="98" y="121"/>
                  </a:lnTo>
                  <a:lnTo>
                    <a:pt x="101" y="126"/>
                  </a:lnTo>
                  <a:lnTo>
                    <a:pt x="103" y="126"/>
                  </a:lnTo>
                  <a:lnTo>
                    <a:pt x="117" y="117"/>
                  </a:lnTo>
                  <a:lnTo>
                    <a:pt x="119" y="107"/>
                  </a:lnTo>
                  <a:lnTo>
                    <a:pt x="132" y="105"/>
                  </a:lnTo>
                  <a:lnTo>
                    <a:pt x="138" y="97"/>
                  </a:lnTo>
                  <a:lnTo>
                    <a:pt x="132" y="85"/>
                  </a:lnTo>
                  <a:lnTo>
                    <a:pt x="130" y="78"/>
                  </a:lnTo>
                  <a:lnTo>
                    <a:pt x="138" y="90"/>
                  </a:lnTo>
                  <a:lnTo>
                    <a:pt x="140" y="79"/>
                  </a:lnTo>
                  <a:lnTo>
                    <a:pt x="135" y="68"/>
                  </a:lnTo>
                  <a:lnTo>
                    <a:pt x="130" y="66"/>
                  </a:lnTo>
                  <a:lnTo>
                    <a:pt x="116" y="68"/>
                  </a:lnTo>
                  <a:lnTo>
                    <a:pt x="122" y="57"/>
                  </a:lnTo>
                  <a:lnTo>
                    <a:pt x="120" y="39"/>
                  </a:lnTo>
                  <a:lnTo>
                    <a:pt x="112" y="27"/>
                  </a:lnTo>
                  <a:lnTo>
                    <a:pt x="106" y="16"/>
                  </a:lnTo>
                  <a:lnTo>
                    <a:pt x="89" y="10"/>
                  </a:lnTo>
                  <a:lnTo>
                    <a:pt x="64" y="18"/>
                  </a:lnTo>
                  <a:lnTo>
                    <a:pt x="58" y="24"/>
                  </a:lnTo>
                  <a:lnTo>
                    <a:pt x="50" y="27"/>
                  </a:lnTo>
                  <a:lnTo>
                    <a:pt x="48" y="24"/>
                  </a:lnTo>
                  <a:lnTo>
                    <a:pt x="59" y="10"/>
                  </a:lnTo>
                  <a:lnTo>
                    <a:pt x="57" y="7"/>
                  </a:lnTo>
                  <a:lnTo>
                    <a:pt x="48" y="2"/>
                  </a:lnTo>
                  <a:lnTo>
                    <a:pt x="39" y="0"/>
                  </a:lnTo>
                  <a:lnTo>
                    <a:pt x="38" y="5"/>
                  </a:lnTo>
                  <a:lnTo>
                    <a:pt x="36" y="8"/>
                  </a:lnTo>
                  <a:lnTo>
                    <a:pt x="33" y="14"/>
                  </a:lnTo>
                  <a:lnTo>
                    <a:pt x="34" y="20"/>
                  </a:lnTo>
                  <a:lnTo>
                    <a:pt x="34" y="27"/>
                  </a:lnTo>
                  <a:lnTo>
                    <a:pt x="33" y="34"/>
                  </a:lnTo>
                  <a:lnTo>
                    <a:pt x="28" y="3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79" name="Freeform 190">
              <a:extLst>
                <a:ext uri="{FF2B5EF4-FFF2-40B4-BE49-F238E27FC236}">
                  <a16:creationId xmlns:a16="http://schemas.microsoft.com/office/drawing/2014/main" id="{E4BE0305-A7B1-C146-8AF0-6CB5E1BA8A4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470227" y="2277205"/>
              <a:ext cx="125357" cy="198148"/>
            </a:xfrm>
            <a:custGeom>
              <a:avLst/>
              <a:gdLst>
                <a:gd name="T0" fmla="*/ 0 w 233"/>
                <a:gd name="T1" fmla="*/ 0 h 345"/>
                <a:gd name="T2" fmla="*/ 0 w 233"/>
                <a:gd name="T3" fmla="*/ 0 h 345"/>
                <a:gd name="T4" fmla="*/ 0 w 233"/>
                <a:gd name="T5" fmla="*/ 0 h 345"/>
                <a:gd name="T6" fmla="*/ 0 w 233"/>
                <a:gd name="T7" fmla="*/ 0 h 345"/>
                <a:gd name="T8" fmla="*/ 0 w 233"/>
                <a:gd name="T9" fmla="*/ 0 h 345"/>
                <a:gd name="T10" fmla="*/ 0 w 233"/>
                <a:gd name="T11" fmla="*/ 0 h 345"/>
                <a:gd name="T12" fmla="*/ 0 w 233"/>
                <a:gd name="T13" fmla="*/ 0 h 345"/>
                <a:gd name="T14" fmla="*/ 0 w 233"/>
                <a:gd name="T15" fmla="*/ 0 h 345"/>
                <a:gd name="T16" fmla="*/ 0 w 233"/>
                <a:gd name="T17" fmla="*/ 0 h 345"/>
                <a:gd name="T18" fmla="*/ 0 w 233"/>
                <a:gd name="T19" fmla="*/ 0 h 345"/>
                <a:gd name="T20" fmla="*/ 0 w 233"/>
                <a:gd name="T21" fmla="*/ 0 h 345"/>
                <a:gd name="T22" fmla="*/ 0 w 233"/>
                <a:gd name="T23" fmla="*/ 0 h 345"/>
                <a:gd name="T24" fmla="*/ 0 w 233"/>
                <a:gd name="T25" fmla="*/ 0 h 345"/>
                <a:gd name="T26" fmla="*/ 0 w 233"/>
                <a:gd name="T27" fmla="*/ 0 h 345"/>
                <a:gd name="T28" fmla="*/ 0 w 233"/>
                <a:gd name="T29" fmla="*/ 0 h 345"/>
                <a:gd name="T30" fmla="*/ 0 w 233"/>
                <a:gd name="T31" fmla="*/ 0 h 345"/>
                <a:gd name="T32" fmla="*/ 0 w 233"/>
                <a:gd name="T33" fmla="*/ 0 h 345"/>
                <a:gd name="T34" fmla="*/ 0 w 233"/>
                <a:gd name="T35" fmla="*/ 0 h 345"/>
                <a:gd name="T36" fmla="*/ 0 w 233"/>
                <a:gd name="T37" fmla="*/ 0 h 345"/>
                <a:gd name="T38" fmla="*/ 0 w 233"/>
                <a:gd name="T39" fmla="*/ 0 h 345"/>
                <a:gd name="T40" fmla="*/ 0 w 233"/>
                <a:gd name="T41" fmla="*/ 0 h 345"/>
                <a:gd name="T42" fmla="*/ 0 w 233"/>
                <a:gd name="T43" fmla="*/ 0 h 345"/>
                <a:gd name="T44" fmla="*/ 0 w 233"/>
                <a:gd name="T45" fmla="*/ 0 h 345"/>
                <a:gd name="T46" fmla="*/ 0 w 233"/>
                <a:gd name="T47" fmla="*/ 0 h 345"/>
                <a:gd name="T48" fmla="*/ 0 w 233"/>
                <a:gd name="T49" fmla="*/ 0 h 345"/>
                <a:gd name="T50" fmla="*/ 0 w 233"/>
                <a:gd name="T51" fmla="*/ 0 h 345"/>
                <a:gd name="T52" fmla="*/ 0 w 233"/>
                <a:gd name="T53" fmla="*/ 0 h 345"/>
                <a:gd name="T54" fmla="*/ 0 w 233"/>
                <a:gd name="T55" fmla="*/ 0 h 345"/>
                <a:gd name="T56" fmla="*/ 0 w 233"/>
                <a:gd name="T57" fmla="*/ 0 h 345"/>
                <a:gd name="T58" fmla="*/ 0 w 233"/>
                <a:gd name="T59" fmla="*/ 2147483647 h 345"/>
                <a:gd name="T60" fmla="*/ 0 w 233"/>
                <a:gd name="T61" fmla="*/ 0 h 345"/>
                <a:gd name="T62" fmla="*/ 0 w 233"/>
                <a:gd name="T63" fmla="*/ 2147483647 h 345"/>
                <a:gd name="T64" fmla="*/ 0 w 233"/>
                <a:gd name="T65" fmla="*/ 2147483647 h 345"/>
                <a:gd name="T66" fmla="*/ 0 w 233"/>
                <a:gd name="T67" fmla="*/ 2147483647 h 345"/>
                <a:gd name="T68" fmla="*/ 0 w 233"/>
                <a:gd name="T69" fmla="*/ 2147483647 h 345"/>
                <a:gd name="T70" fmla="*/ 0 w 233"/>
                <a:gd name="T71" fmla="*/ 2147483647 h 345"/>
                <a:gd name="T72" fmla="*/ 0 w 233"/>
                <a:gd name="T73" fmla="*/ 2147483647 h 345"/>
                <a:gd name="T74" fmla="*/ 0 w 233"/>
                <a:gd name="T75" fmla="*/ 0 h 345"/>
                <a:gd name="T76" fmla="*/ 0 w 233"/>
                <a:gd name="T77" fmla="*/ 2147483647 h 345"/>
                <a:gd name="T78" fmla="*/ 0 w 233"/>
                <a:gd name="T79" fmla="*/ 0 h 345"/>
                <a:gd name="T80" fmla="*/ 0 w 233"/>
                <a:gd name="T81" fmla="*/ 0 h 345"/>
                <a:gd name="T82" fmla="*/ 0 w 233"/>
                <a:gd name="T83" fmla="*/ 0 h 345"/>
                <a:gd name="T84" fmla="*/ 0 w 233"/>
                <a:gd name="T85" fmla="*/ 0 h 345"/>
                <a:gd name="T86" fmla="*/ 0 w 233"/>
                <a:gd name="T87" fmla="*/ 0 h 345"/>
                <a:gd name="T88" fmla="*/ 0 w 233"/>
                <a:gd name="T89" fmla="*/ 0 h 345"/>
                <a:gd name="T90" fmla="*/ 0 w 233"/>
                <a:gd name="T91" fmla="*/ 0 h 345"/>
                <a:gd name="T92" fmla="*/ 0 w 233"/>
                <a:gd name="T93" fmla="*/ 0 h 34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3"/>
                <a:gd name="T142" fmla="*/ 0 h 345"/>
                <a:gd name="T143" fmla="*/ 233 w 233"/>
                <a:gd name="T144" fmla="*/ 345 h 345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3" h="345">
                  <a:moveTo>
                    <a:pt x="226" y="117"/>
                  </a:moveTo>
                  <a:lnTo>
                    <a:pt x="223" y="112"/>
                  </a:lnTo>
                  <a:lnTo>
                    <a:pt x="223" y="97"/>
                  </a:lnTo>
                  <a:lnTo>
                    <a:pt x="222" y="90"/>
                  </a:lnTo>
                  <a:lnTo>
                    <a:pt x="207" y="76"/>
                  </a:lnTo>
                  <a:lnTo>
                    <a:pt x="178" y="84"/>
                  </a:lnTo>
                  <a:lnTo>
                    <a:pt x="172" y="95"/>
                  </a:lnTo>
                  <a:lnTo>
                    <a:pt x="159" y="106"/>
                  </a:lnTo>
                  <a:lnTo>
                    <a:pt x="148" y="100"/>
                  </a:lnTo>
                  <a:lnTo>
                    <a:pt x="141" y="82"/>
                  </a:lnTo>
                  <a:lnTo>
                    <a:pt x="125" y="71"/>
                  </a:lnTo>
                  <a:lnTo>
                    <a:pt x="136" y="63"/>
                  </a:lnTo>
                  <a:lnTo>
                    <a:pt x="136" y="50"/>
                  </a:lnTo>
                  <a:lnTo>
                    <a:pt x="146" y="49"/>
                  </a:lnTo>
                  <a:lnTo>
                    <a:pt x="152" y="39"/>
                  </a:lnTo>
                  <a:lnTo>
                    <a:pt x="153" y="27"/>
                  </a:lnTo>
                  <a:lnTo>
                    <a:pt x="155" y="22"/>
                  </a:lnTo>
                  <a:lnTo>
                    <a:pt x="152" y="2"/>
                  </a:lnTo>
                  <a:lnTo>
                    <a:pt x="151" y="0"/>
                  </a:lnTo>
                  <a:lnTo>
                    <a:pt x="145" y="1"/>
                  </a:lnTo>
                  <a:lnTo>
                    <a:pt x="135" y="6"/>
                  </a:lnTo>
                  <a:lnTo>
                    <a:pt x="131" y="4"/>
                  </a:lnTo>
                  <a:lnTo>
                    <a:pt x="121" y="11"/>
                  </a:lnTo>
                  <a:lnTo>
                    <a:pt x="113" y="18"/>
                  </a:lnTo>
                  <a:lnTo>
                    <a:pt x="108" y="20"/>
                  </a:lnTo>
                  <a:lnTo>
                    <a:pt x="105" y="30"/>
                  </a:lnTo>
                  <a:lnTo>
                    <a:pt x="108" y="34"/>
                  </a:lnTo>
                  <a:lnTo>
                    <a:pt x="107" y="37"/>
                  </a:lnTo>
                  <a:lnTo>
                    <a:pt x="99" y="45"/>
                  </a:lnTo>
                  <a:lnTo>
                    <a:pt x="88" y="53"/>
                  </a:lnTo>
                  <a:lnTo>
                    <a:pt x="91" y="59"/>
                  </a:lnTo>
                  <a:lnTo>
                    <a:pt x="99" y="59"/>
                  </a:lnTo>
                  <a:lnTo>
                    <a:pt x="104" y="60"/>
                  </a:lnTo>
                  <a:lnTo>
                    <a:pt x="110" y="59"/>
                  </a:lnTo>
                  <a:lnTo>
                    <a:pt x="119" y="59"/>
                  </a:lnTo>
                  <a:lnTo>
                    <a:pt x="120" y="63"/>
                  </a:lnTo>
                  <a:lnTo>
                    <a:pt x="117" y="71"/>
                  </a:lnTo>
                  <a:lnTo>
                    <a:pt x="98" y="84"/>
                  </a:lnTo>
                  <a:lnTo>
                    <a:pt x="99" y="87"/>
                  </a:lnTo>
                  <a:lnTo>
                    <a:pt x="98" y="95"/>
                  </a:lnTo>
                  <a:lnTo>
                    <a:pt x="83" y="93"/>
                  </a:lnTo>
                  <a:lnTo>
                    <a:pt x="65" y="97"/>
                  </a:lnTo>
                  <a:lnTo>
                    <a:pt x="61" y="90"/>
                  </a:lnTo>
                  <a:lnTo>
                    <a:pt x="37" y="87"/>
                  </a:lnTo>
                  <a:lnTo>
                    <a:pt x="31" y="96"/>
                  </a:lnTo>
                  <a:lnTo>
                    <a:pt x="26" y="104"/>
                  </a:lnTo>
                  <a:lnTo>
                    <a:pt x="29" y="120"/>
                  </a:lnTo>
                  <a:lnTo>
                    <a:pt x="23" y="118"/>
                  </a:lnTo>
                  <a:lnTo>
                    <a:pt x="15" y="119"/>
                  </a:lnTo>
                  <a:lnTo>
                    <a:pt x="21" y="128"/>
                  </a:lnTo>
                  <a:lnTo>
                    <a:pt x="43" y="130"/>
                  </a:lnTo>
                  <a:lnTo>
                    <a:pt x="44" y="136"/>
                  </a:lnTo>
                  <a:lnTo>
                    <a:pt x="28" y="146"/>
                  </a:lnTo>
                  <a:lnTo>
                    <a:pt x="24" y="154"/>
                  </a:lnTo>
                  <a:lnTo>
                    <a:pt x="17" y="158"/>
                  </a:lnTo>
                  <a:lnTo>
                    <a:pt x="17" y="166"/>
                  </a:lnTo>
                  <a:lnTo>
                    <a:pt x="23" y="173"/>
                  </a:lnTo>
                  <a:lnTo>
                    <a:pt x="28" y="174"/>
                  </a:lnTo>
                  <a:lnTo>
                    <a:pt x="28" y="179"/>
                  </a:lnTo>
                  <a:lnTo>
                    <a:pt x="40" y="179"/>
                  </a:lnTo>
                  <a:lnTo>
                    <a:pt x="43" y="186"/>
                  </a:lnTo>
                  <a:lnTo>
                    <a:pt x="75" y="187"/>
                  </a:lnTo>
                  <a:lnTo>
                    <a:pt x="78" y="192"/>
                  </a:lnTo>
                  <a:lnTo>
                    <a:pt x="74" y="197"/>
                  </a:lnTo>
                  <a:lnTo>
                    <a:pt x="61" y="201"/>
                  </a:lnTo>
                  <a:lnTo>
                    <a:pt x="54" y="209"/>
                  </a:lnTo>
                  <a:lnTo>
                    <a:pt x="53" y="224"/>
                  </a:lnTo>
                  <a:lnTo>
                    <a:pt x="48" y="233"/>
                  </a:lnTo>
                  <a:lnTo>
                    <a:pt x="32" y="248"/>
                  </a:lnTo>
                  <a:lnTo>
                    <a:pt x="65" y="243"/>
                  </a:lnTo>
                  <a:lnTo>
                    <a:pt x="81" y="227"/>
                  </a:lnTo>
                  <a:lnTo>
                    <a:pt x="81" y="238"/>
                  </a:lnTo>
                  <a:lnTo>
                    <a:pt x="89" y="240"/>
                  </a:lnTo>
                  <a:lnTo>
                    <a:pt x="91" y="241"/>
                  </a:lnTo>
                  <a:lnTo>
                    <a:pt x="56" y="249"/>
                  </a:lnTo>
                  <a:lnTo>
                    <a:pt x="42" y="251"/>
                  </a:lnTo>
                  <a:lnTo>
                    <a:pt x="31" y="268"/>
                  </a:lnTo>
                  <a:lnTo>
                    <a:pt x="29" y="274"/>
                  </a:lnTo>
                  <a:lnTo>
                    <a:pt x="27" y="278"/>
                  </a:lnTo>
                  <a:lnTo>
                    <a:pt x="21" y="276"/>
                  </a:lnTo>
                  <a:lnTo>
                    <a:pt x="15" y="279"/>
                  </a:lnTo>
                  <a:lnTo>
                    <a:pt x="8" y="278"/>
                  </a:lnTo>
                  <a:lnTo>
                    <a:pt x="2" y="283"/>
                  </a:lnTo>
                  <a:lnTo>
                    <a:pt x="0" y="291"/>
                  </a:lnTo>
                  <a:lnTo>
                    <a:pt x="24" y="289"/>
                  </a:lnTo>
                  <a:lnTo>
                    <a:pt x="26" y="294"/>
                  </a:lnTo>
                  <a:lnTo>
                    <a:pt x="13" y="299"/>
                  </a:lnTo>
                  <a:lnTo>
                    <a:pt x="5" y="308"/>
                  </a:lnTo>
                  <a:lnTo>
                    <a:pt x="3" y="314"/>
                  </a:lnTo>
                  <a:lnTo>
                    <a:pt x="11" y="314"/>
                  </a:lnTo>
                  <a:lnTo>
                    <a:pt x="13" y="319"/>
                  </a:lnTo>
                  <a:lnTo>
                    <a:pt x="16" y="319"/>
                  </a:lnTo>
                  <a:lnTo>
                    <a:pt x="38" y="312"/>
                  </a:lnTo>
                  <a:lnTo>
                    <a:pt x="38" y="318"/>
                  </a:lnTo>
                  <a:lnTo>
                    <a:pt x="29" y="323"/>
                  </a:lnTo>
                  <a:lnTo>
                    <a:pt x="16" y="334"/>
                  </a:lnTo>
                  <a:lnTo>
                    <a:pt x="19" y="334"/>
                  </a:lnTo>
                  <a:lnTo>
                    <a:pt x="45" y="326"/>
                  </a:lnTo>
                  <a:lnTo>
                    <a:pt x="48" y="328"/>
                  </a:lnTo>
                  <a:lnTo>
                    <a:pt x="45" y="334"/>
                  </a:lnTo>
                  <a:lnTo>
                    <a:pt x="39" y="334"/>
                  </a:lnTo>
                  <a:lnTo>
                    <a:pt x="33" y="338"/>
                  </a:lnTo>
                  <a:lnTo>
                    <a:pt x="34" y="340"/>
                  </a:lnTo>
                  <a:lnTo>
                    <a:pt x="34" y="345"/>
                  </a:lnTo>
                  <a:lnTo>
                    <a:pt x="44" y="340"/>
                  </a:lnTo>
                  <a:lnTo>
                    <a:pt x="51" y="339"/>
                  </a:lnTo>
                  <a:lnTo>
                    <a:pt x="55" y="341"/>
                  </a:lnTo>
                  <a:lnTo>
                    <a:pt x="60" y="343"/>
                  </a:lnTo>
                  <a:lnTo>
                    <a:pt x="67" y="338"/>
                  </a:lnTo>
                  <a:lnTo>
                    <a:pt x="74" y="338"/>
                  </a:lnTo>
                  <a:lnTo>
                    <a:pt x="102" y="329"/>
                  </a:lnTo>
                  <a:lnTo>
                    <a:pt x="109" y="323"/>
                  </a:lnTo>
                  <a:lnTo>
                    <a:pt x="110" y="316"/>
                  </a:lnTo>
                  <a:lnTo>
                    <a:pt x="109" y="308"/>
                  </a:lnTo>
                  <a:lnTo>
                    <a:pt x="113" y="310"/>
                  </a:lnTo>
                  <a:lnTo>
                    <a:pt x="115" y="316"/>
                  </a:lnTo>
                  <a:lnTo>
                    <a:pt x="119" y="317"/>
                  </a:lnTo>
                  <a:lnTo>
                    <a:pt x="131" y="311"/>
                  </a:lnTo>
                  <a:lnTo>
                    <a:pt x="135" y="305"/>
                  </a:lnTo>
                  <a:lnTo>
                    <a:pt x="145" y="306"/>
                  </a:lnTo>
                  <a:lnTo>
                    <a:pt x="148" y="301"/>
                  </a:lnTo>
                  <a:lnTo>
                    <a:pt x="151" y="295"/>
                  </a:lnTo>
                  <a:lnTo>
                    <a:pt x="153" y="291"/>
                  </a:lnTo>
                  <a:lnTo>
                    <a:pt x="177" y="286"/>
                  </a:lnTo>
                  <a:lnTo>
                    <a:pt x="189" y="281"/>
                  </a:lnTo>
                  <a:lnTo>
                    <a:pt x="201" y="281"/>
                  </a:lnTo>
                  <a:lnTo>
                    <a:pt x="209" y="285"/>
                  </a:lnTo>
                  <a:lnTo>
                    <a:pt x="216" y="285"/>
                  </a:lnTo>
                  <a:lnTo>
                    <a:pt x="218" y="278"/>
                  </a:lnTo>
                  <a:lnTo>
                    <a:pt x="215" y="269"/>
                  </a:lnTo>
                  <a:lnTo>
                    <a:pt x="222" y="251"/>
                  </a:lnTo>
                  <a:lnTo>
                    <a:pt x="225" y="236"/>
                  </a:lnTo>
                  <a:lnTo>
                    <a:pt x="231" y="225"/>
                  </a:lnTo>
                  <a:lnTo>
                    <a:pt x="233" y="216"/>
                  </a:lnTo>
                  <a:lnTo>
                    <a:pt x="231" y="197"/>
                  </a:lnTo>
                  <a:lnTo>
                    <a:pt x="227" y="178"/>
                  </a:lnTo>
                  <a:lnTo>
                    <a:pt x="231" y="176"/>
                  </a:lnTo>
                  <a:lnTo>
                    <a:pt x="233" y="160"/>
                  </a:lnTo>
                  <a:lnTo>
                    <a:pt x="220" y="128"/>
                  </a:lnTo>
                  <a:lnTo>
                    <a:pt x="220" y="119"/>
                  </a:lnTo>
                  <a:lnTo>
                    <a:pt x="226" y="11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80" name="Freeform 191">
              <a:extLst>
                <a:ext uri="{FF2B5EF4-FFF2-40B4-BE49-F238E27FC236}">
                  <a16:creationId xmlns:a16="http://schemas.microsoft.com/office/drawing/2014/main" id="{C155122E-03C9-B54B-C7FA-635D569E533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416372" y="2426578"/>
              <a:ext cx="531274" cy="374957"/>
            </a:xfrm>
            <a:custGeom>
              <a:avLst/>
              <a:gdLst>
                <a:gd name="T0" fmla="*/ 0 w 995"/>
                <a:gd name="T1" fmla="*/ 2147483647 h 658"/>
                <a:gd name="T2" fmla="*/ 0 w 995"/>
                <a:gd name="T3" fmla="*/ 2147483647 h 658"/>
                <a:gd name="T4" fmla="*/ 0 w 995"/>
                <a:gd name="T5" fmla="*/ 0 h 658"/>
                <a:gd name="T6" fmla="*/ 0 w 995"/>
                <a:gd name="T7" fmla="*/ 0 h 658"/>
                <a:gd name="T8" fmla="*/ 0 w 995"/>
                <a:gd name="T9" fmla="*/ 0 h 658"/>
                <a:gd name="T10" fmla="*/ 0 w 995"/>
                <a:gd name="T11" fmla="*/ 0 h 658"/>
                <a:gd name="T12" fmla="*/ 0 w 995"/>
                <a:gd name="T13" fmla="*/ 0 h 658"/>
                <a:gd name="T14" fmla="*/ 0 w 995"/>
                <a:gd name="T15" fmla="*/ 0 h 658"/>
                <a:gd name="T16" fmla="*/ 2147483647 w 995"/>
                <a:gd name="T17" fmla="*/ 0 h 658"/>
                <a:gd name="T18" fmla="*/ 2147483647 w 995"/>
                <a:gd name="T19" fmla="*/ 0 h 658"/>
                <a:gd name="T20" fmla="*/ 2147483647 w 995"/>
                <a:gd name="T21" fmla="*/ 0 h 658"/>
                <a:gd name="T22" fmla="*/ 2147483647 w 995"/>
                <a:gd name="T23" fmla="*/ 0 h 658"/>
                <a:gd name="T24" fmla="*/ 2147483647 w 995"/>
                <a:gd name="T25" fmla="*/ 0 h 658"/>
                <a:gd name="T26" fmla="*/ 2147483647 w 995"/>
                <a:gd name="T27" fmla="*/ 0 h 658"/>
                <a:gd name="T28" fmla="*/ 2147483647 w 995"/>
                <a:gd name="T29" fmla="*/ 0 h 658"/>
                <a:gd name="T30" fmla="*/ 2147483647 w 995"/>
                <a:gd name="T31" fmla="*/ 0 h 658"/>
                <a:gd name="T32" fmla="*/ 2147483647 w 995"/>
                <a:gd name="T33" fmla="*/ 0 h 658"/>
                <a:gd name="T34" fmla="*/ 2147483647 w 995"/>
                <a:gd name="T35" fmla="*/ 0 h 658"/>
                <a:gd name="T36" fmla="*/ 2147483647 w 995"/>
                <a:gd name="T37" fmla="*/ 0 h 658"/>
                <a:gd name="T38" fmla="*/ 2147483647 w 995"/>
                <a:gd name="T39" fmla="*/ 0 h 658"/>
                <a:gd name="T40" fmla="*/ 2147483647 w 995"/>
                <a:gd name="T41" fmla="*/ 0 h 658"/>
                <a:gd name="T42" fmla="*/ 2147483647 w 995"/>
                <a:gd name="T43" fmla="*/ 0 h 658"/>
                <a:gd name="T44" fmla="*/ 2147483647 w 995"/>
                <a:gd name="T45" fmla="*/ 2147483647 h 658"/>
                <a:gd name="T46" fmla="*/ 2147483647 w 995"/>
                <a:gd name="T47" fmla="*/ 2147483647 h 658"/>
                <a:gd name="T48" fmla="*/ 2147483647 w 995"/>
                <a:gd name="T49" fmla="*/ 2147483647 h 658"/>
                <a:gd name="T50" fmla="*/ 2147483647 w 995"/>
                <a:gd name="T51" fmla="*/ 2147483647 h 658"/>
                <a:gd name="T52" fmla="*/ 2147483647 w 995"/>
                <a:gd name="T53" fmla="*/ 2147483647 h 658"/>
                <a:gd name="T54" fmla="*/ 2147483647 w 995"/>
                <a:gd name="T55" fmla="*/ 2147483647 h 658"/>
                <a:gd name="T56" fmla="*/ 2147483647 w 995"/>
                <a:gd name="T57" fmla="*/ 2147483647 h 658"/>
                <a:gd name="T58" fmla="*/ 2147483647 w 995"/>
                <a:gd name="T59" fmla="*/ 2147483647 h 658"/>
                <a:gd name="T60" fmla="*/ 2147483647 w 995"/>
                <a:gd name="T61" fmla="*/ 2147483647 h 658"/>
                <a:gd name="T62" fmla="*/ 2147483647 w 995"/>
                <a:gd name="T63" fmla="*/ 2147483647 h 658"/>
                <a:gd name="T64" fmla="*/ 2147483647 w 995"/>
                <a:gd name="T65" fmla="*/ 2147483647 h 658"/>
                <a:gd name="T66" fmla="*/ 2147483647 w 995"/>
                <a:gd name="T67" fmla="*/ 2147483647 h 658"/>
                <a:gd name="T68" fmla="*/ 2147483647 w 995"/>
                <a:gd name="T69" fmla="*/ 2147483647 h 658"/>
                <a:gd name="T70" fmla="*/ 2147483647 w 995"/>
                <a:gd name="T71" fmla="*/ 2147483647 h 658"/>
                <a:gd name="T72" fmla="*/ 2147483647 w 995"/>
                <a:gd name="T73" fmla="*/ 2147483647 h 658"/>
                <a:gd name="T74" fmla="*/ 2147483647 w 995"/>
                <a:gd name="T75" fmla="*/ 2147483647 h 658"/>
                <a:gd name="T76" fmla="*/ 2147483647 w 995"/>
                <a:gd name="T77" fmla="*/ 2147483647 h 658"/>
                <a:gd name="T78" fmla="*/ 2147483647 w 995"/>
                <a:gd name="T79" fmla="*/ 2147483647 h 658"/>
                <a:gd name="T80" fmla="*/ 2147483647 w 995"/>
                <a:gd name="T81" fmla="*/ 2147483647 h 658"/>
                <a:gd name="T82" fmla="*/ 2147483647 w 995"/>
                <a:gd name="T83" fmla="*/ 2147483647 h 658"/>
                <a:gd name="T84" fmla="*/ 2147483647 w 995"/>
                <a:gd name="T85" fmla="*/ 2147483647 h 658"/>
                <a:gd name="T86" fmla="*/ 2147483647 w 995"/>
                <a:gd name="T87" fmla="*/ 2147483647 h 658"/>
                <a:gd name="T88" fmla="*/ 2147483647 w 995"/>
                <a:gd name="T89" fmla="*/ 2147483647 h 658"/>
                <a:gd name="T90" fmla="*/ 2147483647 w 995"/>
                <a:gd name="T91" fmla="*/ 2147483647 h 658"/>
                <a:gd name="T92" fmla="*/ 2147483647 w 995"/>
                <a:gd name="T93" fmla="*/ 2147483647 h 658"/>
                <a:gd name="T94" fmla="*/ 2147483647 w 995"/>
                <a:gd name="T95" fmla="*/ 2147483647 h 658"/>
                <a:gd name="T96" fmla="*/ 2147483647 w 995"/>
                <a:gd name="T97" fmla="*/ 2147483647 h 658"/>
                <a:gd name="T98" fmla="*/ 2147483647 w 995"/>
                <a:gd name="T99" fmla="*/ 2147483647 h 658"/>
                <a:gd name="T100" fmla="*/ 2147483647 w 995"/>
                <a:gd name="T101" fmla="*/ 2147483647 h 658"/>
                <a:gd name="T102" fmla="*/ 2147483647 w 995"/>
                <a:gd name="T103" fmla="*/ 2147483647 h 658"/>
                <a:gd name="T104" fmla="*/ 2147483647 w 995"/>
                <a:gd name="T105" fmla="*/ 2147483647 h 658"/>
                <a:gd name="T106" fmla="*/ 2147483647 w 995"/>
                <a:gd name="T107" fmla="*/ 2147483647 h 658"/>
                <a:gd name="T108" fmla="*/ 2147483647 w 995"/>
                <a:gd name="T109" fmla="*/ 2147483647 h 658"/>
                <a:gd name="T110" fmla="*/ 0 w 995"/>
                <a:gd name="T111" fmla="*/ 2147483647 h 65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995"/>
                <a:gd name="T169" fmla="*/ 0 h 658"/>
                <a:gd name="T170" fmla="*/ 995 w 995"/>
                <a:gd name="T171" fmla="*/ 658 h 65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995" h="658">
                  <a:moveTo>
                    <a:pt x="248" y="353"/>
                  </a:moveTo>
                  <a:lnTo>
                    <a:pt x="242" y="352"/>
                  </a:lnTo>
                  <a:lnTo>
                    <a:pt x="208" y="373"/>
                  </a:lnTo>
                  <a:lnTo>
                    <a:pt x="189" y="374"/>
                  </a:lnTo>
                  <a:lnTo>
                    <a:pt x="173" y="378"/>
                  </a:lnTo>
                  <a:lnTo>
                    <a:pt x="157" y="389"/>
                  </a:lnTo>
                  <a:lnTo>
                    <a:pt x="148" y="384"/>
                  </a:lnTo>
                  <a:lnTo>
                    <a:pt x="137" y="374"/>
                  </a:lnTo>
                  <a:lnTo>
                    <a:pt x="121" y="376"/>
                  </a:lnTo>
                  <a:lnTo>
                    <a:pt x="106" y="379"/>
                  </a:lnTo>
                  <a:lnTo>
                    <a:pt x="83" y="377"/>
                  </a:lnTo>
                  <a:lnTo>
                    <a:pt x="64" y="374"/>
                  </a:lnTo>
                  <a:lnTo>
                    <a:pt x="47" y="374"/>
                  </a:lnTo>
                  <a:lnTo>
                    <a:pt x="40" y="377"/>
                  </a:lnTo>
                  <a:lnTo>
                    <a:pt x="36" y="367"/>
                  </a:lnTo>
                  <a:lnTo>
                    <a:pt x="27" y="358"/>
                  </a:lnTo>
                  <a:lnTo>
                    <a:pt x="15" y="348"/>
                  </a:lnTo>
                  <a:lnTo>
                    <a:pt x="0" y="341"/>
                  </a:lnTo>
                  <a:lnTo>
                    <a:pt x="6" y="318"/>
                  </a:lnTo>
                  <a:lnTo>
                    <a:pt x="17" y="288"/>
                  </a:lnTo>
                  <a:lnTo>
                    <a:pt x="19" y="282"/>
                  </a:lnTo>
                  <a:lnTo>
                    <a:pt x="24" y="283"/>
                  </a:lnTo>
                  <a:lnTo>
                    <a:pt x="33" y="281"/>
                  </a:lnTo>
                  <a:lnTo>
                    <a:pt x="31" y="269"/>
                  </a:lnTo>
                  <a:lnTo>
                    <a:pt x="33" y="254"/>
                  </a:lnTo>
                  <a:lnTo>
                    <a:pt x="51" y="216"/>
                  </a:lnTo>
                  <a:lnTo>
                    <a:pt x="65" y="197"/>
                  </a:lnTo>
                  <a:lnTo>
                    <a:pt x="85" y="184"/>
                  </a:lnTo>
                  <a:lnTo>
                    <a:pt x="103" y="169"/>
                  </a:lnTo>
                  <a:lnTo>
                    <a:pt x="108" y="156"/>
                  </a:lnTo>
                  <a:lnTo>
                    <a:pt x="102" y="140"/>
                  </a:lnTo>
                  <a:lnTo>
                    <a:pt x="103" y="129"/>
                  </a:lnTo>
                  <a:lnTo>
                    <a:pt x="92" y="118"/>
                  </a:lnTo>
                  <a:lnTo>
                    <a:pt x="91" y="114"/>
                  </a:lnTo>
                  <a:lnTo>
                    <a:pt x="84" y="95"/>
                  </a:lnTo>
                  <a:lnTo>
                    <a:pt x="83" y="83"/>
                  </a:lnTo>
                  <a:lnTo>
                    <a:pt x="76" y="71"/>
                  </a:lnTo>
                  <a:lnTo>
                    <a:pt x="83" y="65"/>
                  </a:lnTo>
                  <a:lnTo>
                    <a:pt x="91" y="64"/>
                  </a:lnTo>
                  <a:lnTo>
                    <a:pt x="100" y="65"/>
                  </a:lnTo>
                  <a:lnTo>
                    <a:pt x="114" y="57"/>
                  </a:lnTo>
                  <a:lnTo>
                    <a:pt x="121" y="51"/>
                  </a:lnTo>
                  <a:lnTo>
                    <a:pt x="123" y="44"/>
                  </a:lnTo>
                  <a:lnTo>
                    <a:pt x="130" y="40"/>
                  </a:lnTo>
                  <a:lnTo>
                    <a:pt x="172" y="34"/>
                  </a:lnTo>
                  <a:lnTo>
                    <a:pt x="180" y="37"/>
                  </a:lnTo>
                  <a:lnTo>
                    <a:pt x="197" y="38"/>
                  </a:lnTo>
                  <a:lnTo>
                    <a:pt x="205" y="35"/>
                  </a:lnTo>
                  <a:lnTo>
                    <a:pt x="219" y="44"/>
                  </a:lnTo>
                  <a:lnTo>
                    <a:pt x="235" y="49"/>
                  </a:lnTo>
                  <a:lnTo>
                    <a:pt x="243" y="50"/>
                  </a:lnTo>
                  <a:lnTo>
                    <a:pt x="252" y="49"/>
                  </a:lnTo>
                  <a:lnTo>
                    <a:pt x="258" y="52"/>
                  </a:lnTo>
                  <a:lnTo>
                    <a:pt x="267" y="55"/>
                  </a:lnTo>
                  <a:lnTo>
                    <a:pt x="274" y="59"/>
                  </a:lnTo>
                  <a:lnTo>
                    <a:pt x="275" y="67"/>
                  </a:lnTo>
                  <a:lnTo>
                    <a:pt x="282" y="72"/>
                  </a:lnTo>
                  <a:lnTo>
                    <a:pt x="297" y="71"/>
                  </a:lnTo>
                  <a:lnTo>
                    <a:pt x="299" y="79"/>
                  </a:lnTo>
                  <a:lnTo>
                    <a:pt x="306" y="86"/>
                  </a:lnTo>
                  <a:lnTo>
                    <a:pt x="312" y="79"/>
                  </a:lnTo>
                  <a:lnTo>
                    <a:pt x="320" y="77"/>
                  </a:lnTo>
                  <a:lnTo>
                    <a:pt x="328" y="77"/>
                  </a:lnTo>
                  <a:lnTo>
                    <a:pt x="334" y="71"/>
                  </a:lnTo>
                  <a:lnTo>
                    <a:pt x="340" y="76"/>
                  </a:lnTo>
                  <a:lnTo>
                    <a:pt x="349" y="78"/>
                  </a:lnTo>
                  <a:lnTo>
                    <a:pt x="356" y="76"/>
                  </a:lnTo>
                  <a:lnTo>
                    <a:pt x="361" y="83"/>
                  </a:lnTo>
                  <a:lnTo>
                    <a:pt x="369" y="88"/>
                  </a:lnTo>
                  <a:lnTo>
                    <a:pt x="386" y="70"/>
                  </a:lnTo>
                  <a:lnTo>
                    <a:pt x="398" y="79"/>
                  </a:lnTo>
                  <a:lnTo>
                    <a:pt x="402" y="87"/>
                  </a:lnTo>
                  <a:lnTo>
                    <a:pt x="408" y="93"/>
                  </a:lnTo>
                  <a:lnTo>
                    <a:pt x="415" y="88"/>
                  </a:lnTo>
                  <a:lnTo>
                    <a:pt x="424" y="88"/>
                  </a:lnTo>
                  <a:lnTo>
                    <a:pt x="440" y="86"/>
                  </a:lnTo>
                  <a:lnTo>
                    <a:pt x="449" y="86"/>
                  </a:lnTo>
                  <a:lnTo>
                    <a:pt x="456" y="89"/>
                  </a:lnTo>
                  <a:lnTo>
                    <a:pt x="461" y="95"/>
                  </a:lnTo>
                  <a:lnTo>
                    <a:pt x="469" y="93"/>
                  </a:lnTo>
                  <a:lnTo>
                    <a:pt x="473" y="86"/>
                  </a:lnTo>
                  <a:lnTo>
                    <a:pt x="471" y="70"/>
                  </a:lnTo>
                  <a:lnTo>
                    <a:pt x="473" y="61"/>
                  </a:lnTo>
                  <a:lnTo>
                    <a:pt x="473" y="52"/>
                  </a:lnTo>
                  <a:lnTo>
                    <a:pt x="476" y="44"/>
                  </a:lnTo>
                  <a:lnTo>
                    <a:pt x="494" y="27"/>
                  </a:lnTo>
                  <a:lnTo>
                    <a:pt x="501" y="23"/>
                  </a:lnTo>
                  <a:lnTo>
                    <a:pt x="510" y="23"/>
                  </a:lnTo>
                  <a:lnTo>
                    <a:pt x="517" y="18"/>
                  </a:lnTo>
                  <a:lnTo>
                    <a:pt x="537" y="18"/>
                  </a:lnTo>
                  <a:lnTo>
                    <a:pt x="543" y="23"/>
                  </a:lnTo>
                  <a:lnTo>
                    <a:pt x="551" y="25"/>
                  </a:lnTo>
                  <a:lnTo>
                    <a:pt x="558" y="22"/>
                  </a:lnTo>
                  <a:lnTo>
                    <a:pt x="563" y="16"/>
                  </a:lnTo>
                  <a:lnTo>
                    <a:pt x="565" y="7"/>
                  </a:lnTo>
                  <a:lnTo>
                    <a:pt x="573" y="2"/>
                  </a:lnTo>
                  <a:lnTo>
                    <a:pt x="589" y="6"/>
                  </a:lnTo>
                  <a:lnTo>
                    <a:pt x="597" y="6"/>
                  </a:lnTo>
                  <a:lnTo>
                    <a:pt x="613" y="1"/>
                  </a:lnTo>
                  <a:lnTo>
                    <a:pt x="629" y="3"/>
                  </a:lnTo>
                  <a:lnTo>
                    <a:pt x="645" y="0"/>
                  </a:lnTo>
                  <a:lnTo>
                    <a:pt x="657" y="9"/>
                  </a:lnTo>
                  <a:lnTo>
                    <a:pt x="662" y="17"/>
                  </a:lnTo>
                  <a:lnTo>
                    <a:pt x="662" y="25"/>
                  </a:lnTo>
                  <a:lnTo>
                    <a:pt x="675" y="37"/>
                  </a:lnTo>
                  <a:lnTo>
                    <a:pt x="680" y="43"/>
                  </a:lnTo>
                  <a:lnTo>
                    <a:pt x="680" y="52"/>
                  </a:lnTo>
                  <a:lnTo>
                    <a:pt x="671" y="56"/>
                  </a:lnTo>
                  <a:lnTo>
                    <a:pt x="664" y="57"/>
                  </a:lnTo>
                  <a:lnTo>
                    <a:pt x="667" y="65"/>
                  </a:lnTo>
                  <a:lnTo>
                    <a:pt x="667" y="72"/>
                  </a:lnTo>
                  <a:lnTo>
                    <a:pt x="671" y="88"/>
                  </a:lnTo>
                  <a:lnTo>
                    <a:pt x="678" y="93"/>
                  </a:lnTo>
                  <a:lnTo>
                    <a:pt x="686" y="97"/>
                  </a:lnTo>
                  <a:lnTo>
                    <a:pt x="702" y="100"/>
                  </a:lnTo>
                  <a:lnTo>
                    <a:pt x="709" y="97"/>
                  </a:lnTo>
                  <a:lnTo>
                    <a:pt x="718" y="97"/>
                  </a:lnTo>
                  <a:lnTo>
                    <a:pt x="720" y="105"/>
                  </a:lnTo>
                  <a:lnTo>
                    <a:pt x="731" y="116"/>
                  </a:lnTo>
                  <a:lnTo>
                    <a:pt x="738" y="145"/>
                  </a:lnTo>
                  <a:lnTo>
                    <a:pt x="736" y="152"/>
                  </a:lnTo>
                  <a:lnTo>
                    <a:pt x="738" y="159"/>
                  </a:lnTo>
                  <a:lnTo>
                    <a:pt x="745" y="165"/>
                  </a:lnTo>
                  <a:lnTo>
                    <a:pt x="752" y="169"/>
                  </a:lnTo>
                  <a:lnTo>
                    <a:pt x="759" y="165"/>
                  </a:lnTo>
                  <a:lnTo>
                    <a:pt x="767" y="164"/>
                  </a:lnTo>
                  <a:lnTo>
                    <a:pt x="775" y="165"/>
                  </a:lnTo>
                  <a:lnTo>
                    <a:pt x="786" y="177"/>
                  </a:lnTo>
                  <a:lnTo>
                    <a:pt x="795" y="174"/>
                  </a:lnTo>
                  <a:lnTo>
                    <a:pt x="801" y="178"/>
                  </a:lnTo>
                  <a:lnTo>
                    <a:pt x="827" y="170"/>
                  </a:lnTo>
                  <a:lnTo>
                    <a:pt x="842" y="163"/>
                  </a:lnTo>
                  <a:lnTo>
                    <a:pt x="849" y="165"/>
                  </a:lnTo>
                  <a:lnTo>
                    <a:pt x="854" y="173"/>
                  </a:lnTo>
                  <a:lnTo>
                    <a:pt x="865" y="195"/>
                  </a:lnTo>
                  <a:lnTo>
                    <a:pt x="876" y="206"/>
                  </a:lnTo>
                  <a:lnTo>
                    <a:pt x="883" y="206"/>
                  </a:lnTo>
                  <a:lnTo>
                    <a:pt x="887" y="199"/>
                  </a:lnTo>
                  <a:lnTo>
                    <a:pt x="896" y="199"/>
                  </a:lnTo>
                  <a:lnTo>
                    <a:pt x="901" y="205"/>
                  </a:lnTo>
                  <a:lnTo>
                    <a:pt x="908" y="206"/>
                  </a:lnTo>
                  <a:lnTo>
                    <a:pt x="915" y="210"/>
                  </a:lnTo>
                  <a:lnTo>
                    <a:pt x="922" y="216"/>
                  </a:lnTo>
                  <a:lnTo>
                    <a:pt x="938" y="215"/>
                  </a:lnTo>
                  <a:lnTo>
                    <a:pt x="951" y="224"/>
                  </a:lnTo>
                  <a:lnTo>
                    <a:pt x="958" y="223"/>
                  </a:lnTo>
                  <a:lnTo>
                    <a:pt x="971" y="234"/>
                  </a:lnTo>
                  <a:lnTo>
                    <a:pt x="979" y="235"/>
                  </a:lnTo>
                  <a:lnTo>
                    <a:pt x="988" y="235"/>
                  </a:lnTo>
                  <a:lnTo>
                    <a:pt x="994" y="240"/>
                  </a:lnTo>
                  <a:lnTo>
                    <a:pt x="987" y="244"/>
                  </a:lnTo>
                  <a:lnTo>
                    <a:pt x="995" y="267"/>
                  </a:lnTo>
                  <a:lnTo>
                    <a:pt x="987" y="282"/>
                  </a:lnTo>
                  <a:lnTo>
                    <a:pt x="971" y="286"/>
                  </a:lnTo>
                  <a:lnTo>
                    <a:pt x="976" y="292"/>
                  </a:lnTo>
                  <a:lnTo>
                    <a:pt x="984" y="294"/>
                  </a:lnTo>
                  <a:lnTo>
                    <a:pt x="988" y="301"/>
                  </a:lnTo>
                  <a:lnTo>
                    <a:pt x="972" y="306"/>
                  </a:lnTo>
                  <a:lnTo>
                    <a:pt x="969" y="313"/>
                  </a:lnTo>
                  <a:lnTo>
                    <a:pt x="968" y="320"/>
                  </a:lnTo>
                  <a:lnTo>
                    <a:pt x="973" y="326"/>
                  </a:lnTo>
                  <a:lnTo>
                    <a:pt x="976" y="335"/>
                  </a:lnTo>
                  <a:lnTo>
                    <a:pt x="974" y="342"/>
                  </a:lnTo>
                  <a:lnTo>
                    <a:pt x="980" y="346"/>
                  </a:lnTo>
                  <a:lnTo>
                    <a:pt x="978" y="362"/>
                  </a:lnTo>
                  <a:lnTo>
                    <a:pt x="971" y="385"/>
                  </a:lnTo>
                  <a:lnTo>
                    <a:pt x="963" y="389"/>
                  </a:lnTo>
                  <a:lnTo>
                    <a:pt x="947" y="385"/>
                  </a:lnTo>
                  <a:lnTo>
                    <a:pt x="940" y="387"/>
                  </a:lnTo>
                  <a:lnTo>
                    <a:pt x="925" y="379"/>
                  </a:lnTo>
                  <a:lnTo>
                    <a:pt x="919" y="384"/>
                  </a:lnTo>
                  <a:lnTo>
                    <a:pt x="910" y="398"/>
                  </a:lnTo>
                  <a:lnTo>
                    <a:pt x="896" y="404"/>
                  </a:lnTo>
                  <a:lnTo>
                    <a:pt x="888" y="419"/>
                  </a:lnTo>
                  <a:lnTo>
                    <a:pt x="890" y="427"/>
                  </a:lnTo>
                  <a:lnTo>
                    <a:pt x="890" y="442"/>
                  </a:lnTo>
                  <a:lnTo>
                    <a:pt x="866" y="446"/>
                  </a:lnTo>
                  <a:lnTo>
                    <a:pt x="853" y="448"/>
                  </a:lnTo>
                  <a:lnTo>
                    <a:pt x="843" y="459"/>
                  </a:lnTo>
                  <a:lnTo>
                    <a:pt x="836" y="458"/>
                  </a:lnTo>
                  <a:lnTo>
                    <a:pt x="817" y="465"/>
                  </a:lnTo>
                  <a:lnTo>
                    <a:pt x="813" y="477"/>
                  </a:lnTo>
                  <a:lnTo>
                    <a:pt x="801" y="470"/>
                  </a:lnTo>
                  <a:lnTo>
                    <a:pt x="779" y="481"/>
                  </a:lnTo>
                  <a:lnTo>
                    <a:pt x="777" y="486"/>
                  </a:lnTo>
                  <a:lnTo>
                    <a:pt x="775" y="481"/>
                  </a:lnTo>
                  <a:lnTo>
                    <a:pt x="764" y="485"/>
                  </a:lnTo>
                  <a:lnTo>
                    <a:pt x="757" y="485"/>
                  </a:lnTo>
                  <a:lnTo>
                    <a:pt x="741" y="500"/>
                  </a:lnTo>
                  <a:lnTo>
                    <a:pt x="737" y="501"/>
                  </a:lnTo>
                  <a:lnTo>
                    <a:pt x="731" y="511"/>
                  </a:lnTo>
                  <a:lnTo>
                    <a:pt x="724" y="522"/>
                  </a:lnTo>
                  <a:lnTo>
                    <a:pt x="716" y="525"/>
                  </a:lnTo>
                  <a:lnTo>
                    <a:pt x="719" y="520"/>
                  </a:lnTo>
                  <a:lnTo>
                    <a:pt x="725" y="517"/>
                  </a:lnTo>
                  <a:lnTo>
                    <a:pt x="730" y="512"/>
                  </a:lnTo>
                  <a:lnTo>
                    <a:pt x="725" y="497"/>
                  </a:lnTo>
                  <a:lnTo>
                    <a:pt x="721" y="497"/>
                  </a:lnTo>
                  <a:lnTo>
                    <a:pt x="716" y="512"/>
                  </a:lnTo>
                  <a:lnTo>
                    <a:pt x="707" y="522"/>
                  </a:lnTo>
                  <a:lnTo>
                    <a:pt x="709" y="536"/>
                  </a:lnTo>
                  <a:lnTo>
                    <a:pt x="709" y="545"/>
                  </a:lnTo>
                  <a:lnTo>
                    <a:pt x="704" y="545"/>
                  </a:lnTo>
                  <a:lnTo>
                    <a:pt x="704" y="541"/>
                  </a:lnTo>
                  <a:lnTo>
                    <a:pt x="698" y="530"/>
                  </a:lnTo>
                  <a:lnTo>
                    <a:pt x="699" y="527"/>
                  </a:lnTo>
                  <a:lnTo>
                    <a:pt x="697" y="523"/>
                  </a:lnTo>
                  <a:lnTo>
                    <a:pt x="691" y="528"/>
                  </a:lnTo>
                  <a:lnTo>
                    <a:pt x="687" y="534"/>
                  </a:lnTo>
                  <a:lnTo>
                    <a:pt x="684" y="533"/>
                  </a:lnTo>
                  <a:lnTo>
                    <a:pt x="687" y="525"/>
                  </a:lnTo>
                  <a:lnTo>
                    <a:pt x="684" y="523"/>
                  </a:lnTo>
                  <a:lnTo>
                    <a:pt x="671" y="523"/>
                  </a:lnTo>
                  <a:lnTo>
                    <a:pt x="670" y="520"/>
                  </a:lnTo>
                  <a:lnTo>
                    <a:pt x="670" y="512"/>
                  </a:lnTo>
                  <a:lnTo>
                    <a:pt x="666" y="507"/>
                  </a:lnTo>
                  <a:lnTo>
                    <a:pt x="664" y="520"/>
                  </a:lnTo>
                  <a:lnTo>
                    <a:pt x="661" y="522"/>
                  </a:lnTo>
                  <a:lnTo>
                    <a:pt x="644" y="517"/>
                  </a:lnTo>
                  <a:lnTo>
                    <a:pt x="649" y="520"/>
                  </a:lnTo>
                  <a:lnTo>
                    <a:pt x="653" y="525"/>
                  </a:lnTo>
                  <a:lnTo>
                    <a:pt x="657" y="525"/>
                  </a:lnTo>
                  <a:lnTo>
                    <a:pt x="660" y="527"/>
                  </a:lnTo>
                  <a:lnTo>
                    <a:pt x="662" y="533"/>
                  </a:lnTo>
                  <a:lnTo>
                    <a:pt x="664" y="538"/>
                  </a:lnTo>
                  <a:lnTo>
                    <a:pt x="667" y="543"/>
                  </a:lnTo>
                  <a:lnTo>
                    <a:pt x="670" y="540"/>
                  </a:lnTo>
                  <a:lnTo>
                    <a:pt x="670" y="533"/>
                  </a:lnTo>
                  <a:lnTo>
                    <a:pt x="680" y="535"/>
                  </a:lnTo>
                  <a:lnTo>
                    <a:pt x="684" y="539"/>
                  </a:lnTo>
                  <a:lnTo>
                    <a:pt x="689" y="539"/>
                  </a:lnTo>
                  <a:lnTo>
                    <a:pt x="686" y="551"/>
                  </a:lnTo>
                  <a:lnTo>
                    <a:pt x="688" y="552"/>
                  </a:lnTo>
                  <a:lnTo>
                    <a:pt x="694" y="550"/>
                  </a:lnTo>
                  <a:lnTo>
                    <a:pt x="697" y="551"/>
                  </a:lnTo>
                  <a:lnTo>
                    <a:pt x="694" y="560"/>
                  </a:lnTo>
                  <a:lnTo>
                    <a:pt x="708" y="559"/>
                  </a:lnTo>
                  <a:lnTo>
                    <a:pt x="714" y="567"/>
                  </a:lnTo>
                  <a:lnTo>
                    <a:pt x="714" y="578"/>
                  </a:lnTo>
                  <a:lnTo>
                    <a:pt x="716" y="588"/>
                  </a:lnTo>
                  <a:lnTo>
                    <a:pt x="720" y="583"/>
                  </a:lnTo>
                  <a:lnTo>
                    <a:pt x="737" y="588"/>
                  </a:lnTo>
                  <a:lnTo>
                    <a:pt x="738" y="582"/>
                  </a:lnTo>
                  <a:lnTo>
                    <a:pt x="750" y="590"/>
                  </a:lnTo>
                  <a:lnTo>
                    <a:pt x="762" y="577"/>
                  </a:lnTo>
                  <a:lnTo>
                    <a:pt x="766" y="577"/>
                  </a:lnTo>
                  <a:lnTo>
                    <a:pt x="768" y="582"/>
                  </a:lnTo>
                  <a:lnTo>
                    <a:pt x="775" y="578"/>
                  </a:lnTo>
                  <a:lnTo>
                    <a:pt x="789" y="575"/>
                  </a:lnTo>
                  <a:lnTo>
                    <a:pt x="800" y="576"/>
                  </a:lnTo>
                  <a:lnTo>
                    <a:pt x="799" y="584"/>
                  </a:lnTo>
                  <a:lnTo>
                    <a:pt x="795" y="588"/>
                  </a:lnTo>
                  <a:lnTo>
                    <a:pt x="794" y="597"/>
                  </a:lnTo>
                  <a:lnTo>
                    <a:pt x="794" y="608"/>
                  </a:lnTo>
                  <a:lnTo>
                    <a:pt x="775" y="608"/>
                  </a:lnTo>
                  <a:lnTo>
                    <a:pt x="772" y="611"/>
                  </a:lnTo>
                  <a:lnTo>
                    <a:pt x="740" y="602"/>
                  </a:lnTo>
                  <a:lnTo>
                    <a:pt x="723" y="619"/>
                  </a:lnTo>
                  <a:lnTo>
                    <a:pt x="714" y="629"/>
                  </a:lnTo>
                  <a:lnTo>
                    <a:pt x="702" y="626"/>
                  </a:lnTo>
                  <a:lnTo>
                    <a:pt x="687" y="630"/>
                  </a:lnTo>
                  <a:lnTo>
                    <a:pt x="692" y="633"/>
                  </a:lnTo>
                  <a:lnTo>
                    <a:pt x="686" y="635"/>
                  </a:lnTo>
                  <a:lnTo>
                    <a:pt x="681" y="641"/>
                  </a:lnTo>
                  <a:lnTo>
                    <a:pt x="680" y="646"/>
                  </a:lnTo>
                  <a:lnTo>
                    <a:pt x="677" y="649"/>
                  </a:lnTo>
                  <a:lnTo>
                    <a:pt x="670" y="651"/>
                  </a:lnTo>
                  <a:lnTo>
                    <a:pt x="659" y="658"/>
                  </a:lnTo>
                  <a:lnTo>
                    <a:pt x="643" y="657"/>
                  </a:lnTo>
                  <a:lnTo>
                    <a:pt x="639" y="656"/>
                  </a:lnTo>
                  <a:lnTo>
                    <a:pt x="628" y="646"/>
                  </a:lnTo>
                  <a:lnTo>
                    <a:pt x="632" y="638"/>
                  </a:lnTo>
                  <a:lnTo>
                    <a:pt x="632" y="629"/>
                  </a:lnTo>
                  <a:lnTo>
                    <a:pt x="634" y="620"/>
                  </a:lnTo>
                  <a:lnTo>
                    <a:pt x="633" y="610"/>
                  </a:lnTo>
                  <a:lnTo>
                    <a:pt x="628" y="599"/>
                  </a:lnTo>
                  <a:lnTo>
                    <a:pt x="621" y="598"/>
                  </a:lnTo>
                  <a:lnTo>
                    <a:pt x="614" y="598"/>
                  </a:lnTo>
                  <a:lnTo>
                    <a:pt x="607" y="590"/>
                  </a:lnTo>
                  <a:lnTo>
                    <a:pt x="595" y="583"/>
                  </a:lnTo>
                  <a:lnTo>
                    <a:pt x="579" y="583"/>
                  </a:lnTo>
                  <a:lnTo>
                    <a:pt x="579" y="581"/>
                  </a:lnTo>
                  <a:lnTo>
                    <a:pt x="581" y="575"/>
                  </a:lnTo>
                  <a:lnTo>
                    <a:pt x="591" y="570"/>
                  </a:lnTo>
                  <a:lnTo>
                    <a:pt x="605" y="556"/>
                  </a:lnTo>
                  <a:lnTo>
                    <a:pt x="613" y="550"/>
                  </a:lnTo>
                  <a:lnTo>
                    <a:pt x="641" y="541"/>
                  </a:lnTo>
                  <a:lnTo>
                    <a:pt x="645" y="539"/>
                  </a:lnTo>
                  <a:lnTo>
                    <a:pt x="641" y="536"/>
                  </a:lnTo>
                  <a:lnTo>
                    <a:pt x="640" y="529"/>
                  </a:lnTo>
                  <a:lnTo>
                    <a:pt x="634" y="523"/>
                  </a:lnTo>
                  <a:lnTo>
                    <a:pt x="628" y="529"/>
                  </a:lnTo>
                  <a:lnTo>
                    <a:pt x="618" y="524"/>
                  </a:lnTo>
                  <a:lnTo>
                    <a:pt x="618" y="519"/>
                  </a:lnTo>
                  <a:lnTo>
                    <a:pt x="610" y="522"/>
                  </a:lnTo>
                  <a:lnTo>
                    <a:pt x="608" y="525"/>
                  </a:lnTo>
                  <a:lnTo>
                    <a:pt x="601" y="525"/>
                  </a:lnTo>
                  <a:lnTo>
                    <a:pt x="579" y="530"/>
                  </a:lnTo>
                  <a:lnTo>
                    <a:pt x="563" y="524"/>
                  </a:lnTo>
                  <a:lnTo>
                    <a:pt x="557" y="518"/>
                  </a:lnTo>
                  <a:lnTo>
                    <a:pt x="551" y="516"/>
                  </a:lnTo>
                  <a:lnTo>
                    <a:pt x="539" y="517"/>
                  </a:lnTo>
                  <a:lnTo>
                    <a:pt x="538" y="513"/>
                  </a:lnTo>
                  <a:lnTo>
                    <a:pt x="551" y="503"/>
                  </a:lnTo>
                  <a:lnTo>
                    <a:pt x="549" y="501"/>
                  </a:lnTo>
                  <a:lnTo>
                    <a:pt x="533" y="498"/>
                  </a:lnTo>
                  <a:lnTo>
                    <a:pt x="528" y="496"/>
                  </a:lnTo>
                  <a:lnTo>
                    <a:pt x="536" y="492"/>
                  </a:lnTo>
                  <a:lnTo>
                    <a:pt x="560" y="496"/>
                  </a:lnTo>
                  <a:lnTo>
                    <a:pt x="563" y="495"/>
                  </a:lnTo>
                  <a:lnTo>
                    <a:pt x="560" y="491"/>
                  </a:lnTo>
                  <a:lnTo>
                    <a:pt x="554" y="490"/>
                  </a:lnTo>
                  <a:lnTo>
                    <a:pt x="548" y="481"/>
                  </a:lnTo>
                  <a:lnTo>
                    <a:pt x="543" y="471"/>
                  </a:lnTo>
                  <a:lnTo>
                    <a:pt x="541" y="479"/>
                  </a:lnTo>
                  <a:lnTo>
                    <a:pt x="533" y="482"/>
                  </a:lnTo>
                  <a:lnTo>
                    <a:pt x="524" y="485"/>
                  </a:lnTo>
                  <a:lnTo>
                    <a:pt x="526" y="475"/>
                  </a:lnTo>
                  <a:lnTo>
                    <a:pt x="520" y="480"/>
                  </a:lnTo>
                  <a:lnTo>
                    <a:pt x="508" y="486"/>
                  </a:lnTo>
                  <a:lnTo>
                    <a:pt x="492" y="489"/>
                  </a:lnTo>
                  <a:lnTo>
                    <a:pt x="485" y="492"/>
                  </a:lnTo>
                  <a:lnTo>
                    <a:pt x="478" y="495"/>
                  </a:lnTo>
                  <a:lnTo>
                    <a:pt x="477" y="502"/>
                  </a:lnTo>
                  <a:lnTo>
                    <a:pt x="466" y="520"/>
                  </a:lnTo>
                  <a:lnTo>
                    <a:pt x="461" y="519"/>
                  </a:lnTo>
                  <a:lnTo>
                    <a:pt x="457" y="511"/>
                  </a:lnTo>
                  <a:lnTo>
                    <a:pt x="450" y="509"/>
                  </a:lnTo>
                  <a:lnTo>
                    <a:pt x="446" y="504"/>
                  </a:lnTo>
                  <a:lnTo>
                    <a:pt x="449" y="512"/>
                  </a:lnTo>
                  <a:lnTo>
                    <a:pt x="457" y="519"/>
                  </a:lnTo>
                  <a:lnTo>
                    <a:pt x="458" y="530"/>
                  </a:lnTo>
                  <a:lnTo>
                    <a:pt x="453" y="541"/>
                  </a:lnTo>
                  <a:lnTo>
                    <a:pt x="449" y="546"/>
                  </a:lnTo>
                  <a:lnTo>
                    <a:pt x="434" y="547"/>
                  </a:lnTo>
                  <a:lnTo>
                    <a:pt x="431" y="552"/>
                  </a:lnTo>
                  <a:lnTo>
                    <a:pt x="426" y="555"/>
                  </a:lnTo>
                  <a:lnTo>
                    <a:pt x="425" y="562"/>
                  </a:lnTo>
                  <a:lnTo>
                    <a:pt x="420" y="560"/>
                  </a:lnTo>
                  <a:lnTo>
                    <a:pt x="419" y="550"/>
                  </a:lnTo>
                  <a:lnTo>
                    <a:pt x="418" y="546"/>
                  </a:lnTo>
                  <a:lnTo>
                    <a:pt x="418" y="566"/>
                  </a:lnTo>
                  <a:lnTo>
                    <a:pt x="419" y="581"/>
                  </a:lnTo>
                  <a:lnTo>
                    <a:pt x="417" y="582"/>
                  </a:lnTo>
                  <a:lnTo>
                    <a:pt x="411" y="578"/>
                  </a:lnTo>
                  <a:lnTo>
                    <a:pt x="402" y="578"/>
                  </a:lnTo>
                  <a:lnTo>
                    <a:pt x="393" y="582"/>
                  </a:lnTo>
                  <a:lnTo>
                    <a:pt x="379" y="584"/>
                  </a:lnTo>
                  <a:lnTo>
                    <a:pt x="368" y="592"/>
                  </a:lnTo>
                  <a:lnTo>
                    <a:pt x="356" y="593"/>
                  </a:lnTo>
                  <a:lnTo>
                    <a:pt x="344" y="576"/>
                  </a:lnTo>
                  <a:lnTo>
                    <a:pt x="336" y="577"/>
                  </a:lnTo>
                  <a:lnTo>
                    <a:pt x="336" y="573"/>
                  </a:lnTo>
                  <a:lnTo>
                    <a:pt x="345" y="573"/>
                  </a:lnTo>
                  <a:lnTo>
                    <a:pt x="350" y="567"/>
                  </a:lnTo>
                  <a:lnTo>
                    <a:pt x="352" y="560"/>
                  </a:lnTo>
                  <a:lnTo>
                    <a:pt x="354" y="552"/>
                  </a:lnTo>
                  <a:lnTo>
                    <a:pt x="363" y="547"/>
                  </a:lnTo>
                  <a:lnTo>
                    <a:pt x="364" y="539"/>
                  </a:lnTo>
                  <a:lnTo>
                    <a:pt x="369" y="534"/>
                  </a:lnTo>
                  <a:lnTo>
                    <a:pt x="376" y="530"/>
                  </a:lnTo>
                  <a:lnTo>
                    <a:pt x="379" y="506"/>
                  </a:lnTo>
                  <a:lnTo>
                    <a:pt x="382" y="498"/>
                  </a:lnTo>
                  <a:lnTo>
                    <a:pt x="391" y="495"/>
                  </a:lnTo>
                  <a:lnTo>
                    <a:pt x="395" y="501"/>
                  </a:lnTo>
                  <a:lnTo>
                    <a:pt x="402" y="497"/>
                  </a:lnTo>
                  <a:lnTo>
                    <a:pt x="425" y="503"/>
                  </a:lnTo>
                  <a:lnTo>
                    <a:pt x="431" y="498"/>
                  </a:lnTo>
                  <a:lnTo>
                    <a:pt x="435" y="491"/>
                  </a:lnTo>
                  <a:lnTo>
                    <a:pt x="431" y="484"/>
                  </a:lnTo>
                  <a:lnTo>
                    <a:pt x="434" y="476"/>
                  </a:lnTo>
                  <a:lnTo>
                    <a:pt x="433" y="468"/>
                  </a:lnTo>
                  <a:lnTo>
                    <a:pt x="428" y="460"/>
                  </a:lnTo>
                  <a:lnTo>
                    <a:pt x="413" y="453"/>
                  </a:lnTo>
                  <a:lnTo>
                    <a:pt x="407" y="439"/>
                  </a:lnTo>
                  <a:lnTo>
                    <a:pt x="408" y="431"/>
                  </a:lnTo>
                  <a:lnTo>
                    <a:pt x="406" y="423"/>
                  </a:lnTo>
                  <a:lnTo>
                    <a:pt x="398" y="422"/>
                  </a:lnTo>
                  <a:lnTo>
                    <a:pt x="395" y="415"/>
                  </a:lnTo>
                  <a:lnTo>
                    <a:pt x="387" y="409"/>
                  </a:lnTo>
                  <a:lnTo>
                    <a:pt x="391" y="393"/>
                  </a:lnTo>
                  <a:lnTo>
                    <a:pt x="391" y="385"/>
                  </a:lnTo>
                  <a:lnTo>
                    <a:pt x="391" y="377"/>
                  </a:lnTo>
                  <a:lnTo>
                    <a:pt x="387" y="369"/>
                  </a:lnTo>
                  <a:lnTo>
                    <a:pt x="379" y="372"/>
                  </a:lnTo>
                  <a:lnTo>
                    <a:pt x="368" y="360"/>
                  </a:lnTo>
                  <a:lnTo>
                    <a:pt x="359" y="358"/>
                  </a:lnTo>
                  <a:lnTo>
                    <a:pt x="343" y="361"/>
                  </a:lnTo>
                  <a:lnTo>
                    <a:pt x="336" y="358"/>
                  </a:lnTo>
                  <a:lnTo>
                    <a:pt x="317" y="342"/>
                  </a:lnTo>
                  <a:lnTo>
                    <a:pt x="310" y="339"/>
                  </a:lnTo>
                  <a:lnTo>
                    <a:pt x="294" y="334"/>
                  </a:lnTo>
                  <a:lnTo>
                    <a:pt x="278" y="339"/>
                  </a:lnTo>
                  <a:lnTo>
                    <a:pt x="269" y="340"/>
                  </a:lnTo>
                  <a:lnTo>
                    <a:pt x="261" y="339"/>
                  </a:lnTo>
                  <a:lnTo>
                    <a:pt x="254" y="342"/>
                  </a:lnTo>
                  <a:lnTo>
                    <a:pt x="248" y="35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81" name="Freeform 192">
              <a:extLst>
                <a:ext uri="{FF2B5EF4-FFF2-40B4-BE49-F238E27FC236}">
                  <a16:creationId xmlns:a16="http://schemas.microsoft.com/office/drawing/2014/main" id="{1F222E62-A05E-C791-BB03-8ED9CC6A46F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547698" y="2615582"/>
              <a:ext cx="101479" cy="138704"/>
            </a:xfrm>
            <a:custGeom>
              <a:avLst/>
              <a:gdLst>
                <a:gd name="T0" fmla="*/ 0 w 187"/>
                <a:gd name="T1" fmla="*/ 0 h 239"/>
                <a:gd name="T2" fmla="*/ 0 w 187"/>
                <a:gd name="T3" fmla="*/ 0 h 239"/>
                <a:gd name="T4" fmla="*/ 0 w 187"/>
                <a:gd name="T5" fmla="*/ 0 h 239"/>
                <a:gd name="T6" fmla="*/ 0 w 187"/>
                <a:gd name="T7" fmla="*/ 0 h 239"/>
                <a:gd name="T8" fmla="*/ 0 w 187"/>
                <a:gd name="T9" fmla="*/ 0 h 239"/>
                <a:gd name="T10" fmla="*/ 0 w 187"/>
                <a:gd name="T11" fmla="*/ 0 h 239"/>
                <a:gd name="T12" fmla="*/ 0 w 187"/>
                <a:gd name="T13" fmla="*/ 0 h 239"/>
                <a:gd name="T14" fmla="*/ 0 w 187"/>
                <a:gd name="T15" fmla="*/ 0 h 239"/>
                <a:gd name="T16" fmla="*/ 0 w 187"/>
                <a:gd name="T17" fmla="*/ 0 h 239"/>
                <a:gd name="T18" fmla="*/ 0 w 187"/>
                <a:gd name="T19" fmla="*/ 0 h 239"/>
                <a:gd name="T20" fmla="*/ 0 w 187"/>
                <a:gd name="T21" fmla="*/ 0 h 239"/>
                <a:gd name="T22" fmla="*/ 0 w 187"/>
                <a:gd name="T23" fmla="*/ 0 h 239"/>
                <a:gd name="T24" fmla="*/ 0 w 187"/>
                <a:gd name="T25" fmla="*/ 0 h 239"/>
                <a:gd name="T26" fmla="*/ 0 w 187"/>
                <a:gd name="T27" fmla="*/ 0 h 239"/>
                <a:gd name="T28" fmla="*/ 0 w 187"/>
                <a:gd name="T29" fmla="*/ 0 h 239"/>
                <a:gd name="T30" fmla="*/ 0 w 187"/>
                <a:gd name="T31" fmla="*/ 0 h 239"/>
                <a:gd name="T32" fmla="*/ 0 w 187"/>
                <a:gd name="T33" fmla="*/ 0 h 239"/>
                <a:gd name="T34" fmla="*/ 0 w 187"/>
                <a:gd name="T35" fmla="*/ 0 h 239"/>
                <a:gd name="T36" fmla="*/ 0 w 187"/>
                <a:gd name="T37" fmla="*/ 0 h 239"/>
                <a:gd name="T38" fmla="*/ 0 w 187"/>
                <a:gd name="T39" fmla="*/ 0 h 239"/>
                <a:gd name="T40" fmla="*/ 0 w 187"/>
                <a:gd name="T41" fmla="*/ 0 h 239"/>
                <a:gd name="T42" fmla="*/ 0 w 187"/>
                <a:gd name="T43" fmla="*/ 0 h 239"/>
                <a:gd name="T44" fmla="*/ 0 w 187"/>
                <a:gd name="T45" fmla="*/ 0 h 239"/>
                <a:gd name="T46" fmla="*/ 0 w 187"/>
                <a:gd name="T47" fmla="*/ 0 h 239"/>
                <a:gd name="T48" fmla="*/ 0 w 187"/>
                <a:gd name="T49" fmla="*/ 0 h 239"/>
                <a:gd name="T50" fmla="*/ 0 w 187"/>
                <a:gd name="T51" fmla="*/ 0 h 239"/>
                <a:gd name="T52" fmla="*/ 0 w 187"/>
                <a:gd name="T53" fmla="*/ 0 h 239"/>
                <a:gd name="T54" fmla="*/ 0 w 187"/>
                <a:gd name="T55" fmla="*/ 0 h 239"/>
                <a:gd name="T56" fmla="*/ 0 w 187"/>
                <a:gd name="T57" fmla="*/ 0 h 239"/>
                <a:gd name="T58" fmla="*/ 0 w 187"/>
                <a:gd name="T59" fmla="*/ 0 h 239"/>
                <a:gd name="T60" fmla="*/ 0 w 187"/>
                <a:gd name="T61" fmla="*/ 0 h 239"/>
                <a:gd name="T62" fmla="*/ 0 w 187"/>
                <a:gd name="T63" fmla="*/ 0 h 239"/>
                <a:gd name="T64" fmla="*/ 0 w 187"/>
                <a:gd name="T65" fmla="*/ 0 h 239"/>
                <a:gd name="T66" fmla="*/ 0 w 187"/>
                <a:gd name="T67" fmla="*/ 0 h 239"/>
                <a:gd name="T68" fmla="*/ 0 w 187"/>
                <a:gd name="T69" fmla="*/ 0 h 239"/>
                <a:gd name="T70" fmla="*/ 0 w 187"/>
                <a:gd name="T71" fmla="*/ 0 h 239"/>
                <a:gd name="T72" fmla="*/ 0 w 187"/>
                <a:gd name="T73" fmla="*/ 0 h 239"/>
                <a:gd name="T74" fmla="*/ 0 w 187"/>
                <a:gd name="T75" fmla="*/ 0 h 239"/>
                <a:gd name="T76" fmla="*/ 0 w 187"/>
                <a:gd name="T77" fmla="*/ 0 h 239"/>
                <a:gd name="T78" fmla="*/ 0 w 187"/>
                <a:gd name="T79" fmla="*/ 0 h 239"/>
                <a:gd name="T80" fmla="*/ 0 w 187"/>
                <a:gd name="T81" fmla="*/ 0 h 239"/>
                <a:gd name="T82" fmla="*/ 0 w 187"/>
                <a:gd name="T83" fmla="*/ 0 h 239"/>
                <a:gd name="T84" fmla="*/ 0 w 187"/>
                <a:gd name="T85" fmla="*/ 0 h 239"/>
                <a:gd name="T86" fmla="*/ 0 w 187"/>
                <a:gd name="T87" fmla="*/ 0 h 239"/>
                <a:gd name="T88" fmla="*/ 0 w 187"/>
                <a:gd name="T89" fmla="*/ 0 h 239"/>
                <a:gd name="T90" fmla="*/ 0 w 187"/>
                <a:gd name="T91" fmla="*/ 0 h 239"/>
                <a:gd name="T92" fmla="*/ 0 w 187"/>
                <a:gd name="T93" fmla="*/ 0 h 239"/>
                <a:gd name="T94" fmla="*/ 0 w 187"/>
                <a:gd name="T95" fmla="*/ 0 h 239"/>
                <a:gd name="T96" fmla="*/ 0 w 187"/>
                <a:gd name="T97" fmla="*/ 0 h 239"/>
                <a:gd name="T98" fmla="*/ 0 w 187"/>
                <a:gd name="T99" fmla="*/ 0 h 239"/>
                <a:gd name="T100" fmla="*/ 0 w 187"/>
                <a:gd name="T101" fmla="*/ 0 h 239"/>
                <a:gd name="T102" fmla="*/ 0 w 187"/>
                <a:gd name="T103" fmla="*/ 0 h 239"/>
                <a:gd name="T104" fmla="*/ 0 w 187"/>
                <a:gd name="T105" fmla="*/ 0 h 239"/>
                <a:gd name="T106" fmla="*/ 0 w 187"/>
                <a:gd name="T107" fmla="*/ 0 h 239"/>
                <a:gd name="T108" fmla="*/ 0 w 187"/>
                <a:gd name="T109" fmla="*/ 0 h 239"/>
                <a:gd name="T110" fmla="*/ 0 w 187"/>
                <a:gd name="T111" fmla="*/ 0 h 239"/>
                <a:gd name="T112" fmla="*/ 0 w 187"/>
                <a:gd name="T113" fmla="*/ 0 h 239"/>
                <a:gd name="T114" fmla="*/ 0 w 187"/>
                <a:gd name="T115" fmla="*/ 0 h 239"/>
                <a:gd name="T116" fmla="*/ 0 w 187"/>
                <a:gd name="T117" fmla="*/ 0 h 23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87"/>
                <a:gd name="T178" fmla="*/ 0 h 239"/>
                <a:gd name="T179" fmla="*/ 187 w 187"/>
                <a:gd name="T180" fmla="*/ 239 h 23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87" h="239">
                  <a:moveTo>
                    <a:pt x="88" y="239"/>
                  </a:moveTo>
                  <a:lnTo>
                    <a:pt x="88" y="225"/>
                  </a:lnTo>
                  <a:lnTo>
                    <a:pt x="86" y="212"/>
                  </a:lnTo>
                  <a:lnTo>
                    <a:pt x="84" y="200"/>
                  </a:lnTo>
                  <a:lnTo>
                    <a:pt x="86" y="184"/>
                  </a:lnTo>
                  <a:lnTo>
                    <a:pt x="86" y="164"/>
                  </a:lnTo>
                  <a:lnTo>
                    <a:pt x="81" y="135"/>
                  </a:lnTo>
                  <a:lnTo>
                    <a:pt x="70" y="115"/>
                  </a:lnTo>
                  <a:lnTo>
                    <a:pt x="57" y="94"/>
                  </a:lnTo>
                  <a:lnTo>
                    <a:pt x="45" y="73"/>
                  </a:lnTo>
                  <a:lnTo>
                    <a:pt x="42" y="56"/>
                  </a:lnTo>
                  <a:lnTo>
                    <a:pt x="34" y="43"/>
                  </a:lnTo>
                  <a:lnTo>
                    <a:pt x="20" y="29"/>
                  </a:lnTo>
                  <a:lnTo>
                    <a:pt x="8" y="19"/>
                  </a:lnTo>
                  <a:lnTo>
                    <a:pt x="0" y="19"/>
                  </a:lnTo>
                  <a:lnTo>
                    <a:pt x="6" y="8"/>
                  </a:lnTo>
                  <a:lnTo>
                    <a:pt x="13" y="3"/>
                  </a:lnTo>
                  <a:lnTo>
                    <a:pt x="21" y="6"/>
                  </a:lnTo>
                  <a:lnTo>
                    <a:pt x="30" y="5"/>
                  </a:lnTo>
                  <a:lnTo>
                    <a:pt x="46" y="0"/>
                  </a:lnTo>
                  <a:lnTo>
                    <a:pt x="62" y="5"/>
                  </a:lnTo>
                  <a:lnTo>
                    <a:pt x="69" y="8"/>
                  </a:lnTo>
                  <a:lnTo>
                    <a:pt x="88" y="24"/>
                  </a:lnTo>
                  <a:lnTo>
                    <a:pt x="95" y="27"/>
                  </a:lnTo>
                  <a:lnTo>
                    <a:pt x="111" y="24"/>
                  </a:lnTo>
                  <a:lnTo>
                    <a:pt x="120" y="26"/>
                  </a:lnTo>
                  <a:lnTo>
                    <a:pt x="131" y="38"/>
                  </a:lnTo>
                  <a:lnTo>
                    <a:pt x="139" y="35"/>
                  </a:lnTo>
                  <a:lnTo>
                    <a:pt x="143" y="43"/>
                  </a:lnTo>
                  <a:lnTo>
                    <a:pt x="143" y="51"/>
                  </a:lnTo>
                  <a:lnTo>
                    <a:pt x="143" y="59"/>
                  </a:lnTo>
                  <a:lnTo>
                    <a:pt x="139" y="75"/>
                  </a:lnTo>
                  <a:lnTo>
                    <a:pt x="147" y="81"/>
                  </a:lnTo>
                  <a:lnTo>
                    <a:pt x="150" y="87"/>
                  </a:lnTo>
                  <a:lnTo>
                    <a:pt x="158" y="89"/>
                  </a:lnTo>
                  <a:lnTo>
                    <a:pt x="160" y="97"/>
                  </a:lnTo>
                  <a:lnTo>
                    <a:pt x="159" y="104"/>
                  </a:lnTo>
                  <a:lnTo>
                    <a:pt x="165" y="119"/>
                  </a:lnTo>
                  <a:lnTo>
                    <a:pt x="180" y="126"/>
                  </a:lnTo>
                  <a:lnTo>
                    <a:pt x="185" y="134"/>
                  </a:lnTo>
                  <a:lnTo>
                    <a:pt x="186" y="141"/>
                  </a:lnTo>
                  <a:lnTo>
                    <a:pt x="183" y="150"/>
                  </a:lnTo>
                  <a:lnTo>
                    <a:pt x="187" y="157"/>
                  </a:lnTo>
                  <a:lnTo>
                    <a:pt x="183" y="164"/>
                  </a:lnTo>
                  <a:lnTo>
                    <a:pt x="177" y="169"/>
                  </a:lnTo>
                  <a:lnTo>
                    <a:pt x="154" y="163"/>
                  </a:lnTo>
                  <a:lnTo>
                    <a:pt x="147" y="167"/>
                  </a:lnTo>
                  <a:lnTo>
                    <a:pt x="143" y="161"/>
                  </a:lnTo>
                  <a:lnTo>
                    <a:pt x="134" y="164"/>
                  </a:lnTo>
                  <a:lnTo>
                    <a:pt x="131" y="172"/>
                  </a:lnTo>
                  <a:lnTo>
                    <a:pt x="128" y="196"/>
                  </a:lnTo>
                  <a:lnTo>
                    <a:pt x="121" y="200"/>
                  </a:lnTo>
                  <a:lnTo>
                    <a:pt x="116" y="205"/>
                  </a:lnTo>
                  <a:lnTo>
                    <a:pt x="115" y="213"/>
                  </a:lnTo>
                  <a:lnTo>
                    <a:pt x="107" y="218"/>
                  </a:lnTo>
                  <a:lnTo>
                    <a:pt x="104" y="226"/>
                  </a:lnTo>
                  <a:lnTo>
                    <a:pt x="104" y="233"/>
                  </a:lnTo>
                  <a:lnTo>
                    <a:pt x="97" y="239"/>
                  </a:lnTo>
                  <a:lnTo>
                    <a:pt x="88" y="23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82" name="Freeform 193">
              <a:extLst>
                <a:ext uri="{FF2B5EF4-FFF2-40B4-BE49-F238E27FC236}">
                  <a16:creationId xmlns:a16="http://schemas.microsoft.com/office/drawing/2014/main" id="{CE78F8F7-7973-AF27-0897-CBD2FBCD15C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446219" y="2223858"/>
              <a:ext cx="285038" cy="257593"/>
            </a:xfrm>
            <a:custGeom>
              <a:avLst/>
              <a:gdLst>
                <a:gd name="T0" fmla="*/ 0 w 532"/>
                <a:gd name="T1" fmla="*/ 2147483647 h 452"/>
                <a:gd name="T2" fmla="*/ 0 w 532"/>
                <a:gd name="T3" fmla="*/ 2147483647 h 452"/>
                <a:gd name="T4" fmla="*/ 0 w 532"/>
                <a:gd name="T5" fmla="*/ 0 h 452"/>
                <a:gd name="T6" fmla="*/ 0 w 532"/>
                <a:gd name="T7" fmla="*/ 0 h 452"/>
                <a:gd name="T8" fmla="*/ 0 w 532"/>
                <a:gd name="T9" fmla="*/ 0 h 452"/>
                <a:gd name="T10" fmla="*/ 0 w 532"/>
                <a:gd name="T11" fmla="*/ 0 h 452"/>
                <a:gd name="T12" fmla="*/ 0 w 532"/>
                <a:gd name="T13" fmla="*/ 0 h 452"/>
                <a:gd name="T14" fmla="*/ 0 w 532"/>
                <a:gd name="T15" fmla="*/ 0 h 452"/>
                <a:gd name="T16" fmla="*/ 0 w 532"/>
                <a:gd name="T17" fmla="*/ 0 h 452"/>
                <a:gd name="T18" fmla="*/ 0 w 532"/>
                <a:gd name="T19" fmla="*/ 0 h 452"/>
                <a:gd name="T20" fmla="*/ 0 w 532"/>
                <a:gd name="T21" fmla="*/ 0 h 452"/>
                <a:gd name="T22" fmla="*/ 0 w 532"/>
                <a:gd name="T23" fmla="*/ 0 h 452"/>
                <a:gd name="T24" fmla="*/ 0 w 532"/>
                <a:gd name="T25" fmla="*/ 0 h 452"/>
                <a:gd name="T26" fmla="*/ 0 w 532"/>
                <a:gd name="T27" fmla="*/ 0 h 452"/>
                <a:gd name="T28" fmla="*/ 0 w 532"/>
                <a:gd name="T29" fmla="*/ 0 h 452"/>
                <a:gd name="T30" fmla="*/ 0 w 532"/>
                <a:gd name="T31" fmla="*/ 0 h 452"/>
                <a:gd name="T32" fmla="*/ 0 w 532"/>
                <a:gd name="T33" fmla="*/ 0 h 452"/>
                <a:gd name="T34" fmla="*/ 0 w 532"/>
                <a:gd name="T35" fmla="*/ 0 h 452"/>
                <a:gd name="T36" fmla="*/ 0 w 532"/>
                <a:gd name="T37" fmla="*/ 0 h 452"/>
                <a:gd name="T38" fmla="*/ 0 w 532"/>
                <a:gd name="T39" fmla="*/ 0 h 452"/>
                <a:gd name="T40" fmla="*/ 0 w 532"/>
                <a:gd name="T41" fmla="*/ 0 h 452"/>
                <a:gd name="T42" fmla="*/ 2147483647 w 532"/>
                <a:gd name="T43" fmla="*/ 0 h 452"/>
                <a:gd name="T44" fmla="*/ 2147483647 w 532"/>
                <a:gd name="T45" fmla="*/ 0 h 452"/>
                <a:gd name="T46" fmla="*/ 2147483647 w 532"/>
                <a:gd name="T47" fmla="*/ 0 h 452"/>
                <a:gd name="T48" fmla="*/ 2147483647 w 532"/>
                <a:gd name="T49" fmla="*/ 0 h 452"/>
                <a:gd name="T50" fmla="*/ 2147483647 w 532"/>
                <a:gd name="T51" fmla="*/ 0 h 452"/>
                <a:gd name="T52" fmla="*/ 2147483647 w 532"/>
                <a:gd name="T53" fmla="*/ 0 h 452"/>
                <a:gd name="T54" fmla="*/ 2147483647 w 532"/>
                <a:gd name="T55" fmla="*/ 0 h 452"/>
                <a:gd name="T56" fmla="*/ 2147483647 w 532"/>
                <a:gd name="T57" fmla="*/ 0 h 452"/>
                <a:gd name="T58" fmla="*/ 2147483647 w 532"/>
                <a:gd name="T59" fmla="*/ 0 h 452"/>
                <a:gd name="T60" fmla="*/ 2147483647 w 532"/>
                <a:gd name="T61" fmla="*/ 0 h 452"/>
                <a:gd name="T62" fmla="*/ 2147483647 w 532"/>
                <a:gd name="T63" fmla="*/ 0 h 452"/>
                <a:gd name="T64" fmla="*/ 2147483647 w 532"/>
                <a:gd name="T65" fmla="*/ 0 h 452"/>
                <a:gd name="T66" fmla="*/ 2147483647 w 532"/>
                <a:gd name="T67" fmla="*/ 0 h 452"/>
                <a:gd name="T68" fmla="*/ 2147483647 w 532"/>
                <a:gd name="T69" fmla="*/ 0 h 452"/>
                <a:gd name="T70" fmla="*/ 2147483647 w 532"/>
                <a:gd name="T71" fmla="*/ 0 h 452"/>
                <a:gd name="T72" fmla="*/ 2147483647 w 532"/>
                <a:gd name="T73" fmla="*/ 0 h 452"/>
                <a:gd name="T74" fmla="*/ 2147483647 w 532"/>
                <a:gd name="T75" fmla="*/ 0 h 452"/>
                <a:gd name="T76" fmla="*/ 2147483647 w 532"/>
                <a:gd name="T77" fmla="*/ 0 h 452"/>
                <a:gd name="T78" fmla="*/ 2147483647 w 532"/>
                <a:gd name="T79" fmla="*/ 2147483647 h 452"/>
                <a:gd name="T80" fmla="*/ 2147483647 w 532"/>
                <a:gd name="T81" fmla="*/ 2147483647 h 452"/>
                <a:gd name="T82" fmla="*/ 2147483647 w 532"/>
                <a:gd name="T83" fmla="*/ 2147483647 h 452"/>
                <a:gd name="T84" fmla="*/ 2147483647 w 532"/>
                <a:gd name="T85" fmla="*/ 2147483647 h 452"/>
                <a:gd name="T86" fmla="*/ 2147483647 w 532"/>
                <a:gd name="T87" fmla="*/ 2147483647 h 452"/>
                <a:gd name="T88" fmla="*/ 2147483647 w 532"/>
                <a:gd name="T89" fmla="*/ 2147483647 h 452"/>
                <a:gd name="T90" fmla="*/ 2147483647 w 532"/>
                <a:gd name="T91" fmla="*/ 2147483647 h 452"/>
                <a:gd name="T92" fmla="*/ 2147483647 w 532"/>
                <a:gd name="T93" fmla="*/ 2147483647 h 452"/>
                <a:gd name="T94" fmla="*/ 2147483647 w 532"/>
                <a:gd name="T95" fmla="*/ 2147483647 h 452"/>
                <a:gd name="T96" fmla="*/ 0 w 532"/>
                <a:gd name="T97" fmla="*/ 2147483647 h 452"/>
                <a:gd name="T98" fmla="*/ 0 w 532"/>
                <a:gd name="T99" fmla="*/ 2147483647 h 452"/>
                <a:gd name="T100" fmla="*/ 0 w 532"/>
                <a:gd name="T101" fmla="*/ 2147483647 h 452"/>
                <a:gd name="T102" fmla="*/ 0 w 532"/>
                <a:gd name="T103" fmla="*/ 2147483647 h 452"/>
                <a:gd name="T104" fmla="*/ 0 w 532"/>
                <a:gd name="T105" fmla="*/ 2147483647 h 452"/>
                <a:gd name="T106" fmla="*/ 0 w 532"/>
                <a:gd name="T107" fmla="*/ 2147483647 h 452"/>
                <a:gd name="T108" fmla="*/ 0 w 532"/>
                <a:gd name="T109" fmla="*/ 2147483647 h 452"/>
                <a:gd name="T110" fmla="*/ 0 w 532"/>
                <a:gd name="T111" fmla="*/ 2147483647 h 452"/>
                <a:gd name="T112" fmla="*/ 0 w 532"/>
                <a:gd name="T113" fmla="*/ 2147483647 h 452"/>
                <a:gd name="T114" fmla="*/ 0 w 532"/>
                <a:gd name="T115" fmla="*/ 2147483647 h 452"/>
                <a:gd name="T116" fmla="*/ 0 w 532"/>
                <a:gd name="T117" fmla="*/ 2147483647 h 45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32"/>
                <a:gd name="T178" fmla="*/ 0 h 452"/>
                <a:gd name="T179" fmla="*/ 532 w 532"/>
                <a:gd name="T180" fmla="*/ 452 h 45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532" h="452">
                  <a:moveTo>
                    <a:pt x="17" y="428"/>
                  </a:moveTo>
                  <a:lnTo>
                    <a:pt x="21" y="387"/>
                  </a:lnTo>
                  <a:lnTo>
                    <a:pt x="6" y="374"/>
                  </a:lnTo>
                  <a:lnTo>
                    <a:pt x="0" y="363"/>
                  </a:lnTo>
                  <a:lnTo>
                    <a:pt x="11" y="351"/>
                  </a:lnTo>
                  <a:lnTo>
                    <a:pt x="26" y="342"/>
                  </a:lnTo>
                  <a:lnTo>
                    <a:pt x="37" y="325"/>
                  </a:lnTo>
                  <a:lnTo>
                    <a:pt x="38" y="308"/>
                  </a:lnTo>
                  <a:lnTo>
                    <a:pt x="38" y="292"/>
                  </a:lnTo>
                  <a:lnTo>
                    <a:pt x="20" y="220"/>
                  </a:lnTo>
                  <a:lnTo>
                    <a:pt x="19" y="210"/>
                  </a:lnTo>
                  <a:lnTo>
                    <a:pt x="33" y="214"/>
                  </a:lnTo>
                  <a:lnTo>
                    <a:pt x="49" y="210"/>
                  </a:lnTo>
                  <a:lnTo>
                    <a:pt x="65" y="213"/>
                  </a:lnTo>
                  <a:lnTo>
                    <a:pt x="73" y="210"/>
                  </a:lnTo>
                  <a:lnTo>
                    <a:pt x="79" y="204"/>
                  </a:lnTo>
                  <a:lnTo>
                    <a:pt x="86" y="208"/>
                  </a:lnTo>
                  <a:lnTo>
                    <a:pt x="94" y="207"/>
                  </a:lnTo>
                  <a:lnTo>
                    <a:pt x="91" y="193"/>
                  </a:lnTo>
                  <a:lnTo>
                    <a:pt x="97" y="190"/>
                  </a:lnTo>
                  <a:lnTo>
                    <a:pt x="106" y="190"/>
                  </a:lnTo>
                  <a:lnTo>
                    <a:pt x="111" y="183"/>
                  </a:lnTo>
                  <a:lnTo>
                    <a:pt x="118" y="179"/>
                  </a:lnTo>
                  <a:lnTo>
                    <a:pt x="125" y="182"/>
                  </a:lnTo>
                  <a:lnTo>
                    <a:pt x="130" y="188"/>
                  </a:lnTo>
                  <a:lnTo>
                    <a:pt x="138" y="192"/>
                  </a:lnTo>
                  <a:lnTo>
                    <a:pt x="145" y="190"/>
                  </a:lnTo>
                  <a:lnTo>
                    <a:pt x="144" y="181"/>
                  </a:lnTo>
                  <a:lnTo>
                    <a:pt x="139" y="175"/>
                  </a:lnTo>
                  <a:lnTo>
                    <a:pt x="135" y="167"/>
                  </a:lnTo>
                  <a:lnTo>
                    <a:pt x="137" y="160"/>
                  </a:lnTo>
                  <a:lnTo>
                    <a:pt x="145" y="147"/>
                  </a:lnTo>
                  <a:lnTo>
                    <a:pt x="145" y="138"/>
                  </a:lnTo>
                  <a:lnTo>
                    <a:pt x="148" y="129"/>
                  </a:lnTo>
                  <a:lnTo>
                    <a:pt x="148" y="122"/>
                  </a:lnTo>
                  <a:lnTo>
                    <a:pt x="149" y="113"/>
                  </a:lnTo>
                  <a:lnTo>
                    <a:pt x="156" y="110"/>
                  </a:lnTo>
                  <a:lnTo>
                    <a:pt x="165" y="107"/>
                  </a:lnTo>
                  <a:lnTo>
                    <a:pt x="170" y="102"/>
                  </a:lnTo>
                  <a:lnTo>
                    <a:pt x="177" y="99"/>
                  </a:lnTo>
                  <a:lnTo>
                    <a:pt x="191" y="99"/>
                  </a:lnTo>
                  <a:lnTo>
                    <a:pt x="199" y="80"/>
                  </a:lnTo>
                  <a:lnTo>
                    <a:pt x="192" y="77"/>
                  </a:lnTo>
                  <a:lnTo>
                    <a:pt x="183" y="77"/>
                  </a:lnTo>
                  <a:lnTo>
                    <a:pt x="183" y="69"/>
                  </a:lnTo>
                  <a:lnTo>
                    <a:pt x="183" y="61"/>
                  </a:lnTo>
                  <a:lnTo>
                    <a:pt x="191" y="57"/>
                  </a:lnTo>
                  <a:lnTo>
                    <a:pt x="197" y="51"/>
                  </a:lnTo>
                  <a:lnTo>
                    <a:pt x="195" y="50"/>
                  </a:lnTo>
                  <a:lnTo>
                    <a:pt x="195" y="48"/>
                  </a:lnTo>
                  <a:lnTo>
                    <a:pt x="204" y="50"/>
                  </a:lnTo>
                  <a:lnTo>
                    <a:pt x="210" y="46"/>
                  </a:lnTo>
                  <a:lnTo>
                    <a:pt x="213" y="37"/>
                  </a:lnTo>
                  <a:lnTo>
                    <a:pt x="219" y="32"/>
                  </a:lnTo>
                  <a:lnTo>
                    <a:pt x="235" y="39"/>
                  </a:lnTo>
                  <a:lnTo>
                    <a:pt x="242" y="37"/>
                  </a:lnTo>
                  <a:lnTo>
                    <a:pt x="253" y="25"/>
                  </a:lnTo>
                  <a:lnTo>
                    <a:pt x="254" y="16"/>
                  </a:lnTo>
                  <a:lnTo>
                    <a:pt x="267" y="5"/>
                  </a:lnTo>
                  <a:lnTo>
                    <a:pt x="273" y="0"/>
                  </a:lnTo>
                  <a:lnTo>
                    <a:pt x="284" y="0"/>
                  </a:lnTo>
                  <a:lnTo>
                    <a:pt x="286" y="8"/>
                  </a:lnTo>
                  <a:lnTo>
                    <a:pt x="302" y="5"/>
                  </a:lnTo>
                  <a:lnTo>
                    <a:pt x="310" y="8"/>
                  </a:lnTo>
                  <a:lnTo>
                    <a:pt x="313" y="15"/>
                  </a:lnTo>
                  <a:lnTo>
                    <a:pt x="329" y="13"/>
                  </a:lnTo>
                  <a:lnTo>
                    <a:pt x="338" y="14"/>
                  </a:lnTo>
                  <a:lnTo>
                    <a:pt x="350" y="24"/>
                  </a:lnTo>
                  <a:lnTo>
                    <a:pt x="348" y="43"/>
                  </a:lnTo>
                  <a:lnTo>
                    <a:pt x="363" y="35"/>
                  </a:lnTo>
                  <a:lnTo>
                    <a:pt x="370" y="34"/>
                  </a:lnTo>
                  <a:lnTo>
                    <a:pt x="376" y="29"/>
                  </a:lnTo>
                  <a:lnTo>
                    <a:pt x="392" y="27"/>
                  </a:lnTo>
                  <a:lnTo>
                    <a:pt x="399" y="29"/>
                  </a:lnTo>
                  <a:lnTo>
                    <a:pt x="407" y="34"/>
                  </a:lnTo>
                  <a:lnTo>
                    <a:pt x="413" y="39"/>
                  </a:lnTo>
                  <a:lnTo>
                    <a:pt x="422" y="52"/>
                  </a:lnTo>
                  <a:lnTo>
                    <a:pt x="430" y="53"/>
                  </a:lnTo>
                  <a:lnTo>
                    <a:pt x="431" y="64"/>
                  </a:lnTo>
                  <a:lnTo>
                    <a:pt x="429" y="73"/>
                  </a:lnTo>
                  <a:lnTo>
                    <a:pt x="429" y="80"/>
                  </a:lnTo>
                  <a:lnTo>
                    <a:pt x="434" y="88"/>
                  </a:lnTo>
                  <a:lnTo>
                    <a:pt x="436" y="95"/>
                  </a:lnTo>
                  <a:lnTo>
                    <a:pt x="435" y="102"/>
                  </a:lnTo>
                  <a:lnTo>
                    <a:pt x="433" y="110"/>
                  </a:lnTo>
                  <a:lnTo>
                    <a:pt x="426" y="116"/>
                  </a:lnTo>
                  <a:lnTo>
                    <a:pt x="424" y="123"/>
                  </a:lnTo>
                  <a:lnTo>
                    <a:pt x="426" y="131"/>
                  </a:lnTo>
                  <a:lnTo>
                    <a:pt x="437" y="143"/>
                  </a:lnTo>
                  <a:lnTo>
                    <a:pt x="442" y="158"/>
                  </a:lnTo>
                  <a:lnTo>
                    <a:pt x="453" y="180"/>
                  </a:lnTo>
                  <a:lnTo>
                    <a:pt x="458" y="186"/>
                  </a:lnTo>
                  <a:lnTo>
                    <a:pt x="473" y="195"/>
                  </a:lnTo>
                  <a:lnTo>
                    <a:pt x="478" y="201"/>
                  </a:lnTo>
                  <a:lnTo>
                    <a:pt x="479" y="209"/>
                  </a:lnTo>
                  <a:lnTo>
                    <a:pt x="478" y="217"/>
                  </a:lnTo>
                  <a:lnTo>
                    <a:pt x="482" y="224"/>
                  </a:lnTo>
                  <a:lnTo>
                    <a:pt x="505" y="222"/>
                  </a:lnTo>
                  <a:lnTo>
                    <a:pt x="511" y="226"/>
                  </a:lnTo>
                  <a:lnTo>
                    <a:pt x="519" y="229"/>
                  </a:lnTo>
                  <a:lnTo>
                    <a:pt x="516" y="236"/>
                  </a:lnTo>
                  <a:lnTo>
                    <a:pt x="521" y="242"/>
                  </a:lnTo>
                  <a:lnTo>
                    <a:pt x="531" y="244"/>
                  </a:lnTo>
                  <a:lnTo>
                    <a:pt x="532" y="257"/>
                  </a:lnTo>
                  <a:lnTo>
                    <a:pt x="525" y="263"/>
                  </a:lnTo>
                  <a:lnTo>
                    <a:pt x="521" y="269"/>
                  </a:lnTo>
                  <a:lnTo>
                    <a:pt x="509" y="279"/>
                  </a:lnTo>
                  <a:lnTo>
                    <a:pt x="501" y="284"/>
                  </a:lnTo>
                  <a:lnTo>
                    <a:pt x="484" y="282"/>
                  </a:lnTo>
                  <a:lnTo>
                    <a:pt x="472" y="272"/>
                  </a:lnTo>
                  <a:lnTo>
                    <a:pt x="465" y="271"/>
                  </a:lnTo>
                  <a:lnTo>
                    <a:pt x="457" y="274"/>
                  </a:lnTo>
                  <a:lnTo>
                    <a:pt x="456" y="282"/>
                  </a:lnTo>
                  <a:lnTo>
                    <a:pt x="449" y="285"/>
                  </a:lnTo>
                  <a:lnTo>
                    <a:pt x="450" y="294"/>
                  </a:lnTo>
                  <a:lnTo>
                    <a:pt x="461" y="304"/>
                  </a:lnTo>
                  <a:lnTo>
                    <a:pt x="463" y="311"/>
                  </a:lnTo>
                  <a:lnTo>
                    <a:pt x="461" y="320"/>
                  </a:lnTo>
                  <a:lnTo>
                    <a:pt x="466" y="325"/>
                  </a:lnTo>
                  <a:lnTo>
                    <a:pt x="465" y="333"/>
                  </a:lnTo>
                  <a:lnTo>
                    <a:pt x="472" y="337"/>
                  </a:lnTo>
                  <a:lnTo>
                    <a:pt x="474" y="344"/>
                  </a:lnTo>
                  <a:lnTo>
                    <a:pt x="473" y="353"/>
                  </a:lnTo>
                  <a:lnTo>
                    <a:pt x="478" y="375"/>
                  </a:lnTo>
                  <a:lnTo>
                    <a:pt x="458" y="375"/>
                  </a:lnTo>
                  <a:lnTo>
                    <a:pt x="451" y="380"/>
                  </a:lnTo>
                  <a:lnTo>
                    <a:pt x="442" y="380"/>
                  </a:lnTo>
                  <a:lnTo>
                    <a:pt x="435" y="384"/>
                  </a:lnTo>
                  <a:lnTo>
                    <a:pt x="417" y="401"/>
                  </a:lnTo>
                  <a:lnTo>
                    <a:pt x="414" y="409"/>
                  </a:lnTo>
                  <a:lnTo>
                    <a:pt x="414" y="418"/>
                  </a:lnTo>
                  <a:lnTo>
                    <a:pt x="412" y="427"/>
                  </a:lnTo>
                  <a:lnTo>
                    <a:pt x="414" y="443"/>
                  </a:lnTo>
                  <a:lnTo>
                    <a:pt x="410" y="450"/>
                  </a:lnTo>
                  <a:lnTo>
                    <a:pt x="402" y="452"/>
                  </a:lnTo>
                  <a:lnTo>
                    <a:pt x="397" y="446"/>
                  </a:lnTo>
                  <a:lnTo>
                    <a:pt x="390" y="443"/>
                  </a:lnTo>
                  <a:lnTo>
                    <a:pt x="381" y="443"/>
                  </a:lnTo>
                  <a:lnTo>
                    <a:pt x="365" y="445"/>
                  </a:lnTo>
                  <a:lnTo>
                    <a:pt x="356" y="445"/>
                  </a:lnTo>
                  <a:lnTo>
                    <a:pt x="349" y="450"/>
                  </a:lnTo>
                  <a:lnTo>
                    <a:pt x="343" y="444"/>
                  </a:lnTo>
                  <a:lnTo>
                    <a:pt x="339" y="436"/>
                  </a:lnTo>
                  <a:lnTo>
                    <a:pt x="327" y="427"/>
                  </a:lnTo>
                  <a:lnTo>
                    <a:pt x="310" y="445"/>
                  </a:lnTo>
                  <a:lnTo>
                    <a:pt x="302" y="440"/>
                  </a:lnTo>
                  <a:lnTo>
                    <a:pt x="297" y="433"/>
                  </a:lnTo>
                  <a:lnTo>
                    <a:pt x="290" y="435"/>
                  </a:lnTo>
                  <a:lnTo>
                    <a:pt x="281" y="433"/>
                  </a:lnTo>
                  <a:lnTo>
                    <a:pt x="275" y="428"/>
                  </a:lnTo>
                  <a:lnTo>
                    <a:pt x="269" y="434"/>
                  </a:lnTo>
                  <a:lnTo>
                    <a:pt x="261" y="434"/>
                  </a:lnTo>
                  <a:lnTo>
                    <a:pt x="253" y="436"/>
                  </a:lnTo>
                  <a:lnTo>
                    <a:pt x="247" y="443"/>
                  </a:lnTo>
                  <a:lnTo>
                    <a:pt x="240" y="436"/>
                  </a:lnTo>
                  <a:lnTo>
                    <a:pt x="238" y="428"/>
                  </a:lnTo>
                  <a:lnTo>
                    <a:pt x="223" y="429"/>
                  </a:lnTo>
                  <a:lnTo>
                    <a:pt x="216" y="424"/>
                  </a:lnTo>
                  <a:lnTo>
                    <a:pt x="215" y="416"/>
                  </a:lnTo>
                  <a:lnTo>
                    <a:pt x="208" y="412"/>
                  </a:lnTo>
                  <a:lnTo>
                    <a:pt x="199" y="409"/>
                  </a:lnTo>
                  <a:lnTo>
                    <a:pt x="193" y="406"/>
                  </a:lnTo>
                  <a:lnTo>
                    <a:pt x="184" y="407"/>
                  </a:lnTo>
                  <a:lnTo>
                    <a:pt x="176" y="406"/>
                  </a:lnTo>
                  <a:lnTo>
                    <a:pt x="160" y="401"/>
                  </a:lnTo>
                  <a:lnTo>
                    <a:pt x="146" y="392"/>
                  </a:lnTo>
                  <a:lnTo>
                    <a:pt x="138" y="395"/>
                  </a:lnTo>
                  <a:lnTo>
                    <a:pt x="121" y="394"/>
                  </a:lnTo>
                  <a:lnTo>
                    <a:pt x="113" y="391"/>
                  </a:lnTo>
                  <a:lnTo>
                    <a:pt x="71" y="397"/>
                  </a:lnTo>
                  <a:lnTo>
                    <a:pt x="64" y="401"/>
                  </a:lnTo>
                  <a:lnTo>
                    <a:pt x="62" y="408"/>
                  </a:lnTo>
                  <a:lnTo>
                    <a:pt x="55" y="414"/>
                  </a:lnTo>
                  <a:lnTo>
                    <a:pt x="41" y="422"/>
                  </a:lnTo>
                  <a:lnTo>
                    <a:pt x="32" y="421"/>
                  </a:lnTo>
                  <a:lnTo>
                    <a:pt x="24" y="422"/>
                  </a:lnTo>
                  <a:lnTo>
                    <a:pt x="17" y="42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83" name="Freeform 195">
              <a:extLst>
                <a:ext uri="{FF2B5EF4-FFF2-40B4-BE49-F238E27FC236}">
                  <a16:creationId xmlns:a16="http://schemas.microsoft.com/office/drawing/2014/main" id="{03A02134-EB20-51DA-C0D4-215673CC393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230517" y="2759471"/>
              <a:ext cx="113679" cy="121911"/>
            </a:xfrm>
            <a:custGeom>
              <a:avLst/>
              <a:gdLst>
                <a:gd name="T0" fmla="*/ 0 w 215"/>
                <a:gd name="T1" fmla="*/ 0 h 216"/>
                <a:gd name="T2" fmla="*/ 0 w 215"/>
                <a:gd name="T3" fmla="*/ 0 h 216"/>
                <a:gd name="T4" fmla="*/ 0 w 215"/>
                <a:gd name="T5" fmla="*/ 0 h 216"/>
                <a:gd name="T6" fmla="*/ 0 w 215"/>
                <a:gd name="T7" fmla="*/ 0 h 216"/>
                <a:gd name="T8" fmla="*/ 0 w 215"/>
                <a:gd name="T9" fmla="*/ 0 h 216"/>
                <a:gd name="T10" fmla="*/ 0 w 215"/>
                <a:gd name="T11" fmla="*/ 0 h 216"/>
                <a:gd name="T12" fmla="*/ 0 w 215"/>
                <a:gd name="T13" fmla="*/ 0 h 216"/>
                <a:gd name="T14" fmla="*/ 0 w 215"/>
                <a:gd name="T15" fmla="*/ 0 h 216"/>
                <a:gd name="T16" fmla="*/ 0 w 215"/>
                <a:gd name="T17" fmla="*/ 0 h 216"/>
                <a:gd name="T18" fmla="*/ 0 w 215"/>
                <a:gd name="T19" fmla="*/ 0 h 216"/>
                <a:gd name="T20" fmla="*/ 0 w 215"/>
                <a:gd name="T21" fmla="*/ 0 h 216"/>
                <a:gd name="T22" fmla="*/ 0 w 215"/>
                <a:gd name="T23" fmla="*/ 0 h 216"/>
                <a:gd name="T24" fmla="*/ 0 w 215"/>
                <a:gd name="T25" fmla="*/ 0 h 216"/>
                <a:gd name="T26" fmla="*/ 0 w 215"/>
                <a:gd name="T27" fmla="*/ 0 h 216"/>
                <a:gd name="T28" fmla="*/ 0 w 215"/>
                <a:gd name="T29" fmla="*/ 0 h 216"/>
                <a:gd name="T30" fmla="*/ 0 w 215"/>
                <a:gd name="T31" fmla="*/ 0 h 216"/>
                <a:gd name="T32" fmla="*/ 0 w 215"/>
                <a:gd name="T33" fmla="*/ 0 h 216"/>
                <a:gd name="T34" fmla="*/ 0 w 215"/>
                <a:gd name="T35" fmla="*/ 0 h 216"/>
                <a:gd name="T36" fmla="*/ 0 w 215"/>
                <a:gd name="T37" fmla="*/ 0 h 216"/>
                <a:gd name="T38" fmla="*/ 0 w 215"/>
                <a:gd name="T39" fmla="*/ 0 h 216"/>
                <a:gd name="T40" fmla="*/ 0 w 215"/>
                <a:gd name="T41" fmla="*/ 0 h 216"/>
                <a:gd name="T42" fmla="*/ 0 w 215"/>
                <a:gd name="T43" fmla="*/ 0 h 216"/>
                <a:gd name="T44" fmla="*/ 0 w 215"/>
                <a:gd name="T45" fmla="*/ 0 h 216"/>
                <a:gd name="T46" fmla="*/ 0 w 215"/>
                <a:gd name="T47" fmla="*/ 0 h 216"/>
                <a:gd name="T48" fmla="*/ 0 w 215"/>
                <a:gd name="T49" fmla="*/ 0 h 216"/>
                <a:gd name="T50" fmla="*/ 0 w 215"/>
                <a:gd name="T51" fmla="*/ 0 h 216"/>
                <a:gd name="T52" fmla="*/ 0 w 215"/>
                <a:gd name="T53" fmla="*/ 0 h 216"/>
                <a:gd name="T54" fmla="*/ 0 w 215"/>
                <a:gd name="T55" fmla="*/ 0 h 216"/>
                <a:gd name="T56" fmla="*/ 0 w 215"/>
                <a:gd name="T57" fmla="*/ 0 h 216"/>
                <a:gd name="T58" fmla="*/ 0 w 215"/>
                <a:gd name="T59" fmla="*/ 0 h 216"/>
                <a:gd name="T60" fmla="*/ 0 w 215"/>
                <a:gd name="T61" fmla="*/ 0 h 216"/>
                <a:gd name="T62" fmla="*/ 0 w 215"/>
                <a:gd name="T63" fmla="*/ 0 h 216"/>
                <a:gd name="T64" fmla="*/ 0 w 215"/>
                <a:gd name="T65" fmla="*/ 0 h 216"/>
                <a:gd name="T66" fmla="*/ 0 w 215"/>
                <a:gd name="T67" fmla="*/ 0 h 216"/>
                <a:gd name="T68" fmla="*/ 0 w 215"/>
                <a:gd name="T69" fmla="*/ 0 h 216"/>
                <a:gd name="T70" fmla="*/ 0 w 215"/>
                <a:gd name="T71" fmla="*/ 0 h 216"/>
                <a:gd name="T72" fmla="*/ 0 w 215"/>
                <a:gd name="T73" fmla="*/ 0 h 216"/>
                <a:gd name="T74" fmla="*/ 0 w 215"/>
                <a:gd name="T75" fmla="*/ 0 h 216"/>
                <a:gd name="T76" fmla="*/ 0 w 215"/>
                <a:gd name="T77" fmla="*/ 0 h 216"/>
                <a:gd name="T78" fmla="*/ 0 w 215"/>
                <a:gd name="T79" fmla="*/ 0 h 216"/>
                <a:gd name="T80" fmla="*/ 0 w 215"/>
                <a:gd name="T81" fmla="*/ 0 h 216"/>
                <a:gd name="T82" fmla="*/ 0 w 215"/>
                <a:gd name="T83" fmla="*/ 0 h 216"/>
                <a:gd name="T84" fmla="*/ 0 w 215"/>
                <a:gd name="T85" fmla="*/ 0 h 216"/>
                <a:gd name="T86" fmla="*/ 0 w 215"/>
                <a:gd name="T87" fmla="*/ 0 h 216"/>
                <a:gd name="T88" fmla="*/ 0 w 215"/>
                <a:gd name="T89" fmla="*/ 0 h 216"/>
                <a:gd name="T90" fmla="*/ 0 w 215"/>
                <a:gd name="T91" fmla="*/ 0 h 21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15"/>
                <a:gd name="T139" fmla="*/ 0 h 216"/>
                <a:gd name="T140" fmla="*/ 215 w 215"/>
                <a:gd name="T141" fmla="*/ 216 h 21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15" h="216">
                  <a:moveTo>
                    <a:pt x="149" y="216"/>
                  </a:moveTo>
                  <a:lnTo>
                    <a:pt x="149" y="208"/>
                  </a:lnTo>
                  <a:lnTo>
                    <a:pt x="145" y="208"/>
                  </a:lnTo>
                  <a:lnTo>
                    <a:pt x="146" y="203"/>
                  </a:lnTo>
                  <a:lnTo>
                    <a:pt x="137" y="202"/>
                  </a:lnTo>
                  <a:lnTo>
                    <a:pt x="129" y="192"/>
                  </a:lnTo>
                  <a:lnTo>
                    <a:pt x="122" y="191"/>
                  </a:lnTo>
                  <a:lnTo>
                    <a:pt x="114" y="185"/>
                  </a:lnTo>
                  <a:lnTo>
                    <a:pt x="114" y="180"/>
                  </a:lnTo>
                  <a:lnTo>
                    <a:pt x="106" y="179"/>
                  </a:lnTo>
                  <a:lnTo>
                    <a:pt x="99" y="184"/>
                  </a:lnTo>
                  <a:lnTo>
                    <a:pt x="98" y="179"/>
                  </a:lnTo>
                  <a:lnTo>
                    <a:pt x="105" y="175"/>
                  </a:lnTo>
                  <a:lnTo>
                    <a:pt x="83" y="151"/>
                  </a:lnTo>
                  <a:lnTo>
                    <a:pt x="82" y="140"/>
                  </a:lnTo>
                  <a:lnTo>
                    <a:pt x="77" y="136"/>
                  </a:lnTo>
                  <a:lnTo>
                    <a:pt x="72" y="133"/>
                  </a:lnTo>
                  <a:lnTo>
                    <a:pt x="52" y="114"/>
                  </a:lnTo>
                  <a:lnTo>
                    <a:pt x="51" y="109"/>
                  </a:lnTo>
                  <a:lnTo>
                    <a:pt x="41" y="95"/>
                  </a:lnTo>
                  <a:lnTo>
                    <a:pt x="35" y="93"/>
                  </a:lnTo>
                  <a:lnTo>
                    <a:pt x="27" y="81"/>
                  </a:lnTo>
                  <a:lnTo>
                    <a:pt x="22" y="79"/>
                  </a:lnTo>
                  <a:lnTo>
                    <a:pt x="23" y="73"/>
                  </a:lnTo>
                  <a:lnTo>
                    <a:pt x="25" y="71"/>
                  </a:lnTo>
                  <a:lnTo>
                    <a:pt x="22" y="65"/>
                  </a:lnTo>
                  <a:lnTo>
                    <a:pt x="22" y="60"/>
                  </a:lnTo>
                  <a:lnTo>
                    <a:pt x="16" y="54"/>
                  </a:lnTo>
                  <a:lnTo>
                    <a:pt x="12" y="41"/>
                  </a:lnTo>
                  <a:lnTo>
                    <a:pt x="7" y="40"/>
                  </a:lnTo>
                  <a:lnTo>
                    <a:pt x="0" y="34"/>
                  </a:lnTo>
                  <a:lnTo>
                    <a:pt x="0" y="31"/>
                  </a:lnTo>
                  <a:lnTo>
                    <a:pt x="3" y="29"/>
                  </a:lnTo>
                  <a:lnTo>
                    <a:pt x="2" y="25"/>
                  </a:lnTo>
                  <a:lnTo>
                    <a:pt x="2" y="6"/>
                  </a:lnTo>
                  <a:lnTo>
                    <a:pt x="8" y="0"/>
                  </a:lnTo>
                  <a:lnTo>
                    <a:pt x="17" y="2"/>
                  </a:lnTo>
                  <a:lnTo>
                    <a:pt x="17" y="4"/>
                  </a:lnTo>
                  <a:lnTo>
                    <a:pt x="30" y="19"/>
                  </a:lnTo>
                  <a:lnTo>
                    <a:pt x="34" y="19"/>
                  </a:lnTo>
                  <a:lnTo>
                    <a:pt x="43" y="2"/>
                  </a:lnTo>
                  <a:lnTo>
                    <a:pt x="61" y="4"/>
                  </a:lnTo>
                  <a:lnTo>
                    <a:pt x="65" y="0"/>
                  </a:lnTo>
                  <a:lnTo>
                    <a:pt x="67" y="0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6" y="6"/>
                  </a:lnTo>
                  <a:lnTo>
                    <a:pt x="89" y="9"/>
                  </a:lnTo>
                  <a:lnTo>
                    <a:pt x="104" y="12"/>
                  </a:lnTo>
                  <a:lnTo>
                    <a:pt x="105" y="9"/>
                  </a:lnTo>
                  <a:lnTo>
                    <a:pt x="108" y="9"/>
                  </a:lnTo>
                  <a:lnTo>
                    <a:pt x="116" y="17"/>
                  </a:lnTo>
                  <a:lnTo>
                    <a:pt x="119" y="17"/>
                  </a:lnTo>
                  <a:lnTo>
                    <a:pt x="125" y="9"/>
                  </a:lnTo>
                  <a:lnTo>
                    <a:pt x="129" y="9"/>
                  </a:lnTo>
                  <a:lnTo>
                    <a:pt x="132" y="14"/>
                  </a:lnTo>
                  <a:lnTo>
                    <a:pt x="135" y="16"/>
                  </a:lnTo>
                  <a:lnTo>
                    <a:pt x="137" y="11"/>
                  </a:lnTo>
                  <a:lnTo>
                    <a:pt x="148" y="12"/>
                  </a:lnTo>
                  <a:lnTo>
                    <a:pt x="152" y="18"/>
                  </a:lnTo>
                  <a:lnTo>
                    <a:pt x="154" y="17"/>
                  </a:lnTo>
                  <a:lnTo>
                    <a:pt x="154" y="14"/>
                  </a:lnTo>
                  <a:lnTo>
                    <a:pt x="162" y="14"/>
                  </a:lnTo>
                  <a:lnTo>
                    <a:pt x="168" y="22"/>
                  </a:lnTo>
                  <a:lnTo>
                    <a:pt x="167" y="27"/>
                  </a:lnTo>
                  <a:lnTo>
                    <a:pt x="167" y="28"/>
                  </a:lnTo>
                  <a:lnTo>
                    <a:pt x="173" y="33"/>
                  </a:lnTo>
                  <a:lnTo>
                    <a:pt x="180" y="33"/>
                  </a:lnTo>
                  <a:lnTo>
                    <a:pt x="186" y="28"/>
                  </a:lnTo>
                  <a:lnTo>
                    <a:pt x="199" y="28"/>
                  </a:lnTo>
                  <a:lnTo>
                    <a:pt x="201" y="31"/>
                  </a:lnTo>
                  <a:lnTo>
                    <a:pt x="200" y="35"/>
                  </a:lnTo>
                  <a:lnTo>
                    <a:pt x="200" y="39"/>
                  </a:lnTo>
                  <a:lnTo>
                    <a:pt x="195" y="46"/>
                  </a:lnTo>
                  <a:lnTo>
                    <a:pt x="190" y="57"/>
                  </a:lnTo>
                  <a:lnTo>
                    <a:pt x="188" y="59"/>
                  </a:lnTo>
                  <a:lnTo>
                    <a:pt x="188" y="61"/>
                  </a:lnTo>
                  <a:lnTo>
                    <a:pt x="189" y="63"/>
                  </a:lnTo>
                  <a:lnTo>
                    <a:pt x="185" y="68"/>
                  </a:lnTo>
                  <a:lnTo>
                    <a:pt x="188" y="76"/>
                  </a:lnTo>
                  <a:lnTo>
                    <a:pt x="191" y="76"/>
                  </a:lnTo>
                  <a:lnTo>
                    <a:pt x="194" y="78"/>
                  </a:lnTo>
                  <a:lnTo>
                    <a:pt x="197" y="77"/>
                  </a:lnTo>
                  <a:lnTo>
                    <a:pt x="199" y="79"/>
                  </a:lnTo>
                  <a:lnTo>
                    <a:pt x="200" y="83"/>
                  </a:lnTo>
                  <a:lnTo>
                    <a:pt x="203" y="87"/>
                  </a:lnTo>
                  <a:lnTo>
                    <a:pt x="207" y="87"/>
                  </a:lnTo>
                  <a:lnTo>
                    <a:pt x="207" y="88"/>
                  </a:lnTo>
                  <a:lnTo>
                    <a:pt x="207" y="90"/>
                  </a:lnTo>
                  <a:lnTo>
                    <a:pt x="212" y="93"/>
                  </a:lnTo>
                  <a:lnTo>
                    <a:pt x="215" y="94"/>
                  </a:lnTo>
                  <a:lnTo>
                    <a:pt x="215" y="97"/>
                  </a:lnTo>
                  <a:lnTo>
                    <a:pt x="211" y="102"/>
                  </a:lnTo>
                  <a:lnTo>
                    <a:pt x="202" y="102"/>
                  </a:lnTo>
                  <a:lnTo>
                    <a:pt x="197" y="98"/>
                  </a:lnTo>
                  <a:lnTo>
                    <a:pt x="195" y="98"/>
                  </a:lnTo>
                  <a:lnTo>
                    <a:pt x="194" y="100"/>
                  </a:lnTo>
                  <a:lnTo>
                    <a:pt x="195" y="102"/>
                  </a:lnTo>
                  <a:lnTo>
                    <a:pt x="201" y="109"/>
                  </a:lnTo>
                  <a:lnTo>
                    <a:pt x="207" y="117"/>
                  </a:lnTo>
                  <a:lnTo>
                    <a:pt x="210" y="119"/>
                  </a:lnTo>
                  <a:lnTo>
                    <a:pt x="208" y="126"/>
                  </a:lnTo>
                  <a:lnTo>
                    <a:pt x="207" y="129"/>
                  </a:lnTo>
                  <a:lnTo>
                    <a:pt x="205" y="130"/>
                  </a:lnTo>
                  <a:lnTo>
                    <a:pt x="202" y="129"/>
                  </a:lnTo>
                  <a:lnTo>
                    <a:pt x="200" y="129"/>
                  </a:lnTo>
                  <a:lnTo>
                    <a:pt x="197" y="132"/>
                  </a:lnTo>
                  <a:lnTo>
                    <a:pt x="192" y="135"/>
                  </a:lnTo>
                  <a:lnTo>
                    <a:pt x="189" y="135"/>
                  </a:lnTo>
                  <a:lnTo>
                    <a:pt x="186" y="136"/>
                  </a:lnTo>
                  <a:lnTo>
                    <a:pt x="184" y="136"/>
                  </a:lnTo>
                  <a:lnTo>
                    <a:pt x="183" y="133"/>
                  </a:lnTo>
                  <a:lnTo>
                    <a:pt x="180" y="133"/>
                  </a:lnTo>
                  <a:lnTo>
                    <a:pt x="176" y="137"/>
                  </a:lnTo>
                  <a:lnTo>
                    <a:pt x="178" y="140"/>
                  </a:lnTo>
                  <a:lnTo>
                    <a:pt x="181" y="141"/>
                  </a:lnTo>
                  <a:lnTo>
                    <a:pt x="183" y="146"/>
                  </a:lnTo>
                  <a:lnTo>
                    <a:pt x="184" y="149"/>
                  </a:lnTo>
                  <a:lnTo>
                    <a:pt x="184" y="154"/>
                  </a:lnTo>
                  <a:lnTo>
                    <a:pt x="183" y="157"/>
                  </a:lnTo>
                  <a:lnTo>
                    <a:pt x="180" y="157"/>
                  </a:lnTo>
                  <a:lnTo>
                    <a:pt x="179" y="154"/>
                  </a:lnTo>
                  <a:lnTo>
                    <a:pt x="178" y="149"/>
                  </a:lnTo>
                  <a:lnTo>
                    <a:pt x="175" y="148"/>
                  </a:lnTo>
                  <a:lnTo>
                    <a:pt x="172" y="148"/>
                  </a:lnTo>
                  <a:lnTo>
                    <a:pt x="163" y="156"/>
                  </a:lnTo>
                  <a:lnTo>
                    <a:pt x="162" y="160"/>
                  </a:lnTo>
                  <a:lnTo>
                    <a:pt x="160" y="163"/>
                  </a:lnTo>
                  <a:lnTo>
                    <a:pt x="160" y="170"/>
                  </a:lnTo>
                  <a:lnTo>
                    <a:pt x="158" y="173"/>
                  </a:lnTo>
                  <a:lnTo>
                    <a:pt x="153" y="173"/>
                  </a:lnTo>
                  <a:lnTo>
                    <a:pt x="151" y="175"/>
                  </a:lnTo>
                  <a:lnTo>
                    <a:pt x="151" y="184"/>
                  </a:lnTo>
                  <a:lnTo>
                    <a:pt x="149" y="185"/>
                  </a:lnTo>
                  <a:lnTo>
                    <a:pt x="149" y="189"/>
                  </a:lnTo>
                  <a:lnTo>
                    <a:pt x="152" y="194"/>
                  </a:lnTo>
                  <a:lnTo>
                    <a:pt x="154" y="196"/>
                  </a:lnTo>
                  <a:lnTo>
                    <a:pt x="154" y="201"/>
                  </a:lnTo>
                  <a:lnTo>
                    <a:pt x="149" y="208"/>
                  </a:lnTo>
                  <a:lnTo>
                    <a:pt x="149" y="21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84" name="Freeform 196">
              <a:extLst>
                <a:ext uri="{FF2B5EF4-FFF2-40B4-BE49-F238E27FC236}">
                  <a16:creationId xmlns:a16="http://schemas.microsoft.com/office/drawing/2014/main" id="{359C8204-6B16-24FA-9C5C-7995545BBDD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270172" y="2858702"/>
              <a:ext cx="39655" cy="22681"/>
            </a:xfrm>
            <a:custGeom>
              <a:avLst/>
              <a:gdLst>
                <a:gd name="T0" fmla="*/ 0 w 75"/>
                <a:gd name="T1" fmla="*/ 0 h 42"/>
                <a:gd name="T2" fmla="*/ 0 w 75"/>
                <a:gd name="T3" fmla="*/ 0 h 42"/>
                <a:gd name="T4" fmla="*/ 0 w 75"/>
                <a:gd name="T5" fmla="*/ 0 h 42"/>
                <a:gd name="T6" fmla="*/ 0 w 75"/>
                <a:gd name="T7" fmla="*/ 0 h 42"/>
                <a:gd name="T8" fmla="*/ 0 w 75"/>
                <a:gd name="T9" fmla="*/ 0 h 42"/>
                <a:gd name="T10" fmla="*/ 0 w 75"/>
                <a:gd name="T11" fmla="*/ 0 h 42"/>
                <a:gd name="T12" fmla="*/ 0 w 75"/>
                <a:gd name="T13" fmla="*/ 0 h 42"/>
                <a:gd name="T14" fmla="*/ 0 w 75"/>
                <a:gd name="T15" fmla="*/ 0 h 42"/>
                <a:gd name="T16" fmla="*/ 0 w 75"/>
                <a:gd name="T17" fmla="*/ 0 h 42"/>
                <a:gd name="T18" fmla="*/ 0 w 75"/>
                <a:gd name="T19" fmla="*/ 0 h 42"/>
                <a:gd name="T20" fmla="*/ 0 w 75"/>
                <a:gd name="T21" fmla="*/ 0 h 42"/>
                <a:gd name="T22" fmla="*/ 0 w 75"/>
                <a:gd name="T23" fmla="*/ 0 h 42"/>
                <a:gd name="T24" fmla="*/ 0 w 75"/>
                <a:gd name="T25" fmla="*/ 0 h 42"/>
                <a:gd name="T26" fmla="*/ 0 w 75"/>
                <a:gd name="T27" fmla="*/ 0 h 42"/>
                <a:gd name="T28" fmla="*/ 0 w 75"/>
                <a:gd name="T29" fmla="*/ 0 h 42"/>
                <a:gd name="T30" fmla="*/ 0 w 75"/>
                <a:gd name="T31" fmla="*/ 0 h 42"/>
                <a:gd name="T32" fmla="*/ 0 w 75"/>
                <a:gd name="T33" fmla="*/ 0 h 42"/>
                <a:gd name="T34" fmla="*/ 0 w 75"/>
                <a:gd name="T35" fmla="*/ 0 h 42"/>
                <a:gd name="T36" fmla="*/ 0 w 75"/>
                <a:gd name="T37" fmla="*/ 0 h 4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75"/>
                <a:gd name="T58" fmla="*/ 0 h 42"/>
                <a:gd name="T59" fmla="*/ 75 w 75"/>
                <a:gd name="T60" fmla="*/ 42 h 4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75" h="42">
                  <a:moveTo>
                    <a:pt x="75" y="42"/>
                  </a:moveTo>
                  <a:lnTo>
                    <a:pt x="45" y="20"/>
                  </a:lnTo>
                  <a:lnTo>
                    <a:pt x="29" y="17"/>
                  </a:lnTo>
                  <a:lnTo>
                    <a:pt x="13" y="7"/>
                  </a:lnTo>
                  <a:lnTo>
                    <a:pt x="0" y="5"/>
                  </a:lnTo>
                  <a:lnTo>
                    <a:pt x="4" y="0"/>
                  </a:lnTo>
                  <a:lnTo>
                    <a:pt x="15" y="2"/>
                  </a:lnTo>
                  <a:lnTo>
                    <a:pt x="20" y="10"/>
                  </a:lnTo>
                  <a:lnTo>
                    <a:pt x="25" y="10"/>
                  </a:lnTo>
                  <a:lnTo>
                    <a:pt x="32" y="5"/>
                  </a:lnTo>
                  <a:lnTo>
                    <a:pt x="40" y="6"/>
                  </a:lnTo>
                  <a:lnTo>
                    <a:pt x="40" y="11"/>
                  </a:lnTo>
                  <a:lnTo>
                    <a:pt x="48" y="17"/>
                  </a:lnTo>
                  <a:lnTo>
                    <a:pt x="55" y="18"/>
                  </a:lnTo>
                  <a:lnTo>
                    <a:pt x="63" y="28"/>
                  </a:lnTo>
                  <a:lnTo>
                    <a:pt x="72" y="29"/>
                  </a:lnTo>
                  <a:lnTo>
                    <a:pt x="71" y="34"/>
                  </a:lnTo>
                  <a:lnTo>
                    <a:pt x="75" y="34"/>
                  </a:lnTo>
                  <a:lnTo>
                    <a:pt x="75" y="4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85" name="Freeform 197">
              <a:extLst>
                <a:ext uri="{FF2B5EF4-FFF2-40B4-BE49-F238E27FC236}">
                  <a16:creationId xmlns:a16="http://schemas.microsoft.com/office/drawing/2014/main" id="{FCEAB7B7-F508-E9B6-6176-FE0ED90E60B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9510" y="3056080"/>
              <a:ext cx="67156" cy="73163"/>
            </a:xfrm>
            <a:custGeom>
              <a:avLst/>
              <a:gdLst>
                <a:gd name="T0" fmla="*/ 0 w 128"/>
                <a:gd name="T1" fmla="*/ 0 h 131"/>
                <a:gd name="T2" fmla="*/ 0 w 128"/>
                <a:gd name="T3" fmla="*/ 0 h 131"/>
                <a:gd name="T4" fmla="*/ 0 w 128"/>
                <a:gd name="T5" fmla="*/ 0 h 131"/>
                <a:gd name="T6" fmla="*/ 0 w 128"/>
                <a:gd name="T7" fmla="*/ 0 h 131"/>
                <a:gd name="T8" fmla="*/ 0 w 128"/>
                <a:gd name="T9" fmla="*/ 0 h 131"/>
                <a:gd name="T10" fmla="*/ 0 w 128"/>
                <a:gd name="T11" fmla="*/ 0 h 131"/>
                <a:gd name="T12" fmla="*/ 0 w 128"/>
                <a:gd name="T13" fmla="*/ 0 h 131"/>
                <a:gd name="T14" fmla="*/ 0 w 128"/>
                <a:gd name="T15" fmla="*/ 0 h 131"/>
                <a:gd name="T16" fmla="*/ 0 w 128"/>
                <a:gd name="T17" fmla="*/ 0 h 131"/>
                <a:gd name="T18" fmla="*/ 0 w 128"/>
                <a:gd name="T19" fmla="*/ 0 h 131"/>
                <a:gd name="T20" fmla="*/ 0 w 128"/>
                <a:gd name="T21" fmla="*/ 0 h 131"/>
                <a:gd name="T22" fmla="*/ 0 w 128"/>
                <a:gd name="T23" fmla="*/ 0 h 131"/>
                <a:gd name="T24" fmla="*/ 0 w 128"/>
                <a:gd name="T25" fmla="*/ 0 h 131"/>
                <a:gd name="T26" fmla="*/ 0 w 128"/>
                <a:gd name="T27" fmla="*/ 0 h 131"/>
                <a:gd name="T28" fmla="*/ 0 w 128"/>
                <a:gd name="T29" fmla="*/ 0 h 131"/>
                <a:gd name="T30" fmla="*/ 0 w 128"/>
                <a:gd name="T31" fmla="*/ 0 h 131"/>
                <a:gd name="T32" fmla="*/ 0 w 128"/>
                <a:gd name="T33" fmla="*/ 0 h 131"/>
                <a:gd name="T34" fmla="*/ 0 w 128"/>
                <a:gd name="T35" fmla="*/ 0 h 131"/>
                <a:gd name="T36" fmla="*/ 0 w 128"/>
                <a:gd name="T37" fmla="*/ 0 h 131"/>
                <a:gd name="T38" fmla="*/ 0 w 128"/>
                <a:gd name="T39" fmla="*/ 0 h 131"/>
                <a:gd name="T40" fmla="*/ 0 w 128"/>
                <a:gd name="T41" fmla="*/ 0 h 131"/>
                <a:gd name="T42" fmla="*/ 0 w 128"/>
                <a:gd name="T43" fmla="*/ 0 h 131"/>
                <a:gd name="T44" fmla="*/ 0 w 128"/>
                <a:gd name="T45" fmla="*/ 0 h 131"/>
                <a:gd name="T46" fmla="*/ 0 w 128"/>
                <a:gd name="T47" fmla="*/ 0 h 131"/>
                <a:gd name="T48" fmla="*/ 0 w 128"/>
                <a:gd name="T49" fmla="*/ 0 h 131"/>
                <a:gd name="T50" fmla="*/ 0 w 128"/>
                <a:gd name="T51" fmla="*/ 0 h 131"/>
                <a:gd name="T52" fmla="*/ 0 w 128"/>
                <a:gd name="T53" fmla="*/ 0 h 131"/>
                <a:gd name="T54" fmla="*/ 0 w 128"/>
                <a:gd name="T55" fmla="*/ 0 h 131"/>
                <a:gd name="T56" fmla="*/ 0 w 128"/>
                <a:gd name="T57" fmla="*/ 0 h 131"/>
                <a:gd name="T58" fmla="*/ 0 w 128"/>
                <a:gd name="T59" fmla="*/ 0 h 131"/>
                <a:gd name="T60" fmla="*/ 0 w 128"/>
                <a:gd name="T61" fmla="*/ 0 h 131"/>
                <a:gd name="T62" fmla="*/ 0 w 128"/>
                <a:gd name="T63" fmla="*/ 0 h 131"/>
                <a:gd name="T64" fmla="*/ 0 w 128"/>
                <a:gd name="T65" fmla="*/ 0 h 131"/>
                <a:gd name="T66" fmla="*/ 0 w 128"/>
                <a:gd name="T67" fmla="*/ 0 h 131"/>
                <a:gd name="T68" fmla="*/ 0 w 128"/>
                <a:gd name="T69" fmla="*/ 0 h 131"/>
                <a:gd name="T70" fmla="*/ 0 w 128"/>
                <a:gd name="T71" fmla="*/ 0 h 131"/>
                <a:gd name="T72" fmla="*/ 0 w 128"/>
                <a:gd name="T73" fmla="*/ 0 h 131"/>
                <a:gd name="T74" fmla="*/ 0 w 128"/>
                <a:gd name="T75" fmla="*/ 0 h 131"/>
                <a:gd name="T76" fmla="*/ 0 w 128"/>
                <a:gd name="T77" fmla="*/ 0 h 131"/>
                <a:gd name="T78" fmla="*/ 0 w 128"/>
                <a:gd name="T79" fmla="*/ 0 h 131"/>
                <a:gd name="T80" fmla="*/ 0 w 128"/>
                <a:gd name="T81" fmla="*/ 0 h 131"/>
                <a:gd name="T82" fmla="*/ 0 w 128"/>
                <a:gd name="T83" fmla="*/ 0 h 131"/>
                <a:gd name="T84" fmla="*/ 0 w 128"/>
                <a:gd name="T85" fmla="*/ 0 h 13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28"/>
                <a:gd name="T130" fmla="*/ 0 h 131"/>
                <a:gd name="T131" fmla="*/ 128 w 128"/>
                <a:gd name="T132" fmla="*/ 131 h 13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28" h="131">
                  <a:moveTo>
                    <a:pt x="49" y="0"/>
                  </a:moveTo>
                  <a:lnTo>
                    <a:pt x="35" y="2"/>
                  </a:lnTo>
                  <a:lnTo>
                    <a:pt x="21" y="12"/>
                  </a:lnTo>
                  <a:lnTo>
                    <a:pt x="13" y="8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6" y="50"/>
                  </a:lnTo>
                  <a:lnTo>
                    <a:pt x="21" y="58"/>
                  </a:lnTo>
                  <a:lnTo>
                    <a:pt x="28" y="70"/>
                  </a:lnTo>
                  <a:lnTo>
                    <a:pt x="23" y="86"/>
                  </a:lnTo>
                  <a:lnTo>
                    <a:pt x="26" y="99"/>
                  </a:lnTo>
                  <a:lnTo>
                    <a:pt x="32" y="106"/>
                  </a:lnTo>
                  <a:lnTo>
                    <a:pt x="39" y="108"/>
                  </a:lnTo>
                  <a:lnTo>
                    <a:pt x="42" y="98"/>
                  </a:lnTo>
                  <a:lnTo>
                    <a:pt x="49" y="90"/>
                  </a:lnTo>
                  <a:lnTo>
                    <a:pt x="53" y="96"/>
                  </a:lnTo>
                  <a:lnTo>
                    <a:pt x="60" y="103"/>
                  </a:lnTo>
                  <a:lnTo>
                    <a:pt x="65" y="119"/>
                  </a:lnTo>
                  <a:lnTo>
                    <a:pt x="66" y="130"/>
                  </a:lnTo>
                  <a:lnTo>
                    <a:pt x="71" y="131"/>
                  </a:lnTo>
                  <a:lnTo>
                    <a:pt x="76" y="110"/>
                  </a:lnTo>
                  <a:lnTo>
                    <a:pt x="85" y="107"/>
                  </a:lnTo>
                  <a:lnTo>
                    <a:pt x="91" y="117"/>
                  </a:lnTo>
                  <a:lnTo>
                    <a:pt x="98" y="124"/>
                  </a:lnTo>
                  <a:lnTo>
                    <a:pt x="107" y="129"/>
                  </a:lnTo>
                  <a:lnTo>
                    <a:pt x="105" y="107"/>
                  </a:lnTo>
                  <a:lnTo>
                    <a:pt x="98" y="77"/>
                  </a:lnTo>
                  <a:lnTo>
                    <a:pt x="91" y="66"/>
                  </a:lnTo>
                  <a:lnTo>
                    <a:pt x="88" y="54"/>
                  </a:lnTo>
                  <a:lnTo>
                    <a:pt x="105" y="66"/>
                  </a:lnTo>
                  <a:lnTo>
                    <a:pt x="108" y="71"/>
                  </a:lnTo>
                  <a:lnTo>
                    <a:pt x="113" y="71"/>
                  </a:lnTo>
                  <a:lnTo>
                    <a:pt x="119" y="65"/>
                  </a:lnTo>
                  <a:lnTo>
                    <a:pt x="128" y="64"/>
                  </a:lnTo>
                  <a:lnTo>
                    <a:pt x="126" y="56"/>
                  </a:lnTo>
                  <a:lnTo>
                    <a:pt x="114" y="48"/>
                  </a:lnTo>
                  <a:lnTo>
                    <a:pt x="107" y="33"/>
                  </a:lnTo>
                  <a:lnTo>
                    <a:pt x="107" y="26"/>
                  </a:lnTo>
                  <a:lnTo>
                    <a:pt x="98" y="21"/>
                  </a:lnTo>
                  <a:lnTo>
                    <a:pt x="74" y="12"/>
                  </a:lnTo>
                  <a:lnTo>
                    <a:pt x="61" y="8"/>
                  </a:lnTo>
                  <a:lnTo>
                    <a:pt x="55" y="8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86" name="Freeform 198">
              <a:extLst>
                <a:ext uri="{FF2B5EF4-FFF2-40B4-BE49-F238E27FC236}">
                  <a16:creationId xmlns:a16="http://schemas.microsoft.com/office/drawing/2014/main" id="{95B284F3-E283-79A6-41B3-4637B044642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59663" y="2912804"/>
              <a:ext cx="188035" cy="167664"/>
            </a:xfrm>
            <a:custGeom>
              <a:avLst/>
              <a:gdLst>
                <a:gd name="T0" fmla="*/ 0 w 352"/>
                <a:gd name="T1" fmla="*/ 0 h 293"/>
                <a:gd name="T2" fmla="*/ 0 w 352"/>
                <a:gd name="T3" fmla="*/ 0 h 293"/>
                <a:gd name="T4" fmla="*/ 0 w 352"/>
                <a:gd name="T5" fmla="*/ 0 h 293"/>
                <a:gd name="T6" fmla="*/ 0 w 352"/>
                <a:gd name="T7" fmla="*/ 0 h 293"/>
                <a:gd name="T8" fmla="*/ 0 w 352"/>
                <a:gd name="T9" fmla="*/ 0 h 293"/>
                <a:gd name="T10" fmla="*/ 0 w 352"/>
                <a:gd name="T11" fmla="*/ 0 h 293"/>
                <a:gd name="T12" fmla="*/ 0 w 352"/>
                <a:gd name="T13" fmla="*/ 0 h 293"/>
                <a:gd name="T14" fmla="*/ 0 w 352"/>
                <a:gd name="T15" fmla="*/ 0 h 293"/>
                <a:gd name="T16" fmla="*/ 0 w 352"/>
                <a:gd name="T17" fmla="*/ 0 h 293"/>
                <a:gd name="T18" fmla="*/ 0 w 352"/>
                <a:gd name="T19" fmla="*/ 0 h 293"/>
                <a:gd name="T20" fmla="*/ 0 w 352"/>
                <a:gd name="T21" fmla="*/ 0 h 293"/>
                <a:gd name="T22" fmla="*/ 0 w 352"/>
                <a:gd name="T23" fmla="*/ 0 h 293"/>
                <a:gd name="T24" fmla="*/ 0 w 352"/>
                <a:gd name="T25" fmla="*/ 0 h 293"/>
                <a:gd name="T26" fmla="*/ 0 w 352"/>
                <a:gd name="T27" fmla="*/ 0 h 293"/>
                <a:gd name="T28" fmla="*/ 0 w 352"/>
                <a:gd name="T29" fmla="*/ 0 h 293"/>
                <a:gd name="T30" fmla="*/ 0 w 352"/>
                <a:gd name="T31" fmla="*/ 0 h 293"/>
                <a:gd name="T32" fmla="*/ 0 w 352"/>
                <a:gd name="T33" fmla="*/ 0 h 293"/>
                <a:gd name="T34" fmla="*/ 0 w 352"/>
                <a:gd name="T35" fmla="*/ 0 h 293"/>
                <a:gd name="T36" fmla="*/ 0 w 352"/>
                <a:gd name="T37" fmla="*/ 0 h 293"/>
                <a:gd name="T38" fmla="*/ 0 w 352"/>
                <a:gd name="T39" fmla="*/ 0 h 293"/>
                <a:gd name="T40" fmla="*/ 0 w 352"/>
                <a:gd name="T41" fmla="*/ 0 h 293"/>
                <a:gd name="T42" fmla="*/ 0 w 352"/>
                <a:gd name="T43" fmla="*/ 0 h 293"/>
                <a:gd name="T44" fmla="*/ 0 w 352"/>
                <a:gd name="T45" fmla="*/ 0 h 293"/>
                <a:gd name="T46" fmla="*/ 0 w 352"/>
                <a:gd name="T47" fmla="*/ 0 h 293"/>
                <a:gd name="T48" fmla="*/ 0 w 352"/>
                <a:gd name="T49" fmla="*/ 0 h 293"/>
                <a:gd name="T50" fmla="*/ 0 w 352"/>
                <a:gd name="T51" fmla="*/ 0 h 293"/>
                <a:gd name="T52" fmla="*/ 0 w 352"/>
                <a:gd name="T53" fmla="*/ 0 h 293"/>
                <a:gd name="T54" fmla="*/ 0 w 352"/>
                <a:gd name="T55" fmla="*/ 0 h 293"/>
                <a:gd name="T56" fmla="*/ 0 w 352"/>
                <a:gd name="T57" fmla="*/ 0 h 293"/>
                <a:gd name="T58" fmla="*/ 0 w 352"/>
                <a:gd name="T59" fmla="*/ 0 h 293"/>
                <a:gd name="T60" fmla="*/ 0 w 352"/>
                <a:gd name="T61" fmla="*/ 0 h 293"/>
                <a:gd name="T62" fmla="*/ 0 w 352"/>
                <a:gd name="T63" fmla="*/ 0 h 293"/>
                <a:gd name="T64" fmla="*/ 0 w 352"/>
                <a:gd name="T65" fmla="*/ 0 h 293"/>
                <a:gd name="T66" fmla="*/ 0 w 352"/>
                <a:gd name="T67" fmla="*/ 0 h 293"/>
                <a:gd name="T68" fmla="*/ 0 w 352"/>
                <a:gd name="T69" fmla="*/ 0 h 293"/>
                <a:gd name="T70" fmla="*/ 0 w 352"/>
                <a:gd name="T71" fmla="*/ 0 h 293"/>
                <a:gd name="T72" fmla="*/ 0 w 352"/>
                <a:gd name="T73" fmla="*/ 0 h 293"/>
                <a:gd name="T74" fmla="*/ 0 w 352"/>
                <a:gd name="T75" fmla="*/ 0 h 293"/>
                <a:gd name="T76" fmla="*/ 0 w 352"/>
                <a:gd name="T77" fmla="*/ 0 h 293"/>
                <a:gd name="T78" fmla="*/ 0 w 352"/>
                <a:gd name="T79" fmla="*/ 0 h 293"/>
                <a:gd name="T80" fmla="*/ 0 w 352"/>
                <a:gd name="T81" fmla="*/ 0 h 293"/>
                <a:gd name="T82" fmla="*/ 0 w 352"/>
                <a:gd name="T83" fmla="*/ 0 h 293"/>
                <a:gd name="T84" fmla="*/ 0 w 352"/>
                <a:gd name="T85" fmla="*/ 0 h 293"/>
                <a:gd name="T86" fmla="*/ 0 w 352"/>
                <a:gd name="T87" fmla="*/ 0 h 293"/>
                <a:gd name="T88" fmla="*/ 0 w 352"/>
                <a:gd name="T89" fmla="*/ 0 h 293"/>
                <a:gd name="T90" fmla="*/ 0 w 352"/>
                <a:gd name="T91" fmla="*/ 0 h 293"/>
                <a:gd name="T92" fmla="*/ 0 w 352"/>
                <a:gd name="T93" fmla="*/ 0 h 293"/>
                <a:gd name="T94" fmla="*/ 0 w 352"/>
                <a:gd name="T95" fmla="*/ 0 h 293"/>
                <a:gd name="T96" fmla="*/ 0 w 352"/>
                <a:gd name="T97" fmla="*/ 0 h 293"/>
                <a:gd name="T98" fmla="*/ 0 w 352"/>
                <a:gd name="T99" fmla="*/ 0 h 293"/>
                <a:gd name="T100" fmla="*/ 0 w 352"/>
                <a:gd name="T101" fmla="*/ 0 h 293"/>
                <a:gd name="T102" fmla="*/ 0 w 352"/>
                <a:gd name="T103" fmla="*/ 0 h 293"/>
                <a:gd name="T104" fmla="*/ 0 w 352"/>
                <a:gd name="T105" fmla="*/ 0 h 293"/>
                <a:gd name="T106" fmla="*/ 0 w 352"/>
                <a:gd name="T107" fmla="*/ 0 h 293"/>
                <a:gd name="T108" fmla="*/ 0 w 352"/>
                <a:gd name="T109" fmla="*/ 0 h 293"/>
                <a:gd name="T110" fmla="*/ 0 w 352"/>
                <a:gd name="T111" fmla="*/ 0 h 293"/>
                <a:gd name="T112" fmla="*/ 0 w 352"/>
                <a:gd name="T113" fmla="*/ 0 h 293"/>
                <a:gd name="T114" fmla="*/ 0 w 352"/>
                <a:gd name="T115" fmla="*/ 0 h 293"/>
                <a:gd name="T116" fmla="*/ 2147483647 w 352"/>
                <a:gd name="T117" fmla="*/ 0 h 293"/>
                <a:gd name="T118" fmla="*/ 2147483647 w 352"/>
                <a:gd name="T119" fmla="*/ 0 h 293"/>
                <a:gd name="T120" fmla="*/ 2147483647 w 352"/>
                <a:gd name="T121" fmla="*/ 0 h 293"/>
                <a:gd name="T122" fmla="*/ 2147483647 w 352"/>
                <a:gd name="T123" fmla="*/ 0 h 293"/>
                <a:gd name="T124" fmla="*/ 2147483647 w 352"/>
                <a:gd name="T125" fmla="*/ 0 h 29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52"/>
                <a:gd name="T190" fmla="*/ 0 h 293"/>
                <a:gd name="T191" fmla="*/ 352 w 352"/>
                <a:gd name="T192" fmla="*/ 293 h 29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52" h="293">
                  <a:moveTo>
                    <a:pt x="324" y="78"/>
                  </a:moveTo>
                  <a:lnTo>
                    <a:pt x="314" y="70"/>
                  </a:lnTo>
                  <a:lnTo>
                    <a:pt x="268" y="57"/>
                  </a:lnTo>
                  <a:lnTo>
                    <a:pt x="258" y="65"/>
                  </a:lnTo>
                  <a:lnTo>
                    <a:pt x="253" y="66"/>
                  </a:lnTo>
                  <a:lnTo>
                    <a:pt x="245" y="66"/>
                  </a:lnTo>
                  <a:lnTo>
                    <a:pt x="234" y="62"/>
                  </a:lnTo>
                  <a:lnTo>
                    <a:pt x="223" y="73"/>
                  </a:lnTo>
                  <a:lnTo>
                    <a:pt x="207" y="76"/>
                  </a:lnTo>
                  <a:lnTo>
                    <a:pt x="193" y="86"/>
                  </a:lnTo>
                  <a:lnTo>
                    <a:pt x="201" y="94"/>
                  </a:lnTo>
                  <a:lnTo>
                    <a:pt x="216" y="100"/>
                  </a:lnTo>
                  <a:lnTo>
                    <a:pt x="225" y="110"/>
                  </a:lnTo>
                  <a:lnTo>
                    <a:pt x="227" y="116"/>
                  </a:lnTo>
                  <a:lnTo>
                    <a:pt x="217" y="106"/>
                  </a:lnTo>
                  <a:lnTo>
                    <a:pt x="201" y="103"/>
                  </a:lnTo>
                  <a:lnTo>
                    <a:pt x="196" y="113"/>
                  </a:lnTo>
                  <a:lnTo>
                    <a:pt x="207" y="120"/>
                  </a:lnTo>
                  <a:lnTo>
                    <a:pt x="209" y="133"/>
                  </a:lnTo>
                  <a:lnTo>
                    <a:pt x="201" y="125"/>
                  </a:lnTo>
                  <a:lnTo>
                    <a:pt x="195" y="115"/>
                  </a:lnTo>
                  <a:lnTo>
                    <a:pt x="185" y="111"/>
                  </a:lnTo>
                  <a:lnTo>
                    <a:pt x="182" y="113"/>
                  </a:lnTo>
                  <a:lnTo>
                    <a:pt x="184" y="124"/>
                  </a:lnTo>
                  <a:lnTo>
                    <a:pt x="193" y="131"/>
                  </a:lnTo>
                  <a:lnTo>
                    <a:pt x="188" y="135"/>
                  </a:lnTo>
                  <a:lnTo>
                    <a:pt x="177" y="125"/>
                  </a:lnTo>
                  <a:lnTo>
                    <a:pt x="172" y="111"/>
                  </a:lnTo>
                  <a:lnTo>
                    <a:pt x="148" y="97"/>
                  </a:lnTo>
                  <a:lnTo>
                    <a:pt x="148" y="93"/>
                  </a:lnTo>
                  <a:lnTo>
                    <a:pt x="151" y="86"/>
                  </a:lnTo>
                  <a:lnTo>
                    <a:pt x="137" y="90"/>
                  </a:lnTo>
                  <a:lnTo>
                    <a:pt x="135" y="105"/>
                  </a:lnTo>
                  <a:lnTo>
                    <a:pt x="135" y="120"/>
                  </a:lnTo>
                  <a:lnTo>
                    <a:pt x="136" y="132"/>
                  </a:lnTo>
                  <a:lnTo>
                    <a:pt x="144" y="140"/>
                  </a:lnTo>
                  <a:lnTo>
                    <a:pt x="147" y="154"/>
                  </a:lnTo>
                  <a:lnTo>
                    <a:pt x="164" y="172"/>
                  </a:lnTo>
                  <a:lnTo>
                    <a:pt x="169" y="181"/>
                  </a:lnTo>
                  <a:lnTo>
                    <a:pt x="172" y="190"/>
                  </a:lnTo>
                  <a:lnTo>
                    <a:pt x="167" y="192"/>
                  </a:lnTo>
                  <a:lnTo>
                    <a:pt x="163" y="191"/>
                  </a:lnTo>
                  <a:lnTo>
                    <a:pt x="164" y="185"/>
                  </a:lnTo>
                  <a:lnTo>
                    <a:pt x="161" y="179"/>
                  </a:lnTo>
                  <a:lnTo>
                    <a:pt x="151" y="178"/>
                  </a:lnTo>
                  <a:lnTo>
                    <a:pt x="150" y="186"/>
                  </a:lnTo>
                  <a:lnTo>
                    <a:pt x="155" y="200"/>
                  </a:lnTo>
                  <a:lnTo>
                    <a:pt x="151" y="203"/>
                  </a:lnTo>
                  <a:lnTo>
                    <a:pt x="147" y="203"/>
                  </a:lnTo>
                  <a:lnTo>
                    <a:pt x="141" y="203"/>
                  </a:lnTo>
                  <a:lnTo>
                    <a:pt x="131" y="206"/>
                  </a:lnTo>
                  <a:lnTo>
                    <a:pt x="135" y="212"/>
                  </a:lnTo>
                  <a:lnTo>
                    <a:pt x="147" y="217"/>
                  </a:lnTo>
                  <a:lnTo>
                    <a:pt x="156" y="219"/>
                  </a:lnTo>
                  <a:lnTo>
                    <a:pt x="163" y="224"/>
                  </a:lnTo>
                  <a:lnTo>
                    <a:pt x="172" y="224"/>
                  </a:lnTo>
                  <a:lnTo>
                    <a:pt x="177" y="237"/>
                  </a:lnTo>
                  <a:lnTo>
                    <a:pt x="184" y="237"/>
                  </a:lnTo>
                  <a:lnTo>
                    <a:pt x="190" y="244"/>
                  </a:lnTo>
                  <a:lnTo>
                    <a:pt x="199" y="250"/>
                  </a:lnTo>
                  <a:lnTo>
                    <a:pt x="204" y="250"/>
                  </a:lnTo>
                  <a:lnTo>
                    <a:pt x="211" y="255"/>
                  </a:lnTo>
                  <a:lnTo>
                    <a:pt x="212" y="293"/>
                  </a:lnTo>
                  <a:lnTo>
                    <a:pt x="199" y="285"/>
                  </a:lnTo>
                  <a:lnTo>
                    <a:pt x="189" y="272"/>
                  </a:lnTo>
                  <a:lnTo>
                    <a:pt x="175" y="275"/>
                  </a:lnTo>
                  <a:lnTo>
                    <a:pt x="161" y="275"/>
                  </a:lnTo>
                  <a:lnTo>
                    <a:pt x="152" y="270"/>
                  </a:lnTo>
                  <a:lnTo>
                    <a:pt x="162" y="266"/>
                  </a:lnTo>
                  <a:lnTo>
                    <a:pt x="164" y="259"/>
                  </a:lnTo>
                  <a:lnTo>
                    <a:pt x="152" y="256"/>
                  </a:lnTo>
                  <a:lnTo>
                    <a:pt x="139" y="243"/>
                  </a:lnTo>
                  <a:lnTo>
                    <a:pt x="132" y="249"/>
                  </a:lnTo>
                  <a:lnTo>
                    <a:pt x="123" y="245"/>
                  </a:lnTo>
                  <a:lnTo>
                    <a:pt x="110" y="248"/>
                  </a:lnTo>
                  <a:lnTo>
                    <a:pt x="98" y="245"/>
                  </a:lnTo>
                  <a:lnTo>
                    <a:pt x="81" y="248"/>
                  </a:lnTo>
                  <a:lnTo>
                    <a:pt x="67" y="242"/>
                  </a:lnTo>
                  <a:lnTo>
                    <a:pt x="64" y="242"/>
                  </a:lnTo>
                  <a:lnTo>
                    <a:pt x="61" y="245"/>
                  </a:lnTo>
                  <a:lnTo>
                    <a:pt x="55" y="248"/>
                  </a:lnTo>
                  <a:lnTo>
                    <a:pt x="51" y="240"/>
                  </a:lnTo>
                  <a:lnTo>
                    <a:pt x="45" y="228"/>
                  </a:lnTo>
                  <a:lnTo>
                    <a:pt x="33" y="208"/>
                  </a:lnTo>
                  <a:lnTo>
                    <a:pt x="43" y="210"/>
                  </a:lnTo>
                  <a:lnTo>
                    <a:pt x="53" y="208"/>
                  </a:lnTo>
                  <a:lnTo>
                    <a:pt x="49" y="200"/>
                  </a:lnTo>
                  <a:lnTo>
                    <a:pt x="35" y="194"/>
                  </a:lnTo>
                  <a:lnTo>
                    <a:pt x="33" y="203"/>
                  </a:lnTo>
                  <a:lnTo>
                    <a:pt x="17" y="178"/>
                  </a:lnTo>
                  <a:lnTo>
                    <a:pt x="7" y="170"/>
                  </a:lnTo>
                  <a:lnTo>
                    <a:pt x="3" y="154"/>
                  </a:lnTo>
                  <a:lnTo>
                    <a:pt x="1" y="152"/>
                  </a:lnTo>
                  <a:lnTo>
                    <a:pt x="0" y="152"/>
                  </a:lnTo>
                  <a:lnTo>
                    <a:pt x="1" y="152"/>
                  </a:lnTo>
                  <a:lnTo>
                    <a:pt x="10" y="146"/>
                  </a:lnTo>
                  <a:lnTo>
                    <a:pt x="15" y="140"/>
                  </a:lnTo>
                  <a:lnTo>
                    <a:pt x="17" y="127"/>
                  </a:lnTo>
                  <a:lnTo>
                    <a:pt x="27" y="120"/>
                  </a:lnTo>
                  <a:lnTo>
                    <a:pt x="35" y="103"/>
                  </a:lnTo>
                  <a:lnTo>
                    <a:pt x="49" y="92"/>
                  </a:lnTo>
                  <a:lnTo>
                    <a:pt x="49" y="77"/>
                  </a:lnTo>
                  <a:lnTo>
                    <a:pt x="46" y="67"/>
                  </a:lnTo>
                  <a:lnTo>
                    <a:pt x="82" y="62"/>
                  </a:lnTo>
                  <a:lnTo>
                    <a:pt x="93" y="52"/>
                  </a:lnTo>
                  <a:lnTo>
                    <a:pt x="112" y="45"/>
                  </a:lnTo>
                  <a:lnTo>
                    <a:pt x="132" y="45"/>
                  </a:lnTo>
                  <a:lnTo>
                    <a:pt x="147" y="31"/>
                  </a:lnTo>
                  <a:lnTo>
                    <a:pt x="153" y="29"/>
                  </a:lnTo>
                  <a:lnTo>
                    <a:pt x="166" y="29"/>
                  </a:lnTo>
                  <a:lnTo>
                    <a:pt x="183" y="25"/>
                  </a:lnTo>
                  <a:lnTo>
                    <a:pt x="205" y="25"/>
                  </a:lnTo>
                  <a:lnTo>
                    <a:pt x="236" y="16"/>
                  </a:lnTo>
                  <a:lnTo>
                    <a:pt x="248" y="16"/>
                  </a:lnTo>
                  <a:lnTo>
                    <a:pt x="258" y="24"/>
                  </a:lnTo>
                  <a:lnTo>
                    <a:pt x="293" y="36"/>
                  </a:lnTo>
                  <a:lnTo>
                    <a:pt x="313" y="33"/>
                  </a:lnTo>
                  <a:lnTo>
                    <a:pt x="327" y="20"/>
                  </a:lnTo>
                  <a:lnTo>
                    <a:pt x="329" y="1"/>
                  </a:lnTo>
                  <a:lnTo>
                    <a:pt x="340" y="0"/>
                  </a:lnTo>
                  <a:lnTo>
                    <a:pt x="343" y="6"/>
                  </a:lnTo>
                  <a:lnTo>
                    <a:pt x="352" y="13"/>
                  </a:lnTo>
                  <a:lnTo>
                    <a:pt x="351" y="24"/>
                  </a:lnTo>
                  <a:lnTo>
                    <a:pt x="340" y="33"/>
                  </a:lnTo>
                  <a:lnTo>
                    <a:pt x="338" y="49"/>
                  </a:lnTo>
                  <a:lnTo>
                    <a:pt x="334" y="63"/>
                  </a:lnTo>
                  <a:lnTo>
                    <a:pt x="324" y="7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87" name="Freeform 199">
              <a:extLst>
                <a:ext uri="{FF2B5EF4-FFF2-40B4-BE49-F238E27FC236}">
                  <a16:creationId xmlns:a16="http://schemas.microsoft.com/office/drawing/2014/main" id="{1BA1FDB6-6FC8-8958-1E50-494197233AE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240275" y="2614057"/>
              <a:ext cx="198482" cy="126510"/>
            </a:xfrm>
            <a:custGeom>
              <a:avLst/>
              <a:gdLst>
                <a:gd name="T0" fmla="*/ 0 w 369"/>
                <a:gd name="T1" fmla="*/ 0 h 223"/>
                <a:gd name="T2" fmla="*/ 0 w 369"/>
                <a:gd name="T3" fmla="*/ 0 h 223"/>
                <a:gd name="T4" fmla="*/ 0 w 369"/>
                <a:gd name="T5" fmla="*/ 0 h 223"/>
                <a:gd name="T6" fmla="*/ 0 w 369"/>
                <a:gd name="T7" fmla="*/ 0 h 223"/>
                <a:gd name="T8" fmla="*/ 0 w 369"/>
                <a:gd name="T9" fmla="*/ 0 h 223"/>
                <a:gd name="T10" fmla="*/ 0 w 369"/>
                <a:gd name="T11" fmla="*/ 0 h 223"/>
                <a:gd name="T12" fmla="*/ 0 w 369"/>
                <a:gd name="T13" fmla="*/ 0 h 223"/>
                <a:gd name="T14" fmla="*/ 0 w 369"/>
                <a:gd name="T15" fmla="*/ 0 h 223"/>
                <a:gd name="T16" fmla="*/ 2147483647 w 369"/>
                <a:gd name="T17" fmla="*/ 0 h 223"/>
                <a:gd name="T18" fmla="*/ 2147483647 w 369"/>
                <a:gd name="T19" fmla="*/ 0 h 223"/>
                <a:gd name="T20" fmla="*/ 2147483647 w 369"/>
                <a:gd name="T21" fmla="*/ 0 h 223"/>
                <a:gd name="T22" fmla="*/ 2147483647 w 369"/>
                <a:gd name="T23" fmla="*/ 0 h 223"/>
                <a:gd name="T24" fmla="*/ 2147483647 w 369"/>
                <a:gd name="T25" fmla="*/ 0 h 223"/>
                <a:gd name="T26" fmla="*/ 2147483647 w 369"/>
                <a:gd name="T27" fmla="*/ 0 h 223"/>
                <a:gd name="T28" fmla="*/ 2147483647 w 369"/>
                <a:gd name="T29" fmla="*/ 0 h 223"/>
                <a:gd name="T30" fmla="*/ 0 w 369"/>
                <a:gd name="T31" fmla="*/ 0 h 223"/>
                <a:gd name="T32" fmla="*/ 0 w 369"/>
                <a:gd name="T33" fmla="*/ 0 h 223"/>
                <a:gd name="T34" fmla="*/ 0 w 369"/>
                <a:gd name="T35" fmla="*/ 0 h 223"/>
                <a:gd name="T36" fmla="*/ 0 w 369"/>
                <a:gd name="T37" fmla="*/ 0 h 223"/>
                <a:gd name="T38" fmla="*/ 0 w 369"/>
                <a:gd name="T39" fmla="*/ 0 h 223"/>
                <a:gd name="T40" fmla="*/ 0 w 369"/>
                <a:gd name="T41" fmla="*/ 0 h 223"/>
                <a:gd name="T42" fmla="*/ 0 w 369"/>
                <a:gd name="T43" fmla="*/ 0 h 223"/>
                <a:gd name="T44" fmla="*/ 0 w 369"/>
                <a:gd name="T45" fmla="*/ 0 h 223"/>
                <a:gd name="T46" fmla="*/ 0 w 369"/>
                <a:gd name="T47" fmla="*/ 0 h 223"/>
                <a:gd name="T48" fmla="*/ 0 w 369"/>
                <a:gd name="T49" fmla="*/ 0 h 223"/>
                <a:gd name="T50" fmla="*/ 0 w 369"/>
                <a:gd name="T51" fmla="*/ 0 h 223"/>
                <a:gd name="T52" fmla="*/ 0 w 369"/>
                <a:gd name="T53" fmla="*/ 0 h 223"/>
                <a:gd name="T54" fmla="*/ 0 w 369"/>
                <a:gd name="T55" fmla="*/ 0 h 223"/>
                <a:gd name="T56" fmla="*/ 0 w 369"/>
                <a:gd name="T57" fmla="*/ 0 h 223"/>
                <a:gd name="T58" fmla="*/ 0 w 369"/>
                <a:gd name="T59" fmla="*/ 0 h 223"/>
                <a:gd name="T60" fmla="*/ 0 w 369"/>
                <a:gd name="T61" fmla="*/ 0 h 223"/>
                <a:gd name="T62" fmla="*/ 0 w 369"/>
                <a:gd name="T63" fmla="*/ 0 h 223"/>
                <a:gd name="T64" fmla="*/ 0 w 369"/>
                <a:gd name="T65" fmla="*/ 0 h 223"/>
                <a:gd name="T66" fmla="*/ 0 w 369"/>
                <a:gd name="T67" fmla="*/ 0 h 22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69"/>
                <a:gd name="T103" fmla="*/ 0 h 223"/>
                <a:gd name="T104" fmla="*/ 369 w 369"/>
                <a:gd name="T105" fmla="*/ 223 h 22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69" h="223">
                  <a:moveTo>
                    <a:pt x="58" y="39"/>
                  </a:moveTo>
                  <a:lnTo>
                    <a:pt x="71" y="47"/>
                  </a:lnTo>
                  <a:lnTo>
                    <a:pt x="95" y="65"/>
                  </a:lnTo>
                  <a:lnTo>
                    <a:pt x="128" y="64"/>
                  </a:lnTo>
                  <a:lnTo>
                    <a:pt x="134" y="64"/>
                  </a:lnTo>
                  <a:lnTo>
                    <a:pt x="147" y="44"/>
                  </a:lnTo>
                  <a:lnTo>
                    <a:pt x="178" y="35"/>
                  </a:lnTo>
                  <a:lnTo>
                    <a:pt x="194" y="26"/>
                  </a:lnTo>
                  <a:lnTo>
                    <a:pt x="211" y="32"/>
                  </a:lnTo>
                  <a:lnTo>
                    <a:pt x="225" y="24"/>
                  </a:lnTo>
                  <a:lnTo>
                    <a:pt x="235" y="22"/>
                  </a:lnTo>
                  <a:lnTo>
                    <a:pt x="240" y="10"/>
                  </a:lnTo>
                  <a:lnTo>
                    <a:pt x="255" y="1"/>
                  </a:lnTo>
                  <a:lnTo>
                    <a:pt x="273" y="2"/>
                  </a:lnTo>
                  <a:lnTo>
                    <a:pt x="285" y="0"/>
                  </a:lnTo>
                  <a:lnTo>
                    <a:pt x="300" y="5"/>
                  </a:lnTo>
                  <a:lnTo>
                    <a:pt x="317" y="15"/>
                  </a:lnTo>
                  <a:lnTo>
                    <a:pt x="329" y="12"/>
                  </a:lnTo>
                  <a:lnTo>
                    <a:pt x="344" y="19"/>
                  </a:lnTo>
                  <a:lnTo>
                    <a:pt x="356" y="29"/>
                  </a:lnTo>
                  <a:lnTo>
                    <a:pt x="365" y="38"/>
                  </a:lnTo>
                  <a:lnTo>
                    <a:pt x="369" y="48"/>
                  </a:lnTo>
                  <a:lnTo>
                    <a:pt x="365" y="55"/>
                  </a:lnTo>
                  <a:lnTo>
                    <a:pt x="357" y="62"/>
                  </a:lnTo>
                  <a:lnTo>
                    <a:pt x="350" y="62"/>
                  </a:lnTo>
                  <a:lnTo>
                    <a:pt x="335" y="69"/>
                  </a:lnTo>
                  <a:lnTo>
                    <a:pt x="326" y="78"/>
                  </a:lnTo>
                  <a:lnTo>
                    <a:pt x="324" y="86"/>
                  </a:lnTo>
                  <a:lnTo>
                    <a:pt x="318" y="97"/>
                  </a:lnTo>
                  <a:lnTo>
                    <a:pt x="316" y="108"/>
                  </a:lnTo>
                  <a:lnTo>
                    <a:pt x="303" y="121"/>
                  </a:lnTo>
                  <a:lnTo>
                    <a:pt x="298" y="135"/>
                  </a:lnTo>
                  <a:lnTo>
                    <a:pt x="291" y="151"/>
                  </a:lnTo>
                  <a:lnTo>
                    <a:pt x="284" y="161"/>
                  </a:lnTo>
                  <a:lnTo>
                    <a:pt x="276" y="178"/>
                  </a:lnTo>
                  <a:lnTo>
                    <a:pt x="260" y="185"/>
                  </a:lnTo>
                  <a:lnTo>
                    <a:pt x="228" y="195"/>
                  </a:lnTo>
                  <a:lnTo>
                    <a:pt x="225" y="195"/>
                  </a:lnTo>
                  <a:lnTo>
                    <a:pt x="221" y="188"/>
                  </a:lnTo>
                  <a:lnTo>
                    <a:pt x="209" y="193"/>
                  </a:lnTo>
                  <a:lnTo>
                    <a:pt x="197" y="193"/>
                  </a:lnTo>
                  <a:lnTo>
                    <a:pt x="181" y="204"/>
                  </a:lnTo>
                  <a:lnTo>
                    <a:pt x="166" y="204"/>
                  </a:lnTo>
                  <a:lnTo>
                    <a:pt x="160" y="209"/>
                  </a:lnTo>
                  <a:lnTo>
                    <a:pt x="145" y="210"/>
                  </a:lnTo>
                  <a:lnTo>
                    <a:pt x="133" y="218"/>
                  </a:lnTo>
                  <a:lnTo>
                    <a:pt x="119" y="222"/>
                  </a:lnTo>
                  <a:lnTo>
                    <a:pt x="102" y="223"/>
                  </a:lnTo>
                  <a:lnTo>
                    <a:pt x="87" y="214"/>
                  </a:lnTo>
                  <a:lnTo>
                    <a:pt x="76" y="210"/>
                  </a:lnTo>
                  <a:lnTo>
                    <a:pt x="65" y="195"/>
                  </a:lnTo>
                  <a:lnTo>
                    <a:pt x="50" y="188"/>
                  </a:lnTo>
                  <a:lnTo>
                    <a:pt x="41" y="172"/>
                  </a:lnTo>
                  <a:lnTo>
                    <a:pt x="28" y="167"/>
                  </a:lnTo>
                  <a:lnTo>
                    <a:pt x="20" y="153"/>
                  </a:lnTo>
                  <a:lnTo>
                    <a:pt x="15" y="140"/>
                  </a:lnTo>
                  <a:lnTo>
                    <a:pt x="7" y="136"/>
                  </a:lnTo>
                  <a:lnTo>
                    <a:pt x="0" y="136"/>
                  </a:lnTo>
                  <a:lnTo>
                    <a:pt x="10" y="125"/>
                  </a:lnTo>
                  <a:lnTo>
                    <a:pt x="21" y="123"/>
                  </a:lnTo>
                  <a:lnTo>
                    <a:pt x="20" y="112"/>
                  </a:lnTo>
                  <a:lnTo>
                    <a:pt x="20" y="102"/>
                  </a:lnTo>
                  <a:lnTo>
                    <a:pt x="28" y="83"/>
                  </a:lnTo>
                  <a:lnTo>
                    <a:pt x="22" y="75"/>
                  </a:lnTo>
                  <a:lnTo>
                    <a:pt x="26" y="67"/>
                  </a:lnTo>
                  <a:lnTo>
                    <a:pt x="53" y="67"/>
                  </a:lnTo>
                  <a:lnTo>
                    <a:pt x="58" y="59"/>
                  </a:lnTo>
                  <a:lnTo>
                    <a:pt x="58" y="3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88" name="Freeform 200">
              <a:extLst>
                <a:ext uri="{FF2B5EF4-FFF2-40B4-BE49-F238E27FC236}">
                  <a16:creationId xmlns:a16="http://schemas.microsoft.com/office/drawing/2014/main" id="{EEC8D1E6-BBA9-8846-C0E8-D6F5B8CFD08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182075" y="2295496"/>
              <a:ext cx="291006" cy="294173"/>
            </a:xfrm>
            <a:custGeom>
              <a:avLst/>
              <a:gdLst>
                <a:gd name="T0" fmla="*/ 2147483647 w 545"/>
                <a:gd name="T1" fmla="*/ 2147483647 h 511"/>
                <a:gd name="T2" fmla="*/ 2147483647 w 545"/>
                <a:gd name="T3" fmla="*/ 2147483647 h 511"/>
                <a:gd name="T4" fmla="*/ 2147483647 w 545"/>
                <a:gd name="T5" fmla="*/ 2147483647 h 511"/>
                <a:gd name="T6" fmla="*/ 2147483647 w 545"/>
                <a:gd name="T7" fmla="*/ 2147483647 h 511"/>
                <a:gd name="T8" fmla="*/ 2147483647 w 545"/>
                <a:gd name="T9" fmla="*/ 2147483647 h 511"/>
                <a:gd name="T10" fmla="*/ 2147483647 w 545"/>
                <a:gd name="T11" fmla="*/ 2147483647 h 511"/>
                <a:gd name="T12" fmla="*/ 2147483647 w 545"/>
                <a:gd name="T13" fmla="*/ 2147483647 h 511"/>
                <a:gd name="T14" fmla="*/ 2147483647 w 545"/>
                <a:gd name="T15" fmla="*/ 2147483647 h 511"/>
                <a:gd name="T16" fmla="*/ 2147483647 w 545"/>
                <a:gd name="T17" fmla="*/ 2147483647 h 511"/>
                <a:gd name="T18" fmla="*/ 2147483647 w 545"/>
                <a:gd name="T19" fmla="*/ 2147483647 h 511"/>
                <a:gd name="T20" fmla="*/ 0 w 545"/>
                <a:gd name="T21" fmla="*/ 2147483647 h 511"/>
                <a:gd name="T22" fmla="*/ 0 w 545"/>
                <a:gd name="T23" fmla="*/ 2147483647 h 511"/>
                <a:gd name="T24" fmla="*/ 0 w 545"/>
                <a:gd name="T25" fmla="*/ 2147483647 h 511"/>
                <a:gd name="T26" fmla="*/ 0 w 545"/>
                <a:gd name="T27" fmla="*/ 2147483647 h 511"/>
                <a:gd name="T28" fmla="*/ 0 w 545"/>
                <a:gd name="T29" fmla="*/ 2147483647 h 511"/>
                <a:gd name="T30" fmla="*/ 0 w 545"/>
                <a:gd name="T31" fmla="*/ 2147483647 h 511"/>
                <a:gd name="T32" fmla="*/ 0 w 545"/>
                <a:gd name="T33" fmla="*/ 2147483647 h 511"/>
                <a:gd name="T34" fmla="*/ 0 w 545"/>
                <a:gd name="T35" fmla="*/ 2147483647 h 511"/>
                <a:gd name="T36" fmla="*/ 0 w 545"/>
                <a:gd name="T37" fmla="*/ 2147483647 h 511"/>
                <a:gd name="T38" fmla="*/ 0 w 545"/>
                <a:gd name="T39" fmla="*/ 2147483647 h 511"/>
                <a:gd name="T40" fmla="*/ 0 w 545"/>
                <a:gd name="T41" fmla="*/ 2147483647 h 511"/>
                <a:gd name="T42" fmla="*/ 0 w 545"/>
                <a:gd name="T43" fmla="*/ 0 h 511"/>
                <a:gd name="T44" fmla="*/ 0 w 545"/>
                <a:gd name="T45" fmla="*/ 0 h 511"/>
                <a:gd name="T46" fmla="*/ 0 w 545"/>
                <a:gd name="T47" fmla="*/ 0 h 511"/>
                <a:gd name="T48" fmla="*/ 0 w 545"/>
                <a:gd name="T49" fmla="*/ 0 h 511"/>
                <a:gd name="T50" fmla="*/ 0 w 545"/>
                <a:gd name="T51" fmla="*/ 0 h 511"/>
                <a:gd name="T52" fmla="*/ 0 w 545"/>
                <a:gd name="T53" fmla="*/ 0 h 511"/>
                <a:gd name="T54" fmla="*/ 0 w 545"/>
                <a:gd name="T55" fmla="*/ 0 h 511"/>
                <a:gd name="T56" fmla="*/ 0 w 545"/>
                <a:gd name="T57" fmla="*/ 0 h 511"/>
                <a:gd name="T58" fmla="*/ 0 w 545"/>
                <a:gd name="T59" fmla="*/ 0 h 511"/>
                <a:gd name="T60" fmla="*/ 0 w 545"/>
                <a:gd name="T61" fmla="*/ 0 h 511"/>
                <a:gd name="T62" fmla="*/ 0 w 545"/>
                <a:gd name="T63" fmla="*/ 0 h 511"/>
                <a:gd name="T64" fmla="*/ 0 w 545"/>
                <a:gd name="T65" fmla="*/ 0 h 511"/>
                <a:gd name="T66" fmla="*/ 0 w 545"/>
                <a:gd name="T67" fmla="*/ 0 h 511"/>
                <a:gd name="T68" fmla="*/ 0 w 545"/>
                <a:gd name="T69" fmla="*/ 0 h 511"/>
                <a:gd name="T70" fmla="*/ 0 w 545"/>
                <a:gd name="T71" fmla="*/ 0 h 511"/>
                <a:gd name="T72" fmla="*/ 2147483647 w 545"/>
                <a:gd name="T73" fmla="*/ 0 h 511"/>
                <a:gd name="T74" fmla="*/ 2147483647 w 545"/>
                <a:gd name="T75" fmla="*/ 0 h 511"/>
                <a:gd name="T76" fmla="*/ 2147483647 w 545"/>
                <a:gd name="T77" fmla="*/ 0 h 511"/>
                <a:gd name="T78" fmla="*/ 2147483647 w 545"/>
                <a:gd name="T79" fmla="*/ 0 h 511"/>
                <a:gd name="T80" fmla="*/ 2147483647 w 545"/>
                <a:gd name="T81" fmla="*/ 0 h 511"/>
                <a:gd name="T82" fmla="*/ 2147483647 w 545"/>
                <a:gd name="T83" fmla="*/ 0 h 511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45"/>
                <a:gd name="T127" fmla="*/ 0 h 511"/>
                <a:gd name="T128" fmla="*/ 545 w 545"/>
                <a:gd name="T129" fmla="*/ 511 h 511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45" h="511">
                  <a:moveTo>
                    <a:pt x="513" y="298"/>
                  </a:moveTo>
                  <a:lnTo>
                    <a:pt x="520" y="311"/>
                  </a:lnTo>
                  <a:lnTo>
                    <a:pt x="521" y="323"/>
                  </a:lnTo>
                  <a:lnTo>
                    <a:pt x="528" y="342"/>
                  </a:lnTo>
                  <a:lnTo>
                    <a:pt x="529" y="346"/>
                  </a:lnTo>
                  <a:lnTo>
                    <a:pt x="540" y="357"/>
                  </a:lnTo>
                  <a:lnTo>
                    <a:pt x="539" y="368"/>
                  </a:lnTo>
                  <a:lnTo>
                    <a:pt x="545" y="382"/>
                  </a:lnTo>
                  <a:lnTo>
                    <a:pt x="540" y="397"/>
                  </a:lnTo>
                  <a:lnTo>
                    <a:pt x="522" y="412"/>
                  </a:lnTo>
                  <a:lnTo>
                    <a:pt x="502" y="425"/>
                  </a:lnTo>
                  <a:lnTo>
                    <a:pt x="488" y="444"/>
                  </a:lnTo>
                  <a:lnTo>
                    <a:pt x="470" y="482"/>
                  </a:lnTo>
                  <a:lnTo>
                    <a:pt x="468" y="497"/>
                  </a:lnTo>
                  <a:lnTo>
                    <a:pt x="470" y="509"/>
                  </a:lnTo>
                  <a:lnTo>
                    <a:pt x="461" y="511"/>
                  </a:lnTo>
                  <a:lnTo>
                    <a:pt x="456" y="510"/>
                  </a:lnTo>
                  <a:lnTo>
                    <a:pt x="446" y="506"/>
                  </a:lnTo>
                  <a:lnTo>
                    <a:pt x="435" y="498"/>
                  </a:lnTo>
                  <a:lnTo>
                    <a:pt x="426" y="491"/>
                  </a:lnTo>
                  <a:lnTo>
                    <a:pt x="416" y="483"/>
                  </a:lnTo>
                  <a:lnTo>
                    <a:pt x="403" y="482"/>
                  </a:lnTo>
                  <a:lnTo>
                    <a:pt x="391" y="483"/>
                  </a:lnTo>
                  <a:lnTo>
                    <a:pt x="379" y="488"/>
                  </a:lnTo>
                  <a:lnTo>
                    <a:pt x="372" y="494"/>
                  </a:lnTo>
                  <a:lnTo>
                    <a:pt x="362" y="487"/>
                  </a:lnTo>
                  <a:lnTo>
                    <a:pt x="343" y="487"/>
                  </a:lnTo>
                  <a:lnTo>
                    <a:pt x="334" y="495"/>
                  </a:lnTo>
                  <a:lnTo>
                    <a:pt x="324" y="500"/>
                  </a:lnTo>
                  <a:lnTo>
                    <a:pt x="317" y="498"/>
                  </a:lnTo>
                  <a:lnTo>
                    <a:pt x="309" y="489"/>
                  </a:lnTo>
                  <a:lnTo>
                    <a:pt x="300" y="479"/>
                  </a:lnTo>
                  <a:lnTo>
                    <a:pt x="291" y="473"/>
                  </a:lnTo>
                  <a:lnTo>
                    <a:pt x="281" y="478"/>
                  </a:lnTo>
                  <a:lnTo>
                    <a:pt x="270" y="481"/>
                  </a:lnTo>
                  <a:lnTo>
                    <a:pt x="259" y="475"/>
                  </a:lnTo>
                  <a:lnTo>
                    <a:pt x="241" y="466"/>
                  </a:lnTo>
                  <a:lnTo>
                    <a:pt x="221" y="438"/>
                  </a:lnTo>
                  <a:lnTo>
                    <a:pt x="212" y="433"/>
                  </a:lnTo>
                  <a:lnTo>
                    <a:pt x="207" y="435"/>
                  </a:lnTo>
                  <a:lnTo>
                    <a:pt x="198" y="428"/>
                  </a:lnTo>
                  <a:lnTo>
                    <a:pt x="198" y="412"/>
                  </a:lnTo>
                  <a:lnTo>
                    <a:pt x="178" y="409"/>
                  </a:lnTo>
                  <a:lnTo>
                    <a:pt x="153" y="401"/>
                  </a:lnTo>
                  <a:lnTo>
                    <a:pt x="152" y="407"/>
                  </a:lnTo>
                  <a:lnTo>
                    <a:pt x="155" y="413"/>
                  </a:lnTo>
                  <a:lnTo>
                    <a:pt x="144" y="421"/>
                  </a:lnTo>
                  <a:lnTo>
                    <a:pt x="136" y="418"/>
                  </a:lnTo>
                  <a:lnTo>
                    <a:pt x="117" y="400"/>
                  </a:lnTo>
                  <a:lnTo>
                    <a:pt x="121" y="389"/>
                  </a:lnTo>
                  <a:lnTo>
                    <a:pt x="121" y="386"/>
                  </a:lnTo>
                  <a:lnTo>
                    <a:pt x="120" y="384"/>
                  </a:lnTo>
                  <a:lnTo>
                    <a:pt x="109" y="382"/>
                  </a:lnTo>
                  <a:lnTo>
                    <a:pt x="99" y="370"/>
                  </a:lnTo>
                  <a:lnTo>
                    <a:pt x="79" y="365"/>
                  </a:lnTo>
                  <a:lnTo>
                    <a:pt x="71" y="366"/>
                  </a:lnTo>
                  <a:lnTo>
                    <a:pt x="65" y="357"/>
                  </a:lnTo>
                  <a:lnTo>
                    <a:pt x="55" y="352"/>
                  </a:lnTo>
                  <a:lnTo>
                    <a:pt x="40" y="366"/>
                  </a:lnTo>
                  <a:lnTo>
                    <a:pt x="34" y="363"/>
                  </a:lnTo>
                  <a:lnTo>
                    <a:pt x="38" y="354"/>
                  </a:lnTo>
                  <a:lnTo>
                    <a:pt x="42" y="337"/>
                  </a:lnTo>
                  <a:lnTo>
                    <a:pt x="43" y="316"/>
                  </a:lnTo>
                  <a:lnTo>
                    <a:pt x="42" y="312"/>
                  </a:lnTo>
                  <a:lnTo>
                    <a:pt x="26" y="293"/>
                  </a:lnTo>
                  <a:lnTo>
                    <a:pt x="23" y="269"/>
                  </a:lnTo>
                  <a:lnTo>
                    <a:pt x="23" y="258"/>
                  </a:lnTo>
                  <a:lnTo>
                    <a:pt x="22" y="242"/>
                  </a:lnTo>
                  <a:lnTo>
                    <a:pt x="20" y="233"/>
                  </a:lnTo>
                  <a:lnTo>
                    <a:pt x="17" y="209"/>
                  </a:lnTo>
                  <a:lnTo>
                    <a:pt x="16" y="201"/>
                  </a:lnTo>
                  <a:lnTo>
                    <a:pt x="1" y="190"/>
                  </a:lnTo>
                  <a:lnTo>
                    <a:pt x="0" y="182"/>
                  </a:lnTo>
                  <a:lnTo>
                    <a:pt x="5" y="170"/>
                  </a:lnTo>
                  <a:lnTo>
                    <a:pt x="11" y="158"/>
                  </a:lnTo>
                  <a:lnTo>
                    <a:pt x="12" y="145"/>
                  </a:lnTo>
                  <a:lnTo>
                    <a:pt x="12" y="128"/>
                  </a:lnTo>
                  <a:lnTo>
                    <a:pt x="4" y="111"/>
                  </a:lnTo>
                  <a:lnTo>
                    <a:pt x="1" y="102"/>
                  </a:lnTo>
                  <a:lnTo>
                    <a:pt x="18" y="110"/>
                  </a:lnTo>
                  <a:lnTo>
                    <a:pt x="21" y="105"/>
                  </a:lnTo>
                  <a:lnTo>
                    <a:pt x="21" y="96"/>
                  </a:lnTo>
                  <a:lnTo>
                    <a:pt x="7" y="93"/>
                  </a:lnTo>
                  <a:lnTo>
                    <a:pt x="16" y="86"/>
                  </a:lnTo>
                  <a:lnTo>
                    <a:pt x="26" y="83"/>
                  </a:lnTo>
                  <a:lnTo>
                    <a:pt x="27" y="86"/>
                  </a:lnTo>
                  <a:lnTo>
                    <a:pt x="38" y="74"/>
                  </a:lnTo>
                  <a:lnTo>
                    <a:pt x="51" y="67"/>
                  </a:lnTo>
                  <a:lnTo>
                    <a:pt x="70" y="63"/>
                  </a:lnTo>
                  <a:lnTo>
                    <a:pt x="102" y="53"/>
                  </a:lnTo>
                  <a:lnTo>
                    <a:pt x="134" y="26"/>
                  </a:lnTo>
                  <a:lnTo>
                    <a:pt x="149" y="21"/>
                  </a:lnTo>
                  <a:lnTo>
                    <a:pt x="172" y="9"/>
                  </a:lnTo>
                  <a:lnTo>
                    <a:pt x="215" y="0"/>
                  </a:lnTo>
                  <a:lnTo>
                    <a:pt x="228" y="0"/>
                  </a:lnTo>
                  <a:lnTo>
                    <a:pt x="239" y="3"/>
                  </a:lnTo>
                  <a:lnTo>
                    <a:pt x="248" y="7"/>
                  </a:lnTo>
                  <a:lnTo>
                    <a:pt x="255" y="15"/>
                  </a:lnTo>
                  <a:lnTo>
                    <a:pt x="254" y="21"/>
                  </a:lnTo>
                  <a:lnTo>
                    <a:pt x="236" y="10"/>
                  </a:lnTo>
                  <a:lnTo>
                    <a:pt x="237" y="16"/>
                  </a:lnTo>
                  <a:lnTo>
                    <a:pt x="250" y="50"/>
                  </a:lnTo>
                  <a:lnTo>
                    <a:pt x="257" y="52"/>
                  </a:lnTo>
                  <a:lnTo>
                    <a:pt x="258" y="48"/>
                  </a:lnTo>
                  <a:lnTo>
                    <a:pt x="262" y="45"/>
                  </a:lnTo>
                  <a:lnTo>
                    <a:pt x="266" y="48"/>
                  </a:lnTo>
                  <a:lnTo>
                    <a:pt x="276" y="45"/>
                  </a:lnTo>
                  <a:lnTo>
                    <a:pt x="290" y="42"/>
                  </a:lnTo>
                  <a:lnTo>
                    <a:pt x="300" y="36"/>
                  </a:lnTo>
                  <a:lnTo>
                    <a:pt x="314" y="41"/>
                  </a:lnTo>
                  <a:lnTo>
                    <a:pt x="378" y="52"/>
                  </a:lnTo>
                  <a:lnTo>
                    <a:pt x="426" y="51"/>
                  </a:lnTo>
                  <a:lnTo>
                    <a:pt x="453" y="45"/>
                  </a:lnTo>
                  <a:lnTo>
                    <a:pt x="477" y="42"/>
                  </a:lnTo>
                  <a:lnTo>
                    <a:pt x="491" y="50"/>
                  </a:lnTo>
                  <a:lnTo>
                    <a:pt x="510" y="63"/>
                  </a:lnTo>
                  <a:lnTo>
                    <a:pt x="515" y="74"/>
                  </a:lnTo>
                  <a:lnTo>
                    <a:pt x="515" y="81"/>
                  </a:lnTo>
                  <a:lnTo>
                    <a:pt x="516" y="91"/>
                  </a:lnTo>
                  <a:lnTo>
                    <a:pt x="534" y="163"/>
                  </a:lnTo>
                  <a:lnTo>
                    <a:pt x="534" y="179"/>
                  </a:lnTo>
                  <a:lnTo>
                    <a:pt x="533" y="196"/>
                  </a:lnTo>
                  <a:lnTo>
                    <a:pt x="522" y="212"/>
                  </a:lnTo>
                  <a:lnTo>
                    <a:pt x="507" y="220"/>
                  </a:lnTo>
                  <a:lnTo>
                    <a:pt x="496" y="234"/>
                  </a:lnTo>
                  <a:lnTo>
                    <a:pt x="502" y="245"/>
                  </a:lnTo>
                  <a:lnTo>
                    <a:pt x="517" y="257"/>
                  </a:lnTo>
                  <a:lnTo>
                    <a:pt x="513" y="29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89" name="Freeform 201">
              <a:extLst>
                <a:ext uri="{FF2B5EF4-FFF2-40B4-BE49-F238E27FC236}">
                  <a16:creationId xmlns:a16="http://schemas.microsoft.com/office/drawing/2014/main" id="{9948F56E-DFBE-65E9-AA8C-54AB56A89EE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2048" y="2117162"/>
              <a:ext cx="216389" cy="135656"/>
            </a:xfrm>
            <a:custGeom>
              <a:avLst/>
              <a:gdLst>
                <a:gd name="T0" fmla="*/ 0 w 406"/>
                <a:gd name="T1" fmla="*/ 0 h 240"/>
                <a:gd name="T2" fmla="*/ 0 w 406"/>
                <a:gd name="T3" fmla="*/ 0 h 240"/>
                <a:gd name="T4" fmla="*/ 0 w 406"/>
                <a:gd name="T5" fmla="*/ 0 h 240"/>
                <a:gd name="T6" fmla="*/ 0 w 406"/>
                <a:gd name="T7" fmla="*/ 0 h 240"/>
                <a:gd name="T8" fmla="*/ 0 w 406"/>
                <a:gd name="T9" fmla="*/ 0 h 240"/>
                <a:gd name="T10" fmla="*/ 0 w 406"/>
                <a:gd name="T11" fmla="*/ 0 h 240"/>
                <a:gd name="T12" fmla="*/ 0 w 406"/>
                <a:gd name="T13" fmla="*/ 0 h 240"/>
                <a:gd name="T14" fmla="*/ 0 w 406"/>
                <a:gd name="T15" fmla="*/ 0 h 240"/>
                <a:gd name="T16" fmla="*/ 0 w 406"/>
                <a:gd name="T17" fmla="*/ 0 h 240"/>
                <a:gd name="T18" fmla="*/ 0 w 406"/>
                <a:gd name="T19" fmla="*/ 0 h 240"/>
                <a:gd name="T20" fmla="*/ 0 w 406"/>
                <a:gd name="T21" fmla="*/ 0 h 240"/>
                <a:gd name="T22" fmla="*/ 0 w 406"/>
                <a:gd name="T23" fmla="*/ 0 h 240"/>
                <a:gd name="T24" fmla="*/ 0 w 406"/>
                <a:gd name="T25" fmla="*/ 0 h 240"/>
                <a:gd name="T26" fmla="*/ 0 w 406"/>
                <a:gd name="T27" fmla="*/ 0 h 240"/>
                <a:gd name="T28" fmla="*/ 0 w 406"/>
                <a:gd name="T29" fmla="*/ 0 h 240"/>
                <a:gd name="T30" fmla="*/ 0 w 406"/>
                <a:gd name="T31" fmla="*/ 0 h 240"/>
                <a:gd name="T32" fmla="*/ 0 w 406"/>
                <a:gd name="T33" fmla="*/ 0 h 240"/>
                <a:gd name="T34" fmla="*/ 0 w 406"/>
                <a:gd name="T35" fmla="*/ 0 h 240"/>
                <a:gd name="T36" fmla="*/ 2147483647 w 406"/>
                <a:gd name="T37" fmla="*/ 0 h 240"/>
                <a:gd name="T38" fmla="*/ 2147483647 w 406"/>
                <a:gd name="T39" fmla="*/ 0 h 240"/>
                <a:gd name="T40" fmla="*/ 2147483647 w 406"/>
                <a:gd name="T41" fmla="*/ 0 h 240"/>
                <a:gd name="T42" fmla="*/ 2147483647 w 406"/>
                <a:gd name="T43" fmla="*/ 0 h 240"/>
                <a:gd name="T44" fmla="*/ 2147483647 w 406"/>
                <a:gd name="T45" fmla="*/ 0 h 240"/>
                <a:gd name="T46" fmla="*/ 2147483647 w 406"/>
                <a:gd name="T47" fmla="*/ 0 h 240"/>
                <a:gd name="T48" fmla="*/ 2147483647 w 406"/>
                <a:gd name="T49" fmla="*/ 0 h 240"/>
                <a:gd name="T50" fmla="*/ 2147483647 w 406"/>
                <a:gd name="T51" fmla="*/ 0 h 240"/>
                <a:gd name="T52" fmla="*/ 2147483647 w 406"/>
                <a:gd name="T53" fmla="*/ 0 h 240"/>
                <a:gd name="T54" fmla="*/ 2147483647 w 406"/>
                <a:gd name="T55" fmla="*/ 0 h 240"/>
                <a:gd name="T56" fmla="*/ 2147483647 w 406"/>
                <a:gd name="T57" fmla="*/ 0 h 240"/>
                <a:gd name="T58" fmla="*/ 2147483647 w 406"/>
                <a:gd name="T59" fmla="*/ 0 h 240"/>
                <a:gd name="T60" fmla="*/ 2147483647 w 406"/>
                <a:gd name="T61" fmla="*/ 0 h 240"/>
                <a:gd name="T62" fmla="*/ 2147483647 w 406"/>
                <a:gd name="T63" fmla="*/ 0 h 240"/>
                <a:gd name="T64" fmla="*/ 2147483647 w 406"/>
                <a:gd name="T65" fmla="*/ 0 h 240"/>
                <a:gd name="T66" fmla="*/ 2147483647 w 406"/>
                <a:gd name="T67" fmla="*/ 0 h 240"/>
                <a:gd name="T68" fmla="*/ 0 w 406"/>
                <a:gd name="T69" fmla="*/ 0 h 240"/>
                <a:gd name="T70" fmla="*/ 0 w 406"/>
                <a:gd name="T71" fmla="*/ 0 h 240"/>
                <a:gd name="T72" fmla="*/ 0 w 406"/>
                <a:gd name="T73" fmla="*/ 0 h 240"/>
                <a:gd name="T74" fmla="*/ 0 w 406"/>
                <a:gd name="T75" fmla="*/ 0 h 240"/>
                <a:gd name="T76" fmla="*/ 0 w 406"/>
                <a:gd name="T77" fmla="*/ 0 h 240"/>
                <a:gd name="T78" fmla="*/ 0 w 406"/>
                <a:gd name="T79" fmla="*/ 0 h 240"/>
                <a:gd name="T80" fmla="*/ 0 w 406"/>
                <a:gd name="T81" fmla="*/ 0 h 240"/>
                <a:gd name="T82" fmla="*/ 0 w 406"/>
                <a:gd name="T83" fmla="*/ 0 h 240"/>
                <a:gd name="T84" fmla="*/ 0 w 406"/>
                <a:gd name="T85" fmla="*/ 0 h 240"/>
                <a:gd name="T86" fmla="*/ 0 w 406"/>
                <a:gd name="T87" fmla="*/ 0 h 240"/>
                <a:gd name="T88" fmla="*/ 0 w 406"/>
                <a:gd name="T89" fmla="*/ 0 h 240"/>
                <a:gd name="T90" fmla="*/ 0 w 406"/>
                <a:gd name="T91" fmla="*/ 0 h 240"/>
                <a:gd name="T92" fmla="*/ 0 w 406"/>
                <a:gd name="T93" fmla="*/ 0 h 24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06"/>
                <a:gd name="T142" fmla="*/ 0 h 240"/>
                <a:gd name="T143" fmla="*/ 406 w 406"/>
                <a:gd name="T144" fmla="*/ 240 h 24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06" h="240">
                  <a:moveTo>
                    <a:pt x="3" y="195"/>
                  </a:moveTo>
                  <a:lnTo>
                    <a:pt x="0" y="184"/>
                  </a:lnTo>
                  <a:lnTo>
                    <a:pt x="4" y="134"/>
                  </a:lnTo>
                  <a:lnTo>
                    <a:pt x="12" y="118"/>
                  </a:lnTo>
                  <a:lnTo>
                    <a:pt x="20" y="107"/>
                  </a:lnTo>
                  <a:lnTo>
                    <a:pt x="24" y="93"/>
                  </a:lnTo>
                  <a:lnTo>
                    <a:pt x="27" y="77"/>
                  </a:lnTo>
                  <a:lnTo>
                    <a:pt x="33" y="64"/>
                  </a:lnTo>
                  <a:lnTo>
                    <a:pt x="43" y="52"/>
                  </a:lnTo>
                  <a:lnTo>
                    <a:pt x="51" y="44"/>
                  </a:lnTo>
                  <a:lnTo>
                    <a:pt x="63" y="42"/>
                  </a:lnTo>
                  <a:lnTo>
                    <a:pt x="86" y="33"/>
                  </a:lnTo>
                  <a:lnTo>
                    <a:pt x="94" y="47"/>
                  </a:lnTo>
                  <a:lnTo>
                    <a:pt x="113" y="68"/>
                  </a:lnTo>
                  <a:lnTo>
                    <a:pt x="115" y="79"/>
                  </a:lnTo>
                  <a:lnTo>
                    <a:pt x="119" y="86"/>
                  </a:lnTo>
                  <a:lnTo>
                    <a:pt x="120" y="75"/>
                  </a:lnTo>
                  <a:lnTo>
                    <a:pt x="125" y="92"/>
                  </a:lnTo>
                  <a:lnTo>
                    <a:pt x="131" y="100"/>
                  </a:lnTo>
                  <a:lnTo>
                    <a:pt x="147" y="108"/>
                  </a:lnTo>
                  <a:lnTo>
                    <a:pt x="153" y="108"/>
                  </a:lnTo>
                  <a:lnTo>
                    <a:pt x="169" y="102"/>
                  </a:lnTo>
                  <a:lnTo>
                    <a:pt x="169" y="107"/>
                  </a:lnTo>
                  <a:lnTo>
                    <a:pt x="174" y="113"/>
                  </a:lnTo>
                  <a:lnTo>
                    <a:pt x="175" y="98"/>
                  </a:lnTo>
                  <a:lnTo>
                    <a:pt x="181" y="92"/>
                  </a:lnTo>
                  <a:lnTo>
                    <a:pt x="185" y="85"/>
                  </a:lnTo>
                  <a:lnTo>
                    <a:pt x="185" y="21"/>
                  </a:lnTo>
                  <a:lnTo>
                    <a:pt x="191" y="15"/>
                  </a:lnTo>
                  <a:lnTo>
                    <a:pt x="200" y="14"/>
                  </a:lnTo>
                  <a:lnTo>
                    <a:pt x="213" y="4"/>
                  </a:lnTo>
                  <a:lnTo>
                    <a:pt x="239" y="0"/>
                  </a:lnTo>
                  <a:lnTo>
                    <a:pt x="255" y="4"/>
                  </a:lnTo>
                  <a:lnTo>
                    <a:pt x="269" y="15"/>
                  </a:lnTo>
                  <a:lnTo>
                    <a:pt x="283" y="20"/>
                  </a:lnTo>
                  <a:lnTo>
                    <a:pt x="288" y="30"/>
                  </a:lnTo>
                  <a:lnTo>
                    <a:pt x="310" y="49"/>
                  </a:lnTo>
                  <a:lnTo>
                    <a:pt x="318" y="49"/>
                  </a:lnTo>
                  <a:lnTo>
                    <a:pt x="326" y="46"/>
                  </a:lnTo>
                  <a:lnTo>
                    <a:pt x="341" y="44"/>
                  </a:lnTo>
                  <a:lnTo>
                    <a:pt x="358" y="48"/>
                  </a:lnTo>
                  <a:lnTo>
                    <a:pt x="359" y="49"/>
                  </a:lnTo>
                  <a:lnTo>
                    <a:pt x="364" y="55"/>
                  </a:lnTo>
                  <a:lnTo>
                    <a:pt x="368" y="63"/>
                  </a:lnTo>
                  <a:lnTo>
                    <a:pt x="375" y="66"/>
                  </a:lnTo>
                  <a:lnTo>
                    <a:pt x="379" y="74"/>
                  </a:lnTo>
                  <a:lnTo>
                    <a:pt x="380" y="82"/>
                  </a:lnTo>
                  <a:lnTo>
                    <a:pt x="375" y="106"/>
                  </a:lnTo>
                  <a:lnTo>
                    <a:pt x="372" y="113"/>
                  </a:lnTo>
                  <a:lnTo>
                    <a:pt x="380" y="116"/>
                  </a:lnTo>
                  <a:lnTo>
                    <a:pt x="387" y="120"/>
                  </a:lnTo>
                  <a:lnTo>
                    <a:pt x="387" y="128"/>
                  </a:lnTo>
                  <a:lnTo>
                    <a:pt x="400" y="150"/>
                  </a:lnTo>
                  <a:lnTo>
                    <a:pt x="402" y="159"/>
                  </a:lnTo>
                  <a:lnTo>
                    <a:pt x="406" y="166"/>
                  </a:lnTo>
                  <a:lnTo>
                    <a:pt x="406" y="182"/>
                  </a:lnTo>
                  <a:lnTo>
                    <a:pt x="405" y="189"/>
                  </a:lnTo>
                  <a:lnTo>
                    <a:pt x="395" y="190"/>
                  </a:lnTo>
                  <a:lnTo>
                    <a:pt x="388" y="194"/>
                  </a:lnTo>
                  <a:lnTo>
                    <a:pt x="375" y="206"/>
                  </a:lnTo>
                  <a:lnTo>
                    <a:pt x="374" y="214"/>
                  </a:lnTo>
                  <a:lnTo>
                    <a:pt x="363" y="227"/>
                  </a:lnTo>
                  <a:lnTo>
                    <a:pt x="356" y="229"/>
                  </a:lnTo>
                  <a:lnTo>
                    <a:pt x="340" y="222"/>
                  </a:lnTo>
                  <a:lnTo>
                    <a:pt x="334" y="227"/>
                  </a:lnTo>
                  <a:lnTo>
                    <a:pt x="331" y="236"/>
                  </a:lnTo>
                  <a:lnTo>
                    <a:pt x="325" y="240"/>
                  </a:lnTo>
                  <a:lnTo>
                    <a:pt x="316" y="238"/>
                  </a:lnTo>
                  <a:lnTo>
                    <a:pt x="310" y="233"/>
                  </a:lnTo>
                  <a:lnTo>
                    <a:pt x="303" y="231"/>
                  </a:lnTo>
                  <a:lnTo>
                    <a:pt x="285" y="208"/>
                  </a:lnTo>
                  <a:lnTo>
                    <a:pt x="258" y="189"/>
                  </a:lnTo>
                  <a:lnTo>
                    <a:pt x="242" y="190"/>
                  </a:lnTo>
                  <a:lnTo>
                    <a:pt x="234" y="188"/>
                  </a:lnTo>
                  <a:lnTo>
                    <a:pt x="224" y="165"/>
                  </a:lnTo>
                  <a:lnTo>
                    <a:pt x="218" y="160"/>
                  </a:lnTo>
                  <a:lnTo>
                    <a:pt x="211" y="162"/>
                  </a:lnTo>
                  <a:lnTo>
                    <a:pt x="200" y="173"/>
                  </a:lnTo>
                  <a:lnTo>
                    <a:pt x="184" y="177"/>
                  </a:lnTo>
                  <a:lnTo>
                    <a:pt x="153" y="166"/>
                  </a:lnTo>
                  <a:lnTo>
                    <a:pt x="146" y="166"/>
                  </a:lnTo>
                  <a:lnTo>
                    <a:pt x="129" y="163"/>
                  </a:lnTo>
                  <a:lnTo>
                    <a:pt x="121" y="166"/>
                  </a:lnTo>
                  <a:lnTo>
                    <a:pt x="114" y="163"/>
                  </a:lnTo>
                  <a:lnTo>
                    <a:pt x="106" y="167"/>
                  </a:lnTo>
                  <a:lnTo>
                    <a:pt x="98" y="167"/>
                  </a:lnTo>
                  <a:lnTo>
                    <a:pt x="92" y="163"/>
                  </a:lnTo>
                  <a:lnTo>
                    <a:pt x="83" y="162"/>
                  </a:lnTo>
                  <a:lnTo>
                    <a:pt x="67" y="163"/>
                  </a:lnTo>
                  <a:lnTo>
                    <a:pt x="44" y="171"/>
                  </a:lnTo>
                  <a:lnTo>
                    <a:pt x="29" y="179"/>
                  </a:lnTo>
                  <a:lnTo>
                    <a:pt x="20" y="193"/>
                  </a:lnTo>
                  <a:lnTo>
                    <a:pt x="13" y="198"/>
                  </a:lnTo>
                  <a:lnTo>
                    <a:pt x="3" y="19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90" name="Freeform 202">
              <a:extLst>
                <a:ext uri="{FF2B5EF4-FFF2-40B4-BE49-F238E27FC236}">
                  <a16:creationId xmlns:a16="http://schemas.microsoft.com/office/drawing/2014/main" id="{493F6C7E-F2BB-D24B-E8E9-183A0A27C7B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117903" y="2489072"/>
              <a:ext cx="202958" cy="126510"/>
            </a:xfrm>
            <a:custGeom>
              <a:avLst/>
              <a:gdLst>
                <a:gd name="T0" fmla="*/ 2147483647 w 378"/>
                <a:gd name="T1" fmla="*/ 0 h 222"/>
                <a:gd name="T2" fmla="*/ 2147483647 w 378"/>
                <a:gd name="T3" fmla="*/ 0 h 222"/>
                <a:gd name="T4" fmla="*/ 2147483647 w 378"/>
                <a:gd name="T5" fmla="*/ 0 h 222"/>
                <a:gd name="T6" fmla="*/ 2147483647 w 378"/>
                <a:gd name="T7" fmla="*/ 0 h 222"/>
                <a:gd name="T8" fmla="*/ 2147483647 w 378"/>
                <a:gd name="T9" fmla="*/ 0 h 222"/>
                <a:gd name="T10" fmla="*/ 2147483647 w 378"/>
                <a:gd name="T11" fmla="*/ 0 h 222"/>
                <a:gd name="T12" fmla="*/ 0 w 378"/>
                <a:gd name="T13" fmla="*/ 0 h 222"/>
                <a:gd name="T14" fmla="*/ 0 w 378"/>
                <a:gd name="T15" fmla="*/ 0 h 222"/>
                <a:gd name="T16" fmla="*/ 0 w 378"/>
                <a:gd name="T17" fmla="*/ 0 h 222"/>
                <a:gd name="T18" fmla="*/ 0 w 378"/>
                <a:gd name="T19" fmla="*/ 0 h 222"/>
                <a:gd name="T20" fmla="*/ 0 w 378"/>
                <a:gd name="T21" fmla="*/ 0 h 222"/>
                <a:gd name="T22" fmla="*/ 0 w 378"/>
                <a:gd name="T23" fmla="*/ 0 h 222"/>
                <a:gd name="T24" fmla="*/ 0 w 378"/>
                <a:gd name="T25" fmla="*/ 0 h 222"/>
                <a:gd name="T26" fmla="*/ 0 w 378"/>
                <a:gd name="T27" fmla="*/ 0 h 222"/>
                <a:gd name="T28" fmla="*/ 0 w 378"/>
                <a:gd name="T29" fmla="*/ 0 h 222"/>
                <a:gd name="T30" fmla="*/ 0 w 378"/>
                <a:gd name="T31" fmla="*/ 0 h 222"/>
                <a:gd name="T32" fmla="*/ 0 w 378"/>
                <a:gd name="T33" fmla="*/ 0 h 222"/>
                <a:gd name="T34" fmla="*/ 0 w 378"/>
                <a:gd name="T35" fmla="*/ 0 h 222"/>
                <a:gd name="T36" fmla="*/ 0 w 378"/>
                <a:gd name="T37" fmla="*/ 0 h 222"/>
                <a:gd name="T38" fmla="*/ 0 w 378"/>
                <a:gd name="T39" fmla="*/ 0 h 222"/>
                <a:gd name="T40" fmla="*/ 0 w 378"/>
                <a:gd name="T41" fmla="*/ 0 h 222"/>
                <a:gd name="T42" fmla="*/ 0 w 378"/>
                <a:gd name="T43" fmla="*/ 0 h 222"/>
                <a:gd name="T44" fmla="*/ 0 w 378"/>
                <a:gd name="T45" fmla="*/ 0 h 222"/>
                <a:gd name="T46" fmla="*/ 0 w 378"/>
                <a:gd name="T47" fmla="*/ 0 h 222"/>
                <a:gd name="T48" fmla="*/ 0 w 378"/>
                <a:gd name="T49" fmla="*/ 0 h 222"/>
                <a:gd name="T50" fmla="*/ 0 w 378"/>
                <a:gd name="T51" fmla="*/ 0 h 222"/>
                <a:gd name="T52" fmla="*/ 0 w 378"/>
                <a:gd name="T53" fmla="*/ 0 h 222"/>
                <a:gd name="T54" fmla="*/ 0 w 378"/>
                <a:gd name="T55" fmla="*/ 0 h 222"/>
                <a:gd name="T56" fmla="*/ 0 w 378"/>
                <a:gd name="T57" fmla="*/ 0 h 222"/>
                <a:gd name="T58" fmla="*/ 0 w 378"/>
                <a:gd name="T59" fmla="*/ 0 h 222"/>
                <a:gd name="T60" fmla="*/ 0 w 378"/>
                <a:gd name="T61" fmla="*/ 0 h 222"/>
                <a:gd name="T62" fmla="*/ 0 w 378"/>
                <a:gd name="T63" fmla="*/ 0 h 222"/>
                <a:gd name="T64" fmla="*/ 0 w 378"/>
                <a:gd name="T65" fmla="*/ 0 h 222"/>
                <a:gd name="T66" fmla="*/ 0 w 378"/>
                <a:gd name="T67" fmla="*/ 0 h 222"/>
                <a:gd name="T68" fmla="*/ 0 w 378"/>
                <a:gd name="T69" fmla="*/ 0 h 222"/>
                <a:gd name="T70" fmla="*/ 0 w 378"/>
                <a:gd name="T71" fmla="*/ 0 h 222"/>
                <a:gd name="T72" fmla="*/ 2147483647 w 378"/>
                <a:gd name="T73" fmla="*/ 0 h 222"/>
                <a:gd name="T74" fmla="*/ 2147483647 w 378"/>
                <a:gd name="T75" fmla="*/ 0 h 222"/>
                <a:gd name="T76" fmla="*/ 2147483647 w 378"/>
                <a:gd name="T77" fmla="*/ 0 h 22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78"/>
                <a:gd name="T118" fmla="*/ 0 h 222"/>
                <a:gd name="T119" fmla="*/ 378 w 378"/>
                <a:gd name="T120" fmla="*/ 222 h 22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78" h="222">
                  <a:moveTo>
                    <a:pt x="378" y="136"/>
                  </a:moveTo>
                  <a:lnTo>
                    <a:pt x="371" y="143"/>
                  </a:lnTo>
                  <a:lnTo>
                    <a:pt x="360" y="142"/>
                  </a:lnTo>
                  <a:lnTo>
                    <a:pt x="355" y="149"/>
                  </a:lnTo>
                  <a:lnTo>
                    <a:pt x="350" y="156"/>
                  </a:lnTo>
                  <a:lnTo>
                    <a:pt x="341" y="159"/>
                  </a:lnTo>
                  <a:lnTo>
                    <a:pt x="339" y="164"/>
                  </a:lnTo>
                  <a:lnTo>
                    <a:pt x="338" y="176"/>
                  </a:lnTo>
                  <a:lnTo>
                    <a:pt x="333" y="185"/>
                  </a:lnTo>
                  <a:lnTo>
                    <a:pt x="324" y="187"/>
                  </a:lnTo>
                  <a:lnTo>
                    <a:pt x="324" y="193"/>
                  </a:lnTo>
                  <a:lnTo>
                    <a:pt x="311" y="203"/>
                  </a:lnTo>
                  <a:lnTo>
                    <a:pt x="296" y="206"/>
                  </a:lnTo>
                  <a:lnTo>
                    <a:pt x="291" y="201"/>
                  </a:lnTo>
                  <a:lnTo>
                    <a:pt x="283" y="201"/>
                  </a:lnTo>
                  <a:lnTo>
                    <a:pt x="276" y="210"/>
                  </a:lnTo>
                  <a:lnTo>
                    <a:pt x="271" y="222"/>
                  </a:lnTo>
                  <a:lnTo>
                    <a:pt x="271" y="208"/>
                  </a:lnTo>
                  <a:lnTo>
                    <a:pt x="263" y="197"/>
                  </a:lnTo>
                  <a:lnTo>
                    <a:pt x="227" y="201"/>
                  </a:lnTo>
                  <a:lnTo>
                    <a:pt x="213" y="188"/>
                  </a:lnTo>
                  <a:lnTo>
                    <a:pt x="205" y="183"/>
                  </a:lnTo>
                  <a:lnTo>
                    <a:pt x="172" y="182"/>
                  </a:lnTo>
                  <a:lnTo>
                    <a:pt x="166" y="192"/>
                  </a:lnTo>
                  <a:lnTo>
                    <a:pt x="162" y="201"/>
                  </a:lnTo>
                  <a:lnTo>
                    <a:pt x="152" y="209"/>
                  </a:lnTo>
                  <a:lnTo>
                    <a:pt x="143" y="213"/>
                  </a:lnTo>
                  <a:lnTo>
                    <a:pt x="132" y="214"/>
                  </a:lnTo>
                  <a:lnTo>
                    <a:pt x="121" y="213"/>
                  </a:lnTo>
                  <a:lnTo>
                    <a:pt x="114" y="207"/>
                  </a:lnTo>
                  <a:lnTo>
                    <a:pt x="100" y="202"/>
                  </a:lnTo>
                  <a:lnTo>
                    <a:pt x="97" y="196"/>
                  </a:lnTo>
                  <a:lnTo>
                    <a:pt x="71" y="176"/>
                  </a:lnTo>
                  <a:lnTo>
                    <a:pt x="61" y="164"/>
                  </a:lnTo>
                  <a:lnTo>
                    <a:pt x="33" y="140"/>
                  </a:lnTo>
                  <a:lnTo>
                    <a:pt x="23" y="127"/>
                  </a:lnTo>
                  <a:lnTo>
                    <a:pt x="23" y="110"/>
                  </a:lnTo>
                  <a:lnTo>
                    <a:pt x="21" y="97"/>
                  </a:lnTo>
                  <a:lnTo>
                    <a:pt x="8" y="91"/>
                  </a:lnTo>
                  <a:lnTo>
                    <a:pt x="0" y="82"/>
                  </a:lnTo>
                  <a:lnTo>
                    <a:pt x="0" y="73"/>
                  </a:lnTo>
                  <a:lnTo>
                    <a:pt x="1" y="68"/>
                  </a:lnTo>
                  <a:lnTo>
                    <a:pt x="17" y="83"/>
                  </a:lnTo>
                  <a:lnTo>
                    <a:pt x="19" y="83"/>
                  </a:lnTo>
                  <a:lnTo>
                    <a:pt x="24" y="69"/>
                  </a:lnTo>
                  <a:lnTo>
                    <a:pt x="40" y="62"/>
                  </a:lnTo>
                  <a:lnTo>
                    <a:pt x="57" y="57"/>
                  </a:lnTo>
                  <a:lnTo>
                    <a:pt x="75" y="48"/>
                  </a:lnTo>
                  <a:lnTo>
                    <a:pt x="81" y="36"/>
                  </a:lnTo>
                  <a:lnTo>
                    <a:pt x="119" y="23"/>
                  </a:lnTo>
                  <a:lnTo>
                    <a:pt x="123" y="0"/>
                  </a:lnTo>
                  <a:lnTo>
                    <a:pt x="132" y="3"/>
                  </a:lnTo>
                  <a:lnTo>
                    <a:pt x="140" y="15"/>
                  </a:lnTo>
                  <a:lnTo>
                    <a:pt x="146" y="24"/>
                  </a:lnTo>
                  <a:lnTo>
                    <a:pt x="153" y="24"/>
                  </a:lnTo>
                  <a:lnTo>
                    <a:pt x="159" y="27"/>
                  </a:lnTo>
                  <a:lnTo>
                    <a:pt x="174" y="13"/>
                  </a:lnTo>
                  <a:lnTo>
                    <a:pt x="184" y="18"/>
                  </a:lnTo>
                  <a:lnTo>
                    <a:pt x="190" y="27"/>
                  </a:lnTo>
                  <a:lnTo>
                    <a:pt x="198" y="27"/>
                  </a:lnTo>
                  <a:lnTo>
                    <a:pt x="218" y="31"/>
                  </a:lnTo>
                  <a:lnTo>
                    <a:pt x="228" y="43"/>
                  </a:lnTo>
                  <a:lnTo>
                    <a:pt x="239" y="45"/>
                  </a:lnTo>
                  <a:lnTo>
                    <a:pt x="240" y="47"/>
                  </a:lnTo>
                  <a:lnTo>
                    <a:pt x="240" y="50"/>
                  </a:lnTo>
                  <a:lnTo>
                    <a:pt x="236" y="61"/>
                  </a:lnTo>
                  <a:lnTo>
                    <a:pt x="255" y="79"/>
                  </a:lnTo>
                  <a:lnTo>
                    <a:pt x="263" y="82"/>
                  </a:lnTo>
                  <a:lnTo>
                    <a:pt x="274" y="74"/>
                  </a:lnTo>
                  <a:lnTo>
                    <a:pt x="271" y="68"/>
                  </a:lnTo>
                  <a:lnTo>
                    <a:pt x="272" y="62"/>
                  </a:lnTo>
                  <a:lnTo>
                    <a:pt x="297" y="70"/>
                  </a:lnTo>
                  <a:lnTo>
                    <a:pt x="317" y="73"/>
                  </a:lnTo>
                  <a:lnTo>
                    <a:pt x="317" y="89"/>
                  </a:lnTo>
                  <a:lnTo>
                    <a:pt x="326" y="96"/>
                  </a:lnTo>
                  <a:lnTo>
                    <a:pt x="331" y="94"/>
                  </a:lnTo>
                  <a:lnTo>
                    <a:pt x="340" y="99"/>
                  </a:lnTo>
                  <a:lnTo>
                    <a:pt x="360" y="127"/>
                  </a:lnTo>
                  <a:lnTo>
                    <a:pt x="378" y="13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91" name="Freeform 203">
              <a:extLst>
                <a:ext uri="{FF2B5EF4-FFF2-40B4-BE49-F238E27FC236}">
                  <a16:creationId xmlns:a16="http://schemas.microsoft.com/office/drawing/2014/main" id="{07CBA598-8CCB-DAA2-48C6-DE5E456F001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425326" y="2809157"/>
              <a:ext cx="183559" cy="124985"/>
            </a:xfrm>
            <a:custGeom>
              <a:avLst/>
              <a:gdLst>
                <a:gd name="T0" fmla="*/ 0 w 346"/>
                <a:gd name="T1" fmla="*/ 0 h 215"/>
                <a:gd name="T2" fmla="*/ 0 w 346"/>
                <a:gd name="T3" fmla="*/ 0 h 215"/>
                <a:gd name="T4" fmla="*/ 0 w 346"/>
                <a:gd name="T5" fmla="*/ 0 h 215"/>
                <a:gd name="T6" fmla="*/ 0 w 346"/>
                <a:gd name="T7" fmla="*/ 0 h 215"/>
                <a:gd name="T8" fmla="*/ 0 w 346"/>
                <a:gd name="T9" fmla="*/ 0 h 215"/>
                <a:gd name="T10" fmla="*/ 0 w 346"/>
                <a:gd name="T11" fmla="*/ 0 h 215"/>
                <a:gd name="T12" fmla="*/ 0 w 346"/>
                <a:gd name="T13" fmla="*/ 0 h 215"/>
                <a:gd name="T14" fmla="*/ 0 w 346"/>
                <a:gd name="T15" fmla="*/ 0 h 215"/>
                <a:gd name="T16" fmla="*/ 0 w 346"/>
                <a:gd name="T17" fmla="*/ 0 h 215"/>
                <a:gd name="T18" fmla="*/ 0 w 346"/>
                <a:gd name="T19" fmla="*/ 0 h 215"/>
                <a:gd name="T20" fmla="*/ 0 w 346"/>
                <a:gd name="T21" fmla="*/ 0 h 215"/>
                <a:gd name="T22" fmla="*/ 0 w 346"/>
                <a:gd name="T23" fmla="*/ 0 h 215"/>
                <a:gd name="T24" fmla="*/ 0 w 346"/>
                <a:gd name="T25" fmla="*/ 0 h 215"/>
                <a:gd name="T26" fmla="*/ 0 w 346"/>
                <a:gd name="T27" fmla="*/ 0 h 215"/>
                <a:gd name="T28" fmla="*/ 0 w 346"/>
                <a:gd name="T29" fmla="*/ 0 h 215"/>
                <a:gd name="T30" fmla="*/ 0 w 346"/>
                <a:gd name="T31" fmla="*/ 0 h 215"/>
                <a:gd name="T32" fmla="*/ 0 w 346"/>
                <a:gd name="T33" fmla="*/ 0 h 215"/>
                <a:gd name="T34" fmla="*/ 0 w 346"/>
                <a:gd name="T35" fmla="*/ 0 h 215"/>
                <a:gd name="T36" fmla="*/ 0 w 346"/>
                <a:gd name="T37" fmla="*/ 0 h 215"/>
                <a:gd name="T38" fmla="*/ 0 w 346"/>
                <a:gd name="T39" fmla="*/ 0 h 215"/>
                <a:gd name="T40" fmla="*/ 0 w 346"/>
                <a:gd name="T41" fmla="*/ 0 h 215"/>
                <a:gd name="T42" fmla="*/ 0 w 346"/>
                <a:gd name="T43" fmla="*/ 0 h 215"/>
                <a:gd name="T44" fmla="*/ 0 w 346"/>
                <a:gd name="T45" fmla="*/ 0 h 215"/>
                <a:gd name="T46" fmla="*/ 0 w 346"/>
                <a:gd name="T47" fmla="*/ 0 h 215"/>
                <a:gd name="T48" fmla="*/ 0 w 346"/>
                <a:gd name="T49" fmla="*/ 0 h 215"/>
                <a:gd name="T50" fmla="*/ 0 w 346"/>
                <a:gd name="T51" fmla="*/ 0 h 215"/>
                <a:gd name="T52" fmla="*/ 2147483647 w 346"/>
                <a:gd name="T53" fmla="*/ 0 h 215"/>
                <a:gd name="T54" fmla="*/ 2147483647 w 346"/>
                <a:gd name="T55" fmla="*/ 0 h 215"/>
                <a:gd name="T56" fmla="*/ 2147483647 w 346"/>
                <a:gd name="T57" fmla="*/ 0 h 215"/>
                <a:gd name="T58" fmla="*/ 2147483647 w 346"/>
                <a:gd name="T59" fmla="*/ 0 h 215"/>
                <a:gd name="T60" fmla="*/ 2147483647 w 346"/>
                <a:gd name="T61" fmla="*/ 0 h 215"/>
                <a:gd name="T62" fmla="*/ 0 w 346"/>
                <a:gd name="T63" fmla="*/ 0 h 215"/>
                <a:gd name="T64" fmla="*/ 0 w 346"/>
                <a:gd name="T65" fmla="*/ 0 h 215"/>
                <a:gd name="T66" fmla="*/ 0 w 346"/>
                <a:gd name="T67" fmla="*/ 0 h 215"/>
                <a:gd name="T68" fmla="*/ 0 w 346"/>
                <a:gd name="T69" fmla="*/ 0 h 215"/>
                <a:gd name="T70" fmla="*/ 0 w 346"/>
                <a:gd name="T71" fmla="*/ 0 h 215"/>
                <a:gd name="T72" fmla="*/ 0 w 346"/>
                <a:gd name="T73" fmla="*/ 0 h 215"/>
                <a:gd name="T74" fmla="*/ 0 w 346"/>
                <a:gd name="T75" fmla="*/ 0 h 215"/>
                <a:gd name="T76" fmla="*/ 0 w 346"/>
                <a:gd name="T77" fmla="*/ 0 h 215"/>
                <a:gd name="T78" fmla="*/ 0 w 346"/>
                <a:gd name="T79" fmla="*/ 0 h 215"/>
                <a:gd name="T80" fmla="*/ 0 w 346"/>
                <a:gd name="T81" fmla="*/ 0 h 215"/>
                <a:gd name="T82" fmla="*/ 0 w 346"/>
                <a:gd name="T83" fmla="*/ 0 h 215"/>
                <a:gd name="T84" fmla="*/ 0 w 346"/>
                <a:gd name="T85" fmla="*/ 0 h 215"/>
                <a:gd name="T86" fmla="*/ 0 w 346"/>
                <a:gd name="T87" fmla="*/ 0 h 215"/>
                <a:gd name="T88" fmla="*/ 0 w 346"/>
                <a:gd name="T89" fmla="*/ 0 h 215"/>
                <a:gd name="T90" fmla="*/ 0 w 346"/>
                <a:gd name="T91" fmla="*/ 0 h 215"/>
                <a:gd name="T92" fmla="*/ 0 w 346"/>
                <a:gd name="T93" fmla="*/ 0 h 215"/>
                <a:gd name="T94" fmla="*/ 0 w 346"/>
                <a:gd name="T95" fmla="*/ 0 h 215"/>
                <a:gd name="T96" fmla="*/ 0 w 346"/>
                <a:gd name="T97" fmla="*/ 0 h 215"/>
                <a:gd name="T98" fmla="*/ 0 w 346"/>
                <a:gd name="T99" fmla="*/ 0 h 215"/>
                <a:gd name="T100" fmla="*/ 0 w 346"/>
                <a:gd name="T101" fmla="*/ 0 h 215"/>
                <a:gd name="T102" fmla="*/ 0 w 346"/>
                <a:gd name="T103" fmla="*/ 0 h 215"/>
                <a:gd name="T104" fmla="*/ 0 w 346"/>
                <a:gd name="T105" fmla="*/ 0 h 215"/>
                <a:gd name="T106" fmla="*/ 0 w 346"/>
                <a:gd name="T107" fmla="*/ 0 h 215"/>
                <a:gd name="T108" fmla="*/ 0 w 346"/>
                <a:gd name="T109" fmla="*/ 0 h 215"/>
                <a:gd name="T110" fmla="*/ 0 w 346"/>
                <a:gd name="T111" fmla="*/ 0 h 215"/>
                <a:gd name="T112" fmla="*/ 0 w 346"/>
                <a:gd name="T113" fmla="*/ 0 h 215"/>
                <a:gd name="T114" fmla="*/ 0 w 346"/>
                <a:gd name="T115" fmla="*/ 0 h 215"/>
                <a:gd name="T116" fmla="*/ 0 w 346"/>
                <a:gd name="T117" fmla="*/ 0 h 215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46"/>
                <a:gd name="T178" fmla="*/ 0 h 215"/>
                <a:gd name="T179" fmla="*/ 346 w 346"/>
                <a:gd name="T180" fmla="*/ 215 h 215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46" h="215">
                  <a:moveTo>
                    <a:pt x="32" y="208"/>
                  </a:moveTo>
                  <a:lnTo>
                    <a:pt x="31" y="192"/>
                  </a:lnTo>
                  <a:lnTo>
                    <a:pt x="26" y="163"/>
                  </a:lnTo>
                  <a:lnTo>
                    <a:pt x="3" y="143"/>
                  </a:lnTo>
                  <a:lnTo>
                    <a:pt x="3" y="118"/>
                  </a:lnTo>
                  <a:lnTo>
                    <a:pt x="15" y="94"/>
                  </a:lnTo>
                  <a:lnTo>
                    <a:pt x="26" y="82"/>
                  </a:lnTo>
                  <a:lnTo>
                    <a:pt x="11" y="66"/>
                  </a:lnTo>
                  <a:lnTo>
                    <a:pt x="3" y="51"/>
                  </a:lnTo>
                  <a:lnTo>
                    <a:pt x="0" y="29"/>
                  </a:lnTo>
                  <a:lnTo>
                    <a:pt x="3" y="8"/>
                  </a:lnTo>
                  <a:lnTo>
                    <a:pt x="20" y="0"/>
                  </a:lnTo>
                  <a:lnTo>
                    <a:pt x="32" y="4"/>
                  </a:lnTo>
                  <a:lnTo>
                    <a:pt x="26" y="19"/>
                  </a:lnTo>
                  <a:lnTo>
                    <a:pt x="37" y="27"/>
                  </a:lnTo>
                  <a:lnTo>
                    <a:pt x="51" y="27"/>
                  </a:lnTo>
                  <a:lnTo>
                    <a:pt x="85" y="31"/>
                  </a:lnTo>
                  <a:lnTo>
                    <a:pt x="126" y="32"/>
                  </a:lnTo>
                  <a:lnTo>
                    <a:pt x="170" y="40"/>
                  </a:lnTo>
                  <a:lnTo>
                    <a:pt x="187" y="35"/>
                  </a:lnTo>
                  <a:lnTo>
                    <a:pt x="206" y="23"/>
                  </a:lnTo>
                  <a:lnTo>
                    <a:pt x="226" y="13"/>
                  </a:lnTo>
                  <a:lnTo>
                    <a:pt x="252" y="4"/>
                  </a:lnTo>
                  <a:lnTo>
                    <a:pt x="272" y="5"/>
                  </a:lnTo>
                  <a:lnTo>
                    <a:pt x="278" y="10"/>
                  </a:lnTo>
                  <a:lnTo>
                    <a:pt x="308" y="19"/>
                  </a:lnTo>
                  <a:lnTo>
                    <a:pt x="328" y="32"/>
                  </a:lnTo>
                  <a:lnTo>
                    <a:pt x="346" y="31"/>
                  </a:lnTo>
                  <a:lnTo>
                    <a:pt x="343" y="47"/>
                  </a:lnTo>
                  <a:lnTo>
                    <a:pt x="338" y="58"/>
                  </a:lnTo>
                  <a:lnTo>
                    <a:pt x="319" y="63"/>
                  </a:lnTo>
                  <a:lnTo>
                    <a:pt x="306" y="78"/>
                  </a:lnTo>
                  <a:lnTo>
                    <a:pt x="306" y="107"/>
                  </a:lnTo>
                  <a:lnTo>
                    <a:pt x="298" y="110"/>
                  </a:lnTo>
                  <a:lnTo>
                    <a:pt x="295" y="116"/>
                  </a:lnTo>
                  <a:lnTo>
                    <a:pt x="284" y="126"/>
                  </a:lnTo>
                  <a:lnTo>
                    <a:pt x="287" y="129"/>
                  </a:lnTo>
                  <a:lnTo>
                    <a:pt x="292" y="131"/>
                  </a:lnTo>
                  <a:lnTo>
                    <a:pt x="296" y="138"/>
                  </a:lnTo>
                  <a:lnTo>
                    <a:pt x="299" y="148"/>
                  </a:lnTo>
                  <a:lnTo>
                    <a:pt x="310" y="163"/>
                  </a:lnTo>
                  <a:lnTo>
                    <a:pt x="311" y="169"/>
                  </a:lnTo>
                  <a:lnTo>
                    <a:pt x="303" y="167"/>
                  </a:lnTo>
                  <a:lnTo>
                    <a:pt x="280" y="171"/>
                  </a:lnTo>
                  <a:lnTo>
                    <a:pt x="262" y="161"/>
                  </a:lnTo>
                  <a:lnTo>
                    <a:pt x="242" y="169"/>
                  </a:lnTo>
                  <a:lnTo>
                    <a:pt x="228" y="171"/>
                  </a:lnTo>
                  <a:lnTo>
                    <a:pt x="219" y="179"/>
                  </a:lnTo>
                  <a:lnTo>
                    <a:pt x="208" y="180"/>
                  </a:lnTo>
                  <a:lnTo>
                    <a:pt x="206" y="199"/>
                  </a:lnTo>
                  <a:lnTo>
                    <a:pt x="192" y="212"/>
                  </a:lnTo>
                  <a:lnTo>
                    <a:pt x="172" y="215"/>
                  </a:lnTo>
                  <a:lnTo>
                    <a:pt x="137" y="203"/>
                  </a:lnTo>
                  <a:lnTo>
                    <a:pt x="127" y="195"/>
                  </a:lnTo>
                  <a:lnTo>
                    <a:pt x="115" y="195"/>
                  </a:lnTo>
                  <a:lnTo>
                    <a:pt x="84" y="204"/>
                  </a:lnTo>
                  <a:lnTo>
                    <a:pt x="62" y="204"/>
                  </a:lnTo>
                  <a:lnTo>
                    <a:pt x="45" y="208"/>
                  </a:lnTo>
                  <a:lnTo>
                    <a:pt x="32" y="20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92" name="Freeform 204">
              <a:extLst>
                <a:ext uri="{FF2B5EF4-FFF2-40B4-BE49-F238E27FC236}">
                  <a16:creationId xmlns:a16="http://schemas.microsoft.com/office/drawing/2014/main" id="{92620554-D96B-BA14-5A01-B124F62673E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165658" y="2705510"/>
              <a:ext cx="171620" cy="156995"/>
            </a:xfrm>
            <a:custGeom>
              <a:avLst/>
              <a:gdLst>
                <a:gd name="T0" fmla="*/ 0 w 322"/>
                <a:gd name="T1" fmla="*/ 0 h 276"/>
                <a:gd name="T2" fmla="*/ 0 w 322"/>
                <a:gd name="T3" fmla="*/ 0 h 276"/>
                <a:gd name="T4" fmla="*/ 0 w 322"/>
                <a:gd name="T5" fmla="*/ 0 h 276"/>
                <a:gd name="T6" fmla="*/ 0 w 322"/>
                <a:gd name="T7" fmla="*/ 0 h 276"/>
                <a:gd name="T8" fmla="*/ 0 w 322"/>
                <a:gd name="T9" fmla="*/ 0 h 276"/>
                <a:gd name="T10" fmla="*/ 0 w 322"/>
                <a:gd name="T11" fmla="*/ 0 h 276"/>
                <a:gd name="T12" fmla="*/ 0 w 322"/>
                <a:gd name="T13" fmla="*/ 0 h 276"/>
                <a:gd name="T14" fmla="*/ 0 w 322"/>
                <a:gd name="T15" fmla="*/ 0 h 276"/>
                <a:gd name="T16" fmla="*/ 0 w 322"/>
                <a:gd name="T17" fmla="*/ 0 h 276"/>
                <a:gd name="T18" fmla="*/ 0 w 322"/>
                <a:gd name="T19" fmla="*/ 0 h 276"/>
                <a:gd name="T20" fmla="*/ 0 w 322"/>
                <a:gd name="T21" fmla="*/ 0 h 276"/>
                <a:gd name="T22" fmla="*/ 0 w 322"/>
                <a:gd name="T23" fmla="*/ 0 h 276"/>
                <a:gd name="T24" fmla="*/ 0 w 322"/>
                <a:gd name="T25" fmla="*/ 0 h 276"/>
                <a:gd name="T26" fmla="*/ 0 w 322"/>
                <a:gd name="T27" fmla="*/ 0 h 276"/>
                <a:gd name="T28" fmla="*/ 0 w 322"/>
                <a:gd name="T29" fmla="*/ 0 h 276"/>
                <a:gd name="T30" fmla="*/ 0 w 322"/>
                <a:gd name="T31" fmla="*/ 0 h 276"/>
                <a:gd name="T32" fmla="*/ 0 w 322"/>
                <a:gd name="T33" fmla="*/ 0 h 276"/>
                <a:gd name="T34" fmla="*/ 0 w 322"/>
                <a:gd name="T35" fmla="*/ 0 h 276"/>
                <a:gd name="T36" fmla="*/ 0 w 322"/>
                <a:gd name="T37" fmla="*/ 0 h 276"/>
                <a:gd name="T38" fmla="*/ 0 w 322"/>
                <a:gd name="T39" fmla="*/ 0 h 276"/>
                <a:gd name="T40" fmla="*/ 0 w 322"/>
                <a:gd name="T41" fmla="*/ 0 h 276"/>
                <a:gd name="T42" fmla="*/ 0 w 322"/>
                <a:gd name="T43" fmla="*/ 0 h 276"/>
                <a:gd name="T44" fmla="*/ 0 w 322"/>
                <a:gd name="T45" fmla="*/ 0 h 276"/>
                <a:gd name="T46" fmla="*/ 0 w 322"/>
                <a:gd name="T47" fmla="*/ 0 h 276"/>
                <a:gd name="T48" fmla="*/ 0 w 322"/>
                <a:gd name="T49" fmla="*/ 0 h 276"/>
                <a:gd name="T50" fmla="*/ 0 w 322"/>
                <a:gd name="T51" fmla="*/ 0 h 276"/>
                <a:gd name="T52" fmla="*/ 0 w 322"/>
                <a:gd name="T53" fmla="*/ 0 h 276"/>
                <a:gd name="T54" fmla="*/ 0 w 322"/>
                <a:gd name="T55" fmla="*/ 0 h 276"/>
                <a:gd name="T56" fmla="*/ 0 w 322"/>
                <a:gd name="T57" fmla="*/ 0 h 276"/>
                <a:gd name="T58" fmla="*/ 0 w 322"/>
                <a:gd name="T59" fmla="*/ 0 h 276"/>
                <a:gd name="T60" fmla="*/ 0 w 322"/>
                <a:gd name="T61" fmla="*/ 0 h 276"/>
                <a:gd name="T62" fmla="*/ 0 w 322"/>
                <a:gd name="T63" fmla="*/ 0 h 276"/>
                <a:gd name="T64" fmla="*/ 0 w 322"/>
                <a:gd name="T65" fmla="*/ 0 h 276"/>
                <a:gd name="T66" fmla="*/ 0 w 322"/>
                <a:gd name="T67" fmla="*/ 0 h 276"/>
                <a:gd name="T68" fmla="*/ 0 w 322"/>
                <a:gd name="T69" fmla="*/ 0 h 276"/>
                <a:gd name="T70" fmla="*/ 0 w 322"/>
                <a:gd name="T71" fmla="*/ 0 h 276"/>
                <a:gd name="T72" fmla="*/ 0 w 322"/>
                <a:gd name="T73" fmla="*/ 0 h 276"/>
                <a:gd name="T74" fmla="*/ 0 w 322"/>
                <a:gd name="T75" fmla="*/ 0 h 276"/>
                <a:gd name="T76" fmla="*/ 0 w 322"/>
                <a:gd name="T77" fmla="*/ 0 h 276"/>
                <a:gd name="T78" fmla="*/ 0 w 322"/>
                <a:gd name="T79" fmla="*/ 0 h 276"/>
                <a:gd name="T80" fmla="*/ 0 w 322"/>
                <a:gd name="T81" fmla="*/ 0 h 276"/>
                <a:gd name="T82" fmla="*/ 0 w 322"/>
                <a:gd name="T83" fmla="*/ 0 h 276"/>
                <a:gd name="T84" fmla="*/ 0 w 322"/>
                <a:gd name="T85" fmla="*/ 0 h 276"/>
                <a:gd name="T86" fmla="*/ 0 w 322"/>
                <a:gd name="T87" fmla="*/ 0 h 276"/>
                <a:gd name="T88" fmla="*/ 0 w 322"/>
                <a:gd name="T89" fmla="*/ 0 h 276"/>
                <a:gd name="T90" fmla="*/ 0 w 322"/>
                <a:gd name="T91" fmla="*/ 0 h 276"/>
                <a:gd name="T92" fmla="*/ 0 w 322"/>
                <a:gd name="T93" fmla="*/ 0 h 276"/>
                <a:gd name="T94" fmla="*/ 2147483647 w 322"/>
                <a:gd name="T95" fmla="*/ 0 h 276"/>
                <a:gd name="T96" fmla="*/ 2147483647 w 322"/>
                <a:gd name="T97" fmla="*/ 0 h 276"/>
                <a:gd name="T98" fmla="*/ 0 w 322"/>
                <a:gd name="T99" fmla="*/ 0 h 276"/>
                <a:gd name="T100" fmla="*/ 0 w 322"/>
                <a:gd name="T101" fmla="*/ 0 h 276"/>
                <a:gd name="T102" fmla="*/ 0 w 322"/>
                <a:gd name="T103" fmla="*/ 0 h 276"/>
                <a:gd name="T104" fmla="*/ 0 w 322"/>
                <a:gd name="T105" fmla="*/ 0 h 276"/>
                <a:gd name="T106" fmla="*/ 0 w 322"/>
                <a:gd name="T107" fmla="*/ 0 h 276"/>
                <a:gd name="T108" fmla="*/ 0 w 322"/>
                <a:gd name="T109" fmla="*/ 0 h 276"/>
                <a:gd name="T110" fmla="*/ 0 w 322"/>
                <a:gd name="T111" fmla="*/ 0 h 276"/>
                <a:gd name="T112" fmla="*/ 0 w 322"/>
                <a:gd name="T113" fmla="*/ 0 h 27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22"/>
                <a:gd name="T172" fmla="*/ 0 h 276"/>
                <a:gd name="T173" fmla="*/ 322 w 322"/>
                <a:gd name="T174" fmla="*/ 276 h 27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22" h="276">
                  <a:moveTo>
                    <a:pt x="284" y="50"/>
                  </a:moveTo>
                  <a:lnTo>
                    <a:pt x="272" y="58"/>
                  </a:lnTo>
                  <a:lnTo>
                    <a:pt x="258" y="62"/>
                  </a:lnTo>
                  <a:lnTo>
                    <a:pt x="241" y="63"/>
                  </a:lnTo>
                  <a:lnTo>
                    <a:pt x="226" y="54"/>
                  </a:lnTo>
                  <a:lnTo>
                    <a:pt x="215" y="50"/>
                  </a:lnTo>
                  <a:lnTo>
                    <a:pt x="204" y="35"/>
                  </a:lnTo>
                  <a:lnTo>
                    <a:pt x="189" y="28"/>
                  </a:lnTo>
                  <a:lnTo>
                    <a:pt x="180" y="12"/>
                  </a:lnTo>
                  <a:lnTo>
                    <a:pt x="167" y="7"/>
                  </a:lnTo>
                  <a:lnTo>
                    <a:pt x="167" y="4"/>
                  </a:lnTo>
                  <a:lnTo>
                    <a:pt x="164" y="7"/>
                  </a:lnTo>
                  <a:lnTo>
                    <a:pt x="155" y="1"/>
                  </a:lnTo>
                  <a:lnTo>
                    <a:pt x="151" y="0"/>
                  </a:lnTo>
                  <a:lnTo>
                    <a:pt x="148" y="3"/>
                  </a:lnTo>
                  <a:lnTo>
                    <a:pt x="148" y="8"/>
                  </a:lnTo>
                  <a:lnTo>
                    <a:pt x="149" y="14"/>
                  </a:lnTo>
                  <a:lnTo>
                    <a:pt x="149" y="15"/>
                  </a:lnTo>
                  <a:lnTo>
                    <a:pt x="145" y="14"/>
                  </a:lnTo>
                  <a:lnTo>
                    <a:pt x="138" y="14"/>
                  </a:lnTo>
                  <a:lnTo>
                    <a:pt x="138" y="19"/>
                  </a:lnTo>
                  <a:lnTo>
                    <a:pt x="134" y="22"/>
                  </a:lnTo>
                  <a:lnTo>
                    <a:pt x="114" y="29"/>
                  </a:lnTo>
                  <a:lnTo>
                    <a:pt x="111" y="34"/>
                  </a:lnTo>
                  <a:lnTo>
                    <a:pt x="112" y="38"/>
                  </a:lnTo>
                  <a:lnTo>
                    <a:pt x="118" y="45"/>
                  </a:lnTo>
                  <a:lnTo>
                    <a:pt x="118" y="56"/>
                  </a:lnTo>
                  <a:lnTo>
                    <a:pt x="113" y="63"/>
                  </a:lnTo>
                  <a:lnTo>
                    <a:pt x="105" y="65"/>
                  </a:lnTo>
                  <a:lnTo>
                    <a:pt x="94" y="73"/>
                  </a:lnTo>
                  <a:lnTo>
                    <a:pt x="97" y="78"/>
                  </a:lnTo>
                  <a:lnTo>
                    <a:pt x="94" y="83"/>
                  </a:lnTo>
                  <a:lnTo>
                    <a:pt x="95" y="95"/>
                  </a:lnTo>
                  <a:lnTo>
                    <a:pt x="90" y="99"/>
                  </a:lnTo>
                  <a:lnTo>
                    <a:pt x="86" y="99"/>
                  </a:lnTo>
                  <a:lnTo>
                    <a:pt x="81" y="93"/>
                  </a:lnTo>
                  <a:lnTo>
                    <a:pt x="78" y="93"/>
                  </a:lnTo>
                  <a:lnTo>
                    <a:pt x="75" y="90"/>
                  </a:lnTo>
                  <a:lnTo>
                    <a:pt x="73" y="90"/>
                  </a:lnTo>
                  <a:lnTo>
                    <a:pt x="73" y="94"/>
                  </a:lnTo>
                  <a:lnTo>
                    <a:pt x="68" y="95"/>
                  </a:lnTo>
                  <a:lnTo>
                    <a:pt x="57" y="76"/>
                  </a:lnTo>
                  <a:lnTo>
                    <a:pt x="54" y="76"/>
                  </a:lnTo>
                  <a:lnTo>
                    <a:pt x="47" y="92"/>
                  </a:lnTo>
                  <a:lnTo>
                    <a:pt x="30" y="92"/>
                  </a:lnTo>
                  <a:lnTo>
                    <a:pt x="24" y="87"/>
                  </a:lnTo>
                  <a:lnTo>
                    <a:pt x="21" y="92"/>
                  </a:lnTo>
                  <a:lnTo>
                    <a:pt x="8" y="93"/>
                  </a:lnTo>
                  <a:lnTo>
                    <a:pt x="0" y="87"/>
                  </a:lnTo>
                  <a:lnTo>
                    <a:pt x="4" y="108"/>
                  </a:lnTo>
                  <a:lnTo>
                    <a:pt x="16" y="135"/>
                  </a:lnTo>
                  <a:lnTo>
                    <a:pt x="21" y="138"/>
                  </a:lnTo>
                  <a:lnTo>
                    <a:pt x="27" y="137"/>
                  </a:lnTo>
                  <a:lnTo>
                    <a:pt x="38" y="116"/>
                  </a:lnTo>
                  <a:lnTo>
                    <a:pt x="44" y="99"/>
                  </a:lnTo>
                  <a:lnTo>
                    <a:pt x="57" y="103"/>
                  </a:lnTo>
                  <a:lnTo>
                    <a:pt x="65" y="113"/>
                  </a:lnTo>
                  <a:lnTo>
                    <a:pt x="68" y="113"/>
                  </a:lnTo>
                  <a:lnTo>
                    <a:pt x="73" y="119"/>
                  </a:lnTo>
                  <a:lnTo>
                    <a:pt x="75" y="128"/>
                  </a:lnTo>
                  <a:lnTo>
                    <a:pt x="75" y="143"/>
                  </a:lnTo>
                  <a:lnTo>
                    <a:pt x="84" y="159"/>
                  </a:lnTo>
                  <a:lnTo>
                    <a:pt x="103" y="175"/>
                  </a:lnTo>
                  <a:lnTo>
                    <a:pt x="94" y="178"/>
                  </a:lnTo>
                  <a:lnTo>
                    <a:pt x="90" y="183"/>
                  </a:lnTo>
                  <a:lnTo>
                    <a:pt x="91" y="187"/>
                  </a:lnTo>
                  <a:lnTo>
                    <a:pt x="102" y="202"/>
                  </a:lnTo>
                  <a:lnTo>
                    <a:pt x="112" y="210"/>
                  </a:lnTo>
                  <a:lnTo>
                    <a:pt x="119" y="216"/>
                  </a:lnTo>
                  <a:lnTo>
                    <a:pt x="129" y="221"/>
                  </a:lnTo>
                  <a:lnTo>
                    <a:pt x="134" y="230"/>
                  </a:lnTo>
                  <a:lnTo>
                    <a:pt x="135" y="238"/>
                  </a:lnTo>
                  <a:lnTo>
                    <a:pt x="154" y="237"/>
                  </a:lnTo>
                  <a:lnTo>
                    <a:pt x="166" y="238"/>
                  </a:lnTo>
                  <a:lnTo>
                    <a:pt x="183" y="245"/>
                  </a:lnTo>
                  <a:lnTo>
                    <a:pt x="198" y="256"/>
                  </a:lnTo>
                  <a:lnTo>
                    <a:pt x="211" y="270"/>
                  </a:lnTo>
                  <a:lnTo>
                    <a:pt x="219" y="276"/>
                  </a:lnTo>
                  <a:lnTo>
                    <a:pt x="226" y="272"/>
                  </a:lnTo>
                  <a:lnTo>
                    <a:pt x="204" y="248"/>
                  </a:lnTo>
                  <a:lnTo>
                    <a:pt x="203" y="237"/>
                  </a:lnTo>
                  <a:lnTo>
                    <a:pt x="198" y="233"/>
                  </a:lnTo>
                  <a:lnTo>
                    <a:pt x="193" y="230"/>
                  </a:lnTo>
                  <a:lnTo>
                    <a:pt x="173" y="211"/>
                  </a:lnTo>
                  <a:lnTo>
                    <a:pt x="172" y="206"/>
                  </a:lnTo>
                  <a:lnTo>
                    <a:pt x="162" y="192"/>
                  </a:lnTo>
                  <a:lnTo>
                    <a:pt x="156" y="190"/>
                  </a:lnTo>
                  <a:lnTo>
                    <a:pt x="148" y="178"/>
                  </a:lnTo>
                  <a:lnTo>
                    <a:pt x="143" y="176"/>
                  </a:lnTo>
                  <a:lnTo>
                    <a:pt x="144" y="170"/>
                  </a:lnTo>
                  <a:lnTo>
                    <a:pt x="146" y="168"/>
                  </a:lnTo>
                  <a:lnTo>
                    <a:pt x="143" y="162"/>
                  </a:lnTo>
                  <a:lnTo>
                    <a:pt x="143" y="157"/>
                  </a:lnTo>
                  <a:lnTo>
                    <a:pt x="137" y="151"/>
                  </a:lnTo>
                  <a:lnTo>
                    <a:pt x="133" y="138"/>
                  </a:lnTo>
                  <a:lnTo>
                    <a:pt x="128" y="137"/>
                  </a:lnTo>
                  <a:lnTo>
                    <a:pt x="121" y="131"/>
                  </a:lnTo>
                  <a:lnTo>
                    <a:pt x="121" y="128"/>
                  </a:lnTo>
                  <a:lnTo>
                    <a:pt x="124" y="126"/>
                  </a:lnTo>
                  <a:lnTo>
                    <a:pt x="123" y="122"/>
                  </a:lnTo>
                  <a:lnTo>
                    <a:pt x="123" y="103"/>
                  </a:lnTo>
                  <a:lnTo>
                    <a:pt x="129" y="97"/>
                  </a:lnTo>
                  <a:lnTo>
                    <a:pt x="138" y="99"/>
                  </a:lnTo>
                  <a:lnTo>
                    <a:pt x="138" y="101"/>
                  </a:lnTo>
                  <a:lnTo>
                    <a:pt x="151" y="116"/>
                  </a:lnTo>
                  <a:lnTo>
                    <a:pt x="155" y="116"/>
                  </a:lnTo>
                  <a:lnTo>
                    <a:pt x="164" y="99"/>
                  </a:lnTo>
                  <a:lnTo>
                    <a:pt x="182" y="101"/>
                  </a:lnTo>
                  <a:lnTo>
                    <a:pt x="186" y="97"/>
                  </a:lnTo>
                  <a:lnTo>
                    <a:pt x="188" y="97"/>
                  </a:lnTo>
                  <a:lnTo>
                    <a:pt x="200" y="105"/>
                  </a:lnTo>
                  <a:lnTo>
                    <a:pt x="204" y="105"/>
                  </a:lnTo>
                  <a:lnTo>
                    <a:pt x="207" y="103"/>
                  </a:lnTo>
                  <a:lnTo>
                    <a:pt x="210" y="106"/>
                  </a:lnTo>
                  <a:lnTo>
                    <a:pt x="225" y="109"/>
                  </a:lnTo>
                  <a:lnTo>
                    <a:pt x="226" y="106"/>
                  </a:lnTo>
                  <a:lnTo>
                    <a:pt x="229" y="106"/>
                  </a:lnTo>
                  <a:lnTo>
                    <a:pt x="237" y="114"/>
                  </a:lnTo>
                  <a:lnTo>
                    <a:pt x="240" y="114"/>
                  </a:lnTo>
                  <a:lnTo>
                    <a:pt x="246" y="106"/>
                  </a:lnTo>
                  <a:lnTo>
                    <a:pt x="250" y="106"/>
                  </a:lnTo>
                  <a:lnTo>
                    <a:pt x="253" y="111"/>
                  </a:lnTo>
                  <a:lnTo>
                    <a:pt x="256" y="113"/>
                  </a:lnTo>
                  <a:lnTo>
                    <a:pt x="258" y="108"/>
                  </a:lnTo>
                  <a:lnTo>
                    <a:pt x="269" y="109"/>
                  </a:lnTo>
                  <a:lnTo>
                    <a:pt x="273" y="115"/>
                  </a:lnTo>
                  <a:lnTo>
                    <a:pt x="275" y="114"/>
                  </a:lnTo>
                  <a:lnTo>
                    <a:pt x="275" y="111"/>
                  </a:lnTo>
                  <a:lnTo>
                    <a:pt x="283" y="111"/>
                  </a:lnTo>
                  <a:lnTo>
                    <a:pt x="289" y="119"/>
                  </a:lnTo>
                  <a:lnTo>
                    <a:pt x="288" y="124"/>
                  </a:lnTo>
                  <a:lnTo>
                    <a:pt x="288" y="125"/>
                  </a:lnTo>
                  <a:lnTo>
                    <a:pt x="294" y="130"/>
                  </a:lnTo>
                  <a:lnTo>
                    <a:pt x="301" y="130"/>
                  </a:lnTo>
                  <a:lnTo>
                    <a:pt x="307" y="125"/>
                  </a:lnTo>
                  <a:lnTo>
                    <a:pt x="309" y="120"/>
                  </a:lnTo>
                  <a:lnTo>
                    <a:pt x="307" y="119"/>
                  </a:lnTo>
                  <a:lnTo>
                    <a:pt x="305" y="109"/>
                  </a:lnTo>
                  <a:lnTo>
                    <a:pt x="307" y="106"/>
                  </a:lnTo>
                  <a:lnTo>
                    <a:pt x="309" y="101"/>
                  </a:lnTo>
                  <a:lnTo>
                    <a:pt x="311" y="100"/>
                  </a:lnTo>
                  <a:lnTo>
                    <a:pt x="315" y="101"/>
                  </a:lnTo>
                  <a:lnTo>
                    <a:pt x="318" y="103"/>
                  </a:lnTo>
                  <a:lnTo>
                    <a:pt x="322" y="100"/>
                  </a:lnTo>
                  <a:lnTo>
                    <a:pt x="322" y="98"/>
                  </a:lnTo>
                  <a:lnTo>
                    <a:pt x="320" y="97"/>
                  </a:lnTo>
                  <a:lnTo>
                    <a:pt x="316" y="98"/>
                  </a:lnTo>
                  <a:lnTo>
                    <a:pt x="312" y="95"/>
                  </a:lnTo>
                  <a:lnTo>
                    <a:pt x="307" y="95"/>
                  </a:lnTo>
                  <a:lnTo>
                    <a:pt x="304" y="93"/>
                  </a:lnTo>
                  <a:lnTo>
                    <a:pt x="302" y="92"/>
                  </a:lnTo>
                  <a:lnTo>
                    <a:pt x="299" y="92"/>
                  </a:lnTo>
                  <a:lnTo>
                    <a:pt x="297" y="89"/>
                  </a:lnTo>
                  <a:lnTo>
                    <a:pt x="297" y="88"/>
                  </a:lnTo>
                  <a:lnTo>
                    <a:pt x="299" y="84"/>
                  </a:lnTo>
                  <a:lnTo>
                    <a:pt x="297" y="83"/>
                  </a:lnTo>
                  <a:lnTo>
                    <a:pt x="299" y="81"/>
                  </a:lnTo>
                  <a:lnTo>
                    <a:pt x="300" y="81"/>
                  </a:lnTo>
                  <a:lnTo>
                    <a:pt x="302" y="79"/>
                  </a:lnTo>
                  <a:lnTo>
                    <a:pt x="302" y="77"/>
                  </a:lnTo>
                  <a:lnTo>
                    <a:pt x="299" y="74"/>
                  </a:lnTo>
                  <a:lnTo>
                    <a:pt x="297" y="74"/>
                  </a:lnTo>
                  <a:lnTo>
                    <a:pt x="295" y="77"/>
                  </a:lnTo>
                  <a:lnTo>
                    <a:pt x="291" y="76"/>
                  </a:lnTo>
                  <a:lnTo>
                    <a:pt x="291" y="73"/>
                  </a:lnTo>
                  <a:lnTo>
                    <a:pt x="294" y="70"/>
                  </a:lnTo>
                  <a:lnTo>
                    <a:pt x="294" y="66"/>
                  </a:lnTo>
                  <a:lnTo>
                    <a:pt x="291" y="63"/>
                  </a:lnTo>
                  <a:lnTo>
                    <a:pt x="293" y="61"/>
                  </a:lnTo>
                  <a:lnTo>
                    <a:pt x="293" y="57"/>
                  </a:lnTo>
                  <a:lnTo>
                    <a:pt x="284" y="5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93" name="Freeform 205">
              <a:extLst>
                <a:ext uri="{FF2B5EF4-FFF2-40B4-BE49-F238E27FC236}">
                  <a16:creationId xmlns:a16="http://schemas.microsoft.com/office/drawing/2014/main" id="{46ADF0E5-48EF-7657-EC42-932C2EEA8B4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34293" y="2876222"/>
              <a:ext cx="53724" cy="121938"/>
            </a:xfrm>
            <a:custGeom>
              <a:avLst/>
              <a:gdLst>
                <a:gd name="T0" fmla="*/ 0 w 97"/>
                <a:gd name="T1" fmla="*/ 0 h 215"/>
                <a:gd name="T2" fmla="*/ 0 w 97"/>
                <a:gd name="T3" fmla="*/ 0 h 215"/>
                <a:gd name="T4" fmla="*/ 0 w 97"/>
                <a:gd name="T5" fmla="*/ 0 h 215"/>
                <a:gd name="T6" fmla="*/ 0 w 97"/>
                <a:gd name="T7" fmla="*/ 0 h 215"/>
                <a:gd name="T8" fmla="*/ 0 w 97"/>
                <a:gd name="T9" fmla="*/ 0 h 215"/>
                <a:gd name="T10" fmla="*/ 0 w 97"/>
                <a:gd name="T11" fmla="*/ 0 h 215"/>
                <a:gd name="T12" fmla="*/ 0 w 97"/>
                <a:gd name="T13" fmla="*/ 0 h 215"/>
                <a:gd name="T14" fmla="*/ 0 w 97"/>
                <a:gd name="T15" fmla="*/ 0 h 215"/>
                <a:gd name="T16" fmla="*/ 0 w 97"/>
                <a:gd name="T17" fmla="*/ 0 h 215"/>
                <a:gd name="T18" fmla="*/ 0 w 97"/>
                <a:gd name="T19" fmla="*/ 0 h 215"/>
                <a:gd name="T20" fmla="*/ 0 w 97"/>
                <a:gd name="T21" fmla="*/ 0 h 215"/>
                <a:gd name="T22" fmla="*/ 0 w 97"/>
                <a:gd name="T23" fmla="*/ 0 h 215"/>
                <a:gd name="T24" fmla="*/ 0 w 97"/>
                <a:gd name="T25" fmla="*/ 0 h 215"/>
                <a:gd name="T26" fmla="*/ 0 w 97"/>
                <a:gd name="T27" fmla="*/ 0 h 215"/>
                <a:gd name="T28" fmla="*/ 0 w 97"/>
                <a:gd name="T29" fmla="*/ 0 h 215"/>
                <a:gd name="T30" fmla="*/ 0 w 97"/>
                <a:gd name="T31" fmla="*/ 0 h 215"/>
                <a:gd name="T32" fmla="*/ 0 w 97"/>
                <a:gd name="T33" fmla="*/ 0 h 215"/>
                <a:gd name="T34" fmla="*/ 0 w 97"/>
                <a:gd name="T35" fmla="*/ 0 h 215"/>
                <a:gd name="T36" fmla="*/ 0 w 97"/>
                <a:gd name="T37" fmla="*/ 0 h 215"/>
                <a:gd name="T38" fmla="*/ 0 w 97"/>
                <a:gd name="T39" fmla="*/ 0 h 215"/>
                <a:gd name="T40" fmla="*/ 0 w 97"/>
                <a:gd name="T41" fmla="*/ 0 h 215"/>
                <a:gd name="T42" fmla="*/ 0 w 97"/>
                <a:gd name="T43" fmla="*/ 0 h 215"/>
                <a:gd name="T44" fmla="*/ 0 w 97"/>
                <a:gd name="T45" fmla="*/ 0 h 215"/>
                <a:gd name="T46" fmla="*/ 0 w 97"/>
                <a:gd name="T47" fmla="*/ 0 h 215"/>
                <a:gd name="T48" fmla="*/ 0 w 97"/>
                <a:gd name="T49" fmla="*/ 0 h 215"/>
                <a:gd name="T50" fmla="*/ 0 w 97"/>
                <a:gd name="T51" fmla="*/ 0 h 215"/>
                <a:gd name="T52" fmla="*/ 0 w 97"/>
                <a:gd name="T53" fmla="*/ 0 h 215"/>
                <a:gd name="T54" fmla="*/ 0 w 97"/>
                <a:gd name="T55" fmla="*/ 0 h 215"/>
                <a:gd name="T56" fmla="*/ 0 w 97"/>
                <a:gd name="T57" fmla="*/ 0 h 215"/>
                <a:gd name="T58" fmla="*/ 0 w 97"/>
                <a:gd name="T59" fmla="*/ 0 h 215"/>
                <a:gd name="T60" fmla="*/ 0 w 97"/>
                <a:gd name="T61" fmla="*/ 0 h 215"/>
                <a:gd name="T62" fmla="*/ 0 w 97"/>
                <a:gd name="T63" fmla="*/ 0 h 215"/>
                <a:gd name="T64" fmla="*/ 0 w 97"/>
                <a:gd name="T65" fmla="*/ 0 h 215"/>
                <a:gd name="T66" fmla="*/ 0 w 97"/>
                <a:gd name="T67" fmla="*/ 0 h 215"/>
                <a:gd name="T68" fmla="*/ 0 w 97"/>
                <a:gd name="T69" fmla="*/ 0 h 215"/>
                <a:gd name="T70" fmla="*/ 0 w 97"/>
                <a:gd name="T71" fmla="*/ 0 h 215"/>
                <a:gd name="T72" fmla="*/ 0 w 97"/>
                <a:gd name="T73" fmla="*/ 0 h 215"/>
                <a:gd name="T74" fmla="*/ 0 w 97"/>
                <a:gd name="T75" fmla="*/ 0 h 215"/>
                <a:gd name="T76" fmla="*/ 0 w 97"/>
                <a:gd name="T77" fmla="*/ 0 h 215"/>
                <a:gd name="T78" fmla="*/ 0 w 97"/>
                <a:gd name="T79" fmla="*/ 0 h 215"/>
                <a:gd name="T80" fmla="*/ 0 w 97"/>
                <a:gd name="T81" fmla="*/ 0 h 21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97"/>
                <a:gd name="T124" fmla="*/ 0 h 215"/>
                <a:gd name="T125" fmla="*/ 97 w 97"/>
                <a:gd name="T126" fmla="*/ 215 h 21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97" h="215">
                  <a:moveTo>
                    <a:pt x="48" y="215"/>
                  </a:moveTo>
                  <a:lnTo>
                    <a:pt x="39" y="210"/>
                  </a:lnTo>
                  <a:lnTo>
                    <a:pt x="38" y="200"/>
                  </a:lnTo>
                  <a:lnTo>
                    <a:pt x="31" y="190"/>
                  </a:lnTo>
                  <a:lnTo>
                    <a:pt x="13" y="183"/>
                  </a:lnTo>
                  <a:lnTo>
                    <a:pt x="4" y="168"/>
                  </a:lnTo>
                  <a:lnTo>
                    <a:pt x="0" y="160"/>
                  </a:lnTo>
                  <a:lnTo>
                    <a:pt x="7" y="161"/>
                  </a:lnTo>
                  <a:lnTo>
                    <a:pt x="7" y="152"/>
                  </a:lnTo>
                  <a:lnTo>
                    <a:pt x="4" y="139"/>
                  </a:lnTo>
                  <a:lnTo>
                    <a:pt x="7" y="125"/>
                  </a:lnTo>
                  <a:lnTo>
                    <a:pt x="8" y="123"/>
                  </a:lnTo>
                  <a:lnTo>
                    <a:pt x="8" y="114"/>
                  </a:lnTo>
                  <a:lnTo>
                    <a:pt x="10" y="106"/>
                  </a:lnTo>
                  <a:lnTo>
                    <a:pt x="6" y="94"/>
                  </a:lnTo>
                  <a:lnTo>
                    <a:pt x="15" y="64"/>
                  </a:lnTo>
                  <a:lnTo>
                    <a:pt x="10" y="58"/>
                  </a:lnTo>
                  <a:lnTo>
                    <a:pt x="2" y="56"/>
                  </a:lnTo>
                  <a:lnTo>
                    <a:pt x="7" y="40"/>
                  </a:lnTo>
                  <a:lnTo>
                    <a:pt x="5" y="29"/>
                  </a:lnTo>
                  <a:lnTo>
                    <a:pt x="10" y="15"/>
                  </a:lnTo>
                  <a:lnTo>
                    <a:pt x="17" y="10"/>
                  </a:lnTo>
                  <a:lnTo>
                    <a:pt x="23" y="0"/>
                  </a:lnTo>
                  <a:lnTo>
                    <a:pt x="31" y="7"/>
                  </a:lnTo>
                  <a:lnTo>
                    <a:pt x="45" y="9"/>
                  </a:lnTo>
                  <a:lnTo>
                    <a:pt x="51" y="20"/>
                  </a:lnTo>
                  <a:lnTo>
                    <a:pt x="61" y="24"/>
                  </a:lnTo>
                  <a:lnTo>
                    <a:pt x="74" y="40"/>
                  </a:lnTo>
                  <a:lnTo>
                    <a:pt x="69" y="76"/>
                  </a:lnTo>
                  <a:lnTo>
                    <a:pt x="69" y="93"/>
                  </a:lnTo>
                  <a:lnTo>
                    <a:pt x="77" y="113"/>
                  </a:lnTo>
                  <a:lnTo>
                    <a:pt x="94" y="130"/>
                  </a:lnTo>
                  <a:lnTo>
                    <a:pt x="97" y="140"/>
                  </a:lnTo>
                  <a:lnTo>
                    <a:pt x="97" y="155"/>
                  </a:lnTo>
                  <a:lnTo>
                    <a:pt x="83" y="166"/>
                  </a:lnTo>
                  <a:lnTo>
                    <a:pt x="75" y="183"/>
                  </a:lnTo>
                  <a:lnTo>
                    <a:pt x="65" y="190"/>
                  </a:lnTo>
                  <a:lnTo>
                    <a:pt x="63" y="203"/>
                  </a:lnTo>
                  <a:lnTo>
                    <a:pt x="58" y="209"/>
                  </a:lnTo>
                  <a:lnTo>
                    <a:pt x="49" y="215"/>
                  </a:lnTo>
                  <a:lnTo>
                    <a:pt x="48" y="21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94" name="Freeform 206">
              <a:extLst>
                <a:ext uri="{FF2B5EF4-FFF2-40B4-BE49-F238E27FC236}">
                  <a16:creationId xmlns:a16="http://schemas.microsoft.com/office/drawing/2014/main" id="{B413B9EB-DB9B-21B6-D924-09927D596432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5033" y="2208615"/>
              <a:ext cx="167142" cy="134131"/>
            </a:xfrm>
            <a:custGeom>
              <a:avLst/>
              <a:gdLst>
                <a:gd name="T0" fmla="*/ 0 w 317"/>
                <a:gd name="T1" fmla="*/ 0 h 244"/>
                <a:gd name="T2" fmla="*/ 0 w 317"/>
                <a:gd name="T3" fmla="*/ 0 h 244"/>
                <a:gd name="T4" fmla="*/ 0 w 317"/>
                <a:gd name="T5" fmla="*/ 0 h 244"/>
                <a:gd name="T6" fmla="*/ 0 w 317"/>
                <a:gd name="T7" fmla="*/ 0 h 244"/>
                <a:gd name="T8" fmla="*/ 0 w 317"/>
                <a:gd name="T9" fmla="*/ 0 h 244"/>
                <a:gd name="T10" fmla="*/ 0 w 317"/>
                <a:gd name="T11" fmla="*/ 0 h 244"/>
                <a:gd name="T12" fmla="*/ 0 w 317"/>
                <a:gd name="T13" fmla="*/ 0 h 244"/>
                <a:gd name="T14" fmla="*/ 0 w 317"/>
                <a:gd name="T15" fmla="*/ 0 h 244"/>
                <a:gd name="T16" fmla="*/ 0 w 317"/>
                <a:gd name="T17" fmla="*/ 0 h 244"/>
                <a:gd name="T18" fmla="*/ 0 w 317"/>
                <a:gd name="T19" fmla="*/ 0 h 244"/>
                <a:gd name="T20" fmla="*/ 0 w 317"/>
                <a:gd name="T21" fmla="*/ 0 h 244"/>
                <a:gd name="T22" fmla="*/ 0 w 317"/>
                <a:gd name="T23" fmla="*/ 0 h 244"/>
                <a:gd name="T24" fmla="*/ 0 w 317"/>
                <a:gd name="T25" fmla="*/ 0 h 244"/>
                <a:gd name="T26" fmla="*/ 0 w 317"/>
                <a:gd name="T27" fmla="*/ 0 h 244"/>
                <a:gd name="T28" fmla="*/ 0 w 317"/>
                <a:gd name="T29" fmla="*/ 0 h 244"/>
                <a:gd name="T30" fmla="*/ 0 w 317"/>
                <a:gd name="T31" fmla="*/ 0 h 244"/>
                <a:gd name="T32" fmla="*/ 0 w 317"/>
                <a:gd name="T33" fmla="*/ 0 h 244"/>
                <a:gd name="T34" fmla="*/ 0 w 317"/>
                <a:gd name="T35" fmla="*/ 0 h 244"/>
                <a:gd name="T36" fmla="*/ 0 w 317"/>
                <a:gd name="T37" fmla="*/ 0 h 244"/>
                <a:gd name="T38" fmla="*/ 0 w 317"/>
                <a:gd name="T39" fmla="*/ 0 h 244"/>
                <a:gd name="T40" fmla="*/ 0 w 317"/>
                <a:gd name="T41" fmla="*/ 0 h 244"/>
                <a:gd name="T42" fmla="*/ 0 w 317"/>
                <a:gd name="T43" fmla="*/ 0 h 244"/>
                <a:gd name="T44" fmla="*/ 0 w 317"/>
                <a:gd name="T45" fmla="*/ 0 h 244"/>
                <a:gd name="T46" fmla="*/ 0 w 317"/>
                <a:gd name="T47" fmla="*/ 0 h 244"/>
                <a:gd name="T48" fmla="*/ 0 w 317"/>
                <a:gd name="T49" fmla="*/ 0 h 244"/>
                <a:gd name="T50" fmla="*/ 0 w 317"/>
                <a:gd name="T51" fmla="*/ 0 h 244"/>
                <a:gd name="T52" fmla="*/ 0 w 317"/>
                <a:gd name="T53" fmla="*/ 0 h 244"/>
                <a:gd name="T54" fmla="*/ 0 w 317"/>
                <a:gd name="T55" fmla="*/ 0 h 244"/>
                <a:gd name="T56" fmla="*/ 0 w 317"/>
                <a:gd name="T57" fmla="*/ 0 h 244"/>
                <a:gd name="T58" fmla="*/ 0 w 317"/>
                <a:gd name="T59" fmla="*/ 0 h 244"/>
                <a:gd name="T60" fmla="*/ 0 w 317"/>
                <a:gd name="T61" fmla="*/ 0 h 244"/>
                <a:gd name="T62" fmla="*/ 0 w 317"/>
                <a:gd name="T63" fmla="*/ 0 h 244"/>
                <a:gd name="T64" fmla="*/ 0 w 317"/>
                <a:gd name="T65" fmla="*/ 0 h 244"/>
                <a:gd name="T66" fmla="*/ 0 w 317"/>
                <a:gd name="T67" fmla="*/ 0 h 244"/>
                <a:gd name="T68" fmla="*/ 0 w 317"/>
                <a:gd name="T69" fmla="*/ 0 h 244"/>
                <a:gd name="T70" fmla="*/ 0 w 317"/>
                <a:gd name="T71" fmla="*/ 0 h 244"/>
                <a:gd name="T72" fmla="*/ 0 w 317"/>
                <a:gd name="T73" fmla="*/ 0 h 244"/>
                <a:gd name="T74" fmla="*/ 0 w 317"/>
                <a:gd name="T75" fmla="*/ 0 h 244"/>
                <a:gd name="T76" fmla="*/ 0 w 317"/>
                <a:gd name="T77" fmla="*/ 0 h 244"/>
                <a:gd name="T78" fmla="*/ 0 w 317"/>
                <a:gd name="T79" fmla="*/ 0 h 244"/>
                <a:gd name="T80" fmla="*/ 0 w 317"/>
                <a:gd name="T81" fmla="*/ 0 h 244"/>
                <a:gd name="T82" fmla="*/ 0 w 317"/>
                <a:gd name="T83" fmla="*/ 0 h 244"/>
                <a:gd name="T84" fmla="*/ 0 w 317"/>
                <a:gd name="T85" fmla="*/ 0 h 244"/>
                <a:gd name="T86" fmla="*/ 0 w 317"/>
                <a:gd name="T87" fmla="*/ 0 h 244"/>
                <a:gd name="T88" fmla="*/ 0 w 317"/>
                <a:gd name="T89" fmla="*/ 0 h 244"/>
                <a:gd name="T90" fmla="*/ 0 w 317"/>
                <a:gd name="T91" fmla="*/ 0 h 24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17"/>
                <a:gd name="T139" fmla="*/ 0 h 244"/>
                <a:gd name="T140" fmla="*/ 317 w 317"/>
                <a:gd name="T141" fmla="*/ 244 h 24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17" h="244">
                  <a:moveTo>
                    <a:pt x="0" y="35"/>
                  </a:moveTo>
                  <a:lnTo>
                    <a:pt x="3" y="57"/>
                  </a:lnTo>
                  <a:lnTo>
                    <a:pt x="3" y="71"/>
                  </a:lnTo>
                  <a:lnTo>
                    <a:pt x="5" y="78"/>
                  </a:lnTo>
                  <a:lnTo>
                    <a:pt x="3" y="54"/>
                  </a:lnTo>
                  <a:lnTo>
                    <a:pt x="4" y="64"/>
                  </a:lnTo>
                  <a:lnTo>
                    <a:pt x="6" y="72"/>
                  </a:lnTo>
                  <a:lnTo>
                    <a:pt x="11" y="94"/>
                  </a:lnTo>
                  <a:lnTo>
                    <a:pt x="13" y="102"/>
                  </a:lnTo>
                  <a:lnTo>
                    <a:pt x="11" y="110"/>
                  </a:lnTo>
                  <a:lnTo>
                    <a:pt x="14" y="110"/>
                  </a:lnTo>
                  <a:lnTo>
                    <a:pt x="15" y="118"/>
                  </a:lnTo>
                  <a:lnTo>
                    <a:pt x="25" y="115"/>
                  </a:lnTo>
                  <a:lnTo>
                    <a:pt x="31" y="120"/>
                  </a:lnTo>
                  <a:lnTo>
                    <a:pt x="38" y="123"/>
                  </a:lnTo>
                  <a:lnTo>
                    <a:pt x="44" y="127"/>
                  </a:lnTo>
                  <a:lnTo>
                    <a:pt x="52" y="131"/>
                  </a:lnTo>
                  <a:lnTo>
                    <a:pt x="69" y="134"/>
                  </a:lnTo>
                  <a:lnTo>
                    <a:pt x="85" y="132"/>
                  </a:lnTo>
                  <a:lnTo>
                    <a:pt x="91" y="136"/>
                  </a:lnTo>
                  <a:lnTo>
                    <a:pt x="102" y="159"/>
                  </a:lnTo>
                  <a:lnTo>
                    <a:pt x="96" y="174"/>
                  </a:lnTo>
                  <a:lnTo>
                    <a:pt x="96" y="191"/>
                  </a:lnTo>
                  <a:lnTo>
                    <a:pt x="99" y="201"/>
                  </a:lnTo>
                  <a:lnTo>
                    <a:pt x="113" y="209"/>
                  </a:lnTo>
                  <a:lnTo>
                    <a:pt x="132" y="222"/>
                  </a:lnTo>
                  <a:lnTo>
                    <a:pt x="137" y="233"/>
                  </a:lnTo>
                  <a:lnTo>
                    <a:pt x="137" y="240"/>
                  </a:lnTo>
                  <a:lnTo>
                    <a:pt x="151" y="244"/>
                  </a:lnTo>
                  <a:lnTo>
                    <a:pt x="167" y="240"/>
                  </a:lnTo>
                  <a:lnTo>
                    <a:pt x="183" y="243"/>
                  </a:lnTo>
                  <a:lnTo>
                    <a:pt x="191" y="239"/>
                  </a:lnTo>
                  <a:lnTo>
                    <a:pt x="197" y="234"/>
                  </a:lnTo>
                  <a:lnTo>
                    <a:pt x="204" y="238"/>
                  </a:lnTo>
                  <a:lnTo>
                    <a:pt x="212" y="237"/>
                  </a:lnTo>
                  <a:lnTo>
                    <a:pt x="209" y="222"/>
                  </a:lnTo>
                  <a:lnTo>
                    <a:pt x="215" y="220"/>
                  </a:lnTo>
                  <a:lnTo>
                    <a:pt x="224" y="220"/>
                  </a:lnTo>
                  <a:lnTo>
                    <a:pt x="229" y="213"/>
                  </a:lnTo>
                  <a:lnTo>
                    <a:pt x="236" y="209"/>
                  </a:lnTo>
                  <a:lnTo>
                    <a:pt x="245" y="211"/>
                  </a:lnTo>
                  <a:lnTo>
                    <a:pt x="248" y="218"/>
                  </a:lnTo>
                  <a:lnTo>
                    <a:pt x="256" y="222"/>
                  </a:lnTo>
                  <a:lnTo>
                    <a:pt x="263" y="220"/>
                  </a:lnTo>
                  <a:lnTo>
                    <a:pt x="262" y="211"/>
                  </a:lnTo>
                  <a:lnTo>
                    <a:pt x="257" y="205"/>
                  </a:lnTo>
                  <a:lnTo>
                    <a:pt x="253" y="197"/>
                  </a:lnTo>
                  <a:lnTo>
                    <a:pt x="255" y="190"/>
                  </a:lnTo>
                  <a:lnTo>
                    <a:pt x="263" y="175"/>
                  </a:lnTo>
                  <a:lnTo>
                    <a:pt x="263" y="168"/>
                  </a:lnTo>
                  <a:lnTo>
                    <a:pt x="266" y="159"/>
                  </a:lnTo>
                  <a:lnTo>
                    <a:pt x="266" y="151"/>
                  </a:lnTo>
                  <a:lnTo>
                    <a:pt x="267" y="143"/>
                  </a:lnTo>
                  <a:lnTo>
                    <a:pt x="274" y="140"/>
                  </a:lnTo>
                  <a:lnTo>
                    <a:pt x="283" y="137"/>
                  </a:lnTo>
                  <a:lnTo>
                    <a:pt x="288" y="132"/>
                  </a:lnTo>
                  <a:lnTo>
                    <a:pt x="295" y="129"/>
                  </a:lnTo>
                  <a:lnTo>
                    <a:pt x="309" y="129"/>
                  </a:lnTo>
                  <a:lnTo>
                    <a:pt x="317" y="110"/>
                  </a:lnTo>
                  <a:lnTo>
                    <a:pt x="310" y="107"/>
                  </a:lnTo>
                  <a:lnTo>
                    <a:pt x="301" y="107"/>
                  </a:lnTo>
                  <a:lnTo>
                    <a:pt x="301" y="99"/>
                  </a:lnTo>
                  <a:lnTo>
                    <a:pt x="301" y="91"/>
                  </a:lnTo>
                  <a:lnTo>
                    <a:pt x="309" y="87"/>
                  </a:lnTo>
                  <a:lnTo>
                    <a:pt x="315" y="81"/>
                  </a:lnTo>
                  <a:lnTo>
                    <a:pt x="313" y="80"/>
                  </a:lnTo>
                  <a:lnTo>
                    <a:pt x="313" y="78"/>
                  </a:lnTo>
                  <a:lnTo>
                    <a:pt x="307" y="73"/>
                  </a:lnTo>
                  <a:lnTo>
                    <a:pt x="300" y="71"/>
                  </a:lnTo>
                  <a:lnTo>
                    <a:pt x="282" y="48"/>
                  </a:lnTo>
                  <a:lnTo>
                    <a:pt x="255" y="29"/>
                  </a:lnTo>
                  <a:lnTo>
                    <a:pt x="239" y="30"/>
                  </a:lnTo>
                  <a:lnTo>
                    <a:pt x="231" y="28"/>
                  </a:lnTo>
                  <a:lnTo>
                    <a:pt x="221" y="5"/>
                  </a:lnTo>
                  <a:lnTo>
                    <a:pt x="215" y="0"/>
                  </a:lnTo>
                  <a:lnTo>
                    <a:pt x="208" y="2"/>
                  </a:lnTo>
                  <a:lnTo>
                    <a:pt x="197" y="13"/>
                  </a:lnTo>
                  <a:lnTo>
                    <a:pt x="181" y="17"/>
                  </a:lnTo>
                  <a:lnTo>
                    <a:pt x="150" y="6"/>
                  </a:lnTo>
                  <a:lnTo>
                    <a:pt x="143" y="6"/>
                  </a:lnTo>
                  <a:lnTo>
                    <a:pt x="126" y="3"/>
                  </a:lnTo>
                  <a:lnTo>
                    <a:pt x="118" y="6"/>
                  </a:lnTo>
                  <a:lnTo>
                    <a:pt x="111" y="3"/>
                  </a:lnTo>
                  <a:lnTo>
                    <a:pt x="103" y="7"/>
                  </a:lnTo>
                  <a:lnTo>
                    <a:pt x="95" y="7"/>
                  </a:lnTo>
                  <a:lnTo>
                    <a:pt x="89" y="3"/>
                  </a:lnTo>
                  <a:lnTo>
                    <a:pt x="80" y="2"/>
                  </a:lnTo>
                  <a:lnTo>
                    <a:pt x="64" y="3"/>
                  </a:lnTo>
                  <a:lnTo>
                    <a:pt x="41" y="11"/>
                  </a:lnTo>
                  <a:lnTo>
                    <a:pt x="26" y="19"/>
                  </a:lnTo>
                  <a:lnTo>
                    <a:pt x="17" y="33"/>
                  </a:lnTo>
                  <a:lnTo>
                    <a:pt x="10" y="38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95" name="Freeform 207">
              <a:extLst>
                <a:ext uri="{FF2B5EF4-FFF2-40B4-BE49-F238E27FC236}">
                  <a16:creationId xmlns:a16="http://schemas.microsoft.com/office/drawing/2014/main" id="{00EFD95F-B0AA-C62D-7A03-BB78246157E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08923" y="2719229"/>
              <a:ext cx="129834" cy="190527"/>
            </a:xfrm>
            <a:custGeom>
              <a:avLst/>
              <a:gdLst>
                <a:gd name="T0" fmla="*/ 0 w 241"/>
                <a:gd name="T1" fmla="*/ 0 h 331"/>
                <a:gd name="T2" fmla="*/ 0 w 241"/>
                <a:gd name="T3" fmla="*/ 0 h 331"/>
                <a:gd name="T4" fmla="*/ 0 w 241"/>
                <a:gd name="T5" fmla="*/ 0 h 331"/>
                <a:gd name="T6" fmla="*/ 0 w 241"/>
                <a:gd name="T7" fmla="*/ 0 h 331"/>
                <a:gd name="T8" fmla="*/ 0 w 241"/>
                <a:gd name="T9" fmla="*/ 0 h 331"/>
                <a:gd name="T10" fmla="*/ 0 w 241"/>
                <a:gd name="T11" fmla="*/ 0 h 331"/>
                <a:gd name="T12" fmla="*/ 0 w 241"/>
                <a:gd name="T13" fmla="*/ 0 h 331"/>
                <a:gd name="T14" fmla="*/ 0 w 241"/>
                <a:gd name="T15" fmla="*/ 0 h 331"/>
                <a:gd name="T16" fmla="*/ 0 w 241"/>
                <a:gd name="T17" fmla="*/ 0 h 331"/>
                <a:gd name="T18" fmla="*/ 0 w 241"/>
                <a:gd name="T19" fmla="*/ 0 h 331"/>
                <a:gd name="T20" fmla="*/ 0 w 241"/>
                <a:gd name="T21" fmla="*/ 0 h 331"/>
                <a:gd name="T22" fmla="*/ 0 w 241"/>
                <a:gd name="T23" fmla="*/ 0 h 331"/>
                <a:gd name="T24" fmla="*/ 0 w 241"/>
                <a:gd name="T25" fmla="*/ 0 h 331"/>
                <a:gd name="T26" fmla="*/ 0 w 241"/>
                <a:gd name="T27" fmla="*/ 0 h 331"/>
                <a:gd name="T28" fmla="*/ 0 w 241"/>
                <a:gd name="T29" fmla="*/ 0 h 331"/>
                <a:gd name="T30" fmla="*/ 0 w 241"/>
                <a:gd name="T31" fmla="*/ 0 h 331"/>
                <a:gd name="T32" fmla="*/ 0 w 241"/>
                <a:gd name="T33" fmla="*/ 0 h 331"/>
                <a:gd name="T34" fmla="*/ 0 w 241"/>
                <a:gd name="T35" fmla="*/ 0 h 331"/>
                <a:gd name="T36" fmla="*/ 0 w 241"/>
                <a:gd name="T37" fmla="*/ 0 h 331"/>
                <a:gd name="T38" fmla="*/ 0 w 241"/>
                <a:gd name="T39" fmla="*/ 0 h 331"/>
                <a:gd name="T40" fmla="*/ 0 w 241"/>
                <a:gd name="T41" fmla="*/ 0 h 331"/>
                <a:gd name="T42" fmla="*/ 0 w 241"/>
                <a:gd name="T43" fmla="*/ 0 h 331"/>
                <a:gd name="T44" fmla="*/ 0 w 241"/>
                <a:gd name="T45" fmla="*/ 0 h 331"/>
                <a:gd name="T46" fmla="*/ 0 w 241"/>
                <a:gd name="T47" fmla="*/ 0 h 331"/>
                <a:gd name="T48" fmla="*/ 0 w 241"/>
                <a:gd name="T49" fmla="*/ 0 h 331"/>
                <a:gd name="T50" fmla="*/ 0 w 241"/>
                <a:gd name="T51" fmla="*/ 0 h 331"/>
                <a:gd name="T52" fmla="*/ 0 w 241"/>
                <a:gd name="T53" fmla="*/ 0 h 331"/>
                <a:gd name="T54" fmla="*/ 0 w 241"/>
                <a:gd name="T55" fmla="*/ 0 h 331"/>
                <a:gd name="T56" fmla="*/ 0 w 241"/>
                <a:gd name="T57" fmla="*/ 0 h 331"/>
                <a:gd name="T58" fmla="*/ 0 w 241"/>
                <a:gd name="T59" fmla="*/ 0 h 331"/>
                <a:gd name="T60" fmla="*/ 0 w 241"/>
                <a:gd name="T61" fmla="*/ 0 h 331"/>
                <a:gd name="T62" fmla="*/ 0 w 241"/>
                <a:gd name="T63" fmla="*/ 0 h 331"/>
                <a:gd name="T64" fmla="*/ 0 w 241"/>
                <a:gd name="T65" fmla="*/ 0 h 331"/>
                <a:gd name="T66" fmla="*/ 0 w 241"/>
                <a:gd name="T67" fmla="*/ 0 h 331"/>
                <a:gd name="T68" fmla="*/ 0 w 241"/>
                <a:gd name="T69" fmla="*/ 0 h 331"/>
                <a:gd name="T70" fmla="*/ 0 w 241"/>
                <a:gd name="T71" fmla="*/ 0 h 331"/>
                <a:gd name="T72" fmla="*/ 0 w 241"/>
                <a:gd name="T73" fmla="*/ 2147483647 h 331"/>
                <a:gd name="T74" fmla="*/ 0 w 241"/>
                <a:gd name="T75" fmla="*/ 2147483647 h 331"/>
                <a:gd name="T76" fmla="*/ 0 w 241"/>
                <a:gd name="T77" fmla="*/ 0 h 331"/>
                <a:gd name="T78" fmla="*/ 0 w 241"/>
                <a:gd name="T79" fmla="*/ 0 h 331"/>
                <a:gd name="T80" fmla="*/ 0 w 241"/>
                <a:gd name="T81" fmla="*/ 2147483647 h 331"/>
                <a:gd name="T82" fmla="*/ 0 w 241"/>
                <a:gd name="T83" fmla="*/ 2147483647 h 331"/>
                <a:gd name="T84" fmla="*/ 0 w 241"/>
                <a:gd name="T85" fmla="*/ 0 h 331"/>
                <a:gd name="T86" fmla="*/ 0 w 241"/>
                <a:gd name="T87" fmla="*/ 0 h 331"/>
                <a:gd name="T88" fmla="*/ 0 w 241"/>
                <a:gd name="T89" fmla="*/ 0 h 331"/>
                <a:gd name="T90" fmla="*/ 0 w 241"/>
                <a:gd name="T91" fmla="*/ 0 h 331"/>
                <a:gd name="T92" fmla="*/ 0 w 241"/>
                <a:gd name="T93" fmla="*/ 0 h 331"/>
                <a:gd name="T94" fmla="*/ 0 w 241"/>
                <a:gd name="T95" fmla="*/ 0 h 331"/>
                <a:gd name="T96" fmla="*/ 0 w 241"/>
                <a:gd name="T97" fmla="*/ 0 h 331"/>
                <a:gd name="T98" fmla="*/ 0 w 241"/>
                <a:gd name="T99" fmla="*/ 0 h 331"/>
                <a:gd name="T100" fmla="*/ 0 w 241"/>
                <a:gd name="T101" fmla="*/ 0 h 331"/>
                <a:gd name="T102" fmla="*/ 0 w 241"/>
                <a:gd name="T103" fmla="*/ 0 h 331"/>
                <a:gd name="T104" fmla="*/ 0 w 241"/>
                <a:gd name="T105" fmla="*/ 0 h 331"/>
                <a:gd name="T106" fmla="*/ 0 w 241"/>
                <a:gd name="T107" fmla="*/ 0 h 331"/>
                <a:gd name="T108" fmla="*/ 0 w 241"/>
                <a:gd name="T109" fmla="*/ 0 h 331"/>
                <a:gd name="T110" fmla="*/ 0 w 241"/>
                <a:gd name="T111" fmla="*/ 0 h 33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41"/>
                <a:gd name="T169" fmla="*/ 0 h 331"/>
                <a:gd name="T170" fmla="*/ 241 w 241"/>
                <a:gd name="T171" fmla="*/ 331 h 33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41" h="331">
                  <a:moveTo>
                    <a:pt x="14" y="22"/>
                  </a:moveTo>
                  <a:lnTo>
                    <a:pt x="23" y="29"/>
                  </a:lnTo>
                  <a:lnTo>
                    <a:pt x="23" y="33"/>
                  </a:lnTo>
                  <a:lnTo>
                    <a:pt x="21" y="35"/>
                  </a:lnTo>
                  <a:lnTo>
                    <a:pt x="24" y="38"/>
                  </a:lnTo>
                  <a:lnTo>
                    <a:pt x="24" y="42"/>
                  </a:lnTo>
                  <a:lnTo>
                    <a:pt x="21" y="45"/>
                  </a:lnTo>
                  <a:lnTo>
                    <a:pt x="21" y="48"/>
                  </a:lnTo>
                  <a:lnTo>
                    <a:pt x="25" y="49"/>
                  </a:lnTo>
                  <a:lnTo>
                    <a:pt x="27" y="46"/>
                  </a:lnTo>
                  <a:lnTo>
                    <a:pt x="29" y="46"/>
                  </a:lnTo>
                  <a:lnTo>
                    <a:pt x="32" y="49"/>
                  </a:lnTo>
                  <a:lnTo>
                    <a:pt x="32" y="51"/>
                  </a:lnTo>
                  <a:lnTo>
                    <a:pt x="30" y="53"/>
                  </a:lnTo>
                  <a:lnTo>
                    <a:pt x="29" y="53"/>
                  </a:lnTo>
                  <a:lnTo>
                    <a:pt x="27" y="55"/>
                  </a:lnTo>
                  <a:lnTo>
                    <a:pt x="29" y="56"/>
                  </a:lnTo>
                  <a:lnTo>
                    <a:pt x="27" y="60"/>
                  </a:lnTo>
                  <a:lnTo>
                    <a:pt x="27" y="61"/>
                  </a:lnTo>
                  <a:lnTo>
                    <a:pt x="29" y="64"/>
                  </a:lnTo>
                  <a:lnTo>
                    <a:pt x="32" y="64"/>
                  </a:lnTo>
                  <a:lnTo>
                    <a:pt x="34" y="65"/>
                  </a:lnTo>
                  <a:lnTo>
                    <a:pt x="37" y="67"/>
                  </a:lnTo>
                  <a:lnTo>
                    <a:pt x="42" y="67"/>
                  </a:lnTo>
                  <a:lnTo>
                    <a:pt x="46" y="70"/>
                  </a:lnTo>
                  <a:lnTo>
                    <a:pt x="50" y="69"/>
                  </a:lnTo>
                  <a:lnTo>
                    <a:pt x="52" y="70"/>
                  </a:lnTo>
                  <a:lnTo>
                    <a:pt x="52" y="72"/>
                  </a:lnTo>
                  <a:lnTo>
                    <a:pt x="48" y="75"/>
                  </a:lnTo>
                  <a:lnTo>
                    <a:pt x="45" y="73"/>
                  </a:lnTo>
                  <a:lnTo>
                    <a:pt x="41" y="72"/>
                  </a:lnTo>
                  <a:lnTo>
                    <a:pt x="39" y="73"/>
                  </a:lnTo>
                  <a:lnTo>
                    <a:pt x="37" y="78"/>
                  </a:lnTo>
                  <a:lnTo>
                    <a:pt x="35" y="81"/>
                  </a:lnTo>
                  <a:lnTo>
                    <a:pt x="37" y="91"/>
                  </a:lnTo>
                  <a:lnTo>
                    <a:pt x="39" y="92"/>
                  </a:lnTo>
                  <a:lnTo>
                    <a:pt x="37" y="97"/>
                  </a:lnTo>
                  <a:lnTo>
                    <a:pt x="50" y="97"/>
                  </a:lnTo>
                  <a:lnTo>
                    <a:pt x="52" y="100"/>
                  </a:lnTo>
                  <a:lnTo>
                    <a:pt x="51" y="104"/>
                  </a:lnTo>
                  <a:lnTo>
                    <a:pt x="51" y="108"/>
                  </a:lnTo>
                  <a:lnTo>
                    <a:pt x="46" y="115"/>
                  </a:lnTo>
                  <a:lnTo>
                    <a:pt x="41" y="126"/>
                  </a:lnTo>
                  <a:lnTo>
                    <a:pt x="39" y="128"/>
                  </a:lnTo>
                  <a:lnTo>
                    <a:pt x="39" y="130"/>
                  </a:lnTo>
                  <a:lnTo>
                    <a:pt x="40" y="132"/>
                  </a:lnTo>
                  <a:lnTo>
                    <a:pt x="36" y="137"/>
                  </a:lnTo>
                  <a:lnTo>
                    <a:pt x="39" y="145"/>
                  </a:lnTo>
                  <a:lnTo>
                    <a:pt x="42" y="145"/>
                  </a:lnTo>
                  <a:lnTo>
                    <a:pt x="45" y="147"/>
                  </a:lnTo>
                  <a:lnTo>
                    <a:pt x="48" y="146"/>
                  </a:lnTo>
                  <a:lnTo>
                    <a:pt x="50" y="148"/>
                  </a:lnTo>
                  <a:lnTo>
                    <a:pt x="51" y="152"/>
                  </a:lnTo>
                  <a:lnTo>
                    <a:pt x="54" y="156"/>
                  </a:lnTo>
                  <a:lnTo>
                    <a:pt x="58" y="156"/>
                  </a:lnTo>
                  <a:lnTo>
                    <a:pt x="58" y="157"/>
                  </a:lnTo>
                  <a:lnTo>
                    <a:pt x="58" y="159"/>
                  </a:lnTo>
                  <a:lnTo>
                    <a:pt x="63" y="162"/>
                  </a:lnTo>
                  <a:lnTo>
                    <a:pt x="66" y="163"/>
                  </a:lnTo>
                  <a:lnTo>
                    <a:pt x="66" y="166"/>
                  </a:lnTo>
                  <a:lnTo>
                    <a:pt x="62" y="171"/>
                  </a:lnTo>
                  <a:lnTo>
                    <a:pt x="53" y="171"/>
                  </a:lnTo>
                  <a:lnTo>
                    <a:pt x="48" y="167"/>
                  </a:lnTo>
                  <a:lnTo>
                    <a:pt x="46" y="167"/>
                  </a:lnTo>
                  <a:lnTo>
                    <a:pt x="45" y="169"/>
                  </a:lnTo>
                  <a:lnTo>
                    <a:pt x="46" y="171"/>
                  </a:lnTo>
                  <a:lnTo>
                    <a:pt x="52" y="178"/>
                  </a:lnTo>
                  <a:lnTo>
                    <a:pt x="58" y="186"/>
                  </a:lnTo>
                  <a:lnTo>
                    <a:pt x="61" y="188"/>
                  </a:lnTo>
                  <a:lnTo>
                    <a:pt x="59" y="195"/>
                  </a:lnTo>
                  <a:lnTo>
                    <a:pt x="58" y="198"/>
                  </a:lnTo>
                  <a:lnTo>
                    <a:pt x="56" y="199"/>
                  </a:lnTo>
                  <a:lnTo>
                    <a:pt x="53" y="198"/>
                  </a:lnTo>
                  <a:lnTo>
                    <a:pt x="51" y="198"/>
                  </a:lnTo>
                  <a:lnTo>
                    <a:pt x="48" y="201"/>
                  </a:lnTo>
                  <a:lnTo>
                    <a:pt x="43" y="204"/>
                  </a:lnTo>
                  <a:lnTo>
                    <a:pt x="40" y="204"/>
                  </a:lnTo>
                  <a:lnTo>
                    <a:pt x="37" y="205"/>
                  </a:lnTo>
                  <a:lnTo>
                    <a:pt x="35" y="205"/>
                  </a:lnTo>
                  <a:lnTo>
                    <a:pt x="34" y="202"/>
                  </a:lnTo>
                  <a:lnTo>
                    <a:pt x="31" y="202"/>
                  </a:lnTo>
                  <a:lnTo>
                    <a:pt x="27" y="206"/>
                  </a:lnTo>
                  <a:lnTo>
                    <a:pt x="29" y="209"/>
                  </a:lnTo>
                  <a:lnTo>
                    <a:pt x="32" y="210"/>
                  </a:lnTo>
                  <a:lnTo>
                    <a:pt x="34" y="215"/>
                  </a:lnTo>
                  <a:lnTo>
                    <a:pt x="35" y="218"/>
                  </a:lnTo>
                  <a:lnTo>
                    <a:pt x="35" y="223"/>
                  </a:lnTo>
                  <a:lnTo>
                    <a:pt x="34" y="226"/>
                  </a:lnTo>
                  <a:lnTo>
                    <a:pt x="31" y="226"/>
                  </a:lnTo>
                  <a:lnTo>
                    <a:pt x="30" y="223"/>
                  </a:lnTo>
                  <a:lnTo>
                    <a:pt x="29" y="218"/>
                  </a:lnTo>
                  <a:lnTo>
                    <a:pt x="26" y="217"/>
                  </a:lnTo>
                  <a:lnTo>
                    <a:pt x="23" y="217"/>
                  </a:lnTo>
                  <a:lnTo>
                    <a:pt x="14" y="225"/>
                  </a:lnTo>
                  <a:lnTo>
                    <a:pt x="13" y="229"/>
                  </a:lnTo>
                  <a:lnTo>
                    <a:pt x="11" y="232"/>
                  </a:lnTo>
                  <a:lnTo>
                    <a:pt x="11" y="239"/>
                  </a:lnTo>
                  <a:lnTo>
                    <a:pt x="9" y="242"/>
                  </a:lnTo>
                  <a:lnTo>
                    <a:pt x="4" y="242"/>
                  </a:lnTo>
                  <a:lnTo>
                    <a:pt x="2" y="244"/>
                  </a:lnTo>
                  <a:lnTo>
                    <a:pt x="2" y="253"/>
                  </a:lnTo>
                  <a:lnTo>
                    <a:pt x="0" y="254"/>
                  </a:lnTo>
                  <a:lnTo>
                    <a:pt x="0" y="258"/>
                  </a:lnTo>
                  <a:lnTo>
                    <a:pt x="3" y="263"/>
                  </a:lnTo>
                  <a:lnTo>
                    <a:pt x="5" y="265"/>
                  </a:lnTo>
                  <a:lnTo>
                    <a:pt x="5" y="270"/>
                  </a:lnTo>
                  <a:lnTo>
                    <a:pt x="0" y="277"/>
                  </a:lnTo>
                  <a:lnTo>
                    <a:pt x="0" y="285"/>
                  </a:lnTo>
                  <a:lnTo>
                    <a:pt x="16" y="297"/>
                  </a:lnTo>
                  <a:lnTo>
                    <a:pt x="27" y="308"/>
                  </a:lnTo>
                  <a:lnTo>
                    <a:pt x="36" y="314"/>
                  </a:lnTo>
                  <a:lnTo>
                    <a:pt x="42" y="326"/>
                  </a:lnTo>
                  <a:lnTo>
                    <a:pt x="48" y="331"/>
                  </a:lnTo>
                  <a:lnTo>
                    <a:pt x="53" y="315"/>
                  </a:lnTo>
                  <a:lnTo>
                    <a:pt x="51" y="304"/>
                  </a:lnTo>
                  <a:lnTo>
                    <a:pt x="56" y="290"/>
                  </a:lnTo>
                  <a:lnTo>
                    <a:pt x="63" y="285"/>
                  </a:lnTo>
                  <a:lnTo>
                    <a:pt x="69" y="275"/>
                  </a:lnTo>
                  <a:lnTo>
                    <a:pt x="77" y="282"/>
                  </a:lnTo>
                  <a:lnTo>
                    <a:pt x="91" y="284"/>
                  </a:lnTo>
                  <a:lnTo>
                    <a:pt x="97" y="295"/>
                  </a:lnTo>
                  <a:lnTo>
                    <a:pt x="107" y="299"/>
                  </a:lnTo>
                  <a:lnTo>
                    <a:pt x="120" y="315"/>
                  </a:lnTo>
                  <a:lnTo>
                    <a:pt x="121" y="317"/>
                  </a:lnTo>
                  <a:lnTo>
                    <a:pt x="126" y="317"/>
                  </a:lnTo>
                  <a:lnTo>
                    <a:pt x="129" y="314"/>
                  </a:lnTo>
                  <a:lnTo>
                    <a:pt x="129" y="306"/>
                  </a:lnTo>
                  <a:lnTo>
                    <a:pt x="147" y="299"/>
                  </a:lnTo>
                  <a:lnTo>
                    <a:pt x="150" y="301"/>
                  </a:lnTo>
                  <a:lnTo>
                    <a:pt x="156" y="308"/>
                  </a:lnTo>
                  <a:lnTo>
                    <a:pt x="159" y="308"/>
                  </a:lnTo>
                  <a:lnTo>
                    <a:pt x="159" y="303"/>
                  </a:lnTo>
                  <a:lnTo>
                    <a:pt x="166" y="298"/>
                  </a:lnTo>
                  <a:lnTo>
                    <a:pt x="182" y="302"/>
                  </a:lnTo>
                  <a:lnTo>
                    <a:pt x="186" y="298"/>
                  </a:lnTo>
                  <a:lnTo>
                    <a:pt x="201" y="301"/>
                  </a:lnTo>
                  <a:lnTo>
                    <a:pt x="212" y="299"/>
                  </a:lnTo>
                  <a:lnTo>
                    <a:pt x="218" y="302"/>
                  </a:lnTo>
                  <a:lnTo>
                    <a:pt x="218" y="277"/>
                  </a:lnTo>
                  <a:lnTo>
                    <a:pt x="230" y="253"/>
                  </a:lnTo>
                  <a:lnTo>
                    <a:pt x="241" y="241"/>
                  </a:lnTo>
                  <a:lnTo>
                    <a:pt x="226" y="225"/>
                  </a:lnTo>
                  <a:lnTo>
                    <a:pt x="218" y="210"/>
                  </a:lnTo>
                  <a:lnTo>
                    <a:pt x="215" y="188"/>
                  </a:lnTo>
                  <a:lnTo>
                    <a:pt x="218" y="167"/>
                  </a:lnTo>
                  <a:lnTo>
                    <a:pt x="235" y="159"/>
                  </a:lnTo>
                  <a:lnTo>
                    <a:pt x="225" y="157"/>
                  </a:lnTo>
                  <a:lnTo>
                    <a:pt x="218" y="141"/>
                  </a:lnTo>
                  <a:lnTo>
                    <a:pt x="228" y="130"/>
                  </a:lnTo>
                  <a:lnTo>
                    <a:pt x="220" y="119"/>
                  </a:lnTo>
                  <a:lnTo>
                    <a:pt x="209" y="128"/>
                  </a:lnTo>
                  <a:lnTo>
                    <a:pt x="181" y="118"/>
                  </a:lnTo>
                  <a:lnTo>
                    <a:pt x="166" y="105"/>
                  </a:lnTo>
                  <a:lnTo>
                    <a:pt x="165" y="91"/>
                  </a:lnTo>
                  <a:lnTo>
                    <a:pt x="163" y="81"/>
                  </a:lnTo>
                  <a:lnTo>
                    <a:pt x="154" y="76"/>
                  </a:lnTo>
                  <a:lnTo>
                    <a:pt x="143" y="73"/>
                  </a:lnTo>
                  <a:lnTo>
                    <a:pt x="134" y="60"/>
                  </a:lnTo>
                  <a:lnTo>
                    <a:pt x="129" y="42"/>
                  </a:lnTo>
                  <a:lnTo>
                    <a:pt x="124" y="29"/>
                  </a:lnTo>
                  <a:lnTo>
                    <a:pt x="113" y="17"/>
                  </a:lnTo>
                  <a:lnTo>
                    <a:pt x="99" y="11"/>
                  </a:lnTo>
                  <a:lnTo>
                    <a:pt x="94" y="7"/>
                  </a:lnTo>
                  <a:lnTo>
                    <a:pt x="90" y="0"/>
                  </a:lnTo>
                  <a:lnTo>
                    <a:pt x="78" y="5"/>
                  </a:lnTo>
                  <a:lnTo>
                    <a:pt x="66" y="5"/>
                  </a:lnTo>
                  <a:lnTo>
                    <a:pt x="50" y="16"/>
                  </a:lnTo>
                  <a:lnTo>
                    <a:pt x="35" y="16"/>
                  </a:lnTo>
                  <a:lnTo>
                    <a:pt x="29" y="21"/>
                  </a:lnTo>
                  <a:lnTo>
                    <a:pt x="14" y="2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96" name="Freeform 208">
              <a:extLst>
                <a:ext uri="{FF2B5EF4-FFF2-40B4-BE49-F238E27FC236}">
                  <a16:creationId xmlns:a16="http://schemas.microsoft.com/office/drawing/2014/main" id="{463BD7AF-7A56-EB53-C320-7CA4026CA032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265646" y="2565282"/>
              <a:ext cx="159680" cy="85356"/>
            </a:xfrm>
            <a:custGeom>
              <a:avLst/>
              <a:gdLst>
                <a:gd name="T0" fmla="*/ 0 w 304"/>
                <a:gd name="T1" fmla="*/ 0 h 149"/>
                <a:gd name="T2" fmla="*/ 0 w 304"/>
                <a:gd name="T3" fmla="*/ 0 h 149"/>
                <a:gd name="T4" fmla="*/ 0 w 304"/>
                <a:gd name="T5" fmla="*/ 0 h 149"/>
                <a:gd name="T6" fmla="*/ 0 w 304"/>
                <a:gd name="T7" fmla="*/ 0 h 149"/>
                <a:gd name="T8" fmla="*/ 0 w 304"/>
                <a:gd name="T9" fmla="*/ 0 h 149"/>
                <a:gd name="T10" fmla="*/ 0 w 304"/>
                <a:gd name="T11" fmla="*/ 0 h 149"/>
                <a:gd name="T12" fmla="*/ 0 w 304"/>
                <a:gd name="T13" fmla="*/ 0 h 149"/>
                <a:gd name="T14" fmla="*/ 0 w 304"/>
                <a:gd name="T15" fmla="*/ 0 h 149"/>
                <a:gd name="T16" fmla="*/ 0 w 304"/>
                <a:gd name="T17" fmla="*/ 0 h 149"/>
                <a:gd name="T18" fmla="*/ 0 w 304"/>
                <a:gd name="T19" fmla="*/ 0 h 149"/>
                <a:gd name="T20" fmla="*/ 0 w 304"/>
                <a:gd name="T21" fmla="*/ 0 h 149"/>
                <a:gd name="T22" fmla="*/ 0 w 304"/>
                <a:gd name="T23" fmla="*/ 0 h 149"/>
                <a:gd name="T24" fmla="*/ 0 w 304"/>
                <a:gd name="T25" fmla="*/ 0 h 149"/>
                <a:gd name="T26" fmla="*/ 0 w 304"/>
                <a:gd name="T27" fmla="*/ 0 h 149"/>
                <a:gd name="T28" fmla="*/ 0 w 304"/>
                <a:gd name="T29" fmla="*/ 0 h 149"/>
                <a:gd name="T30" fmla="*/ 0 w 304"/>
                <a:gd name="T31" fmla="*/ 0 h 149"/>
                <a:gd name="T32" fmla="*/ 0 w 304"/>
                <a:gd name="T33" fmla="*/ 0 h 149"/>
                <a:gd name="T34" fmla="*/ 0 w 304"/>
                <a:gd name="T35" fmla="*/ 0 h 149"/>
                <a:gd name="T36" fmla="*/ 0 w 304"/>
                <a:gd name="T37" fmla="*/ 0 h 149"/>
                <a:gd name="T38" fmla="*/ 0 w 304"/>
                <a:gd name="T39" fmla="*/ 0 h 149"/>
                <a:gd name="T40" fmla="*/ 0 w 304"/>
                <a:gd name="T41" fmla="*/ 0 h 149"/>
                <a:gd name="T42" fmla="*/ 0 w 304"/>
                <a:gd name="T43" fmla="*/ 0 h 149"/>
                <a:gd name="T44" fmla="*/ 0 w 304"/>
                <a:gd name="T45" fmla="*/ 0 h 149"/>
                <a:gd name="T46" fmla="*/ 0 w 304"/>
                <a:gd name="T47" fmla="*/ 0 h 149"/>
                <a:gd name="T48" fmla="*/ 0 w 304"/>
                <a:gd name="T49" fmla="*/ 0 h 149"/>
                <a:gd name="T50" fmla="*/ 0 w 304"/>
                <a:gd name="T51" fmla="*/ 0 h 149"/>
                <a:gd name="T52" fmla="*/ 0 w 304"/>
                <a:gd name="T53" fmla="*/ 0 h 149"/>
                <a:gd name="T54" fmla="*/ 0 w 304"/>
                <a:gd name="T55" fmla="*/ 0 h 149"/>
                <a:gd name="T56" fmla="*/ 0 w 304"/>
                <a:gd name="T57" fmla="*/ 0 h 149"/>
                <a:gd name="T58" fmla="*/ 0 w 304"/>
                <a:gd name="T59" fmla="*/ 0 h 149"/>
                <a:gd name="T60" fmla="*/ 0 w 304"/>
                <a:gd name="T61" fmla="*/ 0 h 149"/>
                <a:gd name="T62" fmla="*/ 0 w 304"/>
                <a:gd name="T63" fmla="*/ 0 h 149"/>
                <a:gd name="T64" fmla="*/ 0 w 304"/>
                <a:gd name="T65" fmla="*/ 0 h 149"/>
                <a:gd name="T66" fmla="*/ 0 w 304"/>
                <a:gd name="T67" fmla="*/ 0 h 149"/>
                <a:gd name="T68" fmla="*/ 0 w 304"/>
                <a:gd name="T69" fmla="*/ 0 h 149"/>
                <a:gd name="T70" fmla="*/ 0 w 304"/>
                <a:gd name="T71" fmla="*/ 0 h 149"/>
                <a:gd name="T72" fmla="*/ 0 w 304"/>
                <a:gd name="T73" fmla="*/ 0 h 149"/>
                <a:gd name="T74" fmla="*/ 0 w 304"/>
                <a:gd name="T75" fmla="*/ 0 h 149"/>
                <a:gd name="T76" fmla="*/ 0 w 304"/>
                <a:gd name="T77" fmla="*/ 0 h 149"/>
                <a:gd name="T78" fmla="*/ 0 w 304"/>
                <a:gd name="T79" fmla="*/ 0 h 149"/>
                <a:gd name="T80" fmla="*/ 0 w 304"/>
                <a:gd name="T81" fmla="*/ 0 h 149"/>
                <a:gd name="T82" fmla="*/ 0 w 304"/>
                <a:gd name="T83" fmla="*/ 0 h 149"/>
                <a:gd name="T84" fmla="*/ 0 w 304"/>
                <a:gd name="T85" fmla="*/ 0 h 149"/>
                <a:gd name="T86" fmla="*/ 0 w 304"/>
                <a:gd name="T87" fmla="*/ 0 h 149"/>
                <a:gd name="T88" fmla="*/ 0 w 304"/>
                <a:gd name="T89" fmla="*/ 0 h 149"/>
                <a:gd name="T90" fmla="*/ 0 w 304"/>
                <a:gd name="T91" fmla="*/ 0 h 149"/>
                <a:gd name="T92" fmla="*/ 0 w 304"/>
                <a:gd name="T93" fmla="*/ 0 h 149"/>
                <a:gd name="T94" fmla="*/ 0 w 304"/>
                <a:gd name="T95" fmla="*/ 0 h 149"/>
                <a:gd name="T96" fmla="*/ 0 w 304"/>
                <a:gd name="T97" fmla="*/ 0 h 149"/>
                <a:gd name="T98" fmla="*/ 0 w 304"/>
                <a:gd name="T99" fmla="*/ 0 h 149"/>
                <a:gd name="T100" fmla="*/ 0 w 304"/>
                <a:gd name="T101" fmla="*/ 0 h 149"/>
                <a:gd name="T102" fmla="*/ 0 w 304"/>
                <a:gd name="T103" fmla="*/ 0 h 149"/>
                <a:gd name="T104" fmla="*/ 0 w 304"/>
                <a:gd name="T105" fmla="*/ 0 h 149"/>
                <a:gd name="T106" fmla="*/ 0 w 304"/>
                <a:gd name="T107" fmla="*/ 0 h 149"/>
                <a:gd name="T108" fmla="*/ 0 w 304"/>
                <a:gd name="T109" fmla="*/ 0 h 149"/>
                <a:gd name="T110" fmla="*/ 0 w 304"/>
                <a:gd name="T111" fmla="*/ 0 h 149"/>
                <a:gd name="T112" fmla="*/ 0 w 304"/>
                <a:gd name="T113" fmla="*/ 0 h 149"/>
                <a:gd name="T114" fmla="*/ 0 w 304"/>
                <a:gd name="T115" fmla="*/ 0 h 14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4"/>
                <a:gd name="T175" fmla="*/ 0 h 149"/>
                <a:gd name="T176" fmla="*/ 304 w 304"/>
                <a:gd name="T177" fmla="*/ 149 h 14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4" h="149">
                  <a:moveTo>
                    <a:pt x="285" y="96"/>
                  </a:moveTo>
                  <a:lnTo>
                    <a:pt x="273" y="100"/>
                  </a:lnTo>
                  <a:lnTo>
                    <a:pt x="256" y="89"/>
                  </a:lnTo>
                  <a:lnTo>
                    <a:pt x="241" y="84"/>
                  </a:lnTo>
                  <a:lnTo>
                    <a:pt x="229" y="88"/>
                  </a:lnTo>
                  <a:lnTo>
                    <a:pt x="211" y="85"/>
                  </a:lnTo>
                  <a:lnTo>
                    <a:pt x="196" y="94"/>
                  </a:lnTo>
                  <a:lnTo>
                    <a:pt x="191" y="106"/>
                  </a:lnTo>
                  <a:lnTo>
                    <a:pt x="181" y="108"/>
                  </a:lnTo>
                  <a:lnTo>
                    <a:pt x="167" y="116"/>
                  </a:lnTo>
                  <a:lnTo>
                    <a:pt x="150" y="110"/>
                  </a:lnTo>
                  <a:lnTo>
                    <a:pt x="134" y="119"/>
                  </a:lnTo>
                  <a:lnTo>
                    <a:pt x="103" y="128"/>
                  </a:lnTo>
                  <a:lnTo>
                    <a:pt x="90" y="148"/>
                  </a:lnTo>
                  <a:lnTo>
                    <a:pt x="84" y="148"/>
                  </a:lnTo>
                  <a:lnTo>
                    <a:pt x="51" y="149"/>
                  </a:lnTo>
                  <a:lnTo>
                    <a:pt x="27" y="131"/>
                  </a:lnTo>
                  <a:lnTo>
                    <a:pt x="12" y="123"/>
                  </a:lnTo>
                  <a:lnTo>
                    <a:pt x="6" y="110"/>
                  </a:lnTo>
                  <a:lnTo>
                    <a:pt x="0" y="88"/>
                  </a:lnTo>
                  <a:lnTo>
                    <a:pt x="5" y="76"/>
                  </a:lnTo>
                  <a:lnTo>
                    <a:pt x="12" y="67"/>
                  </a:lnTo>
                  <a:lnTo>
                    <a:pt x="20" y="67"/>
                  </a:lnTo>
                  <a:lnTo>
                    <a:pt x="25" y="72"/>
                  </a:lnTo>
                  <a:lnTo>
                    <a:pt x="40" y="69"/>
                  </a:lnTo>
                  <a:lnTo>
                    <a:pt x="53" y="59"/>
                  </a:lnTo>
                  <a:lnTo>
                    <a:pt x="53" y="53"/>
                  </a:lnTo>
                  <a:lnTo>
                    <a:pt x="62" y="51"/>
                  </a:lnTo>
                  <a:lnTo>
                    <a:pt x="67" y="42"/>
                  </a:lnTo>
                  <a:lnTo>
                    <a:pt x="68" y="30"/>
                  </a:lnTo>
                  <a:lnTo>
                    <a:pt x="70" y="25"/>
                  </a:lnTo>
                  <a:lnTo>
                    <a:pt x="79" y="22"/>
                  </a:lnTo>
                  <a:lnTo>
                    <a:pt x="84" y="15"/>
                  </a:lnTo>
                  <a:lnTo>
                    <a:pt x="89" y="8"/>
                  </a:lnTo>
                  <a:lnTo>
                    <a:pt x="100" y="9"/>
                  </a:lnTo>
                  <a:lnTo>
                    <a:pt x="107" y="2"/>
                  </a:lnTo>
                  <a:lnTo>
                    <a:pt x="118" y="8"/>
                  </a:lnTo>
                  <a:lnTo>
                    <a:pt x="129" y="5"/>
                  </a:lnTo>
                  <a:lnTo>
                    <a:pt x="139" y="0"/>
                  </a:lnTo>
                  <a:lnTo>
                    <a:pt x="148" y="6"/>
                  </a:lnTo>
                  <a:lnTo>
                    <a:pt x="157" y="16"/>
                  </a:lnTo>
                  <a:lnTo>
                    <a:pt x="165" y="25"/>
                  </a:lnTo>
                  <a:lnTo>
                    <a:pt x="172" y="27"/>
                  </a:lnTo>
                  <a:lnTo>
                    <a:pt x="182" y="22"/>
                  </a:lnTo>
                  <a:lnTo>
                    <a:pt x="191" y="14"/>
                  </a:lnTo>
                  <a:lnTo>
                    <a:pt x="210" y="14"/>
                  </a:lnTo>
                  <a:lnTo>
                    <a:pt x="220" y="21"/>
                  </a:lnTo>
                  <a:lnTo>
                    <a:pt x="227" y="15"/>
                  </a:lnTo>
                  <a:lnTo>
                    <a:pt x="239" y="10"/>
                  </a:lnTo>
                  <a:lnTo>
                    <a:pt x="251" y="9"/>
                  </a:lnTo>
                  <a:lnTo>
                    <a:pt x="264" y="10"/>
                  </a:lnTo>
                  <a:lnTo>
                    <a:pt x="274" y="18"/>
                  </a:lnTo>
                  <a:lnTo>
                    <a:pt x="283" y="25"/>
                  </a:lnTo>
                  <a:lnTo>
                    <a:pt x="294" y="33"/>
                  </a:lnTo>
                  <a:lnTo>
                    <a:pt x="304" y="37"/>
                  </a:lnTo>
                  <a:lnTo>
                    <a:pt x="302" y="43"/>
                  </a:lnTo>
                  <a:lnTo>
                    <a:pt x="291" y="73"/>
                  </a:lnTo>
                  <a:lnTo>
                    <a:pt x="285" y="9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97" name="Freeform 209">
              <a:extLst>
                <a:ext uri="{FF2B5EF4-FFF2-40B4-BE49-F238E27FC236}">
                  <a16:creationId xmlns:a16="http://schemas.microsoft.com/office/drawing/2014/main" id="{509C3577-EF0F-0FCD-EF7E-2438189A054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164166" y="2691792"/>
              <a:ext cx="89541" cy="70114"/>
            </a:xfrm>
            <a:custGeom>
              <a:avLst/>
              <a:gdLst>
                <a:gd name="T0" fmla="*/ 0 w 173"/>
                <a:gd name="T1" fmla="*/ 0 h 123"/>
                <a:gd name="T2" fmla="*/ 0 w 173"/>
                <a:gd name="T3" fmla="*/ 0 h 123"/>
                <a:gd name="T4" fmla="*/ 0 w 173"/>
                <a:gd name="T5" fmla="*/ 0 h 123"/>
                <a:gd name="T6" fmla="*/ 0 w 173"/>
                <a:gd name="T7" fmla="*/ 0 h 123"/>
                <a:gd name="T8" fmla="*/ 0 w 173"/>
                <a:gd name="T9" fmla="*/ 0 h 123"/>
                <a:gd name="T10" fmla="*/ 0 w 173"/>
                <a:gd name="T11" fmla="*/ 0 h 123"/>
                <a:gd name="T12" fmla="*/ 0 w 173"/>
                <a:gd name="T13" fmla="*/ 0 h 123"/>
                <a:gd name="T14" fmla="*/ 0 w 173"/>
                <a:gd name="T15" fmla="*/ 0 h 123"/>
                <a:gd name="T16" fmla="*/ 0 w 173"/>
                <a:gd name="T17" fmla="*/ 0 h 123"/>
                <a:gd name="T18" fmla="*/ 0 w 173"/>
                <a:gd name="T19" fmla="*/ 0 h 123"/>
                <a:gd name="T20" fmla="*/ 0 w 173"/>
                <a:gd name="T21" fmla="*/ 0 h 123"/>
                <a:gd name="T22" fmla="*/ 0 w 173"/>
                <a:gd name="T23" fmla="*/ 0 h 123"/>
                <a:gd name="T24" fmla="*/ 0 w 173"/>
                <a:gd name="T25" fmla="*/ 0 h 123"/>
                <a:gd name="T26" fmla="*/ 0 w 173"/>
                <a:gd name="T27" fmla="*/ 0 h 123"/>
                <a:gd name="T28" fmla="*/ 0 w 173"/>
                <a:gd name="T29" fmla="*/ 0 h 123"/>
                <a:gd name="T30" fmla="*/ 0 w 173"/>
                <a:gd name="T31" fmla="*/ 0 h 123"/>
                <a:gd name="T32" fmla="*/ 0 w 173"/>
                <a:gd name="T33" fmla="*/ 0 h 123"/>
                <a:gd name="T34" fmla="*/ 0 w 173"/>
                <a:gd name="T35" fmla="*/ 0 h 123"/>
                <a:gd name="T36" fmla="*/ 0 w 173"/>
                <a:gd name="T37" fmla="*/ 0 h 123"/>
                <a:gd name="T38" fmla="*/ 0 w 173"/>
                <a:gd name="T39" fmla="*/ 0 h 123"/>
                <a:gd name="T40" fmla="*/ 0 w 173"/>
                <a:gd name="T41" fmla="*/ 0 h 123"/>
                <a:gd name="T42" fmla="*/ 0 w 173"/>
                <a:gd name="T43" fmla="*/ 0 h 123"/>
                <a:gd name="T44" fmla="*/ 0 w 173"/>
                <a:gd name="T45" fmla="*/ 0 h 123"/>
                <a:gd name="T46" fmla="*/ 0 w 173"/>
                <a:gd name="T47" fmla="*/ 0 h 123"/>
                <a:gd name="T48" fmla="*/ 0 w 173"/>
                <a:gd name="T49" fmla="*/ 0 h 123"/>
                <a:gd name="T50" fmla="*/ 0 w 173"/>
                <a:gd name="T51" fmla="*/ 0 h 123"/>
                <a:gd name="T52" fmla="*/ 0 w 173"/>
                <a:gd name="T53" fmla="*/ 0 h 123"/>
                <a:gd name="T54" fmla="*/ 0 w 173"/>
                <a:gd name="T55" fmla="*/ 0 h 123"/>
                <a:gd name="T56" fmla="*/ 0 w 173"/>
                <a:gd name="T57" fmla="*/ 0 h 123"/>
                <a:gd name="T58" fmla="*/ 0 w 173"/>
                <a:gd name="T59" fmla="*/ 0 h 123"/>
                <a:gd name="T60" fmla="*/ 0 w 173"/>
                <a:gd name="T61" fmla="*/ 0 h 123"/>
                <a:gd name="T62" fmla="*/ 0 w 173"/>
                <a:gd name="T63" fmla="*/ 0 h 123"/>
                <a:gd name="T64" fmla="*/ 0 w 173"/>
                <a:gd name="T65" fmla="*/ 0 h 123"/>
                <a:gd name="T66" fmla="*/ 0 w 173"/>
                <a:gd name="T67" fmla="*/ 0 h 123"/>
                <a:gd name="T68" fmla="*/ 0 w 173"/>
                <a:gd name="T69" fmla="*/ 0 h 123"/>
                <a:gd name="T70" fmla="*/ 0 w 173"/>
                <a:gd name="T71" fmla="*/ 0 h 123"/>
                <a:gd name="T72" fmla="*/ 0 w 173"/>
                <a:gd name="T73" fmla="*/ 0 h 12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73"/>
                <a:gd name="T112" fmla="*/ 0 h 123"/>
                <a:gd name="T113" fmla="*/ 173 w 173"/>
                <a:gd name="T114" fmla="*/ 123 h 12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73" h="123">
                  <a:moveTo>
                    <a:pt x="145" y="0"/>
                  </a:moveTo>
                  <a:lnTo>
                    <a:pt x="136" y="4"/>
                  </a:lnTo>
                  <a:lnTo>
                    <a:pt x="134" y="12"/>
                  </a:lnTo>
                  <a:lnTo>
                    <a:pt x="117" y="10"/>
                  </a:lnTo>
                  <a:lnTo>
                    <a:pt x="113" y="10"/>
                  </a:lnTo>
                  <a:lnTo>
                    <a:pt x="108" y="19"/>
                  </a:lnTo>
                  <a:lnTo>
                    <a:pt x="88" y="15"/>
                  </a:lnTo>
                  <a:lnTo>
                    <a:pt x="75" y="17"/>
                  </a:lnTo>
                  <a:lnTo>
                    <a:pt x="66" y="28"/>
                  </a:lnTo>
                  <a:lnTo>
                    <a:pt x="58" y="33"/>
                  </a:lnTo>
                  <a:lnTo>
                    <a:pt x="30" y="31"/>
                  </a:lnTo>
                  <a:lnTo>
                    <a:pt x="14" y="31"/>
                  </a:lnTo>
                  <a:lnTo>
                    <a:pt x="2" y="41"/>
                  </a:lnTo>
                  <a:lnTo>
                    <a:pt x="0" y="48"/>
                  </a:lnTo>
                  <a:lnTo>
                    <a:pt x="0" y="53"/>
                  </a:lnTo>
                  <a:lnTo>
                    <a:pt x="2" y="54"/>
                  </a:lnTo>
                  <a:lnTo>
                    <a:pt x="7" y="53"/>
                  </a:lnTo>
                  <a:lnTo>
                    <a:pt x="5" y="60"/>
                  </a:lnTo>
                  <a:lnTo>
                    <a:pt x="4" y="68"/>
                  </a:lnTo>
                  <a:lnTo>
                    <a:pt x="9" y="74"/>
                  </a:lnTo>
                  <a:lnTo>
                    <a:pt x="9" y="82"/>
                  </a:lnTo>
                  <a:lnTo>
                    <a:pt x="11" y="85"/>
                  </a:lnTo>
                  <a:lnTo>
                    <a:pt x="18" y="89"/>
                  </a:lnTo>
                  <a:lnTo>
                    <a:pt x="21" y="94"/>
                  </a:lnTo>
                  <a:lnTo>
                    <a:pt x="25" y="95"/>
                  </a:lnTo>
                  <a:lnTo>
                    <a:pt x="27" y="98"/>
                  </a:lnTo>
                  <a:lnTo>
                    <a:pt x="26" y="103"/>
                  </a:lnTo>
                  <a:lnTo>
                    <a:pt x="22" y="106"/>
                  </a:lnTo>
                  <a:lnTo>
                    <a:pt x="17" y="107"/>
                  </a:lnTo>
                  <a:lnTo>
                    <a:pt x="12" y="106"/>
                  </a:lnTo>
                  <a:lnTo>
                    <a:pt x="6" y="111"/>
                  </a:lnTo>
                  <a:lnTo>
                    <a:pt x="14" y="117"/>
                  </a:lnTo>
                  <a:lnTo>
                    <a:pt x="27" y="116"/>
                  </a:lnTo>
                  <a:lnTo>
                    <a:pt x="30" y="111"/>
                  </a:lnTo>
                  <a:lnTo>
                    <a:pt x="36" y="116"/>
                  </a:lnTo>
                  <a:lnTo>
                    <a:pt x="53" y="116"/>
                  </a:lnTo>
                  <a:lnTo>
                    <a:pt x="60" y="100"/>
                  </a:lnTo>
                  <a:lnTo>
                    <a:pt x="63" y="100"/>
                  </a:lnTo>
                  <a:lnTo>
                    <a:pt x="74" y="119"/>
                  </a:lnTo>
                  <a:lnTo>
                    <a:pt x="79" y="118"/>
                  </a:lnTo>
                  <a:lnTo>
                    <a:pt x="79" y="114"/>
                  </a:lnTo>
                  <a:lnTo>
                    <a:pt x="81" y="114"/>
                  </a:lnTo>
                  <a:lnTo>
                    <a:pt x="84" y="117"/>
                  </a:lnTo>
                  <a:lnTo>
                    <a:pt x="87" y="117"/>
                  </a:lnTo>
                  <a:lnTo>
                    <a:pt x="92" y="123"/>
                  </a:lnTo>
                  <a:lnTo>
                    <a:pt x="96" y="123"/>
                  </a:lnTo>
                  <a:lnTo>
                    <a:pt x="101" y="119"/>
                  </a:lnTo>
                  <a:lnTo>
                    <a:pt x="100" y="107"/>
                  </a:lnTo>
                  <a:lnTo>
                    <a:pt x="103" y="102"/>
                  </a:lnTo>
                  <a:lnTo>
                    <a:pt x="100" y="97"/>
                  </a:lnTo>
                  <a:lnTo>
                    <a:pt x="111" y="89"/>
                  </a:lnTo>
                  <a:lnTo>
                    <a:pt x="119" y="87"/>
                  </a:lnTo>
                  <a:lnTo>
                    <a:pt x="124" y="80"/>
                  </a:lnTo>
                  <a:lnTo>
                    <a:pt x="124" y="69"/>
                  </a:lnTo>
                  <a:lnTo>
                    <a:pt x="118" y="62"/>
                  </a:lnTo>
                  <a:lnTo>
                    <a:pt x="117" y="58"/>
                  </a:lnTo>
                  <a:lnTo>
                    <a:pt x="120" y="53"/>
                  </a:lnTo>
                  <a:lnTo>
                    <a:pt x="140" y="46"/>
                  </a:lnTo>
                  <a:lnTo>
                    <a:pt x="144" y="43"/>
                  </a:lnTo>
                  <a:lnTo>
                    <a:pt x="144" y="38"/>
                  </a:lnTo>
                  <a:lnTo>
                    <a:pt x="151" y="38"/>
                  </a:lnTo>
                  <a:lnTo>
                    <a:pt x="155" y="39"/>
                  </a:lnTo>
                  <a:lnTo>
                    <a:pt x="155" y="38"/>
                  </a:lnTo>
                  <a:lnTo>
                    <a:pt x="154" y="32"/>
                  </a:lnTo>
                  <a:lnTo>
                    <a:pt x="154" y="27"/>
                  </a:lnTo>
                  <a:lnTo>
                    <a:pt x="157" y="24"/>
                  </a:lnTo>
                  <a:lnTo>
                    <a:pt x="161" y="25"/>
                  </a:lnTo>
                  <a:lnTo>
                    <a:pt x="170" y="31"/>
                  </a:lnTo>
                  <a:lnTo>
                    <a:pt x="173" y="28"/>
                  </a:lnTo>
                  <a:lnTo>
                    <a:pt x="173" y="31"/>
                  </a:lnTo>
                  <a:lnTo>
                    <a:pt x="165" y="17"/>
                  </a:lnTo>
                  <a:lnTo>
                    <a:pt x="160" y="4"/>
                  </a:lnTo>
                  <a:lnTo>
                    <a:pt x="152" y="0"/>
                  </a:lnTo>
                  <a:lnTo>
                    <a:pt x="145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98" name="Freeform 210">
              <a:extLst>
                <a:ext uri="{FF2B5EF4-FFF2-40B4-BE49-F238E27FC236}">
                  <a16:creationId xmlns:a16="http://schemas.microsoft.com/office/drawing/2014/main" id="{030D21D6-3A7F-34B5-ADD1-AD9BF3FC487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71601" y="2891464"/>
              <a:ext cx="68648" cy="57921"/>
            </a:xfrm>
            <a:custGeom>
              <a:avLst/>
              <a:gdLst>
                <a:gd name="T0" fmla="*/ 0 w 132"/>
                <a:gd name="T1" fmla="*/ 0 h 107"/>
                <a:gd name="T2" fmla="*/ 0 w 132"/>
                <a:gd name="T3" fmla="*/ 0 h 107"/>
                <a:gd name="T4" fmla="*/ 0 w 132"/>
                <a:gd name="T5" fmla="*/ 0 h 107"/>
                <a:gd name="T6" fmla="*/ 0 w 132"/>
                <a:gd name="T7" fmla="*/ 0 h 107"/>
                <a:gd name="T8" fmla="*/ 0 w 132"/>
                <a:gd name="T9" fmla="*/ 0 h 107"/>
                <a:gd name="T10" fmla="*/ 0 w 132"/>
                <a:gd name="T11" fmla="*/ 0 h 107"/>
                <a:gd name="T12" fmla="*/ 0 w 132"/>
                <a:gd name="T13" fmla="*/ 0 h 107"/>
                <a:gd name="T14" fmla="*/ 0 w 132"/>
                <a:gd name="T15" fmla="*/ 0 h 107"/>
                <a:gd name="T16" fmla="*/ 0 w 132"/>
                <a:gd name="T17" fmla="*/ 0 h 107"/>
                <a:gd name="T18" fmla="*/ 0 w 132"/>
                <a:gd name="T19" fmla="*/ 0 h 107"/>
                <a:gd name="T20" fmla="*/ 0 w 132"/>
                <a:gd name="T21" fmla="*/ 0 h 107"/>
                <a:gd name="T22" fmla="*/ 0 w 132"/>
                <a:gd name="T23" fmla="*/ 0 h 107"/>
                <a:gd name="T24" fmla="*/ 0 w 132"/>
                <a:gd name="T25" fmla="*/ 0 h 107"/>
                <a:gd name="T26" fmla="*/ 0 w 132"/>
                <a:gd name="T27" fmla="*/ 0 h 107"/>
                <a:gd name="T28" fmla="*/ 0 w 132"/>
                <a:gd name="T29" fmla="*/ 0 h 107"/>
                <a:gd name="T30" fmla="*/ 0 w 132"/>
                <a:gd name="T31" fmla="*/ 0 h 107"/>
                <a:gd name="T32" fmla="*/ 0 w 132"/>
                <a:gd name="T33" fmla="*/ 0 h 107"/>
                <a:gd name="T34" fmla="*/ 0 w 132"/>
                <a:gd name="T35" fmla="*/ 0 h 107"/>
                <a:gd name="T36" fmla="*/ 0 w 132"/>
                <a:gd name="T37" fmla="*/ 0 h 107"/>
                <a:gd name="T38" fmla="*/ 0 w 132"/>
                <a:gd name="T39" fmla="*/ 0 h 107"/>
                <a:gd name="T40" fmla="*/ 0 w 132"/>
                <a:gd name="T41" fmla="*/ 0 h 107"/>
                <a:gd name="T42" fmla="*/ 0 w 132"/>
                <a:gd name="T43" fmla="*/ 0 h 107"/>
                <a:gd name="T44" fmla="*/ 0 w 132"/>
                <a:gd name="T45" fmla="*/ 0 h 107"/>
                <a:gd name="T46" fmla="*/ 0 w 132"/>
                <a:gd name="T47" fmla="*/ 0 h 107"/>
                <a:gd name="T48" fmla="*/ 0 w 132"/>
                <a:gd name="T49" fmla="*/ 0 h 107"/>
                <a:gd name="T50" fmla="*/ 0 w 132"/>
                <a:gd name="T51" fmla="*/ 0 h 107"/>
                <a:gd name="T52" fmla="*/ 0 w 132"/>
                <a:gd name="T53" fmla="*/ 0 h 107"/>
                <a:gd name="T54" fmla="*/ 0 w 132"/>
                <a:gd name="T55" fmla="*/ 0 h 107"/>
                <a:gd name="T56" fmla="*/ 0 w 132"/>
                <a:gd name="T57" fmla="*/ 0 h 10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32"/>
                <a:gd name="T88" fmla="*/ 0 h 107"/>
                <a:gd name="T89" fmla="*/ 132 w 132"/>
                <a:gd name="T90" fmla="*/ 107 h 10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32" h="107">
                  <a:moveTo>
                    <a:pt x="25" y="107"/>
                  </a:moveTo>
                  <a:lnTo>
                    <a:pt x="8" y="90"/>
                  </a:lnTo>
                  <a:lnTo>
                    <a:pt x="0" y="70"/>
                  </a:lnTo>
                  <a:lnTo>
                    <a:pt x="0" y="53"/>
                  </a:lnTo>
                  <a:lnTo>
                    <a:pt x="5" y="17"/>
                  </a:lnTo>
                  <a:lnTo>
                    <a:pt x="6" y="19"/>
                  </a:lnTo>
                  <a:lnTo>
                    <a:pt x="11" y="19"/>
                  </a:lnTo>
                  <a:lnTo>
                    <a:pt x="14" y="16"/>
                  </a:lnTo>
                  <a:lnTo>
                    <a:pt x="14" y="8"/>
                  </a:lnTo>
                  <a:lnTo>
                    <a:pt x="32" y="1"/>
                  </a:lnTo>
                  <a:lnTo>
                    <a:pt x="35" y="3"/>
                  </a:lnTo>
                  <a:lnTo>
                    <a:pt x="41" y="10"/>
                  </a:lnTo>
                  <a:lnTo>
                    <a:pt x="44" y="10"/>
                  </a:lnTo>
                  <a:lnTo>
                    <a:pt x="44" y="5"/>
                  </a:lnTo>
                  <a:lnTo>
                    <a:pt x="51" y="0"/>
                  </a:lnTo>
                  <a:lnTo>
                    <a:pt x="67" y="4"/>
                  </a:lnTo>
                  <a:lnTo>
                    <a:pt x="71" y="0"/>
                  </a:lnTo>
                  <a:lnTo>
                    <a:pt x="86" y="3"/>
                  </a:lnTo>
                  <a:lnTo>
                    <a:pt x="97" y="1"/>
                  </a:lnTo>
                  <a:lnTo>
                    <a:pt x="103" y="4"/>
                  </a:lnTo>
                  <a:lnTo>
                    <a:pt x="126" y="24"/>
                  </a:lnTo>
                  <a:lnTo>
                    <a:pt x="131" y="53"/>
                  </a:lnTo>
                  <a:lnTo>
                    <a:pt x="132" y="69"/>
                  </a:lnTo>
                  <a:lnTo>
                    <a:pt x="126" y="71"/>
                  </a:lnTo>
                  <a:lnTo>
                    <a:pt x="111" y="85"/>
                  </a:lnTo>
                  <a:lnTo>
                    <a:pt x="91" y="85"/>
                  </a:lnTo>
                  <a:lnTo>
                    <a:pt x="72" y="92"/>
                  </a:lnTo>
                  <a:lnTo>
                    <a:pt x="61" y="102"/>
                  </a:lnTo>
                  <a:lnTo>
                    <a:pt x="25" y="10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99" name="Freeform 211">
              <a:extLst>
                <a:ext uri="{FF2B5EF4-FFF2-40B4-BE49-F238E27FC236}">
                  <a16:creationId xmlns:a16="http://schemas.microsoft.com/office/drawing/2014/main" id="{3F44EA9E-5345-351E-606C-A60CD506E932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59663" y="2626251"/>
              <a:ext cx="279068" cy="207294"/>
            </a:xfrm>
            <a:custGeom>
              <a:avLst/>
              <a:gdLst>
                <a:gd name="T0" fmla="*/ 2147483647 w 523"/>
                <a:gd name="T1" fmla="*/ 2147483647 h 364"/>
                <a:gd name="T2" fmla="*/ 2147483647 w 523"/>
                <a:gd name="T3" fmla="*/ 2147483647 h 364"/>
                <a:gd name="T4" fmla="*/ 2147483647 w 523"/>
                <a:gd name="T5" fmla="*/ 2147483647 h 364"/>
                <a:gd name="T6" fmla="*/ 2147483647 w 523"/>
                <a:gd name="T7" fmla="*/ 2147483647 h 364"/>
                <a:gd name="T8" fmla="*/ 0 w 523"/>
                <a:gd name="T9" fmla="*/ 2147483647 h 364"/>
                <a:gd name="T10" fmla="*/ 0 w 523"/>
                <a:gd name="T11" fmla="*/ 2147483647 h 364"/>
                <a:gd name="T12" fmla="*/ 0 w 523"/>
                <a:gd name="T13" fmla="*/ 2147483647 h 364"/>
                <a:gd name="T14" fmla="*/ 0 w 523"/>
                <a:gd name="T15" fmla="*/ 2147483647 h 364"/>
                <a:gd name="T16" fmla="*/ 0 w 523"/>
                <a:gd name="T17" fmla="*/ 2147483647 h 364"/>
                <a:gd name="T18" fmla="*/ 0 w 523"/>
                <a:gd name="T19" fmla="*/ 0 h 364"/>
                <a:gd name="T20" fmla="*/ 0 w 523"/>
                <a:gd name="T21" fmla="*/ 0 h 364"/>
                <a:gd name="T22" fmla="*/ 0 w 523"/>
                <a:gd name="T23" fmla="*/ 0 h 364"/>
                <a:gd name="T24" fmla="*/ 0 w 523"/>
                <a:gd name="T25" fmla="*/ 0 h 364"/>
                <a:gd name="T26" fmla="*/ 0 w 523"/>
                <a:gd name="T27" fmla="*/ 0 h 364"/>
                <a:gd name="T28" fmla="*/ 0 w 523"/>
                <a:gd name="T29" fmla="*/ 0 h 364"/>
                <a:gd name="T30" fmla="*/ 0 w 523"/>
                <a:gd name="T31" fmla="*/ 0 h 364"/>
                <a:gd name="T32" fmla="*/ 0 w 523"/>
                <a:gd name="T33" fmla="*/ 0 h 364"/>
                <a:gd name="T34" fmla="*/ 0 w 523"/>
                <a:gd name="T35" fmla="*/ 0 h 364"/>
                <a:gd name="T36" fmla="*/ 0 w 523"/>
                <a:gd name="T37" fmla="*/ 0 h 364"/>
                <a:gd name="T38" fmla="*/ 0 w 523"/>
                <a:gd name="T39" fmla="*/ 0 h 364"/>
                <a:gd name="T40" fmla="*/ 0 w 523"/>
                <a:gd name="T41" fmla="*/ 0 h 364"/>
                <a:gd name="T42" fmla="*/ 0 w 523"/>
                <a:gd name="T43" fmla="*/ 0 h 364"/>
                <a:gd name="T44" fmla="*/ 0 w 523"/>
                <a:gd name="T45" fmla="*/ 0 h 364"/>
                <a:gd name="T46" fmla="*/ 0 w 523"/>
                <a:gd name="T47" fmla="*/ 0 h 364"/>
                <a:gd name="T48" fmla="*/ 0 w 523"/>
                <a:gd name="T49" fmla="*/ 0 h 364"/>
                <a:gd name="T50" fmla="*/ 0 w 523"/>
                <a:gd name="T51" fmla="*/ 0 h 364"/>
                <a:gd name="T52" fmla="*/ 0 w 523"/>
                <a:gd name="T53" fmla="*/ 0 h 364"/>
                <a:gd name="T54" fmla="*/ 0 w 523"/>
                <a:gd name="T55" fmla="*/ 0 h 364"/>
                <a:gd name="T56" fmla="*/ 0 w 523"/>
                <a:gd name="T57" fmla="*/ 0 h 364"/>
                <a:gd name="T58" fmla="*/ 0 w 523"/>
                <a:gd name="T59" fmla="*/ 0 h 364"/>
                <a:gd name="T60" fmla="*/ 2147483647 w 523"/>
                <a:gd name="T61" fmla="*/ 0 h 364"/>
                <a:gd name="T62" fmla="*/ 2147483647 w 523"/>
                <a:gd name="T63" fmla="*/ 0 h 364"/>
                <a:gd name="T64" fmla="*/ 2147483647 w 523"/>
                <a:gd name="T65" fmla="*/ 0 h 364"/>
                <a:gd name="T66" fmla="*/ 2147483647 w 523"/>
                <a:gd name="T67" fmla="*/ 0 h 364"/>
                <a:gd name="T68" fmla="*/ 2147483647 w 523"/>
                <a:gd name="T69" fmla="*/ 0 h 364"/>
                <a:gd name="T70" fmla="*/ 2147483647 w 523"/>
                <a:gd name="T71" fmla="*/ 0 h 364"/>
                <a:gd name="T72" fmla="*/ 2147483647 w 523"/>
                <a:gd name="T73" fmla="*/ 0 h 364"/>
                <a:gd name="T74" fmla="*/ 2147483647 w 523"/>
                <a:gd name="T75" fmla="*/ 0 h 364"/>
                <a:gd name="T76" fmla="*/ 2147483647 w 523"/>
                <a:gd name="T77" fmla="*/ 0 h 364"/>
                <a:gd name="T78" fmla="*/ 2147483647 w 523"/>
                <a:gd name="T79" fmla="*/ 0 h 364"/>
                <a:gd name="T80" fmla="*/ 2147483647 w 523"/>
                <a:gd name="T81" fmla="*/ 0 h 364"/>
                <a:gd name="T82" fmla="*/ 2147483647 w 523"/>
                <a:gd name="T83" fmla="*/ 0 h 364"/>
                <a:gd name="T84" fmla="*/ 2147483647 w 523"/>
                <a:gd name="T85" fmla="*/ 0 h 364"/>
                <a:gd name="T86" fmla="*/ 2147483647 w 523"/>
                <a:gd name="T87" fmla="*/ 0 h 364"/>
                <a:gd name="T88" fmla="*/ 2147483647 w 523"/>
                <a:gd name="T89" fmla="*/ 0 h 364"/>
                <a:gd name="T90" fmla="*/ 2147483647 w 523"/>
                <a:gd name="T91" fmla="*/ 0 h 364"/>
                <a:gd name="T92" fmla="*/ 2147483647 w 523"/>
                <a:gd name="T93" fmla="*/ 0 h 364"/>
                <a:gd name="T94" fmla="*/ 2147483647 w 523"/>
                <a:gd name="T95" fmla="*/ 0 h 364"/>
                <a:gd name="T96" fmla="*/ 2147483647 w 523"/>
                <a:gd name="T97" fmla="*/ 0 h 364"/>
                <a:gd name="T98" fmla="*/ 2147483647 w 523"/>
                <a:gd name="T99" fmla="*/ 0 h 364"/>
                <a:gd name="T100" fmla="*/ 2147483647 w 523"/>
                <a:gd name="T101" fmla="*/ 0 h 364"/>
                <a:gd name="T102" fmla="*/ 2147483647 w 523"/>
                <a:gd name="T103" fmla="*/ 2147483647 h 364"/>
                <a:gd name="T104" fmla="*/ 2147483647 w 523"/>
                <a:gd name="T105" fmla="*/ 2147483647 h 3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23"/>
                <a:gd name="T160" fmla="*/ 0 h 364"/>
                <a:gd name="T161" fmla="*/ 523 w 523"/>
                <a:gd name="T162" fmla="*/ 364 h 3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23" h="364">
                  <a:moveTo>
                    <a:pt x="467" y="355"/>
                  </a:moveTo>
                  <a:lnTo>
                    <a:pt x="449" y="356"/>
                  </a:lnTo>
                  <a:lnTo>
                    <a:pt x="429" y="343"/>
                  </a:lnTo>
                  <a:lnTo>
                    <a:pt x="399" y="334"/>
                  </a:lnTo>
                  <a:lnTo>
                    <a:pt x="393" y="329"/>
                  </a:lnTo>
                  <a:lnTo>
                    <a:pt x="373" y="328"/>
                  </a:lnTo>
                  <a:lnTo>
                    <a:pt x="347" y="337"/>
                  </a:lnTo>
                  <a:lnTo>
                    <a:pt x="327" y="347"/>
                  </a:lnTo>
                  <a:lnTo>
                    <a:pt x="308" y="359"/>
                  </a:lnTo>
                  <a:lnTo>
                    <a:pt x="291" y="364"/>
                  </a:lnTo>
                  <a:lnTo>
                    <a:pt x="247" y="356"/>
                  </a:lnTo>
                  <a:lnTo>
                    <a:pt x="206" y="355"/>
                  </a:lnTo>
                  <a:lnTo>
                    <a:pt x="172" y="351"/>
                  </a:lnTo>
                  <a:lnTo>
                    <a:pt x="158" y="351"/>
                  </a:lnTo>
                  <a:lnTo>
                    <a:pt x="147" y="343"/>
                  </a:lnTo>
                  <a:lnTo>
                    <a:pt x="153" y="328"/>
                  </a:lnTo>
                  <a:lnTo>
                    <a:pt x="141" y="324"/>
                  </a:lnTo>
                  <a:lnTo>
                    <a:pt x="131" y="322"/>
                  </a:lnTo>
                  <a:lnTo>
                    <a:pt x="124" y="306"/>
                  </a:lnTo>
                  <a:lnTo>
                    <a:pt x="134" y="295"/>
                  </a:lnTo>
                  <a:lnTo>
                    <a:pt x="126" y="284"/>
                  </a:lnTo>
                  <a:lnTo>
                    <a:pt x="115" y="293"/>
                  </a:lnTo>
                  <a:lnTo>
                    <a:pt x="87" y="283"/>
                  </a:lnTo>
                  <a:lnTo>
                    <a:pt x="72" y="270"/>
                  </a:lnTo>
                  <a:lnTo>
                    <a:pt x="71" y="256"/>
                  </a:lnTo>
                  <a:lnTo>
                    <a:pt x="69" y="246"/>
                  </a:lnTo>
                  <a:lnTo>
                    <a:pt x="60" y="241"/>
                  </a:lnTo>
                  <a:lnTo>
                    <a:pt x="49" y="238"/>
                  </a:lnTo>
                  <a:lnTo>
                    <a:pt x="40" y="225"/>
                  </a:lnTo>
                  <a:lnTo>
                    <a:pt x="35" y="207"/>
                  </a:lnTo>
                  <a:lnTo>
                    <a:pt x="30" y="194"/>
                  </a:lnTo>
                  <a:lnTo>
                    <a:pt x="19" y="182"/>
                  </a:lnTo>
                  <a:lnTo>
                    <a:pt x="5" y="176"/>
                  </a:lnTo>
                  <a:lnTo>
                    <a:pt x="0" y="172"/>
                  </a:lnTo>
                  <a:lnTo>
                    <a:pt x="3" y="172"/>
                  </a:lnTo>
                  <a:lnTo>
                    <a:pt x="35" y="162"/>
                  </a:lnTo>
                  <a:lnTo>
                    <a:pt x="51" y="155"/>
                  </a:lnTo>
                  <a:lnTo>
                    <a:pt x="59" y="138"/>
                  </a:lnTo>
                  <a:lnTo>
                    <a:pt x="66" y="128"/>
                  </a:lnTo>
                  <a:lnTo>
                    <a:pt x="73" y="112"/>
                  </a:lnTo>
                  <a:lnTo>
                    <a:pt x="78" y="98"/>
                  </a:lnTo>
                  <a:lnTo>
                    <a:pt x="91" y="85"/>
                  </a:lnTo>
                  <a:lnTo>
                    <a:pt x="93" y="74"/>
                  </a:lnTo>
                  <a:lnTo>
                    <a:pt x="99" y="63"/>
                  </a:lnTo>
                  <a:lnTo>
                    <a:pt x="101" y="55"/>
                  </a:lnTo>
                  <a:lnTo>
                    <a:pt x="110" y="46"/>
                  </a:lnTo>
                  <a:lnTo>
                    <a:pt x="125" y="39"/>
                  </a:lnTo>
                  <a:lnTo>
                    <a:pt x="132" y="39"/>
                  </a:lnTo>
                  <a:lnTo>
                    <a:pt x="140" y="32"/>
                  </a:lnTo>
                  <a:lnTo>
                    <a:pt x="144" y="25"/>
                  </a:lnTo>
                  <a:lnTo>
                    <a:pt x="151" y="22"/>
                  </a:lnTo>
                  <a:lnTo>
                    <a:pt x="168" y="22"/>
                  </a:lnTo>
                  <a:lnTo>
                    <a:pt x="187" y="25"/>
                  </a:lnTo>
                  <a:lnTo>
                    <a:pt x="210" y="27"/>
                  </a:lnTo>
                  <a:lnTo>
                    <a:pt x="225" y="24"/>
                  </a:lnTo>
                  <a:lnTo>
                    <a:pt x="241" y="22"/>
                  </a:lnTo>
                  <a:lnTo>
                    <a:pt x="252" y="32"/>
                  </a:lnTo>
                  <a:lnTo>
                    <a:pt x="261" y="37"/>
                  </a:lnTo>
                  <a:lnTo>
                    <a:pt x="277" y="26"/>
                  </a:lnTo>
                  <a:lnTo>
                    <a:pt x="295" y="21"/>
                  </a:lnTo>
                  <a:lnTo>
                    <a:pt x="312" y="21"/>
                  </a:lnTo>
                  <a:lnTo>
                    <a:pt x="346" y="0"/>
                  </a:lnTo>
                  <a:lnTo>
                    <a:pt x="352" y="1"/>
                  </a:lnTo>
                  <a:lnTo>
                    <a:pt x="360" y="1"/>
                  </a:lnTo>
                  <a:lnTo>
                    <a:pt x="372" y="11"/>
                  </a:lnTo>
                  <a:lnTo>
                    <a:pt x="386" y="25"/>
                  </a:lnTo>
                  <a:lnTo>
                    <a:pt x="394" y="38"/>
                  </a:lnTo>
                  <a:lnTo>
                    <a:pt x="397" y="55"/>
                  </a:lnTo>
                  <a:lnTo>
                    <a:pt x="409" y="76"/>
                  </a:lnTo>
                  <a:lnTo>
                    <a:pt x="422" y="97"/>
                  </a:lnTo>
                  <a:lnTo>
                    <a:pt x="433" y="117"/>
                  </a:lnTo>
                  <a:lnTo>
                    <a:pt x="438" y="146"/>
                  </a:lnTo>
                  <a:lnTo>
                    <a:pt x="438" y="166"/>
                  </a:lnTo>
                  <a:lnTo>
                    <a:pt x="436" y="182"/>
                  </a:lnTo>
                  <a:lnTo>
                    <a:pt x="438" y="194"/>
                  </a:lnTo>
                  <a:lnTo>
                    <a:pt x="440" y="207"/>
                  </a:lnTo>
                  <a:lnTo>
                    <a:pt x="440" y="221"/>
                  </a:lnTo>
                  <a:lnTo>
                    <a:pt x="440" y="225"/>
                  </a:lnTo>
                  <a:lnTo>
                    <a:pt x="448" y="224"/>
                  </a:lnTo>
                  <a:lnTo>
                    <a:pt x="462" y="241"/>
                  </a:lnTo>
                  <a:lnTo>
                    <a:pt x="472" y="240"/>
                  </a:lnTo>
                  <a:lnTo>
                    <a:pt x="483" y="232"/>
                  </a:lnTo>
                  <a:lnTo>
                    <a:pt x="497" y="230"/>
                  </a:lnTo>
                  <a:lnTo>
                    <a:pt x="506" y="226"/>
                  </a:lnTo>
                  <a:lnTo>
                    <a:pt x="515" y="226"/>
                  </a:lnTo>
                  <a:lnTo>
                    <a:pt x="521" y="230"/>
                  </a:lnTo>
                  <a:lnTo>
                    <a:pt x="523" y="237"/>
                  </a:lnTo>
                  <a:lnTo>
                    <a:pt x="523" y="254"/>
                  </a:lnTo>
                  <a:lnTo>
                    <a:pt x="521" y="265"/>
                  </a:lnTo>
                  <a:lnTo>
                    <a:pt x="518" y="270"/>
                  </a:lnTo>
                  <a:lnTo>
                    <a:pt x="513" y="277"/>
                  </a:lnTo>
                  <a:lnTo>
                    <a:pt x="502" y="279"/>
                  </a:lnTo>
                  <a:lnTo>
                    <a:pt x="492" y="286"/>
                  </a:lnTo>
                  <a:lnTo>
                    <a:pt x="485" y="296"/>
                  </a:lnTo>
                  <a:lnTo>
                    <a:pt x="478" y="302"/>
                  </a:lnTo>
                  <a:lnTo>
                    <a:pt x="475" y="296"/>
                  </a:lnTo>
                  <a:lnTo>
                    <a:pt x="481" y="289"/>
                  </a:lnTo>
                  <a:lnTo>
                    <a:pt x="487" y="277"/>
                  </a:lnTo>
                  <a:lnTo>
                    <a:pt x="487" y="263"/>
                  </a:lnTo>
                  <a:lnTo>
                    <a:pt x="480" y="263"/>
                  </a:lnTo>
                  <a:lnTo>
                    <a:pt x="476" y="286"/>
                  </a:lnTo>
                  <a:lnTo>
                    <a:pt x="472" y="299"/>
                  </a:lnTo>
                  <a:lnTo>
                    <a:pt x="469" y="310"/>
                  </a:lnTo>
                  <a:lnTo>
                    <a:pt x="467" y="317"/>
                  </a:lnTo>
                  <a:lnTo>
                    <a:pt x="467" y="336"/>
                  </a:lnTo>
                  <a:lnTo>
                    <a:pt x="465" y="344"/>
                  </a:lnTo>
                  <a:lnTo>
                    <a:pt x="467" y="35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00" name="Freeform 212">
              <a:extLst>
                <a:ext uri="{FF2B5EF4-FFF2-40B4-BE49-F238E27FC236}">
                  <a16:creationId xmlns:a16="http://schemas.microsoft.com/office/drawing/2014/main" id="{6B75D195-A6EC-03E6-FE1B-56D19C6246B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453681" y="2022661"/>
              <a:ext cx="144757" cy="124985"/>
            </a:xfrm>
            <a:custGeom>
              <a:avLst/>
              <a:gdLst>
                <a:gd name="T0" fmla="*/ 0 w 267"/>
                <a:gd name="T1" fmla="*/ 0 h 220"/>
                <a:gd name="T2" fmla="*/ 0 w 267"/>
                <a:gd name="T3" fmla="*/ 0 h 220"/>
                <a:gd name="T4" fmla="*/ 0 w 267"/>
                <a:gd name="T5" fmla="*/ 0 h 220"/>
                <a:gd name="T6" fmla="*/ 0 w 267"/>
                <a:gd name="T7" fmla="*/ 0 h 220"/>
                <a:gd name="T8" fmla="*/ 0 w 267"/>
                <a:gd name="T9" fmla="*/ 0 h 220"/>
                <a:gd name="T10" fmla="*/ 0 w 267"/>
                <a:gd name="T11" fmla="*/ 0 h 220"/>
                <a:gd name="T12" fmla="*/ 0 w 267"/>
                <a:gd name="T13" fmla="*/ 0 h 220"/>
                <a:gd name="T14" fmla="*/ 0 w 267"/>
                <a:gd name="T15" fmla="*/ 0 h 220"/>
                <a:gd name="T16" fmla="*/ 0 w 267"/>
                <a:gd name="T17" fmla="*/ 0 h 220"/>
                <a:gd name="T18" fmla="*/ 0 w 267"/>
                <a:gd name="T19" fmla="*/ 0 h 220"/>
                <a:gd name="T20" fmla="*/ 0 w 267"/>
                <a:gd name="T21" fmla="*/ 0 h 220"/>
                <a:gd name="T22" fmla="*/ 0 w 267"/>
                <a:gd name="T23" fmla="*/ 0 h 220"/>
                <a:gd name="T24" fmla="*/ 0 w 267"/>
                <a:gd name="T25" fmla="*/ 0 h 220"/>
                <a:gd name="T26" fmla="*/ 0 w 267"/>
                <a:gd name="T27" fmla="*/ 0 h 220"/>
                <a:gd name="T28" fmla="*/ 0 w 267"/>
                <a:gd name="T29" fmla="*/ 0 h 220"/>
                <a:gd name="T30" fmla="*/ 0 w 267"/>
                <a:gd name="T31" fmla="*/ 0 h 220"/>
                <a:gd name="T32" fmla="*/ 0 w 267"/>
                <a:gd name="T33" fmla="*/ 0 h 220"/>
                <a:gd name="T34" fmla="*/ 0 w 267"/>
                <a:gd name="T35" fmla="*/ 0 h 220"/>
                <a:gd name="T36" fmla="*/ 0 w 267"/>
                <a:gd name="T37" fmla="*/ 0 h 220"/>
                <a:gd name="T38" fmla="*/ 0 w 267"/>
                <a:gd name="T39" fmla="*/ 0 h 220"/>
                <a:gd name="T40" fmla="*/ 0 w 267"/>
                <a:gd name="T41" fmla="*/ 0 h 220"/>
                <a:gd name="T42" fmla="*/ 0 w 267"/>
                <a:gd name="T43" fmla="*/ 0 h 220"/>
                <a:gd name="T44" fmla="*/ 0 w 267"/>
                <a:gd name="T45" fmla="*/ 0 h 220"/>
                <a:gd name="T46" fmla="*/ 0 w 267"/>
                <a:gd name="T47" fmla="*/ 0 h 220"/>
                <a:gd name="T48" fmla="*/ 0 w 267"/>
                <a:gd name="T49" fmla="*/ 0 h 220"/>
                <a:gd name="T50" fmla="*/ 0 w 267"/>
                <a:gd name="T51" fmla="*/ 0 h 220"/>
                <a:gd name="T52" fmla="*/ 0 w 267"/>
                <a:gd name="T53" fmla="*/ 0 h 220"/>
                <a:gd name="T54" fmla="*/ 0 w 267"/>
                <a:gd name="T55" fmla="*/ 0 h 220"/>
                <a:gd name="T56" fmla="*/ 0 w 267"/>
                <a:gd name="T57" fmla="*/ 0 h 220"/>
                <a:gd name="T58" fmla="*/ 0 w 267"/>
                <a:gd name="T59" fmla="*/ 0 h 220"/>
                <a:gd name="T60" fmla="*/ 0 w 267"/>
                <a:gd name="T61" fmla="*/ 0 h 220"/>
                <a:gd name="T62" fmla="*/ 0 w 267"/>
                <a:gd name="T63" fmla="*/ 0 h 220"/>
                <a:gd name="T64" fmla="*/ 0 w 267"/>
                <a:gd name="T65" fmla="*/ 0 h 220"/>
                <a:gd name="T66" fmla="*/ 0 w 267"/>
                <a:gd name="T67" fmla="*/ 0 h 220"/>
                <a:gd name="T68" fmla="*/ 0 w 267"/>
                <a:gd name="T69" fmla="*/ 0 h 220"/>
                <a:gd name="T70" fmla="*/ 0 w 267"/>
                <a:gd name="T71" fmla="*/ 0 h 220"/>
                <a:gd name="T72" fmla="*/ 0 w 267"/>
                <a:gd name="T73" fmla="*/ 0 h 220"/>
                <a:gd name="T74" fmla="*/ 0 w 267"/>
                <a:gd name="T75" fmla="*/ 0 h 220"/>
                <a:gd name="T76" fmla="*/ 0 w 267"/>
                <a:gd name="T77" fmla="*/ 0 h 220"/>
                <a:gd name="T78" fmla="*/ 0 w 267"/>
                <a:gd name="T79" fmla="*/ 0 h 220"/>
                <a:gd name="T80" fmla="*/ 0 w 267"/>
                <a:gd name="T81" fmla="*/ 0 h 220"/>
                <a:gd name="T82" fmla="*/ 0 w 267"/>
                <a:gd name="T83" fmla="*/ 0 h 220"/>
                <a:gd name="T84" fmla="*/ 0 w 267"/>
                <a:gd name="T85" fmla="*/ 0 h 220"/>
                <a:gd name="T86" fmla="*/ 0 w 267"/>
                <a:gd name="T87" fmla="*/ 0 h 2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67"/>
                <a:gd name="T133" fmla="*/ 0 h 220"/>
                <a:gd name="T134" fmla="*/ 267 w 267"/>
                <a:gd name="T135" fmla="*/ 220 h 2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67" h="220">
                  <a:moveTo>
                    <a:pt x="121" y="5"/>
                  </a:moveTo>
                  <a:lnTo>
                    <a:pt x="124" y="0"/>
                  </a:lnTo>
                  <a:lnTo>
                    <a:pt x="131" y="9"/>
                  </a:lnTo>
                  <a:lnTo>
                    <a:pt x="140" y="5"/>
                  </a:lnTo>
                  <a:lnTo>
                    <a:pt x="147" y="6"/>
                  </a:lnTo>
                  <a:lnTo>
                    <a:pt x="159" y="13"/>
                  </a:lnTo>
                  <a:lnTo>
                    <a:pt x="179" y="15"/>
                  </a:lnTo>
                  <a:lnTo>
                    <a:pt x="184" y="21"/>
                  </a:lnTo>
                  <a:lnTo>
                    <a:pt x="196" y="25"/>
                  </a:lnTo>
                  <a:lnTo>
                    <a:pt x="239" y="26"/>
                  </a:lnTo>
                  <a:lnTo>
                    <a:pt x="250" y="22"/>
                  </a:lnTo>
                  <a:lnTo>
                    <a:pt x="253" y="15"/>
                  </a:lnTo>
                  <a:lnTo>
                    <a:pt x="260" y="16"/>
                  </a:lnTo>
                  <a:lnTo>
                    <a:pt x="265" y="22"/>
                  </a:lnTo>
                  <a:lnTo>
                    <a:pt x="267" y="30"/>
                  </a:lnTo>
                  <a:lnTo>
                    <a:pt x="264" y="38"/>
                  </a:lnTo>
                  <a:lnTo>
                    <a:pt x="253" y="49"/>
                  </a:lnTo>
                  <a:lnTo>
                    <a:pt x="244" y="64"/>
                  </a:lnTo>
                  <a:lnTo>
                    <a:pt x="238" y="78"/>
                  </a:lnTo>
                  <a:lnTo>
                    <a:pt x="242" y="91"/>
                  </a:lnTo>
                  <a:lnTo>
                    <a:pt x="239" y="110"/>
                  </a:lnTo>
                  <a:lnTo>
                    <a:pt x="240" y="116"/>
                  </a:lnTo>
                  <a:lnTo>
                    <a:pt x="243" y="121"/>
                  </a:lnTo>
                  <a:lnTo>
                    <a:pt x="243" y="127"/>
                  </a:lnTo>
                  <a:lnTo>
                    <a:pt x="240" y="134"/>
                  </a:lnTo>
                  <a:lnTo>
                    <a:pt x="232" y="143"/>
                  </a:lnTo>
                  <a:lnTo>
                    <a:pt x="227" y="146"/>
                  </a:lnTo>
                  <a:lnTo>
                    <a:pt x="224" y="154"/>
                  </a:lnTo>
                  <a:lnTo>
                    <a:pt x="228" y="161"/>
                  </a:lnTo>
                  <a:lnTo>
                    <a:pt x="237" y="162"/>
                  </a:lnTo>
                  <a:lnTo>
                    <a:pt x="250" y="161"/>
                  </a:lnTo>
                  <a:lnTo>
                    <a:pt x="261" y="178"/>
                  </a:lnTo>
                  <a:lnTo>
                    <a:pt x="260" y="194"/>
                  </a:lnTo>
                  <a:lnTo>
                    <a:pt x="250" y="194"/>
                  </a:lnTo>
                  <a:lnTo>
                    <a:pt x="242" y="183"/>
                  </a:lnTo>
                  <a:lnTo>
                    <a:pt x="233" y="176"/>
                  </a:lnTo>
                  <a:lnTo>
                    <a:pt x="233" y="191"/>
                  </a:lnTo>
                  <a:lnTo>
                    <a:pt x="229" y="198"/>
                  </a:lnTo>
                  <a:lnTo>
                    <a:pt x="223" y="213"/>
                  </a:lnTo>
                  <a:lnTo>
                    <a:pt x="224" y="220"/>
                  </a:lnTo>
                  <a:lnTo>
                    <a:pt x="223" y="219"/>
                  </a:lnTo>
                  <a:lnTo>
                    <a:pt x="206" y="215"/>
                  </a:lnTo>
                  <a:lnTo>
                    <a:pt x="191" y="217"/>
                  </a:lnTo>
                  <a:lnTo>
                    <a:pt x="183" y="220"/>
                  </a:lnTo>
                  <a:lnTo>
                    <a:pt x="175" y="220"/>
                  </a:lnTo>
                  <a:lnTo>
                    <a:pt x="153" y="201"/>
                  </a:lnTo>
                  <a:lnTo>
                    <a:pt x="148" y="191"/>
                  </a:lnTo>
                  <a:lnTo>
                    <a:pt x="134" y="186"/>
                  </a:lnTo>
                  <a:lnTo>
                    <a:pt x="120" y="175"/>
                  </a:lnTo>
                  <a:lnTo>
                    <a:pt x="104" y="171"/>
                  </a:lnTo>
                  <a:lnTo>
                    <a:pt x="78" y="175"/>
                  </a:lnTo>
                  <a:lnTo>
                    <a:pt x="65" y="185"/>
                  </a:lnTo>
                  <a:lnTo>
                    <a:pt x="56" y="186"/>
                  </a:lnTo>
                  <a:lnTo>
                    <a:pt x="50" y="192"/>
                  </a:lnTo>
                  <a:lnTo>
                    <a:pt x="54" y="180"/>
                  </a:lnTo>
                  <a:lnTo>
                    <a:pt x="56" y="155"/>
                  </a:lnTo>
                  <a:lnTo>
                    <a:pt x="60" y="144"/>
                  </a:lnTo>
                  <a:lnTo>
                    <a:pt x="60" y="139"/>
                  </a:lnTo>
                  <a:lnTo>
                    <a:pt x="45" y="137"/>
                  </a:lnTo>
                  <a:lnTo>
                    <a:pt x="43" y="144"/>
                  </a:lnTo>
                  <a:lnTo>
                    <a:pt x="34" y="149"/>
                  </a:lnTo>
                  <a:lnTo>
                    <a:pt x="28" y="140"/>
                  </a:lnTo>
                  <a:lnTo>
                    <a:pt x="22" y="142"/>
                  </a:lnTo>
                  <a:lnTo>
                    <a:pt x="14" y="139"/>
                  </a:lnTo>
                  <a:lnTo>
                    <a:pt x="11" y="128"/>
                  </a:lnTo>
                  <a:lnTo>
                    <a:pt x="5" y="119"/>
                  </a:lnTo>
                  <a:lnTo>
                    <a:pt x="3" y="110"/>
                  </a:lnTo>
                  <a:lnTo>
                    <a:pt x="7" y="100"/>
                  </a:lnTo>
                  <a:lnTo>
                    <a:pt x="18" y="97"/>
                  </a:lnTo>
                  <a:lnTo>
                    <a:pt x="16" y="94"/>
                  </a:lnTo>
                  <a:lnTo>
                    <a:pt x="2" y="92"/>
                  </a:lnTo>
                  <a:lnTo>
                    <a:pt x="3" y="79"/>
                  </a:lnTo>
                  <a:lnTo>
                    <a:pt x="6" y="75"/>
                  </a:lnTo>
                  <a:lnTo>
                    <a:pt x="5" y="72"/>
                  </a:lnTo>
                  <a:lnTo>
                    <a:pt x="0" y="70"/>
                  </a:lnTo>
                  <a:lnTo>
                    <a:pt x="3" y="49"/>
                  </a:lnTo>
                  <a:lnTo>
                    <a:pt x="8" y="46"/>
                  </a:lnTo>
                  <a:lnTo>
                    <a:pt x="35" y="38"/>
                  </a:lnTo>
                  <a:lnTo>
                    <a:pt x="35" y="33"/>
                  </a:lnTo>
                  <a:lnTo>
                    <a:pt x="39" y="30"/>
                  </a:lnTo>
                  <a:lnTo>
                    <a:pt x="48" y="27"/>
                  </a:lnTo>
                  <a:lnTo>
                    <a:pt x="54" y="21"/>
                  </a:lnTo>
                  <a:lnTo>
                    <a:pt x="75" y="22"/>
                  </a:lnTo>
                  <a:lnTo>
                    <a:pt x="77" y="13"/>
                  </a:lnTo>
                  <a:lnTo>
                    <a:pt x="87" y="19"/>
                  </a:lnTo>
                  <a:lnTo>
                    <a:pt x="108" y="16"/>
                  </a:lnTo>
                  <a:lnTo>
                    <a:pt x="113" y="13"/>
                  </a:lnTo>
                  <a:lnTo>
                    <a:pt x="111" y="5"/>
                  </a:lnTo>
                  <a:lnTo>
                    <a:pt x="121" y="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01" name="Freeform 213">
              <a:extLst>
                <a:ext uri="{FF2B5EF4-FFF2-40B4-BE49-F238E27FC236}">
                  <a16:creationId xmlns:a16="http://schemas.microsoft.com/office/drawing/2014/main" id="{3CB0D17A-59D9-3E31-3EBC-D188A467755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71601" y="1246834"/>
              <a:ext cx="317869" cy="762109"/>
            </a:xfrm>
            <a:custGeom>
              <a:avLst/>
              <a:gdLst>
                <a:gd name="T0" fmla="*/ 0 w 593"/>
                <a:gd name="T1" fmla="*/ 0 h 1339"/>
                <a:gd name="T2" fmla="*/ 0 w 593"/>
                <a:gd name="T3" fmla="*/ 2147483647 h 1339"/>
                <a:gd name="T4" fmla="*/ 0 w 593"/>
                <a:gd name="T5" fmla="*/ 2147483647 h 1339"/>
                <a:gd name="T6" fmla="*/ 0 w 593"/>
                <a:gd name="T7" fmla="*/ 2147483647 h 1339"/>
                <a:gd name="T8" fmla="*/ 0 w 593"/>
                <a:gd name="T9" fmla="*/ 2147483647 h 1339"/>
                <a:gd name="T10" fmla="*/ 0 w 593"/>
                <a:gd name="T11" fmla="*/ 2147483647 h 1339"/>
                <a:gd name="T12" fmla="*/ 0 w 593"/>
                <a:gd name="T13" fmla="*/ 2147483647 h 1339"/>
                <a:gd name="T14" fmla="*/ 0 w 593"/>
                <a:gd name="T15" fmla="*/ 2147483647 h 1339"/>
                <a:gd name="T16" fmla="*/ 0 w 593"/>
                <a:gd name="T17" fmla="*/ 2147483647 h 1339"/>
                <a:gd name="T18" fmla="*/ 0 w 593"/>
                <a:gd name="T19" fmla="*/ 2147483647 h 1339"/>
                <a:gd name="T20" fmla="*/ 0 w 593"/>
                <a:gd name="T21" fmla="*/ 2147483647 h 1339"/>
                <a:gd name="T22" fmla="*/ 0 w 593"/>
                <a:gd name="T23" fmla="*/ 2147483647 h 1339"/>
                <a:gd name="T24" fmla="*/ 0 w 593"/>
                <a:gd name="T25" fmla="*/ 2147483647 h 1339"/>
                <a:gd name="T26" fmla="*/ 0 w 593"/>
                <a:gd name="T27" fmla="*/ 2147483647 h 1339"/>
                <a:gd name="T28" fmla="*/ 0 w 593"/>
                <a:gd name="T29" fmla="*/ 2147483647 h 1339"/>
                <a:gd name="T30" fmla="*/ 0 w 593"/>
                <a:gd name="T31" fmla="*/ 2147483647 h 1339"/>
                <a:gd name="T32" fmla="*/ 0 w 593"/>
                <a:gd name="T33" fmla="*/ 2147483647 h 1339"/>
                <a:gd name="T34" fmla="*/ 0 w 593"/>
                <a:gd name="T35" fmla="*/ 2147483647 h 1339"/>
                <a:gd name="T36" fmla="*/ 0 w 593"/>
                <a:gd name="T37" fmla="*/ 2147483647 h 1339"/>
                <a:gd name="T38" fmla="*/ 0 w 593"/>
                <a:gd name="T39" fmla="*/ 2147483647 h 1339"/>
                <a:gd name="T40" fmla="*/ 0 w 593"/>
                <a:gd name="T41" fmla="*/ 2147483647 h 1339"/>
                <a:gd name="T42" fmla="*/ 0 w 593"/>
                <a:gd name="T43" fmla="*/ 2147483647 h 1339"/>
                <a:gd name="T44" fmla="*/ 0 w 593"/>
                <a:gd name="T45" fmla="*/ 2147483647 h 1339"/>
                <a:gd name="T46" fmla="*/ 0 w 593"/>
                <a:gd name="T47" fmla="*/ 2147483647 h 1339"/>
                <a:gd name="T48" fmla="*/ 0 w 593"/>
                <a:gd name="T49" fmla="*/ 2147483647 h 1339"/>
                <a:gd name="T50" fmla="*/ 0 w 593"/>
                <a:gd name="T51" fmla="*/ 2147483647 h 1339"/>
                <a:gd name="T52" fmla="*/ 0 w 593"/>
                <a:gd name="T53" fmla="*/ 2147483647 h 1339"/>
                <a:gd name="T54" fmla="*/ 0 w 593"/>
                <a:gd name="T55" fmla="*/ 2147483647 h 1339"/>
                <a:gd name="T56" fmla="*/ 0 w 593"/>
                <a:gd name="T57" fmla="*/ 2147483647 h 1339"/>
                <a:gd name="T58" fmla="*/ 0 w 593"/>
                <a:gd name="T59" fmla="*/ 2147483647 h 1339"/>
                <a:gd name="T60" fmla="*/ 0 w 593"/>
                <a:gd name="T61" fmla="*/ 2147483647 h 1339"/>
                <a:gd name="T62" fmla="*/ 0 w 593"/>
                <a:gd name="T63" fmla="*/ 2147483647 h 1339"/>
                <a:gd name="T64" fmla="*/ 0 w 593"/>
                <a:gd name="T65" fmla="*/ 2147483647 h 1339"/>
                <a:gd name="T66" fmla="*/ 2147483647 w 593"/>
                <a:gd name="T67" fmla="*/ 2147483647 h 1339"/>
                <a:gd name="T68" fmla="*/ 2147483647 w 593"/>
                <a:gd name="T69" fmla="*/ 2147483647 h 1339"/>
                <a:gd name="T70" fmla="*/ 2147483647 w 593"/>
                <a:gd name="T71" fmla="*/ 2147483647 h 1339"/>
                <a:gd name="T72" fmla="*/ 2147483647 w 593"/>
                <a:gd name="T73" fmla="*/ 2147483647 h 1339"/>
                <a:gd name="T74" fmla="*/ 2147483647 w 593"/>
                <a:gd name="T75" fmla="*/ 2147483647 h 1339"/>
                <a:gd name="T76" fmla="*/ 2147483647 w 593"/>
                <a:gd name="T77" fmla="*/ 2147483647 h 1339"/>
                <a:gd name="T78" fmla="*/ 2147483647 w 593"/>
                <a:gd name="T79" fmla="*/ 2147483647 h 1339"/>
                <a:gd name="T80" fmla="*/ 2147483647 w 593"/>
                <a:gd name="T81" fmla="*/ 2147483647 h 1339"/>
                <a:gd name="T82" fmla="*/ 2147483647 w 593"/>
                <a:gd name="T83" fmla="*/ 2147483647 h 1339"/>
                <a:gd name="T84" fmla="*/ 2147483647 w 593"/>
                <a:gd name="T85" fmla="*/ 2147483647 h 1339"/>
                <a:gd name="T86" fmla="*/ 2147483647 w 593"/>
                <a:gd name="T87" fmla="*/ 2147483647 h 1339"/>
                <a:gd name="T88" fmla="*/ 2147483647 w 593"/>
                <a:gd name="T89" fmla="*/ 2147483647 h 1339"/>
                <a:gd name="T90" fmla="*/ 2147483647 w 593"/>
                <a:gd name="T91" fmla="*/ 2147483647 h 1339"/>
                <a:gd name="T92" fmla="*/ 2147483647 w 593"/>
                <a:gd name="T93" fmla="*/ 0 h 1339"/>
                <a:gd name="T94" fmla="*/ 2147483647 w 593"/>
                <a:gd name="T95" fmla="*/ 0 h 1339"/>
                <a:gd name="T96" fmla="*/ 2147483647 w 593"/>
                <a:gd name="T97" fmla="*/ 0 h 1339"/>
                <a:gd name="T98" fmla="*/ 2147483647 w 593"/>
                <a:gd name="T99" fmla="*/ 0 h 1339"/>
                <a:gd name="T100" fmla="*/ 2147483647 w 593"/>
                <a:gd name="T101" fmla="*/ 0 h 1339"/>
                <a:gd name="T102" fmla="*/ 2147483647 w 593"/>
                <a:gd name="T103" fmla="*/ 0 h 1339"/>
                <a:gd name="T104" fmla="*/ 0 w 593"/>
                <a:gd name="T105" fmla="*/ 0 h 1339"/>
                <a:gd name="T106" fmla="*/ 0 w 593"/>
                <a:gd name="T107" fmla="*/ 0 h 1339"/>
                <a:gd name="T108" fmla="*/ 0 w 593"/>
                <a:gd name="T109" fmla="*/ 0 h 1339"/>
                <a:gd name="T110" fmla="*/ 0 w 593"/>
                <a:gd name="T111" fmla="*/ 0 h 1339"/>
                <a:gd name="T112" fmla="*/ 0 w 593"/>
                <a:gd name="T113" fmla="*/ 0 h 1339"/>
                <a:gd name="T114" fmla="*/ 0 w 593"/>
                <a:gd name="T115" fmla="*/ 0 h 1339"/>
                <a:gd name="T116" fmla="*/ 0 w 593"/>
                <a:gd name="T117" fmla="*/ 0 h 1339"/>
                <a:gd name="T118" fmla="*/ 0 w 593"/>
                <a:gd name="T119" fmla="*/ 0 h 133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93"/>
                <a:gd name="T181" fmla="*/ 0 h 1339"/>
                <a:gd name="T182" fmla="*/ 593 w 593"/>
                <a:gd name="T183" fmla="*/ 1339 h 133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93" h="1339">
                  <a:moveTo>
                    <a:pt x="0" y="156"/>
                  </a:moveTo>
                  <a:lnTo>
                    <a:pt x="3" y="156"/>
                  </a:lnTo>
                  <a:lnTo>
                    <a:pt x="5" y="161"/>
                  </a:lnTo>
                  <a:lnTo>
                    <a:pt x="46" y="207"/>
                  </a:lnTo>
                  <a:lnTo>
                    <a:pt x="76" y="237"/>
                  </a:lnTo>
                  <a:lnTo>
                    <a:pt x="112" y="248"/>
                  </a:lnTo>
                  <a:lnTo>
                    <a:pt x="130" y="266"/>
                  </a:lnTo>
                  <a:lnTo>
                    <a:pt x="162" y="322"/>
                  </a:lnTo>
                  <a:lnTo>
                    <a:pt x="165" y="329"/>
                  </a:lnTo>
                  <a:lnTo>
                    <a:pt x="160" y="342"/>
                  </a:lnTo>
                  <a:lnTo>
                    <a:pt x="159" y="358"/>
                  </a:lnTo>
                  <a:lnTo>
                    <a:pt x="159" y="379"/>
                  </a:lnTo>
                  <a:lnTo>
                    <a:pt x="160" y="393"/>
                  </a:lnTo>
                  <a:lnTo>
                    <a:pt x="165" y="399"/>
                  </a:lnTo>
                  <a:lnTo>
                    <a:pt x="167" y="414"/>
                  </a:lnTo>
                  <a:lnTo>
                    <a:pt x="161" y="435"/>
                  </a:lnTo>
                  <a:lnTo>
                    <a:pt x="164" y="452"/>
                  </a:lnTo>
                  <a:lnTo>
                    <a:pt x="184" y="498"/>
                  </a:lnTo>
                  <a:lnTo>
                    <a:pt x="184" y="510"/>
                  </a:lnTo>
                  <a:lnTo>
                    <a:pt x="183" y="520"/>
                  </a:lnTo>
                  <a:lnTo>
                    <a:pt x="175" y="533"/>
                  </a:lnTo>
                  <a:lnTo>
                    <a:pt x="171" y="551"/>
                  </a:lnTo>
                  <a:lnTo>
                    <a:pt x="175" y="571"/>
                  </a:lnTo>
                  <a:lnTo>
                    <a:pt x="189" y="605"/>
                  </a:lnTo>
                  <a:lnTo>
                    <a:pt x="197" y="613"/>
                  </a:lnTo>
                  <a:lnTo>
                    <a:pt x="202" y="614"/>
                  </a:lnTo>
                  <a:lnTo>
                    <a:pt x="205" y="622"/>
                  </a:lnTo>
                  <a:lnTo>
                    <a:pt x="211" y="625"/>
                  </a:lnTo>
                  <a:lnTo>
                    <a:pt x="216" y="619"/>
                  </a:lnTo>
                  <a:lnTo>
                    <a:pt x="220" y="623"/>
                  </a:lnTo>
                  <a:lnTo>
                    <a:pt x="224" y="637"/>
                  </a:lnTo>
                  <a:lnTo>
                    <a:pt x="240" y="648"/>
                  </a:lnTo>
                  <a:lnTo>
                    <a:pt x="257" y="671"/>
                  </a:lnTo>
                  <a:lnTo>
                    <a:pt x="262" y="684"/>
                  </a:lnTo>
                  <a:lnTo>
                    <a:pt x="259" y="714"/>
                  </a:lnTo>
                  <a:lnTo>
                    <a:pt x="270" y="734"/>
                  </a:lnTo>
                  <a:lnTo>
                    <a:pt x="262" y="732"/>
                  </a:lnTo>
                  <a:lnTo>
                    <a:pt x="258" y="740"/>
                  </a:lnTo>
                  <a:lnTo>
                    <a:pt x="262" y="750"/>
                  </a:lnTo>
                  <a:lnTo>
                    <a:pt x="251" y="743"/>
                  </a:lnTo>
                  <a:lnTo>
                    <a:pt x="241" y="745"/>
                  </a:lnTo>
                  <a:lnTo>
                    <a:pt x="222" y="752"/>
                  </a:lnTo>
                  <a:lnTo>
                    <a:pt x="214" y="788"/>
                  </a:lnTo>
                  <a:lnTo>
                    <a:pt x="200" y="801"/>
                  </a:lnTo>
                  <a:lnTo>
                    <a:pt x="181" y="828"/>
                  </a:lnTo>
                  <a:lnTo>
                    <a:pt x="156" y="855"/>
                  </a:lnTo>
                  <a:lnTo>
                    <a:pt x="140" y="879"/>
                  </a:lnTo>
                  <a:lnTo>
                    <a:pt x="118" y="918"/>
                  </a:lnTo>
                  <a:lnTo>
                    <a:pt x="108" y="925"/>
                  </a:lnTo>
                  <a:lnTo>
                    <a:pt x="102" y="935"/>
                  </a:lnTo>
                  <a:lnTo>
                    <a:pt x="97" y="940"/>
                  </a:lnTo>
                  <a:lnTo>
                    <a:pt x="90" y="949"/>
                  </a:lnTo>
                  <a:lnTo>
                    <a:pt x="70" y="952"/>
                  </a:lnTo>
                  <a:lnTo>
                    <a:pt x="62" y="949"/>
                  </a:lnTo>
                  <a:lnTo>
                    <a:pt x="55" y="962"/>
                  </a:lnTo>
                  <a:lnTo>
                    <a:pt x="63" y="972"/>
                  </a:lnTo>
                  <a:lnTo>
                    <a:pt x="59" y="974"/>
                  </a:lnTo>
                  <a:lnTo>
                    <a:pt x="42" y="976"/>
                  </a:lnTo>
                  <a:lnTo>
                    <a:pt x="43" y="982"/>
                  </a:lnTo>
                  <a:lnTo>
                    <a:pt x="39" y="990"/>
                  </a:lnTo>
                  <a:lnTo>
                    <a:pt x="33" y="990"/>
                  </a:lnTo>
                  <a:lnTo>
                    <a:pt x="30" y="993"/>
                  </a:lnTo>
                  <a:lnTo>
                    <a:pt x="26" y="1000"/>
                  </a:lnTo>
                  <a:lnTo>
                    <a:pt x="21" y="1019"/>
                  </a:lnTo>
                  <a:lnTo>
                    <a:pt x="23" y="1039"/>
                  </a:lnTo>
                  <a:lnTo>
                    <a:pt x="26" y="1047"/>
                  </a:lnTo>
                  <a:lnTo>
                    <a:pt x="30" y="1053"/>
                  </a:lnTo>
                  <a:lnTo>
                    <a:pt x="33" y="1065"/>
                  </a:lnTo>
                  <a:lnTo>
                    <a:pt x="30" y="1091"/>
                  </a:lnTo>
                  <a:lnTo>
                    <a:pt x="35" y="1101"/>
                  </a:lnTo>
                  <a:lnTo>
                    <a:pt x="42" y="1109"/>
                  </a:lnTo>
                  <a:lnTo>
                    <a:pt x="43" y="1120"/>
                  </a:lnTo>
                  <a:lnTo>
                    <a:pt x="47" y="1135"/>
                  </a:lnTo>
                  <a:lnTo>
                    <a:pt x="50" y="1144"/>
                  </a:lnTo>
                  <a:lnTo>
                    <a:pt x="55" y="1150"/>
                  </a:lnTo>
                  <a:lnTo>
                    <a:pt x="57" y="1152"/>
                  </a:lnTo>
                  <a:lnTo>
                    <a:pt x="52" y="1148"/>
                  </a:lnTo>
                  <a:lnTo>
                    <a:pt x="47" y="1148"/>
                  </a:lnTo>
                  <a:lnTo>
                    <a:pt x="43" y="1152"/>
                  </a:lnTo>
                  <a:lnTo>
                    <a:pt x="44" y="1159"/>
                  </a:lnTo>
                  <a:lnTo>
                    <a:pt x="43" y="1165"/>
                  </a:lnTo>
                  <a:lnTo>
                    <a:pt x="44" y="1173"/>
                  </a:lnTo>
                  <a:lnTo>
                    <a:pt x="44" y="1188"/>
                  </a:lnTo>
                  <a:lnTo>
                    <a:pt x="39" y="1202"/>
                  </a:lnTo>
                  <a:lnTo>
                    <a:pt x="36" y="1202"/>
                  </a:lnTo>
                  <a:lnTo>
                    <a:pt x="33" y="1211"/>
                  </a:lnTo>
                  <a:lnTo>
                    <a:pt x="37" y="1218"/>
                  </a:lnTo>
                  <a:lnTo>
                    <a:pt x="37" y="1224"/>
                  </a:lnTo>
                  <a:lnTo>
                    <a:pt x="36" y="1229"/>
                  </a:lnTo>
                  <a:lnTo>
                    <a:pt x="37" y="1234"/>
                  </a:lnTo>
                  <a:lnTo>
                    <a:pt x="44" y="1237"/>
                  </a:lnTo>
                  <a:lnTo>
                    <a:pt x="43" y="1241"/>
                  </a:lnTo>
                  <a:lnTo>
                    <a:pt x="38" y="1242"/>
                  </a:lnTo>
                  <a:lnTo>
                    <a:pt x="39" y="1249"/>
                  </a:lnTo>
                  <a:lnTo>
                    <a:pt x="53" y="1249"/>
                  </a:lnTo>
                  <a:lnTo>
                    <a:pt x="64" y="1257"/>
                  </a:lnTo>
                  <a:lnTo>
                    <a:pt x="69" y="1264"/>
                  </a:lnTo>
                  <a:lnTo>
                    <a:pt x="80" y="1269"/>
                  </a:lnTo>
                  <a:lnTo>
                    <a:pt x="97" y="1274"/>
                  </a:lnTo>
                  <a:lnTo>
                    <a:pt x="100" y="1278"/>
                  </a:lnTo>
                  <a:lnTo>
                    <a:pt x="97" y="1285"/>
                  </a:lnTo>
                  <a:lnTo>
                    <a:pt x="106" y="1291"/>
                  </a:lnTo>
                  <a:lnTo>
                    <a:pt x="121" y="1283"/>
                  </a:lnTo>
                  <a:lnTo>
                    <a:pt x="122" y="1288"/>
                  </a:lnTo>
                  <a:lnTo>
                    <a:pt x="122" y="1300"/>
                  </a:lnTo>
                  <a:lnTo>
                    <a:pt x="130" y="1313"/>
                  </a:lnTo>
                  <a:lnTo>
                    <a:pt x="129" y="1321"/>
                  </a:lnTo>
                  <a:lnTo>
                    <a:pt x="136" y="1324"/>
                  </a:lnTo>
                  <a:lnTo>
                    <a:pt x="134" y="1331"/>
                  </a:lnTo>
                  <a:lnTo>
                    <a:pt x="124" y="1338"/>
                  </a:lnTo>
                  <a:lnTo>
                    <a:pt x="129" y="1339"/>
                  </a:lnTo>
                  <a:lnTo>
                    <a:pt x="139" y="1333"/>
                  </a:lnTo>
                  <a:lnTo>
                    <a:pt x="150" y="1313"/>
                  </a:lnTo>
                  <a:lnTo>
                    <a:pt x="152" y="1316"/>
                  </a:lnTo>
                  <a:lnTo>
                    <a:pt x="152" y="1326"/>
                  </a:lnTo>
                  <a:lnTo>
                    <a:pt x="157" y="1327"/>
                  </a:lnTo>
                  <a:lnTo>
                    <a:pt x="181" y="1315"/>
                  </a:lnTo>
                  <a:lnTo>
                    <a:pt x="189" y="1315"/>
                  </a:lnTo>
                  <a:lnTo>
                    <a:pt x="197" y="1311"/>
                  </a:lnTo>
                  <a:lnTo>
                    <a:pt x="200" y="1316"/>
                  </a:lnTo>
                  <a:lnTo>
                    <a:pt x="203" y="1316"/>
                  </a:lnTo>
                  <a:lnTo>
                    <a:pt x="213" y="1306"/>
                  </a:lnTo>
                  <a:lnTo>
                    <a:pt x="221" y="1300"/>
                  </a:lnTo>
                  <a:lnTo>
                    <a:pt x="229" y="1299"/>
                  </a:lnTo>
                  <a:lnTo>
                    <a:pt x="235" y="1301"/>
                  </a:lnTo>
                  <a:lnTo>
                    <a:pt x="251" y="1291"/>
                  </a:lnTo>
                  <a:lnTo>
                    <a:pt x="261" y="1290"/>
                  </a:lnTo>
                  <a:lnTo>
                    <a:pt x="268" y="1276"/>
                  </a:lnTo>
                  <a:lnTo>
                    <a:pt x="273" y="1286"/>
                  </a:lnTo>
                  <a:lnTo>
                    <a:pt x="291" y="1279"/>
                  </a:lnTo>
                  <a:lnTo>
                    <a:pt x="289" y="1269"/>
                  </a:lnTo>
                  <a:lnTo>
                    <a:pt x="290" y="1272"/>
                  </a:lnTo>
                  <a:lnTo>
                    <a:pt x="299" y="1275"/>
                  </a:lnTo>
                  <a:lnTo>
                    <a:pt x="305" y="1275"/>
                  </a:lnTo>
                  <a:lnTo>
                    <a:pt x="311" y="1269"/>
                  </a:lnTo>
                  <a:lnTo>
                    <a:pt x="329" y="1268"/>
                  </a:lnTo>
                  <a:lnTo>
                    <a:pt x="342" y="1263"/>
                  </a:lnTo>
                  <a:lnTo>
                    <a:pt x="351" y="1258"/>
                  </a:lnTo>
                  <a:lnTo>
                    <a:pt x="359" y="1263"/>
                  </a:lnTo>
                  <a:lnTo>
                    <a:pt x="377" y="1265"/>
                  </a:lnTo>
                  <a:lnTo>
                    <a:pt x="382" y="1262"/>
                  </a:lnTo>
                  <a:lnTo>
                    <a:pt x="386" y="1257"/>
                  </a:lnTo>
                  <a:lnTo>
                    <a:pt x="387" y="1258"/>
                  </a:lnTo>
                  <a:lnTo>
                    <a:pt x="423" y="1231"/>
                  </a:lnTo>
                  <a:lnTo>
                    <a:pt x="473" y="1182"/>
                  </a:lnTo>
                  <a:lnTo>
                    <a:pt x="511" y="1139"/>
                  </a:lnTo>
                  <a:lnTo>
                    <a:pt x="563" y="1070"/>
                  </a:lnTo>
                  <a:lnTo>
                    <a:pt x="576" y="1050"/>
                  </a:lnTo>
                  <a:lnTo>
                    <a:pt x="592" y="1012"/>
                  </a:lnTo>
                  <a:lnTo>
                    <a:pt x="593" y="973"/>
                  </a:lnTo>
                  <a:lnTo>
                    <a:pt x="589" y="979"/>
                  </a:lnTo>
                  <a:lnTo>
                    <a:pt x="579" y="962"/>
                  </a:lnTo>
                  <a:lnTo>
                    <a:pt x="574" y="945"/>
                  </a:lnTo>
                  <a:lnTo>
                    <a:pt x="544" y="922"/>
                  </a:lnTo>
                  <a:lnTo>
                    <a:pt x="536" y="909"/>
                  </a:lnTo>
                  <a:lnTo>
                    <a:pt x="530" y="891"/>
                  </a:lnTo>
                  <a:lnTo>
                    <a:pt x="534" y="875"/>
                  </a:lnTo>
                  <a:lnTo>
                    <a:pt x="544" y="860"/>
                  </a:lnTo>
                  <a:lnTo>
                    <a:pt x="550" y="842"/>
                  </a:lnTo>
                  <a:lnTo>
                    <a:pt x="549" y="822"/>
                  </a:lnTo>
                  <a:lnTo>
                    <a:pt x="533" y="807"/>
                  </a:lnTo>
                  <a:lnTo>
                    <a:pt x="526" y="791"/>
                  </a:lnTo>
                  <a:lnTo>
                    <a:pt x="528" y="770"/>
                  </a:lnTo>
                  <a:lnTo>
                    <a:pt x="520" y="753"/>
                  </a:lnTo>
                  <a:lnTo>
                    <a:pt x="504" y="750"/>
                  </a:lnTo>
                  <a:lnTo>
                    <a:pt x="503" y="729"/>
                  </a:lnTo>
                  <a:lnTo>
                    <a:pt x="509" y="718"/>
                  </a:lnTo>
                  <a:lnTo>
                    <a:pt x="507" y="699"/>
                  </a:lnTo>
                  <a:lnTo>
                    <a:pt x="504" y="689"/>
                  </a:lnTo>
                  <a:lnTo>
                    <a:pt x="509" y="673"/>
                  </a:lnTo>
                  <a:lnTo>
                    <a:pt x="511" y="651"/>
                  </a:lnTo>
                  <a:lnTo>
                    <a:pt x="525" y="639"/>
                  </a:lnTo>
                  <a:lnTo>
                    <a:pt x="523" y="624"/>
                  </a:lnTo>
                  <a:lnTo>
                    <a:pt x="521" y="607"/>
                  </a:lnTo>
                  <a:lnTo>
                    <a:pt x="510" y="573"/>
                  </a:lnTo>
                  <a:lnTo>
                    <a:pt x="495" y="546"/>
                  </a:lnTo>
                  <a:lnTo>
                    <a:pt x="493" y="527"/>
                  </a:lnTo>
                  <a:lnTo>
                    <a:pt x="485" y="510"/>
                  </a:lnTo>
                  <a:lnTo>
                    <a:pt x="476" y="490"/>
                  </a:lnTo>
                  <a:lnTo>
                    <a:pt x="474" y="469"/>
                  </a:lnTo>
                  <a:lnTo>
                    <a:pt x="480" y="456"/>
                  </a:lnTo>
                  <a:lnTo>
                    <a:pt x="499" y="413"/>
                  </a:lnTo>
                  <a:lnTo>
                    <a:pt x="517" y="376"/>
                  </a:lnTo>
                  <a:lnTo>
                    <a:pt x="514" y="354"/>
                  </a:lnTo>
                  <a:lnTo>
                    <a:pt x="504" y="339"/>
                  </a:lnTo>
                  <a:lnTo>
                    <a:pt x="484" y="301"/>
                  </a:lnTo>
                  <a:lnTo>
                    <a:pt x="469" y="294"/>
                  </a:lnTo>
                  <a:lnTo>
                    <a:pt x="456" y="291"/>
                  </a:lnTo>
                  <a:lnTo>
                    <a:pt x="446" y="285"/>
                  </a:lnTo>
                  <a:lnTo>
                    <a:pt x="441" y="278"/>
                  </a:lnTo>
                  <a:lnTo>
                    <a:pt x="436" y="258"/>
                  </a:lnTo>
                  <a:lnTo>
                    <a:pt x="434" y="232"/>
                  </a:lnTo>
                  <a:lnTo>
                    <a:pt x="435" y="223"/>
                  </a:lnTo>
                  <a:lnTo>
                    <a:pt x="446" y="194"/>
                  </a:lnTo>
                  <a:lnTo>
                    <a:pt x="446" y="189"/>
                  </a:lnTo>
                  <a:lnTo>
                    <a:pt x="436" y="185"/>
                  </a:lnTo>
                  <a:lnTo>
                    <a:pt x="467" y="158"/>
                  </a:lnTo>
                  <a:lnTo>
                    <a:pt x="457" y="150"/>
                  </a:lnTo>
                  <a:lnTo>
                    <a:pt x="456" y="139"/>
                  </a:lnTo>
                  <a:lnTo>
                    <a:pt x="460" y="126"/>
                  </a:lnTo>
                  <a:lnTo>
                    <a:pt x="479" y="102"/>
                  </a:lnTo>
                  <a:lnTo>
                    <a:pt x="478" y="86"/>
                  </a:lnTo>
                  <a:lnTo>
                    <a:pt x="471" y="58"/>
                  </a:lnTo>
                  <a:lnTo>
                    <a:pt x="453" y="41"/>
                  </a:lnTo>
                  <a:lnTo>
                    <a:pt x="435" y="35"/>
                  </a:lnTo>
                  <a:lnTo>
                    <a:pt x="425" y="26"/>
                  </a:lnTo>
                  <a:lnTo>
                    <a:pt x="415" y="5"/>
                  </a:lnTo>
                  <a:lnTo>
                    <a:pt x="409" y="0"/>
                  </a:lnTo>
                  <a:lnTo>
                    <a:pt x="386" y="5"/>
                  </a:lnTo>
                  <a:lnTo>
                    <a:pt x="348" y="22"/>
                  </a:lnTo>
                  <a:lnTo>
                    <a:pt x="323" y="25"/>
                  </a:lnTo>
                  <a:lnTo>
                    <a:pt x="310" y="32"/>
                  </a:lnTo>
                  <a:lnTo>
                    <a:pt x="300" y="45"/>
                  </a:lnTo>
                  <a:lnTo>
                    <a:pt x="286" y="76"/>
                  </a:lnTo>
                  <a:lnTo>
                    <a:pt x="283" y="118"/>
                  </a:lnTo>
                  <a:lnTo>
                    <a:pt x="283" y="132"/>
                  </a:lnTo>
                  <a:lnTo>
                    <a:pt x="285" y="155"/>
                  </a:lnTo>
                  <a:lnTo>
                    <a:pt x="283" y="167"/>
                  </a:lnTo>
                  <a:lnTo>
                    <a:pt x="257" y="187"/>
                  </a:lnTo>
                  <a:lnTo>
                    <a:pt x="248" y="201"/>
                  </a:lnTo>
                  <a:lnTo>
                    <a:pt x="236" y="210"/>
                  </a:lnTo>
                  <a:lnTo>
                    <a:pt x="220" y="218"/>
                  </a:lnTo>
                  <a:lnTo>
                    <a:pt x="210" y="214"/>
                  </a:lnTo>
                  <a:lnTo>
                    <a:pt x="207" y="205"/>
                  </a:lnTo>
                  <a:lnTo>
                    <a:pt x="198" y="193"/>
                  </a:lnTo>
                  <a:lnTo>
                    <a:pt x="188" y="186"/>
                  </a:lnTo>
                  <a:lnTo>
                    <a:pt x="171" y="205"/>
                  </a:lnTo>
                  <a:lnTo>
                    <a:pt x="156" y="214"/>
                  </a:lnTo>
                  <a:lnTo>
                    <a:pt x="144" y="215"/>
                  </a:lnTo>
                  <a:lnTo>
                    <a:pt x="129" y="208"/>
                  </a:lnTo>
                  <a:lnTo>
                    <a:pt x="103" y="204"/>
                  </a:lnTo>
                  <a:lnTo>
                    <a:pt x="98" y="196"/>
                  </a:lnTo>
                  <a:lnTo>
                    <a:pt x="93" y="177"/>
                  </a:lnTo>
                  <a:lnTo>
                    <a:pt x="63" y="133"/>
                  </a:lnTo>
                  <a:lnTo>
                    <a:pt x="52" y="122"/>
                  </a:lnTo>
                  <a:lnTo>
                    <a:pt x="37" y="116"/>
                  </a:lnTo>
                  <a:lnTo>
                    <a:pt x="25" y="122"/>
                  </a:lnTo>
                  <a:lnTo>
                    <a:pt x="26" y="134"/>
                  </a:lnTo>
                  <a:lnTo>
                    <a:pt x="28" y="146"/>
                  </a:lnTo>
                  <a:lnTo>
                    <a:pt x="20" y="150"/>
                  </a:lnTo>
                  <a:lnTo>
                    <a:pt x="11" y="145"/>
                  </a:lnTo>
                  <a:lnTo>
                    <a:pt x="3" y="149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02" name="Freeform 214">
              <a:extLst>
                <a:ext uri="{FF2B5EF4-FFF2-40B4-BE49-F238E27FC236}">
                  <a16:creationId xmlns:a16="http://schemas.microsoft.com/office/drawing/2014/main" id="{BF6A2995-F176-B6A9-8964-1925ECD750C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005978" y="2136978"/>
              <a:ext cx="83571" cy="161567"/>
            </a:xfrm>
            <a:custGeom>
              <a:avLst/>
              <a:gdLst>
                <a:gd name="T0" fmla="*/ 0 w 154"/>
                <a:gd name="T1" fmla="*/ 0 h 284"/>
                <a:gd name="T2" fmla="*/ 0 w 154"/>
                <a:gd name="T3" fmla="*/ 0 h 284"/>
                <a:gd name="T4" fmla="*/ 0 w 154"/>
                <a:gd name="T5" fmla="*/ 0 h 284"/>
                <a:gd name="T6" fmla="*/ 0 w 154"/>
                <a:gd name="T7" fmla="*/ 0 h 284"/>
                <a:gd name="T8" fmla="*/ 0 w 154"/>
                <a:gd name="T9" fmla="*/ 0 h 284"/>
                <a:gd name="T10" fmla="*/ 0 w 154"/>
                <a:gd name="T11" fmla="*/ 0 h 284"/>
                <a:gd name="T12" fmla="*/ 0 w 154"/>
                <a:gd name="T13" fmla="*/ 0 h 284"/>
                <a:gd name="T14" fmla="*/ 0 w 154"/>
                <a:gd name="T15" fmla="*/ 0 h 284"/>
                <a:gd name="T16" fmla="*/ 0 w 154"/>
                <a:gd name="T17" fmla="*/ 0 h 284"/>
                <a:gd name="T18" fmla="*/ 0 w 154"/>
                <a:gd name="T19" fmla="*/ 0 h 284"/>
                <a:gd name="T20" fmla="*/ 0 w 154"/>
                <a:gd name="T21" fmla="*/ 0 h 284"/>
                <a:gd name="T22" fmla="*/ 0 w 154"/>
                <a:gd name="T23" fmla="*/ 0 h 284"/>
                <a:gd name="T24" fmla="*/ 0 w 154"/>
                <a:gd name="T25" fmla="*/ 0 h 284"/>
                <a:gd name="T26" fmla="*/ 0 w 154"/>
                <a:gd name="T27" fmla="*/ 0 h 284"/>
                <a:gd name="T28" fmla="*/ 0 w 154"/>
                <a:gd name="T29" fmla="*/ 0 h 284"/>
                <a:gd name="T30" fmla="*/ 0 w 154"/>
                <a:gd name="T31" fmla="*/ 0 h 284"/>
                <a:gd name="T32" fmla="*/ 0 w 154"/>
                <a:gd name="T33" fmla="*/ 0 h 284"/>
                <a:gd name="T34" fmla="*/ 0 w 154"/>
                <a:gd name="T35" fmla="*/ 0 h 284"/>
                <a:gd name="T36" fmla="*/ 0 w 154"/>
                <a:gd name="T37" fmla="*/ 0 h 284"/>
                <a:gd name="T38" fmla="*/ 0 w 154"/>
                <a:gd name="T39" fmla="*/ 0 h 284"/>
                <a:gd name="T40" fmla="*/ 0 w 154"/>
                <a:gd name="T41" fmla="*/ 0 h 284"/>
                <a:gd name="T42" fmla="*/ 0 w 154"/>
                <a:gd name="T43" fmla="*/ 0 h 284"/>
                <a:gd name="T44" fmla="*/ 0 w 154"/>
                <a:gd name="T45" fmla="*/ 0 h 284"/>
                <a:gd name="T46" fmla="*/ 0 w 154"/>
                <a:gd name="T47" fmla="*/ 0 h 284"/>
                <a:gd name="T48" fmla="*/ 0 w 154"/>
                <a:gd name="T49" fmla="*/ 0 h 284"/>
                <a:gd name="T50" fmla="*/ 0 w 154"/>
                <a:gd name="T51" fmla="*/ 0 h 284"/>
                <a:gd name="T52" fmla="*/ 0 w 154"/>
                <a:gd name="T53" fmla="*/ 0 h 284"/>
                <a:gd name="T54" fmla="*/ 0 w 154"/>
                <a:gd name="T55" fmla="*/ 0 h 284"/>
                <a:gd name="T56" fmla="*/ 0 w 154"/>
                <a:gd name="T57" fmla="*/ 0 h 284"/>
                <a:gd name="T58" fmla="*/ 0 w 154"/>
                <a:gd name="T59" fmla="*/ 0 h 284"/>
                <a:gd name="T60" fmla="*/ 0 w 154"/>
                <a:gd name="T61" fmla="*/ 0 h 284"/>
                <a:gd name="T62" fmla="*/ 0 w 154"/>
                <a:gd name="T63" fmla="*/ 0 h 284"/>
                <a:gd name="T64" fmla="*/ 0 w 154"/>
                <a:gd name="T65" fmla="*/ 0 h 284"/>
                <a:gd name="T66" fmla="*/ 0 w 154"/>
                <a:gd name="T67" fmla="*/ 0 h 284"/>
                <a:gd name="T68" fmla="*/ 0 w 154"/>
                <a:gd name="T69" fmla="*/ 0 h 284"/>
                <a:gd name="T70" fmla="*/ 0 w 154"/>
                <a:gd name="T71" fmla="*/ 0 h 284"/>
                <a:gd name="T72" fmla="*/ 0 w 154"/>
                <a:gd name="T73" fmla="*/ 0 h 284"/>
                <a:gd name="T74" fmla="*/ 0 w 154"/>
                <a:gd name="T75" fmla="*/ 0 h 284"/>
                <a:gd name="T76" fmla="*/ 0 w 154"/>
                <a:gd name="T77" fmla="*/ 0 h 284"/>
                <a:gd name="T78" fmla="*/ 0 w 154"/>
                <a:gd name="T79" fmla="*/ 0 h 284"/>
                <a:gd name="T80" fmla="*/ 0 w 154"/>
                <a:gd name="T81" fmla="*/ 0 h 284"/>
                <a:gd name="T82" fmla="*/ 0 w 154"/>
                <a:gd name="T83" fmla="*/ 0 h 284"/>
                <a:gd name="T84" fmla="*/ 0 w 154"/>
                <a:gd name="T85" fmla="*/ 0 h 28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54"/>
                <a:gd name="T130" fmla="*/ 0 h 284"/>
                <a:gd name="T131" fmla="*/ 154 w 154"/>
                <a:gd name="T132" fmla="*/ 284 h 28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54" h="284">
                  <a:moveTo>
                    <a:pt x="35" y="279"/>
                  </a:moveTo>
                  <a:lnTo>
                    <a:pt x="43" y="278"/>
                  </a:lnTo>
                  <a:lnTo>
                    <a:pt x="67" y="284"/>
                  </a:lnTo>
                  <a:lnTo>
                    <a:pt x="75" y="280"/>
                  </a:lnTo>
                  <a:lnTo>
                    <a:pt x="79" y="279"/>
                  </a:lnTo>
                  <a:lnTo>
                    <a:pt x="80" y="276"/>
                  </a:lnTo>
                  <a:lnTo>
                    <a:pt x="83" y="276"/>
                  </a:lnTo>
                  <a:lnTo>
                    <a:pt x="84" y="279"/>
                  </a:lnTo>
                  <a:lnTo>
                    <a:pt x="89" y="279"/>
                  </a:lnTo>
                  <a:lnTo>
                    <a:pt x="89" y="275"/>
                  </a:lnTo>
                  <a:lnTo>
                    <a:pt x="86" y="270"/>
                  </a:lnTo>
                  <a:lnTo>
                    <a:pt x="83" y="266"/>
                  </a:lnTo>
                  <a:lnTo>
                    <a:pt x="75" y="266"/>
                  </a:lnTo>
                  <a:lnTo>
                    <a:pt x="75" y="262"/>
                  </a:lnTo>
                  <a:lnTo>
                    <a:pt x="75" y="253"/>
                  </a:lnTo>
                  <a:lnTo>
                    <a:pt x="85" y="247"/>
                  </a:lnTo>
                  <a:lnTo>
                    <a:pt x="85" y="243"/>
                  </a:lnTo>
                  <a:lnTo>
                    <a:pt x="83" y="243"/>
                  </a:lnTo>
                  <a:lnTo>
                    <a:pt x="81" y="235"/>
                  </a:lnTo>
                  <a:lnTo>
                    <a:pt x="84" y="223"/>
                  </a:lnTo>
                  <a:lnTo>
                    <a:pt x="81" y="220"/>
                  </a:lnTo>
                  <a:lnTo>
                    <a:pt x="91" y="210"/>
                  </a:lnTo>
                  <a:lnTo>
                    <a:pt x="90" y="206"/>
                  </a:lnTo>
                  <a:lnTo>
                    <a:pt x="84" y="200"/>
                  </a:lnTo>
                  <a:lnTo>
                    <a:pt x="90" y="198"/>
                  </a:lnTo>
                  <a:lnTo>
                    <a:pt x="102" y="199"/>
                  </a:lnTo>
                  <a:lnTo>
                    <a:pt x="103" y="193"/>
                  </a:lnTo>
                  <a:lnTo>
                    <a:pt x="98" y="185"/>
                  </a:lnTo>
                  <a:lnTo>
                    <a:pt x="102" y="180"/>
                  </a:lnTo>
                  <a:lnTo>
                    <a:pt x="116" y="182"/>
                  </a:lnTo>
                  <a:lnTo>
                    <a:pt x="121" y="176"/>
                  </a:lnTo>
                  <a:lnTo>
                    <a:pt x="118" y="163"/>
                  </a:lnTo>
                  <a:lnTo>
                    <a:pt x="122" y="151"/>
                  </a:lnTo>
                  <a:lnTo>
                    <a:pt x="127" y="149"/>
                  </a:lnTo>
                  <a:lnTo>
                    <a:pt x="127" y="153"/>
                  </a:lnTo>
                  <a:lnTo>
                    <a:pt x="130" y="161"/>
                  </a:lnTo>
                  <a:lnTo>
                    <a:pt x="137" y="152"/>
                  </a:lnTo>
                  <a:lnTo>
                    <a:pt x="138" y="156"/>
                  </a:lnTo>
                  <a:lnTo>
                    <a:pt x="153" y="144"/>
                  </a:lnTo>
                  <a:lnTo>
                    <a:pt x="154" y="133"/>
                  </a:lnTo>
                  <a:lnTo>
                    <a:pt x="151" y="125"/>
                  </a:lnTo>
                  <a:lnTo>
                    <a:pt x="146" y="123"/>
                  </a:lnTo>
                  <a:lnTo>
                    <a:pt x="137" y="124"/>
                  </a:lnTo>
                  <a:lnTo>
                    <a:pt x="129" y="126"/>
                  </a:lnTo>
                  <a:lnTo>
                    <a:pt x="126" y="120"/>
                  </a:lnTo>
                  <a:lnTo>
                    <a:pt x="119" y="120"/>
                  </a:lnTo>
                  <a:lnTo>
                    <a:pt x="114" y="128"/>
                  </a:lnTo>
                  <a:lnTo>
                    <a:pt x="112" y="123"/>
                  </a:lnTo>
                  <a:lnTo>
                    <a:pt x="113" y="117"/>
                  </a:lnTo>
                  <a:lnTo>
                    <a:pt x="119" y="109"/>
                  </a:lnTo>
                  <a:lnTo>
                    <a:pt x="118" y="107"/>
                  </a:lnTo>
                  <a:lnTo>
                    <a:pt x="108" y="109"/>
                  </a:lnTo>
                  <a:lnTo>
                    <a:pt x="108" y="106"/>
                  </a:lnTo>
                  <a:lnTo>
                    <a:pt x="117" y="102"/>
                  </a:lnTo>
                  <a:lnTo>
                    <a:pt x="117" y="93"/>
                  </a:lnTo>
                  <a:lnTo>
                    <a:pt x="118" y="92"/>
                  </a:lnTo>
                  <a:lnTo>
                    <a:pt x="118" y="80"/>
                  </a:lnTo>
                  <a:lnTo>
                    <a:pt x="122" y="66"/>
                  </a:lnTo>
                  <a:lnTo>
                    <a:pt x="132" y="48"/>
                  </a:lnTo>
                  <a:lnTo>
                    <a:pt x="132" y="39"/>
                  </a:lnTo>
                  <a:lnTo>
                    <a:pt x="126" y="20"/>
                  </a:lnTo>
                  <a:lnTo>
                    <a:pt x="128" y="10"/>
                  </a:lnTo>
                  <a:lnTo>
                    <a:pt x="130" y="2"/>
                  </a:lnTo>
                  <a:lnTo>
                    <a:pt x="129" y="0"/>
                  </a:lnTo>
                  <a:lnTo>
                    <a:pt x="123" y="6"/>
                  </a:lnTo>
                  <a:lnTo>
                    <a:pt x="101" y="17"/>
                  </a:lnTo>
                  <a:lnTo>
                    <a:pt x="85" y="34"/>
                  </a:lnTo>
                  <a:lnTo>
                    <a:pt x="83" y="45"/>
                  </a:lnTo>
                  <a:lnTo>
                    <a:pt x="71" y="54"/>
                  </a:lnTo>
                  <a:lnTo>
                    <a:pt x="28" y="63"/>
                  </a:lnTo>
                  <a:lnTo>
                    <a:pt x="20" y="71"/>
                  </a:lnTo>
                  <a:lnTo>
                    <a:pt x="15" y="82"/>
                  </a:lnTo>
                  <a:lnTo>
                    <a:pt x="8" y="107"/>
                  </a:lnTo>
                  <a:lnTo>
                    <a:pt x="6" y="119"/>
                  </a:lnTo>
                  <a:lnTo>
                    <a:pt x="0" y="134"/>
                  </a:lnTo>
                  <a:lnTo>
                    <a:pt x="0" y="146"/>
                  </a:lnTo>
                  <a:lnTo>
                    <a:pt x="3" y="174"/>
                  </a:lnTo>
                  <a:lnTo>
                    <a:pt x="6" y="185"/>
                  </a:lnTo>
                  <a:lnTo>
                    <a:pt x="6" y="199"/>
                  </a:lnTo>
                  <a:lnTo>
                    <a:pt x="4" y="216"/>
                  </a:lnTo>
                  <a:lnTo>
                    <a:pt x="9" y="216"/>
                  </a:lnTo>
                  <a:lnTo>
                    <a:pt x="12" y="214"/>
                  </a:lnTo>
                  <a:lnTo>
                    <a:pt x="21" y="219"/>
                  </a:lnTo>
                  <a:lnTo>
                    <a:pt x="28" y="226"/>
                  </a:lnTo>
                  <a:lnTo>
                    <a:pt x="33" y="236"/>
                  </a:lnTo>
                  <a:lnTo>
                    <a:pt x="33" y="269"/>
                  </a:lnTo>
                  <a:lnTo>
                    <a:pt x="35" y="27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03" name="Freeform 215">
              <a:extLst>
                <a:ext uri="{FF2B5EF4-FFF2-40B4-BE49-F238E27FC236}">
                  <a16:creationId xmlns:a16="http://schemas.microsoft.com/office/drawing/2014/main" id="{E84C0845-D41C-2998-0DA6-6D93E92AD5D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917930" y="1150808"/>
              <a:ext cx="759602" cy="967879"/>
            </a:xfrm>
            <a:custGeom>
              <a:avLst/>
              <a:gdLst>
                <a:gd name="T0" fmla="*/ 2147483647 w 1427"/>
                <a:gd name="T1" fmla="*/ 0 h 1701"/>
                <a:gd name="T2" fmla="*/ 2147483647 w 1427"/>
                <a:gd name="T3" fmla="*/ 0 h 1701"/>
                <a:gd name="T4" fmla="*/ 2147483647 w 1427"/>
                <a:gd name="T5" fmla="*/ 0 h 1701"/>
                <a:gd name="T6" fmla="*/ 2147483647 w 1427"/>
                <a:gd name="T7" fmla="*/ 0 h 1701"/>
                <a:gd name="T8" fmla="*/ 2147483647 w 1427"/>
                <a:gd name="T9" fmla="*/ 0 h 1701"/>
                <a:gd name="T10" fmla="*/ 2147483647 w 1427"/>
                <a:gd name="T11" fmla="*/ 0 h 1701"/>
                <a:gd name="T12" fmla="*/ 2147483647 w 1427"/>
                <a:gd name="T13" fmla="*/ 0 h 1701"/>
                <a:gd name="T14" fmla="*/ 2147483647 w 1427"/>
                <a:gd name="T15" fmla="*/ 0 h 1701"/>
                <a:gd name="T16" fmla="*/ 2147483647 w 1427"/>
                <a:gd name="T17" fmla="*/ 0 h 1701"/>
                <a:gd name="T18" fmla="*/ 2147483647 w 1427"/>
                <a:gd name="T19" fmla="*/ 0 h 1701"/>
                <a:gd name="T20" fmla="*/ 2147483647 w 1427"/>
                <a:gd name="T21" fmla="*/ 0 h 1701"/>
                <a:gd name="T22" fmla="*/ 2147483647 w 1427"/>
                <a:gd name="T23" fmla="*/ 0 h 1701"/>
                <a:gd name="T24" fmla="*/ 2147483647 w 1427"/>
                <a:gd name="T25" fmla="*/ 0 h 1701"/>
                <a:gd name="T26" fmla="*/ 2147483647 w 1427"/>
                <a:gd name="T27" fmla="*/ 0 h 1701"/>
                <a:gd name="T28" fmla="*/ 2147483647 w 1427"/>
                <a:gd name="T29" fmla="*/ 0 h 1701"/>
                <a:gd name="T30" fmla="*/ 2147483647 w 1427"/>
                <a:gd name="T31" fmla="*/ 0 h 1701"/>
                <a:gd name="T32" fmla="*/ 2147483647 w 1427"/>
                <a:gd name="T33" fmla="*/ 2147483647 h 1701"/>
                <a:gd name="T34" fmla="*/ 2147483647 w 1427"/>
                <a:gd name="T35" fmla="*/ 2147483647 h 1701"/>
                <a:gd name="T36" fmla="*/ 2147483647 w 1427"/>
                <a:gd name="T37" fmla="*/ 2147483647 h 1701"/>
                <a:gd name="T38" fmla="*/ 2147483647 w 1427"/>
                <a:gd name="T39" fmla="*/ 2147483647 h 1701"/>
                <a:gd name="T40" fmla="*/ 2147483647 w 1427"/>
                <a:gd name="T41" fmla="*/ 2147483647 h 1701"/>
                <a:gd name="T42" fmla="*/ 2147483647 w 1427"/>
                <a:gd name="T43" fmla="*/ 2147483647 h 1701"/>
                <a:gd name="T44" fmla="*/ 2147483647 w 1427"/>
                <a:gd name="T45" fmla="*/ 2147483647 h 1701"/>
                <a:gd name="T46" fmla="*/ 2147483647 w 1427"/>
                <a:gd name="T47" fmla="*/ 2147483647 h 1701"/>
                <a:gd name="T48" fmla="*/ 2147483647 w 1427"/>
                <a:gd name="T49" fmla="*/ 2147483647 h 1701"/>
                <a:gd name="T50" fmla="*/ 2147483647 w 1427"/>
                <a:gd name="T51" fmla="*/ 2147483647 h 1701"/>
                <a:gd name="T52" fmla="*/ 2147483647 w 1427"/>
                <a:gd name="T53" fmla="*/ 2147483647 h 1701"/>
                <a:gd name="T54" fmla="*/ 0 w 1427"/>
                <a:gd name="T55" fmla="*/ 2147483647 h 1701"/>
                <a:gd name="T56" fmla="*/ 2147483647 w 1427"/>
                <a:gd name="T57" fmla="*/ 2147483647 h 1701"/>
                <a:gd name="T58" fmla="*/ 0 w 1427"/>
                <a:gd name="T59" fmla="*/ 2147483647 h 1701"/>
                <a:gd name="T60" fmla="*/ 0 w 1427"/>
                <a:gd name="T61" fmla="*/ 2147483647 h 1701"/>
                <a:gd name="T62" fmla="*/ 0 w 1427"/>
                <a:gd name="T63" fmla="*/ 2147483647 h 1701"/>
                <a:gd name="T64" fmla="*/ 0 w 1427"/>
                <a:gd name="T65" fmla="*/ 2147483647 h 1701"/>
                <a:gd name="T66" fmla="*/ 0 w 1427"/>
                <a:gd name="T67" fmla="*/ 2147483647 h 1701"/>
                <a:gd name="T68" fmla="*/ 0 w 1427"/>
                <a:gd name="T69" fmla="*/ 2147483647 h 1701"/>
                <a:gd name="T70" fmla="*/ 0 w 1427"/>
                <a:gd name="T71" fmla="*/ 2147483647 h 1701"/>
                <a:gd name="T72" fmla="*/ 0 w 1427"/>
                <a:gd name="T73" fmla="*/ 2147483647 h 1701"/>
                <a:gd name="T74" fmla="*/ 0 w 1427"/>
                <a:gd name="T75" fmla="*/ 2147483647 h 1701"/>
                <a:gd name="T76" fmla="*/ 0 w 1427"/>
                <a:gd name="T77" fmla="*/ 2147483647 h 1701"/>
                <a:gd name="T78" fmla="*/ 0 w 1427"/>
                <a:gd name="T79" fmla="*/ 2147483647 h 1701"/>
                <a:gd name="T80" fmla="*/ 0 w 1427"/>
                <a:gd name="T81" fmla="*/ 2147483647 h 1701"/>
                <a:gd name="T82" fmla="*/ 0 w 1427"/>
                <a:gd name="T83" fmla="*/ 2147483647 h 1701"/>
                <a:gd name="T84" fmla="*/ 0 w 1427"/>
                <a:gd name="T85" fmla="*/ 2147483647 h 1701"/>
                <a:gd name="T86" fmla="*/ 0 w 1427"/>
                <a:gd name="T87" fmla="*/ 2147483647 h 1701"/>
                <a:gd name="T88" fmla="*/ 0 w 1427"/>
                <a:gd name="T89" fmla="*/ 2147483647 h 1701"/>
                <a:gd name="T90" fmla="*/ 0 w 1427"/>
                <a:gd name="T91" fmla="*/ 2147483647 h 1701"/>
                <a:gd name="T92" fmla="*/ 0 w 1427"/>
                <a:gd name="T93" fmla="*/ 2147483647 h 1701"/>
                <a:gd name="T94" fmla="*/ 0 w 1427"/>
                <a:gd name="T95" fmla="*/ 2147483647 h 1701"/>
                <a:gd name="T96" fmla="*/ 0 w 1427"/>
                <a:gd name="T97" fmla="*/ 2147483647 h 1701"/>
                <a:gd name="T98" fmla="*/ 0 w 1427"/>
                <a:gd name="T99" fmla="*/ 2147483647 h 1701"/>
                <a:gd name="T100" fmla="*/ 2147483647 w 1427"/>
                <a:gd name="T101" fmla="*/ 2147483647 h 1701"/>
                <a:gd name="T102" fmla="*/ 2147483647 w 1427"/>
                <a:gd name="T103" fmla="*/ 2147483647 h 1701"/>
                <a:gd name="T104" fmla="*/ 2147483647 w 1427"/>
                <a:gd name="T105" fmla="*/ 2147483647 h 1701"/>
                <a:gd name="T106" fmla="*/ 2147483647 w 1427"/>
                <a:gd name="T107" fmla="*/ 2147483647 h 1701"/>
                <a:gd name="T108" fmla="*/ 2147483647 w 1427"/>
                <a:gd name="T109" fmla="*/ 2147483647 h 1701"/>
                <a:gd name="T110" fmla="*/ 2147483647 w 1427"/>
                <a:gd name="T111" fmla="*/ 2147483647 h 1701"/>
                <a:gd name="T112" fmla="*/ 2147483647 w 1427"/>
                <a:gd name="T113" fmla="*/ 2147483647 h 1701"/>
                <a:gd name="T114" fmla="*/ 2147483647 w 1427"/>
                <a:gd name="T115" fmla="*/ 2147483647 h 1701"/>
                <a:gd name="T116" fmla="*/ 2147483647 w 1427"/>
                <a:gd name="T117" fmla="*/ 2147483647 h 1701"/>
                <a:gd name="T118" fmla="*/ 2147483647 w 1427"/>
                <a:gd name="T119" fmla="*/ 2147483647 h 1701"/>
                <a:gd name="T120" fmla="*/ 2147483647 w 1427"/>
                <a:gd name="T121" fmla="*/ 0 h 1701"/>
                <a:gd name="T122" fmla="*/ 2147483647 w 1427"/>
                <a:gd name="T123" fmla="*/ 0 h 170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27"/>
                <a:gd name="T187" fmla="*/ 0 h 1701"/>
                <a:gd name="T188" fmla="*/ 1427 w 1427"/>
                <a:gd name="T189" fmla="*/ 1701 h 1701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27" h="1701">
                  <a:moveTo>
                    <a:pt x="1419" y="216"/>
                  </a:moveTo>
                  <a:lnTo>
                    <a:pt x="1397" y="212"/>
                  </a:lnTo>
                  <a:lnTo>
                    <a:pt x="1395" y="232"/>
                  </a:lnTo>
                  <a:lnTo>
                    <a:pt x="1388" y="232"/>
                  </a:lnTo>
                  <a:lnTo>
                    <a:pt x="1390" y="229"/>
                  </a:lnTo>
                  <a:lnTo>
                    <a:pt x="1380" y="225"/>
                  </a:lnTo>
                  <a:lnTo>
                    <a:pt x="1376" y="219"/>
                  </a:lnTo>
                  <a:lnTo>
                    <a:pt x="1376" y="231"/>
                  </a:lnTo>
                  <a:lnTo>
                    <a:pt x="1375" y="234"/>
                  </a:lnTo>
                  <a:lnTo>
                    <a:pt x="1370" y="224"/>
                  </a:lnTo>
                  <a:lnTo>
                    <a:pt x="1357" y="226"/>
                  </a:lnTo>
                  <a:lnTo>
                    <a:pt x="1347" y="232"/>
                  </a:lnTo>
                  <a:lnTo>
                    <a:pt x="1350" y="220"/>
                  </a:lnTo>
                  <a:lnTo>
                    <a:pt x="1358" y="214"/>
                  </a:lnTo>
                  <a:lnTo>
                    <a:pt x="1365" y="212"/>
                  </a:lnTo>
                  <a:lnTo>
                    <a:pt x="1368" y="205"/>
                  </a:lnTo>
                  <a:lnTo>
                    <a:pt x="1366" y="200"/>
                  </a:lnTo>
                  <a:lnTo>
                    <a:pt x="1361" y="193"/>
                  </a:lnTo>
                  <a:lnTo>
                    <a:pt x="1341" y="196"/>
                  </a:lnTo>
                  <a:lnTo>
                    <a:pt x="1344" y="189"/>
                  </a:lnTo>
                  <a:lnTo>
                    <a:pt x="1338" y="183"/>
                  </a:lnTo>
                  <a:lnTo>
                    <a:pt x="1326" y="177"/>
                  </a:lnTo>
                  <a:lnTo>
                    <a:pt x="1315" y="166"/>
                  </a:lnTo>
                  <a:lnTo>
                    <a:pt x="1301" y="162"/>
                  </a:lnTo>
                  <a:lnTo>
                    <a:pt x="1296" y="156"/>
                  </a:lnTo>
                  <a:lnTo>
                    <a:pt x="1299" y="153"/>
                  </a:lnTo>
                  <a:lnTo>
                    <a:pt x="1299" y="149"/>
                  </a:lnTo>
                  <a:lnTo>
                    <a:pt x="1321" y="157"/>
                  </a:lnTo>
                  <a:lnTo>
                    <a:pt x="1371" y="166"/>
                  </a:lnTo>
                  <a:lnTo>
                    <a:pt x="1407" y="137"/>
                  </a:lnTo>
                  <a:lnTo>
                    <a:pt x="1419" y="132"/>
                  </a:lnTo>
                  <a:lnTo>
                    <a:pt x="1427" y="126"/>
                  </a:lnTo>
                  <a:lnTo>
                    <a:pt x="1424" y="112"/>
                  </a:lnTo>
                  <a:lnTo>
                    <a:pt x="1412" y="106"/>
                  </a:lnTo>
                  <a:lnTo>
                    <a:pt x="1404" y="92"/>
                  </a:lnTo>
                  <a:lnTo>
                    <a:pt x="1388" y="91"/>
                  </a:lnTo>
                  <a:lnTo>
                    <a:pt x="1380" y="87"/>
                  </a:lnTo>
                  <a:lnTo>
                    <a:pt x="1388" y="80"/>
                  </a:lnTo>
                  <a:lnTo>
                    <a:pt x="1374" y="73"/>
                  </a:lnTo>
                  <a:lnTo>
                    <a:pt x="1369" y="63"/>
                  </a:lnTo>
                  <a:lnTo>
                    <a:pt x="1361" y="71"/>
                  </a:lnTo>
                  <a:lnTo>
                    <a:pt x="1355" y="75"/>
                  </a:lnTo>
                  <a:lnTo>
                    <a:pt x="1355" y="68"/>
                  </a:lnTo>
                  <a:lnTo>
                    <a:pt x="1353" y="63"/>
                  </a:lnTo>
                  <a:lnTo>
                    <a:pt x="1333" y="70"/>
                  </a:lnTo>
                  <a:lnTo>
                    <a:pt x="1332" y="68"/>
                  </a:lnTo>
                  <a:lnTo>
                    <a:pt x="1331" y="63"/>
                  </a:lnTo>
                  <a:lnTo>
                    <a:pt x="1332" y="59"/>
                  </a:lnTo>
                  <a:lnTo>
                    <a:pt x="1332" y="49"/>
                  </a:lnTo>
                  <a:lnTo>
                    <a:pt x="1327" y="46"/>
                  </a:lnTo>
                  <a:lnTo>
                    <a:pt x="1325" y="38"/>
                  </a:lnTo>
                  <a:lnTo>
                    <a:pt x="1316" y="42"/>
                  </a:lnTo>
                  <a:lnTo>
                    <a:pt x="1310" y="38"/>
                  </a:lnTo>
                  <a:lnTo>
                    <a:pt x="1301" y="41"/>
                  </a:lnTo>
                  <a:lnTo>
                    <a:pt x="1293" y="56"/>
                  </a:lnTo>
                  <a:lnTo>
                    <a:pt x="1290" y="70"/>
                  </a:lnTo>
                  <a:lnTo>
                    <a:pt x="1290" y="89"/>
                  </a:lnTo>
                  <a:lnTo>
                    <a:pt x="1293" y="103"/>
                  </a:lnTo>
                  <a:lnTo>
                    <a:pt x="1280" y="110"/>
                  </a:lnTo>
                  <a:lnTo>
                    <a:pt x="1271" y="102"/>
                  </a:lnTo>
                  <a:lnTo>
                    <a:pt x="1260" y="105"/>
                  </a:lnTo>
                  <a:lnTo>
                    <a:pt x="1257" y="101"/>
                  </a:lnTo>
                  <a:lnTo>
                    <a:pt x="1267" y="91"/>
                  </a:lnTo>
                  <a:lnTo>
                    <a:pt x="1277" y="76"/>
                  </a:lnTo>
                  <a:lnTo>
                    <a:pt x="1272" y="67"/>
                  </a:lnTo>
                  <a:lnTo>
                    <a:pt x="1257" y="78"/>
                  </a:lnTo>
                  <a:lnTo>
                    <a:pt x="1247" y="78"/>
                  </a:lnTo>
                  <a:lnTo>
                    <a:pt x="1262" y="67"/>
                  </a:lnTo>
                  <a:lnTo>
                    <a:pt x="1253" y="56"/>
                  </a:lnTo>
                  <a:lnTo>
                    <a:pt x="1260" y="47"/>
                  </a:lnTo>
                  <a:lnTo>
                    <a:pt x="1277" y="49"/>
                  </a:lnTo>
                  <a:lnTo>
                    <a:pt x="1284" y="35"/>
                  </a:lnTo>
                  <a:lnTo>
                    <a:pt x="1285" y="19"/>
                  </a:lnTo>
                  <a:lnTo>
                    <a:pt x="1273" y="19"/>
                  </a:lnTo>
                  <a:lnTo>
                    <a:pt x="1275" y="9"/>
                  </a:lnTo>
                  <a:lnTo>
                    <a:pt x="1268" y="3"/>
                  </a:lnTo>
                  <a:lnTo>
                    <a:pt x="1262" y="3"/>
                  </a:lnTo>
                  <a:lnTo>
                    <a:pt x="1250" y="13"/>
                  </a:lnTo>
                  <a:lnTo>
                    <a:pt x="1239" y="0"/>
                  </a:lnTo>
                  <a:lnTo>
                    <a:pt x="1236" y="17"/>
                  </a:lnTo>
                  <a:lnTo>
                    <a:pt x="1231" y="37"/>
                  </a:lnTo>
                  <a:lnTo>
                    <a:pt x="1226" y="49"/>
                  </a:lnTo>
                  <a:lnTo>
                    <a:pt x="1220" y="59"/>
                  </a:lnTo>
                  <a:lnTo>
                    <a:pt x="1218" y="67"/>
                  </a:lnTo>
                  <a:lnTo>
                    <a:pt x="1219" y="78"/>
                  </a:lnTo>
                  <a:lnTo>
                    <a:pt x="1212" y="79"/>
                  </a:lnTo>
                  <a:lnTo>
                    <a:pt x="1208" y="89"/>
                  </a:lnTo>
                  <a:lnTo>
                    <a:pt x="1208" y="103"/>
                  </a:lnTo>
                  <a:lnTo>
                    <a:pt x="1197" y="103"/>
                  </a:lnTo>
                  <a:lnTo>
                    <a:pt x="1182" y="118"/>
                  </a:lnTo>
                  <a:lnTo>
                    <a:pt x="1183" y="102"/>
                  </a:lnTo>
                  <a:lnTo>
                    <a:pt x="1188" y="85"/>
                  </a:lnTo>
                  <a:lnTo>
                    <a:pt x="1178" y="70"/>
                  </a:lnTo>
                  <a:lnTo>
                    <a:pt x="1188" y="62"/>
                  </a:lnTo>
                  <a:lnTo>
                    <a:pt x="1188" y="41"/>
                  </a:lnTo>
                  <a:lnTo>
                    <a:pt x="1187" y="28"/>
                  </a:lnTo>
                  <a:lnTo>
                    <a:pt x="1182" y="27"/>
                  </a:lnTo>
                  <a:lnTo>
                    <a:pt x="1176" y="31"/>
                  </a:lnTo>
                  <a:lnTo>
                    <a:pt x="1142" y="90"/>
                  </a:lnTo>
                  <a:lnTo>
                    <a:pt x="1135" y="96"/>
                  </a:lnTo>
                  <a:lnTo>
                    <a:pt x="1129" y="111"/>
                  </a:lnTo>
                  <a:lnTo>
                    <a:pt x="1121" y="122"/>
                  </a:lnTo>
                  <a:lnTo>
                    <a:pt x="1115" y="140"/>
                  </a:lnTo>
                  <a:lnTo>
                    <a:pt x="1123" y="132"/>
                  </a:lnTo>
                  <a:lnTo>
                    <a:pt x="1101" y="167"/>
                  </a:lnTo>
                  <a:lnTo>
                    <a:pt x="1092" y="172"/>
                  </a:lnTo>
                  <a:lnTo>
                    <a:pt x="1091" y="160"/>
                  </a:lnTo>
                  <a:lnTo>
                    <a:pt x="1092" y="148"/>
                  </a:lnTo>
                  <a:lnTo>
                    <a:pt x="1099" y="139"/>
                  </a:lnTo>
                  <a:lnTo>
                    <a:pt x="1104" y="137"/>
                  </a:lnTo>
                  <a:lnTo>
                    <a:pt x="1104" y="129"/>
                  </a:lnTo>
                  <a:lnTo>
                    <a:pt x="1106" y="112"/>
                  </a:lnTo>
                  <a:lnTo>
                    <a:pt x="1105" y="105"/>
                  </a:lnTo>
                  <a:lnTo>
                    <a:pt x="1111" y="87"/>
                  </a:lnTo>
                  <a:lnTo>
                    <a:pt x="1133" y="58"/>
                  </a:lnTo>
                  <a:lnTo>
                    <a:pt x="1140" y="42"/>
                  </a:lnTo>
                  <a:lnTo>
                    <a:pt x="1131" y="37"/>
                  </a:lnTo>
                  <a:lnTo>
                    <a:pt x="1116" y="48"/>
                  </a:lnTo>
                  <a:lnTo>
                    <a:pt x="1107" y="51"/>
                  </a:lnTo>
                  <a:lnTo>
                    <a:pt x="1106" y="37"/>
                  </a:lnTo>
                  <a:lnTo>
                    <a:pt x="1100" y="33"/>
                  </a:lnTo>
                  <a:lnTo>
                    <a:pt x="1096" y="27"/>
                  </a:lnTo>
                  <a:lnTo>
                    <a:pt x="1095" y="20"/>
                  </a:lnTo>
                  <a:lnTo>
                    <a:pt x="1085" y="32"/>
                  </a:lnTo>
                  <a:lnTo>
                    <a:pt x="1081" y="26"/>
                  </a:lnTo>
                  <a:lnTo>
                    <a:pt x="1074" y="26"/>
                  </a:lnTo>
                  <a:lnTo>
                    <a:pt x="1073" y="51"/>
                  </a:lnTo>
                  <a:lnTo>
                    <a:pt x="1059" y="46"/>
                  </a:lnTo>
                  <a:lnTo>
                    <a:pt x="1065" y="59"/>
                  </a:lnTo>
                  <a:lnTo>
                    <a:pt x="1073" y="67"/>
                  </a:lnTo>
                  <a:lnTo>
                    <a:pt x="1074" y="71"/>
                  </a:lnTo>
                  <a:lnTo>
                    <a:pt x="1061" y="79"/>
                  </a:lnTo>
                  <a:lnTo>
                    <a:pt x="1053" y="91"/>
                  </a:lnTo>
                  <a:lnTo>
                    <a:pt x="1057" y="105"/>
                  </a:lnTo>
                  <a:lnTo>
                    <a:pt x="1032" y="105"/>
                  </a:lnTo>
                  <a:lnTo>
                    <a:pt x="1020" y="118"/>
                  </a:lnTo>
                  <a:lnTo>
                    <a:pt x="1015" y="129"/>
                  </a:lnTo>
                  <a:lnTo>
                    <a:pt x="1002" y="144"/>
                  </a:lnTo>
                  <a:lnTo>
                    <a:pt x="1000" y="150"/>
                  </a:lnTo>
                  <a:lnTo>
                    <a:pt x="1003" y="159"/>
                  </a:lnTo>
                  <a:lnTo>
                    <a:pt x="1000" y="169"/>
                  </a:lnTo>
                  <a:lnTo>
                    <a:pt x="1000" y="183"/>
                  </a:lnTo>
                  <a:lnTo>
                    <a:pt x="992" y="184"/>
                  </a:lnTo>
                  <a:lnTo>
                    <a:pt x="987" y="178"/>
                  </a:lnTo>
                  <a:lnTo>
                    <a:pt x="987" y="170"/>
                  </a:lnTo>
                  <a:lnTo>
                    <a:pt x="992" y="166"/>
                  </a:lnTo>
                  <a:lnTo>
                    <a:pt x="978" y="162"/>
                  </a:lnTo>
                  <a:lnTo>
                    <a:pt x="986" y="151"/>
                  </a:lnTo>
                  <a:lnTo>
                    <a:pt x="984" y="150"/>
                  </a:lnTo>
                  <a:lnTo>
                    <a:pt x="954" y="145"/>
                  </a:lnTo>
                  <a:lnTo>
                    <a:pt x="956" y="159"/>
                  </a:lnTo>
                  <a:lnTo>
                    <a:pt x="952" y="160"/>
                  </a:lnTo>
                  <a:lnTo>
                    <a:pt x="944" y="156"/>
                  </a:lnTo>
                  <a:lnTo>
                    <a:pt x="944" y="150"/>
                  </a:lnTo>
                  <a:lnTo>
                    <a:pt x="941" y="140"/>
                  </a:lnTo>
                  <a:lnTo>
                    <a:pt x="938" y="143"/>
                  </a:lnTo>
                  <a:lnTo>
                    <a:pt x="935" y="133"/>
                  </a:lnTo>
                  <a:lnTo>
                    <a:pt x="929" y="138"/>
                  </a:lnTo>
                  <a:lnTo>
                    <a:pt x="927" y="133"/>
                  </a:lnTo>
                  <a:lnTo>
                    <a:pt x="922" y="138"/>
                  </a:lnTo>
                  <a:lnTo>
                    <a:pt x="920" y="155"/>
                  </a:lnTo>
                  <a:lnTo>
                    <a:pt x="916" y="146"/>
                  </a:lnTo>
                  <a:lnTo>
                    <a:pt x="911" y="135"/>
                  </a:lnTo>
                  <a:lnTo>
                    <a:pt x="907" y="132"/>
                  </a:lnTo>
                  <a:lnTo>
                    <a:pt x="907" y="157"/>
                  </a:lnTo>
                  <a:lnTo>
                    <a:pt x="924" y="167"/>
                  </a:lnTo>
                  <a:lnTo>
                    <a:pt x="930" y="167"/>
                  </a:lnTo>
                  <a:lnTo>
                    <a:pt x="930" y="178"/>
                  </a:lnTo>
                  <a:lnTo>
                    <a:pt x="928" y="188"/>
                  </a:lnTo>
                  <a:lnTo>
                    <a:pt x="928" y="199"/>
                  </a:lnTo>
                  <a:lnTo>
                    <a:pt x="933" y="210"/>
                  </a:lnTo>
                  <a:lnTo>
                    <a:pt x="933" y="225"/>
                  </a:lnTo>
                  <a:lnTo>
                    <a:pt x="925" y="219"/>
                  </a:lnTo>
                  <a:lnTo>
                    <a:pt x="907" y="191"/>
                  </a:lnTo>
                  <a:lnTo>
                    <a:pt x="891" y="175"/>
                  </a:lnTo>
                  <a:lnTo>
                    <a:pt x="895" y="194"/>
                  </a:lnTo>
                  <a:lnTo>
                    <a:pt x="890" y="194"/>
                  </a:lnTo>
                  <a:lnTo>
                    <a:pt x="886" y="205"/>
                  </a:lnTo>
                  <a:lnTo>
                    <a:pt x="881" y="204"/>
                  </a:lnTo>
                  <a:lnTo>
                    <a:pt x="877" y="212"/>
                  </a:lnTo>
                  <a:lnTo>
                    <a:pt x="874" y="208"/>
                  </a:lnTo>
                  <a:lnTo>
                    <a:pt x="874" y="202"/>
                  </a:lnTo>
                  <a:lnTo>
                    <a:pt x="877" y="191"/>
                  </a:lnTo>
                  <a:lnTo>
                    <a:pt x="870" y="194"/>
                  </a:lnTo>
                  <a:lnTo>
                    <a:pt x="863" y="204"/>
                  </a:lnTo>
                  <a:lnTo>
                    <a:pt x="859" y="218"/>
                  </a:lnTo>
                  <a:lnTo>
                    <a:pt x="853" y="220"/>
                  </a:lnTo>
                  <a:lnTo>
                    <a:pt x="855" y="235"/>
                  </a:lnTo>
                  <a:lnTo>
                    <a:pt x="857" y="241"/>
                  </a:lnTo>
                  <a:lnTo>
                    <a:pt x="841" y="256"/>
                  </a:lnTo>
                  <a:lnTo>
                    <a:pt x="834" y="275"/>
                  </a:lnTo>
                  <a:lnTo>
                    <a:pt x="827" y="285"/>
                  </a:lnTo>
                  <a:lnTo>
                    <a:pt x="837" y="264"/>
                  </a:lnTo>
                  <a:lnTo>
                    <a:pt x="838" y="252"/>
                  </a:lnTo>
                  <a:lnTo>
                    <a:pt x="839" y="229"/>
                  </a:lnTo>
                  <a:lnTo>
                    <a:pt x="841" y="212"/>
                  </a:lnTo>
                  <a:lnTo>
                    <a:pt x="838" y="191"/>
                  </a:lnTo>
                  <a:lnTo>
                    <a:pt x="828" y="194"/>
                  </a:lnTo>
                  <a:lnTo>
                    <a:pt x="822" y="208"/>
                  </a:lnTo>
                  <a:lnTo>
                    <a:pt x="812" y="223"/>
                  </a:lnTo>
                  <a:lnTo>
                    <a:pt x="809" y="246"/>
                  </a:lnTo>
                  <a:lnTo>
                    <a:pt x="804" y="266"/>
                  </a:lnTo>
                  <a:lnTo>
                    <a:pt x="803" y="214"/>
                  </a:lnTo>
                  <a:lnTo>
                    <a:pt x="777" y="218"/>
                  </a:lnTo>
                  <a:lnTo>
                    <a:pt x="768" y="235"/>
                  </a:lnTo>
                  <a:lnTo>
                    <a:pt x="767" y="240"/>
                  </a:lnTo>
                  <a:lnTo>
                    <a:pt x="769" y="261"/>
                  </a:lnTo>
                  <a:lnTo>
                    <a:pt x="779" y="274"/>
                  </a:lnTo>
                  <a:lnTo>
                    <a:pt x="788" y="278"/>
                  </a:lnTo>
                  <a:lnTo>
                    <a:pt x="795" y="291"/>
                  </a:lnTo>
                  <a:lnTo>
                    <a:pt x="794" y="301"/>
                  </a:lnTo>
                  <a:lnTo>
                    <a:pt x="785" y="300"/>
                  </a:lnTo>
                  <a:lnTo>
                    <a:pt x="779" y="284"/>
                  </a:lnTo>
                  <a:lnTo>
                    <a:pt x="768" y="277"/>
                  </a:lnTo>
                  <a:lnTo>
                    <a:pt x="760" y="261"/>
                  </a:lnTo>
                  <a:lnTo>
                    <a:pt x="751" y="252"/>
                  </a:lnTo>
                  <a:lnTo>
                    <a:pt x="739" y="254"/>
                  </a:lnTo>
                  <a:lnTo>
                    <a:pt x="746" y="272"/>
                  </a:lnTo>
                  <a:lnTo>
                    <a:pt x="760" y="284"/>
                  </a:lnTo>
                  <a:lnTo>
                    <a:pt x="750" y="294"/>
                  </a:lnTo>
                  <a:lnTo>
                    <a:pt x="741" y="286"/>
                  </a:lnTo>
                  <a:lnTo>
                    <a:pt x="737" y="293"/>
                  </a:lnTo>
                  <a:lnTo>
                    <a:pt x="735" y="280"/>
                  </a:lnTo>
                  <a:lnTo>
                    <a:pt x="726" y="285"/>
                  </a:lnTo>
                  <a:lnTo>
                    <a:pt x="726" y="280"/>
                  </a:lnTo>
                  <a:lnTo>
                    <a:pt x="729" y="267"/>
                  </a:lnTo>
                  <a:lnTo>
                    <a:pt x="724" y="261"/>
                  </a:lnTo>
                  <a:lnTo>
                    <a:pt x="721" y="266"/>
                  </a:lnTo>
                  <a:lnTo>
                    <a:pt x="714" y="290"/>
                  </a:lnTo>
                  <a:lnTo>
                    <a:pt x="715" y="299"/>
                  </a:lnTo>
                  <a:lnTo>
                    <a:pt x="720" y="306"/>
                  </a:lnTo>
                  <a:lnTo>
                    <a:pt x="697" y="318"/>
                  </a:lnTo>
                  <a:lnTo>
                    <a:pt x="691" y="325"/>
                  </a:lnTo>
                  <a:lnTo>
                    <a:pt x="688" y="332"/>
                  </a:lnTo>
                  <a:lnTo>
                    <a:pt x="687" y="343"/>
                  </a:lnTo>
                  <a:lnTo>
                    <a:pt x="690" y="350"/>
                  </a:lnTo>
                  <a:lnTo>
                    <a:pt x="698" y="347"/>
                  </a:lnTo>
                  <a:lnTo>
                    <a:pt x="704" y="355"/>
                  </a:lnTo>
                  <a:lnTo>
                    <a:pt x="692" y="355"/>
                  </a:lnTo>
                  <a:lnTo>
                    <a:pt x="696" y="365"/>
                  </a:lnTo>
                  <a:lnTo>
                    <a:pt x="696" y="372"/>
                  </a:lnTo>
                  <a:lnTo>
                    <a:pt x="683" y="368"/>
                  </a:lnTo>
                  <a:lnTo>
                    <a:pt x="678" y="370"/>
                  </a:lnTo>
                  <a:lnTo>
                    <a:pt x="686" y="377"/>
                  </a:lnTo>
                  <a:lnTo>
                    <a:pt x="681" y="383"/>
                  </a:lnTo>
                  <a:lnTo>
                    <a:pt x="670" y="380"/>
                  </a:lnTo>
                  <a:lnTo>
                    <a:pt x="667" y="386"/>
                  </a:lnTo>
                  <a:lnTo>
                    <a:pt x="659" y="383"/>
                  </a:lnTo>
                  <a:lnTo>
                    <a:pt x="643" y="390"/>
                  </a:lnTo>
                  <a:lnTo>
                    <a:pt x="639" y="399"/>
                  </a:lnTo>
                  <a:lnTo>
                    <a:pt x="633" y="403"/>
                  </a:lnTo>
                  <a:lnTo>
                    <a:pt x="632" y="407"/>
                  </a:lnTo>
                  <a:lnTo>
                    <a:pt x="642" y="414"/>
                  </a:lnTo>
                  <a:lnTo>
                    <a:pt x="651" y="410"/>
                  </a:lnTo>
                  <a:lnTo>
                    <a:pt x="656" y="404"/>
                  </a:lnTo>
                  <a:lnTo>
                    <a:pt x="672" y="414"/>
                  </a:lnTo>
                  <a:lnTo>
                    <a:pt x="685" y="406"/>
                  </a:lnTo>
                  <a:lnTo>
                    <a:pt x="687" y="409"/>
                  </a:lnTo>
                  <a:lnTo>
                    <a:pt x="691" y="418"/>
                  </a:lnTo>
                  <a:lnTo>
                    <a:pt x="681" y="418"/>
                  </a:lnTo>
                  <a:lnTo>
                    <a:pt x="676" y="425"/>
                  </a:lnTo>
                  <a:lnTo>
                    <a:pt x="674" y="439"/>
                  </a:lnTo>
                  <a:lnTo>
                    <a:pt x="659" y="430"/>
                  </a:lnTo>
                  <a:lnTo>
                    <a:pt x="648" y="430"/>
                  </a:lnTo>
                  <a:lnTo>
                    <a:pt x="645" y="424"/>
                  </a:lnTo>
                  <a:lnTo>
                    <a:pt x="633" y="422"/>
                  </a:lnTo>
                  <a:lnTo>
                    <a:pt x="619" y="430"/>
                  </a:lnTo>
                  <a:lnTo>
                    <a:pt x="616" y="438"/>
                  </a:lnTo>
                  <a:lnTo>
                    <a:pt x="626" y="453"/>
                  </a:lnTo>
                  <a:lnTo>
                    <a:pt x="626" y="462"/>
                  </a:lnTo>
                  <a:lnTo>
                    <a:pt x="619" y="461"/>
                  </a:lnTo>
                  <a:lnTo>
                    <a:pt x="624" y="476"/>
                  </a:lnTo>
                  <a:lnTo>
                    <a:pt x="626" y="487"/>
                  </a:lnTo>
                  <a:lnTo>
                    <a:pt x="617" y="483"/>
                  </a:lnTo>
                  <a:lnTo>
                    <a:pt x="617" y="494"/>
                  </a:lnTo>
                  <a:lnTo>
                    <a:pt x="610" y="495"/>
                  </a:lnTo>
                  <a:lnTo>
                    <a:pt x="605" y="457"/>
                  </a:lnTo>
                  <a:lnTo>
                    <a:pt x="597" y="460"/>
                  </a:lnTo>
                  <a:lnTo>
                    <a:pt x="594" y="473"/>
                  </a:lnTo>
                  <a:lnTo>
                    <a:pt x="586" y="471"/>
                  </a:lnTo>
                  <a:lnTo>
                    <a:pt x="583" y="474"/>
                  </a:lnTo>
                  <a:lnTo>
                    <a:pt x="594" y="479"/>
                  </a:lnTo>
                  <a:lnTo>
                    <a:pt x="591" y="483"/>
                  </a:lnTo>
                  <a:lnTo>
                    <a:pt x="583" y="485"/>
                  </a:lnTo>
                  <a:lnTo>
                    <a:pt x="575" y="490"/>
                  </a:lnTo>
                  <a:lnTo>
                    <a:pt x="573" y="499"/>
                  </a:lnTo>
                  <a:lnTo>
                    <a:pt x="574" y="509"/>
                  </a:lnTo>
                  <a:lnTo>
                    <a:pt x="583" y="516"/>
                  </a:lnTo>
                  <a:lnTo>
                    <a:pt x="575" y="520"/>
                  </a:lnTo>
                  <a:lnTo>
                    <a:pt x="580" y="525"/>
                  </a:lnTo>
                  <a:lnTo>
                    <a:pt x="574" y="527"/>
                  </a:lnTo>
                  <a:lnTo>
                    <a:pt x="570" y="539"/>
                  </a:lnTo>
                  <a:lnTo>
                    <a:pt x="567" y="542"/>
                  </a:lnTo>
                  <a:lnTo>
                    <a:pt x="561" y="542"/>
                  </a:lnTo>
                  <a:lnTo>
                    <a:pt x="562" y="546"/>
                  </a:lnTo>
                  <a:lnTo>
                    <a:pt x="572" y="549"/>
                  </a:lnTo>
                  <a:lnTo>
                    <a:pt x="591" y="542"/>
                  </a:lnTo>
                  <a:lnTo>
                    <a:pt x="578" y="558"/>
                  </a:lnTo>
                  <a:lnTo>
                    <a:pt x="572" y="562"/>
                  </a:lnTo>
                  <a:lnTo>
                    <a:pt x="553" y="558"/>
                  </a:lnTo>
                  <a:lnTo>
                    <a:pt x="548" y="553"/>
                  </a:lnTo>
                  <a:lnTo>
                    <a:pt x="547" y="546"/>
                  </a:lnTo>
                  <a:lnTo>
                    <a:pt x="540" y="547"/>
                  </a:lnTo>
                  <a:lnTo>
                    <a:pt x="529" y="557"/>
                  </a:lnTo>
                  <a:lnTo>
                    <a:pt x="524" y="574"/>
                  </a:lnTo>
                  <a:lnTo>
                    <a:pt x="514" y="581"/>
                  </a:lnTo>
                  <a:lnTo>
                    <a:pt x="513" y="591"/>
                  </a:lnTo>
                  <a:lnTo>
                    <a:pt x="520" y="591"/>
                  </a:lnTo>
                  <a:lnTo>
                    <a:pt x="519" y="598"/>
                  </a:lnTo>
                  <a:lnTo>
                    <a:pt x="518" y="603"/>
                  </a:lnTo>
                  <a:lnTo>
                    <a:pt x="509" y="607"/>
                  </a:lnTo>
                  <a:lnTo>
                    <a:pt x="504" y="625"/>
                  </a:lnTo>
                  <a:lnTo>
                    <a:pt x="497" y="624"/>
                  </a:lnTo>
                  <a:lnTo>
                    <a:pt x="491" y="628"/>
                  </a:lnTo>
                  <a:lnTo>
                    <a:pt x="484" y="629"/>
                  </a:lnTo>
                  <a:lnTo>
                    <a:pt x="476" y="640"/>
                  </a:lnTo>
                  <a:lnTo>
                    <a:pt x="482" y="650"/>
                  </a:lnTo>
                  <a:lnTo>
                    <a:pt x="478" y="654"/>
                  </a:lnTo>
                  <a:lnTo>
                    <a:pt x="467" y="656"/>
                  </a:lnTo>
                  <a:lnTo>
                    <a:pt x="467" y="666"/>
                  </a:lnTo>
                  <a:lnTo>
                    <a:pt x="456" y="667"/>
                  </a:lnTo>
                  <a:lnTo>
                    <a:pt x="459" y="673"/>
                  </a:lnTo>
                  <a:lnTo>
                    <a:pt x="454" y="677"/>
                  </a:lnTo>
                  <a:lnTo>
                    <a:pt x="452" y="686"/>
                  </a:lnTo>
                  <a:lnTo>
                    <a:pt x="465" y="688"/>
                  </a:lnTo>
                  <a:lnTo>
                    <a:pt x="462" y="694"/>
                  </a:lnTo>
                  <a:lnTo>
                    <a:pt x="454" y="699"/>
                  </a:lnTo>
                  <a:lnTo>
                    <a:pt x="448" y="694"/>
                  </a:lnTo>
                  <a:lnTo>
                    <a:pt x="448" y="697"/>
                  </a:lnTo>
                  <a:lnTo>
                    <a:pt x="448" y="711"/>
                  </a:lnTo>
                  <a:lnTo>
                    <a:pt x="454" y="720"/>
                  </a:lnTo>
                  <a:lnTo>
                    <a:pt x="459" y="713"/>
                  </a:lnTo>
                  <a:lnTo>
                    <a:pt x="463" y="716"/>
                  </a:lnTo>
                  <a:lnTo>
                    <a:pt x="461" y="726"/>
                  </a:lnTo>
                  <a:lnTo>
                    <a:pt x="440" y="729"/>
                  </a:lnTo>
                  <a:lnTo>
                    <a:pt x="436" y="734"/>
                  </a:lnTo>
                  <a:lnTo>
                    <a:pt x="435" y="748"/>
                  </a:lnTo>
                  <a:lnTo>
                    <a:pt x="427" y="754"/>
                  </a:lnTo>
                  <a:lnTo>
                    <a:pt x="418" y="757"/>
                  </a:lnTo>
                  <a:lnTo>
                    <a:pt x="412" y="772"/>
                  </a:lnTo>
                  <a:lnTo>
                    <a:pt x="420" y="770"/>
                  </a:lnTo>
                  <a:lnTo>
                    <a:pt x="429" y="762"/>
                  </a:lnTo>
                  <a:lnTo>
                    <a:pt x="440" y="757"/>
                  </a:lnTo>
                  <a:lnTo>
                    <a:pt x="440" y="767"/>
                  </a:lnTo>
                  <a:lnTo>
                    <a:pt x="446" y="779"/>
                  </a:lnTo>
                  <a:lnTo>
                    <a:pt x="427" y="773"/>
                  </a:lnTo>
                  <a:lnTo>
                    <a:pt x="425" y="781"/>
                  </a:lnTo>
                  <a:lnTo>
                    <a:pt x="429" y="785"/>
                  </a:lnTo>
                  <a:lnTo>
                    <a:pt x="423" y="790"/>
                  </a:lnTo>
                  <a:lnTo>
                    <a:pt x="420" y="796"/>
                  </a:lnTo>
                  <a:lnTo>
                    <a:pt x="423" y="806"/>
                  </a:lnTo>
                  <a:lnTo>
                    <a:pt x="419" y="808"/>
                  </a:lnTo>
                  <a:lnTo>
                    <a:pt x="413" y="805"/>
                  </a:lnTo>
                  <a:lnTo>
                    <a:pt x="409" y="811"/>
                  </a:lnTo>
                  <a:lnTo>
                    <a:pt x="412" y="821"/>
                  </a:lnTo>
                  <a:lnTo>
                    <a:pt x="418" y="826"/>
                  </a:lnTo>
                  <a:lnTo>
                    <a:pt x="420" y="845"/>
                  </a:lnTo>
                  <a:lnTo>
                    <a:pt x="413" y="837"/>
                  </a:lnTo>
                  <a:lnTo>
                    <a:pt x="406" y="834"/>
                  </a:lnTo>
                  <a:lnTo>
                    <a:pt x="400" y="821"/>
                  </a:lnTo>
                  <a:lnTo>
                    <a:pt x="401" y="838"/>
                  </a:lnTo>
                  <a:lnTo>
                    <a:pt x="397" y="844"/>
                  </a:lnTo>
                  <a:lnTo>
                    <a:pt x="391" y="847"/>
                  </a:lnTo>
                  <a:lnTo>
                    <a:pt x="387" y="856"/>
                  </a:lnTo>
                  <a:lnTo>
                    <a:pt x="392" y="859"/>
                  </a:lnTo>
                  <a:lnTo>
                    <a:pt x="398" y="856"/>
                  </a:lnTo>
                  <a:lnTo>
                    <a:pt x="403" y="848"/>
                  </a:lnTo>
                  <a:lnTo>
                    <a:pt x="405" y="851"/>
                  </a:lnTo>
                  <a:lnTo>
                    <a:pt x="403" y="856"/>
                  </a:lnTo>
                  <a:lnTo>
                    <a:pt x="403" y="864"/>
                  </a:lnTo>
                  <a:lnTo>
                    <a:pt x="406" y="871"/>
                  </a:lnTo>
                  <a:lnTo>
                    <a:pt x="398" y="877"/>
                  </a:lnTo>
                  <a:lnTo>
                    <a:pt x="387" y="872"/>
                  </a:lnTo>
                  <a:lnTo>
                    <a:pt x="382" y="880"/>
                  </a:lnTo>
                  <a:lnTo>
                    <a:pt x="376" y="876"/>
                  </a:lnTo>
                  <a:lnTo>
                    <a:pt x="369" y="886"/>
                  </a:lnTo>
                  <a:lnTo>
                    <a:pt x="368" y="896"/>
                  </a:lnTo>
                  <a:lnTo>
                    <a:pt x="360" y="902"/>
                  </a:lnTo>
                  <a:lnTo>
                    <a:pt x="352" y="904"/>
                  </a:lnTo>
                  <a:lnTo>
                    <a:pt x="347" y="925"/>
                  </a:lnTo>
                  <a:lnTo>
                    <a:pt x="357" y="921"/>
                  </a:lnTo>
                  <a:lnTo>
                    <a:pt x="366" y="915"/>
                  </a:lnTo>
                  <a:lnTo>
                    <a:pt x="370" y="919"/>
                  </a:lnTo>
                  <a:lnTo>
                    <a:pt x="353" y="926"/>
                  </a:lnTo>
                  <a:lnTo>
                    <a:pt x="353" y="937"/>
                  </a:lnTo>
                  <a:lnTo>
                    <a:pt x="355" y="948"/>
                  </a:lnTo>
                  <a:lnTo>
                    <a:pt x="352" y="955"/>
                  </a:lnTo>
                  <a:lnTo>
                    <a:pt x="341" y="958"/>
                  </a:lnTo>
                  <a:lnTo>
                    <a:pt x="327" y="947"/>
                  </a:lnTo>
                  <a:lnTo>
                    <a:pt x="323" y="947"/>
                  </a:lnTo>
                  <a:lnTo>
                    <a:pt x="315" y="962"/>
                  </a:lnTo>
                  <a:lnTo>
                    <a:pt x="305" y="969"/>
                  </a:lnTo>
                  <a:lnTo>
                    <a:pt x="304" y="976"/>
                  </a:lnTo>
                  <a:lnTo>
                    <a:pt x="296" y="980"/>
                  </a:lnTo>
                  <a:lnTo>
                    <a:pt x="280" y="1006"/>
                  </a:lnTo>
                  <a:lnTo>
                    <a:pt x="277" y="1012"/>
                  </a:lnTo>
                  <a:lnTo>
                    <a:pt x="280" y="1022"/>
                  </a:lnTo>
                  <a:lnTo>
                    <a:pt x="280" y="1026"/>
                  </a:lnTo>
                  <a:lnTo>
                    <a:pt x="258" y="1038"/>
                  </a:lnTo>
                  <a:lnTo>
                    <a:pt x="258" y="1048"/>
                  </a:lnTo>
                  <a:lnTo>
                    <a:pt x="263" y="1053"/>
                  </a:lnTo>
                  <a:lnTo>
                    <a:pt x="274" y="1048"/>
                  </a:lnTo>
                  <a:lnTo>
                    <a:pt x="269" y="1064"/>
                  </a:lnTo>
                  <a:lnTo>
                    <a:pt x="277" y="1075"/>
                  </a:lnTo>
                  <a:lnTo>
                    <a:pt x="283" y="1079"/>
                  </a:lnTo>
                  <a:lnTo>
                    <a:pt x="320" y="1052"/>
                  </a:lnTo>
                  <a:lnTo>
                    <a:pt x="342" y="1042"/>
                  </a:lnTo>
                  <a:lnTo>
                    <a:pt x="347" y="1036"/>
                  </a:lnTo>
                  <a:lnTo>
                    <a:pt x="352" y="1038"/>
                  </a:lnTo>
                  <a:lnTo>
                    <a:pt x="348" y="1044"/>
                  </a:lnTo>
                  <a:lnTo>
                    <a:pt x="335" y="1052"/>
                  </a:lnTo>
                  <a:lnTo>
                    <a:pt x="327" y="1053"/>
                  </a:lnTo>
                  <a:lnTo>
                    <a:pt x="316" y="1060"/>
                  </a:lnTo>
                  <a:lnTo>
                    <a:pt x="307" y="1068"/>
                  </a:lnTo>
                  <a:lnTo>
                    <a:pt x="314" y="1075"/>
                  </a:lnTo>
                  <a:lnTo>
                    <a:pt x="312" y="1079"/>
                  </a:lnTo>
                  <a:lnTo>
                    <a:pt x="295" y="1086"/>
                  </a:lnTo>
                  <a:lnTo>
                    <a:pt x="285" y="1086"/>
                  </a:lnTo>
                  <a:lnTo>
                    <a:pt x="282" y="1090"/>
                  </a:lnTo>
                  <a:lnTo>
                    <a:pt x="284" y="1096"/>
                  </a:lnTo>
                  <a:lnTo>
                    <a:pt x="280" y="1097"/>
                  </a:lnTo>
                  <a:lnTo>
                    <a:pt x="271" y="1096"/>
                  </a:lnTo>
                  <a:lnTo>
                    <a:pt x="271" y="1086"/>
                  </a:lnTo>
                  <a:lnTo>
                    <a:pt x="263" y="1071"/>
                  </a:lnTo>
                  <a:lnTo>
                    <a:pt x="258" y="1066"/>
                  </a:lnTo>
                  <a:lnTo>
                    <a:pt x="253" y="1066"/>
                  </a:lnTo>
                  <a:lnTo>
                    <a:pt x="250" y="1073"/>
                  </a:lnTo>
                  <a:lnTo>
                    <a:pt x="242" y="1074"/>
                  </a:lnTo>
                  <a:lnTo>
                    <a:pt x="236" y="1080"/>
                  </a:lnTo>
                  <a:lnTo>
                    <a:pt x="235" y="1087"/>
                  </a:lnTo>
                  <a:lnTo>
                    <a:pt x="241" y="1092"/>
                  </a:lnTo>
                  <a:lnTo>
                    <a:pt x="242" y="1097"/>
                  </a:lnTo>
                  <a:lnTo>
                    <a:pt x="231" y="1103"/>
                  </a:lnTo>
                  <a:lnTo>
                    <a:pt x="228" y="1097"/>
                  </a:lnTo>
                  <a:lnTo>
                    <a:pt x="228" y="1089"/>
                  </a:lnTo>
                  <a:lnTo>
                    <a:pt x="225" y="1082"/>
                  </a:lnTo>
                  <a:lnTo>
                    <a:pt x="198" y="1093"/>
                  </a:lnTo>
                  <a:lnTo>
                    <a:pt x="194" y="1098"/>
                  </a:lnTo>
                  <a:lnTo>
                    <a:pt x="190" y="1109"/>
                  </a:lnTo>
                  <a:lnTo>
                    <a:pt x="183" y="1108"/>
                  </a:lnTo>
                  <a:lnTo>
                    <a:pt x="185" y="1116"/>
                  </a:lnTo>
                  <a:lnTo>
                    <a:pt x="183" y="1119"/>
                  </a:lnTo>
                  <a:lnTo>
                    <a:pt x="175" y="1120"/>
                  </a:lnTo>
                  <a:lnTo>
                    <a:pt x="175" y="1117"/>
                  </a:lnTo>
                  <a:lnTo>
                    <a:pt x="174" y="1112"/>
                  </a:lnTo>
                  <a:lnTo>
                    <a:pt x="169" y="1113"/>
                  </a:lnTo>
                  <a:lnTo>
                    <a:pt x="166" y="1117"/>
                  </a:lnTo>
                  <a:lnTo>
                    <a:pt x="167" y="1122"/>
                  </a:lnTo>
                  <a:lnTo>
                    <a:pt x="166" y="1124"/>
                  </a:lnTo>
                  <a:lnTo>
                    <a:pt x="156" y="1124"/>
                  </a:lnTo>
                  <a:lnTo>
                    <a:pt x="143" y="1132"/>
                  </a:lnTo>
                  <a:lnTo>
                    <a:pt x="140" y="1145"/>
                  </a:lnTo>
                  <a:lnTo>
                    <a:pt x="135" y="1156"/>
                  </a:lnTo>
                  <a:lnTo>
                    <a:pt x="128" y="1151"/>
                  </a:lnTo>
                  <a:lnTo>
                    <a:pt x="118" y="1150"/>
                  </a:lnTo>
                  <a:lnTo>
                    <a:pt x="110" y="1157"/>
                  </a:lnTo>
                  <a:lnTo>
                    <a:pt x="107" y="1163"/>
                  </a:lnTo>
                  <a:lnTo>
                    <a:pt x="117" y="1171"/>
                  </a:lnTo>
                  <a:lnTo>
                    <a:pt x="111" y="1177"/>
                  </a:lnTo>
                  <a:lnTo>
                    <a:pt x="121" y="1178"/>
                  </a:lnTo>
                  <a:lnTo>
                    <a:pt x="132" y="1176"/>
                  </a:lnTo>
                  <a:lnTo>
                    <a:pt x="137" y="1182"/>
                  </a:lnTo>
                  <a:lnTo>
                    <a:pt x="142" y="1184"/>
                  </a:lnTo>
                  <a:lnTo>
                    <a:pt x="135" y="1193"/>
                  </a:lnTo>
                  <a:lnTo>
                    <a:pt x="138" y="1199"/>
                  </a:lnTo>
                  <a:lnTo>
                    <a:pt x="131" y="1195"/>
                  </a:lnTo>
                  <a:lnTo>
                    <a:pt x="122" y="1195"/>
                  </a:lnTo>
                  <a:lnTo>
                    <a:pt x="99" y="1192"/>
                  </a:lnTo>
                  <a:lnTo>
                    <a:pt x="91" y="1193"/>
                  </a:lnTo>
                  <a:lnTo>
                    <a:pt x="86" y="1197"/>
                  </a:lnTo>
                  <a:lnTo>
                    <a:pt x="80" y="1195"/>
                  </a:lnTo>
                  <a:lnTo>
                    <a:pt x="74" y="1200"/>
                  </a:lnTo>
                  <a:lnTo>
                    <a:pt x="75" y="1203"/>
                  </a:lnTo>
                  <a:lnTo>
                    <a:pt x="81" y="1205"/>
                  </a:lnTo>
                  <a:lnTo>
                    <a:pt x="75" y="1208"/>
                  </a:lnTo>
                  <a:lnTo>
                    <a:pt x="75" y="1214"/>
                  </a:lnTo>
                  <a:lnTo>
                    <a:pt x="83" y="1213"/>
                  </a:lnTo>
                  <a:lnTo>
                    <a:pt x="89" y="1210"/>
                  </a:lnTo>
                  <a:lnTo>
                    <a:pt x="81" y="1220"/>
                  </a:lnTo>
                  <a:lnTo>
                    <a:pt x="81" y="1227"/>
                  </a:lnTo>
                  <a:lnTo>
                    <a:pt x="86" y="1243"/>
                  </a:lnTo>
                  <a:lnTo>
                    <a:pt x="83" y="1245"/>
                  </a:lnTo>
                  <a:lnTo>
                    <a:pt x="78" y="1230"/>
                  </a:lnTo>
                  <a:lnTo>
                    <a:pt x="74" y="1224"/>
                  </a:lnTo>
                  <a:lnTo>
                    <a:pt x="64" y="1230"/>
                  </a:lnTo>
                  <a:lnTo>
                    <a:pt x="59" y="1238"/>
                  </a:lnTo>
                  <a:lnTo>
                    <a:pt x="56" y="1248"/>
                  </a:lnTo>
                  <a:lnTo>
                    <a:pt x="61" y="1253"/>
                  </a:lnTo>
                  <a:lnTo>
                    <a:pt x="62" y="1259"/>
                  </a:lnTo>
                  <a:lnTo>
                    <a:pt x="53" y="1253"/>
                  </a:lnTo>
                  <a:lnTo>
                    <a:pt x="50" y="1246"/>
                  </a:lnTo>
                  <a:lnTo>
                    <a:pt x="41" y="1248"/>
                  </a:lnTo>
                  <a:lnTo>
                    <a:pt x="27" y="1248"/>
                  </a:lnTo>
                  <a:lnTo>
                    <a:pt x="27" y="1254"/>
                  </a:lnTo>
                  <a:lnTo>
                    <a:pt x="29" y="1259"/>
                  </a:lnTo>
                  <a:lnTo>
                    <a:pt x="13" y="1247"/>
                  </a:lnTo>
                  <a:lnTo>
                    <a:pt x="9" y="1251"/>
                  </a:lnTo>
                  <a:lnTo>
                    <a:pt x="15" y="1265"/>
                  </a:lnTo>
                  <a:lnTo>
                    <a:pt x="11" y="1272"/>
                  </a:lnTo>
                  <a:lnTo>
                    <a:pt x="13" y="1274"/>
                  </a:lnTo>
                  <a:lnTo>
                    <a:pt x="41" y="1274"/>
                  </a:lnTo>
                  <a:lnTo>
                    <a:pt x="67" y="1268"/>
                  </a:lnTo>
                  <a:lnTo>
                    <a:pt x="51" y="1275"/>
                  </a:lnTo>
                  <a:lnTo>
                    <a:pt x="53" y="1279"/>
                  </a:lnTo>
                  <a:lnTo>
                    <a:pt x="65" y="1279"/>
                  </a:lnTo>
                  <a:lnTo>
                    <a:pt x="74" y="1275"/>
                  </a:lnTo>
                  <a:lnTo>
                    <a:pt x="77" y="1278"/>
                  </a:lnTo>
                  <a:lnTo>
                    <a:pt x="67" y="1284"/>
                  </a:lnTo>
                  <a:lnTo>
                    <a:pt x="52" y="1286"/>
                  </a:lnTo>
                  <a:lnTo>
                    <a:pt x="36" y="1286"/>
                  </a:lnTo>
                  <a:lnTo>
                    <a:pt x="30" y="1281"/>
                  </a:lnTo>
                  <a:lnTo>
                    <a:pt x="24" y="1281"/>
                  </a:lnTo>
                  <a:lnTo>
                    <a:pt x="13" y="1291"/>
                  </a:lnTo>
                  <a:lnTo>
                    <a:pt x="11" y="1296"/>
                  </a:lnTo>
                  <a:lnTo>
                    <a:pt x="4" y="1295"/>
                  </a:lnTo>
                  <a:lnTo>
                    <a:pt x="2" y="1297"/>
                  </a:lnTo>
                  <a:lnTo>
                    <a:pt x="0" y="1305"/>
                  </a:lnTo>
                  <a:lnTo>
                    <a:pt x="16" y="1310"/>
                  </a:lnTo>
                  <a:lnTo>
                    <a:pt x="15" y="1316"/>
                  </a:lnTo>
                  <a:lnTo>
                    <a:pt x="15" y="1322"/>
                  </a:lnTo>
                  <a:lnTo>
                    <a:pt x="10" y="1327"/>
                  </a:lnTo>
                  <a:lnTo>
                    <a:pt x="3" y="1335"/>
                  </a:lnTo>
                  <a:lnTo>
                    <a:pt x="5" y="1343"/>
                  </a:lnTo>
                  <a:lnTo>
                    <a:pt x="3" y="1346"/>
                  </a:lnTo>
                  <a:lnTo>
                    <a:pt x="3" y="1354"/>
                  </a:lnTo>
                  <a:lnTo>
                    <a:pt x="7" y="1358"/>
                  </a:lnTo>
                  <a:lnTo>
                    <a:pt x="7" y="1365"/>
                  </a:lnTo>
                  <a:lnTo>
                    <a:pt x="22" y="1367"/>
                  </a:lnTo>
                  <a:lnTo>
                    <a:pt x="53" y="1356"/>
                  </a:lnTo>
                  <a:lnTo>
                    <a:pt x="59" y="1360"/>
                  </a:lnTo>
                  <a:lnTo>
                    <a:pt x="72" y="1360"/>
                  </a:lnTo>
                  <a:lnTo>
                    <a:pt x="74" y="1349"/>
                  </a:lnTo>
                  <a:lnTo>
                    <a:pt x="83" y="1333"/>
                  </a:lnTo>
                  <a:lnTo>
                    <a:pt x="85" y="1343"/>
                  </a:lnTo>
                  <a:lnTo>
                    <a:pt x="81" y="1356"/>
                  </a:lnTo>
                  <a:lnTo>
                    <a:pt x="88" y="1359"/>
                  </a:lnTo>
                  <a:lnTo>
                    <a:pt x="99" y="1359"/>
                  </a:lnTo>
                  <a:lnTo>
                    <a:pt x="106" y="1356"/>
                  </a:lnTo>
                  <a:lnTo>
                    <a:pt x="111" y="1360"/>
                  </a:lnTo>
                  <a:lnTo>
                    <a:pt x="122" y="1348"/>
                  </a:lnTo>
                  <a:lnTo>
                    <a:pt x="126" y="1324"/>
                  </a:lnTo>
                  <a:lnTo>
                    <a:pt x="138" y="1317"/>
                  </a:lnTo>
                  <a:lnTo>
                    <a:pt x="139" y="1322"/>
                  </a:lnTo>
                  <a:lnTo>
                    <a:pt x="131" y="1338"/>
                  </a:lnTo>
                  <a:lnTo>
                    <a:pt x="129" y="1349"/>
                  </a:lnTo>
                  <a:lnTo>
                    <a:pt x="127" y="1354"/>
                  </a:lnTo>
                  <a:lnTo>
                    <a:pt x="133" y="1353"/>
                  </a:lnTo>
                  <a:lnTo>
                    <a:pt x="140" y="1349"/>
                  </a:lnTo>
                  <a:lnTo>
                    <a:pt x="145" y="1351"/>
                  </a:lnTo>
                  <a:lnTo>
                    <a:pt x="131" y="1362"/>
                  </a:lnTo>
                  <a:lnTo>
                    <a:pt x="113" y="1369"/>
                  </a:lnTo>
                  <a:lnTo>
                    <a:pt x="111" y="1378"/>
                  </a:lnTo>
                  <a:lnTo>
                    <a:pt x="118" y="1385"/>
                  </a:lnTo>
                  <a:lnTo>
                    <a:pt x="105" y="1393"/>
                  </a:lnTo>
                  <a:lnTo>
                    <a:pt x="105" y="1383"/>
                  </a:lnTo>
                  <a:lnTo>
                    <a:pt x="101" y="1376"/>
                  </a:lnTo>
                  <a:lnTo>
                    <a:pt x="91" y="1369"/>
                  </a:lnTo>
                  <a:lnTo>
                    <a:pt x="81" y="1369"/>
                  </a:lnTo>
                  <a:lnTo>
                    <a:pt x="68" y="1372"/>
                  </a:lnTo>
                  <a:lnTo>
                    <a:pt x="57" y="1370"/>
                  </a:lnTo>
                  <a:lnTo>
                    <a:pt x="47" y="1371"/>
                  </a:lnTo>
                  <a:lnTo>
                    <a:pt x="37" y="1370"/>
                  </a:lnTo>
                  <a:lnTo>
                    <a:pt x="29" y="1378"/>
                  </a:lnTo>
                  <a:lnTo>
                    <a:pt x="10" y="1373"/>
                  </a:lnTo>
                  <a:lnTo>
                    <a:pt x="5" y="1386"/>
                  </a:lnTo>
                  <a:lnTo>
                    <a:pt x="4" y="1397"/>
                  </a:lnTo>
                  <a:lnTo>
                    <a:pt x="14" y="1397"/>
                  </a:lnTo>
                  <a:lnTo>
                    <a:pt x="18" y="1396"/>
                  </a:lnTo>
                  <a:lnTo>
                    <a:pt x="18" y="1410"/>
                  </a:lnTo>
                  <a:lnTo>
                    <a:pt x="9" y="1407"/>
                  </a:lnTo>
                  <a:lnTo>
                    <a:pt x="3" y="1401"/>
                  </a:lnTo>
                  <a:lnTo>
                    <a:pt x="2" y="1403"/>
                  </a:lnTo>
                  <a:lnTo>
                    <a:pt x="0" y="1403"/>
                  </a:lnTo>
                  <a:lnTo>
                    <a:pt x="0" y="1407"/>
                  </a:lnTo>
                  <a:lnTo>
                    <a:pt x="10" y="1425"/>
                  </a:lnTo>
                  <a:lnTo>
                    <a:pt x="16" y="1426"/>
                  </a:lnTo>
                  <a:lnTo>
                    <a:pt x="30" y="1418"/>
                  </a:lnTo>
                  <a:lnTo>
                    <a:pt x="38" y="1415"/>
                  </a:lnTo>
                  <a:lnTo>
                    <a:pt x="25" y="1429"/>
                  </a:lnTo>
                  <a:lnTo>
                    <a:pt x="20" y="1436"/>
                  </a:lnTo>
                  <a:lnTo>
                    <a:pt x="24" y="1440"/>
                  </a:lnTo>
                  <a:lnTo>
                    <a:pt x="14" y="1446"/>
                  </a:lnTo>
                  <a:lnTo>
                    <a:pt x="9" y="1452"/>
                  </a:lnTo>
                  <a:lnTo>
                    <a:pt x="10" y="1461"/>
                  </a:lnTo>
                  <a:lnTo>
                    <a:pt x="15" y="1466"/>
                  </a:lnTo>
                  <a:lnTo>
                    <a:pt x="18" y="1472"/>
                  </a:lnTo>
                  <a:lnTo>
                    <a:pt x="24" y="1467"/>
                  </a:lnTo>
                  <a:lnTo>
                    <a:pt x="30" y="1461"/>
                  </a:lnTo>
                  <a:lnTo>
                    <a:pt x="30" y="1469"/>
                  </a:lnTo>
                  <a:lnTo>
                    <a:pt x="38" y="1483"/>
                  </a:lnTo>
                  <a:lnTo>
                    <a:pt x="31" y="1484"/>
                  </a:lnTo>
                  <a:lnTo>
                    <a:pt x="22" y="1490"/>
                  </a:lnTo>
                  <a:lnTo>
                    <a:pt x="22" y="1495"/>
                  </a:lnTo>
                  <a:lnTo>
                    <a:pt x="27" y="1499"/>
                  </a:lnTo>
                  <a:lnTo>
                    <a:pt x="37" y="1493"/>
                  </a:lnTo>
                  <a:lnTo>
                    <a:pt x="43" y="1482"/>
                  </a:lnTo>
                  <a:lnTo>
                    <a:pt x="45" y="1469"/>
                  </a:lnTo>
                  <a:lnTo>
                    <a:pt x="53" y="1463"/>
                  </a:lnTo>
                  <a:lnTo>
                    <a:pt x="63" y="1451"/>
                  </a:lnTo>
                  <a:lnTo>
                    <a:pt x="73" y="1431"/>
                  </a:lnTo>
                  <a:lnTo>
                    <a:pt x="83" y="1423"/>
                  </a:lnTo>
                  <a:lnTo>
                    <a:pt x="88" y="1428"/>
                  </a:lnTo>
                  <a:lnTo>
                    <a:pt x="88" y="1431"/>
                  </a:lnTo>
                  <a:lnTo>
                    <a:pt x="100" y="1429"/>
                  </a:lnTo>
                  <a:lnTo>
                    <a:pt x="110" y="1430"/>
                  </a:lnTo>
                  <a:lnTo>
                    <a:pt x="94" y="1437"/>
                  </a:lnTo>
                  <a:lnTo>
                    <a:pt x="91" y="1448"/>
                  </a:lnTo>
                  <a:lnTo>
                    <a:pt x="89" y="1455"/>
                  </a:lnTo>
                  <a:lnTo>
                    <a:pt x="88" y="1443"/>
                  </a:lnTo>
                  <a:lnTo>
                    <a:pt x="83" y="1442"/>
                  </a:lnTo>
                  <a:lnTo>
                    <a:pt x="74" y="1456"/>
                  </a:lnTo>
                  <a:lnTo>
                    <a:pt x="64" y="1467"/>
                  </a:lnTo>
                  <a:lnTo>
                    <a:pt x="70" y="1472"/>
                  </a:lnTo>
                  <a:lnTo>
                    <a:pt x="70" y="1475"/>
                  </a:lnTo>
                  <a:lnTo>
                    <a:pt x="59" y="1482"/>
                  </a:lnTo>
                  <a:lnTo>
                    <a:pt x="40" y="1506"/>
                  </a:lnTo>
                  <a:lnTo>
                    <a:pt x="47" y="1511"/>
                  </a:lnTo>
                  <a:lnTo>
                    <a:pt x="67" y="1511"/>
                  </a:lnTo>
                  <a:lnTo>
                    <a:pt x="72" y="1506"/>
                  </a:lnTo>
                  <a:lnTo>
                    <a:pt x="74" y="1510"/>
                  </a:lnTo>
                  <a:lnTo>
                    <a:pt x="53" y="1518"/>
                  </a:lnTo>
                  <a:lnTo>
                    <a:pt x="48" y="1525"/>
                  </a:lnTo>
                  <a:lnTo>
                    <a:pt x="47" y="1528"/>
                  </a:lnTo>
                  <a:lnTo>
                    <a:pt x="37" y="1528"/>
                  </a:lnTo>
                  <a:lnTo>
                    <a:pt x="32" y="1531"/>
                  </a:lnTo>
                  <a:lnTo>
                    <a:pt x="26" y="1528"/>
                  </a:lnTo>
                  <a:lnTo>
                    <a:pt x="18" y="1539"/>
                  </a:lnTo>
                  <a:lnTo>
                    <a:pt x="13" y="1549"/>
                  </a:lnTo>
                  <a:lnTo>
                    <a:pt x="13" y="1558"/>
                  </a:lnTo>
                  <a:lnTo>
                    <a:pt x="16" y="1560"/>
                  </a:lnTo>
                  <a:lnTo>
                    <a:pt x="18" y="1564"/>
                  </a:lnTo>
                  <a:lnTo>
                    <a:pt x="26" y="1563"/>
                  </a:lnTo>
                  <a:lnTo>
                    <a:pt x="30" y="1554"/>
                  </a:lnTo>
                  <a:lnTo>
                    <a:pt x="32" y="1563"/>
                  </a:lnTo>
                  <a:lnTo>
                    <a:pt x="40" y="1563"/>
                  </a:lnTo>
                  <a:lnTo>
                    <a:pt x="42" y="1556"/>
                  </a:lnTo>
                  <a:lnTo>
                    <a:pt x="41" y="1550"/>
                  </a:lnTo>
                  <a:lnTo>
                    <a:pt x="48" y="1555"/>
                  </a:lnTo>
                  <a:lnTo>
                    <a:pt x="63" y="1547"/>
                  </a:lnTo>
                  <a:lnTo>
                    <a:pt x="68" y="1541"/>
                  </a:lnTo>
                  <a:lnTo>
                    <a:pt x="73" y="1544"/>
                  </a:lnTo>
                  <a:lnTo>
                    <a:pt x="58" y="1561"/>
                  </a:lnTo>
                  <a:lnTo>
                    <a:pt x="64" y="1561"/>
                  </a:lnTo>
                  <a:lnTo>
                    <a:pt x="64" y="1571"/>
                  </a:lnTo>
                  <a:lnTo>
                    <a:pt x="58" y="1580"/>
                  </a:lnTo>
                  <a:lnTo>
                    <a:pt x="56" y="1587"/>
                  </a:lnTo>
                  <a:lnTo>
                    <a:pt x="50" y="1593"/>
                  </a:lnTo>
                  <a:lnTo>
                    <a:pt x="51" y="1599"/>
                  </a:lnTo>
                  <a:lnTo>
                    <a:pt x="51" y="1604"/>
                  </a:lnTo>
                  <a:lnTo>
                    <a:pt x="45" y="1603"/>
                  </a:lnTo>
                  <a:lnTo>
                    <a:pt x="40" y="1606"/>
                  </a:lnTo>
                  <a:lnTo>
                    <a:pt x="36" y="1598"/>
                  </a:lnTo>
                  <a:lnTo>
                    <a:pt x="32" y="1598"/>
                  </a:lnTo>
                  <a:lnTo>
                    <a:pt x="25" y="1630"/>
                  </a:lnTo>
                  <a:lnTo>
                    <a:pt x="38" y="1647"/>
                  </a:lnTo>
                  <a:lnTo>
                    <a:pt x="59" y="1666"/>
                  </a:lnTo>
                  <a:lnTo>
                    <a:pt x="74" y="1674"/>
                  </a:lnTo>
                  <a:lnTo>
                    <a:pt x="85" y="1677"/>
                  </a:lnTo>
                  <a:lnTo>
                    <a:pt x="92" y="1665"/>
                  </a:lnTo>
                  <a:lnTo>
                    <a:pt x="92" y="1682"/>
                  </a:lnTo>
                  <a:lnTo>
                    <a:pt x="90" y="1694"/>
                  </a:lnTo>
                  <a:lnTo>
                    <a:pt x="96" y="1689"/>
                  </a:lnTo>
                  <a:lnTo>
                    <a:pt x="106" y="1695"/>
                  </a:lnTo>
                  <a:lnTo>
                    <a:pt x="110" y="1685"/>
                  </a:lnTo>
                  <a:lnTo>
                    <a:pt x="124" y="1687"/>
                  </a:lnTo>
                  <a:lnTo>
                    <a:pt x="117" y="1695"/>
                  </a:lnTo>
                  <a:lnTo>
                    <a:pt x="134" y="1701"/>
                  </a:lnTo>
                  <a:lnTo>
                    <a:pt x="145" y="1697"/>
                  </a:lnTo>
                  <a:lnTo>
                    <a:pt x="158" y="1687"/>
                  </a:lnTo>
                  <a:lnTo>
                    <a:pt x="163" y="1673"/>
                  </a:lnTo>
                  <a:lnTo>
                    <a:pt x="170" y="1684"/>
                  </a:lnTo>
                  <a:lnTo>
                    <a:pt x="190" y="1671"/>
                  </a:lnTo>
                  <a:lnTo>
                    <a:pt x="210" y="1644"/>
                  </a:lnTo>
                  <a:lnTo>
                    <a:pt x="221" y="1638"/>
                  </a:lnTo>
                  <a:lnTo>
                    <a:pt x="225" y="1627"/>
                  </a:lnTo>
                  <a:lnTo>
                    <a:pt x="231" y="1622"/>
                  </a:lnTo>
                  <a:lnTo>
                    <a:pt x="234" y="1615"/>
                  </a:lnTo>
                  <a:lnTo>
                    <a:pt x="251" y="1597"/>
                  </a:lnTo>
                  <a:lnTo>
                    <a:pt x="249" y="1590"/>
                  </a:lnTo>
                  <a:lnTo>
                    <a:pt x="261" y="1597"/>
                  </a:lnTo>
                  <a:lnTo>
                    <a:pt x="274" y="1597"/>
                  </a:lnTo>
                  <a:lnTo>
                    <a:pt x="282" y="1593"/>
                  </a:lnTo>
                  <a:lnTo>
                    <a:pt x="285" y="1581"/>
                  </a:lnTo>
                  <a:lnTo>
                    <a:pt x="287" y="1574"/>
                  </a:lnTo>
                  <a:lnTo>
                    <a:pt x="294" y="1566"/>
                  </a:lnTo>
                  <a:lnTo>
                    <a:pt x="293" y="1556"/>
                  </a:lnTo>
                  <a:lnTo>
                    <a:pt x="287" y="1549"/>
                  </a:lnTo>
                  <a:lnTo>
                    <a:pt x="283" y="1541"/>
                  </a:lnTo>
                  <a:lnTo>
                    <a:pt x="285" y="1538"/>
                  </a:lnTo>
                  <a:lnTo>
                    <a:pt x="287" y="1533"/>
                  </a:lnTo>
                  <a:lnTo>
                    <a:pt x="284" y="1522"/>
                  </a:lnTo>
                  <a:lnTo>
                    <a:pt x="289" y="1526"/>
                  </a:lnTo>
                  <a:lnTo>
                    <a:pt x="293" y="1533"/>
                  </a:lnTo>
                  <a:lnTo>
                    <a:pt x="293" y="1541"/>
                  </a:lnTo>
                  <a:lnTo>
                    <a:pt x="299" y="1539"/>
                  </a:lnTo>
                  <a:lnTo>
                    <a:pt x="300" y="1533"/>
                  </a:lnTo>
                  <a:lnTo>
                    <a:pt x="295" y="1525"/>
                  </a:lnTo>
                  <a:lnTo>
                    <a:pt x="294" y="1509"/>
                  </a:lnTo>
                  <a:lnTo>
                    <a:pt x="296" y="1505"/>
                  </a:lnTo>
                  <a:lnTo>
                    <a:pt x="299" y="1506"/>
                  </a:lnTo>
                  <a:lnTo>
                    <a:pt x="305" y="1502"/>
                  </a:lnTo>
                  <a:lnTo>
                    <a:pt x="310" y="1505"/>
                  </a:lnTo>
                  <a:lnTo>
                    <a:pt x="310" y="1512"/>
                  </a:lnTo>
                  <a:lnTo>
                    <a:pt x="303" y="1516"/>
                  </a:lnTo>
                  <a:lnTo>
                    <a:pt x="303" y="1522"/>
                  </a:lnTo>
                  <a:lnTo>
                    <a:pt x="305" y="1533"/>
                  </a:lnTo>
                  <a:lnTo>
                    <a:pt x="307" y="1563"/>
                  </a:lnTo>
                  <a:lnTo>
                    <a:pt x="310" y="1574"/>
                  </a:lnTo>
                  <a:lnTo>
                    <a:pt x="317" y="1572"/>
                  </a:lnTo>
                  <a:lnTo>
                    <a:pt x="327" y="1581"/>
                  </a:lnTo>
                  <a:lnTo>
                    <a:pt x="333" y="1580"/>
                  </a:lnTo>
                  <a:lnTo>
                    <a:pt x="337" y="1587"/>
                  </a:lnTo>
                  <a:lnTo>
                    <a:pt x="339" y="1592"/>
                  </a:lnTo>
                  <a:lnTo>
                    <a:pt x="339" y="1614"/>
                  </a:lnTo>
                  <a:lnTo>
                    <a:pt x="343" y="1601"/>
                  </a:lnTo>
                  <a:lnTo>
                    <a:pt x="347" y="1609"/>
                  </a:lnTo>
                  <a:lnTo>
                    <a:pt x="355" y="1603"/>
                  </a:lnTo>
                  <a:lnTo>
                    <a:pt x="363" y="1566"/>
                  </a:lnTo>
                  <a:lnTo>
                    <a:pt x="359" y="1554"/>
                  </a:lnTo>
                  <a:lnTo>
                    <a:pt x="358" y="1537"/>
                  </a:lnTo>
                  <a:lnTo>
                    <a:pt x="370" y="1516"/>
                  </a:lnTo>
                  <a:lnTo>
                    <a:pt x="370" y="1502"/>
                  </a:lnTo>
                  <a:lnTo>
                    <a:pt x="397" y="1491"/>
                  </a:lnTo>
                  <a:lnTo>
                    <a:pt x="403" y="1480"/>
                  </a:lnTo>
                  <a:lnTo>
                    <a:pt x="405" y="1466"/>
                  </a:lnTo>
                  <a:lnTo>
                    <a:pt x="401" y="1457"/>
                  </a:lnTo>
                  <a:lnTo>
                    <a:pt x="408" y="1428"/>
                  </a:lnTo>
                  <a:lnTo>
                    <a:pt x="400" y="1394"/>
                  </a:lnTo>
                  <a:lnTo>
                    <a:pt x="390" y="1382"/>
                  </a:lnTo>
                  <a:lnTo>
                    <a:pt x="392" y="1375"/>
                  </a:lnTo>
                  <a:lnTo>
                    <a:pt x="407" y="1369"/>
                  </a:lnTo>
                  <a:lnTo>
                    <a:pt x="417" y="1358"/>
                  </a:lnTo>
                  <a:lnTo>
                    <a:pt x="423" y="1339"/>
                  </a:lnTo>
                  <a:lnTo>
                    <a:pt x="420" y="1318"/>
                  </a:lnTo>
                  <a:lnTo>
                    <a:pt x="400" y="1303"/>
                  </a:lnTo>
                  <a:lnTo>
                    <a:pt x="391" y="1287"/>
                  </a:lnTo>
                  <a:lnTo>
                    <a:pt x="390" y="1267"/>
                  </a:lnTo>
                  <a:lnTo>
                    <a:pt x="391" y="1225"/>
                  </a:lnTo>
                  <a:lnTo>
                    <a:pt x="386" y="1210"/>
                  </a:lnTo>
                  <a:lnTo>
                    <a:pt x="384" y="1206"/>
                  </a:lnTo>
                  <a:lnTo>
                    <a:pt x="384" y="1194"/>
                  </a:lnTo>
                  <a:lnTo>
                    <a:pt x="386" y="1186"/>
                  </a:lnTo>
                  <a:lnTo>
                    <a:pt x="386" y="1166"/>
                  </a:lnTo>
                  <a:lnTo>
                    <a:pt x="390" y="1156"/>
                  </a:lnTo>
                  <a:lnTo>
                    <a:pt x="391" y="1144"/>
                  </a:lnTo>
                  <a:lnTo>
                    <a:pt x="397" y="1134"/>
                  </a:lnTo>
                  <a:lnTo>
                    <a:pt x="392" y="1129"/>
                  </a:lnTo>
                  <a:lnTo>
                    <a:pt x="386" y="1116"/>
                  </a:lnTo>
                  <a:lnTo>
                    <a:pt x="382" y="1097"/>
                  </a:lnTo>
                  <a:lnTo>
                    <a:pt x="387" y="1077"/>
                  </a:lnTo>
                  <a:lnTo>
                    <a:pt x="393" y="1063"/>
                  </a:lnTo>
                  <a:lnTo>
                    <a:pt x="418" y="1032"/>
                  </a:lnTo>
                  <a:lnTo>
                    <a:pt x="435" y="1021"/>
                  </a:lnTo>
                  <a:lnTo>
                    <a:pt x="456" y="1015"/>
                  </a:lnTo>
                  <a:lnTo>
                    <a:pt x="473" y="1018"/>
                  </a:lnTo>
                  <a:lnTo>
                    <a:pt x="488" y="1020"/>
                  </a:lnTo>
                  <a:lnTo>
                    <a:pt x="498" y="1007"/>
                  </a:lnTo>
                  <a:lnTo>
                    <a:pt x="500" y="995"/>
                  </a:lnTo>
                  <a:lnTo>
                    <a:pt x="500" y="976"/>
                  </a:lnTo>
                  <a:lnTo>
                    <a:pt x="494" y="964"/>
                  </a:lnTo>
                  <a:lnTo>
                    <a:pt x="479" y="948"/>
                  </a:lnTo>
                  <a:lnTo>
                    <a:pt x="478" y="939"/>
                  </a:lnTo>
                  <a:lnTo>
                    <a:pt x="498" y="907"/>
                  </a:lnTo>
                  <a:lnTo>
                    <a:pt x="515" y="870"/>
                  </a:lnTo>
                  <a:lnTo>
                    <a:pt x="524" y="820"/>
                  </a:lnTo>
                  <a:lnTo>
                    <a:pt x="525" y="790"/>
                  </a:lnTo>
                  <a:lnTo>
                    <a:pt x="525" y="769"/>
                  </a:lnTo>
                  <a:lnTo>
                    <a:pt x="524" y="754"/>
                  </a:lnTo>
                  <a:lnTo>
                    <a:pt x="531" y="750"/>
                  </a:lnTo>
                  <a:lnTo>
                    <a:pt x="542" y="750"/>
                  </a:lnTo>
                  <a:lnTo>
                    <a:pt x="559" y="736"/>
                  </a:lnTo>
                  <a:lnTo>
                    <a:pt x="564" y="724"/>
                  </a:lnTo>
                  <a:lnTo>
                    <a:pt x="567" y="704"/>
                  </a:lnTo>
                  <a:lnTo>
                    <a:pt x="573" y="688"/>
                  </a:lnTo>
                  <a:lnTo>
                    <a:pt x="596" y="657"/>
                  </a:lnTo>
                  <a:lnTo>
                    <a:pt x="604" y="644"/>
                  </a:lnTo>
                  <a:lnTo>
                    <a:pt x="616" y="629"/>
                  </a:lnTo>
                  <a:lnTo>
                    <a:pt x="622" y="618"/>
                  </a:lnTo>
                  <a:lnTo>
                    <a:pt x="624" y="609"/>
                  </a:lnTo>
                  <a:lnTo>
                    <a:pt x="623" y="596"/>
                  </a:lnTo>
                  <a:lnTo>
                    <a:pt x="610" y="574"/>
                  </a:lnTo>
                  <a:lnTo>
                    <a:pt x="613" y="560"/>
                  </a:lnTo>
                  <a:lnTo>
                    <a:pt x="627" y="543"/>
                  </a:lnTo>
                  <a:lnTo>
                    <a:pt x="633" y="532"/>
                  </a:lnTo>
                  <a:lnTo>
                    <a:pt x="635" y="520"/>
                  </a:lnTo>
                  <a:lnTo>
                    <a:pt x="639" y="503"/>
                  </a:lnTo>
                  <a:lnTo>
                    <a:pt x="648" y="492"/>
                  </a:lnTo>
                  <a:lnTo>
                    <a:pt x="666" y="472"/>
                  </a:lnTo>
                  <a:lnTo>
                    <a:pt x="678" y="469"/>
                  </a:lnTo>
                  <a:lnTo>
                    <a:pt x="691" y="476"/>
                  </a:lnTo>
                  <a:lnTo>
                    <a:pt x="701" y="488"/>
                  </a:lnTo>
                  <a:lnTo>
                    <a:pt x="704" y="490"/>
                  </a:lnTo>
                  <a:lnTo>
                    <a:pt x="714" y="473"/>
                  </a:lnTo>
                  <a:lnTo>
                    <a:pt x="719" y="452"/>
                  </a:lnTo>
                  <a:lnTo>
                    <a:pt x="721" y="442"/>
                  </a:lnTo>
                  <a:lnTo>
                    <a:pt x="719" y="419"/>
                  </a:lnTo>
                  <a:lnTo>
                    <a:pt x="724" y="409"/>
                  </a:lnTo>
                  <a:lnTo>
                    <a:pt x="729" y="404"/>
                  </a:lnTo>
                  <a:lnTo>
                    <a:pt x="739" y="403"/>
                  </a:lnTo>
                  <a:lnTo>
                    <a:pt x="769" y="407"/>
                  </a:lnTo>
                  <a:lnTo>
                    <a:pt x="812" y="423"/>
                  </a:lnTo>
                  <a:lnTo>
                    <a:pt x="821" y="420"/>
                  </a:lnTo>
                  <a:lnTo>
                    <a:pt x="828" y="412"/>
                  </a:lnTo>
                  <a:lnTo>
                    <a:pt x="819" y="403"/>
                  </a:lnTo>
                  <a:lnTo>
                    <a:pt x="817" y="392"/>
                  </a:lnTo>
                  <a:lnTo>
                    <a:pt x="823" y="382"/>
                  </a:lnTo>
                  <a:lnTo>
                    <a:pt x="827" y="366"/>
                  </a:lnTo>
                  <a:lnTo>
                    <a:pt x="831" y="361"/>
                  </a:lnTo>
                  <a:lnTo>
                    <a:pt x="833" y="352"/>
                  </a:lnTo>
                  <a:lnTo>
                    <a:pt x="832" y="342"/>
                  </a:lnTo>
                  <a:lnTo>
                    <a:pt x="827" y="336"/>
                  </a:lnTo>
                  <a:lnTo>
                    <a:pt x="826" y="326"/>
                  </a:lnTo>
                  <a:lnTo>
                    <a:pt x="831" y="323"/>
                  </a:lnTo>
                  <a:lnTo>
                    <a:pt x="854" y="323"/>
                  </a:lnTo>
                  <a:lnTo>
                    <a:pt x="857" y="316"/>
                  </a:lnTo>
                  <a:lnTo>
                    <a:pt x="865" y="313"/>
                  </a:lnTo>
                  <a:lnTo>
                    <a:pt x="874" y="317"/>
                  </a:lnTo>
                  <a:lnTo>
                    <a:pt x="882" y="313"/>
                  </a:lnTo>
                  <a:lnTo>
                    <a:pt x="880" y="302"/>
                  </a:lnTo>
                  <a:lnTo>
                    <a:pt x="879" y="290"/>
                  </a:lnTo>
                  <a:lnTo>
                    <a:pt x="891" y="283"/>
                  </a:lnTo>
                  <a:lnTo>
                    <a:pt x="906" y="289"/>
                  </a:lnTo>
                  <a:lnTo>
                    <a:pt x="917" y="300"/>
                  </a:lnTo>
                  <a:lnTo>
                    <a:pt x="947" y="344"/>
                  </a:lnTo>
                  <a:lnTo>
                    <a:pt x="952" y="363"/>
                  </a:lnTo>
                  <a:lnTo>
                    <a:pt x="957" y="371"/>
                  </a:lnTo>
                  <a:lnTo>
                    <a:pt x="983" y="375"/>
                  </a:lnTo>
                  <a:lnTo>
                    <a:pt x="998" y="383"/>
                  </a:lnTo>
                  <a:lnTo>
                    <a:pt x="1010" y="382"/>
                  </a:lnTo>
                  <a:lnTo>
                    <a:pt x="1025" y="374"/>
                  </a:lnTo>
                  <a:lnTo>
                    <a:pt x="1042" y="353"/>
                  </a:lnTo>
                  <a:lnTo>
                    <a:pt x="1052" y="360"/>
                  </a:lnTo>
                  <a:lnTo>
                    <a:pt x="1061" y="374"/>
                  </a:lnTo>
                  <a:lnTo>
                    <a:pt x="1064" y="382"/>
                  </a:lnTo>
                  <a:lnTo>
                    <a:pt x="1074" y="385"/>
                  </a:lnTo>
                  <a:lnTo>
                    <a:pt x="1090" y="377"/>
                  </a:lnTo>
                  <a:lnTo>
                    <a:pt x="1102" y="368"/>
                  </a:lnTo>
                  <a:lnTo>
                    <a:pt x="1111" y="354"/>
                  </a:lnTo>
                  <a:lnTo>
                    <a:pt x="1137" y="334"/>
                  </a:lnTo>
                  <a:lnTo>
                    <a:pt x="1139" y="322"/>
                  </a:lnTo>
                  <a:lnTo>
                    <a:pt x="1137" y="299"/>
                  </a:lnTo>
                  <a:lnTo>
                    <a:pt x="1137" y="285"/>
                  </a:lnTo>
                  <a:lnTo>
                    <a:pt x="1140" y="243"/>
                  </a:lnTo>
                  <a:lnTo>
                    <a:pt x="1154" y="212"/>
                  </a:lnTo>
                  <a:lnTo>
                    <a:pt x="1164" y="199"/>
                  </a:lnTo>
                  <a:lnTo>
                    <a:pt x="1177" y="192"/>
                  </a:lnTo>
                  <a:lnTo>
                    <a:pt x="1202" y="189"/>
                  </a:lnTo>
                  <a:lnTo>
                    <a:pt x="1240" y="172"/>
                  </a:lnTo>
                  <a:lnTo>
                    <a:pt x="1263" y="167"/>
                  </a:lnTo>
                  <a:lnTo>
                    <a:pt x="1268" y="172"/>
                  </a:lnTo>
                  <a:lnTo>
                    <a:pt x="1278" y="193"/>
                  </a:lnTo>
                  <a:lnTo>
                    <a:pt x="1289" y="202"/>
                  </a:lnTo>
                  <a:lnTo>
                    <a:pt x="1307" y="208"/>
                  </a:lnTo>
                  <a:lnTo>
                    <a:pt x="1325" y="225"/>
                  </a:lnTo>
                  <a:lnTo>
                    <a:pt x="1332" y="253"/>
                  </a:lnTo>
                  <a:lnTo>
                    <a:pt x="1333" y="269"/>
                  </a:lnTo>
                  <a:lnTo>
                    <a:pt x="1314" y="294"/>
                  </a:lnTo>
                  <a:lnTo>
                    <a:pt x="1310" y="306"/>
                  </a:lnTo>
                  <a:lnTo>
                    <a:pt x="1311" y="317"/>
                  </a:lnTo>
                  <a:lnTo>
                    <a:pt x="1321" y="325"/>
                  </a:lnTo>
                  <a:lnTo>
                    <a:pt x="1323" y="323"/>
                  </a:lnTo>
                  <a:lnTo>
                    <a:pt x="1332" y="315"/>
                  </a:lnTo>
                  <a:lnTo>
                    <a:pt x="1333" y="311"/>
                  </a:lnTo>
                  <a:lnTo>
                    <a:pt x="1334" y="300"/>
                  </a:lnTo>
                  <a:lnTo>
                    <a:pt x="1337" y="295"/>
                  </a:lnTo>
                  <a:lnTo>
                    <a:pt x="1369" y="275"/>
                  </a:lnTo>
                  <a:lnTo>
                    <a:pt x="1375" y="269"/>
                  </a:lnTo>
                  <a:lnTo>
                    <a:pt x="1381" y="239"/>
                  </a:lnTo>
                  <a:lnTo>
                    <a:pt x="1403" y="252"/>
                  </a:lnTo>
                  <a:lnTo>
                    <a:pt x="1416" y="250"/>
                  </a:lnTo>
                  <a:lnTo>
                    <a:pt x="1418" y="243"/>
                  </a:lnTo>
                  <a:lnTo>
                    <a:pt x="1422" y="231"/>
                  </a:lnTo>
                  <a:lnTo>
                    <a:pt x="1422" y="220"/>
                  </a:lnTo>
                  <a:lnTo>
                    <a:pt x="1419" y="21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04" name="Freeform 216">
              <a:extLst>
                <a:ext uri="{FF2B5EF4-FFF2-40B4-BE49-F238E27FC236}">
                  <a16:creationId xmlns:a16="http://schemas.microsoft.com/office/drawing/2014/main" id="{60DEA708-12ED-E200-9714-BC00D6F5162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094026" y="1333714"/>
              <a:ext cx="382040" cy="934346"/>
            </a:xfrm>
            <a:custGeom>
              <a:avLst/>
              <a:gdLst>
                <a:gd name="T0" fmla="*/ 0 w 715"/>
                <a:gd name="T1" fmla="*/ 2147483647 h 1640"/>
                <a:gd name="T2" fmla="*/ 0 w 715"/>
                <a:gd name="T3" fmla="*/ 2147483647 h 1640"/>
                <a:gd name="T4" fmla="*/ 0 w 715"/>
                <a:gd name="T5" fmla="*/ 2147483647 h 1640"/>
                <a:gd name="T6" fmla="*/ 0 w 715"/>
                <a:gd name="T7" fmla="*/ 2147483647 h 1640"/>
                <a:gd name="T8" fmla="*/ 0 w 715"/>
                <a:gd name="T9" fmla="*/ 2147483647 h 1640"/>
                <a:gd name="T10" fmla="*/ 0 w 715"/>
                <a:gd name="T11" fmla="*/ 2147483647 h 1640"/>
                <a:gd name="T12" fmla="*/ 0 w 715"/>
                <a:gd name="T13" fmla="*/ 2147483647 h 1640"/>
                <a:gd name="T14" fmla="*/ 0 w 715"/>
                <a:gd name="T15" fmla="*/ 2147483647 h 1640"/>
                <a:gd name="T16" fmla="*/ 0 w 715"/>
                <a:gd name="T17" fmla="*/ 2147483647 h 1640"/>
                <a:gd name="T18" fmla="*/ 0 w 715"/>
                <a:gd name="T19" fmla="*/ 2147483647 h 1640"/>
                <a:gd name="T20" fmla="*/ 0 w 715"/>
                <a:gd name="T21" fmla="*/ 2147483647 h 1640"/>
                <a:gd name="T22" fmla="*/ 0 w 715"/>
                <a:gd name="T23" fmla="*/ 2147483647 h 1640"/>
                <a:gd name="T24" fmla="*/ 0 w 715"/>
                <a:gd name="T25" fmla="*/ 2147483647 h 1640"/>
                <a:gd name="T26" fmla="*/ 0 w 715"/>
                <a:gd name="T27" fmla="*/ 2147483647 h 1640"/>
                <a:gd name="T28" fmla="*/ 2147483647 w 715"/>
                <a:gd name="T29" fmla="*/ 2147483647 h 1640"/>
                <a:gd name="T30" fmla="*/ 2147483647 w 715"/>
                <a:gd name="T31" fmla="*/ 2147483647 h 1640"/>
                <a:gd name="T32" fmla="*/ 2147483647 w 715"/>
                <a:gd name="T33" fmla="*/ 2147483647 h 1640"/>
                <a:gd name="T34" fmla="*/ 0 w 715"/>
                <a:gd name="T35" fmla="*/ 2147483647 h 1640"/>
                <a:gd name="T36" fmla="*/ 2147483647 w 715"/>
                <a:gd name="T37" fmla="*/ 2147483647 h 1640"/>
                <a:gd name="T38" fmla="*/ 2147483647 w 715"/>
                <a:gd name="T39" fmla="*/ 2147483647 h 1640"/>
                <a:gd name="T40" fmla="*/ 2147483647 w 715"/>
                <a:gd name="T41" fmla="*/ 2147483647 h 1640"/>
                <a:gd name="T42" fmla="*/ 2147483647 w 715"/>
                <a:gd name="T43" fmla="*/ 2147483647 h 1640"/>
                <a:gd name="T44" fmla="*/ 0 w 715"/>
                <a:gd name="T45" fmla="*/ 2147483647 h 1640"/>
                <a:gd name="T46" fmla="*/ 2147483647 w 715"/>
                <a:gd name="T47" fmla="*/ 2147483647 h 1640"/>
                <a:gd name="T48" fmla="*/ 2147483647 w 715"/>
                <a:gd name="T49" fmla="*/ 2147483647 h 1640"/>
                <a:gd name="T50" fmla="*/ 2147483647 w 715"/>
                <a:gd name="T51" fmla="*/ 2147483647 h 1640"/>
                <a:gd name="T52" fmla="*/ 2147483647 w 715"/>
                <a:gd name="T53" fmla="*/ 2147483647 h 1640"/>
                <a:gd name="T54" fmla="*/ 2147483647 w 715"/>
                <a:gd name="T55" fmla="*/ 2147483647 h 1640"/>
                <a:gd name="T56" fmla="*/ 2147483647 w 715"/>
                <a:gd name="T57" fmla="*/ 2147483647 h 1640"/>
                <a:gd name="T58" fmla="*/ 2147483647 w 715"/>
                <a:gd name="T59" fmla="*/ 2147483647 h 1640"/>
                <a:gd name="T60" fmla="*/ 2147483647 w 715"/>
                <a:gd name="T61" fmla="*/ 2147483647 h 1640"/>
                <a:gd name="T62" fmla="*/ 2147483647 w 715"/>
                <a:gd name="T63" fmla="*/ 2147483647 h 1640"/>
                <a:gd name="T64" fmla="*/ 2147483647 w 715"/>
                <a:gd name="T65" fmla="*/ 2147483647 h 1640"/>
                <a:gd name="T66" fmla="*/ 2147483647 w 715"/>
                <a:gd name="T67" fmla="*/ 2147483647 h 1640"/>
                <a:gd name="T68" fmla="*/ 2147483647 w 715"/>
                <a:gd name="T69" fmla="*/ 2147483647 h 1640"/>
                <a:gd name="T70" fmla="*/ 2147483647 w 715"/>
                <a:gd name="T71" fmla="*/ 2147483647 h 1640"/>
                <a:gd name="T72" fmla="*/ 2147483647 w 715"/>
                <a:gd name="T73" fmla="*/ 2147483647 h 1640"/>
                <a:gd name="T74" fmla="*/ 2147483647 w 715"/>
                <a:gd name="T75" fmla="*/ 2147483647 h 1640"/>
                <a:gd name="T76" fmla="*/ 2147483647 w 715"/>
                <a:gd name="T77" fmla="*/ 2147483647 h 1640"/>
                <a:gd name="T78" fmla="*/ 2147483647 w 715"/>
                <a:gd name="T79" fmla="*/ 2147483647 h 1640"/>
                <a:gd name="T80" fmla="*/ 2147483647 w 715"/>
                <a:gd name="T81" fmla="*/ 2147483647 h 1640"/>
                <a:gd name="T82" fmla="*/ 2147483647 w 715"/>
                <a:gd name="T83" fmla="*/ 0 h 1640"/>
                <a:gd name="T84" fmla="*/ 2147483647 w 715"/>
                <a:gd name="T85" fmla="*/ 0 h 1640"/>
                <a:gd name="T86" fmla="*/ 2147483647 w 715"/>
                <a:gd name="T87" fmla="*/ 0 h 1640"/>
                <a:gd name="T88" fmla="*/ 2147483647 w 715"/>
                <a:gd name="T89" fmla="*/ 0 h 1640"/>
                <a:gd name="T90" fmla="*/ 2147483647 w 715"/>
                <a:gd name="T91" fmla="*/ 0 h 1640"/>
                <a:gd name="T92" fmla="*/ 2147483647 w 715"/>
                <a:gd name="T93" fmla="*/ 0 h 1640"/>
                <a:gd name="T94" fmla="*/ 2147483647 w 715"/>
                <a:gd name="T95" fmla="*/ 0 h 1640"/>
                <a:gd name="T96" fmla="*/ 0 w 715"/>
                <a:gd name="T97" fmla="*/ 0 h 1640"/>
                <a:gd name="T98" fmla="*/ 0 w 715"/>
                <a:gd name="T99" fmla="*/ 2147483647 h 1640"/>
                <a:gd name="T100" fmla="*/ 0 w 715"/>
                <a:gd name="T101" fmla="*/ 2147483647 h 1640"/>
                <a:gd name="T102" fmla="*/ 0 w 715"/>
                <a:gd name="T103" fmla="*/ 2147483647 h 1640"/>
                <a:gd name="T104" fmla="*/ 0 w 715"/>
                <a:gd name="T105" fmla="*/ 2147483647 h 1640"/>
                <a:gd name="T106" fmla="*/ 0 w 715"/>
                <a:gd name="T107" fmla="*/ 2147483647 h 1640"/>
                <a:gd name="T108" fmla="*/ 0 w 715"/>
                <a:gd name="T109" fmla="*/ 2147483647 h 1640"/>
                <a:gd name="T110" fmla="*/ 0 w 715"/>
                <a:gd name="T111" fmla="*/ 2147483647 h 1640"/>
                <a:gd name="T112" fmla="*/ 0 w 715"/>
                <a:gd name="T113" fmla="*/ 2147483647 h 1640"/>
                <a:gd name="T114" fmla="*/ 0 w 715"/>
                <a:gd name="T115" fmla="*/ 2147483647 h 164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15"/>
                <a:gd name="T175" fmla="*/ 0 h 1640"/>
                <a:gd name="T176" fmla="*/ 715 w 715"/>
                <a:gd name="T177" fmla="*/ 1640 h 164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15" h="1640">
                  <a:moveTo>
                    <a:pt x="6" y="1264"/>
                  </a:moveTo>
                  <a:lnTo>
                    <a:pt x="0" y="1276"/>
                  </a:lnTo>
                  <a:lnTo>
                    <a:pt x="0" y="1288"/>
                  </a:lnTo>
                  <a:lnTo>
                    <a:pt x="5" y="1328"/>
                  </a:lnTo>
                  <a:lnTo>
                    <a:pt x="7" y="1333"/>
                  </a:lnTo>
                  <a:lnTo>
                    <a:pt x="12" y="1335"/>
                  </a:lnTo>
                  <a:lnTo>
                    <a:pt x="13" y="1339"/>
                  </a:lnTo>
                  <a:lnTo>
                    <a:pt x="15" y="1346"/>
                  </a:lnTo>
                  <a:lnTo>
                    <a:pt x="13" y="1350"/>
                  </a:lnTo>
                  <a:lnTo>
                    <a:pt x="19" y="1343"/>
                  </a:lnTo>
                  <a:lnTo>
                    <a:pt x="21" y="1335"/>
                  </a:lnTo>
                  <a:lnTo>
                    <a:pt x="26" y="1340"/>
                  </a:lnTo>
                  <a:lnTo>
                    <a:pt x="22" y="1350"/>
                  </a:lnTo>
                  <a:lnTo>
                    <a:pt x="27" y="1349"/>
                  </a:lnTo>
                  <a:lnTo>
                    <a:pt x="29" y="1351"/>
                  </a:lnTo>
                  <a:lnTo>
                    <a:pt x="24" y="1355"/>
                  </a:lnTo>
                  <a:lnTo>
                    <a:pt x="17" y="1366"/>
                  </a:lnTo>
                  <a:lnTo>
                    <a:pt x="33" y="1371"/>
                  </a:lnTo>
                  <a:lnTo>
                    <a:pt x="35" y="1381"/>
                  </a:lnTo>
                  <a:lnTo>
                    <a:pt x="33" y="1398"/>
                  </a:lnTo>
                  <a:lnTo>
                    <a:pt x="43" y="1396"/>
                  </a:lnTo>
                  <a:lnTo>
                    <a:pt x="45" y="1407"/>
                  </a:lnTo>
                  <a:lnTo>
                    <a:pt x="39" y="1415"/>
                  </a:lnTo>
                  <a:lnTo>
                    <a:pt x="42" y="1431"/>
                  </a:lnTo>
                  <a:lnTo>
                    <a:pt x="40" y="1442"/>
                  </a:lnTo>
                  <a:lnTo>
                    <a:pt x="49" y="1442"/>
                  </a:lnTo>
                  <a:lnTo>
                    <a:pt x="54" y="1456"/>
                  </a:lnTo>
                  <a:lnTo>
                    <a:pt x="56" y="1468"/>
                  </a:lnTo>
                  <a:lnTo>
                    <a:pt x="62" y="1487"/>
                  </a:lnTo>
                  <a:lnTo>
                    <a:pt x="74" y="1496"/>
                  </a:lnTo>
                  <a:lnTo>
                    <a:pt x="78" y="1509"/>
                  </a:lnTo>
                  <a:lnTo>
                    <a:pt x="91" y="1516"/>
                  </a:lnTo>
                  <a:lnTo>
                    <a:pt x="98" y="1526"/>
                  </a:lnTo>
                  <a:lnTo>
                    <a:pt x="98" y="1534"/>
                  </a:lnTo>
                  <a:lnTo>
                    <a:pt x="92" y="1538"/>
                  </a:lnTo>
                  <a:lnTo>
                    <a:pt x="85" y="1537"/>
                  </a:lnTo>
                  <a:lnTo>
                    <a:pt x="82" y="1541"/>
                  </a:lnTo>
                  <a:lnTo>
                    <a:pt x="89" y="1557"/>
                  </a:lnTo>
                  <a:lnTo>
                    <a:pt x="82" y="1555"/>
                  </a:lnTo>
                  <a:lnTo>
                    <a:pt x="75" y="1553"/>
                  </a:lnTo>
                  <a:lnTo>
                    <a:pt x="75" y="1559"/>
                  </a:lnTo>
                  <a:lnTo>
                    <a:pt x="91" y="1593"/>
                  </a:lnTo>
                  <a:lnTo>
                    <a:pt x="98" y="1604"/>
                  </a:lnTo>
                  <a:lnTo>
                    <a:pt x="102" y="1614"/>
                  </a:lnTo>
                  <a:lnTo>
                    <a:pt x="99" y="1620"/>
                  </a:lnTo>
                  <a:lnTo>
                    <a:pt x="98" y="1631"/>
                  </a:lnTo>
                  <a:lnTo>
                    <a:pt x="94" y="1633"/>
                  </a:lnTo>
                  <a:lnTo>
                    <a:pt x="93" y="1638"/>
                  </a:lnTo>
                  <a:lnTo>
                    <a:pt x="107" y="1636"/>
                  </a:lnTo>
                  <a:lnTo>
                    <a:pt x="118" y="1640"/>
                  </a:lnTo>
                  <a:lnTo>
                    <a:pt x="136" y="1634"/>
                  </a:lnTo>
                  <a:lnTo>
                    <a:pt x="152" y="1633"/>
                  </a:lnTo>
                  <a:lnTo>
                    <a:pt x="163" y="1638"/>
                  </a:lnTo>
                  <a:lnTo>
                    <a:pt x="168" y="1634"/>
                  </a:lnTo>
                  <a:lnTo>
                    <a:pt x="172" y="1620"/>
                  </a:lnTo>
                  <a:lnTo>
                    <a:pt x="169" y="1598"/>
                  </a:lnTo>
                  <a:lnTo>
                    <a:pt x="174" y="1585"/>
                  </a:lnTo>
                  <a:lnTo>
                    <a:pt x="180" y="1574"/>
                  </a:lnTo>
                  <a:lnTo>
                    <a:pt x="189" y="1576"/>
                  </a:lnTo>
                  <a:lnTo>
                    <a:pt x="194" y="1566"/>
                  </a:lnTo>
                  <a:lnTo>
                    <a:pt x="204" y="1559"/>
                  </a:lnTo>
                  <a:lnTo>
                    <a:pt x="218" y="1560"/>
                  </a:lnTo>
                  <a:lnTo>
                    <a:pt x="227" y="1564"/>
                  </a:lnTo>
                  <a:lnTo>
                    <a:pt x="238" y="1560"/>
                  </a:lnTo>
                  <a:lnTo>
                    <a:pt x="250" y="1564"/>
                  </a:lnTo>
                  <a:lnTo>
                    <a:pt x="261" y="1564"/>
                  </a:lnTo>
                  <a:lnTo>
                    <a:pt x="266" y="1544"/>
                  </a:lnTo>
                  <a:lnTo>
                    <a:pt x="276" y="1522"/>
                  </a:lnTo>
                  <a:lnTo>
                    <a:pt x="285" y="1505"/>
                  </a:lnTo>
                  <a:lnTo>
                    <a:pt x="286" y="1484"/>
                  </a:lnTo>
                  <a:lnTo>
                    <a:pt x="291" y="1472"/>
                  </a:lnTo>
                  <a:lnTo>
                    <a:pt x="290" y="1457"/>
                  </a:lnTo>
                  <a:lnTo>
                    <a:pt x="293" y="1446"/>
                  </a:lnTo>
                  <a:lnTo>
                    <a:pt x="298" y="1435"/>
                  </a:lnTo>
                  <a:lnTo>
                    <a:pt x="298" y="1424"/>
                  </a:lnTo>
                  <a:lnTo>
                    <a:pt x="295" y="1418"/>
                  </a:lnTo>
                  <a:lnTo>
                    <a:pt x="300" y="1407"/>
                  </a:lnTo>
                  <a:lnTo>
                    <a:pt x="298" y="1398"/>
                  </a:lnTo>
                  <a:lnTo>
                    <a:pt x="293" y="1392"/>
                  </a:lnTo>
                  <a:lnTo>
                    <a:pt x="292" y="1386"/>
                  </a:lnTo>
                  <a:lnTo>
                    <a:pt x="293" y="1382"/>
                  </a:lnTo>
                  <a:lnTo>
                    <a:pt x="300" y="1385"/>
                  </a:lnTo>
                  <a:lnTo>
                    <a:pt x="304" y="1385"/>
                  </a:lnTo>
                  <a:lnTo>
                    <a:pt x="301" y="1378"/>
                  </a:lnTo>
                  <a:lnTo>
                    <a:pt x="302" y="1374"/>
                  </a:lnTo>
                  <a:lnTo>
                    <a:pt x="304" y="1367"/>
                  </a:lnTo>
                  <a:lnTo>
                    <a:pt x="304" y="1362"/>
                  </a:lnTo>
                  <a:lnTo>
                    <a:pt x="307" y="1345"/>
                  </a:lnTo>
                  <a:lnTo>
                    <a:pt x="306" y="1340"/>
                  </a:lnTo>
                  <a:lnTo>
                    <a:pt x="297" y="1334"/>
                  </a:lnTo>
                  <a:lnTo>
                    <a:pt x="288" y="1329"/>
                  </a:lnTo>
                  <a:lnTo>
                    <a:pt x="291" y="1328"/>
                  </a:lnTo>
                  <a:lnTo>
                    <a:pt x="300" y="1332"/>
                  </a:lnTo>
                  <a:lnTo>
                    <a:pt x="309" y="1329"/>
                  </a:lnTo>
                  <a:lnTo>
                    <a:pt x="312" y="1326"/>
                  </a:lnTo>
                  <a:lnTo>
                    <a:pt x="302" y="1317"/>
                  </a:lnTo>
                  <a:lnTo>
                    <a:pt x="274" y="1312"/>
                  </a:lnTo>
                  <a:lnTo>
                    <a:pt x="276" y="1310"/>
                  </a:lnTo>
                  <a:lnTo>
                    <a:pt x="298" y="1307"/>
                  </a:lnTo>
                  <a:lnTo>
                    <a:pt x="311" y="1311"/>
                  </a:lnTo>
                  <a:lnTo>
                    <a:pt x="318" y="1307"/>
                  </a:lnTo>
                  <a:lnTo>
                    <a:pt x="320" y="1299"/>
                  </a:lnTo>
                  <a:lnTo>
                    <a:pt x="334" y="1297"/>
                  </a:lnTo>
                  <a:lnTo>
                    <a:pt x="345" y="1286"/>
                  </a:lnTo>
                  <a:lnTo>
                    <a:pt x="350" y="1279"/>
                  </a:lnTo>
                  <a:lnTo>
                    <a:pt x="350" y="1268"/>
                  </a:lnTo>
                  <a:lnTo>
                    <a:pt x="359" y="1270"/>
                  </a:lnTo>
                  <a:lnTo>
                    <a:pt x="359" y="1281"/>
                  </a:lnTo>
                  <a:lnTo>
                    <a:pt x="371" y="1280"/>
                  </a:lnTo>
                  <a:lnTo>
                    <a:pt x="378" y="1268"/>
                  </a:lnTo>
                  <a:lnTo>
                    <a:pt x="392" y="1256"/>
                  </a:lnTo>
                  <a:lnTo>
                    <a:pt x="389" y="1243"/>
                  </a:lnTo>
                  <a:lnTo>
                    <a:pt x="394" y="1248"/>
                  </a:lnTo>
                  <a:lnTo>
                    <a:pt x="400" y="1248"/>
                  </a:lnTo>
                  <a:lnTo>
                    <a:pt x="400" y="1242"/>
                  </a:lnTo>
                  <a:lnTo>
                    <a:pt x="406" y="1237"/>
                  </a:lnTo>
                  <a:lnTo>
                    <a:pt x="405" y="1232"/>
                  </a:lnTo>
                  <a:lnTo>
                    <a:pt x="352" y="1243"/>
                  </a:lnTo>
                  <a:lnTo>
                    <a:pt x="341" y="1241"/>
                  </a:lnTo>
                  <a:lnTo>
                    <a:pt x="336" y="1245"/>
                  </a:lnTo>
                  <a:lnTo>
                    <a:pt x="334" y="1238"/>
                  </a:lnTo>
                  <a:lnTo>
                    <a:pt x="328" y="1232"/>
                  </a:lnTo>
                  <a:lnTo>
                    <a:pt x="303" y="1222"/>
                  </a:lnTo>
                  <a:lnTo>
                    <a:pt x="290" y="1225"/>
                  </a:lnTo>
                  <a:lnTo>
                    <a:pt x="284" y="1221"/>
                  </a:lnTo>
                  <a:lnTo>
                    <a:pt x="290" y="1219"/>
                  </a:lnTo>
                  <a:lnTo>
                    <a:pt x="293" y="1211"/>
                  </a:lnTo>
                  <a:lnTo>
                    <a:pt x="300" y="1214"/>
                  </a:lnTo>
                  <a:lnTo>
                    <a:pt x="308" y="1211"/>
                  </a:lnTo>
                  <a:lnTo>
                    <a:pt x="320" y="1213"/>
                  </a:lnTo>
                  <a:lnTo>
                    <a:pt x="322" y="1211"/>
                  </a:lnTo>
                  <a:lnTo>
                    <a:pt x="331" y="1221"/>
                  </a:lnTo>
                  <a:lnTo>
                    <a:pt x="338" y="1218"/>
                  </a:lnTo>
                  <a:lnTo>
                    <a:pt x="339" y="1214"/>
                  </a:lnTo>
                  <a:lnTo>
                    <a:pt x="345" y="1220"/>
                  </a:lnTo>
                  <a:lnTo>
                    <a:pt x="352" y="1222"/>
                  </a:lnTo>
                  <a:lnTo>
                    <a:pt x="356" y="1216"/>
                  </a:lnTo>
                  <a:lnTo>
                    <a:pt x="359" y="1220"/>
                  </a:lnTo>
                  <a:lnTo>
                    <a:pt x="363" y="1230"/>
                  </a:lnTo>
                  <a:lnTo>
                    <a:pt x="371" y="1232"/>
                  </a:lnTo>
                  <a:lnTo>
                    <a:pt x="403" y="1216"/>
                  </a:lnTo>
                  <a:lnTo>
                    <a:pt x="414" y="1198"/>
                  </a:lnTo>
                  <a:lnTo>
                    <a:pt x="419" y="1193"/>
                  </a:lnTo>
                  <a:lnTo>
                    <a:pt x="422" y="1176"/>
                  </a:lnTo>
                  <a:lnTo>
                    <a:pt x="416" y="1161"/>
                  </a:lnTo>
                  <a:lnTo>
                    <a:pt x="404" y="1152"/>
                  </a:lnTo>
                  <a:lnTo>
                    <a:pt x="394" y="1138"/>
                  </a:lnTo>
                  <a:lnTo>
                    <a:pt x="403" y="1136"/>
                  </a:lnTo>
                  <a:lnTo>
                    <a:pt x="402" y="1133"/>
                  </a:lnTo>
                  <a:lnTo>
                    <a:pt x="381" y="1123"/>
                  </a:lnTo>
                  <a:lnTo>
                    <a:pt x="379" y="1113"/>
                  </a:lnTo>
                  <a:lnTo>
                    <a:pt x="374" y="1103"/>
                  </a:lnTo>
                  <a:lnTo>
                    <a:pt x="357" y="1106"/>
                  </a:lnTo>
                  <a:lnTo>
                    <a:pt x="352" y="1100"/>
                  </a:lnTo>
                  <a:lnTo>
                    <a:pt x="351" y="1096"/>
                  </a:lnTo>
                  <a:lnTo>
                    <a:pt x="347" y="1095"/>
                  </a:lnTo>
                  <a:lnTo>
                    <a:pt x="347" y="1098"/>
                  </a:lnTo>
                  <a:lnTo>
                    <a:pt x="341" y="1118"/>
                  </a:lnTo>
                  <a:lnTo>
                    <a:pt x="333" y="1129"/>
                  </a:lnTo>
                  <a:lnTo>
                    <a:pt x="314" y="1143"/>
                  </a:lnTo>
                  <a:lnTo>
                    <a:pt x="308" y="1148"/>
                  </a:lnTo>
                  <a:lnTo>
                    <a:pt x="298" y="1148"/>
                  </a:lnTo>
                  <a:lnTo>
                    <a:pt x="287" y="1151"/>
                  </a:lnTo>
                  <a:lnTo>
                    <a:pt x="280" y="1149"/>
                  </a:lnTo>
                  <a:lnTo>
                    <a:pt x="288" y="1143"/>
                  </a:lnTo>
                  <a:lnTo>
                    <a:pt x="300" y="1140"/>
                  </a:lnTo>
                  <a:lnTo>
                    <a:pt x="309" y="1132"/>
                  </a:lnTo>
                  <a:lnTo>
                    <a:pt x="319" y="1127"/>
                  </a:lnTo>
                  <a:lnTo>
                    <a:pt x="336" y="1112"/>
                  </a:lnTo>
                  <a:lnTo>
                    <a:pt x="339" y="1102"/>
                  </a:lnTo>
                  <a:lnTo>
                    <a:pt x="339" y="1089"/>
                  </a:lnTo>
                  <a:lnTo>
                    <a:pt x="330" y="1087"/>
                  </a:lnTo>
                  <a:lnTo>
                    <a:pt x="334" y="1080"/>
                  </a:lnTo>
                  <a:lnTo>
                    <a:pt x="335" y="1069"/>
                  </a:lnTo>
                  <a:lnTo>
                    <a:pt x="331" y="1060"/>
                  </a:lnTo>
                  <a:lnTo>
                    <a:pt x="328" y="1032"/>
                  </a:lnTo>
                  <a:lnTo>
                    <a:pt x="329" y="1015"/>
                  </a:lnTo>
                  <a:lnTo>
                    <a:pt x="325" y="992"/>
                  </a:lnTo>
                  <a:lnTo>
                    <a:pt x="327" y="985"/>
                  </a:lnTo>
                  <a:lnTo>
                    <a:pt x="330" y="977"/>
                  </a:lnTo>
                  <a:lnTo>
                    <a:pt x="329" y="971"/>
                  </a:lnTo>
                  <a:lnTo>
                    <a:pt x="344" y="979"/>
                  </a:lnTo>
                  <a:lnTo>
                    <a:pt x="345" y="971"/>
                  </a:lnTo>
                  <a:lnTo>
                    <a:pt x="340" y="950"/>
                  </a:lnTo>
                  <a:lnTo>
                    <a:pt x="345" y="928"/>
                  </a:lnTo>
                  <a:lnTo>
                    <a:pt x="350" y="910"/>
                  </a:lnTo>
                  <a:lnTo>
                    <a:pt x="343" y="901"/>
                  </a:lnTo>
                  <a:lnTo>
                    <a:pt x="340" y="892"/>
                  </a:lnTo>
                  <a:lnTo>
                    <a:pt x="340" y="879"/>
                  </a:lnTo>
                  <a:lnTo>
                    <a:pt x="356" y="887"/>
                  </a:lnTo>
                  <a:lnTo>
                    <a:pt x="357" y="885"/>
                  </a:lnTo>
                  <a:lnTo>
                    <a:pt x="361" y="881"/>
                  </a:lnTo>
                  <a:lnTo>
                    <a:pt x="367" y="872"/>
                  </a:lnTo>
                  <a:lnTo>
                    <a:pt x="368" y="870"/>
                  </a:lnTo>
                  <a:lnTo>
                    <a:pt x="367" y="866"/>
                  </a:lnTo>
                  <a:lnTo>
                    <a:pt x="370" y="850"/>
                  </a:lnTo>
                  <a:lnTo>
                    <a:pt x="365" y="839"/>
                  </a:lnTo>
                  <a:lnTo>
                    <a:pt x="366" y="831"/>
                  </a:lnTo>
                  <a:lnTo>
                    <a:pt x="368" y="840"/>
                  </a:lnTo>
                  <a:lnTo>
                    <a:pt x="377" y="848"/>
                  </a:lnTo>
                  <a:lnTo>
                    <a:pt x="381" y="847"/>
                  </a:lnTo>
                  <a:lnTo>
                    <a:pt x="386" y="837"/>
                  </a:lnTo>
                  <a:lnTo>
                    <a:pt x="393" y="840"/>
                  </a:lnTo>
                  <a:lnTo>
                    <a:pt x="394" y="833"/>
                  </a:lnTo>
                  <a:lnTo>
                    <a:pt x="398" y="827"/>
                  </a:lnTo>
                  <a:lnTo>
                    <a:pt x="387" y="822"/>
                  </a:lnTo>
                  <a:lnTo>
                    <a:pt x="394" y="823"/>
                  </a:lnTo>
                  <a:lnTo>
                    <a:pt x="403" y="817"/>
                  </a:lnTo>
                  <a:lnTo>
                    <a:pt x="403" y="812"/>
                  </a:lnTo>
                  <a:lnTo>
                    <a:pt x="410" y="809"/>
                  </a:lnTo>
                  <a:lnTo>
                    <a:pt x="411" y="799"/>
                  </a:lnTo>
                  <a:lnTo>
                    <a:pt x="417" y="796"/>
                  </a:lnTo>
                  <a:lnTo>
                    <a:pt x="417" y="784"/>
                  </a:lnTo>
                  <a:lnTo>
                    <a:pt x="425" y="783"/>
                  </a:lnTo>
                  <a:lnTo>
                    <a:pt x="435" y="785"/>
                  </a:lnTo>
                  <a:lnTo>
                    <a:pt x="446" y="775"/>
                  </a:lnTo>
                  <a:lnTo>
                    <a:pt x="449" y="764"/>
                  </a:lnTo>
                  <a:lnTo>
                    <a:pt x="464" y="753"/>
                  </a:lnTo>
                  <a:lnTo>
                    <a:pt x="470" y="761"/>
                  </a:lnTo>
                  <a:lnTo>
                    <a:pt x="481" y="753"/>
                  </a:lnTo>
                  <a:lnTo>
                    <a:pt x="484" y="743"/>
                  </a:lnTo>
                  <a:lnTo>
                    <a:pt x="492" y="737"/>
                  </a:lnTo>
                  <a:lnTo>
                    <a:pt x="500" y="740"/>
                  </a:lnTo>
                  <a:lnTo>
                    <a:pt x="503" y="735"/>
                  </a:lnTo>
                  <a:lnTo>
                    <a:pt x="516" y="727"/>
                  </a:lnTo>
                  <a:lnTo>
                    <a:pt x="521" y="719"/>
                  </a:lnTo>
                  <a:lnTo>
                    <a:pt x="528" y="715"/>
                  </a:lnTo>
                  <a:lnTo>
                    <a:pt x="535" y="699"/>
                  </a:lnTo>
                  <a:lnTo>
                    <a:pt x="538" y="691"/>
                  </a:lnTo>
                  <a:lnTo>
                    <a:pt x="549" y="677"/>
                  </a:lnTo>
                  <a:lnTo>
                    <a:pt x="555" y="664"/>
                  </a:lnTo>
                  <a:lnTo>
                    <a:pt x="562" y="651"/>
                  </a:lnTo>
                  <a:lnTo>
                    <a:pt x="566" y="646"/>
                  </a:lnTo>
                  <a:lnTo>
                    <a:pt x="567" y="651"/>
                  </a:lnTo>
                  <a:lnTo>
                    <a:pt x="566" y="662"/>
                  </a:lnTo>
                  <a:lnTo>
                    <a:pt x="576" y="649"/>
                  </a:lnTo>
                  <a:lnTo>
                    <a:pt x="577" y="644"/>
                  </a:lnTo>
                  <a:lnTo>
                    <a:pt x="572" y="639"/>
                  </a:lnTo>
                  <a:lnTo>
                    <a:pt x="571" y="633"/>
                  </a:lnTo>
                  <a:lnTo>
                    <a:pt x="556" y="618"/>
                  </a:lnTo>
                  <a:lnTo>
                    <a:pt x="555" y="612"/>
                  </a:lnTo>
                  <a:lnTo>
                    <a:pt x="558" y="610"/>
                  </a:lnTo>
                  <a:lnTo>
                    <a:pt x="556" y="602"/>
                  </a:lnTo>
                  <a:lnTo>
                    <a:pt x="551" y="596"/>
                  </a:lnTo>
                  <a:lnTo>
                    <a:pt x="551" y="594"/>
                  </a:lnTo>
                  <a:lnTo>
                    <a:pt x="556" y="589"/>
                  </a:lnTo>
                  <a:lnTo>
                    <a:pt x="558" y="582"/>
                  </a:lnTo>
                  <a:lnTo>
                    <a:pt x="566" y="579"/>
                  </a:lnTo>
                  <a:lnTo>
                    <a:pt x="576" y="554"/>
                  </a:lnTo>
                  <a:lnTo>
                    <a:pt x="577" y="547"/>
                  </a:lnTo>
                  <a:lnTo>
                    <a:pt x="567" y="530"/>
                  </a:lnTo>
                  <a:lnTo>
                    <a:pt x="569" y="527"/>
                  </a:lnTo>
                  <a:lnTo>
                    <a:pt x="580" y="520"/>
                  </a:lnTo>
                  <a:lnTo>
                    <a:pt x="580" y="512"/>
                  </a:lnTo>
                  <a:lnTo>
                    <a:pt x="585" y="511"/>
                  </a:lnTo>
                  <a:lnTo>
                    <a:pt x="592" y="515"/>
                  </a:lnTo>
                  <a:lnTo>
                    <a:pt x="596" y="514"/>
                  </a:lnTo>
                  <a:lnTo>
                    <a:pt x="597" y="506"/>
                  </a:lnTo>
                  <a:lnTo>
                    <a:pt x="593" y="503"/>
                  </a:lnTo>
                  <a:lnTo>
                    <a:pt x="603" y="501"/>
                  </a:lnTo>
                  <a:lnTo>
                    <a:pt x="604" y="495"/>
                  </a:lnTo>
                  <a:lnTo>
                    <a:pt x="593" y="481"/>
                  </a:lnTo>
                  <a:lnTo>
                    <a:pt x="593" y="476"/>
                  </a:lnTo>
                  <a:lnTo>
                    <a:pt x="605" y="484"/>
                  </a:lnTo>
                  <a:lnTo>
                    <a:pt x="610" y="493"/>
                  </a:lnTo>
                  <a:lnTo>
                    <a:pt x="614" y="493"/>
                  </a:lnTo>
                  <a:lnTo>
                    <a:pt x="613" y="476"/>
                  </a:lnTo>
                  <a:lnTo>
                    <a:pt x="614" y="478"/>
                  </a:lnTo>
                  <a:lnTo>
                    <a:pt x="618" y="476"/>
                  </a:lnTo>
                  <a:lnTo>
                    <a:pt x="619" y="455"/>
                  </a:lnTo>
                  <a:lnTo>
                    <a:pt x="623" y="454"/>
                  </a:lnTo>
                  <a:lnTo>
                    <a:pt x="628" y="454"/>
                  </a:lnTo>
                  <a:lnTo>
                    <a:pt x="628" y="460"/>
                  </a:lnTo>
                  <a:lnTo>
                    <a:pt x="631" y="465"/>
                  </a:lnTo>
                  <a:lnTo>
                    <a:pt x="635" y="467"/>
                  </a:lnTo>
                  <a:lnTo>
                    <a:pt x="640" y="454"/>
                  </a:lnTo>
                  <a:lnTo>
                    <a:pt x="645" y="457"/>
                  </a:lnTo>
                  <a:lnTo>
                    <a:pt x="651" y="468"/>
                  </a:lnTo>
                  <a:lnTo>
                    <a:pt x="655" y="468"/>
                  </a:lnTo>
                  <a:lnTo>
                    <a:pt x="661" y="473"/>
                  </a:lnTo>
                  <a:lnTo>
                    <a:pt x="666" y="461"/>
                  </a:lnTo>
                  <a:lnTo>
                    <a:pt x="691" y="458"/>
                  </a:lnTo>
                  <a:lnTo>
                    <a:pt x="700" y="465"/>
                  </a:lnTo>
                  <a:lnTo>
                    <a:pt x="706" y="472"/>
                  </a:lnTo>
                  <a:lnTo>
                    <a:pt x="710" y="465"/>
                  </a:lnTo>
                  <a:lnTo>
                    <a:pt x="715" y="461"/>
                  </a:lnTo>
                  <a:lnTo>
                    <a:pt x="712" y="449"/>
                  </a:lnTo>
                  <a:lnTo>
                    <a:pt x="698" y="415"/>
                  </a:lnTo>
                  <a:lnTo>
                    <a:pt x="694" y="395"/>
                  </a:lnTo>
                  <a:lnTo>
                    <a:pt x="698" y="377"/>
                  </a:lnTo>
                  <a:lnTo>
                    <a:pt x="706" y="364"/>
                  </a:lnTo>
                  <a:lnTo>
                    <a:pt x="707" y="354"/>
                  </a:lnTo>
                  <a:lnTo>
                    <a:pt x="707" y="342"/>
                  </a:lnTo>
                  <a:lnTo>
                    <a:pt x="687" y="296"/>
                  </a:lnTo>
                  <a:lnTo>
                    <a:pt x="684" y="279"/>
                  </a:lnTo>
                  <a:lnTo>
                    <a:pt x="690" y="258"/>
                  </a:lnTo>
                  <a:lnTo>
                    <a:pt x="688" y="243"/>
                  </a:lnTo>
                  <a:lnTo>
                    <a:pt x="683" y="237"/>
                  </a:lnTo>
                  <a:lnTo>
                    <a:pt x="682" y="223"/>
                  </a:lnTo>
                  <a:lnTo>
                    <a:pt x="682" y="202"/>
                  </a:lnTo>
                  <a:lnTo>
                    <a:pt x="683" y="186"/>
                  </a:lnTo>
                  <a:lnTo>
                    <a:pt x="688" y="173"/>
                  </a:lnTo>
                  <a:lnTo>
                    <a:pt x="685" y="166"/>
                  </a:lnTo>
                  <a:lnTo>
                    <a:pt x="653" y="110"/>
                  </a:lnTo>
                  <a:lnTo>
                    <a:pt x="635" y="92"/>
                  </a:lnTo>
                  <a:lnTo>
                    <a:pt x="599" y="81"/>
                  </a:lnTo>
                  <a:lnTo>
                    <a:pt x="569" y="51"/>
                  </a:lnTo>
                  <a:lnTo>
                    <a:pt x="528" y="5"/>
                  </a:lnTo>
                  <a:lnTo>
                    <a:pt x="526" y="0"/>
                  </a:lnTo>
                  <a:lnTo>
                    <a:pt x="523" y="0"/>
                  </a:lnTo>
                  <a:lnTo>
                    <a:pt x="500" y="0"/>
                  </a:lnTo>
                  <a:lnTo>
                    <a:pt x="495" y="3"/>
                  </a:lnTo>
                  <a:lnTo>
                    <a:pt x="496" y="13"/>
                  </a:lnTo>
                  <a:lnTo>
                    <a:pt x="501" y="17"/>
                  </a:lnTo>
                  <a:lnTo>
                    <a:pt x="502" y="29"/>
                  </a:lnTo>
                  <a:lnTo>
                    <a:pt x="500" y="38"/>
                  </a:lnTo>
                  <a:lnTo>
                    <a:pt x="496" y="43"/>
                  </a:lnTo>
                  <a:lnTo>
                    <a:pt x="492" y="58"/>
                  </a:lnTo>
                  <a:lnTo>
                    <a:pt x="486" y="69"/>
                  </a:lnTo>
                  <a:lnTo>
                    <a:pt x="488" y="79"/>
                  </a:lnTo>
                  <a:lnTo>
                    <a:pt x="497" y="89"/>
                  </a:lnTo>
                  <a:lnTo>
                    <a:pt x="490" y="97"/>
                  </a:lnTo>
                  <a:lnTo>
                    <a:pt x="481" y="100"/>
                  </a:lnTo>
                  <a:lnTo>
                    <a:pt x="438" y="84"/>
                  </a:lnTo>
                  <a:lnTo>
                    <a:pt x="408" y="80"/>
                  </a:lnTo>
                  <a:lnTo>
                    <a:pt x="398" y="81"/>
                  </a:lnTo>
                  <a:lnTo>
                    <a:pt x="393" y="86"/>
                  </a:lnTo>
                  <a:lnTo>
                    <a:pt x="388" y="96"/>
                  </a:lnTo>
                  <a:lnTo>
                    <a:pt x="390" y="119"/>
                  </a:lnTo>
                  <a:lnTo>
                    <a:pt x="388" y="129"/>
                  </a:lnTo>
                  <a:lnTo>
                    <a:pt x="383" y="150"/>
                  </a:lnTo>
                  <a:lnTo>
                    <a:pt x="373" y="166"/>
                  </a:lnTo>
                  <a:lnTo>
                    <a:pt x="370" y="165"/>
                  </a:lnTo>
                  <a:lnTo>
                    <a:pt x="360" y="153"/>
                  </a:lnTo>
                  <a:lnTo>
                    <a:pt x="347" y="145"/>
                  </a:lnTo>
                  <a:lnTo>
                    <a:pt x="335" y="149"/>
                  </a:lnTo>
                  <a:lnTo>
                    <a:pt x="317" y="167"/>
                  </a:lnTo>
                  <a:lnTo>
                    <a:pt x="308" y="180"/>
                  </a:lnTo>
                  <a:lnTo>
                    <a:pt x="304" y="196"/>
                  </a:lnTo>
                  <a:lnTo>
                    <a:pt x="302" y="209"/>
                  </a:lnTo>
                  <a:lnTo>
                    <a:pt x="296" y="219"/>
                  </a:lnTo>
                  <a:lnTo>
                    <a:pt x="282" y="237"/>
                  </a:lnTo>
                  <a:lnTo>
                    <a:pt x="279" y="251"/>
                  </a:lnTo>
                  <a:lnTo>
                    <a:pt x="292" y="273"/>
                  </a:lnTo>
                  <a:lnTo>
                    <a:pt x="293" y="285"/>
                  </a:lnTo>
                  <a:lnTo>
                    <a:pt x="291" y="294"/>
                  </a:lnTo>
                  <a:lnTo>
                    <a:pt x="285" y="306"/>
                  </a:lnTo>
                  <a:lnTo>
                    <a:pt x="273" y="320"/>
                  </a:lnTo>
                  <a:lnTo>
                    <a:pt x="265" y="334"/>
                  </a:lnTo>
                  <a:lnTo>
                    <a:pt x="242" y="364"/>
                  </a:lnTo>
                  <a:lnTo>
                    <a:pt x="236" y="381"/>
                  </a:lnTo>
                  <a:lnTo>
                    <a:pt x="233" y="401"/>
                  </a:lnTo>
                  <a:lnTo>
                    <a:pt x="228" y="413"/>
                  </a:lnTo>
                  <a:lnTo>
                    <a:pt x="211" y="427"/>
                  </a:lnTo>
                  <a:lnTo>
                    <a:pt x="200" y="427"/>
                  </a:lnTo>
                  <a:lnTo>
                    <a:pt x="193" y="431"/>
                  </a:lnTo>
                  <a:lnTo>
                    <a:pt x="194" y="446"/>
                  </a:lnTo>
                  <a:lnTo>
                    <a:pt x="194" y="467"/>
                  </a:lnTo>
                  <a:lnTo>
                    <a:pt x="193" y="497"/>
                  </a:lnTo>
                  <a:lnTo>
                    <a:pt x="184" y="547"/>
                  </a:lnTo>
                  <a:lnTo>
                    <a:pt x="167" y="584"/>
                  </a:lnTo>
                  <a:lnTo>
                    <a:pt x="147" y="616"/>
                  </a:lnTo>
                  <a:lnTo>
                    <a:pt x="148" y="625"/>
                  </a:lnTo>
                  <a:lnTo>
                    <a:pt x="163" y="641"/>
                  </a:lnTo>
                  <a:lnTo>
                    <a:pt x="169" y="653"/>
                  </a:lnTo>
                  <a:lnTo>
                    <a:pt x="169" y="672"/>
                  </a:lnTo>
                  <a:lnTo>
                    <a:pt x="167" y="683"/>
                  </a:lnTo>
                  <a:lnTo>
                    <a:pt x="157" y="695"/>
                  </a:lnTo>
                  <a:lnTo>
                    <a:pt x="142" y="695"/>
                  </a:lnTo>
                  <a:lnTo>
                    <a:pt x="125" y="692"/>
                  </a:lnTo>
                  <a:lnTo>
                    <a:pt x="104" y="697"/>
                  </a:lnTo>
                  <a:lnTo>
                    <a:pt x="87" y="708"/>
                  </a:lnTo>
                  <a:lnTo>
                    <a:pt x="62" y="738"/>
                  </a:lnTo>
                  <a:lnTo>
                    <a:pt x="56" y="754"/>
                  </a:lnTo>
                  <a:lnTo>
                    <a:pt x="51" y="774"/>
                  </a:lnTo>
                  <a:lnTo>
                    <a:pt x="55" y="793"/>
                  </a:lnTo>
                  <a:lnTo>
                    <a:pt x="61" y="806"/>
                  </a:lnTo>
                  <a:lnTo>
                    <a:pt x="66" y="811"/>
                  </a:lnTo>
                  <a:lnTo>
                    <a:pt x="60" y="821"/>
                  </a:lnTo>
                  <a:lnTo>
                    <a:pt x="59" y="833"/>
                  </a:lnTo>
                  <a:lnTo>
                    <a:pt x="55" y="843"/>
                  </a:lnTo>
                  <a:lnTo>
                    <a:pt x="55" y="863"/>
                  </a:lnTo>
                  <a:lnTo>
                    <a:pt x="53" y="871"/>
                  </a:lnTo>
                  <a:lnTo>
                    <a:pt x="53" y="883"/>
                  </a:lnTo>
                  <a:lnTo>
                    <a:pt x="55" y="886"/>
                  </a:lnTo>
                  <a:lnTo>
                    <a:pt x="60" y="902"/>
                  </a:lnTo>
                  <a:lnTo>
                    <a:pt x="59" y="944"/>
                  </a:lnTo>
                  <a:lnTo>
                    <a:pt x="60" y="964"/>
                  </a:lnTo>
                  <a:lnTo>
                    <a:pt x="69" y="979"/>
                  </a:lnTo>
                  <a:lnTo>
                    <a:pt x="89" y="995"/>
                  </a:lnTo>
                  <a:lnTo>
                    <a:pt x="92" y="1016"/>
                  </a:lnTo>
                  <a:lnTo>
                    <a:pt x="86" y="1035"/>
                  </a:lnTo>
                  <a:lnTo>
                    <a:pt x="76" y="1046"/>
                  </a:lnTo>
                  <a:lnTo>
                    <a:pt x="61" y="1052"/>
                  </a:lnTo>
                  <a:lnTo>
                    <a:pt x="59" y="1058"/>
                  </a:lnTo>
                  <a:lnTo>
                    <a:pt x="69" y="1071"/>
                  </a:lnTo>
                  <a:lnTo>
                    <a:pt x="77" y="1105"/>
                  </a:lnTo>
                  <a:lnTo>
                    <a:pt x="70" y="1134"/>
                  </a:lnTo>
                  <a:lnTo>
                    <a:pt x="74" y="1143"/>
                  </a:lnTo>
                  <a:lnTo>
                    <a:pt x="72" y="1157"/>
                  </a:lnTo>
                  <a:lnTo>
                    <a:pt x="66" y="1168"/>
                  </a:lnTo>
                  <a:lnTo>
                    <a:pt x="39" y="1179"/>
                  </a:lnTo>
                  <a:lnTo>
                    <a:pt x="39" y="1193"/>
                  </a:lnTo>
                  <a:lnTo>
                    <a:pt x="27" y="1214"/>
                  </a:lnTo>
                  <a:lnTo>
                    <a:pt x="28" y="1230"/>
                  </a:lnTo>
                  <a:lnTo>
                    <a:pt x="32" y="1242"/>
                  </a:lnTo>
                  <a:lnTo>
                    <a:pt x="24" y="1280"/>
                  </a:lnTo>
                  <a:lnTo>
                    <a:pt x="16" y="1286"/>
                  </a:lnTo>
                  <a:lnTo>
                    <a:pt x="12" y="1278"/>
                  </a:lnTo>
                  <a:lnTo>
                    <a:pt x="8" y="1291"/>
                  </a:lnTo>
                  <a:lnTo>
                    <a:pt x="8" y="1268"/>
                  </a:lnTo>
                  <a:lnTo>
                    <a:pt x="6" y="126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05" name="Freeform 218">
              <a:extLst>
                <a:ext uri="{FF2B5EF4-FFF2-40B4-BE49-F238E27FC236}">
                  <a16:creationId xmlns:a16="http://schemas.microsoft.com/office/drawing/2014/main" id="{AB01C7B5-3F51-E0E0-CEBE-BAFA9C47815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083580" y="24"/>
              <a:ext cx="314884" cy="531952"/>
            </a:xfrm>
            <a:custGeom>
              <a:avLst/>
              <a:gdLst>
                <a:gd name="T0" fmla="*/ 0 w 591"/>
                <a:gd name="T1" fmla="*/ 0 h 937"/>
                <a:gd name="T2" fmla="*/ 0 w 591"/>
                <a:gd name="T3" fmla="*/ 0 h 937"/>
                <a:gd name="T4" fmla="*/ 0 w 591"/>
                <a:gd name="T5" fmla="*/ 0 h 937"/>
                <a:gd name="T6" fmla="*/ 0 w 591"/>
                <a:gd name="T7" fmla="*/ 0 h 937"/>
                <a:gd name="T8" fmla="*/ 0 w 591"/>
                <a:gd name="T9" fmla="*/ 0 h 937"/>
                <a:gd name="T10" fmla="*/ 0 w 591"/>
                <a:gd name="T11" fmla="*/ 0 h 937"/>
                <a:gd name="T12" fmla="*/ 0 w 591"/>
                <a:gd name="T13" fmla="*/ 0 h 937"/>
                <a:gd name="T14" fmla="*/ 0 w 591"/>
                <a:gd name="T15" fmla="*/ 0 h 937"/>
                <a:gd name="T16" fmla="*/ 0 w 591"/>
                <a:gd name="T17" fmla="*/ 0 h 937"/>
                <a:gd name="T18" fmla="*/ 0 w 591"/>
                <a:gd name="T19" fmla="*/ 0 h 937"/>
                <a:gd name="T20" fmla="*/ 0 w 591"/>
                <a:gd name="T21" fmla="*/ 0 h 937"/>
                <a:gd name="T22" fmla="*/ 0 w 591"/>
                <a:gd name="T23" fmla="*/ 0 h 937"/>
                <a:gd name="T24" fmla="*/ 0 w 591"/>
                <a:gd name="T25" fmla="*/ 0 h 937"/>
                <a:gd name="T26" fmla="*/ 0 w 591"/>
                <a:gd name="T27" fmla="*/ 0 h 937"/>
                <a:gd name="T28" fmla="*/ 0 w 591"/>
                <a:gd name="T29" fmla="*/ 0 h 937"/>
                <a:gd name="T30" fmla="*/ 0 w 591"/>
                <a:gd name="T31" fmla="*/ 0 h 937"/>
                <a:gd name="T32" fmla="*/ 0 w 591"/>
                <a:gd name="T33" fmla="*/ 0 h 937"/>
                <a:gd name="T34" fmla="*/ 0 w 591"/>
                <a:gd name="T35" fmla="*/ 2147483647 h 937"/>
                <a:gd name="T36" fmla="*/ 0 w 591"/>
                <a:gd name="T37" fmla="*/ 2147483647 h 937"/>
                <a:gd name="T38" fmla="*/ 0 w 591"/>
                <a:gd name="T39" fmla="*/ 2147483647 h 937"/>
                <a:gd name="T40" fmla="*/ 0 w 591"/>
                <a:gd name="T41" fmla="*/ 2147483647 h 937"/>
                <a:gd name="T42" fmla="*/ 0 w 591"/>
                <a:gd name="T43" fmla="*/ 2147483647 h 937"/>
                <a:gd name="T44" fmla="*/ 0 w 591"/>
                <a:gd name="T45" fmla="*/ 2147483647 h 937"/>
                <a:gd name="T46" fmla="*/ 0 w 591"/>
                <a:gd name="T47" fmla="*/ 2147483647 h 937"/>
                <a:gd name="T48" fmla="*/ 0 w 591"/>
                <a:gd name="T49" fmla="*/ 2147483647 h 937"/>
                <a:gd name="T50" fmla="*/ 0 w 591"/>
                <a:gd name="T51" fmla="*/ 2147483647 h 937"/>
                <a:gd name="T52" fmla="*/ 2147483647 w 591"/>
                <a:gd name="T53" fmla="*/ 2147483647 h 937"/>
                <a:gd name="T54" fmla="*/ 2147483647 w 591"/>
                <a:gd name="T55" fmla="*/ 2147483647 h 937"/>
                <a:gd name="T56" fmla="*/ 2147483647 w 591"/>
                <a:gd name="T57" fmla="*/ 2147483647 h 937"/>
                <a:gd name="T58" fmla="*/ 0 w 591"/>
                <a:gd name="T59" fmla="*/ 2147483647 h 937"/>
                <a:gd name="T60" fmla="*/ 0 w 591"/>
                <a:gd name="T61" fmla="*/ 2147483647 h 937"/>
                <a:gd name="T62" fmla="*/ 0 w 591"/>
                <a:gd name="T63" fmla="*/ 2147483647 h 937"/>
                <a:gd name="T64" fmla="*/ 0 w 591"/>
                <a:gd name="T65" fmla="*/ 2147483647 h 937"/>
                <a:gd name="T66" fmla="*/ 0 w 591"/>
                <a:gd name="T67" fmla="*/ 2147483647 h 937"/>
                <a:gd name="T68" fmla="*/ 2147483647 w 591"/>
                <a:gd name="T69" fmla="*/ 2147483647 h 937"/>
                <a:gd name="T70" fmla="*/ 2147483647 w 591"/>
                <a:gd name="T71" fmla="*/ 2147483647 h 937"/>
                <a:gd name="T72" fmla="*/ 0 w 591"/>
                <a:gd name="T73" fmla="*/ 2147483647 h 937"/>
                <a:gd name="T74" fmla="*/ 0 w 591"/>
                <a:gd name="T75" fmla="*/ 2147483647 h 937"/>
                <a:gd name="T76" fmla="*/ 0 w 591"/>
                <a:gd name="T77" fmla="*/ 2147483647 h 937"/>
                <a:gd name="T78" fmla="*/ 0 w 591"/>
                <a:gd name="T79" fmla="*/ 2147483647 h 937"/>
                <a:gd name="T80" fmla="*/ 0 w 591"/>
                <a:gd name="T81" fmla="*/ 2147483647 h 937"/>
                <a:gd name="T82" fmla="*/ 0 w 591"/>
                <a:gd name="T83" fmla="*/ 2147483647 h 937"/>
                <a:gd name="T84" fmla="*/ 2147483647 w 591"/>
                <a:gd name="T85" fmla="*/ 2147483647 h 937"/>
                <a:gd name="T86" fmla="*/ 2147483647 w 591"/>
                <a:gd name="T87" fmla="*/ 2147483647 h 937"/>
                <a:gd name="T88" fmla="*/ 2147483647 w 591"/>
                <a:gd name="T89" fmla="*/ 2147483647 h 937"/>
                <a:gd name="T90" fmla="*/ 2147483647 w 591"/>
                <a:gd name="T91" fmla="*/ 2147483647 h 937"/>
                <a:gd name="T92" fmla="*/ 2147483647 w 591"/>
                <a:gd name="T93" fmla="*/ 2147483647 h 937"/>
                <a:gd name="T94" fmla="*/ 2147483647 w 591"/>
                <a:gd name="T95" fmla="*/ 2147483647 h 937"/>
                <a:gd name="T96" fmla="*/ 2147483647 w 591"/>
                <a:gd name="T97" fmla="*/ 2147483647 h 937"/>
                <a:gd name="T98" fmla="*/ 2147483647 w 591"/>
                <a:gd name="T99" fmla="*/ 2147483647 h 937"/>
                <a:gd name="T100" fmla="*/ 2147483647 w 591"/>
                <a:gd name="T101" fmla="*/ 2147483647 h 937"/>
                <a:gd name="T102" fmla="*/ 2147483647 w 591"/>
                <a:gd name="T103" fmla="*/ 2147483647 h 937"/>
                <a:gd name="T104" fmla="*/ 2147483647 w 591"/>
                <a:gd name="T105" fmla="*/ 0 h 937"/>
                <a:gd name="T106" fmla="*/ 2147483647 w 591"/>
                <a:gd name="T107" fmla="*/ 0 h 937"/>
                <a:gd name="T108" fmla="*/ 2147483647 w 591"/>
                <a:gd name="T109" fmla="*/ 0 h 937"/>
                <a:gd name="T110" fmla="*/ 2147483647 w 591"/>
                <a:gd name="T111" fmla="*/ 0 h 937"/>
                <a:gd name="T112" fmla="*/ 2147483647 w 591"/>
                <a:gd name="T113" fmla="*/ 0 h 937"/>
                <a:gd name="T114" fmla="*/ 0 w 591"/>
                <a:gd name="T115" fmla="*/ 0 h 93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91"/>
                <a:gd name="T175" fmla="*/ 0 h 937"/>
                <a:gd name="T176" fmla="*/ 591 w 591"/>
                <a:gd name="T177" fmla="*/ 937 h 93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91" h="937">
                  <a:moveTo>
                    <a:pt x="290" y="22"/>
                  </a:moveTo>
                  <a:lnTo>
                    <a:pt x="289" y="29"/>
                  </a:lnTo>
                  <a:lnTo>
                    <a:pt x="294" y="43"/>
                  </a:lnTo>
                  <a:lnTo>
                    <a:pt x="279" y="45"/>
                  </a:lnTo>
                  <a:lnTo>
                    <a:pt x="278" y="57"/>
                  </a:lnTo>
                  <a:lnTo>
                    <a:pt x="278" y="68"/>
                  </a:lnTo>
                  <a:lnTo>
                    <a:pt x="274" y="79"/>
                  </a:lnTo>
                  <a:lnTo>
                    <a:pt x="274" y="96"/>
                  </a:lnTo>
                  <a:lnTo>
                    <a:pt x="279" y="96"/>
                  </a:lnTo>
                  <a:lnTo>
                    <a:pt x="279" y="109"/>
                  </a:lnTo>
                  <a:lnTo>
                    <a:pt x="280" y="133"/>
                  </a:lnTo>
                  <a:lnTo>
                    <a:pt x="283" y="140"/>
                  </a:lnTo>
                  <a:lnTo>
                    <a:pt x="283" y="182"/>
                  </a:lnTo>
                  <a:lnTo>
                    <a:pt x="285" y="195"/>
                  </a:lnTo>
                  <a:lnTo>
                    <a:pt x="288" y="226"/>
                  </a:lnTo>
                  <a:lnTo>
                    <a:pt x="291" y="233"/>
                  </a:lnTo>
                  <a:lnTo>
                    <a:pt x="293" y="258"/>
                  </a:lnTo>
                  <a:lnTo>
                    <a:pt x="318" y="325"/>
                  </a:lnTo>
                  <a:lnTo>
                    <a:pt x="317" y="329"/>
                  </a:lnTo>
                  <a:lnTo>
                    <a:pt x="308" y="327"/>
                  </a:lnTo>
                  <a:lnTo>
                    <a:pt x="296" y="312"/>
                  </a:lnTo>
                  <a:lnTo>
                    <a:pt x="283" y="274"/>
                  </a:lnTo>
                  <a:lnTo>
                    <a:pt x="272" y="254"/>
                  </a:lnTo>
                  <a:lnTo>
                    <a:pt x="264" y="255"/>
                  </a:lnTo>
                  <a:lnTo>
                    <a:pt x="263" y="262"/>
                  </a:lnTo>
                  <a:lnTo>
                    <a:pt x="261" y="263"/>
                  </a:lnTo>
                  <a:lnTo>
                    <a:pt x="259" y="258"/>
                  </a:lnTo>
                  <a:lnTo>
                    <a:pt x="264" y="244"/>
                  </a:lnTo>
                  <a:lnTo>
                    <a:pt x="264" y="217"/>
                  </a:lnTo>
                  <a:lnTo>
                    <a:pt x="259" y="197"/>
                  </a:lnTo>
                  <a:lnTo>
                    <a:pt x="258" y="178"/>
                  </a:lnTo>
                  <a:lnTo>
                    <a:pt x="253" y="151"/>
                  </a:lnTo>
                  <a:lnTo>
                    <a:pt x="252" y="125"/>
                  </a:lnTo>
                  <a:lnTo>
                    <a:pt x="246" y="104"/>
                  </a:lnTo>
                  <a:lnTo>
                    <a:pt x="240" y="96"/>
                  </a:lnTo>
                  <a:lnTo>
                    <a:pt x="238" y="87"/>
                  </a:lnTo>
                  <a:lnTo>
                    <a:pt x="224" y="81"/>
                  </a:lnTo>
                  <a:lnTo>
                    <a:pt x="208" y="69"/>
                  </a:lnTo>
                  <a:lnTo>
                    <a:pt x="199" y="86"/>
                  </a:lnTo>
                  <a:lnTo>
                    <a:pt x="197" y="102"/>
                  </a:lnTo>
                  <a:lnTo>
                    <a:pt x="188" y="114"/>
                  </a:lnTo>
                  <a:lnTo>
                    <a:pt x="187" y="120"/>
                  </a:lnTo>
                  <a:lnTo>
                    <a:pt x="177" y="133"/>
                  </a:lnTo>
                  <a:lnTo>
                    <a:pt x="173" y="146"/>
                  </a:lnTo>
                  <a:lnTo>
                    <a:pt x="176" y="157"/>
                  </a:lnTo>
                  <a:lnTo>
                    <a:pt x="176" y="171"/>
                  </a:lnTo>
                  <a:lnTo>
                    <a:pt x="184" y="215"/>
                  </a:lnTo>
                  <a:lnTo>
                    <a:pt x="189" y="232"/>
                  </a:lnTo>
                  <a:lnTo>
                    <a:pt x="195" y="242"/>
                  </a:lnTo>
                  <a:lnTo>
                    <a:pt x="188" y="241"/>
                  </a:lnTo>
                  <a:lnTo>
                    <a:pt x="176" y="222"/>
                  </a:lnTo>
                  <a:lnTo>
                    <a:pt x="168" y="205"/>
                  </a:lnTo>
                  <a:lnTo>
                    <a:pt x="164" y="183"/>
                  </a:lnTo>
                  <a:lnTo>
                    <a:pt x="152" y="167"/>
                  </a:lnTo>
                  <a:lnTo>
                    <a:pt x="151" y="179"/>
                  </a:lnTo>
                  <a:lnTo>
                    <a:pt x="145" y="192"/>
                  </a:lnTo>
                  <a:lnTo>
                    <a:pt x="140" y="183"/>
                  </a:lnTo>
                  <a:lnTo>
                    <a:pt x="143" y="171"/>
                  </a:lnTo>
                  <a:lnTo>
                    <a:pt x="139" y="158"/>
                  </a:lnTo>
                  <a:lnTo>
                    <a:pt x="148" y="152"/>
                  </a:lnTo>
                  <a:lnTo>
                    <a:pt x="152" y="138"/>
                  </a:lnTo>
                  <a:lnTo>
                    <a:pt x="134" y="136"/>
                  </a:lnTo>
                  <a:lnTo>
                    <a:pt x="106" y="150"/>
                  </a:lnTo>
                  <a:lnTo>
                    <a:pt x="94" y="145"/>
                  </a:lnTo>
                  <a:lnTo>
                    <a:pt x="97" y="135"/>
                  </a:lnTo>
                  <a:lnTo>
                    <a:pt x="113" y="128"/>
                  </a:lnTo>
                  <a:lnTo>
                    <a:pt x="125" y="112"/>
                  </a:lnTo>
                  <a:lnTo>
                    <a:pt x="129" y="102"/>
                  </a:lnTo>
                  <a:lnTo>
                    <a:pt x="143" y="102"/>
                  </a:lnTo>
                  <a:lnTo>
                    <a:pt x="146" y="96"/>
                  </a:lnTo>
                  <a:lnTo>
                    <a:pt x="152" y="104"/>
                  </a:lnTo>
                  <a:lnTo>
                    <a:pt x="170" y="96"/>
                  </a:lnTo>
                  <a:lnTo>
                    <a:pt x="175" y="86"/>
                  </a:lnTo>
                  <a:lnTo>
                    <a:pt x="175" y="76"/>
                  </a:lnTo>
                  <a:lnTo>
                    <a:pt x="170" y="54"/>
                  </a:lnTo>
                  <a:lnTo>
                    <a:pt x="160" y="53"/>
                  </a:lnTo>
                  <a:lnTo>
                    <a:pt x="141" y="58"/>
                  </a:lnTo>
                  <a:lnTo>
                    <a:pt x="122" y="75"/>
                  </a:lnTo>
                  <a:lnTo>
                    <a:pt x="100" y="82"/>
                  </a:lnTo>
                  <a:lnTo>
                    <a:pt x="98" y="77"/>
                  </a:lnTo>
                  <a:lnTo>
                    <a:pt x="91" y="74"/>
                  </a:lnTo>
                  <a:lnTo>
                    <a:pt x="91" y="63"/>
                  </a:lnTo>
                  <a:lnTo>
                    <a:pt x="89" y="54"/>
                  </a:lnTo>
                  <a:lnTo>
                    <a:pt x="80" y="58"/>
                  </a:lnTo>
                  <a:lnTo>
                    <a:pt x="85" y="103"/>
                  </a:lnTo>
                  <a:lnTo>
                    <a:pt x="81" y="104"/>
                  </a:lnTo>
                  <a:lnTo>
                    <a:pt x="78" y="97"/>
                  </a:lnTo>
                  <a:lnTo>
                    <a:pt x="74" y="104"/>
                  </a:lnTo>
                  <a:lnTo>
                    <a:pt x="53" y="58"/>
                  </a:lnTo>
                  <a:lnTo>
                    <a:pt x="43" y="66"/>
                  </a:lnTo>
                  <a:lnTo>
                    <a:pt x="46" y="77"/>
                  </a:lnTo>
                  <a:lnTo>
                    <a:pt x="41" y="86"/>
                  </a:lnTo>
                  <a:lnTo>
                    <a:pt x="30" y="77"/>
                  </a:lnTo>
                  <a:lnTo>
                    <a:pt x="26" y="81"/>
                  </a:lnTo>
                  <a:lnTo>
                    <a:pt x="25" y="91"/>
                  </a:lnTo>
                  <a:lnTo>
                    <a:pt x="35" y="115"/>
                  </a:lnTo>
                  <a:lnTo>
                    <a:pt x="33" y="122"/>
                  </a:lnTo>
                  <a:lnTo>
                    <a:pt x="21" y="119"/>
                  </a:lnTo>
                  <a:lnTo>
                    <a:pt x="12" y="99"/>
                  </a:lnTo>
                  <a:lnTo>
                    <a:pt x="6" y="98"/>
                  </a:lnTo>
                  <a:lnTo>
                    <a:pt x="6" y="107"/>
                  </a:lnTo>
                  <a:lnTo>
                    <a:pt x="8" y="118"/>
                  </a:lnTo>
                  <a:lnTo>
                    <a:pt x="19" y="140"/>
                  </a:lnTo>
                  <a:lnTo>
                    <a:pt x="15" y="152"/>
                  </a:lnTo>
                  <a:lnTo>
                    <a:pt x="8" y="146"/>
                  </a:lnTo>
                  <a:lnTo>
                    <a:pt x="0" y="150"/>
                  </a:lnTo>
                  <a:lnTo>
                    <a:pt x="1" y="158"/>
                  </a:lnTo>
                  <a:lnTo>
                    <a:pt x="6" y="163"/>
                  </a:lnTo>
                  <a:lnTo>
                    <a:pt x="8" y="176"/>
                  </a:lnTo>
                  <a:lnTo>
                    <a:pt x="8" y="201"/>
                  </a:lnTo>
                  <a:lnTo>
                    <a:pt x="9" y="215"/>
                  </a:lnTo>
                  <a:lnTo>
                    <a:pt x="15" y="206"/>
                  </a:lnTo>
                  <a:lnTo>
                    <a:pt x="16" y="217"/>
                  </a:lnTo>
                  <a:lnTo>
                    <a:pt x="17" y="236"/>
                  </a:lnTo>
                  <a:lnTo>
                    <a:pt x="17" y="220"/>
                  </a:lnTo>
                  <a:lnTo>
                    <a:pt x="24" y="236"/>
                  </a:lnTo>
                  <a:lnTo>
                    <a:pt x="25" y="248"/>
                  </a:lnTo>
                  <a:lnTo>
                    <a:pt x="27" y="254"/>
                  </a:lnTo>
                  <a:lnTo>
                    <a:pt x="27" y="271"/>
                  </a:lnTo>
                  <a:lnTo>
                    <a:pt x="33" y="276"/>
                  </a:lnTo>
                  <a:lnTo>
                    <a:pt x="43" y="270"/>
                  </a:lnTo>
                  <a:lnTo>
                    <a:pt x="53" y="244"/>
                  </a:lnTo>
                  <a:lnTo>
                    <a:pt x="38" y="225"/>
                  </a:lnTo>
                  <a:lnTo>
                    <a:pt x="55" y="228"/>
                  </a:lnTo>
                  <a:lnTo>
                    <a:pt x="60" y="238"/>
                  </a:lnTo>
                  <a:lnTo>
                    <a:pt x="62" y="233"/>
                  </a:lnTo>
                  <a:lnTo>
                    <a:pt x="66" y="226"/>
                  </a:lnTo>
                  <a:lnTo>
                    <a:pt x="74" y="224"/>
                  </a:lnTo>
                  <a:lnTo>
                    <a:pt x="71" y="238"/>
                  </a:lnTo>
                  <a:lnTo>
                    <a:pt x="73" y="246"/>
                  </a:lnTo>
                  <a:lnTo>
                    <a:pt x="65" y="253"/>
                  </a:lnTo>
                  <a:lnTo>
                    <a:pt x="63" y="264"/>
                  </a:lnTo>
                  <a:lnTo>
                    <a:pt x="65" y="274"/>
                  </a:lnTo>
                  <a:lnTo>
                    <a:pt x="57" y="279"/>
                  </a:lnTo>
                  <a:lnTo>
                    <a:pt x="54" y="291"/>
                  </a:lnTo>
                  <a:lnTo>
                    <a:pt x="70" y="301"/>
                  </a:lnTo>
                  <a:lnTo>
                    <a:pt x="71" y="313"/>
                  </a:lnTo>
                  <a:lnTo>
                    <a:pt x="80" y="318"/>
                  </a:lnTo>
                  <a:lnTo>
                    <a:pt x="91" y="312"/>
                  </a:lnTo>
                  <a:lnTo>
                    <a:pt x="96" y="325"/>
                  </a:lnTo>
                  <a:lnTo>
                    <a:pt x="94" y="335"/>
                  </a:lnTo>
                  <a:lnTo>
                    <a:pt x="55" y="325"/>
                  </a:lnTo>
                  <a:lnTo>
                    <a:pt x="49" y="314"/>
                  </a:lnTo>
                  <a:lnTo>
                    <a:pt x="37" y="316"/>
                  </a:lnTo>
                  <a:lnTo>
                    <a:pt x="43" y="327"/>
                  </a:lnTo>
                  <a:lnTo>
                    <a:pt x="62" y="348"/>
                  </a:lnTo>
                  <a:lnTo>
                    <a:pt x="71" y="351"/>
                  </a:lnTo>
                  <a:lnTo>
                    <a:pt x="68" y="359"/>
                  </a:lnTo>
                  <a:lnTo>
                    <a:pt x="59" y="360"/>
                  </a:lnTo>
                  <a:lnTo>
                    <a:pt x="54" y="381"/>
                  </a:lnTo>
                  <a:lnTo>
                    <a:pt x="68" y="392"/>
                  </a:lnTo>
                  <a:lnTo>
                    <a:pt x="66" y="400"/>
                  </a:lnTo>
                  <a:lnTo>
                    <a:pt x="73" y="407"/>
                  </a:lnTo>
                  <a:lnTo>
                    <a:pt x="75" y="414"/>
                  </a:lnTo>
                  <a:lnTo>
                    <a:pt x="111" y="435"/>
                  </a:lnTo>
                  <a:lnTo>
                    <a:pt x="128" y="435"/>
                  </a:lnTo>
                  <a:lnTo>
                    <a:pt x="138" y="427"/>
                  </a:lnTo>
                  <a:lnTo>
                    <a:pt x="137" y="441"/>
                  </a:lnTo>
                  <a:lnTo>
                    <a:pt x="127" y="447"/>
                  </a:lnTo>
                  <a:lnTo>
                    <a:pt x="100" y="450"/>
                  </a:lnTo>
                  <a:lnTo>
                    <a:pt x="97" y="457"/>
                  </a:lnTo>
                  <a:lnTo>
                    <a:pt x="106" y="469"/>
                  </a:lnTo>
                  <a:lnTo>
                    <a:pt x="108" y="481"/>
                  </a:lnTo>
                  <a:lnTo>
                    <a:pt x="121" y="486"/>
                  </a:lnTo>
                  <a:lnTo>
                    <a:pt x="128" y="483"/>
                  </a:lnTo>
                  <a:lnTo>
                    <a:pt x="130" y="501"/>
                  </a:lnTo>
                  <a:lnTo>
                    <a:pt x="124" y="509"/>
                  </a:lnTo>
                  <a:lnTo>
                    <a:pt x="129" y="522"/>
                  </a:lnTo>
                  <a:lnTo>
                    <a:pt x="132" y="517"/>
                  </a:lnTo>
                  <a:lnTo>
                    <a:pt x="148" y="526"/>
                  </a:lnTo>
                  <a:lnTo>
                    <a:pt x="152" y="518"/>
                  </a:lnTo>
                  <a:lnTo>
                    <a:pt x="156" y="527"/>
                  </a:lnTo>
                  <a:lnTo>
                    <a:pt x="160" y="522"/>
                  </a:lnTo>
                  <a:lnTo>
                    <a:pt x="173" y="527"/>
                  </a:lnTo>
                  <a:lnTo>
                    <a:pt x="177" y="516"/>
                  </a:lnTo>
                  <a:lnTo>
                    <a:pt x="191" y="516"/>
                  </a:lnTo>
                  <a:lnTo>
                    <a:pt x="193" y="501"/>
                  </a:lnTo>
                  <a:lnTo>
                    <a:pt x="192" y="495"/>
                  </a:lnTo>
                  <a:lnTo>
                    <a:pt x="198" y="479"/>
                  </a:lnTo>
                  <a:lnTo>
                    <a:pt x="208" y="477"/>
                  </a:lnTo>
                  <a:lnTo>
                    <a:pt x="215" y="483"/>
                  </a:lnTo>
                  <a:lnTo>
                    <a:pt x="221" y="478"/>
                  </a:lnTo>
                  <a:lnTo>
                    <a:pt x="218" y="466"/>
                  </a:lnTo>
                  <a:lnTo>
                    <a:pt x="213" y="458"/>
                  </a:lnTo>
                  <a:lnTo>
                    <a:pt x="205" y="457"/>
                  </a:lnTo>
                  <a:lnTo>
                    <a:pt x="210" y="443"/>
                  </a:lnTo>
                  <a:lnTo>
                    <a:pt x="211" y="414"/>
                  </a:lnTo>
                  <a:lnTo>
                    <a:pt x="214" y="396"/>
                  </a:lnTo>
                  <a:lnTo>
                    <a:pt x="218" y="386"/>
                  </a:lnTo>
                  <a:lnTo>
                    <a:pt x="224" y="381"/>
                  </a:lnTo>
                  <a:lnTo>
                    <a:pt x="230" y="382"/>
                  </a:lnTo>
                  <a:lnTo>
                    <a:pt x="231" y="394"/>
                  </a:lnTo>
                  <a:lnTo>
                    <a:pt x="230" y="404"/>
                  </a:lnTo>
                  <a:lnTo>
                    <a:pt x="235" y="416"/>
                  </a:lnTo>
                  <a:lnTo>
                    <a:pt x="241" y="416"/>
                  </a:lnTo>
                  <a:lnTo>
                    <a:pt x="250" y="399"/>
                  </a:lnTo>
                  <a:lnTo>
                    <a:pt x="250" y="388"/>
                  </a:lnTo>
                  <a:lnTo>
                    <a:pt x="252" y="368"/>
                  </a:lnTo>
                  <a:lnTo>
                    <a:pt x="261" y="353"/>
                  </a:lnTo>
                  <a:lnTo>
                    <a:pt x="266" y="366"/>
                  </a:lnTo>
                  <a:lnTo>
                    <a:pt x="267" y="382"/>
                  </a:lnTo>
                  <a:lnTo>
                    <a:pt x="253" y="421"/>
                  </a:lnTo>
                  <a:lnTo>
                    <a:pt x="257" y="446"/>
                  </a:lnTo>
                  <a:lnTo>
                    <a:pt x="264" y="452"/>
                  </a:lnTo>
                  <a:lnTo>
                    <a:pt x="270" y="462"/>
                  </a:lnTo>
                  <a:lnTo>
                    <a:pt x="296" y="450"/>
                  </a:lnTo>
                  <a:lnTo>
                    <a:pt x="299" y="439"/>
                  </a:lnTo>
                  <a:lnTo>
                    <a:pt x="307" y="435"/>
                  </a:lnTo>
                  <a:lnTo>
                    <a:pt x="313" y="424"/>
                  </a:lnTo>
                  <a:lnTo>
                    <a:pt x="315" y="409"/>
                  </a:lnTo>
                  <a:lnTo>
                    <a:pt x="313" y="396"/>
                  </a:lnTo>
                  <a:lnTo>
                    <a:pt x="322" y="389"/>
                  </a:lnTo>
                  <a:lnTo>
                    <a:pt x="326" y="381"/>
                  </a:lnTo>
                  <a:lnTo>
                    <a:pt x="329" y="383"/>
                  </a:lnTo>
                  <a:lnTo>
                    <a:pt x="331" y="398"/>
                  </a:lnTo>
                  <a:lnTo>
                    <a:pt x="336" y="400"/>
                  </a:lnTo>
                  <a:lnTo>
                    <a:pt x="327" y="419"/>
                  </a:lnTo>
                  <a:lnTo>
                    <a:pt x="320" y="425"/>
                  </a:lnTo>
                  <a:lnTo>
                    <a:pt x="318" y="437"/>
                  </a:lnTo>
                  <a:lnTo>
                    <a:pt x="315" y="443"/>
                  </a:lnTo>
                  <a:lnTo>
                    <a:pt x="313" y="453"/>
                  </a:lnTo>
                  <a:lnTo>
                    <a:pt x="316" y="462"/>
                  </a:lnTo>
                  <a:lnTo>
                    <a:pt x="322" y="464"/>
                  </a:lnTo>
                  <a:lnTo>
                    <a:pt x="326" y="453"/>
                  </a:lnTo>
                  <a:lnTo>
                    <a:pt x="334" y="470"/>
                  </a:lnTo>
                  <a:lnTo>
                    <a:pt x="342" y="474"/>
                  </a:lnTo>
                  <a:lnTo>
                    <a:pt x="364" y="461"/>
                  </a:lnTo>
                  <a:lnTo>
                    <a:pt x="367" y="467"/>
                  </a:lnTo>
                  <a:lnTo>
                    <a:pt x="363" y="473"/>
                  </a:lnTo>
                  <a:lnTo>
                    <a:pt x="350" y="474"/>
                  </a:lnTo>
                  <a:lnTo>
                    <a:pt x="347" y="481"/>
                  </a:lnTo>
                  <a:lnTo>
                    <a:pt x="336" y="485"/>
                  </a:lnTo>
                  <a:lnTo>
                    <a:pt x="334" y="491"/>
                  </a:lnTo>
                  <a:lnTo>
                    <a:pt x="316" y="491"/>
                  </a:lnTo>
                  <a:lnTo>
                    <a:pt x="306" y="483"/>
                  </a:lnTo>
                  <a:lnTo>
                    <a:pt x="284" y="485"/>
                  </a:lnTo>
                  <a:lnTo>
                    <a:pt x="268" y="500"/>
                  </a:lnTo>
                  <a:lnTo>
                    <a:pt x="275" y="516"/>
                  </a:lnTo>
                  <a:lnTo>
                    <a:pt x="272" y="524"/>
                  </a:lnTo>
                  <a:lnTo>
                    <a:pt x="264" y="516"/>
                  </a:lnTo>
                  <a:lnTo>
                    <a:pt x="257" y="516"/>
                  </a:lnTo>
                  <a:lnTo>
                    <a:pt x="253" y="526"/>
                  </a:lnTo>
                  <a:lnTo>
                    <a:pt x="247" y="528"/>
                  </a:lnTo>
                  <a:lnTo>
                    <a:pt x="243" y="538"/>
                  </a:lnTo>
                  <a:lnTo>
                    <a:pt x="240" y="540"/>
                  </a:lnTo>
                  <a:lnTo>
                    <a:pt x="240" y="556"/>
                  </a:lnTo>
                  <a:lnTo>
                    <a:pt x="230" y="559"/>
                  </a:lnTo>
                  <a:lnTo>
                    <a:pt x="224" y="555"/>
                  </a:lnTo>
                  <a:lnTo>
                    <a:pt x="193" y="563"/>
                  </a:lnTo>
                  <a:lnTo>
                    <a:pt x="192" y="570"/>
                  </a:lnTo>
                  <a:lnTo>
                    <a:pt x="198" y="581"/>
                  </a:lnTo>
                  <a:lnTo>
                    <a:pt x="194" y="590"/>
                  </a:lnTo>
                  <a:lnTo>
                    <a:pt x="187" y="586"/>
                  </a:lnTo>
                  <a:lnTo>
                    <a:pt x="183" y="572"/>
                  </a:lnTo>
                  <a:lnTo>
                    <a:pt x="178" y="565"/>
                  </a:lnTo>
                  <a:lnTo>
                    <a:pt x="167" y="569"/>
                  </a:lnTo>
                  <a:lnTo>
                    <a:pt x="164" y="575"/>
                  </a:lnTo>
                  <a:lnTo>
                    <a:pt x="165" y="609"/>
                  </a:lnTo>
                  <a:lnTo>
                    <a:pt x="172" y="635"/>
                  </a:lnTo>
                  <a:lnTo>
                    <a:pt x="170" y="642"/>
                  </a:lnTo>
                  <a:lnTo>
                    <a:pt x="170" y="649"/>
                  </a:lnTo>
                  <a:lnTo>
                    <a:pt x="176" y="652"/>
                  </a:lnTo>
                  <a:lnTo>
                    <a:pt x="186" y="652"/>
                  </a:lnTo>
                  <a:lnTo>
                    <a:pt x="195" y="640"/>
                  </a:lnTo>
                  <a:lnTo>
                    <a:pt x="200" y="646"/>
                  </a:lnTo>
                  <a:lnTo>
                    <a:pt x="208" y="646"/>
                  </a:lnTo>
                  <a:lnTo>
                    <a:pt x="216" y="645"/>
                  </a:lnTo>
                  <a:lnTo>
                    <a:pt x="216" y="639"/>
                  </a:lnTo>
                  <a:lnTo>
                    <a:pt x="221" y="637"/>
                  </a:lnTo>
                  <a:lnTo>
                    <a:pt x="223" y="646"/>
                  </a:lnTo>
                  <a:lnTo>
                    <a:pt x="229" y="645"/>
                  </a:lnTo>
                  <a:lnTo>
                    <a:pt x="231" y="636"/>
                  </a:lnTo>
                  <a:lnTo>
                    <a:pt x="235" y="641"/>
                  </a:lnTo>
                  <a:lnTo>
                    <a:pt x="251" y="636"/>
                  </a:lnTo>
                  <a:lnTo>
                    <a:pt x="261" y="624"/>
                  </a:lnTo>
                  <a:lnTo>
                    <a:pt x="267" y="622"/>
                  </a:lnTo>
                  <a:lnTo>
                    <a:pt x="277" y="623"/>
                  </a:lnTo>
                  <a:lnTo>
                    <a:pt x="281" y="629"/>
                  </a:lnTo>
                  <a:lnTo>
                    <a:pt x="306" y="622"/>
                  </a:lnTo>
                  <a:lnTo>
                    <a:pt x="315" y="624"/>
                  </a:lnTo>
                  <a:lnTo>
                    <a:pt x="327" y="617"/>
                  </a:lnTo>
                  <a:lnTo>
                    <a:pt x="329" y="606"/>
                  </a:lnTo>
                  <a:lnTo>
                    <a:pt x="339" y="603"/>
                  </a:lnTo>
                  <a:lnTo>
                    <a:pt x="340" y="613"/>
                  </a:lnTo>
                  <a:lnTo>
                    <a:pt x="336" y="612"/>
                  </a:lnTo>
                  <a:lnTo>
                    <a:pt x="340" y="619"/>
                  </a:lnTo>
                  <a:lnTo>
                    <a:pt x="343" y="634"/>
                  </a:lnTo>
                  <a:lnTo>
                    <a:pt x="338" y="637"/>
                  </a:lnTo>
                  <a:lnTo>
                    <a:pt x="323" y="633"/>
                  </a:lnTo>
                  <a:lnTo>
                    <a:pt x="316" y="639"/>
                  </a:lnTo>
                  <a:lnTo>
                    <a:pt x="311" y="629"/>
                  </a:lnTo>
                  <a:lnTo>
                    <a:pt x="308" y="641"/>
                  </a:lnTo>
                  <a:lnTo>
                    <a:pt x="296" y="641"/>
                  </a:lnTo>
                  <a:lnTo>
                    <a:pt x="296" y="647"/>
                  </a:lnTo>
                  <a:lnTo>
                    <a:pt x="286" y="652"/>
                  </a:lnTo>
                  <a:lnTo>
                    <a:pt x="281" y="649"/>
                  </a:lnTo>
                  <a:lnTo>
                    <a:pt x="270" y="651"/>
                  </a:lnTo>
                  <a:lnTo>
                    <a:pt x="237" y="668"/>
                  </a:lnTo>
                  <a:lnTo>
                    <a:pt x="229" y="668"/>
                  </a:lnTo>
                  <a:lnTo>
                    <a:pt x="231" y="676"/>
                  </a:lnTo>
                  <a:lnTo>
                    <a:pt x="240" y="684"/>
                  </a:lnTo>
                  <a:lnTo>
                    <a:pt x="286" y="694"/>
                  </a:lnTo>
                  <a:lnTo>
                    <a:pt x="293" y="706"/>
                  </a:lnTo>
                  <a:lnTo>
                    <a:pt x="291" y="714"/>
                  </a:lnTo>
                  <a:lnTo>
                    <a:pt x="261" y="705"/>
                  </a:lnTo>
                  <a:lnTo>
                    <a:pt x="258" y="701"/>
                  </a:lnTo>
                  <a:lnTo>
                    <a:pt x="246" y="705"/>
                  </a:lnTo>
                  <a:lnTo>
                    <a:pt x="236" y="699"/>
                  </a:lnTo>
                  <a:lnTo>
                    <a:pt x="225" y="700"/>
                  </a:lnTo>
                  <a:lnTo>
                    <a:pt x="225" y="708"/>
                  </a:lnTo>
                  <a:lnTo>
                    <a:pt x="223" y="715"/>
                  </a:lnTo>
                  <a:lnTo>
                    <a:pt x="215" y="716"/>
                  </a:lnTo>
                  <a:lnTo>
                    <a:pt x="211" y="694"/>
                  </a:lnTo>
                  <a:lnTo>
                    <a:pt x="198" y="690"/>
                  </a:lnTo>
                  <a:lnTo>
                    <a:pt x="183" y="706"/>
                  </a:lnTo>
                  <a:lnTo>
                    <a:pt x="188" y="722"/>
                  </a:lnTo>
                  <a:lnTo>
                    <a:pt x="183" y="738"/>
                  </a:lnTo>
                  <a:lnTo>
                    <a:pt x="191" y="753"/>
                  </a:lnTo>
                  <a:lnTo>
                    <a:pt x="195" y="771"/>
                  </a:lnTo>
                  <a:lnTo>
                    <a:pt x="199" y="774"/>
                  </a:lnTo>
                  <a:lnTo>
                    <a:pt x="205" y="792"/>
                  </a:lnTo>
                  <a:lnTo>
                    <a:pt x="236" y="807"/>
                  </a:lnTo>
                  <a:lnTo>
                    <a:pt x="241" y="806"/>
                  </a:lnTo>
                  <a:lnTo>
                    <a:pt x="248" y="817"/>
                  </a:lnTo>
                  <a:lnTo>
                    <a:pt x="248" y="829"/>
                  </a:lnTo>
                  <a:lnTo>
                    <a:pt x="254" y="833"/>
                  </a:lnTo>
                  <a:lnTo>
                    <a:pt x="270" y="834"/>
                  </a:lnTo>
                  <a:lnTo>
                    <a:pt x="278" y="830"/>
                  </a:lnTo>
                  <a:lnTo>
                    <a:pt x="283" y="833"/>
                  </a:lnTo>
                  <a:lnTo>
                    <a:pt x="288" y="829"/>
                  </a:lnTo>
                  <a:lnTo>
                    <a:pt x="300" y="828"/>
                  </a:lnTo>
                  <a:lnTo>
                    <a:pt x="306" y="835"/>
                  </a:lnTo>
                  <a:lnTo>
                    <a:pt x="312" y="834"/>
                  </a:lnTo>
                  <a:lnTo>
                    <a:pt x="312" y="841"/>
                  </a:lnTo>
                  <a:lnTo>
                    <a:pt x="304" y="856"/>
                  </a:lnTo>
                  <a:lnTo>
                    <a:pt x="302" y="848"/>
                  </a:lnTo>
                  <a:lnTo>
                    <a:pt x="288" y="849"/>
                  </a:lnTo>
                  <a:lnTo>
                    <a:pt x="270" y="859"/>
                  </a:lnTo>
                  <a:lnTo>
                    <a:pt x="270" y="868"/>
                  </a:lnTo>
                  <a:lnTo>
                    <a:pt x="308" y="904"/>
                  </a:lnTo>
                  <a:lnTo>
                    <a:pt x="311" y="911"/>
                  </a:lnTo>
                  <a:lnTo>
                    <a:pt x="311" y="936"/>
                  </a:lnTo>
                  <a:lnTo>
                    <a:pt x="316" y="935"/>
                  </a:lnTo>
                  <a:lnTo>
                    <a:pt x="323" y="922"/>
                  </a:lnTo>
                  <a:lnTo>
                    <a:pt x="323" y="930"/>
                  </a:lnTo>
                  <a:lnTo>
                    <a:pt x="329" y="937"/>
                  </a:lnTo>
                  <a:lnTo>
                    <a:pt x="338" y="936"/>
                  </a:lnTo>
                  <a:lnTo>
                    <a:pt x="349" y="925"/>
                  </a:lnTo>
                  <a:lnTo>
                    <a:pt x="350" y="910"/>
                  </a:lnTo>
                  <a:lnTo>
                    <a:pt x="354" y="908"/>
                  </a:lnTo>
                  <a:lnTo>
                    <a:pt x="353" y="900"/>
                  </a:lnTo>
                  <a:lnTo>
                    <a:pt x="348" y="888"/>
                  </a:lnTo>
                  <a:lnTo>
                    <a:pt x="351" y="878"/>
                  </a:lnTo>
                  <a:lnTo>
                    <a:pt x="349" y="873"/>
                  </a:lnTo>
                  <a:lnTo>
                    <a:pt x="351" y="866"/>
                  </a:lnTo>
                  <a:lnTo>
                    <a:pt x="363" y="855"/>
                  </a:lnTo>
                  <a:lnTo>
                    <a:pt x="367" y="840"/>
                  </a:lnTo>
                  <a:lnTo>
                    <a:pt x="365" y="839"/>
                  </a:lnTo>
                  <a:lnTo>
                    <a:pt x="369" y="832"/>
                  </a:lnTo>
                  <a:lnTo>
                    <a:pt x="364" y="822"/>
                  </a:lnTo>
                  <a:lnTo>
                    <a:pt x="370" y="802"/>
                  </a:lnTo>
                  <a:lnTo>
                    <a:pt x="367" y="792"/>
                  </a:lnTo>
                  <a:lnTo>
                    <a:pt x="367" y="771"/>
                  </a:lnTo>
                  <a:lnTo>
                    <a:pt x="370" y="762"/>
                  </a:lnTo>
                  <a:lnTo>
                    <a:pt x="381" y="742"/>
                  </a:lnTo>
                  <a:lnTo>
                    <a:pt x="392" y="741"/>
                  </a:lnTo>
                  <a:lnTo>
                    <a:pt x="387" y="728"/>
                  </a:lnTo>
                  <a:lnTo>
                    <a:pt x="380" y="731"/>
                  </a:lnTo>
                  <a:lnTo>
                    <a:pt x="379" y="722"/>
                  </a:lnTo>
                  <a:lnTo>
                    <a:pt x="406" y="710"/>
                  </a:lnTo>
                  <a:lnTo>
                    <a:pt x="413" y="715"/>
                  </a:lnTo>
                  <a:lnTo>
                    <a:pt x="417" y="714"/>
                  </a:lnTo>
                  <a:lnTo>
                    <a:pt x="417" y="704"/>
                  </a:lnTo>
                  <a:lnTo>
                    <a:pt x="420" y="698"/>
                  </a:lnTo>
                  <a:lnTo>
                    <a:pt x="420" y="688"/>
                  </a:lnTo>
                  <a:lnTo>
                    <a:pt x="423" y="680"/>
                  </a:lnTo>
                  <a:lnTo>
                    <a:pt x="425" y="669"/>
                  </a:lnTo>
                  <a:lnTo>
                    <a:pt x="425" y="661"/>
                  </a:lnTo>
                  <a:lnTo>
                    <a:pt x="423" y="662"/>
                  </a:lnTo>
                  <a:lnTo>
                    <a:pt x="424" y="646"/>
                  </a:lnTo>
                  <a:lnTo>
                    <a:pt x="429" y="626"/>
                  </a:lnTo>
                  <a:lnTo>
                    <a:pt x="426" y="620"/>
                  </a:lnTo>
                  <a:lnTo>
                    <a:pt x="425" y="607"/>
                  </a:lnTo>
                  <a:lnTo>
                    <a:pt x="426" y="588"/>
                  </a:lnTo>
                  <a:lnTo>
                    <a:pt x="425" y="583"/>
                  </a:lnTo>
                  <a:lnTo>
                    <a:pt x="425" y="576"/>
                  </a:lnTo>
                  <a:lnTo>
                    <a:pt x="440" y="570"/>
                  </a:lnTo>
                  <a:lnTo>
                    <a:pt x="451" y="577"/>
                  </a:lnTo>
                  <a:lnTo>
                    <a:pt x="455" y="575"/>
                  </a:lnTo>
                  <a:lnTo>
                    <a:pt x="456" y="563"/>
                  </a:lnTo>
                  <a:lnTo>
                    <a:pt x="455" y="552"/>
                  </a:lnTo>
                  <a:lnTo>
                    <a:pt x="455" y="529"/>
                  </a:lnTo>
                  <a:lnTo>
                    <a:pt x="460" y="522"/>
                  </a:lnTo>
                  <a:lnTo>
                    <a:pt x="457" y="511"/>
                  </a:lnTo>
                  <a:lnTo>
                    <a:pt x="461" y="510"/>
                  </a:lnTo>
                  <a:lnTo>
                    <a:pt x="458" y="502"/>
                  </a:lnTo>
                  <a:lnTo>
                    <a:pt x="460" y="491"/>
                  </a:lnTo>
                  <a:lnTo>
                    <a:pt x="460" y="477"/>
                  </a:lnTo>
                  <a:lnTo>
                    <a:pt x="457" y="464"/>
                  </a:lnTo>
                  <a:lnTo>
                    <a:pt x="473" y="462"/>
                  </a:lnTo>
                  <a:lnTo>
                    <a:pt x="477" y="453"/>
                  </a:lnTo>
                  <a:lnTo>
                    <a:pt x="485" y="453"/>
                  </a:lnTo>
                  <a:lnTo>
                    <a:pt x="489" y="432"/>
                  </a:lnTo>
                  <a:lnTo>
                    <a:pt x="485" y="424"/>
                  </a:lnTo>
                  <a:lnTo>
                    <a:pt x="498" y="420"/>
                  </a:lnTo>
                  <a:lnTo>
                    <a:pt x="508" y="423"/>
                  </a:lnTo>
                  <a:lnTo>
                    <a:pt x="521" y="404"/>
                  </a:lnTo>
                  <a:lnTo>
                    <a:pt x="536" y="404"/>
                  </a:lnTo>
                  <a:lnTo>
                    <a:pt x="552" y="392"/>
                  </a:lnTo>
                  <a:lnTo>
                    <a:pt x="570" y="399"/>
                  </a:lnTo>
                  <a:lnTo>
                    <a:pt x="581" y="398"/>
                  </a:lnTo>
                  <a:lnTo>
                    <a:pt x="585" y="392"/>
                  </a:lnTo>
                  <a:lnTo>
                    <a:pt x="591" y="371"/>
                  </a:lnTo>
                  <a:lnTo>
                    <a:pt x="589" y="354"/>
                  </a:lnTo>
                  <a:lnTo>
                    <a:pt x="590" y="345"/>
                  </a:lnTo>
                  <a:lnTo>
                    <a:pt x="586" y="341"/>
                  </a:lnTo>
                  <a:lnTo>
                    <a:pt x="570" y="341"/>
                  </a:lnTo>
                  <a:lnTo>
                    <a:pt x="531" y="327"/>
                  </a:lnTo>
                  <a:lnTo>
                    <a:pt x="525" y="314"/>
                  </a:lnTo>
                  <a:lnTo>
                    <a:pt x="503" y="305"/>
                  </a:lnTo>
                  <a:lnTo>
                    <a:pt x="495" y="283"/>
                  </a:lnTo>
                  <a:lnTo>
                    <a:pt x="492" y="267"/>
                  </a:lnTo>
                  <a:lnTo>
                    <a:pt x="484" y="264"/>
                  </a:lnTo>
                  <a:lnTo>
                    <a:pt x="477" y="254"/>
                  </a:lnTo>
                  <a:lnTo>
                    <a:pt x="444" y="252"/>
                  </a:lnTo>
                  <a:lnTo>
                    <a:pt x="441" y="231"/>
                  </a:lnTo>
                  <a:lnTo>
                    <a:pt x="445" y="217"/>
                  </a:lnTo>
                  <a:lnTo>
                    <a:pt x="445" y="210"/>
                  </a:lnTo>
                  <a:lnTo>
                    <a:pt x="447" y="204"/>
                  </a:lnTo>
                  <a:lnTo>
                    <a:pt x="449" y="192"/>
                  </a:lnTo>
                  <a:lnTo>
                    <a:pt x="440" y="172"/>
                  </a:lnTo>
                  <a:lnTo>
                    <a:pt x="435" y="150"/>
                  </a:lnTo>
                  <a:lnTo>
                    <a:pt x="426" y="133"/>
                  </a:lnTo>
                  <a:lnTo>
                    <a:pt x="417" y="133"/>
                  </a:lnTo>
                  <a:lnTo>
                    <a:pt x="413" y="123"/>
                  </a:lnTo>
                  <a:lnTo>
                    <a:pt x="408" y="128"/>
                  </a:lnTo>
                  <a:lnTo>
                    <a:pt x="401" y="145"/>
                  </a:lnTo>
                  <a:lnTo>
                    <a:pt x="401" y="157"/>
                  </a:lnTo>
                  <a:lnTo>
                    <a:pt x="404" y="167"/>
                  </a:lnTo>
                  <a:lnTo>
                    <a:pt x="391" y="181"/>
                  </a:lnTo>
                  <a:lnTo>
                    <a:pt x="379" y="204"/>
                  </a:lnTo>
                  <a:lnTo>
                    <a:pt x="377" y="195"/>
                  </a:lnTo>
                  <a:lnTo>
                    <a:pt x="382" y="188"/>
                  </a:lnTo>
                  <a:lnTo>
                    <a:pt x="386" y="171"/>
                  </a:lnTo>
                  <a:lnTo>
                    <a:pt x="382" y="155"/>
                  </a:lnTo>
                  <a:lnTo>
                    <a:pt x="379" y="150"/>
                  </a:lnTo>
                  <a:lnTo>
                    <a:pt x="376" y="152"/>
                  </a:lnTo>
                  <a:lnTo>
                    <a:pt x="379" y="144"/>
                  </a:lnTo>
                  <a:lnTo>
                    <a:pt x="385" y="136"/>
                  </a:lnTo>
                  <a:lnTo>
                    <a:pt x="390" y="106"/>
                  </a:lnTo>
                  <a:lnTo>
                    <a:pt x="394" y="101"/>
                  </a:lnTo>
                  <a:lnTo>
                    <a:pt x="397" y="81"/>
                  </a:lnTo>
                  <a:lnTo>
                    <a:pt x="385" y="60"/>
                  </a:lnTo>
                  <a:lnTo>
                    <a:pt x="350" y="22"/>
                  </a:lnTo>
                  <a:lnTo>
                    <a:pt x="337" y="29"/>
                  </a:lnTo>
                  <a:lnTo>
                    <a:pt x="339" y="39"/>
                  </a:lnTo>
                  <a:lnTo>
                    <a:pt x="339" y="47"/>
                  </a:lnTo>
                  <a:lnTo>
                    <a:pt x="329" y="41"/>
                  </a:lnTo>
                  <a:lnTo>
                    <a:pt x="324" y="43"/>
                  </a:lnTo>
                  <a:lnTo>
                    <a:pt x="324" y="14"/>
                  </a:lnTo>
                  <a:lnTo>
                    <a:pt x="323" y="0"/>
                  </a:lnTo>
                  <a:lnTo>
                    <a:pt x="293" y="0"/>
                  </a:lnTo>
                  <a:lnTo>
                    <a:pt x="290" y="2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06" name="Freeform 219">
              <a:extLst>
                <a:ext uri="{FF2B5EF4-FFF2-40B4-BE49-F238E27FC236}">
                  <a16:creationId xmlns:a16="http://schemas.microsoft.com/office/drawing/2014/main" id="{116F2E4A-E92F-35CE-89E7-B48E38758C7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61156" y="234753"/>
              <a:ext cx="67155" cy="62492"/>
            </a:xfrm>
            <a:custGeom>
              <a:avLst/>
              <a:gdLst>
                <a:gd name="T0" fmla="*/ 0 w 126"/>
                <a:gd name="T1" fmla="*/ 0 h 117"/>
                <a:gd name="T2" fmla="*/ 0 w 126"/>
                <a:gd name="T3" fmla="*/ 0 h 117"/>
                <a:gd name="T4" fmla="*/ 0 w 126"/>
                <a:gd name="T5" fmla="*/ 0 h 117"/>
                <a:gd name="T6" fmla="*/ 0 w 126"/>
                <a:gd name="T7" fmla="*/ 0 h 117"/>
                <a:gd name="T8" fmla="*/ 0 w 126"/>
                <a:gd name="T9" fmla="*/ 0 h 117"/>
                <a:gd name="T10" fmla="*/ 0 w 126"/>
                <a:gd name="T11" fmla="*/ 0 h 117"/>
                <a:gd name="T12" fmla="*/ 0 w 126"/>
                <a:gd name="T13" fmla="*/ 0 h 117"/>
                <a:gd name="T14" fmla="*/ 0 w 126"/>
                <a:gd name="T15" fmla="*/ 0 h 117"/>
                <a:gd name="T16" fmla="*/ 0 w 126"/>
                <a:gd name="T17" fmla="*/ 0 h 117"/>
                <a:gd name="T18" fmla="*/ 0 w 126"/>
                <a:gd name="T19" fmla="*/ 0 h 117"/>
                <a:gd name="T20" fmla="*/ 0 w 126"/>
                <a:gd name="T21" fmla="*/ 0 h 117"/>
                <a:gd name="T22" fmla="*/ 0 w 126"/>
                <a:gd name="T23" fmla="*/ 0 h 117"/>
                <a:gd name="T24" fmla="*/ 0 w 126"/>
                <a:gd name="T25" fmla="*/ 0 h 117"/>
                <a:gd name="T26" fmla="*/ 0 w 126"/>
                <a:gd name="T27" fmla="*/ 0 h 117"/>
                <a:gd name="T28" fmla="*/ 0 w 126"/>
                <a:gd name="T29" fmla="*/ 0 h 117"/>
                <a:gd name="T30" fmla="*/ 0 w 126"/>
                <a:gd name="T31" fmla="*/ 0 h 117"/>
                <a:gd name="T32" fmla="*/ 0 w 126"/>
                <a:gd name="T33" fmla="*/ 0 h 117"/>
                <a:gd name="T34" fmla="*/ 0 w 126"/>
                <a:gd name="T35" fmla="*/ 0 h 117"/>
                <a:gd name="T36" fmla="*/ 0 w 126"/>
                <a:gd name="T37" fmla="*/ 0 h 117"/>
                <a:gd name="T38" fmla="*/ 0 w 126"/>
                <a:gd name="T39" fmla="*/ 0 h 117"/>
                <a:gd name="T40" fmla="*/ 0 w 126"/>
                <a:gd name="T41" fmla="*/ 0 h 117"/>
                <a:gd name="T42" fmla="*/ 0 w 126"/>
                <a:gd name="T43" fmla="*/ 0 h 117"/>
                <a:gd name="T44" fmla="*/ 0 w 126"/>
                <a:gd name="T45" fmla="*/ 0 h 117"/>
                <a:gd name="T46" fmla="*/ 0 w 126"/>
                <a:gd name="T47" fmla="*/ 0 h 117"/>
                <a:gd name="T48" fmla="*/ 0 w 126"/>
                <a:gd name="T49" fmla="*/ 0 h 117"/>
                <a:gd name="T50" fmla="*/ 0 w 126"/>
                <a:gd name="T51" fmla="*/ 0 h 117"/>
                <a:gd name="T52" fmla="*/ 0 w 126"/>
                <a:gd name="T53" fmla="*/ 0 h 117"/>
                <a:gd name="T54" fmla="*/ 0 w 126"/>
                <a:gd name="T55" fmla="*/ 0 h 117"/>
                <a:gd name="T56" fmla="*/ 0 w 126"/>
                <a:gd name="T57" fmla="*/ 0 h 117"/>
                <a:gd name="T58" fmla="*/ 0 w 126"/>
                <a:gd name="T59" fmla="*/ 0 h 117"/>
                <a:gd name="T60" fmla="*/ 0 w 126"/>
                <a:gd name="T61" fmla="*/ 0 h 117"/>
                <a:gd name="T62" fmla="*/ 0 w 126"/>
                <a:gd name="T63" fmla="*/ 0 h 11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26"/>
                <a:gd name="T97" fmla="*/ 0 h 117"/>
                <a:gd name="T98" fmla="*/ 126 w 126"/>
                <a:gd name="T99" fmla="*/ 117 h 117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26" h="117">
                  <a:moveTo>
                    <a:pt x="52" y="117"/>
                  </a:moveTo>
                  <a:lnTo>
                    <a:pt x="54" y="111"/>
                  </a:lnTo>
                  <a:lnTo>
                    <a:pt x="65" y="112"/>
                  </a:lnTo>
                  <a:lnTo>
                    <a:pt x="81" y="99"/>
                  </a:lnTo>
                  <a:lnTo>
                    <a:pt x="105" y="97"/>
                  </a:lnTo>
                  <a:lnTo>
                    <a:pt x="107" y="86"/>
                  </a:lnTo>
                  <a:lnTo>
                    <a:pt x="106" y="81"/>
                  </a:lnTo>
                  <a:lnTo>
                    <a:pt x="111" y="52"/>
                  </a:lnTo>
                  <a:lnTo>
                    <a:pt x="126" y="37"/>
                  </a:lnTo>
                  <a:lnTo>
                    <a:pt x="111" y="22"/>
                  </a:lnTo>
                  <a:lnTo>
                    <a:pt x="107" y="14"/>
                  </a:lnTo>
                  <a:lnTo>
                    <a:pt x="106" y="8"/>
                  </a:lnTo>
                  <a:lnTo>
                    <a:pt x="67" y="13"/>
                  </a:lnTo>
                  <a:lnTo>
                    <a:pt x="62" y="13"/>
                  </a:lnTo>
                  <a:lnTo>
                    <a:pt x="67" y="10"/>
                  </a:lnTo>
                  <a:lnTo>
                    <a:pt x="69" y="0"/>
                  </a:lnTo>
                  <a:lnTo>
                    <a:pt x="65" y="3"/>
                  </a:lnTo>
                  <a:lnTo>
                    <a:pt x="51" y="4"/>
                  </a:lnTo>
                  <a:lnTo>
                    <a:pt x="44" y="20"/>
                  </a:lnTo>
                  <a:lnTo>
                    <a:pt x="38" y="26"/>
                  </a:lnTo>
                  <a:lnTo>
                    <a:pt x="32" y="22"/>
                  </a:lnTo>
                  <a:lnTo>
                    <a:pt x="27" y="30"/>
                  </a:lnTo>
                  <a:lnTo>
                    <a:pt x="0" y="40"/>
                  </a:lnTo>
                  <a:lnTo>
                    <a:pt x="11" y="52"/>
                  </a:lnTo>
                  <a:lnTo>
                    <a:pt x="25" y="54"/>
                  </a:lnTo>
                  <a:lnTo>
                    <a:pt x="25" y="65"/>
                  </a:lnTo>
                  <a:lnTo>
                    <a:pt x="24" y="73"/>
                  </a:lnTo>
                  <a:lnTo>
                    <a:pt x="26" y="87"/>
                  </a:lnTo>
                  <a:lnTo>
                    <a:pt x="31" y="99"/>
                  </a:lnTo>
                  <a:lnTo>
                    <a:pt x="33" y="106"/>
                  </a:lnTo>
                  <a:lnTo>
                    <a:pt x="38" y="114"/>
                  </a:lnTo>
                  <a:lnTo>
                    <a:pt x="52" y="11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07" name="Freeform 220">
              <a:extLst>
                <a:ext uri="{FF2B5EF4-FFF2-40B4-BE49-F238E27FC236}">
                  <a16:creationId xmlns:a16="http://schemas.microsoft.com/office/drawing/2014/main" id="{41064A17-1367-8867-EEFC-AC41A5F7005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450696" y="314013"/>
              <a:ext cx="2985" cy="1524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147483647 h 2"/>
                <a:gd name="T4" fmla="*/ 2147483647 w 1"/>
                <a:gd name="T5" fmla="*/ 2147483647 h 2"/>
                <a:gd name="T6" fmla="*/ 0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2"/>
                <a:gd name="T14" fmla="*/ 1 w 1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2">
                  <a:moveTo>
                    <a:pt x="0" y="0"/>
                  </a:moveTo>
                  <a:lnTo>
                    <a:pt x="0" y="2"/>
                  </a:lnTo>
                  <a:lnTo>
                    <a:pt x="1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08" name="Freeform 221">
              <a:extLst>
                <a:ext uri="{FF2B5EF4-FFF2-40B4-BE49-F238E27FC236}">
                  <a16:creationId xmlns:a16="http://schemas.microsoft.com/office/drawing/2014/main" id="{F8E50B57-9692-BF58-9FF2-4902535EBB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450696" y="315537"/>
              <a:ext cx="2985" cy="304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0 w 1"/>
                <a:gd name="T5" fmla="*/ 2147483647 h 1"/>
                <a:gd name="T6" fmla="*/ 0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1"/>
                <a:gd name="T14" fmla="*/ 1 w 1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09" name="Freeform 222">
              <a:extLst>
                <a:ext uri="{FF2B5EF4-FFF2-40B4-BE49-F238E27FC236}">
                  <a16:creationId xmlns:a16="http://schemas.microsoft.com/office/drawing/2014/main" id="{BB30E426-B465-BE11-B225-15D7C0681C5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79064" y="285052"/>
              <a:ext cx="120879" cy="152422"/>
            </a:xfrm>
            <a:custGeom>
              <a:avLst/>
              <a:gdLst>
                <a:gd name="T0" fmla="*/ 0 w 222"/>
                <a:gd name="T1" fmla="*/ 0 h 268"/>
                <a:gd name="T2" fmla="*/ 0 w 222"/>
                <a:gd name="T3" fmla="*/ 0 h 268"/>
                <a:gd name="T4" fmla="*/ 0 w 222"/>
                <a:gd name="T5" fmla="*/ 0 h 268"/>
                <a:gd name="T6" fmla="*/ 0 w 222"/>
                <a:gd name="T7" fmla="*/ 0 h 268"/>
                <a:gd name="T8" fmla="*/ 0 w 222"/>
                <a:gd name="T9" fmla="*/ 0 h 268"/>
                <a:gd name="T10" fmla="*/ 0 w 222"/>
                <a:gd name="T11" fmla="*/ 0 h 268"/>
                <a:gd name="T12" fmla="*/ 0 w 222"/>
                <a:gd name="T13" fmla="*/ 0 h 268"/>
                <a:gd name="T14" fmla="*/ 0 w 222"/>
                <a:gd name="T15" fmla="*/ 0 h 268"/>
                <a:gd name="T16" fmla="*/ 0 w 222"/>
                <a:gd name="T17" fmla="*/ 0 h 268"/>
                <a:gd name="T18" fmla="*/ 0 w 222"/>
                <a:gd name="T19" fmla="*/ 0 h 268"/>
                <a:gd name="T20" fmla="*/ 0 w 222"/>
                <a:gd name="T21" fmla="*/ 0 h 268"/>
                <a:gd name="T22" fmla="*/ 0 w 222"/>
                <a:gd name="T23" fmla="*/ 0 h 268"/>
                <a:gd name="T24" fmla="*/ 0 w 222"/>
                <a:gd name="T25" fmla="*/ 0 h 268"/>
                <a:gd name="T26" fmla="*/ 0 w 222"/>
                <a:gd name="T27" fmla="*/ 0 h 268"/>
                <a:gd name="T28" fmla="*/ 0 w 222"/>
                <a:gd name="T29" fmla="*/ 0 h 268"/>
                <a:gd name="T30" fmla="*/ 0 w 222"/>
                <a:gd name="T31" fmla="*/ 0 h 268"/>
                <a:gd name="T32" fmla="*/ 0 w 222"/>
                <a:gd name="T33" fmla="*/ 0 h 268"/>
                <a:gd name="T34" fmla="*/ 0 w 222"/>
                <a:gd name="T35" fmla="*/ 0 h 268"/>
                <a:gd name="T36" fmla="*/ 0 w 222"/>
                <a:gd name="T37" fmla="*/ 0 h 268"/>
                <a:gd name="T38" fmla="*/ 0 w 222"/>
                <a:gd name="T39" fmla="*/ 0 h 268"/>
                <a:gd name="T40" fmla="*/ 0 w 222"/>
                <a:gd name="T41" fmla="*/ 0 h 268"/>
                <a:gd name="T42" fmla="*/ 0 w 222"/>
                <a:gd name="T43" fmla="*/ 0 h 268"/>
                <a:gd name="T44" fmla="*/ 0 w 222"/>
                <a:gd name="T45" fmla="*/ 0 h 268"/>
                <a:gd name="T46" fmla="*/ 0 w 222"/>
                <a:gd name="T47" fmla="*/ 0 h 268"/>
                <a:gd name="T48" fmla="*/ 0 w 222"/>
                <a:gd name="T49" fmla="*/ 0 h 268"/>
                <a:gd name="T50" fmla="*/ 0 w 222"/>
                <a:gd name="T51" fmla="*/ 0 h 268"/>
                <a:gd name="T52" fmla="*/ 0 w 222"/>
                <a:gd name="T53" fmla="*/ 0 h 268"/>
                <a:gd name="T54" fmla="*/ 0 w 222"/>
                <a:gd name="T55" fmla="*/ 0 h 268"/>
                <a:gd name="T56" fmla="*/ 0 w 222"/>
                <a:gd name="T57" fmla="*/ 0 h 268"/>
                <a:gd name="T58" fmla="*/ 0 w 222"/>
                <a:gd name="T59" fmla="*/ 0 h 268"/>
                <a:gd name="T60" fmla="*/ 0 w 222"/>
                <a:gd name="T61" fmla="*/ 0 h 268"/>
                <a:gd name="T62" fmla="*/ 0 w 222"/>
                <a:gd name="T63" fmla="*/ 0 h 268"/>
                <a:gd name="T64" fmla="*/ 0 w 222"/>
                <a:gd name="T65" fmla="*/ 0 h 268"/>
                <a:gd name="T66" fmla="*/ 0 w 222"/>
                <a:gd name="T67" fmla="*/ 0 h 268"/>
                <a:gd name="T68" fmla="*/ 0 w 222"/>
                <a:gd name="T69" fmla="*/ 0 h 268"/>
                <a:gd name="T70" fmla="*/ 0 w 222"/>
                <a:gd name="T71" fmla="*/ 0 h 268"/>
                <a:gd name="T72" fmla="*/ 0 w 222"/>
                <a:gd name="T73" fmla="*/ 0 h 268"/>
                <a:gd name="T74" fmla="*/ 0 w 222"/>
                <a:gd name="T75" fmla="*/ 0 h 268"/>
                <a:gd name="T76" fmla="*/ 0 w 222"/>
                <a:gd name="T77" fmla="*/ 0 h 268"/>
                <a:gd name="T78" fmla="*/ 0 w 222"/>
                <a:gd name="T79" fmla="*/ 0 h 268"/>
                <a:gd name="T80" fmla="*/ 0 w 222"/>
                <a:gd name="T81" fmla="*/ 0 h 268"/>
                <a:gd name="T82" fmla="*/ 0 w 222"/>
                <a:gd name="T83" fmla="*/ 0 h 268"/>
                <a:gd name="T84" fmla="*/ 0 w 222"/>
                <a:gd name="T85" fmla="*/ 0 h 268"/>
                <a:gd name="T86" fmla="*/ 0 w 222"/>
                <a:gd name="T87" fmla="*/ 0 h 268"/>
                <a:gd name="T88" fmla="*/ 0 w 222"/>
                <a:gd name="T89" fmla="*/ 0 h 268"/>
                <a:gd name="T90" fmla="*/ 0 w 222"/>
                <a:gd name="T91" fmla="*/ 0 h 268"/>
                <a:gd name="T92" fmla="*/ 0 w 222"/>
                <a:gd name="T93" fmla="*/ 0 h 268"/>
                <a:gd name="T94" fmla="*/ 0 w 222"/>
                <a:gd name="T95" fmla="*/ 0 h 268"/>
                <a:gd name="T96" fmla="*/ 0 w 222"/>
                <a:gd name="T97" fmla="*/ 0 h 268"/>
                <a:gd name="T98" fmla="*/ 0 w 222"/>
                <a:gd name="T99" fmla="*/ 0 h 268"/>
                <a:gd name="T100" fmla="*/ 0 w 222"/>
                <a:gd name="T101" fmla="*/ 0 h 268"/>
                <a:gd name="T102" fmla="*/ 0 w 222"/>
                <a:gd name="T103" fmla="*/ 0 h 268"/>
                <a:gd name="T104" fmla="*/ 0 w 222"/>
                <a:gd name="T105" fmla="*/ 0 h 26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268"/>
                <a:gd name="T161" fmla="*/ 222 w 222"/>
                <a:gd name="T162" fmla="*/ 268 h 26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268">
                  <a:moveTo>
                    <a:pt x="207" y="140"/>
                  </a:moveTo>
                  <a:lnTo>
                    <a:pt x="206" y="133"/>
                  </a:lnTo>
                  <a:lnTo>
                    <a:pt x="201" y="133"/>
                  </a:lnTo>
                  <a:lnTo>
                    <a:pt x="201" y="128"/>
                  </a:lnTo>
                  <a:lnTo>
                    <a:pt x="196" y="117"/>
                  </a:lnTo>
                  <a:lnTo>
                    <a:pt x="190" y="116"/>
                  </a:lnTo>
                  <a:lnTo>
                    <a:pt x="184" y="106"/>
                  </a:lnTo>
                  <a:lnTo>
                    <a:pt x="180" y="107"/>
                  </a:lnTo>
                  <a:lnTo>
                    <a:pt x="178" y="114"/>
                  </a:lnTo>
                  <a:lnTo>
                    <a:pt x="162" y="124"/>
                  </a:lnTo>
                  <a:lnTo>
                    <a:pt x="150" y="116"/>
                  </a:lnTo>
                  <a:lnTo>
                    <a:pt x="145" y="108"/>
                  </a:lnTo>
                  <a:lnTo>
                    <a:pt x="139" y="106"/>
                  </a:lnTo>
                  <a:lnTo>
                    <a:pt x="131" y="90"/>
                  </a:lnTo>
                  <a:lnTo>
                    <a:pt x="124" y="86"/>
                  </a:lnTo>
                  <a:lnTo>
                    <a:pt x="120" y="75"/>
                  </a:lnTo>
                  <a:lnTo>
                    <a:pt x="120" y="64"/>
                  </a:lnTo>
                  <a:lnTo>
                    <a:pt x="125" y="51"/>
                  </a:lnTo>
                  <a:lnTo>
                    <a:pt x="134" y="53"/>
                  </a:lnTo>
                  <a:lnTo>
                    <a:pt x="134" y="43"/>
                  </a:lnTo>
                  <a:lnTo>
                    <a:pt x="137" y="37"/>
                  </a:lnTo>
                  <a:lnTo>
                    <a:pt x="128" y="19"/>
                  </a:lnTo>
                  <a:lnTo>
                    <a:pt x="119" y="25"/>
                  </a:lnTo>
                  <a:lnTo>
                    <a:pt x="114" y="15"/>
                  </a:lnTo>
                  <a:lnTo>
                    <a:pt x="114" y="6"/>
                  </a:lnTo>
                  <a:lnTo>
                    <a:pt x="112" y="0"/>
                  </a:lnTo>
                  <a:lnTo>
                    <a:pt x="110" y="0"/>
                  </a:lnTo>
                  <a:lnTo>
                    <a:pt x="106" y="15"/>
                  </a:lnTo>
                  <a:lnTo>
                    <a:pt x="93" y="17"/>
                  </a:lnTo>
                  <a:lnTo>
                    <a:pt x="87" y="26"/>
                  </a:lnTo>
                  <a:lnTo>
                    <a:pt x="66" y="28"/>
                  </a:lnTo>
                  <a:lnTo>
                    <a:pt x="50" y="23"/>
                  </a:lnTo>
                  <a:lnTo>
                    <a:pt x="28" y="32"/>
                  </a:lnTo>
                  <a:lnTo>
                    <a:pt x="2" y="51"/>
                  </a:lnTo>
                  <a:lnTo>
                    <a:pt x="2" y="59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1" y="75"/>
                  </a:lnTo>
                  <a:lnTo>
                    <a:pt x="16" y="75"/>
                  </a:lnTo>
                  <a:lnTo>
                    <a:pt x="16" y="86"/>
                  </a:lnTo>
                  <a:lnTo>
                    <a:pt x="39" y="101"/>
                  </a:lnTo>
                  <a:lnTo>
                    <a:pt x="35" y="108"/>
                  </a:lnTo>
                  <a:lnTo>
                    <a:pt x="34" y="119"/>
                  </a:lnTo>
                  <a:lnTo>
                    <a:pt x="27" y="134"/>
                  </a:lnTo>
                  <a:lnTo>
                    <a:pt x="27" y="140"/>
                  </a:lnTo>
                  <a:lnTo>
                    <a:pt x="21" y="150"/>
                  </a:lnTo>
                  <a:lnTo>
                    <a:pt x="22" y="156"/>
                  </a:lnTo>
                  <a:lnTo>
                    <a:pt x="21" y="165"/>
                  </a:lnTo>
                  <a:lnTo>
                    <a:pt x="20" y="166"/>
                  </a:lnTo>
                  <a:lnTo>
                    <a:pt x="21" y="172"/>
                  </a:lnTo>
                  <a:lnTo>
                    <a:pt x="20" y="177"/>
                  </a:lnTo>
                  <a:lnTo>
                    <a:pt x="5" y="187"/>
                  </a:lnTo>
                  <a:lnTo>
                    <a:pt x="5" y="192"/>
                  </a:lnTo>
                  <a:lnTo>
                    <a:pt x="4" y="195"/>
                  </a:lnTo>
                  <a:lnTo>
                    <a:pt x="0" y="198"/>
                  </a:lnTo>
                  <a:lnTo>
                    <a:pt x="1" y="205"/>
                  </a:lnTo>
                  <a:lnTo>
                    <a:pt x="0" y="214"/>
                  </a:lnTo>
                  <a:lnTo>
                    <a:pt x="8" y="222"/>
                  </a:lnTo>
                  <a:lnTo>
                    <a:pt x="17" y="216"/>
                  </a:lnTo>
                  <a:lnTo>
                    <a:pt x="26" y="222"/>
                  </a:lnTo>
                  <a:lnTo>
                    <a:pt x="32" y="215"/>
                  </a:lnTo>
                  <a:lnTo>
                    <a:pt x="66" y="214"/>
                  </a:lnTo>
                  <a:lnTo>
                    <a:pt x="67" y="210"/>
                  </a:lnTo>
                  <a:lnTo>
                    <a:pt x="77" y="208"/>
                  </a:lnTo>
                  <a:lnTo>
                    <a:pt x="80" y="198"/>
                  </a:lnTo>
                  <a:lnTo>
                    <a:pt x="87" y="189"/>
                  </a:lnTo>
                  <a:lnTo>
                    <a:pt x="97" y="191"/>
                  </a:lnTo>
                  <a:lnTo>
                    <a:pt x="98" y="193"/>
                  </a:lnTo>
                  <a:lnTo>
                    <a:pt x="94" y="200"/>
                  </a:lnTo>
                  <a:lnTo>
                    <a:pt x="96" y="205"/>
                  </a:lnTo>
                  <a:lnTo>
                    <a:pt x="98" y="209"/>
                  </a:lnTo>
                  <a:lnTo>
                    <a:pt x="103" y="195"/>
                  </a:lnTo>
                  <a:lnTo>
                    <a:pt x="110" y="195"/>
                  </a:lnTo>
                  <a:lnTo>
                    <a:pt x="107" y="205"/>
                  </a:lnTo>
                  <a:lnTo>
                    <a:pt x="107" y="210"/>
                  </a:lnTo>
                  <a:lnTo>
                    <a:pt x="99" y="214"/>
                  </a:lnTo>
                  <a:lnTo>
                    <a:pt x="94" y="222"/>
                  </a:lnTo>
                  <a:lnTo>
                    <a:pt x="97" y="235"/>
                  </a:lnTo>
                  <a:lnTo>
                    <a:pt x="96" y="240"/>
                  </a:lnTo>
                  <a:lnTo>
                    <a:pt x="85" y="253"/>
                  </a:lnTo>
                  <a:lnTo>
                    <a:pt x="91" y="265"/>
                  </a:lnTo>
                  <a:lnTo>
                    <a:pt x="99" y="259"/>
                  </a:lnTo>
                  <a:lnTo>
                    <a:pt x="101" y="268"/>
                  </a:lnTo>
                  <a:lnTo>
                    <a:pt x="110" y="259"/>
                  </a:lnTo>
                  <a:lnTo>
                    <a:pt x="109" y="252"/>
                  </a:lnTo>
                  <a:lnTo>
                    <a:pt x="112" y="248"/>
                  </a:lnTo>
                  <a:lnTo>
                    <a:pt x="125" y="238"/>
                  </a:lnTo>
                  <a:lnTo>
                    <a:pt x="125" y="232"/>
                  </a:lnTo>
                  <a:lnTo>
                    <a:pt x="126" y="232"/>
                  </a:lnTo>
                  <a:lnTo>
                    <a:pt x="129" y="237"/>
                  </a:lnTo>
                  <a:lnTo>
                    <a:pt x="133" y="240"/>
                  </a:lnTo>
                  <a:lnTo>
                    <a:pt x="142" y="235"/>
                  </a:lnTo>
                  <a:lnTo>
                    <a:pt x="144" y="229"/>
                  </a:lnTo>
                  <a:lnTo>
                    <a:pt x="146" y="225"/>
                  </a:lnTo>
                  <a:lnTo>
                    <a:pt x="151" y="226"/>
                  </a:lnTo>
                  <a:lnTo>
                    <a:pt x="151" y="216"/>
                  </a:lnTo>
                  <a:lnTo>
                    <a:pt x="160" y="213"/>
                  </a:lnTo>
                  <a:lnTo>
                    <a:pt x="166" y="202"/>
                  </a:lnTo>
                  <a:lnTo>
                    <a:pt x="166" y="193"/>
                  </a:lnTo>
                  <a:lnTo>
                    <a:pt x="169" y="184"/>
                  </a:lnTo>
                  <a:lnTo>
                    <a:pt x="179" y="175"/>
                  </a:lnTo>
                  <a:lnTo>
                    <a:pt x="180" y="165"/>
                  </a:lnTo>
                  <a:lnTo>
                    <a:pt x="204" y="152"/>
                  </a:lnTo>
                  <a:lnTo>
                    <a:pt x="222" y="152"/>
                  </a:lnTo>
                  <a:lnTo>
                    <a:pt x="222" y="148"/>
                  </a:lnTo>
                  <a:lnTo>
                    <a:pt x="221" y="145"/>
                  </a:lnTo>
                  <a:lnTo>
                    <a:pt x="207" y="14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10" name="Freeform 223">
              <a:extLst>
                <a:ext uri="{FF2B5EF4-FFF2-40B4-BE49-F238E27FC236}">
                  <a16:creationId xmlns:a16="http://schemas.microsoft.com/office/drawing/2014/main" id="{C8EB72B1-A9AA-BC83-D44B-FD3C9983E1A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02954" y="24"/>
              <a:ext cx="262652" cy="146325"/>
            </a:xfrm>
            <a:custGeom>
              <a:avLst/>
              <a:gdLst>
                <a:gd name="T0" fmla="*/ 0 w 496"/>
                <a:gd name="T1" fmla="*/ 0 h 260"/>
                <a:gd name="T2" fmla="*/ 0 w 496"/>
                <a:gd name="T3" fmla="*/ 0 h 260"/>
                <a:gd name="T4" fmla="*/ 0 w 496"/>
                <a:gd name="T5" fmla="*/ 0 h 260"/>
                <a:gd name="T6" fmla="*/ 0 w 496"/>
                <a:gd name="T7" fmla="*/ 0 h 260"/>
                <a:gd name="T8" fmla="*/ 0 w 496"/>
                <a:gd name="T9" fmla="*/ 0 h 260"/>
                <a:gd name="T10" fmla="*/ 0 w 496"/>
                <a:gd name="T11" fmla="*/ 0 h 260"/>
                <a:gd name="T12" fmla="*/ 0 w 496"/>
                <a:gd name="T13" fmla="*/ 0 h 260"/>
                <a:gd name="T14" fmla="*/ 0 w 496"/>
                <a:gd name="T15" fmla="*/ 0 h 260"/>
                <a:gd name="T16" fmla="*/ 0 w 496"/>
                <a:gd name="T17" fmla="*/ 0 h 260"/>
                <a:gd name="T18" fmla="*/ 0 w 496"/>
                <a:gd name="T19" fmla="*/ 0 h 260"/>
                <a:gd name="T20" fmla="*/ 0 w 496"/>
                <a:gd name="T21" fmla="*/ 0 h 260"/>
                <a:gd name="T22" fmla="*/ 0 w 496"/>
                <a:gd name="T23" fmla="*/ 0 h 260"/>
                <a:gd name="T24" fmla="*/ 0 w 496"/>
                <a:gd name="T25" fmla="*/ 0 h 260"/>
                <a:gd name="T26" fmla="*/ 0 w 496"/>
                <a:gd name="T27" fmla="*/ 0 h 260"/>
                <a:gd name="T28" fmla="*/ 0 w 496"/>
                <a:gd name="T29" fmla="*/ 0 h 260"/>
                <a:gd name="T30" fmla="*/ 0 w 496"/>
                <a:gd name="T31" fmla="*/ 0 h 260"/>
                <a:gd name="T32" fmla="*/ 0 w 496"/>
                <a:gd name="T33" fmla="*/ 0 h 260"/>
                <a:gd name="T34" fmla="*/ 0 w 496"/>
                <a:gd name="T35" fmla="*/ 0 h 260"/>
                <a:gd name="T36" fmla="*/ 0 w 496"/>
                <a:gd name="T37" fmla="*/ 0 h 260"/>
                <a:gd name="T38" fmla="*/ 0 w 496"/>
                <a:gd name="T39" fmla="*/ 0 h 260"/>
                <a:gd name="T40" fmla="*/ 0 w 496"/>
                <a:gd name="T41" fmla="*/ 0 h 260"/>
                <a:gd name="T42" fmla="*/ 0 w 496"/>
                <a:gd name="T43" fmla="*/ 0 h 260"/>
                <a:gd name="T44" fmla="*/ 0 w 496"/>
                <a:gd name="T45" fmla="*/ 0 h 260"/>
                <a:gd name="T46" fmla="*/ 0 w 496"/>
                <a:gd name="T47" fmla="*/ 0 h 260"/>
                <a:gd name="T48" fmla="*/ 0 w 496"/>
                <a:gd name="T49" fmla="*/ 0 h 260"/>
                <a:gd name="T50" fmla="*/ 0 w 496"/>
                <a:gd name="T51" fmla="*/ 0 h 260"/>
                <a:gd name="T52" fmla="*/ 0 w 496"/>
                <a:gd name="T53" fmla="*/ 0 h 260"/>
                <a:gd name="T54" fmla="*/ 0 w 496"/>
                <a:gd name="T55" fmla="*/ 0 h 260"/>
                <a:gd name="T56" fmla="*/ 0 w 496"/>
                <a:gd name="T57" fmla="*/ 0 h 260"/>
                <a:gd name="T58" fmla="*/ 0 w 496"/>
                <a:gd name="T59" fmla="*/ 0 h 260"/>
                <a:gd name="T60" fmla="*/ 0 w 496"/>
                <a:gd name="T61" fmla="*/ 0 h 260"/>
                <a:gd name="T62" fmla="*/ 0 w 496"/>
                <a:gd name="T63" fmla="*/ 0 h 260"/>
                <a:gd name="T64" fmla="*/ 0 w 496"/>
                <a:gd name="T65" fmla="*/ 0 h 260"/>
                <a:gd name="T66" fmla="*/ 0 w 496"/>
                <a:gd name="T67" fmla="*/ 0 h 260"/>
                <a:gd name="T68" fmla="*/ 0 w 496"/>
                <a:gd name="T69" fmla="*/ 0 h 260"/>
                <a:gd name="T70" fmla="*/ 2147483647 w 496"/>
                <a:gd name="T71" fmla="*/ 0 h 260"/>
                <a:gd name="T72" fmla="*/ 2147483647 w 496"/>
                <a:gd name="T73" fmla="*/ 0 h 260"/>
                <a:gd name="T74" fmla="*/ 2147483647 w 496"/>
                <a:gd name="T75" fmla="*/ 0 h 260"/>
                <a:gd name="T76" fmla="*/ 2147483647 w 496"/>
                <a:gd name="T77" fmla="*/ 0 h 260"/>
                <a:gd name="T78" fmla="*/ 2147483647 w 496"/>
                <a:gd name="T79" fmla="*/ 0 h 260"/>
                <a:gd name="T80" fmla="*/ 2147483647 w 496"/>
                <a:gd name="T81" fmla="*/ 0 h 260"/>
                <a:gd name="T82" fmla="*/ 2147483647 w 496"/>
                <a:gd name="T83" fmla="*/ 0 h 260"/>
                <a:gd name="T84" fmla="*/ 2147483647 w 496"/>
                <a:gd name="T85" fmla="*/ 0 h 260"/>
                <a:gd name="T86" fmla="*/ 2147483647 w 496"/>
                <a:gd name="T87" fmla="*/ 0 h 260"/>
                <a:gd name="T88" fmla="*/ 2147483647 w 496"/>
                <a:gd name="T89" fmla="*/ 0 h 260"/>
                <a:gd name="T90" fmla="*/ 2147483647 w 496"/>
                <a:gd name="T91" fmla="*/ 0 h 260"/>
                <a:gd name="T92" fmla="*/ 2147483647 w 496"/>
                <a:gd name="T93" fmla="*/ 0 h 260"/>
                <a:gd name="T94" fmla="*/ 2147483647 w 496"/>
                <a:gd name="T95" fmla="*/ 0 h 260"/>
                <a:gd name="T96" fmla="*/ 2147483647 w 496"/>
                <a:gd name="T97" fmla="*/ 0 h 260"/>
                <a:gd name="T98" fmla="*/ 0 w 496"/>
                <a:gd name="T99" fmla="*/ 0 h 260"/>
                <a:gd name="T100" fmla="*/ 0 w 496"/>
                <a:gd name="T101" fmla="*/ 0 h 260"/>
                <a:gd name="T102" fmla="*/ 0 w 496"/>
                <a:gd name="T103" fmla="*/ 0 h 260"/>
                <a:gd name="T104" fmla="*/ 0 w 496"/>
                <a:gd name="T105" fmla="*/ 0 h 26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96"/>
                <a:gd name="T160" fmla="*/ 0 h 260"/>
                <a:gd name="T161" fmla="*/ 496 w 496"/>
                <a:gd name="T162" fmla="*/ 260 h 26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96" h="260">
                  <a:moveTo>
                    <a:pt x="32" y="12"/>
                  </a:moveTo>
                  <a:lnTo>
                    <a:pt x="30" y="17"/>
                  </a:lnTo>
                  <a:lnTo>
                    <a:pt x="20" y="11"/>
                  </a:lnTo>
                  <a:lnTo>
                    <a:pt x="18" y="12"/>
                  </a:lnTo>
                  <a:lnTo>
                    <a:pt x="23" y="18"/>
                  </a:lnTo>
                  <a:lnTo>
                    <a:pt x="23" y="22"/>
                  </a:lnTo>
                  <a:lnTo>
                    <a:pt x="13" y="22"/>
                  </a:lnTo>
                  <a:lnTo>
                    <a:pt x="0" y="36"/>
                  </a:lnTo>
                  <a:lnTo>
                    <a:pt x="2" y="41"/>
                  </a:lnTo>
                  <a:lnTo>
                    <a:pt x="9" y="43"/>
                  </a:lnTo>
                  <a:lnTo>
                    <a:pt x="8" y="54"/>
                  </a:lnTo>
                  <a:lnTo>
                    <a:pt x="15" y="61"/>
                  </a:lnTo>
                  <a:lnTo>
                    <a:pt x="15" y="68"/>
                  </a:lnTo>
                  <a:lnTo>
                    <a:pt x="21" y="80"/>
                  </a:lnTo>
                  <a:lnTo>
                    <a:pt x="23" y="72"/>
                  </a:lnTo>
                  <a:lnTo>
                    <a:pt x="29" y="68"/>
                  </a:lnTo>
                  <a:lnTo>
                    <a:pt x="27" y="72"/>
                  </a:lnTo>
                  <a:lnTo>
                    <a:pt x="29" y="76"/>
                  </a:lnTo>
                  <a:lnTo>
                    <a:pt x="32" y="77"/>
                  </a:lnTo>
                  <a:lnTo>
                    <a:pt x="29" y="85"/>
                  </a:lnTo>
                  <a:lnTo>
                    <a:pt x="36" y="91"/>
                  </a:lnTo>
                  <a:lnTo>
                    <a:pt x="67" y="88"/>
                  </a:lnTo>
                  <a:lnTo>
                    <a:pt x="70" y="91"/>
                  </a:lnTo>
                  <a:lnTo>
                    <a:pt x="70" y="97"/>
                  </a:lnTo>
                  <a:lnTo>
                    <a:pt x="75" y="98"/>
                  </a:lnTo>
                  <a:lnTo>
                    <a:pt x="85" y="90"/>
                  </a:lnTo>
                  <a:lnTo>
                    <a:pt x="85" y="86"/>
                  </a:lnTo>
                  <a:lnTo>
                    <a:pt x="102" y="86"/>
                  </a:lnTo>
                  <a:lnTo>
                    <a:pt x="107" y="79"/>
                  </a:lnTo>
                  <a:lnTo>
                    <a:pt x="121" y="79"/>
                  </a:lnTo>
                  <a:lnTo>
                    <a:pt x="122" y="74"/>
                  </a:lnTo>
                  <a:lnTo>
                    <a:pt x="142" y="76"/>
                  </a:lnTo>
                  <a:lnTo>
                    <a:pt x="144" y="69"/>
                  </a:lnTo>
                  <a:lnTo>
                    <a:pt x="187" y="70"/>
                  </a:lnTo>
                  <a:lnTo>
                    <a:pt x="192" y="63"/>
                  </a:lnTo>
                  <a:lnTo>
                    <a:pt x="202" y="66"/>
                  </a:lnTo>
                  <a:lnTo>
                    <a:pt x="207" y="60"/>
                  </a:lnTo>
                  <a:lnTo>
                    <a:pt x="207" y="71"/>
                  </a:lnTo>
                  <a:lnTo>
                    <a:pt x="199" y="76"/>
                  </a:lnTo>
                  <a:lnTo>
                    <a:pt x="211" y="77"/>
                  </a:lnTo>
                  <a:lnTo>
                    <a:pt x="209" y="81"/>
                  </a:lnTo>
                  <a:lnTo>
                    <a:pt x="209" y="88"/>
                  </a:lnTo>
                  <a:lnTo>
                    <a:pt x="201" y="91"/>
                  </a:lnTo>
                  <a:lnTo>
                    <a:pt x="201" y="95"/>
                  </a:lnTo>
                  <a:lnTo>
                    <a:pt x="202" y="96"/>
                  </a:lnTo>
                  <a:lnTo>
                    <a:pt x="201" y="99"/>
                  </a:lnTo>
                  <a:lnTo>
                    <a:pt x="156" y="98"/>
                  </a:lnTo>
                  <a:lnTo>
                    <a:pt x="153" y="106"/>
                  </a:lnTo>
                  <a:lnTo>
                    <a:pt x="149" y="104"/>
                  </a:lnTo>
                  <a:lnTo>
                    <a:pt x="149" y="98"/>
                  </a:lnTo>
                  <a:lnTo>
                    <a:pt x="133" y="106"/>
                  </a:lnTo>
                  <a:lnTo>
                    <a:pt x="136" y="112"/>
                  </a:lnTo>
                  <a:lnTo>
                    <a:pt x="132" y="118"/>
                  </a:lnTo>
                  <a:lnTo>
                    <a:pt x="145" y="123"/>
                  </a:lnTo>
                  <a:lnTo>
                    <a:pt x="147" y="128"/>
                  </a:lnTo>
                  <a:lnTo>
                    <a:pt x="156" y="127"/>
                  </a:lnTo>
                  <a:lnTo>
                    <a:pt x="158" y="130"/>
                  </a:lnTo>
                  <a:lnTo>
                    <a:pt x="158" y="135"/>
                  </a:lnTo>
                  <a:lnTo>
                    <a:pt x="161" y="140"/>
                  </a:lnTo>
                  <a:lnTo>
                    <a:pt x="153" y="144"/>
                  </a:lnTo>
                  <a:lnTo>
                    <a:pt x="144" y="135"/>
                  </a:lnTo>
                  <a:lnTo>
                    <a:pt x="118" y="138"/>
                  </a:lnTo>
                  <a:lnTo>
                    <a:pt x="117" y="131"/>
                  </a:lnTo>
                  <a:lnTo>
                    <a:pt x="112" y="130"/>
                  </a:lnTo>
                  <a:lnTo>
                    <a:pt x="112" y="124"/>
                  </a:lnTo>
                  <a:lnTo>
                    <a:pt x="98" y="119"/>
                  </a:lnTo>
                  <a:lnTo>
                    <a:pt x="85" y="128"/>
                  </a:lnTo>
                  <a:lnTo>
                    <a:pt x="84" y="131"/>
                  </a:lnTo>
                  <a:lnTo>
                    <a:pt x="86" y="138"/>
                  </a:lnTo>
                  <a:lnTo>
                    <a:pt x="94" y="145"/>
                  </a:lnTo>
                  <a:lnTo>
                    <a:pt x="96" y="154"/>
                  </a:lnTo>
                  <a:lnTo>
                    <a:pt x="106" y="158"/>
                  </a:lnTo>
                  <a:lnTo>
                    <a:pt x="115" y="172"/>
                  </a:lnTo>
                  <a:lnTo>
                    <a:pt x="139" y="174"/>
                  </a:lnTo>
                  <a:lnTo>
                    <a:pt x="142" y="183"/>
                  </a:lnTo>
                  <a:lnTo>
                    <a:pt x="142" y="194"/>
                  </a:lnTo>
                  <a:lnTo>
                    <a:pt x="150" y="203"/>
                  </a:lnTo>
                  <a:lnTo>
                    <a:pt x="160" y="199"/>
                  </a:lnTo>
                  <a:lnTo>
                    <a:pt x="161" y="199"/>
                  </a:lnTo>
                  <a:lnTo>
                    <a:pt x="161" y="194"/>
                  </a:lnTo>
                  <a:lnTo>
                    <a:pt x="175" y="188"/>
                  </a:lnTo>
                  <a:lnTo>
                    <a:pt x="181" y="195"/>
                  </a:lnTo>
                  <a:lnTo>
                    <a:pt x="182" y="183"/>
                  </a:lnTo>
                  <a:lnTo>
                    <a:pt x="186" y="183"/>
                  </a:lnTo>
                  <a:lnTo>
                    <a:pt x="187" y="190"/>
                  </a:lnTo>
                  <a:lnTo>
                    <a:pt x="203" y="199"/>
                  </a:lnTo>
                  <a:lnTo>
                    <a:pt x="218" y="187"/>
                  </a:lnTo>
                  <a:lnTo>
                    <a:pt x="241" y="195"/>
                  </a:lnTo>
                  <a:lnTo>
                    <a:pt x="246" y="192"/>
                  </a:lnTo>
                  <a:lnTo>
                    <a:pt x="249" y="187"/>
                  </a:lnTo>
                  <a:lnTo>
                    <a:pt x="250" y="188"/>
                  </a:lnTo>
                  <a:lnTo>
                    <a:pt x="249" y="198"/>
                  </a:lnTo>
                  <a:lnTo>
                    <a:pt x="244" y="206"/>
                  </a:lnTo>
                  <a:lnTo>
                    <a:pt x="246" y="224"/>
                  </a:lnTo>
                  <a:lnTo>
                    <a:pt x="254" y="232"/>
                  </a:lnTo>
                  <a:lnTo>
                    <a:pt x="257" y="228"/>
                  </a:lnTo>
                  <a:lnTo>
                    <a:pt x="255" y="236"/>
                  </a:lnTo>
                  <a:lnTo>
                    <a:pt x="263" y="243"/>
                  </a:lnTo>
                  <a:lnTo>
                    <a:pt x="261" y="246"/>
                  </a:lnTo>
                  <a:lnTo>
                    <a:pt x="262" y="249"/>
                  </a:lnTo>
                  <a:lnTo>
                    <a:pt x="278" y="253"/>
                  </a:lnTo>
                  <a:lnTo>
                    <a:pt x="279" y="259"/>
                  </a:lnTo>
                  <a:lnTo>
                    <a:pt x="283" y="260"/>
                  </a:lnTo>
                  <a:lnTo>
                    <a:pt x="287" y="254"/>
                  </a:lnTo>
                  <a:lnTo>
                    <a:pt x="287" y="259"/>
                  </a:lnTo>
                  <a:lnTo>
                    <a:pt x="315" y="255"/>
                  </a:lnTo>
                  <a:lnTo>
                    <a:pt x="328" y="247"/>
                  </a:lnTo>
                  <a:lnTo>
                    <a:pt x="332" y="236"/>
                  </a:lnTo>
                  <a:lnTo>
                    <a:pt x="333" y="221"/>
                  </a:lnTo>
                  <a:lnTo>
                    <a:pt x="337" y="217"/>
                  </a:lnTo>
                  <a:lnTo>
                    <a:pt x="354" y="211"/>
                  </a:lnTo>
                  <a:lnTo>
                    <a:pt x="367" y="199"/>
                  </a:lnTo>
                  <a:lnTo>
                    <a:pt x="376" y="204"/>
                  </a:lnTo>
                  <a:lnTo>
                    <a:pt x="376" y="209"/>
                  </a:lnTo>
                  <a:lnTo>
                    <a:pt x="379" y="211"/>
                  </a:lnTo>
                  <a:lnTo>
                    <a:pt x="385" y="204"/>
                  </a:lnTo>
                  <a:lnTo>
                    <a:pt x="391" y="208"/>
                  </a:lnTo>
                  <a:lnTo>
                    <a:pt x="405" y="194"/>
                  </a:lnTo>
                  <a:lnTo>
                    <a:pt x="414" y="188"/>
                  </a:lnTo>
                  <a:lnTo>
                    <a:pt x="413" y="182"/>
                  </a:lnTo>
                  <a:lnTo>
                    <a:pt x="418" y="174"/>
                  </a:lnTo>
                  <a:lnTo>
                    <a:pt x="417" y="166"/>
                  </a:lnTo>
                  <a:lnTo>
                    <a:pt x="424" y="163"/>
                  </a:lnTo>
                  <a:lnTo>
                    <a:pt x="425" y="156"/>
                  </a:lnTo>
                  <a:lnTo>
                    <a:pt x="425" y="150"/>
                  </a:lnTo>
                  <a:lnTo>
                    <a:pt x="428" y="150"/>
                  </a:lnTo>
                  <a:lnTo>
                    <a:pt x="427" y="142"/>
                  </a:lnTo>
                  <a:lnTo>
                    <a:pt x="422" y="140"/>
                  </a:lnTo>
                  <a:lnTo>
                    <a:pt x="421" y="124"/>
                  </a:lnTo>
                  <a:lnTo>
                    <a:pt x="433" y="114"/>
                  </a:lnTo>
                  <a:lnTo>
                    <a:pt x="434" y="109"/>
                  </a:lnTo>
                  <a:lnTo>
                    <a:pt x="443" y="112"/>
                  </a:lnTo>
                  <a:lnTo>
                    <a:pt x="448" y="98"/>
                  </a:lnTo>
                  <a:lnTo>
                    <a:pt x="455" y="99"/>
                  </a:lnTo>
                  <a:lnTo>
                    <a:pt x="459" y="87"/>
                  </a:lnTo>
                  <a:lnTo>
                    <a:pt x="465" y="86"/>
                  </a:lnTo>
                  <a:lnTo>
                    <a:pt x="462" y="84"/>
                  </a:lnTo>
                  <a:lnTo>
                    <a:pt x="462" y="79"/>
                  </a:lnTo>
                  <a:lnTo>
                    <a:pt x="472" y="66"/>
                  </a:lnTo>
                  <a:lnTo>
                    <a:pt x="473" y="60"/>
                  </a:lnTo>
                  <a:lnTo>
                    <a:pt x="491" y="57"/>
                  </a:lnTo>
                  <a:lnTo>
                    <a:pt x="494" y="44"/>
                  </a:lnTo>
                  <a:lnTo>
                    <a:pt x="496" y="37"/>
                  </a:lnTo>
                  <a:lnTo>
                    <a:pt x="487" y="28"/>
                  </a:lnTo>
                  <a:lnTo>
                    <a:pt x="488" y="26"/>
                  </a:lnTo>
                  <a:lnTo>
                    <a:pt x="487" y="21"/>
                  </a:lnTo>
                  <a:lnTo>
                    <a:pt x="492" y="11"/>
                  </a:lnTo>
                  <a:lnTo>
                    <a:pt x="491" y="4"/>
                  </a:lnTo>
                  <a:lnTo>
                    <a:pt x="492" y="0"/>
                  </a:lnTo>
                  <a:lnTo>
                    <a:pt x="235" y="0"/>
                  </a:lnTo>
                  <a:lnTo>
                    <a:pt x="235" y="4"/>
                  </a:lnTo>
                  <a:lnTo>
                    <a:pt x="230" y="2"/>
                  </a:lnTo>
                  <a:lnTo>
                    <a:pt x="228" y="11"/>
                  </a:lnTo>
                  <a:lnTo>
                    <a:pt x="222" y="5"/>
                  </a:lnTo>
                  <a:lnTo>
                    <a:pt x="219" y="0"/>
                  </a:lnTo>
                  <a:lnTo>
                    <a:pt x="67" y="0"/>
                  </a:lnTo>
                  <a:lnTo>
                    <a:pt x="66" y="0"/>
                  </a:lnTo>
                  <a:lnTo>
                    <a:pt x="35" y="0"/>
                  </a:lnTo>
                  <a:lnTo>
                    <a:pt x="31" y="6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11" name="Freeform 224">
              <a:extLst>
                <a:ext uri="{FF2B5EF4-FFF2-40B4-BE49-F238E27FC236}">
                  <a16:creationId xmlns:a16="http://schemas.microsoft.com/office/drawing/2014/main" id="{7B371079-35B6-4793-E913-799BD098AAE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4483789" y="2002846"/>
              <a:ext cx="10446" cy="9145"/>
            </a:xfrm>
            <a:custGeom>
              <a:avLst/>
              <a:gdLst>
                <a:gd name="T0" fmla="*/ 0 w 19"/>
                <a:gd name="T1" fmla="*/ 0 h 22"/>
                <a:gd name="T2" fmla="*/ 0 w 19"/>
                <a:gd name="T3" fmla="*/ 0 h 22"/>
                <a:gd name="T4" fmla="*/ 0 w 19"/>
                <a:gd name="T5" fmla="*/ 0 h 22"/>
                <a:gd name="T6" fmla="*/ 0 w 19"/>
                <a:gd name="T7" fmla="*/ 0 h 22"/>
                <a:gd name="T8" fmla="*/ 0 w 19"/>
                <a:gd name="T9" fmla="*/ 0 h 22"/>
                <a:gd name="T10" fmla="*/ 0 w 19"/>
                <a:gd name="T11" fmla="*/ 0 h 22"/>
                <a:gd name="T12" fmla="*/ 0 w 19"/>
                <a:gd name="T13" fmla="*/ 0 h 22"/>
                <a:gd name="T14" fmla="*/ 0 w 19"/>
                <a:gd name="T15" fmla="*/ 0 h 22"/>
                <a:gd name="T16" fmla="*/ 0 w 19"/>
                <a:gd name="T17" fmla="*/ 0 h 22"/>
                <a:gd name="T18" fmla="*/ 0 w 19"/>
                <a:gd name="T19" fmla="*/ 0 h 22"/>
                <a:gd name="T20" fmla="*/ 0 w 19"/>
                <a:gd name="T21" fmla="*/ 0 h 2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9"/>
                <a:gd name="T34" fmla="*/ 0 h 22"/>
                <a:gd name="T35" fmla="*/ 19 w 19"/>
                <a:gd name="T36" fmla="*/ 22 h 2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9" h="22">
                  <a:moveTo>
                    <a:pt x="3" y="0"/>
                  </a:moveTo>
                  <a:lnTo>
                    <a:pt x="3" y="22"/>
                  </a:lnTo>
                  <a:lnTo>
                    <a:pt x="2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1" y="15"/>
                  </a:lnTo>
                  <a:lnTo>
                    <a:pt x="13" y="13"/>
                  </a:lnTo>
                  <a:lnTo>
                    <a:pt x="19" y="10"/>
                  </a:lnTo>
                  <a:lnTo>
                    <a:pt x="19" y="6"/>
                  </a:lnTo>
                  <a:lnTo>
                    <a:pt x="8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12" name="Freeform 227">
              <a:extLst>
                <a:ext uri="{FF2B5EF4-FFF2-40B4-BE49-F238E27FC236}">
                  <a16:creationId xmlns:a16="http://schemas.microsoft.com/office/drawing/2014/main" id="{158FEDD7-C490-C2B5-C0A8-04AA0B7A417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4485281" y="1993701"/>
              <a:ext cx="23877" cy="9145"/>
            </a:xfrm>
            <a:custGeom>
              <a:avLst/>
              <a:gdLst>
                <a:gd name="T0" fmla="*/ 0 w 44"/>
                <a:gd name="T1" fmla="*/ 0 h 15"/>
                <a:gd name="T2" fmla="*/ 0 w 44"/>
                <a:gd name="T3" fmla="*/ 0 h 15"/>
                <a:gd name="T4" fmla="*/ 0 w 44"/>
                <a:gd name="T5" fmla="*/ 0 h 15"/>
                <a:gd name="T6" fmla="*/ 0 w 44"/>
                <a:gd name="T7" fmla="*/ 0 h 15"/>
                <a:gd name="T8" fmla="*/ 0 w 44"/>
                <a:gd name="T9" fmla="*/ 0 h 15"/>
                <a:gd name="T10" fmla="*/ 0 w 44"/>
                <a:gd name="T11" fmla="*/ 0 h 15"/>
                <a:gd name="T12" fmla="*/ 0 w 44"/>
                <a:gd name="T13" fmla="*/ 0 h 15"/>
                <a:gd name="T14" fmla="*/ 0 w 44"/>
                <a:gd name="T15" fmla="*/ 0 h 15"/>
                <a:gd name="T16" fmla="*/ 0 w 44"/>
                <a:gd name="T17" fmla="*/ 0 h 15"/>
                <a:gd name="T18" fmla="*/ 0 w 44"/>
                <a:gd name="T19" fmla="*/ 0 h 15"/>
                <a:gd name="T20" fmla="*/ 0 w 44"/>
                <a:gd name="T21" fmla="*/ 0 h 15"/>
                <a:gd name="T22" fmla="*/ 0 w 44"/>
                <a:gd name="T23" fmla="*/ 0 h 15"/>
                <a:gd name="T24" fmla="*/ 0 w 44"/>
                <a:gd name="T25" fmla="*/ 0 h 1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4"/>
                <a:gd name="T40" fmla="*/ 0 h 15"/>
                <a:gd name="T41" fmla="*/ 44 w 44"/>
                <a:gd name="T42" fmla="*/ 15 h 1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4" h="15">
                  <a:moveTo>
                    <a:pt x="44" y="4"/>
                  </a:moveTo>
                  <a:lnTo>
                    <a:pt x="41" y="6"/>
                  </a:lnTo>
                  <a:lnTo>
                    <a:pt x="14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1" y="9"/>
                  </a:lnTo>
                  <a:lnTo>
                    <a:pt x="6" y="15"/>
                  </a:lnTo>
                  <a:lnTo>
                    <a:pt x="15" y="15"/>
                  </a:lnTo>
                  <a:lnTo>
                    <a:pt x="25" y="15"/>
                  </a:lnTo>
                  <a:lnTo>
                    <a:pt x="25" y="10"/>
                  </a:lnTo>
                  <a:lnTo>
                    <a:pt x="27" y="6"/>
                  </a:lnTo>
                  <a:lnTo>
                    <a:pt x="41" y="7"/>
                  </a:lnTo>
                  <a:lnTo>
                    <a:pt x="44" y="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13" name="Freeform 230">
              <a:extLst>
                <a:ext uri="{FF2B5EF4-FFF2-40B4-BE49-F238E27FC236}">
                  <a16:creationId xmlns:a16="http://schemas.microsoft.com/office/drawing/2014/main" id="{CA5CE919-3781-5635-EF54-91C30F5A8A7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754034" y="414612"/>
              <a:ext cx="88049" cy="35057"/>
            </a:xfrm>
            <a:custGeom>
              <a:avLst/>
              <a:gdLst>
                <a:gd name="T0" fmla="*/ 0 w 167"/>
                <a:gd name="T1" fmla="*/ 0 h 61"/>
                <a:gd name="T2" fmla="*/ 0 w 167"/>
                <a:gd name="T3" fmla="*/ 0 h 61"/>
                <a:gd name="T4" fmla="*/ 0 w 167"/>
                <a:gd name="T5" fmla="*/ 0 h 61"/>
                <a:gd name="T6" fmla="*/ 0 w 167"/>
                <a:gd name="T7" fmla="*/ 0 h 61"/>
                <a:gd name="T8" fmla="*/ 2147483647 w 167"/>
                <a:gd name="T9" fmla="*/ 0 h 61"/>
                <a:gd name="T10" fmla="*/ 2147483647 w 167"/>
                <a:gd name="T11" fmla="*/ 0 h 61"/>
                <a:gd name="T12" fmla="*/ 2147483647 w 167"/>
                <a:gd name="T13" fmla="*/ 0 h 61"/>
                <a:gd name="T14" fmla="*/ 2147483647 w 167"/>
                <a:gd name="T15" fmla="*/ 0 h 61"/>
                <a:gd name="T16" fmla="*/ 2147483647 w 167"/>
                <a:gd name="T17" fmla="*/ 0 h 61"/>
                <a:gd name="T18" fmla="*/ 2147483647 w 167"/>
                <a:gd name="T19" fmla="*/ 0 h 61"/>
                <a:gd name="T20" fmla="*/ 2147483647 w 167"/>
                <a:gd name="T21" fmla="*/ 0 h 61"/>
                <a:gd name="T22" fmla="*/ 2147483647 w 167"/>
                <a:gd name="T23" fmla="*/ 0 h 61"/>
                <a:gd name="T24" fmla="*/ 2147483647 w 167"/>
                <a:gd name="T25" fmla="*/ 0 h 61"/>
                <a:gd name="T26" fmla="*/ 0 w 167"/>
                <a:gd name="T27" fmla="*/ 0 h 61"/>
                <a:gd name="T28" fmla="*/ 0 w 167"/>
                <a:gd name="T29" fmla="*/ 0 h 61"/>
                <a:gd name="T30" fmla="*/ 0 w 167"/>
                <a:gd name="T31" fmla="*/ 0 h 6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67"/>
                <a:gd name="T49" fmla="*/ 0 h 61"/>
                <a:gd name="T50" fmla="*/ 167 w 167"/>
                <a:gd name="T51" fmla="*/ 61 h 6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67" h="61">
                  <a:moveTo>
                    <a:pt x="0" y="35"/>
                  </a:moveTo>
                  <a:lnTo>
                    <a:pt x="0" y="30"/>
                  </a:lnTo>
                  <a:lnTo>
                    <a:pt x="17" y="20"/>
                  </a:lnTo>
                  <a:lnTo>
                    <a:pt x="31" y="5"/>
                  </a:lnTo>
                  <a:lnTo>
                    <a:pt x="94" y="0"/>
                  </a:lnTo>
                  <a:lnTo>
                    <a:pt x="119" y="6"/>
                  </a:lnTo>
                  <a:lnTo>
                    <a:pt x="131" y="14"/>
                  </a:lnTo>
                  <a:lnTo>
                    <a:pt x="137" y="25"/>
                  </a:lnTo>
                  <a:lnTo>
                    <a:pt x="165" y="38"/>
                  </a:lnTo>
                  <a:lnTo>
                    <a:pt x="167" y="44"/>
                  </a:lnTo>
                  <a:lnTo>
                    <a:pt x="153" y="55"/>
                  </a:lnTo>
                  <a:lnTo>
                    <a:pt x="124" y="61"/>
                  </a:lnTo>
                  <a:lnTo>
                    <a:pt x="67" y="43"/>
                  </a:lnTo>
                  <a:lnTo>
                    <a:pt x="47" y="48"/>
                  </a:lnTo>
                  <a:lnTo>
                    <a:pt x="30" y="46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14" name="Freeform 232">
              <a:extLst>
                <a:ext uri="{FF2B5EF4-FFF2-40B4-BE49-F238E27FC236}">
                  <a16:creationId xmlns:a16="http://schemas.microsoft.com/office/drawing/2014/main" id="{90973DD5-2569-0B21-5220-2FB8E346E9A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619723" y="6238647"/>
              <a:ext cx="61186" cy="76211"/>
            </a:xfrm>
            <a:custGeom>
              <a:avLst/>
              <a:gdLst>
                <a:gd name="T0" fmla="*/ 0 w 115"/>
                <a:gd name="T1" fmla="*/ 0 h 134"/>
                <a:gd name="T2" fmla="*/ 0 w 115"/>
                <a:gd name="T3" fmla="*/ 0 h 134"/>
                <a:gd name="T4" fmla="*/ 0 w 115"/>
                <a:gd name="T5" fmla="*/ 0 h 134"/>
                <a:gd name="T6" fmla="*/ 0 w 115"/>
                <a:gd name="T7" fmla="*/ 0 h 134"/>
                <a:gd name="T8" fmla="*/ 0 w 115"/>
                <a:gd name="T9" fmla="*/ 0 h 134"/>
                <a:gd name="T10" fmla="*/ 0 w 115"/>
                <a:gd name="T11" fmla="*/ 0 h 134"/>
                <a:gd name="T12" fmla="*/ 0 w 115"/>
                <a:gd name="T13" fmla="*/ 0 h 134"/>
                <a:gd name="T14" fmla="*/ 0 w 115"/>
                <a:gd name="T15" fmla="*/ 0 h 134"/>
                <a:gd name="T16" fmla="*/ 0 w 115"/>
                <a:gd name="T17" fmla="*/ 0 h 134"/>
                <a:gd name="T18" fmla="*/ 0 w 115"/>
                <a:gd name="T19" fmla="*/ 0 h 134"/>
                <a:gd name="T20" fmla="*/ 0 w 115"/>
                <a:gd name="T21" fmla="*/ 0 h 134"/>
                <a:gd name="T22" fmla="*/ 0 w 115"/>
                <a:gd name="T23" fmla="*/ 0 h 134"/>
                <a:gd name="T24" fmla="*/ 0 w 115"/>
                <a:gd name="T25" fmla="*/ 0 h 134"/>
                <a:gd name="T26" fmla="*/ 0 w 115"/>
                <a:gd name="T27" fmla="*/ 0 h 134"/>
                <a:gd name="T28" fmla="*/ 0 w 115"/>
                <a:gd name="T29" fmla="*/ 0 h 134"/>
                <a:gd name="T30" fmla="*/ 0 w 115"/>
                <a:gd name="T31" fmla="*/ 0 h 134"/>
                <a:gd name="T32" fmla="*/ 0 w 115"/>
                <a:gd name="T33" fmla="*/ 0 h 134"/>
                <a:gd name="T34" fmla="*/ 0 w 115"/>
                <a:gd name="T35" fmla="*/ 0 h 134"/>
                <a:gd name="T36" fmla="*/ 0 w 115"/>
                <a:gd name="T37" fmla="*/ 0 h 134"/>
                <a:gd name="T38" fmla="*/ 0 w 115"/>
                <a:gd name="T39" fmla="*/ 0 h 134"/>
                <a:gd name="T40" fmla="*/ 0 w 115"/>
                <a:gd name="T41" fmla="*/ 0 h 134"/>
                <a:gd name="T42" fmla="*/ 0 w 115"/>
                <a:gd name="T43" fmla="*/ 0 h 134"/>
                <a:gd name="T44" fmla="*/ 0 w 115"/>
                <a:gd name="T45" fmla="*/ 0 h 134"/>
                <a:gd name="T46" fmla="*/ 0 w 115"/>
                <a:gd name="T47" fmla="*/ 0 h 134"/>
                <a:gd name="T48" fmla="*/ 0 w 115"/>
                <a:gd name="T49" fmla="*/ 0 h 134"/>
                <a:gd name="T50" fmla="*/ 0 w 115"/>
                <a:gd name="T51" fmla="*/ 0 h 134"/>
                <a:gd name="T52" fmla="*/ 0 w 115"/>
                <a:gd name="T53" fmla="*/ 0 h 134"/>
                <a:gd name="T54" fmla="*/ 0 w 115"/>
                <a:gd name="T55" fmla="*/ 0 h 134"/>
                <a:gd name="T56" fmla="*/ 0 w 115"/>
                <a:gd name="T57" fmla="*/ 0 h 134"/>
                <a:gd name="T58" fmla="*/ 0 w 115"/>
                <a:gd name="T59" fmla="*/ 0 h 134"/>
                <a:gd name="T60" fmla="*/ 0 w 115"/>
                <a:gd name="T61" fmla="*/ 0 h 134"/>
                <a:gd name="T62" fmla="*/ 0 w 115"/>
                <a:gd name="T63" fmla="*/ 0 h 134"/>
                <a:gd name="T64" fmla="*/ 0 w 115"/>
                <a:gd name="T65" fmla="*/ 0 h 13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15"/>
                <a:gd name="T100" fmla="*/ 0 h 134"/>
                <a:gd name="T101" fmla="*/ 115 w 115"/>
                <a:gd name="T102" fmla="*/ 134 h 13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15" h="134">
                  <a:moveTo>
                    <a:pt x="2" y="17"/>
                  </a:moveTo>
                  <a:lnTo>
                    <a:pt x="4" y="17"/>
                  </a:lnTo>
                  <a:lnTo>
                    <a:pt x="5" y="13"/>
                  </a:lnTo>
                  <a:lnTo>
                    <a:pt x="7" y="12"/>
                  </a:lnTo>
                  <a:lnTo>
                    <a:pt x="12" y="16"/>
                  </a:lnTo>
                  <a:lnTo>
                    <a:pt x="17" y="17"/>
                  </a:lnTo>
                  <a:lnTo>
                    <a:pt x="22" y="12"/>
                  </a:lnTo>
                  <a:lnTo>
                    <a:pt x="28" y="10"/>
                  </a:lnTo>
                  <a:lnTo>
                    <a:pt x="32" y="13"/>
                  </a:lnTo>
                  <a:lnTo>
                    <a:pt x="33" y="23"/>
                  </a:lnTo>
                  <a:lnTo>
                    <a:pt x="36" y="27"/>
                  </a:lnTo>
                  <a:lnTo>
                    <a:pt x="41" y="23"/>
                  </a:lnTo>
                  <a:lnTo>
                    <a:pt x="44" y="11"/>
                  </a:lnTo>
                  <a:lnTo>
                    <a:pt x="41" y="7"/>
                  </a:lnTo>
                  <a:lnTo>
                    <a:pt x="41" y="0"/>
                  </a:lnTo>
                  <a:lnTo>
                    <a:pt x="43" y="1"/>
                  </a:lnTo>
                  <a:lnTo>
                    <a:pt x="50" y="6"/>
                  </a:lnTo>
                  <a:lnTo>
                    <a:pt x="53" y="15"/>
                  </a:lnTo>
                  <a:lnTo>
                    <a:pt x="54" y="27"/>
                  </a:lnTo>
                  <a:lnTo>
                    <a:pt x="43" y="39"/>
                  </a:lnTo>
                  <a:lnTo>
                    <a:pt x="37" y="55"/>
                  </a:lnTo>
                  <a:lnTo>
                    <a:pt x="45" y="60"/>
                  </a:lnTo>
                  <a:lnTo>
                    <a:pt x="52" y="66"/>
                  </a:lnTo>
                  <a:lnTo>
                    <a:pt x="53" y="72"/>
                  </a:lnTo>
                  <a:lnTo>
                    <a:pt x="63" y="80"/>
                  </a:lnTo>
                  <a:lnTo>
                    <a:pt x="80" y="61"/>
                  </a:lnTo>
                  <a:lnTo>
                    <a:pt x="87" y="61"/>
                  </a:lnTo>
                  <a:lnTo>
                    <a:pt x="100" y="64"/>
                  </a:lnTo>
                  <a:lnTo>
                    <a:pt x="112" y="63"/>
                  </a:lnTo>
                  <a:lnTo>
                    <a:pt x="115" y="70"/>
                  </a:lnTo>
                  <a:lnTo>
                    <a:pt x="115" y="79"/>
                  </a:lnTo>
                  <a:lnTo>
                    <a:pt x="92" y="97"/>
                  </a:lnTo>
                  <a:lnTo>
                    <a:pt x="85" y="102"/>
                  </a:lnTo>
                  <a:lnTo>
                    <a:pt x="77" y="99"/>
                  </a:lnTo>
                  <a:lnTo>
                    <a:pt x="74" y="101"/>
                  </a:lnTo>
                  <a:lnTo>
                    <a:pt x="74" y="107"/>
                  </a:lnTo>
                  <a:lnTo>
                    <a:pt x="71" y="109"/>
                  </a:lnTo>
                  <a:lnTo>
                    <a:pt x="66" y="107"/>
                  </a:lnTo>
                  <a:lnTo>
                    <a:pt x="60" y="110"/>
                  </a:lnTo>
                  <a:lnTo>
                    <a:pt x="63" y="117"/>
                  </a:lnTo>
                  <a:lnTo>
                    <a:pt x="59" y="120"/>
                  </a:lnTo>
                  <a:lnTo>
                    <a:pt x="59" y="128"/>
                  </a:lnTo>
                  <a:lnTo>
                    <a:pt x="61" y="134"/>
                  </a:lnTo>
                  <a:lnTo>
                    <a:pt x="53" y="131"/>
                  </a:lnTo>
                  <a:lnTo>
                    <a:pt x="28" y="108"/>
                  </a:lnTo>
                  <a:lnTo>
                    <a:pt x="26" y="106"/>
                  </a:lnTo>
                  <a:lnTo>
                    <a:pt x="34" y="104"/>
                  </a:lnTo>
                  <a:lnTo>
                    <a:pt x="43" y="108"/>
                  </a:lnTo>
                  <a:lnTo>
                    <a:pt x="49" y="106"/>
                  </a:lnTo>
                  <a:lnTo>
                    <a:pt x="49" y="99"/>
                  </a:lnTo>
                  <a:lnTo>
                    <a:pt x="44" y="95"/>
                  </a:lnTo>
                  <a:lnTo>
                    <a:pt x="39" y="83"/>
                  </a:lnTo>
                  <a:lnTo>
                    <a:pt x="37" y="88"/>
                  </a:lnTo>
                  <a:lnTo>
                    <a:pt x="33" y="93"/>
                  </a:lnTo>
                  <a:lnTo>
                    <a:pt x="17" y="92"/>
                  </a:lnTo>
                  <a:lnTo>
                    <a:pt x="20" y="86"/>
                  </a:lnTo>
                  <a:lnTo>
                    <a:pt x="20" y="81"/>
                  </a:lnTo>
                  <a:lnTo>
                    <a:pt x="10" y="77"/>
                  </a:lnTo>
                  <a:lnTo>
                    <a:pt x="7" y="74"/>
                  </a:lnTo>
                  <a:lnTo>
                    <a:pt x="7" y="66"/>
                  </a:lnTo>
                  <a:lnTo>
                    <a:pt x="6" y="65"/>
                  </a:lnTo>
                  <a:lnTo>
                    <a:pt x="0" y="66"/>
                  </a:lnTo>
                  <a:lnTo>
                    <a:pt x="1" y="60"/>
                  </a:lnTo>
                  <a:lnTo>
                    <a:pt x="1" y="50"/>
                  </a:lnTo>
                  <a:lnTo>
                    <a:pt x="2" y="40"/>
                  </a:lnTo>
                  <a:lnTo>
                    <a:pt x="1" y="31"/>
                  </a:lnTo>
                  <a:lnTo>
                    <a:pt x="2" y="1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15" name="Freeform 233">
              <a:extLst>
                <a:ext uri="{FF2B5EF4-FFF2-40B4-BE49-F238E27FC236}">
                  <a16:creationId xmlns:a16="http://schemas.microsoft.com/office/drawing/2014/main" id="{98C44210-F8DF-3FDF-8707-CAE3930DDA3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625692" y="3959942"/>
              <a:ext cx="395471" cy="359715"/>
            </a:xfrm>
            <a:custGeom>
              <a:avLst/>
              <a:gdLst>
                <a:gd name="T0" fmla="*/ 0 w 743"/>
                <a:gd name="T1" fmla="*/ 0 h 631"/>
                <a:gd name="T2" fmla="*/ 0 w 743"/>
                <a:gd name="T3" fmla="*/ 0 h 631"/>
                <a:gd name="T4" fmla="*/ 0 w 743"/>
                <a:gd name="T5" fmla="*/ 0 h 631"/>
                <a:gd name="T6" fmla="*/ 0 w 743"/>
                <a:gd name="T7" fmla="*/ 0 h 631"/>
                <a:gd name="T8" fmla="*/ 0 w 743"/>
                <a:gd name="T9" fmla="*/ 0 h 631"/>
                <a:gd name="T10" fmla="*/ 0 w 743"/>
                <a:gd name="T11" fmla="*/ 0 h 631"/>
                <a:gd name="T12" fmla="*/ 0 w 743"/>
                <a:gd name="T13" fmla="*/ 0 h 631"/>
                <a:gd name="T14" fmla="*/ 0 w 743"/>
                <a:gd name="T15" fmla="*/ 0 h 631"/>
                <a:gd name="T16" fmla="*/ 0 w 743"/>
                <a:gd name="T17" fmla="*/ 0 h 631"/>
                <a:gd name="T18" fmla="*/ 0 w 743"/>
                <a:gd name="T19" fmla="*/ 0 h 631"/>
                <a:gd name="T20" fmla="*/ 0 w 743"/>
                <a:gd name="T21" fmla="*/ 0 h 631"/>
                <a:gd name="T22" fmla="*/ 2147483647 w 743"/>
                <a:gd name="T23" fmla="*/ 0 h 631"/>
                <a:gd name="T24" fmla="*/ 2147483647 w 743"/>
                <a:gd name="T25" fmla="*/ 0 h 631"/>
                <a:gd name="T26" fmla="*/ 2147483647 w 743"/>
                <a:gd name="T27" fmla="*/ 0 h 631"/>
                <a:gd name="T28" fmla="*/ 2147483647 w 743"/>
                <a:gd name="T29" fmla="*/ 0 h 631"/>
                <a:gd name="T30" fmla="*/ 2147483647 w 743"/>
                <a:gd name="T31" fmla="*/ 0 h 631"/>
                <a:gd name="T32" fmla="*/ 2147483647 w 743"/>
                <a:gd name="T33" fmla="*/ 0 h 631"/>
                <a:gd name="T34" fmla="*/ 2147483647 w 743"/>
                <a:gd name="T35" fmla="*/ 0 h 631"/>
                <a:gd name="T36" fmla="*/ 2147483647 w 743"/>
                <a:gd name="T37" fmla="*/ 0 h 631"/>
                <a:gd name="T38" fmla="*/ 2147483647 w 743"/>
                <a:gd name="T39" fmla="*/ 0 h 631"/>
                <a:gd name="T40" fmla="*/ 2147483647 w 743"/>
                <a:gd name="T41" fmla="*/ 0 h 631"/>
                <a:gd name="T42" fmla="*/ 2147483647 w 743"/>
                <a:gd name="T43" fmla="*/ 0 h 631"/>
                <a:gd name="T44" fmla="*/ 2147483647 w 743"/>
                <a:gd name="T45" fmla="*/ 0 h 631"/>
                <a:gd name="T46" fmla="*/ 2147483647 w 743"/>
                <a:gd name="T47" fmla="*/ 0 h 631"/>
                <a:gd name="T48" fmla="*/ 2147483647 w 743"/>
                <a:gd name="T49" fmla="*/ 0 h 631"/>
                <a:gd name="T50" fmla="*/ 2147483647 w 743"/>
                <a:gd name="T51" fmla="*/ 2147483647 h 631"/>
                <a:gd name="T52" fmla="*/ 2147483647 w 743"/>
                <a:gd name="T53" fmla="*/ 2147483647 h 631"/>
                <a:gd name="T54" fmla="*/ 2147483647 w 743"/>
                <a:gd name="T55" fmla="*/ 2147483647 h 631"/>
                <a:gd name="T56" fmla="*/ 2147483647 w 743"/>
                <a:gd name="T57" fmla="*/ 2147483647 h 631"/>
                <a:gd name="T58" fmla="*/ 2147483647 w 743"/>
                <a:gd name="T59" fmla="*/ 2147483647 h 631"/>
                <a:gd name="T60" fmla="*/ 2147483647 w 743"/>
                <a:gd name="T61" fmla="*/ 2147483647 h 631"/>
                <a:gd name="T62" fmla="*/ 2147483647 w 743"/>
                <a:gd name="T63" fmla="*/ 2147483647 h 631"/>
                <a:gd name="T64" fmla="*/ 2147483647 w 743"/>
                <a:gd name="T65" fmla="*/ 2147483647 h 631"/>
                <a:gd name="T66" fmla="*/ 2147483647 w 743"/>
                <a:gd name="T67" fmla="*/ 2147483647 h 631"/>
                <a:gd name="T68" fmla="*/ 2147483647 w 743"/>
                <a:gd name="T69" fmla="*/ 2147483647 h 631"/>
                <a:gd name="T70" fmla="*/ 2147483647 w 743"/>
                <a:gd name="T71" fmla="*/ 2147483647 h 631"/>
                <a:gd name="T72" fmla="*/ 2147483647 w 743"/>
                <a:gd name="T73" fmla="*/ 2147483647 h 631"/>
                <a:gd name="T74" fmla="*/ 2147483647 w 743"/>
                <a:gd name="T75" fmla="*/ 2147483647 h 631"/>
                <a:gd name="T76" fmla="*/ 2147483647 w 743"/>
                <a:gd name="T77" fmla="*/ 2147483647 h 631"/>
                <a:gd name="T78" fmla="*/ 2147483647 w 743"/>
                <a:gd name="T79" fmla="*/ 2147483647 h 631"/>
                <a:gd name="T80" fmla="*/ 2147483647 w 743"/>
                <a:gd name="T81" fmla="*/ 2147483647 h 631"/>
                <a:gd name="T82" fmla="*/ 2147483647 w 743"/>
                <a:gd name="T83" fmla="*/ 2147483647 h 631"/>
                <a:gd name="T84" fmla="*/ 0 w 743"/>
                <a:gd name="T85" fmla="*/ 2147483647 h 631"/>
                <a:gd name="T86" fmla="*/ 2147483647 w 743"/>
                <a:gd name="T87" fmla="*/ 2147483647 h 631"/>
                <a:gd name="T88" fmla="*/ 2147483647 w 743"/>
                <a:gd name="T89" fmla="*/ 2147483647 h 631"/>
                <a:gd name="T90" fmla="*/ 0 w 743"/>
                <a:gd name="T91" fmla="*/ 2147483647 h 631"/>
                <a:gd name="T92" fmla="*/ 0 w 743"/>
                <a:gd name="T93" fmla="*/ 2147483647 h 631"/>
                <a:gd name="T94" fmla="*/ 0 w 743"/>
                <a:gd name="T95" fmla="*/ 0 h 631"/>
                <a:gd name="T96" fmla="*/ 0 w 743"/>
                <a:gd name="T97" fmla="*/ 0 h 631"/>
                <a:gd name="T98" fmla="*/ 0 w 743"/>
                <a:gd name="T99" fmla="*/ 0 h 631"/>
                <a:gd name="T100" fmla="*/ 0 w 743"/>
                <a:gd name="T101" fmla="*/ 0 h 631"/>
                <a:gd name="T102" fmla="*/ 0 w 743"/>
                <a:gd name="T103" fmla="*/ 0 h 631"/>
                <a:gd name="T104" fmla="*/ 0 w 743"/>
                <a:gd name="T105" fmla="*/ 0 h 63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43"/>
                <a:gd name="T160" fmla="*/ 0 h 631"/>
                <a:gd name="T161" fmla="*/ 743 w 743"/>
                <a:gd name="T162" fmla="*/ 631 h 63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43" h="631">
                  <a:moveTo>
                    <a:pt x="109" y="21"/>
                  </a:moveTo>
                  <a:lnTo>
                    <a:pt x="99" y="29"/>
                  </a:lnTo>
                  <a:lnTo>
                    <a:pt x="88" y="31"/>
                  </a:lnTo>
                  <a:lnTo>
                    <a:pt x="82" y="35"/>
                  </a:lnTo>
                  <a:lnTo>
                    <a:pt x="82" y="39"/>
                  </a:lnTo>
                  <a:lnTo>
                    <a:pt x="84" y="47"/>
                  </a:lnTo>
                  <a:lnTo>
                    <a:pt x="87" y="56"/>
                  </a:lnTo>
                  <a:lnTo>
                    <a:pt x="94" y="66"/>
                  </a:lnTo>
                  <a:lnTo>
                    <a:pt x="95" y="69"/>
                  </a:lnTo>
                  <a:lnTo>
                    <a:pt x="93" y="72"/>
                  </a:lnTo>
                  <a:lnTo>
                    <a:pt x="93" y="73"/>
                  </a:lnTo>
                  <a:lnTo>
                    <a:pt x="97" y="77"/>
                  </a:lnTo>
                  <a:lnTo>
                    <a:pt x="97" y="83"/>
                  </a:lnTo>
                  <a:lnTo>
                    <a:pt x="93" y="95"/>
                  </a:lnTo>
                  <a:lnTo>
                    <a:pt x="78" y="109"/>
                  </a:lnTo>
                  <a:lnTo>
                    <a:pt x="76" y="111"/>
                  </a:lnTo>
                  <a:lnTo>
                    <a:pt x="73" y="118"/>
                  </a:lnTo>
                  <a:lnTo>
                    <a:pt x="73" y="133"/>
                  </a:lnTo>
                  <a:lnTo>
                    <a:pt x="74" y="140"/>
                  </a:lnTo>
                  <a:lnTo>
                    <a:pt x="78" y="145"/>
                  </a:lnTo>
                  <a:lnTo>
                    <a:pt x="87" y="152"/>
                  </a:lnTo>
                  <a:lnTo>
                    <a:pt x="93" y="165"/>
                  </a:lnTo>
                  <a:lnTo>
                    <a:pt x="95" y="174"/>
                  </a:lnTo>
                  <a:lnTo>
                    <a:pt x="98" y="176"/>
                  </a:lnTo>
                  <a:lnTo>
                    <a:pt x="105" y="176"/>
                  </a:lnTo>
                  <a:lnTo>
                    <a:pt x="113" y="174"/>
                  </a:lnTo>
                  <a:lnTo>
                    <a:pt x="119" y="169"/>
                  </a:lnTo>
                  <a:lnTo>
                    <a:pt x="125" y="161"/>
                  </a:lnTo>
                  <a:lnTo>
                    <a:pt x="126" y="159"/>
                  </a:lnTo>
                  <a:lnTo>
                    <a:pt x="126" y="148"/>
                  </a:lnTo>
                  <a:lnTo>
                    <a:pt x="125" y="134"/>
                  </a:lnTo>
                  <a:lnTo>
                    <a:pt x="115" y="117"/>
                  </a:lnTo>
                  <a:lnTo>
                    <a:pt x="109" y="110"/>
                  </a:lnTo>
                  <a:lnTo>
                    <a:pt x="104" y="101"/>
                  </a:lnTo>
                  <a:lnTo>
                    <a:pt x="104" y="77"/>
                  </a:lnTo>
                  <a:lnTo>
                    <a:pt x="108" y="74"/>
                  </a:lnTo>
                  <a:lnTo>
                    <a:pt x="110" y="70"/>
                  </a:lnTo>
                  <a:lnTo>
                    <a:pt x="111" y="68"/>
                  </a:lnTo>
                  <a:lnTo>
                    <a:pt x="120" y="66"/>
                  </a:lnTo>
                  <a:lnTo>
                    <a:pt x="140" y="53"/>
                  </a:lnTo>
                  <a:lnTo>
                    <a:pt x="173" y="43"/>
                  </a:lnTo>
                  <a:lnTo>
                    <a:pt x="196" y="42"/>
                  </a:lnTo>
                  <a:lnTo>
                    <a:pt x="196" y="36"/>
                  </a:lnTo>
                  <a:lnTo>
                    <a:pt x="195" y="32"/>
                  </a:lnTo>
                  <a:lnTo>
                    <a:pt x="190" y="30"/>
                  </a:lnTo>
                  <a:lnTo>
                    <a:pt x="174" y="29"/>
                  </a:lnTo>
                  <a:lnTo>
                    <a:pt x="172" y="27"/>
                  </a:lnTo>
                  <a:lnTo>
                    <a:pt x="169" y="27"/>
                  </a:lnTo>
                  <a:lnTo>
                    <a:pt x="168" y="25"/>
                  </a:lnTo>
                  <a:lnTo>
                    <a:pt x="169" y="18"/>
                  </a:lnTo>
                  <a:lnTo>
                    <a:pt x="175" y="5"/>
                  </a:lnTo>
                  <a:lnTo>
                    <a:pt x="181" y="0"/>
                  </a:lnTo>
                  <a:lnTo>
                    <a:pt x="186" y="0"/>
                  </a:lnTo>
                  <a:lnTo>
                    <a:pt x="191" y="2"/>
                  </a:lnTo>
                  <a:lnTo>
                    <a:pt x="192" y="4"/>
                  </a:lnTo>
                  <a:lnTo>
                    <a:pt x="201" y="29"/>
                  </a:lnTo>
                  <a:lnTo>
                    <a:pt x="207" y="40"/>
                  </a:lnTo>
                  <a:lnTo>
                    <a:pt x="223" y="42"/>
                  </a:lnTo>
                  <a:lnTo>
                    <a:pt x="243" y="46"/>
                  </a:lnTo>
                  <a:lnTo>
                    <a:pt x="246" y="46"/>
                  </a:lnTo>
                  <a:lnTo>
                    <a:pt x="260" y="50"/>
                  </a:lnTo>
                  <a:lnTo>
                    <a:pt x="271" y="56"/>
                  </a:lnTo>
                  <a:lnTo>
                    <a:pt x="276" y="61"/>
                  </a:lnTo>
                  <a:lnTo>
                    <a:pt x="280" y="77"/>
                  </a:lnTo>
                  <a:lnTo>
                    <a:pt x="285" y="88"/>
                  </a:lnTo>
                  <a:lnTo>
                    <a:pt x="286" y="90"/>
                  </a:lnTo>
                  <a:lnTo>
                    <a:pt x="292" y="95"/>
                  </a:lnTo>
                  <a:lnTo>
                    <a:pt x="303" y="95"/>
                  </a:lnTo>
                  <a:lnTo>
                    <a:pt x="329" y="90"/>
                  </a:lnTo>
                  <a:lnTo>
                    <a:pt x="340" y="91"/>
                  </a:lnTo>
                  <a:lnTo>
                    <a:pt x="366" y="88"/>
                  </a:lnTo>
                  <a:lnTo>
                    <a:pt x="395" y="88"/>
                  </a:lnTo>
                  <a:lnTo>
                    <a:pt x="398" y="89"/>
                  </a:lnTo>
                  <a:lnTo>
                    <a:pt x="401" y="91"/>
                  </a:lnTo>
                  <a:lnTo>
                    <a:pt x="405" y="97"/>
                  </a:lnTo>
                  <a:lnTo>
                    <a:pt x="405" y="101"/>
                  </a:lnTo>
                  <a:lnTo>
                    <a:pt x="411" y="106"/>
                  </a:lnTo>
                  <a:lnTo>
                    <a:pt x="422" y="112"/>
                  </a:lnTo>
                  <a:lnTo>
                    <a:pt x="432" y="115"/>
                  </a:lnTo>
                  <a:lnTo>
                    <a:pt x="450" y="115"/>
                  </a:lnTo>
                  <a:lnTo>
                    <a:pt x="476" y="110"/>
                  </a:lnTo>
                  <a:lnTo>
                    <a:pt x="484" y="106"/>
                  </a:lnTo>
                  <a:lnTo>
                    <a:pt x="495" y="99"/>
                  </a:lnTo>
                  <a:lnTo>
                    <a:pt x="512" y="99"/>
                  </a:lnTo>
                  <a:lnTo>
                    <a:pt x="523" y="96"/>
                  </a:lnTo>
                  <a:lnTo>
                    <a:pt x="527" y="94"/>
                  </a:lnTo>
                  <a:lnTo>
                    <a:pt x="525" y="91"/>
                  </a:lnTo>
                  <a:lnTo>
                    <a:pt x="506" y="90"/>
                  </a:lnTo>
                  <a:lnTo>
                    <a:pt x="499" y="88"/>
                  </a:lnTo>
                  <a:lnTo>
                    <a:pt x="506" y="84"/>
                  </a:lnTo>
                  <a:lnTo>
                    <a:pt x="520" y="83"/>
                  </a:lnTo>
                  <a:lnTo>
                    <a:pt x="608" y="83"/>
                  </a:lnTo>
                  <a:lnTo>
                    <a:pt x="620" y="86"/>
                  </a:lnTo>
                  <a:lnTo>
                    <a:pt x="621" y="86"/>
                  </a:lnTo>
                  <a:lnTo>
                    <a:pt x="619" y="88"/>
                  </a:lnTo>
                  <a:lnTo>
                    <a:pt x="606" y="90"/>
                  </a:lnTo>
                  <a:lnTo>
                    <a:pt x="605" y="93"/>
                  </a:lnTo>
                  <a:lnTo>
                    <a:pt x="600" y="95"/>
                  </a:lnTo>
                  <a:lnTo>
                    <a:pt x="587" y="93"/>
                  </a:lnTo>
                  <a:lnTo>
                    <a:pt x="573" y="95"/>
                  </a:lnTo>
                  <a:lnTo>
                    <a:pt x="570" y="99"/>
                  </a:lnTo>
                  <a:lnTo>
                    <a:pt x="571" y="102"/>
                  </a:lnTo>
                  <a:lnTo>
                    <a:pt x="579" y="106"/>
                  </a:lnTo>
                  <a:lnTo>
                    <a:pt x="583" y="107"/>
                  </a:lnTo>
                  <a:lnTo>
                    <a:pt x="590" y="111"/>
                  </a:lnTo>
                  <a:lnTo>
                    <a:pt x="593" y="117"/>
                  </a:lnTo>
                  <a:lnTo>
                    <a:pt x="599" y="122"/>
                  </a:lnTo>
                  <a:lnTo>
                    <a:pt x="600" y="129"/>
                  </a:lnTo>
                  <a:lnTo>
                    <a:pt x="604" y="134"/>
                  </a:lnTo>
                  <a:lnTo>
                    <a:pt x="621" y="132"/>
                  </a:lnTo>
                  <a:lnTo>
                    <a:pt x="638" y="136"/>
                  </a:lnTo>
                  <a:lnTo>
                    <a:pt x="663" y="150"/>
                  </a:lnTo>
                  <a:lnTo>
                    <a:pt x="670" y="152"/>
                  </a:lnTo>
                  <a:lnTo>
                    <a:pt x="678" y="159"/>
                  </a:lnTo>
                  <a:lnTo>
                    <a:pt x="686" y="172"/>
                  </a:lnTo>
                  <a:lnTo>
                    <a:pt x="687" y="177"/>
                  </a:lnTo>
                  <a:lnTo>
                    <a:pt x="689" y="193"/>
                  </a:lnTo>
                  <a:lnTo>
                    <a:pt x="689" y="197"/>
                  </a:lnTo>
                  <a:lnTo>
                    <a:pt x="686" y="199"/>
                  </a:lnTo>
                  <a:lnTo>
                    <a:pt x="676" y="203"/>
                  </a:lnTo>
                  <a:lnTo>
                    <a:pt x="676" y="206"/>
                  </a:lnTo>
                  <a:lnTo>
                    <a:pt x="679" y="207"/>
                  </a:lnTo>
                  <a:lnTo>
                    <a:pt x="689" y="208"/>
                  </a:lnTo>
                  <a:lnTo>
                    <a:pt x="695" y="211"/>
                  </a:lnTo>
                  <a:lnTo>
                    <a:pt x="701" y="211"/>
                  </a:lnTo>
                  <a:lnTo>
                    <a:pt x="705" y="209"/>
                  </a:lnTo>
                  <a:lnTo>
                    <a:pt x="712" y="202"/>
                  </a:lnTo>
                  <a:lnTo>
                    <a:pt x="721" y="201"/>
                  </a:lnTo>
                  <a:lnTo>
                    <a:pt x="727" y="203"/>
                  </a:lnTo>
                  <a:lnTo>
                    <a:pt x="737" y="209"/>
                  </a:lnTo>
                  <a:lnTo>
                    <a:pt x="741" y="214"/>
                  </a:lnTo>
                  <a:lnTo>
                    <a:pt x="743" y="217"/>
                  </a:lnTo>
                  <a:lnTo>
                    <a:pt x="743" y="225"/>
                  </a:lnTo>
                  <a:lnTo>
                    <a:pt x="739" y="228"/>
                  </a:lnTo>
                  <a:lnTo>
                    <a:pt x="734" y="228"/>
                  </a:lnTo>
                  <a:lnTo>
                    <a:pt x="728" y="231"/>
                  </a:lnTo>
                  <a:lnTo>
                    <a:pt x="724" y="234"/>
                  </a:lnTo>
                  <a:lnTo>
                    <a:pt x="708" y="241"/>
                  </a:lnTo>
                  <a:lnTo>
                    <a:pt x="705" y="245"/>
                  </a:lnTo>
                  <a:lnTo>
                    <a:pt x="702" y="247"/>
                  </a:lnTo>
                  <a:lnTo>
                    <a:pt x="691" y="250"/>
                  </a:lnTo>
                  <a:lnTo>
                    <a:pt x="689" y="252"/>
                  </a:lnTo>
                  <a:lnTo>
                    <a:pt x="686" y="258"/>
                  </a:lnTo>
                  <a:lnTo>
                    <a:pt x="686" y="267"/>
                  </a:lnTo>
                  <a:lnTo>
                    <a:pt x="689" y="279"/>
                  </a:lnTo>
                  <a:lnTo>
                    <a:pt x="694" y="281"/>
                  </a:lnTo>
                  <a:lnTo>
                    <a:pt x="700" y="279"/>
                  </a:lnTo>
                  <a:lnTo>
                    <a:pt x="702" y="279"/>
                  </a:lnTo>
                  <a:lnTo>
                    <a:pt x="707" y="284"/>
                  </a:lnTo>
                  <a:lnTo>
                    <a:pt x="702" y="290"/>
                  </a:lnTo>
                  <a:lnTo>
                    <a:pt x="691" y="298"/>
                  </a:lnTo>
                  <a:lnTo>
                    <a:pt x="674" y="304"/>
                  </a:lnTo>
                  <a:lnTo>
                    <a:pt x="673" y="306"/>
                  </a:lnTo>
                  <a:lnTo>
                    <a:pt x="673" y="321"/>
                  </a:lnTo>
                  <a:lnTo>
                    <a:pt x="669" y="327"/>
                  </a:lnTo>
                  <a:lnTo>
                    <a:pt x="663" y="336"/>
                  </a:lnTo>
                  <a:lnTo>
                    <a:pt x="662" y="337"/>
                  </a:lnTo>
                  <a:lnTo>
                    <a:pt x="662" y="341"/>
                  </a:lnTo>
                  <a:lnTo>
                    <a:pt x="662" y="343"/>
                  </a:lnTo>
                  <a:lnTo>
                    <a:pt x="674" y="359"/>
                  </a:lnTo>
                  <a:lnTo>
                    <a:pt x="685" y="370"/>
                  </a:lnTo>
                  <a:lnTo>
                    <a:pt x="689" y="378"/>
                  </a:lnTo>
                  <a:lnTo>
                    <a:pt x="695" y="384"/>
                  </a:lnTo>
                  <a:lnTo>
                    <a:pt x="699" y="386"/>
                  </a:lnTo>
                  <a:lnTo>
                    <a:pt x="699" y="389"/>
                  </a:lnTo>
                  <a:lnTo>
                    <a:pt x="699" y="401"/>
                  </a:lnTo>
                  <a:lnTo>
                    <a:pt x="687" y="414"/>
                  </a:lnTo>
                  <a:lnTo>
                    <a:pt x="680" y="421"/>
                  </a:lnTo>
                  <a:lnTo>
                    <a:pt x="676" y="423"/>
                  </a:lnTo>
                  <a:lnTo>
                    <a:pt x="660" y="424"/>
                  </a:lnTo>
                  <a:lnTo>
                    <a:pt x="654" y="428"/>
                  </a:lnTo>
                  <a:lnTo>
                    <a:pt x="646" y="432"/>
                  </a:lnTo>
                  <a:lnTo>
                    <a:pt x="640" y="440"/>
                  </a:lnTo>
                  <a:lnTo>
                    <a:pt x="635" y="443"/>
                  </a:lnTo>
                  <a:lnTo>
                    <a:pt x="606" y="445"/>
                  </a:lnTo>
                  <a:lnTo>
                    <a:pt x="590" y="449"/>
                  </a:lnTo>
                  <a:lnTo>
                    <a:pt x="572" y="455"/>
                  </a:lnTo>
                  <a:lnTo>
                    <a:pt x="568" y="459"/>
                  </a:lnTo>
                  <a:lnTo>
                    <a:pt x="567" y="460"/>
                  </a:lnTo>
                  <a:lnTo>
                    <a:pt x="542" y="459"/>
                  </a:lnTo>
                  <a:lnTo>
                    <a:pt x="524" y="454"/>
                  </a:lnTo>
                  <a:lnTo>
                    <a:pt x="503" y="441"/>
                  </a:lnTo>
                  <a:lnTo>
                    <a:pt x="481" y="439"/>
                  </a:lnTo>
                  <a:lnTo>
                    <a:pt x="474" y="437"/>
                  </a:lnTo>
                  <a:lnTo>
                    <a:pt x="470" y="437"/>
                  </a:lnTo>
                  <a:lnTo>
                    <a:pt x="469" y="437"/>
                  </a:lnTo>
                  <a:lnTo>
                    <a:pt x="470" y="446"/>
                  </a:lnTo>
                  <a:lnTo>
                    <a:pt x="474" y="455"/>
                  </a:lnTo>
                  <a:lnTo>
                    <a:pt x="485" y="460"/>
                  </a:lnTo>
                  <a:lnTo>
                    <a:pt x="497" y="467"/>
                  </a:lnTo>
                  <a:lnTo>
                    <a:pt x="499" y="470"/>
                  </a:lnTo>
                  <a:lnTo>
                    <a:pt x="498" y="482"/>
                  </a:lnTo>
                  <a:lnTo>
                    <a:pt x="495" y="495"/>
                  </a:lnTo>
                  <a:lnTo>
                    <a:pt x="495" y="502"/>
                  </a:lnTo>
                  <a:lnTo>
                    <a:pt x="496" y="507"/>
                  </a:lnTo>
                  <a:lnTo>
                    <a:pt x="501" y="524"/>
                  </a:lnTo>
                  <a:lnTo>
                    <a:pt x="502" y="532"/>
                  </a:lnTo>
                  <a:lnTo>
                    <a:pt x="503" y="538"/>
                  </a:lnTo>
                  <a:lnTo>
                    <a:pt x="518" y="541"/>
                  </a:lnTo>
                  <a:lnTo>
                    <a:pt x="522" y="542"/>
                  </a:lnTo>
                  <a:lnTo>
                    <a:pt x="546" y="541"/>
                  </a:lnTo>
                  <a:lnTo>
                    <a:pt x="546" y="550"/>
                  </a:lnTo>
                  <a:lnTo>
                    <a:pt x="546" y="551"/>
                  </a:lnTo>
                  <a:lnTo>
                    <a:pt x="544" y="554"/>
                  </a:lnTo>
                  <a:lnTo>
                    <a:pt x="533" y="556"/>
                  </a:lnTo>
                  <a:lnTo>
                    <a:pt x="525" y="559"/>
                  </a:lnTo>
                  <a:lnTo>
                    <a:pt x="524" y="562"/>
                  </a:lnTo>
                  <a:lnTo>
                    <a:pt x="518" y="565"/>
                  </a:lnTo>
                  <a:lnTo>
                    <a:pt x="511" y="565"/>
                  </a:lnTo>
                  <a:lnTo>
                    <a:pt x="506" y="573"/>
                  </a:lnTo>
                  <a:lnTo>
                    <a:pt x="499" y="588"/>
                  </a:lnTo>
                  <a:lnTo>
                    <a:pt x="496" y="591"/>
                  </a:lnTo>
                  <a:lnTo>
                    <a:pt x="491" y="593"/>
                  </a:lnTo>
                  <a:lnTo>
                    <a:pt x="486" y="593"/>
                  </a:lnTo>
                  <a:lnTo>
                    <a:pt x="480" y="596"/>
                  </a:lnTo>
                  <a:lnTo>
                    <a:pt x="477" y="597"/>
                  </a:lnTo>
                  <a:lnTo>
                    <a:pt x="475" y="602"/>
                  </a:lnTo>
                  <a:lnTo>
                    <a:pt x="466" y="602"/>
                  </a:lnTo>
                  <a:lnTo>
                    <a:pt x="454" y="607"/>
                  </a:lnTo>
                  <a:lnTo>
                    <a:pt x="452" y="607"/>
                  </a:lnTo>
                  <a:lnTo>
                    <a:pt x="444" y="611"/>
                  </a:lnTo>
                  <a:lnTo>
                    <a:pt x="436" y="615"/>
                  </a:lnTo>
                  <a:lnTo>
                    <a:pt x="431" y="618"/>
                  </a:lnTo>
                  <a:lnTo>
                    <a:pt x="423" y="626"/>
                  </a:lnTo>
                  <a:lnTo>
                    <a:pt x="421" y="627"/>
                  </a:lnTo>
                  <a:lnTo>
                    <a:pt x="402" y="631"/>
                  </a:lnTo>
                  <a:lnTo>
                    <a:pt x="385" y="631"/>
                  </a:lnTo>
                  <a:lnTo>
                    <a:pt x="383" y="629"/>
                  </a:lnTo>
                  <a:lnTo>
                    <a:pt x="380" y="629"/>
                  </a:lnTo>
                  <a:lnTo>
                    <a:pt x="368" y="621"/>
                  </a:lnTo>
                  <a:lnTo>
                    <a:pt x="364" y="617"/>
                  </a:lnTo>
                  <a:lnTo>
                    <a:pt x="361" y="612"/>
                  </a:lnTo>
                  <a:lnTo>
                    <a:pt x="358" y="607"/>
                  </a:lnTo>
                  <a:lnTo>
                    <a:pt x="353" y="600"/>
                  </a:lnTo>
                  <a:lnTo>
                    <a:pt x="348" y="591"/>
                  </a:lnTo>
                  <a:lnTo>
                    <a:pt x="346" y="580"/>
                  </a:lnTo>
                  <a:lnTo>
                    <a:pt x="330" y="543"/>
                  </a:lnTo>
                  <a:lnTo>
                    <a:pt x="321" y="532"/>
                  </a:lnTo>
                  <a:lnTo>
                    <a:pt x="304" y="519"/>
                  </a:lnTo>
                  <a:lnTo>
                    <a:pt x="304" y="515"/>
                  </a:lnTo>
                  <a:lnTo>
                    <a:pt x="316" y="504"/>
                  </a:lnTo>
                  <a:lnTo>
                    <a:pt x="321" y="497"/>
                  </a:lnTo>
                  <a:lnTo>
                    <a:pt x="324" y="495"/>
                  </a:lnTo>
                  <a:lnTo>
                    <a:pt x="328" y="492"/>
                  </a:lnTo>
                  <a:lnTo>
                    <a:pt x="330" y="491"/>
                  </a:lnTo>
                  <a:lnTo>
                    <a:pt x="331" y="488"/>
                  </a:lnTo>
                  <a:lnTo>
                    <a:pt x="330" y="481"/>
                  </a:lnTo>
                  <a:lnTo>
                    <a:pt x="328" y="476"/>
                  </a:lnTo>
                  <a:lnTo>
                    <a:pt x="323" y="467"/>
                  </a:lnTo>
                  <a:lnTo>
                    <a:pt x="315" y="459"/>
                  </a:lnTo>
                  <a:lnTo>
                    <a:pt x="308" y="454"/>
                  </a:lnTo>
                  <a:lnTo>
                    <a:pt x="307" y="451"/>
                  </a:lnTo>
                  <a:lnTo>
                    <a:pt x="305" y="441"/>
                  </a:lnTo>
                  <a:lnTo>
                    <a:pt x="303" y="435"/>
                  </a:lnTo>
                  <a:lnTo>
                    <a:pt x="303" y="427"/>
                  </a:lnTo>
                  <a:lnTo>
                    <a:pt x="299" y="419"/>
                  </a:lnTo>
                  <a:lnTo>
                    <a:pt x="299" y="407"/>
                  </a:lnTo>
                  <a:lnTo>
                    <a:pt x="303" y="401"/>
                  </a:lnTo>
                  <a:lnTo>
                    <a:pt x="305" y="391"/>
                  </a:lnTo>
                  <a:lnTo>
                    <a:pt x="305" y="380"/>
                  </a:lnTo>
                  <a:lnTo>
                    <a:pt x="314" y="370"/>
                  </a:lnTo>
                  <a:lnTo>
                    <a:pt x="314" y="357"/>
                  </a:lnTo>
                  <a:lnTo>
                    <a:pt x="316" y="352"/>
                  </a:lnTo>
                  <a:lnTo>
                    <a:pt x="323" y="346"/>
                  </a:lnTo>
                  <a:lnTo>
                    <a:pt x="323" y="341"/>
                  </a:lnTo>
                  <a:lnTo>
                    <a:pt x="320" y="332"/>
                  </a:lnTo>
                  <a:lnTo>
                    <a:pt x="318" y="330"/>
                  </a:lnTo>
                  <a:lnTo>
                    <a:pt x="314" y="330"/>
                  </a:lnTo>
                  <a:lnTo>
                    <a:pt x="304" y="330"/>
                  </a:lnTo>
                  <a:lnTo>
                    <a:pt x="285" y="338"/>
                  </a:lnTo>
                  <a:lnTo>
                    <a:pt x="273" y="341"/>
                  </a:lnTo>
                  <a:lnTo>
                    <a:pt x="266" y="341"/>
                  </a:lnTo>
                  <a:lnTo>
                    <a:pt x="257" y="338"/>
                  </a:lnTo>
                  <a:lnTo>
                    <a:pt x="253" y="337"/>
                  </a:lnTo>
                  <a:lnTo>
                    <a:pt x="248" y="335"/>
                  </a:lnTo>
                  <a:lnTo>
                    <a:pt x="242" y="333"/>
                  </a:lnTo>
                  <a:lnTo>
                    <a:pt x="234" y="336"/>
                  </a:lnTo>
                  <a:lnTo>
                    <a:pt x="232" y="338"/>
                  </a:lnTo>
                  <a:lnTo>
                    <a:pt x="226" y="338"/>
                  </a:lnTo>
                  <a:lnTo>
                    <a:pt x="217" y="338"/>
                  </a:lnTo>
                  <a:lnTo>
                    <a:pt x="213" y="336"/>
                  </a:lnTo>
                  <a:lnTo>
                    <a:pt x="212" y="336"/>
                  </a:lnTo>
                  <a:lnTo>
                    <a:pt x="184" y="295"/>
                  </a:lnTo>
                  <a:lnTo>
                    <a:pt x="183" y="293"/>
                  </a:lnTo>
                  <a:lnTo>
                    <a:pt x="180" y="290"/>
                  </a:lnTo>
                  <a:lnTo>
                    <a:pt x="169" y="289"/>
                  </a:lnTo>
                  <a:lnTo>
                    <a:pt x="163" y="285"/>
                  </a:lnTo>
                  <a:lnTo>
                    <a:pt x="151" y="281"/>
                  </a:lnTo>
                  <a:lnTo>
                    <a:pt x="133" y="282"/>
                  </a:lnTo>
                  <a:lnTo>
                    <a:pt x="115" y="287"/>
                  </a:lnTo>
                  <a:lnTo>
                    <a:pt x="105" y="288"/>
                  </a:lnTo>
                  <a:lnTo>
                    <a:pt x="90" y="287"/>
                  </a:lnTo>
                  <a:lnTo>
                    <a:pt x="73" y="279"/>
                  </a:lnTo>
                  <a:lnTo>
                    <a:pt x="70" y="272"/>
                  </a:lnTo>
                  <a:lnTo>
                    <a:pt x="66" y="271"/>
                  </a:lnTo>
                  <a:lnTo>
                    <a:pt x="54" y="265"/>
                  </a:lnTo>
                  <a:lnTo>
                    <a:pt x="52" y="262"/>
                  </a:lnTo>
                  <a:lnTo>
                    <a:pt x="52" y="229"/>
                  </a:lnTo>
                  <a:lnTo>
                    <a:pt x="50" y="220"/>
                  </a:lnTo>
                  <a:lnTo>
                    <a:pt x="47" y="214"/>
                  </a:lnTo>
                  <a:lnTo>
                    <a:pt x="43" y="211"/>
                  </a:lnTo>
                  <a:lnTo>
                    <a:pt x="41" y="208"/>
                  </a:lnTo>
                  <a:lnTo>
                    <a:pt x="34" y="199"/>
                  </a:lnTo>
                  <a:lnTo>
                    <a:pt x="31" y="196"/>
                  </a:lnTo>
                  <a:lnTo>
                    <a:pt x="28" y="176"/>
                  </a:lnTo>
                  <a:lnTo>
                    <a:pt x="25" y="170"/>
                  </a:lnTo>
                  <a:lnTo>
                    <a:pt x="24" y="168"/>
                  </a:lnTo>
                  <a:lnTo>
                    <a:pt x="0" y="169"/>
                  </a:lnTo>
                  <a:lnTo>
                    <a:pt x="6" y="155"/>
                  </a:lnTo>
                  <a:lnTo>
                    <a:pt x="14" y="140"/>
                  </a:lnTo>
                  <a:lnTo>
                    <a:pt x="27" y="95"/>
                  </a:lnTo>
                  <a:lnTo>
                    <a:pt x="40" y="73"/>
                  </a:lnTo>
                  <a:lnTo>
                    <a:pt x="65" y="50"/>
                  </a:lnTo>
                  <a:lnTo>
                    <a:pt x="68" y="45"/>
                  </a:lnTo>
                  <a:lnTo>
                    <a:pt x="73" y="35"/>
                  </a:lnTo>
                  <a:lnTo>
                    <a:pt x="79" y="29"/>
                  </a:lnTo>
                  <a:lnTo>
                    <a:pt x="94" y="23"/>
                  </a:lnTo>
                  <a:lnTo>
                    <a:pt x="109" y="2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16" name="Freeform 234">
              <a:extLst>
                <a:ext uri="{FF2B5EF4-FFF2-40B4-BE49-F238E27FC236}">
                  <a16:creationId xmlns:a16="http://schemas.microsoft.com/office/drawing/2014/main" id="{643C8900-AE5E-E3ED-AA0E-0D57EA69F30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406319" y="4301366"/>
              <a:ext cx="164158" cy="195100"/>
            </a:xfrm>
            <a:custGeom>
              <a:avLst/>
              <a:gdLst>
                <a:gd name="T0" fmla="*/ 0 w 311"/>
                <a:gd name="T1" fmla="*/ 0 h 345"/>
                <a:gd name="T2" fmla="*/ 0 w 311"/>
                <a:gd name="T3" fmla="*/ 0 h 345"/>
                <a:gd name="T4" fmla="*/ 0 w 311"/>
                <a:gd name="T5" fmla="*/ 0 h 345"/>
                <a:gd name="T6" fmla="*/ 0 w 311"/>
                <a:gd name="T7" fmla="*/ 0 h 345"/>
                <a:gd name="T8" fmla="*/ 0 w 311"/>
                <a:gd name="T9" fmla="*/ 0 h 345"/>
                <a:gd name="T10" fmla="*/ 0 w 311"/>
                <a:gd name="T11" fmla="*/ 0 h 345"/>
                <a:gd name="T12" fmla="*/ 0 w 311"/>
                <a:gd name="T13" fmla="*/ 0 h 345"/>
                <a:gd name="T14" fmla="*/ 0 w 311"/>
                <a:gd name="T15" fmla="*/ 0 h 345"/>
                <a:gd name="T16" fmla="*/ 0 w 311"/>
                <a:gd name="T17" fmla="*/ 0 h 345"/>
                <a:gd name="T18" fmla="*/ 0 w 311"/>
                <a:gd name="T19" fmla="*/ 0 h 345"/>
                <a:gd name="T20" fmla="*/ 0 w 311"/>
                <a:gd name="T21" fmla="*/ 0 h 345"/>
                <a:gd name="T22" fmla="*/ 0 w 311"/>
                <a:gd name="T23" fmla="*/ 0 h 345"/>
                <a:gd name="T24" fmla="*/ 0 w 311"/>
                <a:gd name="T25" fmla="*/ 0 h 345"/>
                <a:gd name="T26" fmla="*/ 0 w 311"/>
                <a:gd name="T27" fmla="*/ 0 h 345"/>
                <a:gd name="T28" fmla="*/ 0 w 311"/>
                <a:gd name="T29" fmla="*/ 0 h 345"/>
                <a:gd name="T30" fmla="*/ 0 w 311"/>
                <a:gd name="T31" fmla="*/ 0 h 345"/>
                <a:gd name="T32" fmla="*/ 0 w 311"/>
                <a:gd name="T33" fmla="*/ 0 h 345"/>
                <a:gd name="T34" fmla="*/ 0 w 311"/>
                <a:gd name="T35" fmla="*/ 0 h 345"/>
                <a:gd name="T36" fmla="*/ 0 w 311"/>
                <a:gd name="T37" fmla="*/ 0 h 345"/>
                <a:gd name="T38" fmla="*/ 0 w 311"/>
                <a:gd name="T39" fmla="*/ 0 h 345"/>
                <a:gd name="T40" fmla="*/ 0 w 311"/>
                <a:gd name="T41" fmla="*/ 0 h 345"/>
                <a:gd name="T42" fmla="*/ 0 w 311"/>
                <a:gd name="T43" fmla="*/ 0 h 345"/>
                <a:gd name="T44" fmla="*/ 0 w 311"/>
                <a:gd name="T45" fmla="*/ 0 h 345"/>
                <a:gd name="T46" fmla="*/ 0 w 311"/>
                <a:gd name="T47" fmla="*/ 0 h 345"/>
                <a:gd name="T48" fmla="*/ 0 w 311"/>
                <a:gd name="T49" fmla="*/ 0 h 345"/>
                <a:gd name="T50" fmla="*/ 0 w 311"/>
                <a:gd name="T51" fmla="*/ 0 h 345"/>
                <a:gd name="T52" fmla="*/ 0 w 311"/>
                <a:gd name="T53" fmla="*/ 2147483647 h 345"/>
                <a:gd name="T54" fmla="*/ 0 w 311"/>
                <a:gd name="T55" fmla="*/ 2147483647 h 345"/>
                <a:gd name="T56" fmla="*/ 0 w 311"/>
                <a:gd name="T57" fmla="*/ 2147483647 h 345"/>
                <a:gd name="T58" fmla="*/ 0 w 311"/>
                <a:gd name="T59" fmla="*/ 2147483647 h 345"/>
                <a:gd name="T60" fmla="*/ 0 w 311"/>
                <a:gd name="T61" fmla="*/ 2147483647 h 345"/>
                <a:gd name="T62" fmla="*/ 0 w 311"/>
                <a:gd name="T63" fmla="*/ 2147483647 h 345"/>
                <a:gd name="T64" fmla="*/ 0 w 311"/>
                <a:gd name="T65" fmla="*/ 2147483647 h 345"/>
                <a:gd name="T66" fmla="*/ 0 w 311"/>
                <a:gd name="T67" fmla="*/ 2147483647 h 345"/>
                <a:gd name="T68" fmla="*/ 0 w 311"/>
                <a:gd name="T69" fmla="*/ 2147483647 h 345"/>
                <a:gd name="T70" fmla="*/ 0 w 311"/>
                <a:gd name="T71" fmla="*/ 0 h 345"/>
                <a:gd name="T72" fmla="*/ 0 w 311"/>
                <a:gd name="T73" fmla="*/ 0 h 345"/>
                <a:gd name="T74" fmla="*/ 0 w 311"/>
                <a:gd name="T75" fmla="*/ 0 h 345"/>
                <a:gd name="T76" fmla="*/ 0 w 311"/>
                <a:gd name="T77" fmla="*/ 0 h 345"/>
                <a:gd name="T78" fmla="*/ 0 w 311"/>
                <a:gd name="T79" fmla="*/ 0 h 345"/>
                <a:gd name="T80" fmla="*/ 0 w 311"/>
                <a:gd name="T81" fmla="*/ 0 h 345"/>
                <a:gd name="T82" fmla="*/ 0 w 311"/>
                <a:gd name="T83" fmla="*/ 0 h 345"/>
                <a:gd name="T84" fmla="*/ 0 w 311"/>
                <a:gd name="T85" fmla="*/ 0 h 345"/>
                <a:gd name="T86" fmla="*/ 0 w 311"/>
                <a:gd name="T87" fmla="*/ 0 h 345"/>
                <a:gd name="T88" fmla="*/ 0 w 311"/>
                <a:gd name="T89" fmla="*/ 0 h 345"/>
                <a:gd name="T90" fmla="*/ 0 w 311"/>
                <a:gd name="T91" fmla="*/ 0 h 345"/>
                <a:gd name="T92" fmla="*/ 0 w 311"/>
                <a:gd name="T93" fmla="*/ 0 h 345"/>
                <a:gd name="T94" fmla="*/ 0 w 311"/>
                <a:gd name="T95" fmla="*/ 0 h 345"/>
                <a:gd name="T96" fmla="*/ 0 w 311"/>
                <a:gd name="T97" fmla="*/ 0 h 345"/>
                <a:gd name="T98" fmla="*/ 0 w 311"/>
                <a:gd name="T99" fmla="*/ 0 h 345"/>
                <a:gd name="T100" fmla="*/ 0 w 311"/>
                <a:gd name="T101" fmla="*/ 0 h 345"/>
                <a:gd name="T102" fmla="*/ 0 w 311"/>
                <a:gd name="T103" fmla="*/ 0 h 345"/>
                <a:gd name="T104" fmla="*/ 0 w 311"/>
                <a:gd name="T105" fmla="*/ 0 h 345"/>
                <a:gd name="T106" fmla="*/ 0 w 311"/>
                <a:gd name="T107" fmla="*/ 0 h 345"/>
                <a:gd name="T108" fmla="*/ 0 w 311"/>
                <a:gd name="T109" fmla="*/ 0 h 345"/>
                <a:gd name="T110" fmla="*/ 0 w 311"/>
                <a:gd name="T111" fmla="*/ 0 h 345"/>
                <a:gd name="T112" fmla="*/ 0 w 311"/>
                <a:gd name="T113" fmla="*/ 0 h 345"/>
                <a:gd name="T114" fmla="*/ 0 w 311"/>
                <a:gd name="T115" fmla="*/ 0 h 345"/>
                <a:gd name="T116" fmla="*/ 0 w 311"/>
                <a:gd name="T117" fmla="*/ 0 h 345"/>
                <a:gd name="T118" fmla="*/ 0 w 311"/>
                <a:gd name="T119" fmla="*/ 0 h 345"/>
                <a:gd name="T120" fmla="*/ 0 w 311"/>
                <a:gd name="T121" fmla="*/ 0 h 34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1"/>
                <a:gd name="T184" fmla="*/ 0 h 345"/>
                <a:gd name="T185" fmla="*/ 311 w 311"/>
                <a:gd name="T186" fmla="*/ 345 h 34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1" h="345">
                  <a:moveTo>
                    <a:pt x="109" y="0"/>
                  </a:moveTo>
                  <a:lnTo>
                    <a:pt x="112" y="2"/>
                  </a:lnTo>
                  <a:lnTo>
                    <a:pt x="115" y="5"/>
                  </a:lnTo>
                  <a:lnTo>
                    <a:pt x="147" y="18"/>
                  </a:lnTo>
                  <a:lnTo>
                    <a:pt x="177" y="33"/>
                  </a:lnTo>
                  <a:lnTo>
                    <a:pt x="189" y="41"/>
                  </a:lnTo>
                  <a:lnTo>
                    <a:pt x="191" y="46"/>
                  </a:lnTo>
                  <a:lnTo>
                    <a:pt x="194" y="57"/>
                  </a:lnTo>
                  <a:lnTo>
                    <a:pt x="196" y="61"/>
                  </a:lnTo>
                  <a:lnTo>
                    <a:pt x="209" y="62"/>
                  </a:lnTo>
                  <a:lnTo>
                    <a:pt x="217" y="60"/>
                  </a:lnTo>
                  <a:lnTo>
                    <a:pt x="222" y="60"/>
                  </a:lnTo>
                  <a:lnTo>
                    <a:pt x="243" y="62"/>
                  </a:lnTo>
                  <a:lnTo>
                    <a:pt x="253" y="62"/>
                  </a:lnTo>
                  <a:lnTo>
                    <a:pt x="254" y="60"/>
                  </a:lnTo>
                  <a:lnTo>
                    <a:pt x="259" y="54"/>
                  </a:lnTo>
                  <a:lnTo>
                    <a:pt x="264" y="54"/>
                  </a:lnTo>
                  <a:lnTo>
                    <a:pt x="271" y="56"/>
                  </a:lnTo>
                  <a:lnTo>
                    <a:pt x="277" y="62"/>
                  </a:lnTo>
                  <a:lnTo>
                    <a:pt x="284" y="65"/>
                  </a:lnTo>
                  <a:lnTo>
                    <a:pt x="298" y="76"/>
                  </a:lnTo>
                  <a:lnTo>
                    <a:pt x="304" y="76"/>
                  </a:lnTo>
                  <a:lnTo>
                    <a:pt x="302" y="78"/>
                  </a:lnTo>
                  <a:lnTo>
                    <a:pt x="291" y="78"/>
                  </a:lnTo>
                  <a:lnTo>
                    <a:pt x="290" y="87"/>
                  </a:lnTo>
                  <a:lnTo>
                    <a:pt x="295" y="89"/>
                  </a:lnTo>
                  <a:lnTo>
                    <a:pt x="297" y="92"/>
                  </a:lnTo>
                  <a:lnTo>
                    <a:pt x="302" y="103"/>
                  </a:lnTo>
                  <a:lnTo>
                    <a:pt x="303" y="108"/>
                  </a:lnTo>
                  <a:lnTo>
                    <a:pt x="311" y="125"/>
                  </a:lnTo>
                  <a:lnTo>
                    <a:pt x="311" y="126"/>
                  </a:lnTo>
                  <a:lnTo>
                    <a:pt x="302" y="126"/>
                  </a:lnTo>
                  <a:lnTo>
                    <a:pt x="295" y="141"/>
                  </a:lnTo>
                  <a:lnTo>
                    <a:pt x="280" y="165"/>
                  </a:lnTo>
                  <a:lnTo>
                    <a:pt x="268" y="180"/>
                  </a:lnTo>
                  <a:lnTo>
                    <a:pt x="260" y="186"/>
                  </a:lnTo>
                  <a:lnTo>
                    <a:pt x="250" y="195"/>
                  </a:lnTo>
                  <a:lnTo>
                    <a:pt x="241" y="207"/>
                  </a:lnTo>
                  <a:lnTo>
                    <a:pt x="232" y="213"/>
                  </a:lnTo>
                  <a:lnTo>
                    <a:pt x="216" y="221"/>
                  </a:lnTo>
                  <a:lnTo>
                    <a:pt x="180" y="232"/>
                  </a:lnTo>
                  <a:lnTo>
                    <a:pt x="162" y="239"/>
                  </a:lnTo>
                  <a:lnTo>
                    <a:pt x="155" y="244"/>
                  </a:lnTo>
                  <a:lnTo>
                    <a:pt x="152" y="247"/>
                  </a:lnTo>
                  <a:lnTo>
                    <a:pt x="147" y="256"/>
                  </a:lnTo>
                  <a:lnTo>
                    <a:pt x="146" y="266"/>
                  </a:lnTo>
                  <a:lnTo>
                    <a:pt x="142" y="269"/>
                  </a:lnTo>
                  <a:lnTo>
                    <a:pt x="140" y="269"/>
                  </a:lnTo>
                  <a:lnTo>
                    <a:pt x="136" y="265"/>
                  </a:lnTo>
                  <a:lnTo>
                    <a:pt x="134" y="265"/>
                  </a:lnTo>
                  <a:lnTo>
                    <a:pt x="134" y="266"/>
                  </a:lnTo>
                  <a:lnTo>
                    <a:pt x="120" y="286"/>
                  </a:lnTo>
                  <a:lnTo>
                    <a:pt x="118" y="299"/>
                  </a:lnTo>
                  <a:lnTo>
                    <a:pt x="118" y="320"/>
                  </a:lnTo>
                  <a:lnTo>
                    <a:pt x="115" y="328"/>
                  </a:lnTo>
                  <a:lnTo>
                    <a:pt x="114" y="329"/>
                  </a:lnTo>
                  <a:lnTo>
                    <a:pt x="104" y="333"/>
                  </a:lnTo>
                  <a:lnTo>
                    <a:pt x="97" y="340"/>
                  </a:lnTo>
                  <a:lnTo>
                    <a:pt x="86" y="345"/>
                  </a:lnTo>
                  <a:lnTo>
                    <a:pt x="78" y="344"/>
                  </a:lnTo>
                  <a:lnTo>
                    <a:pt x="73" y="336"/>
                  </a:lnTo>
                  <a:lnTo>
                    <a:pt x="71" y="330"/>
                  </a:lnTo>
                  <a:lnTo>
                    <a:pt x="66" y="321"/>
                  </a:lnTo>
                  <a:lnTo>
                    <a:pt x="60" y="321"/>
                  </a:lnTo>
                  <a:lnTo>
                    <a:pt x="50" y="321"/>
                  </a:lnTo>
                  <a:lnTo>
                    <a:pt x="46" y="318"/>
                  </a:lnTo>
                  <a:lnTo>
                    <a:pt x="43" y="314"/>
                  </a:lnTo>
                  <a:lnTo>
                    <a:pt x="33" y="314"/>
                  </a:lnTo>
                  <a:lnTo>
                    <a:pt x="26" y="319"/>
                  </a:lnTo>
                  <a:lnTo>
                    <a:pt x="21" y="320"/>
                  </a:lnTo>
                  <a:lnTo>
                    <a:pt x="18" y="318"/>
                  </a:lnTo>
                  <a:lnTo>
                    <a:pt x="17" y="304"/>
                  </a:lnTo>
                  <a:lnTo>
                    <a:pt x="15" y="299"/>
                  </a:lnTo>
                  <a:lnTo>
                    <a:pt x="15" y="297"/>
                  </a:lnTo>
                  <a:lnTo>
                    <a:pt x="18" y="292"/>
                  </a:lnTo>
                  <a:lnTo>
                    <a:pt x="28" y="290"/>
                  </a:lnTo>
                  <a:lnTo>
                    <a:pt x="33" y="285"/>
                  </a:lnTo>
                  <a:lnTo>
                    <a:pt x="32" y="276"/>
                  </a:lnTo>
                  <a:lnTo>
                    <a:pt x="30" y="274"/>
                  </a:lnTo>
                  <a:lnTo>
                    <a:pt x="28" y="264"/>
                  </a:lnTo>
                  <a:lnTo>
                    <a:pt x="27" y="264"/>
                  </a:lnTo>
                  <a:lnTo>
                    <a:pt x="27" y="261"/>
                  </a:lnTo>
                  <a:lnTo>
                    <a:pt x="30" y="258"/>
                  </a:lnTo>
                  <a:lnTo>
                    <a:pt x="40" y="254"/>
                  </a:lnTo>
                  <a:lnTo>
                    <a:pt x="46" y="250"/>
                  </a:lnTo>
                  <a:lnTo>
                    <a:pt x="53" y="243"/>
                  </a:lnTo>
                  <a:lnTo>
                    <a:pt x="55" y="237"/>
                  </a:lnTo>
                  <a:lnTo>
                    <a:pt x="59" y="213"/>
                  </a:lnTo>
                  <a:lnTo>
                    <a:pt x="56" y="207"/>
                  </a:lnTo>
                  <a:lnTo>
                    <a:pt x="53" y="205"/>
                  </a:lnTo>
                  <a:lnTo>
                    <a:pt x="51" y="191"/>
                  </a:lnTo>
                  <a:lnTo>
                    <a:pt x="45" y="197"/>
                  </a:lnTo>
                  <a:lnTo>
                    <a:pt x="37" y="210"/>
                  </a:lnTo>
                  <a:lnTo>
                    <a:pt x="30" y="217"/>
                  </a:lnTo>
                  <a:lnTo>
                    <a:pt x="26" y="215"/>
                  </a:lnTo>
                  <a:lnTo>
                    <a:pt x="21" y="210"/>
                  </a:lnTo>
                  <a:lnTo>
                    <a:pt x="11" y="206"/>
                  </a:lnTo>
                  <a:lnTo>
                    <a:pt x="2" y="199"/>
                  </a:lnTo>
                  <a:lnTo>
                    <a:pt x="0" y="173"/>
                  </a:lnTo>
                  <a:lnTo>
                    <a:pt x="0" y="164"/>
                  </a:lnTo>
                  <a:lnTo>
                    <a:pt x="2" y="156"/>
                  </a:lnTo>
                  <a:lnTo>
                    <a:pt x="1" y="130"/>
                  </a:lnTo>
                  <a:lnTo>
                    <a:pt x="3" y="126"/>
                  </a:lnTo>
                  <a:lnTo>
                    <a:pt x="17" y="120"/>
                  </a:lnTo>
                  <a:lnTo>
                    <a:pt x="24" y="111"/>
                  </a:lnTo>
                  <a:lnTo>
                    <a:pt x="26" y="97"/>
                  </a:lnTo>
                  <a:lnTo>
                    <a:pt x="28" y="89"/>
                  </a:lnTo>
                  <a:lnTo>
                    <a:pt x="40" y="72"/>
                  </a:lnTo>
                  <a:lnTo>
                    <a:pt x="44" y="66"/>
                  </a:lnTo>
                  <a:lnTo>
                    <a:pt x="44" y="60"/>
                  </a:lnTo>
                  <a:lnTo>
                    <a:pt x="42" y="46"/>
                  </a:lnTo>
                  <a:lnTo>
                    <a:pt x="42" y="33"/>
                  </a:lnTo>
                  <a:lnTo>
                    <a:pt x="46" y="27"/>
                  </a:lnTo>
                  <a:lnTo>
                    <a:pt x="66" y="27"/>
                  </a:lnTo>
                  <a:lnTo>
                    <a:pt x="67" y="27"/>
                  </a:lnTo>
                  <a:lnTo>
                    <a:pt x="71" y="24"/>
                  </a:lnTo>
                  <a:lnTo>
                    <a:pt x="82" y="13"/>
                  </a:lnTo>
                  <a:lnTo>
                    <a:pt x="88" y="9"/>
                  </a:lnTo>
                  <a:lnTo>
                    <a:pt x="97" y="8"/>
                  </a:lnTo>
                  <a:lnTo>
                    <a:pt x="103" y="7"/>
                  </a:lnTo>
                  <a:lnTo>
                    <a:pt x="108" y="2"/>
                  </a:lnTo>
                  <a:lnTo>
                    <a:pt x="109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17" name="Freeform 235">
              <a:extLst>
                <a:ext uri="{FF2B5EF4-FFF2-40B4-BE49-F238E27FC236}">
                  <a16:creationId xmlns:a16="http://schemas.microsoft.com/office/drawing/2014/main" id="{DA3D6D33-DD56-BCDC-4EC8-027CAAA94B6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936099" y="4950683"/>
              <a:ext cx="244744" cy="277407"/>
            </a:xfrm>
            <a:custGeom>
              <a:avLst/>
              <a:gdLst>
                <a:gd name="T0" fmla="*/ 0 w 459"/>
                <a:gd name="T1" fmla="*/ 0 h 491"/>
                <a:gd name="T2" fmla="*/ 0 w 459"/>
                <a:gd name="T3" fmla="*/ 0 h 491"/>
                <a:gd name="T4" fmla="*/ 0 w 459"/>
                <a:gd name="T5" fmla="*/ 0 h 491"/>
                <a:gd name="T6" fmla="*/ 0 w 459"/>
                <a:gd name="T7" fmla="*/ 0 h 491"/>
                <a:gd name="T8" fmla="*/ 0 w 459"/>
                <a:gd name="T9" fmla="*/ 0 h 491"/>
                <a:gd name="T10" fmla="*/ 0 w 459"/>
                <a:gd name="T11" fmla="*/ 0 h 491"/>
                <a:gd name="T12" fmla="*/ 0 w 459"/>
                <a:gd name="T13" fmla="*/ 0 h 491"/>
                <a:gd name="T14" fmla="*/ 0 w 459"/>
                <a:gd name="T15" fmla="*/ 0 h 491"/>
                <a:gd name="T16" fmla="*/ 0 w 459"/>
                <a:gd name="T17" fmla="*/ 0 h 491"/>
                <a:gd name="T18" fmla="*/ 0 w 459"/>
                <a:gd name="T19" fmla="*/ 0 h 491"/>
                <a:gd name="T20" fmla="*/ 0 w 459"/>
                <a:gd name="T21" fmla="*/ 0 h 491"/>
                <a:gd name="T22" fmla="*/ 0 w 459"/>
                <a:gd name="T23" fmla="*/ 0 h 491"/>
                <a:gd name="T24" fmla="*/ 0 w 459"/>
                <a:gd name="T25" fmla="*/ 0 h 491"/>
                <a:gd name="T26" fmla="*/ 0 w 459"/>
                <a:gd name="T27" fmla="*/ 0 h 491"/>
                <a:gd name="T28" fmla="*/ 0 w 459"/>
                <a:gd name="T29" fmla="*/ 0 h 491"/>
                <a:gd name="T30" fmla="*/ 0 w 459"/>
                <a:gd name="T31" fmla="*/ 0 h 491"/>
                <a:gd name="T32" fmla="*/ 0 w 459"/>
                <a:gd name="T33" fmla="*/ 0 h 491"/>
                <a:gd name="T34" fmla="*/ 2147483647 w 459"/>
                <a:gd name="T35" fmla="*/ 0 h 491"/>
                <a:gd name="T36" fmla="*/ 2147483647 w 459"/>
                <a:gd name="T37" fmla="*/ 0 h 491"/>
                <a:gd name="T38" fmla="*/ 2147483647 w 459"/>
                <a:gd name="T39" fmla="*/ 0 h 491"/>
                <a:gd name="T40" fmla="*/ 2147483647 w 459"/>
                <a:gd name="T41" fmla="*/ 0 h 491"/>
                <a:gd name="T42" fmla="*/ 2147483647 w 459"/>
                <a:gd name="T43" fmla="*/ 0 h 491"/>
                <a:gd name="T44" fmla="*/ 2147483647 w 459"/>
                <a:gd name="T45" fmla="*/ 0 h 491"/>
                <a:gd name="T46" fmla="*/ 2147483647 w 459"/>
                <a:gd name="T47" fmla="*/ 0 h 491"/>
                <a:gd name="T48" fmla="*/ 2147483647 w 459"/>
                <a:gd name="T49" fmla="*/ 0 h 491"/>
                <a:gd name="T50" fmla="*/ 2147483647 w 459"/>
                <a:gd name="T51" fmla="*/ 0 h 491"/>
                <a:gd name="T52" fmla="*/ 2147483647 w 459"/>
                <a:gd name="T53" fmla="*/ 0 h 491"/>
                <a:gd name="T54" fmla="*/ 2147483647 w 459"/>
                <a:gd name="T55" fmla="*/ 0 h 491"/>
                <a:gd name="T56" fmla="*/ 2147483647 w 459"/>
                <a:gd name="T57" fmla="*/ 2147483647 h 491"/>
                <a:gd name="T58" fmla="*/ 2147483647 w 459"/>
                <a:gd name="T59" fmla="*/ 2147483647 h 491"/>
                <a:gd name="T60" fmla="*/ 2147483647 w 459"/>
                <a:gd name="T61" fmla="*/ 2147483647 h 491"/>
                <a:gd name="T62" fmla="*/ 2147483647 w 459"/>
                <a:gd name="T63" fmla="*/ 2147483647 h 491"/>
                <a:gd name="T64" fmla="*/ 2147483647 w 459"/>
                <a:gd name="T65" fmla="*/ 2147483647 h 491"/>
                <a:gd name="T66" fmla="*/ 2147483647 w 459"/>
                <a:gd name="T67" fmla="*/ 2147483647 h 491"/>
                <a:gd name="T68" fmla="*/ 2147483647 w 459"/>
                <a:gd name="T69" fmla="*/ 2147483647 h 491"/>
                <a:gd name="T70" fmla="*/ 2147483647 w 459"/>
                <a:gd name="T71" fmla="*/ 2147483647 h 491"/>
                <a:gd name="T72" fmla="*/ 2147483647 w 459"/>
                <a:gd name="T73" fmla="*/ 2147483647 h 491"/>
                <a:gd name="T74" fmla="*/ 2147483647 w 459"/>
                <a:gd name="T75" fmla="*/ 2147483647 h 491"/>
                <a:gd name="T76" fmla="*/ 2147483647 w 459"/>
                <a:gd name="T77" fmla="*/ 2147483647 h 491"/>
                <a:gd name="T78" fmla="*/ 2147483647 w 459"/>
                <a:gd name="T79" fmla="*/ 2147483647 h 491"/>
                <a:gd name="T80" fmla="*/ 0 w 459"/>
                <a:gd name="T81" fmla="*/ 2147483647 h 491"/>
                <a:gd name="T82" fmla="*/ 0 w 459"/>
                <a:gd name="T83" fmla="*/ 2147483647 h 491"/>
                <a:gd name="T84" fmla="*/ 0 w 459"/>
                <a:gd name="T85" fmla="*/ 2147483647 h 491"/>
                <a:gd name="T86" fmla="*/ 0 w 459"/>
                <a:gd name="T87" fmla="*/ 2147483647 h 491"/>
                <a:gd name="T88" fmla="*/ 0 w 459"/>
                <a:gd name="T89" fmla="*/ 2147483647 h 491"/>
                <a:gd name="T90" fmla="*/ 0 w 459"/>
                <a:gd name="T91" fmla="*/ 2147483647 h 491"/>
                <a:gd name="T92" fmla="*/ 0 w 459"/>
                <a:gd name="T93" fmla="*/ 2147483647 h 491"/>
                <a:gd name="T94" fmla="*/ 0 w 459"/>
                <a:gd name="T95" fmla="*/ 2147483647 h 491"/>
                <a:gd name="T96" fmla="*/ 0 w 459"/>
                <a:gd name="T97" fmla="*/ 2147483647 h 491"/>
                <a:gd name="T98" fmla="*/ 0 w 459"/>
                <a:gd name="T99" fmla="*/ 2147483647 h 491"/>
                <a:gd name="T100" fmla="*/ 0 w 459"/>
                <a:gd name="T101" fmla="*/ 0 h 491"/>
                <a:gd name="T102" fmla="*/ 0 w 459"/>
                <a:gd name="T103" fmla="*/ 0 h 491"/>
                <a:gd name="T104" fmla="*/ 0 w 459"/>
                <a:gd name="T105" fmla="*/ 0 h 491"/>
                <a:gd name="T106" fmla="*/ 0 w 459"/>
                <a:gd name="T107" fmla="*/ 0 h 491"/>
                <a:gd name="T108" fmla="*/ 0 w 459"/>
                <a:gd name="T109" fmla="*/ 0 h 491"/>
                <a:gd name="T110" fmla="*/ 0 w 459"/>
                <a:gd name="T111" fmla="*/ 0 h 491"/>
                <a:gd name="T112" fmla="*/ 0 w 459"/>
                <a:gd name="T113" fmla="*/ 0 h 491"/>
                <a:gd name="T114" fmla="*/ 0 w 459"/>
                <a:gd name="T115" fmla="*/ 0 h 491"/>
                <a:gd name="T116" fmla="*/ 0 w 459"/>
                <a:gd name="T117" fmla="*/ 0 h 49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59"/>
                <a:gd name="T178" fmla="*/ 0 h 491"/>
                <a:gd name="T179" fmla="*/ 459 w 459"/>
                <a:gd name="T180" fmla="*/ 491 h 49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59" h="491">
                  <a:moveTo>
                    <a:pt x="0" y="179"/>
                  </a:moveTo>
                  <a:lnTo>
                    <a:pt x="8" y="164"/>
                  </a:lnTo>
                  <a:lnTo>
                    <a:pt x="19" y="124"/>
                  </a:lnTo>
                  <a:lnTo>
                    <a:pt x="19" y="117"/>
                  </a:lnTo>
                  <a:lnTo>
                    <a:pt x="18" y="113"/>
                  </a:lnTo>
                  <a:lnTo>
                    <a:pt x="18" y="87"/>
                  </a:lnTo>
                  <a:lnTo>
                    <a:pt x="18" y="84"/>
                  </a:lnTo>
                  <a:lnTo>
                    <a:pt x="29" y="66"/>
                  </a:lnTo>
                  <a:lnTo>
                    <a:pt x="40" y="50"/>
                  </a:lnTo>
                  <a:lnTo>
                    <a:pt x="43" y="35"/>
                  </a:lnTo>
                  <a:lnTo>
                    <a:pt x="45" y="29"/>
                  </a:lnTo>
                  <a:lnTo>
                    <a:pt x="64" y="25"/>
                  </a:lnTo>
                  <a:lnTo>
                    <a:pt x="118" y="8"/>
                  </a:lnTo>
                  <a:lnTo>
                    <a:pt x="121" y="8"/>
                  </a:lnTo>
                  <a:lnTo>
                    <a:pt x="152" y="0"/>
                  </a:lnTo>
                  <a:lnTo>
                    <a:pt x="156" y="0"/>
                  </a:lnTo>
                  <a:lnTo>
                    <a:pt x="199" y="0"/>
                  </a:lnTo>
                  <a:lnTo>
                    <a:pt x="212" y="3"/>
                  </a:lnTo>
                  <a:lnTo>
                    <a:pt x="222" y="11"/>
                  </a:lnTo>
                  <a:lnTo>
                    <a:pt x="232" y="19"/>
                  </a:lnTo>
                  <a:lnTo>
                    <a:pt x="247" y="40"/>
                  </a:lnTo>
                  <a:lnTo>
                    <a:pt x="248" y="44"/>
                  </a:lnTo>
                  <a:lnTo>
                    <a:pt x="254" y="50"/>
                  </a:lnTo>
                  <a:lnTo>
                    <a:pt x="252" y="55"/>
                  </a:lnTo>
                  <a:lnTo>
                    <a:pt x="252" y="57"/>
                  </a:lnTo>
                  <a:lnTo>
                    <a:pt x="260" y="71"/>
                  </a:lnTo>
                  <a:lnTo>
                    <a:pt x="261" y="73"/>
                  </a:lnTo>
                  <a:lnTo>
                    <a:pt x="261" y="121"/>
                  </a:lnTo>
                  <a:lnTo>
                    <a:pt x="261" y="154"/>
                  </a:lnTo>
                  <a:lnTo>
                    <a:pt x="265" y="163"/>
                  </a:lnTo>
                  <a:lnTo>
                    <a:pt x="271" y="165"/>
                  </a:lnTo>
                  <a:lnTo>
                    <a:pt x="286" y="169"/>
                  </a:lnTo>
                  <a:lnTo>
                    <a:pt x="293" y="173"/>
                  </a:lnTo>
                  <a:lnTo>
                    <a:pt x="311" y="175"/>
                  </a:lnTo>
                  <a:lnTo>
                    <a:pt x="323" y="175"/>
                  </a:lnTo>
                  <a:lnTo>
                    <a:pt x="335" y="174"/>
                  </a:lnTo>
                  <a:lnTo>
                    <a:pt x="340" y="171"/>
                  </a:lnTo>
                  <a:lnTo>
                    <a:pt x="349" y="168"/>
                  </a:lnTo>
                  <a:lnTo>
                    <a:pt x="355" y="173"/>
                  </a:lnTo>
                  <a:lnTo>
                    <a:pt x="378" y="180"/>
                  </a:lnTo>
                  <a:lnTo>
                    <a:pt x="384" y="189"/>
                  </a:lnTo>
                  <a:lnTo>
                    <a:pt x="386" y="195"/>
                  </a:lnTo>
                  <a:lnTo>
                    <a:pt x="388" y="218"/>
                  </a:lnTo>
                  <a:lnTo>
                    <a:pt x="392" y="230"/>
                  </a:lnTo>
                  <a:lnTo>
                    <a:pt x="390" y="255"/>
                  </a:lnTo>
                  <a:lnTo>
                    <a:pt x="392" y="260"/>
                  </a:lnTo>
                  <a:lnTo>
                    <a:pt x="397" y="267"/>
                  </a:lnTo>
                  <a:lnTo>
                    <a:pt x="404" y="272"/>
                  </a:lnTo>
                  <a:lnTo>
                    <a:pt x="411" y="275"/>
                  </a:lnTo>
                  <a:lnTo>
                    <a:pt x="421" y="275"/>
                  </a:lnTo>
                  <a:lnTo>
                    <a:pt x="426" y="272"/>
                  </a:lnTo>
                  <a:lnTo>
                    <a:pt x="440" y="272"/>
                  </a:lnTo>
                  <a:lnTo>
                    <a:pt x="449" y="270"/>
                  </a:lnTo>
                  <a:lnTo>
                    <a:pt x="454" y="275"/>
                  </a:lnTo>
                  <a:lnTo>
                    <a:pt x="459" y="283"/>
                  </a:lnTo>
                  <a:lnTo>
                    <a:pt x="459" y="308"/>
                  </a:lnTo>
                  <a:lnTo>
                    <a:pt x="458" y="311"/>
                  </a:lnTo>
                  <a:lnTo>
                    <a:pt x="454" y="327"/>
                  </a:lnTo>
                  <a:lnTo>
                    <a:pt x="451" y="353"/>
                  </a:lnTo>
                  <a:lnTo>
                    <a:pt x="449" y="374"/>
                  </a:lnTo>
                  <a:lnTo>
                    <a:pt x="446" y="404"/>
                  </a:lnTo>
                  <a:lnTo>
                    <a:pt x="443" y="420"/>
                  </a:lnTo>
                  <a:lnTo>
                    <a:pt x="440" y="428"/>
                  </a:lnTo>
                  <a:lnTo>
                    <a:pt x="433" y="438"/>
                  </a:lnTo>
                  <a:lnTo>
                    <a:pt x="425" y="447"/>
                  </a:lnTo>
                  <a:lnTo>
                    <a:pt x="411" y="458"/>
                  </a:lnTo>
                  <a:lnTo>
                    <a:pt x="409" y="461"/>
                  </a:lnTo>
                  <a:lnTo>
                    <a:pt x="404" y="463"/>
                  </a:lnTo>
                  <a:lnTo>
                    <a:pt x="390" y="475"/>
                  </a:lnTo>
                  <a:lnTo>
                    <a:pt x="388" y="479"/>
                  </a:lnTo>
                  <a:lnTo>
                    <a:pt x="386" y="480"/>
                  </a:lnTo>
                  <a:lnTo>
                    <a:pt x="378" y="482"/>
                  </a:lnTo>
                  <a:lnTo>
                    <a:pt x="363" y="480"/>
                  </a:lnTo>
                  <a:lnTo>
                    <a:pt x="356" y="483"/>
                  </a:lnTo>
                  <a:lnTo>
                    <a:pt x="352" y="488"/>
                  </a:lnTo>
                  <a:lnTo>
                    <a:pt x="345" y="491"/>
                  </a:lnTo>
                  <a:lnTo>
                    <a:pt x="338" y="491"/>
                  </a:lnTo>
                  <a:lnTo>
                    <a:pt x="333" y="488"/>
                  </a:lnTo>
                  <a:lnTo>
                    <a:pt x="323" y="490"/>
                  </a:lnTo>
                  <a:lnTo>
                    <a:pt x="313" y="487"/>
                  </a:lnTo>
                  <a:lnTo>
                    <a:pt x="296" y="476"/>
                  </a:lnTo>
                  <a:lnTo>
                    <a:pt x="290" y="474"/>
                  </a:lnTo>
                  <a:lnTo>
                    <a:pt x="258" y="469"/>
                  </a:lnTo>
                  <a:lnTo>
                    <a:pt x="236" y="469"/>
                  </a:lnTo>
                  <a:lnTo>
                    <a:pt x="233" y="465"/>
                  </a:lnTo>
                  <a:lnTo>
                    <a:pt x="233" y="459"/>
                  </a:lnTo>
                  <a:lnTo>
                    <a:pt x="236" y="450"/>
                  </a:lnTo>
                  <a:lnTo>
                    <a:pt x="238" y="442"/>
                  </a:lnTo>
                  <a:lnTo>
                    <a:pt x="249" y="417"/>
                  </a:lnTo>
                  <a:lnTo>
                    <a:pt x="264" y="395"/>
                  </a:lnTo>
                  <a:lnTo>
                    <a:pt x="273" y="382"/>
                  </a:lnTo>
                  <a:lnTo>
                    <a:pt x="273" y="372"/>
                  </a:lnTo>
                  <a:lnTo>
                    <a:pt x="271" y="363"/>
                  </a:lnTo>
                  <a:lnTo>
                    <a:pt x="269" y="358"/>
                  </a:lnTo>
                  <a:lnTo>
                    <a:pt x="265" y="357"/>
                  </a:lnTo>
                  <a:lnTo>
                    <a:pt x="260" y="348"/>
                  </a:lnTo>
                  <a:lnTo>
                    <a:pt x="252" y="342"/>
                  </a:lnTo>
                  <a:lnTo>
                    <a:pt x="238" y="339"/>
                  </a:lnTo>
                  <a:lnTo>
                    <a:pt x="230" y="327"/>
                  </a:lnTo>
                  <a:lnTo>
                    <a:pt x="214" y="319"/>
                  </a:lnTo>
                  <a:lnTo>
                    <a:pt x="199" y="311"/>
                  </a:lnTo>
                  <a:lnTo>
                    <a:pt x="173" y="293"/>
                  </a:lnTo>
                  <a:lnTo>
                    <a:pt x="167" y="291"/>
                  </a:lnTo>
                  <a:lnTo>
                    <a:pt x="155" y="287"/>
                  </a:lnTo>
                  <a:lnTo>
                    <a:pt x="126" y="286"/>
                  </a:lnTo>
                  <a:lnTo>
                    <a:pt x="118" y="283"/>
                  </a:lnTo>
                  <a:lnTo>
                    <a:pt x="107" y="280"/>
                  </a:lnTo>
                  <a:lnTo>
                    <a:pt x="102" y="276"/>
                  </a:lnTo>
                  <a:lnTo>
                    <a:pt x="101" y="275"/>
                  </a:lnTo>
                  <a:lnTo>
                    <a:pt x="89" y="256"/>
                  </a:lnTo>
                  <a:lnTo>
                    <a:pt x="85" y="253"/>
                  </a:lnTo>
                  <a:lnTo>
                    <a:pt x="74" y="246"/>
                  </a:lnTo>
                  <a:lnTo>
                    <a:pt x="49" y="228"/>
                  </a:lnTo>
                  <a:lnTo>
                    <a:pt x="46" y="223"/>
                  </a:lnTo>
                  <a:lnTo>
                    <a:pt x="33" y="210"/>
                  </a:lnTo>
                  <a:lnTo>
                    <a:pt x="22" y="189"/>
                  </a:lnTo>
                  <a:lnTo>
                    <a:pt x="16" y="184"/>
                  </a:lnTo>
                  <a:lnTo>
                    <a:pt x="0" y="17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18" name="Freeform 238">
              <a:extLst>
                <a:ext uri="{FF2B5EF4-FFF2-40B4-BE49-F238E27FC236}">
                  <a16:creationId xmlns:a16="http://schemas.microsoft.com/office/drawing/2014/main" id="{8E10FE9C-E676-A769-7031-B9BA8D2F4DE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4297246" y="4327278"/>
              <a:ext cx="16416" cy="13718"/>
            </a:xfrm>
            <a:custGeom>
              <a:avLst/>
              <a:gdLst>
                <a:gd name="T0" fmla="*/ 0 w 32"/>
                <a:gd name="T1" fmla="*/ 0 h 27"/>
                <a:gd name="T2" fmla="*/ 0 w 32"/>
                <a:gd name="T3" fmla="*/ 0 h 27"/>
                <a:gd name="T4" fmla="*/ 0 w 32"/>
                <a:gd name="T5" fmla="*/ 0 h 27"/>
                <a:gd name="T6" fmla="*/ 0 w 32"/>
                <a:gd name="T7" fmla="*/ 0 h 27"/>
                <a:gd name="T8" fmla="*/ 0 w 32"/>
                <a:gd name="T9" fmla="*/ 0 h 27"/>
                <a:gd name="T10" fmla="*/ 0 w 32"/>
                <a:gd name="T11" fmla="*/ 0 h 27"/>
                <a:gd name="T12" fmla="*/ 0 w 32"/>
                <a:gd name="T13" fmla="*/ 0 h 27"/>
                <a:gd name="T14" fmla="*/ 0 w 32"/>
                <a:gd name="T15" fmla="*/ 0 h 27"/>
                <a:gd name="T16" fmla="*/ 0 w 32"/>
                <a:gd name="T17" fmla="*/ 0 h 27"/>
                <a:gd name="T18" fmla="*/ 0 w 32"/>
                <a:gd name="T19" fmla="*/ 0 h 27"/>
                <a:gd name="T20" fmla="*/ 0 w 32"/>
                <a:gd name="T21" fmla="*/ 0 h 27"/>
                <a:gd name="T22" fmla="*/ 0 w 32"/>
                <a:gd name="T23" fmla="*/ 0 h 2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2"/>
                <a:gd name="T37" fmla="*/ 0 h 27"/>
                <a:gd name="T38" fmla="*/ 32 w 32"/>
                <a:gd name="T39" fmla="*/ 27 h 2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2" h="27">
                  <a:moveTo>
                    <a:pt x="7" y="0"/>
                  </a:moveTo>
                  <a:lnTo>
                    <a:pt x="0" y="9"/>
                  </a:lnTo>
                  <a:lnTo>
                    <a:pt x="0" y="15"/>
                  </a:lnTo>
                  <a:lnTo>
                    <a:pt x="6" y="22"/>
                  </a:lnTo>
                  <a:lnTo>
                    <a:pt x="16" y="23"/>
                  </a:lnTo>
                  <a:lnTo>
                    <a:pt x="23" y="27"/>
                  </a:lnTo>
                  <a:lnTo>
                    <a:pt x="31" y="26"/>
                  </a:lnTo>
                  <a:lnTo>
                    <a:pt x="32" y="19"/>
                  </a:lnTo>
                  <a:lnTo>
                    <a:pt x="26" y="14"/>
                  </a:lnTo>
                  <a:lnTo>
                    <a:pt x="19" y="12"/>
                  </a:lnTo>
                  <a:lnTo>
                    <a:pt x="11" y="7"/>
                  </a:lnTo>
                  <a:lnTo>
                    <a:pt x="7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19" name="Freeform 239">
              <a:extLst>
                <a:ext uri="{FF2B5EF4-FFF2-40B4-BE49-F238E27FC236}">
                  <a16:creationId xmlns:a16="http://schemas.microsoft.com/office/drawing/2014/main" id="{719BF3CA-EACB-9BDF-C275-6ABEC9E8533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4316647" y="4340996"/>
              <a:ext cx="10446" cy="4572"/>
            </a:xfrm>
            <a:custGeom>
              <a:avLst/>
              <a:gdLst>
                <a:gd name="T0" fmla="*/ 0 w 18"/>
                <a:gd name="T1" fmla="*/ 0 h 12"/>
                <a:gd name="T2" fmla="*/ 0 w 18"/>
                <a:gd name="T3" fmla="*/ 0 h 12"/>
                <a:gd name="T4" fmla="*/ 0 w 18"/>
                <a:gd name="T5" fmla="*/ 0 h 12"/>
                <a:gd name="T6" fmla="*/ 0 w 18"/>
                <a:gd name="T7" fmla="*/ 0 h 12"/>
                <a:gd name="T8" fmla="*/ 0 w 18"/>
                <a:gd name="T9" fmla="*/ 0 h 12"/>
                <a:gd name="T10" fmla="*/ 0 w 18"/>
                <a:gd name="T11" fmla="*/ 0 h 12"/>
                <a:gd name="T12" fmla="*/ 0 w 18"/>
                <a:gd name="T13" fmla="*/ 0 h 12"/>
                <a:gd name="T14" fmla="*/ 0 w 18"/>
                <a:gd name="T15" fmla="*/ 0 h 12"/>
                <a:gd name="T16" fmla="*/ 0 w 18"/>
                <a:gd name="T17" fmla="*/ 0 h 12"/>
                <a:gd name="T18" fmla="*/ 0 w 18"/>
                <a:gd name="T19" fmla="*/ 0 h 12"/>
                <a:gd name="T20" fmla="*/ 0 w 18"/>
                <a:gd name="T21" fmla="*/ 0 h 12"/>
                <a:gd name="T22" fmla="*/ 0 w 18"/>
                <a:gd name="T23" fmla="*/ 0 h 12"/>
                <a:gd name="T24" fmla="*/ 0 w 18"/>
                <a:gd name="T25" fmla="*/ 0 h 1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8"/>
                <a:gd name="T40" fmla="*/ 0 h 12"/>
                <a:gd name="T41" fmla="*/ 18 w 18"/>
                <a:gd name="T42" fmla="*/ 12 h 1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8" h="12">
                  <a:moveTo>
                    <a:pt x="17" y="8"/>
                  </a:moveTo>
                  <a:lnTo>
                    <a:pt x="11" y="12"/>
                  </a:lnTo>
                  <a:lnTo>
                    <a:pt x="1" y="12"/>
                  </a:lnTo>
                  <a:lnTo>
                    <a:pt x="0" y="11"/>
                  </a:lnTo>
                  <a:lnTo>
                    <a:pt x="0" y="8"/>
                  </a:lnTo>
                  <a:lnTo>
                    <a:pt x="1" y="6"/>
                  </a:lnTo>
                  <a:lnTo>
                    <a:pt x="2" y="6"/>
                  </a:lnTo>
                  <a:lnTo>
                    <a:pt x="8" y="1"/>
                  </a:lnTo>
                  <a:lnTo>
                    <a:pt x="11" y="0"/>
                  </a:lnTo>
                  <a:lnTo>
                    <a:pt x="14" y="0"/>
                  </a:lnTo>
                  <a:lnTo>
                    <a:pt x="18" y="1"/>
                  </a:lnTo>
                  <a:lnTo>
                    <a:pt x="18" y="6"/>
                  </a:lnTo>
                  <a:lnTo>
                    <a:pt x="17" y="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20" name="Freeform 240">
              <a:extLst>
                <a:ext uri="{FF2B5EF4-FFF2-40B4-BE49-F238E27FC236}">
                  <a16:creationId xmlns:a16="http://schemas.microsoft.com/office/drawing/2014/main" id="{D4D4EC1E-58D8-26B1-33D6-0F49FBD1869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4292770" y="4345569"/>
              <a:ext cx="61186" cy="48775"/>
            </a:xfrm>
            <a:custGeom>
              <a:avLst/>
              <a:gdLst>
                <a:gd name="T0" fmla="*/ 0 w 116"/>
                <a:gd name="T1" fmla="*/ 0 h 87"/>
                <a:gd name="T2" fmla="*/ 0 w 116"/>
                <a:gd name="T3" fmla="*/ 0 h 87"/>
                <a:gd name="T4" fmla="*/ 0 w 116"/>
                <a:gd name="T5" fmla="*/ 0 h 87"/>
                <a:gd name="T6" fmla="*/ 0 w 116"/>
                <a:gd name="T7" fmla="*/ 0 h 87"/>
                <a:gd name="T8" fmla="*/ 0 w 116"/>
                <a:gd name="T9" fmla="*/ 0 h 87"/>
                <a:gd name="T10" fmla="*/ 0 w 116"/>
                <a:gd name="T11" fmla="*/ 0 h 87"/>
                <a:gd name="T12" fmla="*/ 0 w 116"/>
                <a:gd name="T13" fmla="*/ 0 h 87"/>
                <a:gd name="T14" fmla="*/ 0 w 116"/>
                <a:gd name="T15" fmla="*/ 0 h 87"/>
                <a:gd name="T16" fmla="*/ 0 w 116"/>
                <a:gd name="T17" fmla="*/ 0 h 87"/>
                <a:gd name="T18" fmla="*/ 0 w 116"/>
                <a:gd name="T19" fmla="*/ 0 h 87"/>
                <a:gd name="T20" fmla="*/ 0 w 116"/>
                <a:gd name="T21" fmla="*/ 0 h 87"/>
                <a:gd name="T22" fmla="*/ 0 w 116"/>
                <a:gd name="T23" fmla="*/ 0 h 87"/>
                <a:gd name="T24" fmla="*/ 0 w 116"/>
                <a:gd name="T25" fmla="*/ 0 h 87"/>
                <a:gd name="T26" fmla="*/ 0 w 116"/>
                <a:gd name="T27" fmla="*/ 0 h 87"/>
                <a:gd name="T28" fmla="*/ 0 w 116"/>
                <a:gd name="T29" fmla="*/ 0 h 87"/>
                <a:gd name="T30" fmla="*/ 0 w 116"/>
                <a:gd name="T31" fmla="*/ 0 h 87"/>
                <a:gd name="T32" fmla="*/ 0 w 116"/>
                <a:gd name="T33" fmla="*/ 0 h 87"/>
                <a:gd name="T34" fmla="*/ 0 w 116"/>
                <a:gd name="T35" fmla="*/ 0 h 87"/>
                <a:gd name="T36" fmla="*/ 0 w 116"/>
                <a:gd name="T37" fmla="*/ 0 h 87"/>
                <a:gd name="T38" fmla="*/ 0 w 116"/>
                <a:gd name="T39" fmla="*/ 0 h 87"/>
                <a:gd name="T40" fmla="*/ 0 w 116"/>
                <a:gd name="T41" fmla="*/ 0 h 87"/>
                <a:gd name="T42" fmla="*/ 0 w 116"/>
                <a:gd name="T43" fmla="*/ 0 h 87"/>
                <a:gd name="T44" fmla="*/ 0 w 116"/>
                <a:gd name="T45" fmla="*/ 0 h 87"/>
                <a:gd name="T46" fmla="*/ 0 w 116"/>
                <a:gd name="T47" fmla="*/ 0 h 87"/>
                <a:gd name="T48" fmla="*/ 0 w 116"/>
                <a:gd name="T49" fmla="*/ 0 h 87"/>
                <a:gd name="T50" fmla="*/ 0 w 116"/>
                <a:gd name="T51" fmla="*/ 0 h 87"/>
                <a:gd name="T52" fmla="*/ 0 w 116"/>
                <a:gd name="T53" fmla="*/ 0 h 87"/>
                <a:gd name="T54" fmla="*/ 0 w 116"/>
                <a:gd name="T55" fmla="*/ 0 h 87"/>
                <a:gd name="T56" fmla="*/ 0 w 116"/>
                <a:gd name="T57" fmla="*/ 0 h 87"/>
                <a:gd name="T58" fmla="*/ 0 w 116"/>
                <a:gd name="T59" fmla="*/ 0 h 87"/>
                <a:gd name="T60" fmla="*/ 0 w 116"/>
                <a:gd name="T61" fmla="*/ 0 h 87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6"/>
                <a:gd name="T94" fmla="*/ 0 h 87"/>
                <a:gd name="T95" fmla="*/ 116 w 116"/>
                <a:gd name="T96" fmla="*/ 87 h 87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6" h="87">
                  <a:moveTo>
                    <a:pt x="116" y="9"/>
                  </a:moveTo>
                  <a:lnTo>
                    <a:pt x="116" y="33"/>
                  </a:lnTo>
                  <a:lnTo>
                    <a:pt x="116" y="38"/>
                  </a:lnTo>
                  <a:lnTo>
                    <a:pt x="96" y="64"/>
                  </a:lnTo>
                  <a:lnTo>
                    <a:pt x="82" y="75"/>
                  </a:lnTo>
                  <a:lnTo>
                    <a:pt x="70" y="80"/>
                  </a:lnTo>
                  <a:lnTo>
                    <a:pt x="42" y="87"/>
                  </a:lnTo>
                  <a:lnTo>
                    <a:pt x="37" y="86"/>
                  </a:lnTo>
                  <a:lnTo>
                    <a:pt x="16" y="86"/>
                  </a:lnTo>
                  <a:lnTo>
                    <a:pt x="7" y="82"/>
                  </a:lnTo>
                  <a:lnTo>
                    <a:pt x="4" y="77"/>
                  </a:lnTo>
                  <a:lnTo>
                    <a:pt x="4" y="64"/>
                  </a:lnTo>
                  <a:lnTo>
                    <a:pt x="3" y="54"/>
                  </a:lnTo>
                  <a:lnTo>
                    <a:pt x="3" y="48"/>
                  </a:lnTo>
                  <a:lnTo>
                    <a:pt x="0" y="39"/>
                  </a:lnTo>
                  <a:lnTo>
                    <a:pt x="0" y="16"/>
                  </a:lnTo>
                  <a:lnTo>
                    <a:pt x="4" y="11"/>
                  </a:lnTo>
                  <a:lnTo>
                    <a:pt x="14" y="7"/>
                  </a:lnTo>
                  <a:lnTo>
                    <a:pt x="15" y="4"/>
                  </a:lnTo>
                  <a:lnTo>
                    <a:pt x="25" y="1"/>
                  </a:lnTo>
                  <a:lnTo>
                    <a:pt x="37" y="1"/>
                  </a:lnTo>
                  <a:lnTo>
                    <a:pt x="43" y="1"/>
                  </a:lnTo>
                  <a:lnTo>
                    <a:pt x="55" y="5"/>
                  </a:lnTo>
                  <a:lnTo>
                    <a:pt x="63" y="5"/>
                  </a:lnTo>
                  <a:lnTo>
                    <a:pt x="76" y="1"/>
                  </a:lnTo>
                  <a:lnTo>
                    <a:pt x="95" y="0"/>
                  </a:lnTo>
                  <a:lnTo>
                    <a:pt x="107" y="1"/>
                  </a:lnTo>
                  <a:lnTo>
                    <a:pt x="111" y="4"/>
                  </a:lnTo>
                  <a:lnTo>
                    <a:pt x="114" y="7"/>
                  </a:lnTo>
                  <a:lnTo>
                    <a:pt x="114" y="9"/>
                  </a:lnTo>
                  <a:lnTo>
                    <a:pt x="116" y="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21" name="Freeform 241">
              <a:extLst>
                <a:ext uri="{FF2B5EF4-FFF2-40B4-BE49-F238E27FC236}">
                  <a16:creationId xmlns:a16="http://schemas.microsoft.com/office/drawing/2014/main" id="{81CCC1CE-8D26-4975-7531-ECAB5081060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4274862" y="4340996"/>
              <a:ext cx="17908" cy="22863"/>
            </a:xfrm>
            <a:custGeom>
              <a:avLst/>
              <a:gdLst>
                <a:gd name="T0" fmla="*/ 0 w 31"/>
                <a:gd name="T1" fmla="*/ 0 h 38"/>
                <a:gd name="T2" fmla="*/ 0 w 31"/>
                <a:gd name="T3" fmla="*/ 0 h 38"/>
                <a:gd name="T4" fmla="*/ 0 w 31"/>
                <a:gd name="T5" fmla="*/ 0 h 38"/>
                <a:gd name="T6" fmla="*/ 0 w 31"/>
                <a:gd name="T7" fmla="*/ 0 h 38"/>
                <a:gd name="T8" fmla="*/ 0 w 31"/>
                <a:gd name="T9" fmla="*/ 0 h 38"/>
                <a:gd name="T10" fmla="*/ 0 w 31"/>
                <a:gd name="T11" fmla="*/ 0 h 38"/>
                <a:gd name="T12" fmla="*/ 0 w 31"/>
                <a:gd name="T13" fmla="*/ 0 h 38"/>
                <a:gd name="T14" fmla="*/ 0 w 31"/>
                <a:gd name="T15" fmla="*/ 0 h 38"/>
                <a:gd name="T16" fmla="*/ 0 w 31"/>
                <a:gd name="T17" fmla="*/ 0 h 38"/>
                <a:gd name="T18" fmla="*/ 0 w 31"/>
                <a:gd name="T19" fmla="*/ 0 h 38"/>
                <a:gd name="T20" fmla="*/ 0 w 31"/>
                <a:gd name="T21" fmla="*/ 0 h 38"/>
                <a:gd name="T22" fmla="*/ 0 w 31"/>
                <a:gd name="T23" fmla="*/ 0 h 38"/>
                <a:gd name="T24" fmla="*/ 0 w 31"/>
                <a:gd name="T25" fmla="*/ 0 h 38"/>
                <a:gd name="T26" fmla="*/ 0 w 31"/>
                <a:gd name="T27" fmla="*/ 0 h 38"/>
                <a:gd name="T28" fmla="*/ 0 w 31"/>
                <a:gd name="T29" fmla="*/ 0 h 38"/>
                <a:gd name="T30" fmla="*/ 0 w 31"/>
                <a:gd name="T31" fmla="*/ 0 h 38"/>
                <a:gd name="T32" fmla="*/ 0 w 31"/>
                <a:gd name="T33" fmla="*/ 0 h 38"/>
                <a:gd name="T34" fmla="*/ 0 w 31"/>
                <a:gd name="T35" fmla="*/ 0 h 38"/>
                <a:gd name="T36" fmla="*/ 0 w 31"/>
                <a:gd name="T37" fmla="*/ 0 h 38"/>
                <a:gd name="T38" fmla="*/ 0 w 31"/>
                <a:gd name="T39" fmla="*/ 0 h 38"/>
                <a:gd name="T40" fmla="*/ 0 w 31"/>
                <a:gd name="T41" fmla="*/ 0 h 38"/>
                <a:gd name="T42" fmla="*/ 0 w 31"/>
                <a:gd name="T43" fmla="*/ 0 h 38"/>
                <a:gd name="T44" fmla="*/ 0 w 31"/>
                <a:gd name="T45" fmla="*/ 0 h 38"/>
                <a:gd name="T46" fmla="*/ 0 w 31"/>
                <a:gd name="T47" fmla="*/ 0 h 3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1"/>
                <a:gd name="T73" fmla="*/ 0 h 38"/>
                <a:gd name="T74" fmla="*/ 31 w 31"/>
                <a:gd name="T75" fmla="*/ 38 h 3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1" h="38">
                  <a:moveTo>
                    <a:pt x="31" y="16"/>
                  </a:moveTo>
                  <a:lnTo>
                    <a:pt x="31" y="18"/>
                  </a:lnTo>
                  <a:lnTo>
                    <a:pt x="24" y="25"/>
                  </a:lnTo>
                  <a:lnTo>
                    <a:pt x="24" y="27"/>
                  </a:lnTo>
                  <a:lnTo>
                    <a:pt x="13" y="38"/>
                  </a:lnTo>
                  <a:lnTo>
                    <a:pt x="5" y="38"/>
                  </a:lnTo>
                  <a:lnTo>
                    <a:pt x="5" y="34"/>
                  </a:lnTo>
                  <a:lnTo>
                    <a:pt x="0" y="30"/>
                  </a:lnTo>
                  <a:lnTo>
                    <a:pt x="0" y="27"/>
                  </a:lnTo>
                  <a:lnTo>
                    <a:pt x="2" y="22"/>
                  </a:lnTo>
                  <a:lnTo>
                    <a:pt x="9" y="15"/>
                  </a:lnTo>
                  <a:lnTo>
                    <a:pt x="10" y="10"/>
                  </a:lnTo>
                  <a:lnTo>
                    <a:pt x="11" y="6"/>
                  </a:lnTo>
                  <a:lnTo>
                    <a:pt x="15" y="5"/>
                  </a:lnTo>
                  <a:lnTo>
                    <a:pt x="24" y="3"/>
                  </a:lnTo>
                  <a:lnTo>
                    <a:pt x="24" y="2"/>
                  </a:lnTo>
                  <a:lnTo>
                    <a:pt x="31" y="0"/>
                  </a:lnTo>
                  <a:lnTo>
                    <a:pt x="31" y="3"/>
                  </a:lnTo>
                  <a:lnTo>
                    <a:pt x="24" y="6"/>
                  </a:lnTo>
                  <a:lnTo>
                    <a:pt x="20" y="10"/>
                  </a:lnTo>
                  <a:lnTo>
                    <a:pt x="20" y="13"/>
                  </a:lnTo>
                  <a:lnTo>
                    <a:pt x="30" y="11"/>
                  </a:lnTo>
                  <a:lnTo>
                    <a:pt x="30" y="15"/>
                  </a:lnTo>
                  <a:lnTo>
                    <a:pt x="31" y="1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22" name="Freeform 242">
              <a:extLst>
                <a:ext uri="{FF2B5EF4-FFF2-40B4-BE49-F238E27FC236}">
                  <a16:creationId xmlns:a16="http://schemas.microsoft.com/office/drawing/2014/main" id="{38C58208-75DB-A905-8874-8F4E3CCF526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4306200" y="4327278"/>
              <a:ext cx="2985" cy="1525"/>
            </a:xfrm>
            <a:custGeom>
              <a:avLst/>
              <a:gdLst>
                <a:gd name="T0" fmla="*/ 0 w 6"/>
                <a:gd name="T1" fmla="*/ 0 h 7"/>
                <a:gd name="T2" fmla="*/ 0 w 6"/>
                <a:gd name="T3" fmla="*/ 0 h 7"/>
                <a:gd name="T4" fmla="*/ 0 w 6"/>
                <a:gd name="T5" fmla="*/ 0 h 7"/>
                <a:gd name="T6" fmla="*/ 0 w 6"/>
                <a:gd name="T7" fmla="*/ 0 h 7"/>
                <a:gd name="T8" fmla="*/ 0 w 6"/>
                <a:gd name="T9" fmla="*/ 0 h 7"/>
                <a:gd name="T10" fmla="*/ 0 w 6"/>
                <a:gd name="T11" fmla="*/ 0 h 7"/>
                <a:gd name="T12" fmla="*/ 0 w 6"/>
                <a:gd name="T13" fmla="*/ 0 h 7"/>
                <a:gd name="T14" fmla="*/ 0 w 6"/>
                <a:gd name="T15" fmla="*/ 0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7"/>
                <a:gd name="T26" fmla="*/ 6 w 6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7">
                  <a:moveTo>
                    <a:pt x="5" y="0"/>
                  </a:moveTo>
                  <a:lnTo>
                    <a:pt x="6" y="5"/>
                  </a:lnTo>
                  <a:lnTo>
                    <a:pt x="5" y="7"/>
                  </a:lnTo>
                  <a:lnTo>
                    <a:pt x="3" y="7"/>
                  </a:lnTo>
                  <a:lnTo>
                    <a:pt x="0" y="7"/>
                  </a:lnTo>
                  <a:lnTo>
                    <a:pt x="0" y="3"/>
                  </a:lnTo>
                  <a:lnTo>
                    <a:pt x="1" y="1"/>
                  </a:lnTo>
                  <a:lnTo>
                    <a:pt x="5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23" name="Freeform 243">
              <a:extLst>
                <a:ext uri="{FF2B5EF4-FFF2-40B4-BE49-F238E27FC236}">
                  <a16:creationId xmlns:a16="http://schemas.microsoft.com/office/drawing/2014/main" id="{E339B67F-F4DA-8375-252D-7335AD8288D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4295754" y="4340996"/>
              <a:ext cx="5969" cy="3049"/>
            </a:xfrm>
            <a:custGeom>
              <a:avLst/>
              <a:gdLst>
                <a:gd name="T0" fmla="*/ 0 w 8"/>
                <a:gd name="T1" fmla="*/ 0 h 6"/>
                <a:gd name="T2" fmla="*/ 0 w 8"/>
                <a:gd name="T3" fmla="*/ 0 h 6"/>
                <a:gd name="T4" fmla="*/ 0 w 8"/>
                <a:gd name="T5" fmla="*/ 0 h 6"/>
                <a:gd name="T6" fmla="*/ 0 w 8"/>
                <a:gd name="T7" fmla="*/ 0 h 6"/>
                <a:gd name="T8" fmla="*/ 0 w 8"/>
                <a:gd name="T9" fmla="*/ 0 h 6"/>
                <a:gd name="T10" fmla="*/ 0 w 8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7" y="0"/>
                  </a:moveTo>
                  <a:lnTo>
                    <a:pt x="8" y="2"/>
                  </a:lnTo>
                  <a:lnTo>
                    <a:pt x="8" y="6"/>
                  </a:lnTo>
                  <a:lnTo>
                    <a:pt x="3" y="6"/>
                  </a:lnTo>
                  <a:lnTo>
                    <a:pt x="0" y="1"/>
                  </a:lnTo>
                  <a:lnTo>
                    <a:pt x="7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24" name="Freeform 244">
              <a:extLst>
                <a:ext uri="{FF2B5EF4-FFF2-40B4-BE49-F238E27FC236}">
                  <a16:creationId xmlns:a16="http://schemas.microsoft.com/office/drawing/2014/main" id="{FB3282E1-FAF9-0E77-D54B-BCB47F43A91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610769" y="4179430"/>
              <a:ext cx="1138657" cy="1274246"/>
            </a:xfrm>
            <a:custGeom>
              <a:avLst/>
              <a:gdLst>
                <a:gd name="T0" fmla="*/ 2147483647 w 2135"/>
                <a:gd name="T1" fmla="*/ 0 h 2241"/>
                <a:gd name="T2" fmla="*/ 2147483647 w 2135"/>
                <a:gd name="T3" fmla="*/ 0 h 2241"/>
                <a:gd name="T4" fmla="*/ 2147483647 w 2135"/>
                <a:gd name="T5" fmla="*/ 0 h 2241"/>
                <a:gd name="T6" fmla="*/ 2147483647 w 2135"/>
                <a:gd name="T7" fmla="*/ 0 h 2241"/>
                <a:gd name="T8" fmla="*/ 2147483647 w 2135"/>
                <a:gd name="T9" fmla="*/ 0 h 2241"/>
                <a:gd name="T10" fmla="*/ 2147483647 w 2135"/>
                <a:gd name="T11" fmla="*/ 0 h 2241"/>
                <a:gd name="T12" fmla="*/ 0 w 2135"/>
                <a:gd name="T13" fmla="*/ 0 h 2241"/>
                <a:gd name="T14" fmla="*/ 0 w 2135"/>
                <a:gd name="T15" fmla="*/ 0 h 2241"/>
                <a:gd name="T16" fmla="*/ 0 w 2135"/>
                <a:gd name="T17" fmla="*/ 2147483647 h 2241"/>
                <a:gd name="T18" fmla="*/ 0 w 2135"/>
                <a:gd name="T19" fmla="*/ 2147483647 h 2241"/>
                <a:gd name="T20" fmla="*/ 0 w 2135"/>
                <a:gd name="T21" fmla="*/ 2147483647 h 2241"/>
                <a:gd name="T22" fmla="*/ 0 w 2135"/>
                <a:gd name="T23" fmla="*/ 2147483647 h 2241"/>
                <a:gd name="T24" fmla="*/ 0 w 2135"/>
                <a:gd name="T25" fmla="*/ 2147483647 h 2241"/>
                <a:gd name="T26" fmla="*/ 0 w 2135"/>
                <a:gd name="T27" fmla="*/ 2147483647 h 2241"/>
                <a:gd name="T28" fmla="*/ 2147483647 w 2135"/>
                <a:gd name="T29" fmla="*/ 2147483647 h 2241"/>
                <a:gd name="T30" fmla="*/ 2147483647 w 2135"/>
                <a:gd name="T31" fmla="*/ 2147483647 h 2241"/>
                <a:gd name="T32" fmla="*/ 2147483647 w 2135"/>
                <a:gd name="T33" fmla="*/ 2147483647 h 2241"/>
                <a:gd name="T34" fmla="*/ 2147483647 w 2135"/>
                <a:gd name="T35" fmla="*/ 2147483647 h 2241"/>
                <a:gd name="T36" fmla="*/ 2147483647 w 2135"/>
                <a:gd name="T37" fmla="*/ 2147483647 h 2241"/>
                <a:gd name="T38" fmla="*/ 2147483647 w 2135"/>
                <a:gd name="T39" fmla="*/ 2147483647 h 2241"/>
                <a:gd name="T40" fmla="*/ 2147483647 w 2135"/>
                <a:gd name="T41" fmla="*/ 2147483647 h 2241"/>
                <a:gd name="T42" fmla="*/ 2147483647 w 2135"/>
                <a:gd name="T43" fmla="*/ 2147483647 h 2241"/>
                <a:gd name="T44" fmla="*/ 2147483647 w 2135"/>
                <a:gd name="T45" fmla="*/ 2147483647 h 2241"/>
                <a:gd name="T46" fmla="*/ 2147483647 w 2135"/>
                <a:gd name="T47" fmla="*/ 2147483647 h 2241"/>
                <a:gd name="T48" fmla="*/ 2147483647 w 2135"/>
                <a:gd name="T49" fmla="*/ 2147483647 h 2241"/>
                <a:gd name="T50" fmla="*/ 2147483647 w 2135"/>
                <a:gd name="T51" fmla="*/ 2147483647 h 2241"/>
                <a:gd name="T52" fmla="*/ 2147483647 w 2135"/>
                <a:gd name="T53" fmla="*/ 2147483647 h 2241"/>
                <a:gd name="T54" fmla="*/ 2147483647 w 2135"/>
                <a:gd name="T55" fmla="*/ 2147483647 h 2241"/>
                <a:gd name="T56" fmla="*/ 2147483647 w 2135"/>
                <a:gd name="T57" fmla="*/ 2147483647 h 2241"/>
                <a:gd name="T58" fmla="*/ 2147483647 w 2135"/>
                <a:gd name="T59" fmla="*/ 2147483647 h 2241"/>
                <a:gd name="T60" fmla="*/ 2147483647 w 2135"/>
                <a:gd name="T61" fmla="*/ 2147483647 h 2241"/>
                <a:gd name="T62" fmla="*/ 2147483647 w 2135"/>
                <a:gd name="T63" fmla="*/ 2147483647 h 2241"/>
                <a:gd name="T64" fmla="*/ 2147483647 w 2135"/>
                <a:gd name="T65" fmla="*/ 2147483647 h 2241"/>
                <a:gd name="T66" fmla="*/ 2147483647 w 2135"/>
                <a:gd name="T67" fmla="*/ 2147483647 h 2241"/>
                <a:gd name="T68" fmla="*/ 2147483647 w 2135"/>
                <a:gd name="T69" fmla="*/ 2147483647 h 2241"/>
                <a:gd name="T70" fmla="*/ 2147483647 w 2135"/>
                <a:gd name="T71" fmla="*/ 2147483647 h 2241"/>
                <a:gd name="T72" fmla="*/ 2147483647 w 2135"/>
                <a:gd name="T73" fmla="*/ 2147483647 h 2241"/>
                <a:gd name="T74" fmla="*/ 2147483647 w 2135"/>
                <a:gd name="T75" fmla="*/ 2147483647 h 2241"/>
                <a:gd name="T76" fmla="*/ 2147483647 w 2135"/>
                <a:gd name="T77" fmla="*/ 2147483647 h 2241"/>
                <a:gd name="T78" fmla="*/ 2147483647 w 2135"/>
                <a:gd name="T79" fmla="*/ 2147483647 h 2241"/>
                <a:gd name="T80" fmla="*/ 2147483647 w 2135"/>
                <a:gd name="T81" fmla="*/ 2147483647 h 2241"/>
                <a:gd name="T82" fmla="*/ 2147483647 w 2135"/>
                <a:gd name="T83" fmla="*/ 2147483647 h 2241"/>
                <a:gd name="T84" fmla="*/ 2147483647 w 2135"/>
                <a:gd name="T85" fmla="*/ 2147483647 h 2241"/>
                <a:gd name="T86" fmla="*/ 2147483647 w 2135"/>
                <a:gd name="T87" fmla="*/ 2147483647 h 2241"/>
                <a:gd name="T88" fmla="*/ 2147483647 w 2135"/>
                <a:gd name="T89" fmla="*/ 2147483647 h 2241"/>
                <a:gd name="T90" fmla="*/ 2147483647 w 2135"/>
                <a:gd name="T91" fmla="*/ 2147483647 h 2241"/>
                <a:gd name="T92" fmla="*/ 2147483647 w 2135"/>
                <a:gd name="T93" fmla="*/ 2147483647 h 2241"/>
                <a:gd name="T94" fmla="*/ 2147483647 w 2135"/>
                <a:gd name="T95" fmla="*/ 2147483647 h 2241"/>
                <a:gd name="T96" fmla="*/ 2147483647 w 2135"/>
                <a:gd name="T97" fmla="*/ 2147483647 h 2241"/>
                <a:gd name="T98" fmla="*/ 2147483647 w 2135"/>
                <a:gd name="T99" fmla="*/ 2147483647 h 2241"/>
                <a:gd name="T100" fmla="*/ 2147483647 w 2135"/>
                <a:gd name="T101" fmla="*/ 0 h 2241"/>
                <a:gd name="T102" fmla="*/ 2147483647 w 2135"/>
                <a:gd name="T103" fmla="*/ 0 h 2241"/>
                <a:gd name="T104" fmla="*/ 2147483647 w 2135"/>
                <a:gd name="T105" fmla="*/ 0 h 2241"/>
                <a:gd name="T106" fmla="*/ 2147483647 w 2135"/>
                <a:gd name="T107" fmla="*/ 0 h 2241"/>
                <a:gd name="T108" fmla="*/ 2147483647 w 2135"/>
                <a:gd name="T109" fmla="*/ 0 h 2241"/>
                <a:gd name="T110" fmla="*/ 2147483647 w 2135"/>
                <a:gd name="T111" fmla="*/ 0 h 2241"/>
                <a:gd name="T112" fmla="*/ 2147483647 w 2135"/>
                <a:gd name="T113" fmla="*/ 0 h 2241"/>
                <a:gd name="T114" fmla="*/ 2147483647 w 2135"/>
                <a:gd name="T115" fmla="*/ 0 h 2241"/>
                <a:gd name="T116" fmla="*/ 2147483647 w 2135"/>
                <a:gd name="T117" fmla="*/ 0 h 224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135"/>
                <a:gd name="T178" fmla="*/ 0 h 2241"/>
                <a:gd name="T179" fmla="*/ 2135 w 2135"/>
                <a:gd name="T180" fmla="*/ 2241 h 224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135" h="2241">
                  <a:moveTo>
                    <a:pt x="725" y="3"/>
                  </a:moveTo>
                  <a:lnTo>
                    <a:pt x="725" y="15"/>
                  </a:lnTo>
                  <a:lnTo>
                    <a:pt x="713" y="28"/>
                  </a:lnTo>
                  <a:lnTo>
                    <a:pt x="706" y="35"/>
                  </a:lnTo>
                  <a:lnTo>
                    <a:pt x="702" y="37"/>
                  </a:lnTo>
                  <a:lnTo>
                    <a:pt x="686" y="38"/>
                  </a:lnTo>
                  <a:lnTo>
                    <a:pt x="680" y="42"/>
                  </a:lnTo>
                  <a:lnTo>
                    <a:pt x="672" y="46"/>
                  </a:lnTo>
                  <a:lnTo>
                    <a:pt x="666" y="54"/>
                  </a:lnTo>
                  <a:lnTo>
                    <a:pt x="661" y="57"/>
                  </a:lnTo>
                  <a:lnTo>
                    <a:pt x="632" y="59"/>
                  </a:lnTo>
                  <a:lnTo>
                    <a:pt x="616" y="63"/>
                  </a:lnTo>
                  <a:lnTo>
                    <a:pt x="598" y="69"/>
                  </a:lnTo>
                  <a:lnTo>
                    <a:pt x="594" y="73"/>
                  </a:lnTo>
                  <a:lnTo>
                    <a:pt x="593" y="74"/>
                  </a:lnTo>
                  <a:lnTo>
                    <a:pt x="568" y="73"/>
                  </a:lnTo>
                  <a:lnTo>
                    <a:pt x="550" y="68"/>
                  </a:lnTo>
                  <a:lnTo>
                    <a:pt x="529" y="55"/>
                  </a:lnTo>
                  <a:lnTo>
                    <a:pt x="507" y="53"/>
                  </a:lnTo>
                  <a:lnTo>
                    <a:pt x="500" y="51"/>
                  </a:lnTo>
                  <a:lnTo>
                    <a:pt x="496" y="51"/>
                  </a:lnTo>
                  <a:lnTo>
                    <a:pt x="495" y="51"/>
                  </a:lnTo>
                  <a:lnTo>
                    <a:pt x="496" y="60"/>
                  </a:lnTo>
                  <a:lnTo>
                    <a:pt x="500" y="69"/>
                  </a:lnTo>
                  <a:lnTo>
                    <a:pt x="511" y="74"/>
                  </a:lnTo>
                  <a:lnTo>
                    <a:pt x="523" y="81"/>
                  </a:lnTo>
                  <a:lnTo>
                    <a:pt x="525" y="84"/>
                  </a:lnTo>
                  <a:lnTo>
                    <a:pt x="524" y="96"/>
                  </a:lnTo>
                  <a:lnTo>
                    <a:pt x="521" y="109"/>
                  </a:lnTo>
                  <a:lnTo>
                    <a:pt x="521" y="116"/>
                  </a:lnTo>
                  <a:lnTo>
                    <a:pt x="522" y="121"/>
                  </a:lnTo>
                  <a:lnTo>
                    <a:pt x="527" y="138"/>
                  </a:lnTo>
                  <a:lnTo>
                    <a:pt x="528" y="146"/>
                  </a:lnTo>
                  <a:lnTo>
                    <a:pt x="530" y="152"/>
                  </a:lnTo>
                  <a:lnTo>
                    <a:pt x="545" y="155"/>
                  </a:lnTo>
                  <a:lnTo>
                    <a:pt x="548" y="156"/>
                  </a:lnTo>
                  <a:lnTo>
                    <a:pt x="572" y="155"/>
                  </a:lnTo>
                  <a:lnTo>
                    <a:pt x="572" y="164"/>
                  </a:lnTo>
                  <a:lnTo>
                    <a:pt x="572" y="165"/>
                  </a:lnTo>
                  <a:lnTo>
                    <a:pt x="570" y="168"/>
                  </a:lnTo>
                  <a:lnTo>
                    <a:pt x="559" y="170"/>
                  </a:lnTo>
                  <a:lnTo>
                    <a:pt x="551" y="173"/>
                  </a:lnTo>
                  <a:lnTo>
                    <a:pt x="550" y="176"/>
                  </a:lnTo>
                  <a:lnTo>
                    <a:pt x="545" y="179"/>
                  </a:lnTo>
                  <a:lnTo>
                    <a:pt x="537" y="179"/>
                  </a:lnTo>
                  <a:lnTo>
                    <a:pt x="532" y="187"/>
                  </a:lnTo>
                  <a:lnTo>
                    <a:pt x="527" y="202"/>
                  </a:lnTo>
                  <a:lnTo>
                    <a:pt x="522" y="205"/>
                  </a:lnTo>
                  <a:lnTo>
                    <a:pt x="517" y="207"/>
                  </a:lnTo>
                  <a:lnTo>
                    <a:pt x="512" y="207"/>
                  </a:lnTo>
                  <a:lnTo>
                    <a:pt x="506" y="210"/>
                  </a:lnTo>
                  <a:lnTo>
                    <a:pt x="503" y="211"/>
                  </a:lnTo>
                  <a:lnTo>
                    <a:pt x="501" y="216"/>
                  </a:lnTo>
                  <a:lnTo>
                    <a:pt x="492" y="216"/>
                  </a:lnTo>
                  <a:lnTo>
                    <a:pt x="480" y="221"/>
                  </a:lnTo>
                  <a:lnTo>
                    <a:pt x="478" y="221"/>
                  </a:lnTo>
                  <a:lnTo>
                    <a:pt x="470" y="225"/>
                  </a:lnTo>
                  <a:lnTo>
                    <a:pt x="462" y="229"/>
                  </a:lnTo>
                  <a:lnTo>
                    <a:pt x="457" y="232"/>
                  </a:lnTo>
                  <a:lnTo>
                    <a:pt x="449" y="240"/>
                  </a:lnTo>
                  <a:lnTo>
                    <a:pt x="447" y="241"/>
                  </a:lnTo>
                  <a:lnTo>
                    <a:pt x="428" y="245"/>
                  </a:lnTo>
                  <a:lnTo>
                    <a:pt x="411" y="245"/>
                  </a:lnTo>
                  <a:lnTo>
                    <a:pt x="409" y="243"/>
                  </a:lnTo>
                  <a:lnTo>
                    <a:pt x="408" y="243"/>
                  </a:lnTo>
                  <a:lnTo>
                    <a:pt x="394" y="235"/>
                  </a:lnTo>
                  <a:lnTo>
                    <a:pt x="390" y="231"/>
                  </a:lnTo>
                  <a:lnTo>
                    <a:pt x="387" y="226"/>
                  </a:lnTo>
                  <a:lnTo>
                    <a:pt x="384" y="221"/>
                  </a:lnTo>
                  <a:lnTo>
                    <a:pt x="379" y="214"/>
                  </a:lnTo>
                  <a:lnTo>
                    <a:pt x="379" y="216"/>
                  </a:lnTo>
                  <a:lnTo>
                    <a:pt x="368" y="221"/>
                  </a:lnTo>
                  <a:lnTo>
                    <a:pt x="362" y="192"/>
                  </a:lnTo>
                  <a:lnTo>
                    <a:pt x="354" y="181"/>
                  </a:lnTo>
                  <a:lnTo>
                    <a:pt x="349" y="176"/>
                  </a:lnTo>
                  <a:lnTo>
                    <a:pt x="338" y="176"/>
                  </a:lnTo>
                  <a:lnTo>
                    <a:pt x="319" y="186"/>
                  </a:lnTo>
                  <a:lnTo>
                    <a:pt x="317" y="186"/>
                  </a:lnTo>
                  <a:lnTo>
                    <a:pt x="313" y="179"/>
                  </a:lnTo>
                  <a:lnTo>
                    <a:pt x="309" y="177"/>
                  </a:lnTo>
                  <a:lnTo>
                    <a:pt x="307" y="177"/>
                  </a:lnTo>
                  <a:lnTo>
                    <a:pt x="303" y="182"/>
                  </a:lnTo>
                  <a:lnTo>
                    <a:pt x="302" y="188"/>
                  </a:lnTo>
                  <a:lnTo>
                    <a:pt x="298" y="192"/>
                  </a:lnTo>
                  <a:lnTo>
                    <a:pt x="218" y="192"/>
                  </a:lnTo>
                  <a:lnTo>
                    <a:pt x="217" y="191"/>
                  </a:lnTo>
                  <a:lnTo>
                    <a:pt x="217" y="222"/>
                  </a:lnTo>
                  <a:lnTo>
                    <a:pt x="217" y="225"/>
                  </a:lnTo>
                  <a:lnTo>
                    <a:pt x="221" y="226"/>
                  </a:lnTo>
                  <a:lnTo>
                    <a:pt x="225" y="231"/>
                  </a:lnTo>
                  <a:lnTo>
                    <a:pt x="232" y="231"/>
                  </a:lnTo>
                  <a:lnTo>
                    <a:pt x="234" y="229"/>
                  </a:lnTo>
                  <a:lnTo>
                    <a:pt x="244" y="227"/>
                  </a:lnTo>
                  <a:lnTo>
                    <a:pt x="249" y="235"/>
                  </a:lnTo>
                  <a:lnTo>
                    <a:pt x="250" y="242"/>
                  </a:lnTo>
                  <a:lnTo>
                    <a:pt x="254" y="252"/>
                  </a:lnTo>
                  <a:lnTo>
                    <a:pt x="254" y="253"/>
                  </a:lnTo>
                  <a:lnTo>
                    <a:pt x="249" y="254"/>
                  </a:lnTo>
                  <a:lnTo>
                    <a:pt x="248" y="252"/>
                  </a:lnTo>
                  <a:lnTo>
                    <a:pt x="244" y="251"/>
                  </a:lnTo>
                  <a:lnTo>
                    <a:pt x="234" y="249"/>
                  </a:lnTo>
                  <a:lnTo>
                    <a:pt x="227" y="252"/>
                  </a:lnTo>
                  <a:lnTo>
                    <a:pt x="210" y="254"/>
                  </a:lnTo>
                  <a:lnTo>
                    <a:pt x="205" y="257"/>
                  </a:lnTo>
                  <a:lnTo>
                    <a:pt x="205" y="295"/>
                  </a:lnTo>
                  <a:lnTo>
                    <a:pt x="210" y="300"/>
                  </a:lnTo>
                  <a:lnTo>
                    <a:pt x="222" y="310"/>
                  </a:lnTo>
                  <a:lnTo>
                    <a:pt x="228" y="316"/>
                  </a:lnTo>
                  <a:lnTo>
                    <a:pt x="233" y="326"/>
                  </a:lnTo>
                  <a:lnTo>
                    <a:pt x="240" y="354"/>
                  </a:lnTo>
                  <a:lnTo>
                    <a:pt x="239" y="360"/>
                  </a:lnTo>
                  <a:lnTo>
                    <a:pt x="238" y="370"/>
                  </a:lnTo>
                  <a:lnTo>
                    <a:pt x="228" y="433"/>
                  </a:lnTo>
                  <a:lnTo>
                    <a:pt x="227" y="434"/>
                  </a:lnTo>
                  <a:lnTo>
                    <a:pt x="223" y="452"/>
                  </a:lnTo>
                  <a:lnTo>
                    <a:pt x="220" y="460"/>
                  </a:lnTo>
                  <a:lnTo>
                    <a:pt x="218" y="472"/>
                  </a:lnTo>
                  <a:lnTo>
                    <a:pt x="217" y="475"/>
                  </a:lnTo>
                  <a:lnTo>
                    <a:pt x="216" y="483"/>
                  </a:lnTo>
                  <a:lnTo>
                    <a:pt x="213" y="498"/>
                  </a:lnTo>
                  <a:lnTo>
                    <a:pt x="211" y="504"/>
                  </a:lnTo>
                  <a:lnTo>
                    <a:pt x="210" y="511"/>
                  </a:lnTo>
                  <a:lnTo>
                    <a:pt x="209" y="514"/>
                  </a:lnTo>
                  <a:lnTo>
                    <a:pt x="202" y="517"/>
                  </a:lnTo>
                  <a:lnTo>
                    <a:pt x="182" y="516"/>
                  </a:lnTo>
                  <a:lnTo>
                    <a:pt x="169" y="521"/>
                  </a:lnTo>
                  <a:lnTo>
                    <a:pt x="118" y="536"/>
                  </a:lnTo>
                  <a:lnTo>
                    <a:pt x="99" y="543"/>
                  </a:lnTo>
                  <a:lnTo>
                    <a:pt x="83" y="554"/>
                  </a:lnTo>
                  <a:lnTo>
                    <a:pt x="72" y="563"/>
                  </a:lnTo>
                  <a:lnTo>
                    <a:pt x="59" y="579"/>
                  </a:lnTo>
                  <a:lnTo>
                    <a:pt x="50" y="591"/>
                  </a:lnTo>
                  <a:lnTo>
                    <a:pt x="41" y="607"/>
                  </a:lnTo>
                  <a:lnTo>
                    <a:pt x="39" y="613"/>
                  </a:lnTo>
                  <a:lnTo>
                    <a:pt x="39" y="643"/>
                  </a:lnTo>
                  <a:lnTo>
                    <a:pt x="30" y="644"/>
                  </a:lnTo>
                  <a:lnTo>
                    <a:pt x="21" y="646"/>
                  </a:lnTo>
                  <a:lnTo>
                    <a:pt x="17" y="651"/>
                  </a:lnTo>
                  <a:lnTo>
                    <a:pt x="13" y="668"/>
                  </a:lnTo>
                  <a:lnTo>
                    <a:pt x="1" y="690"/>
                  </a:lnTo>
                  <a:lnTo>
                    <a:pt x="0" y="694"/>
                  </a:lnTo>
                  <a:lnTo>
                    <a:pt x="0" y="698"/>
                  </a:lnTo>
                  <a:lnTo>
                    <a:pt x="11" y="721"/>
                  </a:lnTo>
                  <a:lnTo>
                    <a:pt x="13" y="733"/>
                  </a:lnTo>
                  <a:lnTo>
                    <a:pt x="14" y="737"/>
                  </a:lnTo>
                  <a:lnTo>
                    <a:pt x="23" y="748"/>
                  </a:lnTo>
                  <a:lnTo>
                    <a:pt x="27" y="756"/>
                  </a:lnTo>
                  <a:lnTo>
                    <a:pt x="39" y="769"/>
                  </a:lnTo>
                  <a:lnTo>
                    <a:pt x="49" y="775"/>
                  </a:lnTo>
                  <a:lnTo>
                    <a:pt x="50" y="784"/>
                  </a:lnTo>
                  <a:lnTo>
                    <a:pt x="44" y="794"/>
                  </a:lnTo>
                  <a:lnTo>
                    <a:pt x="45" y="797"/>
                  </a:lnTo>
                  <a:lnTo>
                    <a:pt x="57" y="801"/>
                  </a:lnTo>
                  <a:lnTo>
                    <a:pt x="77" y="802"/>
                  </a:lnTo>
                  <a:lnTo>
                    <a:pt x="82" y="806"/>
                  </a:lnTo>
                  <a:lnTo>
                    <a:pt x="86" y="811"/>
                  </a:lnTo>
                  <a:lnTo>
                    <a:pt x="88" y="822"/>
                  </a:lnTo>
                  <a:lnTo>
                    <a:pt x="91" y="826"/>
                  </a:lnTo>
                  <a:lnTo>
                    <a:pt x="104" y="829"/>
                  </a:lnTo>
                  <a:lnTo>
                    <a:pt x="119" y="830"/>
                  </a:lnTo>
                  <a:lnTo>
                    <a:pt x="127" y="829"/>
                  </a:lnTo>
                  <a:lnTo>
                    <a:pt x="145" y="819"/>
                  </a:lnTo>
                  <a:lnTo>
                    <a:pt x="167" y="803"/>
                  </a:lnTo>
                  <a:lnTo>
                    <a:pt x="177" y="794"/>
                  </a:lnTo>
                  <a:lnTo>
                    <a:pt x="180" y="792"/>
                  </a:lnTo>
                  <a:lnTo>
                    <a:pt x="180" y="795"/>
                  </a:lnTo>
                  <a:lnTo>
                    <a:pt x="180" y="849"/>
                  </a:lnTo>
                  <a:lnTo>
                    <a:pt x="180" y="853"/>
                  </a:lnTo>
                  <a:lnTo>
                    <a:pt x="180" y="882"/>
                  </a:lnTo>
                  <a:lnTo>
                    <a:pt x="183" y="886"/>
                  </a:lnTo>
                  <a:lnTo>
                    <a:pt x="189" y="889"/>
                  </a:lnTo>
                  <a:lnTo>
                    <a:pt x="194" y="889"/>
                  </a:lnTo>
                  <a:lnTo>
                    <a:pt x="201" y="887"/>
                  </a:lnTo>
                  <a:lnTo>
                    <a:pt x="209" y="883"/>
                  </a:lnTo>
                  <a:lnTo>
                    <a:pt x="226" y="882"/>
                  </a:lnTo>
                  <a:lnTo>
                    <a:pt x="228" y="880"/>
                  </a:lnTo>
                  <a:lnTo>
                    <a:pt x="236" y="880"/>
                  </a:lnTo>
                  <a:lnTo>
                    <a:pt x="254" y="886"/>
                  </a:lnTo>
                  <a:lnTo>
                    <a:pt x="295" y="887"/>
                  </a:lnTo>
                  <a:lnTo>
                    <a:pt x="303" y="883"/>
                  </a:lnTo>
                  <a:lnTo>
                    <a:pt x="308" y="880"/>
                  </a:lnTo>
                  <a:lnTo>
                    <a:pt x="334" y="871"/>
                  </a:lnTo>
                  <a:lnTo>
                    <a:pt x="341" y="867"/>
                  </a:lnTo>
                  <a:lnTo>
                    <a:pt x="366" y="845"/>
                  </a:lnTo>
                  <a:lnTo>
                    <a:pt x="383" y="826"/>
                  </a:lnTo>
                  <a:lnTo>
                    <a:pt x="389" y="819"/>
                  </a:lnTo>
                  <a:lnTo>
                    <a:pt x="405" y="816"/>
                  </a:lnTo>
                  <a:lnTo>
                    <a:pt x="411" y="816"/>
                  </a:lnTo>
                  <a:lnTo>
                    <a:pt x="438" y="812"/>
                  </a:lnTo>
                  <a:lnTo>
                    <a:pt x="457" y="813"/>
                  </a:lnTo>
                  <a:lnTo>
                    <a:pt x="460" y="816"/>
                  </a:lnTo>
                  <a:lnTo>
                    <a:pt x="465" y="823"/>
                  </a:lnTo>
                  <a:lnTo>
                    <a:pt x="468" y="840"/>
                  </a:lnTo>
                  <a:lnTo>
                    <a:pt x="468" y="872"/>
                  </a:lnTo>
                  <a:lnTo>
                    <a:pt x="467" y="882"/>
                  </a:lnTo>
                  <a:lnTo>
                    <a:pt x="462" y="889"/>
                  </a:lnTo>
                  <a:lnTo>
                    <a:pt x="460" y="893"/>
                  </a:lnTo>
                  <a:lnTo>
                    <a:pt x="459" y="900"/>
                  </a:lnTo>
                  <a:lnTo>
                    <a:pt x="465" y="924"/>
                  </a:lnTo>
                  <a:lnTo>
                    <a:pt x="474" y="937"/>
                  </a:lnTo>
                  <a:lnTo>
                    <a:pt x="481" y="943"/>
                  </a:lnTo>
                  <a:lnTo>
                    <a:pt x="508" y="963"/>
                  </a:lnTo>
                  <a:lnTo>
                    <a:pt x="521" y="967"/>
                  </a:lnTo>
                  <a:lnTo>
                    <a:pt x="538" y="969"/>
                  </a:lnTo>
                  <a:lnTo>
                    <a:pt x="557" y="969"/>
                  </a:lnTo>
                  <a:lnTo>
                    <a:pt x="573" y="973"/>
                  </a:lnTo>
                  <a:lnTo>
                    <a:pt x="580" y="979"/>
                  </a:lnTo>
                  <a:lnTo>
                    <a:pt x="582" y="983"/>
                  </a:lnTo>
                  <a:lnTo>
                    <a:pt x="589" y="991"/>
                  </a:lnTo>
                  <a:lnTo>
                    <a:pt x="597" y="995"/>
                  </a:lnTo>
                  <a:lnTo>
                    <a:pt x="635" y="1005"/>
                  </a:lnTo>
                  <a:lnTo>
                    <a:pt x="651" y="1020"/>
                  </a:lnTo>
                  <a:lnTo>
                    <a:pt x="656" y="1023"/>
                  </a:lnTo>
                  <a:lnTo>
                    <a:pt x="666" y="1023"/>
                  </a:lnTo>
                  <a:lnTo>
                    <a:pt x="675" y="1021"/>
                  </a:lnTo>
                  <a:lnTo>
                    <a:pt x="680" y="1021"/>
                  </a:lnTo>
                  <a:lnTo>
                    <a:pt x="693" y="1023"/>
                  </a:lnTo>
                  <a:lnTo>
                    <a:pt x="712" y="1034"/>
                  </a:lnTo>
                  <a:lnTo>
                    <a:pt x="720" y="1039"/>
                  </a:lnTo>
                  <a:lnTo>
                    <a:pt x="726" y="1050"/>
                  </a:lnTo>
                  <a:lnTo>
                    <a:pt x="731" y="1065"/>
                  </a:lnTo>
                  <a:lnTo>
                    <a:pt x="732" y="1080"/>
                  </a:lnTo>
                  <a:lnTo>
                    <a:pt x="736" y="1088"/>
                  </a:lnTo>
                  <a:lnTo>
                    <a:pt x="739" y="1093"/>
                  </a:lnTo>
                  <a:lnTo>
                    <a:pt x="739" y="1102"/>
                  </a:lnTo>
                  <a:lnTo>
                    <a:pt x="737" y="1119"/>
                  </a:lnTo>
                  <a:lnTo>
                    <a:pt x="729" y="1120"/>
                  </a:lnTo>
                  <a:lnTo>
                    <a:pt x="729" y="1124"/>
                  </a:lnTo>
                  <a:lnTo>
                    <a:pt x="729" y="1129"/>
                  </a:lnTo>
                  <a:lnTo>
                    <a:pt x="736" y="1145"/>
                  </a:lnTo>
                  <a:lnTo>
                    <a:pt x="743" y="1168"/>
                  </a:lnTo>
                  <a:lnTo>
                    <a:pt x="749" y="1181"/>
                  </a:lnTo>
                  <a:lnTo>
                    <a:pt x="764" y="1181"/>
                  </a:lnTo>
                  <a:lnTo>
                    <a:pt x="775" y="1182"/>
                  </a:lnTo>
                  <a:lnTo>
                    <a:pt x="788" y="1182"/>
                  </a:lnTo>
                  <a:lnTo>
                    <a:pt x="793" y="1184"/>
                  </a:lnTo>
                  <a:lnTo>
                    <a:pt x="836" y="1184"/>
                  </a:lnTo>
                  <a:lnTo>
                    <a:pt x="841" y="1185"/>
                  </a:lnTo>
                  <a:lnTo>
                    <a:pt x="844" y="1188"/>
                  </a:lnTo>
                  <a:lnTo>
                    <a:pt x="846" y="1193"/>
                  </a:lnTo>
                  <a:lnTo>
                    <a:pt x="844" y="1203"/>
                  </a:lnTo>
                  <a:lnTo>
                    <a:pt x="841" y="1211"/>
                  </a:lnTo>
                  <a:lnTo>
                    <a:pt x="841" y="1217"/>
                  </a:lnTo>
                  <a:lnTo>
                    <a:pt x="846" y="1237"/>
                  </a:lnTo>
                  <a:lnTo>
                    <a:pt x="863" y="1243"/>
                  </a:lnTo>
                  <a:lnTo>
                    <a:pt x="866" y="1246"/>
                  </a:lnTo>
                  <a:lnTo>
                    <a:pt x="871" y="1260"/>
                  </a:lnTo>
                  <a:lnTo>
                    <a:pt x="881" y="1279"/>
                  </a:lnTo>
                  <a:lnTo>
                    <a:pt x="883" y="1289"/>
                  </a:lnTo>
                  <a:lnTo>
                    <a:pt x="883" y="1312"/>
                  </a:lnTo>
                  <a:lnTo>
                    <a:pt x="882" y="1341"/>
                  </a:lnTo>
                  <a:lnTo>
                    <a:pt x="881" y="1345"/>
                  </a:lnTo>
                  <a:lnTo>
                    <a:pt x="876" y="1356"/>
                  </a:lnTo>
                  <a:lnTo>
                    <a:pt x="871" y="1367"/>
                  </a:lnTo>
                  <a:lnTo>
                    <a:pt x="869" y="1373"/>
                  </a:lnTo>
                  <a:lnTo>
                    <a:pt x="869" y="1381"/>
                  </a:lnTo>
                  <a:lnTo>
                    <a:pt x="871" y="1386"/>
                  </a:lnTo>
                  <a:lnTo>
                    <a:pt x="872" y="1398"/>
                  </a:lnTo>
                  <a:lnTo>
                    <a:pt x="871" y="1399"/>
                  </a:lnTo>
                  <a:lnTo>
                    <a:pt x="863" y="1402"/>
                  </a:lnTo>
                  <a:lnTo>
                    <a:pt x="862" y="1403"/>
                  </a:lnTo>
                  <a:lnTo>
                    <a:pt x="861" y="1408"/>
                  </a:lnTo>
                  <a:lnTo>
                    <a:pt x="861" y="1410"/>
                  </a:lnTo>
                  <a:lnTo>
                    <a:pt x="868" y="1424"/>
                  </a:lnTo>
                  <a:lnTo>
                    <a:pt x="869" y="1426"/>
                  </a:lnTo>
                  <a:lnTo>
                    <a:pt x="871" y="1474"/>
                  </a:lnTo>
                  <a:lnTo>
                    <a:pt x="869" y="1507"/>
                  </a:lnTo>
                  <a:lnTo>
                    <a:pt x="873" y="1516"/>
                  </a:lnTo>
                  <a:lnTo>
                    <a:pt x="879" y="1518"/>
                  </a:lnTo>
                  <a:lnTo>
                    <a:pt x="894" y="1522"/>
                  </a:lnTo>
                  <a:lnTo>
                    <a:pt x="901" y="1526"/>
                  </a:lnTo>
                  <a:lnTo>
                    <a:pt x="919" y="1528"/>
                  </a:lnTo>
                  <a:lnTo>
                    <a:pt x="931" y="1528"/>
                  </a:lnTo>
                  <a:lnTo>
                    <a:pt x="943" y="1527"/>
                  </a:lnTo>
                  <a:lnTo>
                    <a:pt x="948" y="1524"/>
                  </a:lnTo>
                  <a:lnTo>
                    <a:pt x="957" y="1521"/>
                  </a:lnTo>
                  <a:lnTo>
                    <a:pt x="963" y="1526"/>
                  </a:lnTo>
                  <a:lnTo>
                    <a:pt x="986" y="1533"/>
                  </a:lnTo>
                  <a:lnTo>
                    <a:pt x="992" y="1542"/>
                  </a:lnTo>
                  <a:lnTo>
                    <a:pt x="994" y="1548"/>
                  </a:lnTo>
                  <a:lnTo>
                    <a:pt x="996" y="1571"/>
                  </a:lnTo>
                  <a:lnTo>
                    <a:pt x="1000" y="1583"/>
                  </a:lnTo>
                  <a:lnTo>
                    <a:pt x="998" y="1608"/>
                  </a:lnTo>
                  <a:lnTo>
                    <a:pt x="1000" y="1613"/>
                  </a:lnTo>
                  <a:lnTo>
                    <a:pt x="1006" y="1620"/>
                  </a:lnTo>
                  <a:lnTo>
                    <a:pt x="1013" y="1625"/>
                  </a:lnTo>
                  <a:lnTo>
                    <a:pt x="1019" y="1628"/>
                  </a:lnTo>
                  <a:lnTo>
                    <a:pt x="1029" y="1628"/>
                  </a:lnTo>
                  <a:lnTo>
                    <a:pt x="1035" y="1625"/>
                  </a:lnTo>
                  <a:lnTo>
                    <a:pt x="1048" y="1625"/>
                  </a:lnTo>
                  <a:lnTo>
                    <a:pt x="1057" y="1623"/>
                  </a:lnTo>
                  <a:lnTo>
                    <a:pt x="1062" y="1628"/>
                  </a:lnTo>
                  <a:lnTo>
                    <a:pt x="1067" y="1636"/>
                  </a:lnTo>
                  <a:lnTo>
                    <a:pt x="1067" y="1661"/>
                  </a:lnTo>
                  <a:lnTo>
                    <a:pt x="1066" y="1664"/>
                  </a:lnTo>
                  <a:lnTo>
                    <a:pt x="1062" y="1680"/>
                  </a:lnTo>
                  <a:lnTo>
                    <a:pt x="1059" y="1706"/>
                  </a:lnTo>
                  <a:lnTo>
                    <a:pt x="1057" y="1726"/>
                  </a:lnTo>
                  <a:lnTo>
                    <a:pt x="1066" y="1726"/>
                  </a:lnTo>
                  <a:lnTo>
                    <a:pt x="1070" y="1725"/>
                  </a:lnTo>
                  <a:lnTo>
                    <a:pt x="1084" y="1725"/>
                  </a:lnTo>
                  <a:lnTo>
                    <a:pt x="1091" y="1732"/>
                  </a:lnTo>
                  <a:lnTo>
                    <a:pt x="1103" y="1771"/>
                  </a:lnTo>
                  <a:lnTo>
                    <a:pt x="1103" y="1803"/>
                  </a:lnTo>
                  <a:lnTo>
                    <a:pt x="1102" y="1814"/>
                  </a:lnTo>
                  <a:lnTo>
                    <a:pt x="1099" y="1818"/>
                  </a:lnTo>
                  <a:lnTo>
                    <a:pt x="1097" y="1822"/>
                  </a:lnTo>
                  <a:lnTo>
                    <a:pt x="1073" y="1838"/>
                  </a:lnTo>
                  <a:lnTo>
                    <a:pt x="1066" y="1840"/>
                  </a:lnTo>
                  <a:lnTo>
                    <a:pt x="1054" y="1841"/>
                  </a:lnTo>
                  <a:lnTo>
                    <a:pt x="1046" y="1845"/>
                  </a:lnTo>
                  <a:lnTo>
                    <a:pt x="1037" y="1857"/>
                  </a:lnTo>
                  <a:lnTo>
                    <a:pt x="1028" y="1867"/>
                  </a:lnTo>
                  <a:lnTo>
                    <a:pt x="984" y="1905"/>
                  </a:lnTo>
                  <a:lnTo>
                    <a:pt x="982" y="1909"/>
                  </a:lnTo>
                  <a:lnTo>
                    <a:pt x="978" y="1916"/>
                  </a:lnTo>
                  <a:lnTo>
                    <a:pt x="958" y="1941"/>
                  </a:lnTo>
                  <a:lnTo>
                    <a:pt x="955" y="1947"/>
                  </a:lnTo>
                  <a:lnTo>
                    <a:pt x="937" y="1968"/>
                  </a:lnTo>
                  <a:lnTo>
                    <a:pt x="922" y="1980"/>
                  </a:lnTo>
                  <a:lnTo>
                    <a:pt x="915" y="1989"/>
                  </a:lnTo>
                  <a:lnTo>
                    <a:pt x="906" y="1995"/>
                  </a:lnTo>
                  <a:lnTo>
                    <a:pt x="904" y="2000"/>
                  </a:lnTo>
                  <a:lnTo>
                    <a:pt x="895" y="2010"/>
                  </a:lnTo>
                  <a:lnTo>
                    <a:pt x="885" y="2015"/>
                  </a:lnTo>
                  <a:lnTo>
                    <a:pt x="904" y="2017"/>
                  </a:lnTo>
                  <a:lnTo>
                    <a:pt x="911" y="2013"/>
                  </a:lnTo>
                  <a:lnTo>
                    <a:pt x="915" y="2007"/>
                  </a:lnTo>
                  <a:lnTo>
                    <a:pt x="920" y="2005"/>
                  </a:lnTo>
                  <a:lnTo>
                    <a:pt x="925" y="2005"/>
                  </a:lnTo>
                  <a:lnTo>
                    <a:pt x="931" y="2007"/>
                  </a:lnTo>
                  <a:lnTo>
                    <a:pt x="943" y="2017"/>
                  </a:lnTo>
                  <a:lnTo>
                    <a:pt x="948" y="2022"/>
                  </a:lnTo>
                  <a:lnTo>
                    <a:pt x="959" y="2032"/>
                  </a:lnTo>
                  <a:lnTo>
                    <a:pt x="968" y="2040"/>
                  </a:lnTo>
                  <a:lnTo>
                    <a:pt x="973" y="2055"/>
                  </a:lnTo>
                  <a:lnTo>
                    <a:pt x="974" y="2064"/>
                  </a:lnTo>
                  <a:lnTo>
                    <a:pt x="982" y="2065"/>
                  </a:lnTo>
                  <a:lnTo>
                    <a:pt x="986" y="2064"/>
                  </a:lnTo>
                  <a:lnTo>
                    <a:pt x="1000" y="2053"/>
                  </a:lnTo>
                  <a:lnTo>
                    <a:pt x="1005" y="2056"/>
                  </a:lnTo>
                  <a:lnTo>
                    <a:pt x="1006" y="2060"/>
                  </a:lnTo>
                  <a:lnTo>
                    <a:pt x="1011" y="2070"/>
                  </a:lnTo>
                  <a:lnTo>
                    <a:pt x="1018" y="2078"/>
                  </a:lnTo>
                  <a:lnTo>
                    <a:pt x="1021" y="2081"/>
                  </a:lnTo>
                  <a:lnTo>
                    <a:pt x="1025" y="2082"/>
                  </a:lnTo>
                  <a:lnTo>
                    <a:pt x="1033" y="2082"/>
                  </a:lnTo>
                  <a:lnTo>
                    <a:pt x="1040" y="2091"/>
                  </a:lnTo>
                  <a:lnTo>
                    <a:pt x="1052" y="2092"/>
                  </a:lnTo>
                  <a:lnTo>
                    <a:pt x="1055" y="2096"/>
                  </a:lnTo>
                  <a:lnTo>
                    <a:pt x="1062" y="2107"/>
                  </a:lnTo>
                  <a:lnTo>
                    <a:pt x="1068" y="2112"/>
                  </a:lnTo>
                  <a:lnTo>
                    <a:pt x="1077" y="2117"/>
                  </a:lnTo>
                  <a:lnTo>
                    <a:pt x="1082" y="2118"/>
                  </a:lnTo>
                  <a:lnTo>
                    <a:pt x="1097" y="2125"/>
                  </a:lnTo>
                  <a:lnTo>
                    <a:pt x="1100" y="2131"/>
                  </a:lnTo>
                  <a:lnTo>
                    <a:pt x="1104" y="2150"/>
                  </a:lnTo>
                  <a:lnTo>
                    <a:pt x="1107" y="2153"/>
                  </a:lnTo>
                  <a:lnTo>
                    <a:pt x="1127" y="2168"/>
                  </a:lnTo>
                  <a:lnTo>
                    <a:pt x="1132" y="2177"/>
                  </a:lnTo>
                  <a:lnTo>
                    <a:pt x="1131" y="2179"/>
                  </a:lnTo>
                  <a:lnTo>
                    <a:pt x="1126" y="2180"/>
                  </a:lnTo>
                  <a:lnTo>
                    <a:pt x="1124" y="2188"/>
                  </a:lnTo>
                  <a:lnTo>
                    <a:pt x="1121" y="2189"/>
                  </a:lnTo>
                  <a:lnTo>
                    <a:pt x="1116" y="2196"/>
                  </a:lnTo>
                  <a:lnTo>
                    <a:pt x="1114" y="2204"/>
                  </a:lnTo>
                  <a:lnTo>
                    <a:pt x="1114" y="2220"/>
                  </a:lnTo>
                  <a:lnTo>
                    <a:pt x="1111" y="2234"/>
                  </a:lnTo>
                  <a:lnTo>
                    <a:pt x="1113" y="2236"/>
                  </a:lnTo>
                  <a:lnTo>
                    <a:pt x="1116" y="2241"/>
                  </a:lnTo>
                  <a:lnTo>
                    <a:pt x="1116" y="2237"/>
                  </a:lnTo>
                  <a:lnTo>
                    <a:pt x="1121" y="2232"/>
                  </a:lnTo>
                  <a:lnTo>
                    <a:pt x="1130" y="2227"/>
                  </a:lnTo>
                  <a:lnTo>
                    <a:pt x="1145" y="2215"/>
                  </a:lnTo>
                  <a:lnTo>
                    <a:pt x="1156" y="2196"/>
                  </a:lnTo>
                  <a:lnTo>
                    <a:pt x="1167" y="2184"/>
                  </a:lnTo>
                  <a:lnTo>
                    <a:pt x="1173" y="2156"/>
                  </a:lnTo>
                  <a:lnTo>
                    <a:pt x="1178" y="2148"/>
                  </a:lnTo>
                  <a:lnTo>
                    <a:pt x="1193" y="2132"/>
                  </a:lnTo>
                  <a:lnTo>
                    <a:pt x="1199" y="2129"/>
                  </a:lnTo>
                  <a:lnTo>
                    <a:pt x="1221" y="2112"/>
                  </a:lnTo>
                  <a:lnTo>
                    <a:pt x="1229" y="2108"/>
                  </a:lnTo>
                  <a:lnTo>
                    <a:pt x="1238" y="2102"/>
                  </a:lnTo>
                  <a:lnTo>
                    <a:pt x="1244" y="2096"/>
                  </a:lnTo>
                  <a:lnTo>
                    <a:pt x="1247" y="2088"/>
                  </a:lnTo>
                  <a:lnTo>
                    <a:pt x="1253" y="2078"/>
                  </a:lnTo>
                  <a:lnTo>
                    <a:pt x="1267" y="2059"/>
                  </a:lnTo>
                  <a:lnTo>
                    <a:pt x="1275" y="2045"/>
                  </a:lnTo>
                  <a:lnTo>
                    <a:pt x="1286" y="2032"/>
                  </a:lnTo>
                  <a:lnTo>
                    <a:pt x="1291" y="2010"/>
                  </a:lnTo>
                  <a:lnTo>
                    <a:pt x="1303" y="1981"/>
                  </a:lnTo>
                  <a:lnTo>
                    <a:pt x="1309" y="1973"/>
                  </a:lnTo>
                  <a:lnTo>
                    <a:pt x="1314" y="1963"/>
                  </a:lnTo>
                  <a:lnTo>
                    <a:pt x="1318" y="1956"/>
                  </a:lnTo>
                  <a:lnTo>
                    <a:pt x="1324" y="1951"/>
                  </a:lnTo>
                  <a:lnTo>
                    <a:pt x="1339" y="1930"/>
                  </a:lnTo>
                  <a:lnTo>
                    <a:pt x="1346" y="1922"/>
                  </a:lnTo>
                  <a:lnTo>
                    <a:pt x="1352" y="1919"/>
                  </a:lnTo>
                  <a:lnTo>
                    <a:pt x="1363" y="1915"/>
                  </a:lnTo>
                  <a:lnTo>
                    <a:pt x="1368" y="1902"/>
                  </a:lnTo>
                  <a:lnTo>
                    <a:pt x="1377" y="1895"/>
                  </a:lnTo>
                  <a:lnTo>
                    <a:pt x="1380" y="1873"/>
                  </a:lnTo>
                  <a:lnTo>
                    <a:pt x="1382" y="1834"/>
                  </a:lnTo>
                  <a:lnTo>
                    <a:pt x="1384" y="1829"/>
                  </a:lnTo>
                  <a:lnTo>
                    <a:pt x="1390" y="1829"/>
                  </a:lnTo>
                  <a:lnTo>
                    <a:pt x="1392" y="1825"/>
                  </a:lnTo>
                  <a:lnTo>
                    <a:pt x="1389" y="1820"/>
                  </a:lnTo>
                  <a:lnTo>
                    <a:pt x="1382" y="1813"/>
                  </a:lnTo>
                  <a:lnTo>
                    <a:pt x="1380" y="1809"/>
                  </a:lnTo>
                  <a:lnTo>
                    <a:pt x="1380" y="1795"/>
                  </a:lnTo>
                  <a:lnTo>
                    <a:pt x="1378" y="1792"/>
                  </a:lnTo>
                  <a:lnTo>
                    <a:pt x="1378" y="1777"/>
                  </a:lnTo>
                  <a:lnTo>
                    <a:pt x="1376" y="1769"/>
                  </a:lnTo>
                  <a:lnTo>
                    <a:pt x="1376" y="1762"/>
                  </a:lnTo>
                  <a:lnTo>
                    <a:pt x="1378" y="1758"/>
                  </a:lnTo>
                  <a:lnTo>
                    <a:pt x="1380" y="1752"/>
                  </a:lnTo>
                  <a:lnTo>
                    <a:pt x="1380" y="1742"/>
                  </a:lnTo>
                  <a:lnTo>
                    <a:pt x="1390" y="1726"/>
                  </a:lnTo>
                  <a:lnTo>
                    <a:pt x="1395" y="1719"/>
                  </a:lnTo>
                  <a:lnTo>
                    <a:pt x="1409" y="1706"/>
                  </a:lnTo>
                  <a:lnTo>
                    <a:pt x="1428" y="1684"/>
                  </a:lnTo>
                  <a:lnTo>
                    <a:pt x="1431" y="1684"/>
                  </a:lnTo>
                  <a:lnTo>
                    <a:pt x="1436" y="1680"/>
                  </a:lnTo>
                  <a:lnTo>
                    <a:pt x="1446" y="1672"/>
                  </a:lnTo>
                  <a:lnTo>
                    <a:pt x="1459" y="1662"/>
                  </a:lnTo>
                  <a:lnTo>
                    <a:pt x="1464" y="1656"/>
                  </a:lnTo>
                  <a:lnTo>
                    <a:pt x="1474" y="1650"/>
                  </a:lnTo>
                  <a:lnTo>
                    <a:pt x="1487" y="1636"/>
                  </a:lnTo>
                  <a:lnTo>
                    <a:pt x="1501" y="1628"/>
                  </a:lnTo>
                  <a:lnTo>
                    <a:pt x="1511" y="1628"/>
                  </a:lnTo>
                  <a:lnTo>
                    <a:pt x="1516" y="1625"/>
                  </a:lnTo>
                  <a:lnTo>
                    <a:pt x="1522" y="1618"/>
                  </a:lnTo>
                  <a:lnTo>
                    <a:pt x="1533" y="1614"/>
                  </a:lnTo>
                  <a:lnTo>
                    <a:pt x="1550" y="1614"/>
                  </a:lnTo>
                  <a:lnTo>
                    <a:pt x="1561" y="1606"/>
                  </a:lnTo>
                  <a:lnTo>
                    <a:pt x="1565" y="1604"/>
                  </a:lnTo>
                  <a:lnTo>
                    <a:pt x="1573" y="1593"/>
                  </a:lnTo>
                  <a:lnTo>
                    <a:pt x="1578" y="1591"/>
                  </a:lnTo>
                  <a:lnTo>
                    <a:pt x="1591" y="1588"/>
                  </a:lnTo>
                  <a:lnTo>
                    <a:pt x="1598" y="1588"/>
                  </a:lnTo>
                  <a:lnTo>
                    <a:pt x="1600" y="1585"/>
                  </a:lnTo>
                  <a:lnTo>
                    <a:pt x="1600" y="1581"/>
                  </a:lnTo>
                  <a:lnTo>
                    <a:pt x="1597" y="1579"/>
                  </a:lnTo>
                  <a:lnTo>
                    <a:pt x="1597" y="1576"/>
                  </a:lnTo>
                  <a:lnTo>
                    <a:pt x="1605" y="1569"/>
                  </a:lnTo>
                  <a:lnTo>
                    <a:pt x="1608" y="1569"/>
                  </a:lnTo>
                  <a:lnTo>
                    <a:pt x="1608" y="1567"/>
                  </a:lnTo>
                  <a:lnTo>
                    <a:pt x="1609" y="1571"/>
                  </a:lnTo>
                  <a:lnTo>
                    <a:pt x="1615" y="1572"/>
                  </a:lnTo>
                  <a:lnTo>
                    <a:pt x="1638" y="1566"/>
                  </a:lnTo>
                  <a:lnTo>
                    <a:pt x="1643" y="1566"/>
                  </a:lnTo>
                  <a:lnTo>
                    <a:pt x="1647" y="1569"/>
                  </a:lnTo>
                  <a:lnTo>
                    <a:pt x="1657" y="1570"/>
                  </a:lnTo>
                  <a:lnTo>
                    <a:pt x="1673" y="1564"/>
                  </a:lnTo>
                  <a:lnTo>
                    <a:pt x="1680" y="1564"/>
                  </a:lnTo>
                  <a:lnTo>
                    <a:pt x="1686" y="1566"/>
                  </a:lnTo>
                  <a:lnTo>
                    <a:pt x="1697" y="1567"/>
                  </a:lnTo>
                  <a:lnTo>
                    <a:pt x="1708" y="1567"/>
                  </a:lnTo>
                  <a:lnTo>
                    <a:pt x="1732" y="1564"/>
                  </a:lnTo>
                  <a:lnTo>
                    <a:pt x="1736" y="1563"/>
                  </a:lnTo>
                  <a:lnTo>
                    <a:pt x="1740" y="1554"/>
                  </a:lnTo>
                  <a:lnTo>
                    <a:pt x="1743" y="1542"/>
                  </a:lnTo>
                  <a:lnTo>
                    <a:pt x="1751" y="1533"/>
                  </a:lnTo>
                  <a:lnTo>
                    <a:pt x="1759" y="1529"/>
                  </a:lnTo>
                  <a:lnTo>
                    <a:pt x="1778" y="1521"/>
                  </a:lnTo>
                  <a:lnTo>
                    <a:pt x="1787" y="1512"/>
                  </a:lnTo>
                  <a:lnTo>
                    <a:pt x="1791" y="1505"/>
                  </a:lnTo>
                  <a:lnTo>
                    <a:pt x="1792" y="1497"/>
                  </a:lnTo>
                  <a:lnTo>
                    <a:pt x="1793" y="1483"/>
                  </a:lnTo>
                  <a:lnTo>
                    <a:pt x="1796" y="1469"/>
                  </a:lnTo>
                  <a:lnTo>
                    <a:pt x="1808" y="1452"/>
                  </a:lnTo>
                  <a:lnTo>
                    <a:pt x="1825" y="1431"/>
                  </a:lnTo>
                  <a:lnTo>
                    <a:pt x="1834" y="1416"/>
                  </a:lnTo>
                  <a:lnTo>
                    <a:pt x="1845" y="1388"/>
                  </a:lnTo>
                  <a:lnTo>
                    <a:pt x="1858" y="1373"/>
                  </a:lnTo>
                  <a:lnTo>
                    <a:pt x="1864" y="1365"/>
                  </a:lnTo>
                  <a:lnTo>
                    <a:pt x="1867" y="1335"/>
                  </a:lnTo>
                  <a:lnTo>
                    <a:pt x="1867" y="1318"/>
                  </a:lnTo>
                  <a:lnTo>
                    <a:pt x="1868" y="1305"/>
                  </a:lnTo>
                  <a:lnTo>
                    <a:pt x="1872" y="1291"/>
                  </a:lnTo>
                  <a:lnTo>
                    <a:pt x="1878" y="1282"/>
                  </a:lnTo>
                  <a:lnTo>
                    <a:pt x="1890" y="1268"/>
                  </a:lnTo>
                  <a:lnTo>
                    <a:pt x="1894" y="1260"/>
                  </a:lnTo>
                  <a:lnTo>
                    <a:pt x="1894" y="1244"/>
                  </a:lnTo>
                  <a:lnTo>
                    <a:pt x="1898" y="1206"/>
                  </a:lnTo>
                  <a:lnTo>
                    <a:pt x="1900" y="1199"/>
                  </a:lnTo>
                  <a:lnTo>
                    <a:pt x="1904" y="1173"/>
                  </a:lnTo>
                  <a:lnTo>
                    <a:pt x="1907" y="1156"/>
                  </a:lnTo>
                  <a:lnTo>
                    <a:pt x="1906" y="1144"/>
                  </a:lnTo>
                  <a:lnTo>
                    <a:pt x="1904" y="1134"/>
                  </a:lnTo>
                  <a:lnTo>
                    <a:pt x="1904" y="1111"/>
                  </a:lnTo>
                  <a:lnTo>
                    <a:pt x="1901" y="1102"/>
                  </a:lnTo>
                  <a:lnTo>
                    <a:pt x="1901" y="1080"/>
                  </a:lnTo>
                  <a:lnTo>
                    <a:pt x="1904" y="1052"/>
                  </a:lnTo>
                  <a:lnTo>
                    <a:pt x="1907" y="1034"/>
                  </a:lnTo>
                  <a:lnTo>
                    <a:pt x="1907" y="1022"/>
                  </a:lnTo>
                  <a:lnTo>
                    <a:pt x="1910" y="1009"/>
                  </a:lnTo>
                  <a:lnTo>
                    <a:pt x="1911" y="1006"/>
                  </a:lnTo>
                  <a:lnTo>
                    <a:pt x="1922" y="995"/>
                  </a:lnTo>
                  <a:lnTo>
                    <a:pt x="1926" y="995"/>
                  </a:lnTo>
                  <a:lnTo>
                    <a:pt x="1935" y="998"/>
                  </a:lnTo>
                  <a:lnTo>
                    <a:pt x="1937" y="998"/>
                  </a:lnTo>
                  <a:lnTo>
                    <a:pt x="1952" y="984"/>
                  </a:lnTo>
                  <a:lnTo>
                    <a:pt x="1963" y="969"/>
                  </a:lnTo>
                  <a:lnTo>
                    <a:pt x="1975" y="947"/>
                  </a:lnTo>
                  <a:lnTo>
                    <a:pt x="1981" y="929"/>
                  </a:lnTo>
                  <a:lnTo>
                    <a:pt x="1989" y="914"/>
                  </a:lnTo>
                  <a:lnTo>
                    <a:pt x="1997" y="902"/>
                  </a:lnTo>
                  <a:lnTo>
                    <a:pt x="2013" y="889"/>
                  </a:lnTo>
                  <a:lnTo>
                    <a:pt x="2018" y="881"/>
                  </a:lnTo>
                  <a:lnTo>
                    <a:pt x="2028" y="871"/>
                  </a:lnTo>
                  <a:lnTo>
                    <a:pt x="2049" y="860"/>
                  </a:lnTo>
                  <a:lnTo>
                    <a:pt x="2055" y="853"/>
                  </a:lnTo>
                  <a:lnTo>
                    <a:pt x="2063" y="840"/>
                  </a:lnTo>
                  <a:lnTo>
                    <a:pt x="2076" y="824"/>
                  </a:lnTo>
                  <a:lnTo>
                    <a:pt x="2094" y="805"/>
                  </a:lnTo>
                  <a:lnTo>
                    <a:pt x="2111" y="779"/>
                  </a:lnTo>
                  <a:lnTo>
                    <a:pt x="2115" y="776"/>
                  </a:lnTo>
                  <a:lnTo>
                    <a:pt x="2120" y="767"/>
                  </a:lnTo>
                  <a:lnTo>
                    <a:pt x="2130" y="724"/>
                  </a:lnTo>
                  <a:lnTo>
                    <a:pt x="2132" y="709"/>
                  </a:lnTo>
                  <a:lnTo>
                    <a:pt x="2135" y="673"/>
                  </a:lnTo>
                  <a:lnTo>
                    <a:pt x="2135" y="650"/>
                  </a:lnTo>
                  <a:lnTo>
                    <a:pt x="2126" y="629"/>
                  </a:lnTo>
                  <a:lnTo>
                    <a:pt x="2120" y="597"/>
                  </a:lnTo>
                  <a:lnTo>
                    <a:pt x="2111" y="582"/>
                  </a:lnTo>
                  <a:lnTo>
                    <a:pt x="2102" y="570"/>
                  </a:lnTo>
                  <a:lnTo>
                    <a:pt x="2093" y="565"/>
                  </a:lnTo>
                  <a:lnTo>
                    <a:pt x="2046" y="565"/>
                  </a:lnTo>
                  <a:lnTo>
                    <a:pt x="2040" y="565"/>
                  </a:lnTo>
                  <a:lnTo>
                    <a:pt x="2034" y="564"/>
                  </a:lnTo>
                  <a:lnTo>
                    <a:pt x="2030" y="560"/>
                  </a:lnTo>
                  <a:lnTo>
                    <a:pt x="2022" y="558"/>
                  </a:lnTo>
                  <a:lnTo>
                    <a:pt x="2014" y="558"/>
                  </a:lnTo>
                  <a:lnTo>
                    <a:pt x="2009" y="550"/>
                  </a:lnTo>
                  <a:lnTo>
                    <a:pt x="2000" y="542"/>
                  </a:lnTo>
                  <a:lnTo>
                    <a:pt x="1993" y="538"/>
                  </a:lnTo>
                  <a:lnTo>
                    <a:pt x="1985" y="534"/>
                  </a:lnTo>
                  <a:lnTo>
                    <a:pt x="1971" y="526"/>
                  </a:lnTo>
                  <a:lnTo>
                    <a:pt x="1942" y="496"/>
                  </a:lnTo>
                  <a:lnTo>
                    <a:pt x="1930" y="485"/>
                  </a:lnTo>
                  <a:lnTo>
                    <a:pt x="1915" y="474"/>
                  </a:lnTo>
                  <a:lnTo>
                    <a:pt x="1896" y="463"/>
                  </a:lnTo>
                  <a:lnTo>
                    <a:pt x="1883" y="455"/>
                  </a:lnTo>
                  <a:lnTo>
                    <a:pt x="1872" y="448"/>
                  </a:lnTo>
                  <a:lnTo>
                    <a:pt x="1860" y="445"/>
                  </a:lnTo>
                  <a:lnTo>
                    <a:pt x="1808" y="444"/>
                  </a:lnTo>
                  <a:lnTo>
                    <a:pt x="1799" y="445"/>
                  </a:lnTo>
                  <a:lnTo>
                    <a:pt x="1790" y="445"/>
                  </a:lnTo>
                  <a:lnTo>
                    <a:pt x="1760" y="444"/>
                  </a:lnTo>
                  <a:lnTo>
                    <a:pt x="1751" y="442"/>
                  </a:lnTo>
                  <a:lnTo>
                    <a:pt x="1731" y="437"/>
                  </a:lnTo>
                  <a:lnTo>
                    <a:pt x="1678" y="420"/>
                  </a:lnTo>
                  <a:lnTo>
                    <a:pt x="1668" y="420"/>
                  </a:lnTo>
                  <a:lnTo>
                    <a:pt x="1665" y="420"/>
                  </a:lnTo>
                  <a:lnTo>
                    <a:pt x="1659" y="413"/>
                  </a:lnTo>
                  <a:lnTo>
                    <a:pt x="1652" y="417"/>
                  </a:lnTo>
                  <a:lnTo>
                    <a:pt x="1645" y="423"/>
                  </a:lnTo>
                  <a:lnTo>
                    <a:pt x="1636" y="426"/>
                  </a:lnTo>
                  <a:lnTo>
                    <a:pt x="1620" y="433"/>
                  </a:lnTo>
                  <a:lnTo>
                    <a:pt x="1611" y="434"/>
                  </a:lnTo>
                  <a:lnTo>
                    <a:pt x="1610" y="428"/>
                  </a:lnTo>
                  <a:lnTo>
                    <a:pt x="1613" y="421"/>
                  </a:lnTo>
                  <a:lnTo>
                    <a:pt x="1619" y="415"/>
                  </a:lnTo>
                  <a:lnTo>
                    <a:pt x="1619" y="410"/>
                  </a:lnTo>
                  <a:lnTo>
                    <a:pt x="1616" y="405"/>
                  </a:lnTo>
                  <a:lnTo>
                    <a:pt x="1611" y="403"/>
                  </a:lnTo>
                  <a:lnTo>
                    <a:pt x="1609" y="403"/>
                  </a:lnTo>
                  <a:lnTo>
                    <a:pt x="1605" y="404"/>
                  </a:lnTo>
                  <a:lnTo>
                    <a:pt x="1602" y="404"/>
                  </a:lnTo>
                  <a:lnTo>
                    <a:pt x="1600" y="403"/>
                  </a:lnTo>
                  <a:lnTo>
                    <a:pt x="1600" y="399"/>
                  </a:lnTo>
                  <a:lnTo>
                    <a:pt x="1604" y="397"/>
                  </a:lnTo>
                  <a:lnTo>
                    <a:pt x="1605" y="387"/>
                  </a:lnTo>
                  <a:lnTo>
                    <a:pt x="1598" y="375"/>
                  </a:lnTo>
                  <a:lnTo>
                    <a:pt x="1587" y="366"/>
                  </a:lnTo>
                  <a:lnTo>
                    <a:pt x="1582" y="367"/>
                  </a:lnTo>
                  <a:lnTo>
                    <a:pt x="1576" y="370"/>
                  </a:lnTo>
                  <a:lnTo>
                    <a:pt x="1570" y="375"/>
                  </a:lnTo>
                  <a:lnTo>
                    <a:pt x="1564" y="378"/>
                  </a:lnTo>
                  <a:lnTo>
                    <a:pt x="1564" y="369"/>
                  </a:lnTo>
                  <a:lnTo>
                    <a:pt x="1561" y="364"/>
                  </a:lnTo>
                  <a:lnTo>
                    <a:pt x="1555" y="355"/>
                  </a:lnTo>
                  <a:lnTo>
                    <a:pt x="1543" y="353"/>
                  </a:lnTo>
                  <a:lnTo>
                    <a:pt x="1533" y="347"/>
                  </a:lnTo>
                  <a:lnTo>
                    <a:pt x="1522" y="345"/>
                  </a:lnTo>
                  <a:lnTo>
                    <a:pt x="1517" y="340"/>
                  </a:lnTo>
                  <a:lnTo>
                    <a:pt x="1502" y="340"/>
                  </a:lnTo>
                  <a:lnTo>
                    <a:pt x="1497" y="339"/>
                  </a:lnTo>
                  <a:lnTo>
                    <a:pt x="1465" y="322"/>
                  </a:lnTo>
                  <a:lnTo>
                    <a:pt x="1454" y="318"/>
                  </a:lnTo>
                  <a:lnTo>
                    <a:pt x="1425" y="320"/>
                  </a:lnTo>
                  <a:lnTo>
                    <a:pt x="1416" y="324"/>
                  </a:lnTo>
                  <a:lnTo>
                    <a:pt x="1409" y="339"/>
                  </a:lnTo>
                  <a:lnTo>
                    <a:pt x="1403" y="342"/>
                  </a:lnTo>
                  <a:lnTo>
                    <a:pt x="1399" y="350"/>
                  </a:lnTo>
                  <a:lnTo>
                    <a:pt x="1396" y="359"/>
                  </a:lnTo>
                  <a:lnTo>
                    <a:pt x="1392" y="366"/>
                  </a:lnTo>
                  <a:lnTo>
                    <a:pt x="1383" y="366"/>
                  </a:lnTo>
                  <a:lnTo>
                    <a:pt x="1374" y="370"/>
                  </a:lnTo>
                  <a:lnTo>
                    <a:pt x="1371" y="371"/>
                  </a:lnTo>
                  <a:lnTo>
                    <a:pt x="1365" y="376"/>
                  </a:lnTo>
                  <a:lnTo>
                    <a:pt x="1358" y="396"/>
                  </a:lnTo>
                  <a:lnTo>
                    <a:pt x="1355" y="403"/>
                  </a:lnTo>
                  <a:lnTo>
                    <a:pt x="1352" y="404"/>
                  </a:lnTo>
                  <a:lnTo>
                    <a:pt x="1351" y="408"/>
                  </a:lnTo>
                  <a:lnTo>
                    <a:pt x="1349" y="418"/>
                  </a:lnTo>
                  <a:lnTo>
                    <a:pt x="1344" y="419"/>
                  </a:lnTo>
                  <a:lnTo>
                    <a:pt x="1341" y="412"/>
                  </a:lnTo>
                  <a:lnTo>
                    <a:pt x="1341" y="401"/>
                  </a:lnTo>
                  <a:lnTo>
                    <a:pt x="1345" y="386"/>
                  </a:lnTo>
                  <a:lnTo>
                    <a:pt x="1342" y="386"/>
                  </a:lnTo>
                  <a:lnTo>
                    <a:pt x="1334" y="386"/>
                  </a:lnTo>
                  <a:lnTo>
                    <a:pt x="1326" y="388"/>
                  </a:lnTo>
                  <a:lnTo>
                    <a:pt x="1319" y="387"/>
                  </a:lnTo>
                  <a:lnTo>
                    <a:pt x="1296" y="388"/>
                  </a:lnTo>
                  <a:lnTo>
                    <a:pt x="1287" y="387"/>
                  </a:lnTo>
                  <a:lnTo>
                    <a:pt x="1286" y="388"/>
                  </a:lnTo>
                  <a:lnTo>
                    <a:pt x="1280" y="388"/>
                  </a:lnTo>
                  <a:lnTo>
                    <a:pt x="1277" y="387"/>
                  </a:lnTo>
                  <a:lnTo>
                    <a:pt x="1271" y="387"/>
                  </a:lnTo>
                  <a:lnTo>
                    <a:pt x="1256" y="392"/>
                  </a:lnTo>
                  <a:lnTo>
                    <a:pt x="1250" y="392"/>
                  </a:lnTo>
                  <a:lnTo>
                    <a:pt x="1238" y="387"/>
                  </a:lnTo>
                  <a:lnTo>
                    <a:pt x="1234" y="387"/>
                  </a:lnTo>
                  <a:lnTo>
                    <a:pt x="1232" y="388"/>
                  </a:lnTo>
                  <a:lnTo>
                    <a:pt x="1229" y="397"/>
                  </a:lnTo>
                  <a:lnTo>
                    <a:pt x="1228" y="399"/>
                  </a:lnTo>
                  <a:lnTo>
                    <a:pt x="1226" y="397"/>
                  </a:lnTo>
                  <a:lnTo>
                    <a:pt x="1224" y="390"/>
                  </a:lnTo>
                  <a:lnTo>
                    <a:pt x="1226" y="387"/>
                  </a:lnTo>
                  <a:lnTo>
                    <a:pt x="1232" y="381"/>
                  </a:lnTo>
                  <a:lnTo>
                    <a:pt x="1238" y="381"/>
                  </a:lnTo>
                  <a:lnTo>
                    <a:pt x="1247" y="385"/>
                  </a:lnTo>
                  <a:lnTo>
                    <a:pt x="1259" y="386"/>
                  </a:lnTo>
                  <a:lnTo>
                    <a:pt x="1269" y="382"/>
                  </a:lnTo>
                  <a:lnTo>
                    <a:pt x="1271" y="380"/>
                  </a:lnTo>
                  <a:lnTo>
                    <a:pt x="1272" y="377"/>
                  </a:lnTo>
                  <a:lnTo>
                    <a:pt x="1272" y="355"/>
                  </a:lnTo>
                  <a:lnTo>
                    <a:pt x="1271" y="353"/>
                  </a:lnTo>
                  <a:lnTo>
                    <a:pt x="1265" y="353"/>
                  </a:lnTo>
                  <a:lnTo>
                    <a:pt x="1264" y="349"/>
                  </a:lnTo>
                  <a:lnTo>
                    <a:pt x="1258" y="345"/>
                  </a:lnTo>
                  <a:lnTo>
                    <a:pt x="1256" y="344"/>
                  </a:lnTo>
                  <a:lnTo>
                    <a:pt x="1256" y="340"/>
                  </a:lnTo>
                  <a:lnTo>
                    <a:pt x="1261" y="339"/>
                  </a:lnTo>
                  <a:lnTo>
                    <a:pt x="1266" y="334"/>
                  </a:lnTo>
                  <a:lnTo>
                    <a:pt x="1267" y="329"/>
                  </a:lnTo>
                  <a:lnTo>
                    <a:pt x="1261" y="329"/>
                  </a:lnTo>
                  <a:lnTo>
                    <a:pt x="1258" y="332"/>
                  </a:lnTo>
                  <a:lnTo>
                    <a:pt x="1254" y="332"/>
                  </a:lnTo>
                  <a:lnTo>
                    <a:pt x="1249" y="340"/>
                  </a:lnTo>
                  <a:lnTo>
                    <a:pt x="1247" y="348"/>
                  </a:lnTo>
                  <a:lnTo>
                    <a:pt x="1236" y="348"/>
                  </a:lnTo>
                  <a:lnTo>
                    <a:pt x="1234" y="345"/>
                  </a:lnTo>
                  <a:lnTo>
                    <a:pt x="1234" y="343"/>
                  </a:lnTo>
                  <a:lnTo>
                    <a:pt x="1234" y="327"/>
                  </a:lnTo>
                  <a:lnTo>
                    <a:pt x="1231" y="317"/>
                  </a:lnTo>
                  <a:lnTo>
                    <a:pt x="1231" y="308"/>
                  </a:lnTo>
                  <a:lnTo>
                    <a:pt x="1232" y="306"/>
                  </a:lnTo>
                  <a:lnTo>
                    <a:pt x="1238" y="299"/>
                  </a:lnTo>
                  <a:lnTo>
                    <a:pt x="1243" y="292"/>
                  </a:lnTo>
                  <a:lnTo>
                    <a:pt x="1253" y="281"/>
                  </a:lnTo>
                  <a:lnTo>
                    <a:pt x="1266" y="267"/>
                  </a:lnTo>
                  <a:lnTo>
                    <a:pt x="1283" y="254"/>
                  </a:lnTo>
                  <a:lnTo>
                    <a:pt x="1291" y="242"/>
                  </a:lnTo>
                  <a:lnTo>
                    <a:pt x="1297" y="238"/>
                  </a:lnTo>
                  <a:lnTo>
                    <a:pt x="1303" y="232"/>
                  </a:lnTo>
                  <a:lnTo>
                    <a:pt x="1306" y="222"/>
                  </a:lnTo>
                  <a:lnTo>
                    <a:pt x="1306" y="218"/>
                  </a:lnTo>
                  <a:lnTo>
                    <a:pt x="1312" y="199"/>
                  </a:lnTo>
                  <a:lnTo>
                    <a:pt x="1312" y="195"/>
                  </a:lnTo>
                  <a:lnTo>
                    <a:pt x="1308" y="192"/>
                  </a:lnTo>
                  <a:lnTo>
                    <a:pt x="1301" y="192"/>
                  </a:lnTo>
                  <a:lnTo>
                    <a:pt x="1285" y="187"/>
                  </a:lnTo>
                  <a:lnTo>
                    <a:pt x="1279" y="175"/>
                  </a:lnTo>
                  <a:lnTo>
                    <a:pt x="1272" y="152"/>
                  </a:lnTo>
                  <a:lnTo>
                    <a:pt x="1271" y="150"/>
                  </a:lnTo>
                  <a:lnTo>
                    <a:pt x="1269" y="138"/>
                  </a:lnTo>
                  <a:lnTo>
                    <a:pt x="1264" y="129"/>
                  </a:lnTo>
                  <a:lnTo>
                    <a:pt x="1260" y="116"/>
                  </a:lnTo>
                  <a:lnTo>
                    <a:pt x="1256" y="105"/>
                  </a:lnTo>
                  <a:lnTo>
                    <a:pt x="1253" y="91"/>
                  </a:lnTo>
                  <a:lnTo>
                    <a:pt x="1253" y="80"/>
                  </a:lnTo>
                  <a:lnTo>
                    <a:pt x="1247" y="69"/>
                  </a:lnTo>
                  <a:lnTo>
                    <a:pt x="1237" y="57"/>
                  </a:lnTo>
                  <a:lnTo>
                    <a:pt x="1232" y="53"/>
                  </a:lnTo>
                  <a:lnTo>
                    <a:pt x="1229" y="54"/>
                  </a:lnTo>
                  <a:lnTo>
                    <a:pt x="1227" y="62"/>
                  </a:lnTo>
                  <a:lnTo>
                    <a:pt x="1222" y="63"/>
                  </a:lnTo>
                  <a:lnTo>
                    <a:pt x="1209" y="76"/>
                  </a:lnTo>
                  <a:lnTo>
                    <a:pt x="1206" y="84"/>
                  </a:lnTo>
                  <a:lnTo>
                    <a:pt x="1193" y="102"/>
                  </a:lnTo>
                  <a:lnTo>
                    <a:pt x="1183" y="114"/>
                  </a:lnTo>
                  <a:lnTo>
                    <a:pt x="1179" y="121"/>
                  </a:lnTo>
                  <a:lnTo>
                    <a:pt x="1170" y="143"/>
                  </a:lnTo>
                  <a:lnTo>
                    <a:pt x="1143" y="167"/>
                  </a:lnTo>
                  <a:lnTo>
                    <a:pt x="1141" y="170"/>
                  </a:lnTo>
                  <a:lnTo>
                    <a:pt x="1136" y="172"/>
                  </a:lnTo>
                  <a:lnTo>
                    <a:pt x="1126" y="172"/>
                  </a:lnTo>
                  <a:lnTo>
                    <a:pt x="1119" y="168"/>
                  </a:lnTo>
                  <a:lnTo>
                    <a:pt x="1113" y="168"/>
                  </a:lnTo>
                  <a:lnTo>
                    <a:pt x="1109" y="170"/>
                  </a:lnTo>
                  <a:lnTo>
                    <a:pt x="1093" y="177"/>
                  </a:lnTo>
                  <a:lnTo>
                    <a:pt x="1087" y="177"/>
                  </a:lnTo>
                  <a:lnTo>
                    <a:pt x="1084" y="176"/>
                  </a:lnTo>
                  <a:lnTo>
                    <a:pt x="1075" y="170"/>
                  </a:lnTo>
                  <a:lnTo>
                    <a:pt x="1065" y="159"/>
                  </a:lnTo>
                  <a:lnTo>
                    <a:pt x="1059" y="157"/>
                  </a:lnTo>
                  <a:lnTo>
                    <a:pt x="1055" y="155"/>
                  </a:lnTo>
                  <a:lnTo>
                    <a:pt x="1034" y="149"/>
                  </a:lnTo>
                  <a:lnTo>
                    <a:pt x="1012" y="155"/>
                  </a:lnTo>
                  <a:lnTo>
                    <a:pt x="1008" y="155"/>
                  </a:lnTo>
                  <a:lnTo>
                    <a:pt x="998" y="152"/>
                  </a:lnTo>
                  <a:lnTo>
                    <a:pt x="991" y="152"/>
                  </a:lnTo>
                  <a:lnTo>
                    <a:pt x="985" y="155"/>
                  </a:lnTo>
                  <a:lnTo>
                    <a:pt x="986" y="179"/>
                  </a:lnTo>
                  <a:lnTo>
                    <a:pt x="982" y="183"/>
                  </a:lnTo>
                  <a:lnTo>
                    <a:pt x="965" y="183"/>
                  </a:lnTo>
                  <a:lnTo>
                    <a:pt x="953" y="178"/>
                  </a:lnTo>
                  <a:lnTo>
                    <a:pt x="942" y="179"/>
                  </a:lnTo>
                  <a:lnTo>
                    <a:pt x="928" y="181"/>
                  </a:lnTo>
                  <a:lnTo>
                    <a:pt x="922" y="178"/>
                  </a:lnTo>
                  <a:lnTo>
                    <a:pt x="921" y="177"/>
                  </a:lnTo>
                  <a:lnTo>
                    <a:pt x="917" y="176"/>
                  </a:lnTo>
                  <a:lnTo>
                    <a:pt x="912" y="176"/>
                  </a:lnTo>
                  <a:lnTo>
                    <a:pt x="901" y="182"/>
                  </a:lnTo>
                  <a:lnTo>
                    <a:pt x="893" y="192"/>
                  </a:lnTo>
                  <a:lnTo>
                    <a:pt x="879" y="192"/>
                  </a:lnTo>
                  <a:lnTo>
                    <a:pt x="871" y="195"/>
                  </a:lnTo>
                  <a:lnTo>
                    <a:pt x="866" y="200"/>
                  </a:lnTo>
                  <a:lnTo>
                    <a:pt x="855" y="200"/>
                  </a:lnTo>
                  <a:lnTo>
                    <a:pt x="846" y="203"/>
                  </a:lnTo>
                  <a:lnTo>
                    <a:pt x="840" y="213"/>
                  </a:lnTo>
                  <a:lnTo>
                    <a:pt x="835" y="215"/>
                  </a:lnTo>
                  <a:lnTo>
                    <a:pt x="822" y="215"/>
                  </a:lnTo>
                  <a:lnTo>
                    <a:pt x="812" y="213"/>
                  </a:lnTo>
                  <a:lnTo>
                    <a:pt x="796" y="203"/>
                  </a:lnTo>
                  <a:lnTo>
                    <a:pt x="790" y="198"/>
                  </a:lnTo>
                  <a:lnTo>
                    <a:pt x="786" y="192"/>
                  </a:lnTo>
                  <a:lnTo>
                    <a:pt x="783" y="191"/>
                  </a:lnTo>
                  <a:lnTo>
                    <a:pt x="779" y="186"/>
                  </a:lnTo>
                  <a:lnTo>
                    <a:pt x="777" y="183"/>
                  </a:lnTo>
                  <a:lnTo>
                    <a:pt x="779" y="170"/>
                  </a:lnTo>
                  <a:lnTo>
                    <a:pt x="777" y="161"/>
                  </a:lnTo>
                  <a:lnTo>
                    <a:pt x="766" y="151"/>
                  </a:lnTo>
                  <a:lnTo>
                    <a:pt x="765" y="148"/>
                  </a:lnTo>
                  <a:lnTo>
                    <a:pt x="765" y="117"/>
                  </a:lnTo>
                  <a:lnTo>
                    <a:pt x="771" y="103"/>
                  </a:lnTo>
                  <a:lnTo>
                    <a:pt x="774" y="96"/>
                  </a:lnTo>
                  <a:lnTo>
                    <a:pt x="774" y="86"/>
                  </a:lnTo>
                  <a:lnTo>
                    <a:pt x="783" y="73"/>
                  </a:lnTo>
                  <a:lnTo>
                    <a:pt x="785" y="70"/>
                  </a:lnTo>
                  <a:lnTo>
                    <a:pt x="783" y="63"/>
                  </a:lnTo>
                  <a:lnTo>
                    <a:pt x="779" y="57"/>
                  </a:lnTo>
                  <a:lnTo>
                    <a:pt x="779" y="42"/>
                  </a:lnTo>
                  <a:lnTo>
                    <a:pt x="767" y="38"/>
                  </a:lnTo>
                  <a:lnTo>
                    <a:pt x="765" y="37"/>
                  </a:lnTo>
                  <a:lnTo>
                    <a:pt x="756" y="36"/>
                  </a:lnTo>
                  <a:lnTo>
                    <a:pt x="760" y="22"/>
                  </a:lnTo>
                  <a:lnTo>
                    <a:pt x="760" y="15"/>
                  </a:lnTo>
                  <a:lnTo>
                    <a:pt x="760" y="9"/>
                  </a:lnTo>
                  <a:lnTo>
                    <a:pt x="755" y="0"/>
                  </a:lnTo>
                  <a:lnTo>
                    <a:pt x="747" y="0"/>
                  </a:lnTo>
                  <a:lnTo>
                    <a:pt x="734" y="4"/>
                  </a:lnTo>
                  <a:lnTo>
                    <a:pt x="725" y="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25" name="Freeform 245">
              <a:extLst>
                <a:ext uri="{FF2B5EF4-FFF2-40B4-BE49-F238E27FC236}">
                  <a16:creationId xmlns:a16="http://schemas.microsoft.com/office/drawing/2014/main" id="{1BA1DD89-3056-9C17-F1AC-D071F6A73EF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461535" y="3950796"/>
              <a:ext cx="352193" cy="516710"/>
            </a:xfrm>
            <a:custGeom>
              <a:avLst/>
              <a:gdLst>
                <a:gd name="T0" fmla="*/ 2147483647 w 663"/>
                <a:gd name="T1" fmla="*/ 0 h 909"/>
                <a:gd name="T2" fmla="*/ 2147483647 w 663"/>
                <a:gd name="T3" fmla="*/ 0 h 909"/>
                <a:gd name="T4" fmla="*/ 2147483647 w 663"/>
                <a:gd name="T5" fmla="*/ 0 h 909"/>
                <a:gd name="T6" fmla="*/ 0 w 663"/>
                <a:gd name="T7" fmla="*/ 0 h 909"/>
                <a:gd name="T8" fmla="*/ 0 w 663"/>
                <a:gd name="T9" fmla="*/ 0 h 909"/>
                <a:gd name="T10" fmla="*/ 0 w 663"/>
                <a:gd name="T11" fmla="*/ 0 h 909"/>
                <a:gd name="T12" fmla="*/ 0 w 663"/>
                <a:gd name="T13" fmla="*/ 0 h 909"/>
                <a:gd name="T14" fmla="*/ 0 w 663"/>
                <a:gd name="T15" fmla="*/ 0 h 909"/>
                <a:gd name="T16" fmla="*/ 0 w 663"/>
                <a:gd name="T17" fmla="*/ 0 h 909"/>
                <a:gd name="T18" fmla="*/ 0 w 663"/>
                <a:gd name="T19" fmla="*/ 0 h 909"/>
                <a:gd name="T20" fmla="*/ 0 w 663"/>
                <a:gd name="T21" fmla="*/ 0 h 909"/>
                <a:gd name="T22" fmla="*/ 0 w 663"/>
                <a:gd name="T23" fmla="*/ 0 h 909"/>
                <a:gd name="T24" fmla="*/ 0 w 663"/>
                <a:gd name="T25" fmla="*/ 2147483647 h 909"/>
                <a:gd name="T26" fmla="*/ 0 w 663"/>
                <a:gd name="T27" fmla="*/ 2147483647 h 909"/>
                <a:gd name="T28" fmla="*/ 0 w 663"/>
                <a:gd name="T29" fmla="*/ 2147483647 h 909"/>
                <a:gd name="T30" fmla="*/ 0 w 663"/>
                <a:gd name="T31" fmla="*/ 2147483647 h 909"/>
                <a:gd name="T32" fmla="*/ 0 w 663"/>
                <a:gd name="T33" fmla="*/ 2147483647 h 909"/>
                <a:gd name="T34" fmla="*/ 0 w 663"/>
                <a:gd name="T35" fmla="*/ 2147483647 h 909"/>
                <a:gd name="T36" fmla="*/ 0 w 663"/>
                <a:gd name="T37" fmla="*/ 2147483647 h 909"/>
                <a:gd name="T38" fmla="*/ 0 w 663"/>
                <a:gd name="T39" fmla="*/ 2147483647 h 909"/>
                <a:gd name="T40" fmla="*/ 0 w 663"/>
                <a:gd name="T41" fmla="*/ 2147483647 h 909"/>
                <a:gd name="T42" fmla="*/ 0 w 663"/>
                <a:gd name="T43" fmla="*/ 2147483647 h 909"/>
                <a:gd name="T44" fmla="*/ 0 w 663"/>
                <a:gd name="T45" fmla="*/ 2147483647 h 909"/>
                <a:gd name="T46" fmla="*/ 0 w 663"/>
                <a:gd name="T47" fmla="*/ 2147483647 h 909"/>
                <a:gd name="T48" fmla="*/ 0 w 663"/>
                <a:gd name="T49" fmla="*/ 2147483647 h 909"/>
                <a:gd name="T50" fmla="*/ 0 w 663"/>
                <a:gd name="T51" fmla="*/ 2147483647 h 909"/>
                <a:gd name="T52" fmla="*/ 2147483647 w 663"/>
                <a:gd name="T53" fmla="*/ 2147483647 h 909"/>
                <a:gd name="T54" fmla="*/ 2147483647 w 663"/>
                <a:gd name="T55" fmla="*/ 2147483647 h 909"/>
                <a:gd name="T56" fmla="*/ 2147483647 w 663"/>
                <a:gd name="T57" fmla="*/ 2147483647 h 909"/>
                <a:gd name="T58" fmla="*/ 2147483647 w 663"/>
                <a:gd name="T59" fmla="*/ 2147483647 h 909"/>
                <a:gd name="T60" fmla="*/ 2147483647 w 663"/>
                <a:gd name="T61" fmla="*/ 2147483647 h 909"/>
                <a:gd name="T62" fmla="*/ 2147483647 w 663"/>
                <a:gd name="T63" fmla="*/ 2147483647 h 909"/>
                <a:gd name="T64" fmla="*/ 2147483647 w 663"/>
                <a:gd name="T65" fmla="*/ 2147483647 h 909"/>
                <a:gd name="T66" fmla="*/ 2147483647 w 663"/>
                <a:gd name="T67" fmla="*/ 2147483647 h 909"/>
                <a:gd name="T68" fmla="*/ 2147483647 w 663"/>
                <a:gd name="T69" fmla="*/ 2147483647 h 909"/>
                <a:gd name="T70" fmla="*/ 2147483647 w 663"/>
                <a:gd name="T71" fmla="*/ 2147483647 h 909"/>
                <a:gd name="T72" fmla="*/ 2147483647 w 663"/>
                <a:gd name="T73" fmla="*/ 2147483647 h 909"/>
                <a:gd name="T74" fmla="*/ 2147483647 w 663"/>
                <a:gd name="T75" fmla="*/ 2147483647 h 909"/>
                <a:gd name="T76" fmla="*/ 2147483647 w 663"/>
                <a:gd name="T77" fmla="*/ 2147483647 h 909"/>
                <a:gd name="T78" fmla="*/ 2147483647 w 663"/>
                <a:gd name="T79" fmla="*/ 2147483647 h 909"/>
                <a:gd name="T80" fmla="*/ 2147483647 w 663"/>
                <a:gd name="T81" fmla="*/ 2147483647 h 909"/>
                <a:gd name="T82" fmla="*/ 2147483647 w 663"/>
                <a:gd name="T83" fmla="*/ 2147483647 h 909"/>
                <a:gd name="T84" fmla="*/ 2147483647 w 663"/>
                <a:gd name="T85" fmla="*/ 2147483647 h 909"/>
                <a:gd name="T86" fmla="*/ 2147483647 w 663"/>
                <a:gd name="T87" fmla="*/ 2147483647 h 909"/>
                <a:gd name="T88" fmla="*/ 2147483647 w 663"/>
                <a:gd name="T89" fmla="*/ 2147483647 h 909"/>
                <a:gd name="T90" fmla="*/ 2147483647 w 663"/>
                <a:gd name="T91" fmla="*/ 2147483647 h 909"/>
                <a:gd name="T92" fmla="*/ 2147483647 w 663"/>
                <a:gd name="T93" fmla="*/ 2147483647 h 909"/>
                <a:gd name="T94" fmla="*/ 2147483647 w 663"/>
                <a:gd name="T95" fmla="*/ 2147483647 h 909"/>
                <a:gd name="T96" fmla="*/ 2147483647 w 663"/>
                <a:gd name="T97" fmla="*/ 2147483647 h 909"/>
                <a:gd name="T98" fmla="*/ 2147483647 w 663"/>
                <a:gd name="T99" fmla="*/ 0 h 909"/>
                <a:gd name="T100" fmla="*/ 2147483647 w 663"/>
                <a:gd name="T101" fmla="*/ 0 h 909"/>
                <a:gd name="T102" fmla="*/ 2147483647 w 663"/>
                <a:gd name="T103" fmla="*/ 0 h 909"/>
                <a:gd name="T104" fmla="*/ 2147483647 w 663"/>
                <a:gd name="T105" fmla="*/ 0 h 909"/>
                <a:gd name="T106" fmla="*/ 2147483647 w 663"/>
                <a:gd name="T107" fmla="*/ 0 h 909"/>
                <a:gd name="T108" fmla="*/ 2147483647 w 663"/>
                <a:gd name="T109" fmla="*/ 0 h 90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63"/>
                <a:gd name="T166" fmla="*/ 0 h 909"/>
                <a:gd name="T167" fmla="*/ 663 w 663"/>
                <a:gd name="T168" fmla="*/ 909 h 909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63" h="909">
                  <a:moveTo>
                    <a:pt x="419" y="33"/>
                  </a:moveTo>
                  <a:lnTo>
                    <a:pt x="424" y="28"/>
                  </a:lnTo>
                  <a:lnTo>
                    <a:pt x="429" y="21"/>
                  </a:lnTo>
                  <a:lnTo>
                    <a:pt x="427" y="12"/>
                  </a:lnTo>
                  <a:lnTo>
                    <a:pt x="418" y="6"/>
                  </a:lnTo>
                  <a:lnTo>
                    <a:pt x="404" y="0"/>
                  </a:lnTo>
                  <a:lnTo>
                    <a:pt x="396" y="5"/>
                  </a:lnTo>
                  <a:lnTo>
                    <a:pt x="393" y="5"/>
                  </a:lnTo>
                  <a:lnTo>
                    <a:pt x="391" y="5"/>
                  </a:lnTo>
                  <a:lnTo>
                    <a:pt x="391" y="14"/>
                  </a:lnTo>
                  <a:lnTo>
                    <a:pt x="386" y="14"/>
                  </a:lnTo>
                  <a:lnTo>
                    <a:pt x="380" y="12"/>
                  </a:lnTo>
                  <a:lnTo>
                    <a:pt x="378" y="16"/>
                  </a:lnTo>
                  <a:lnTo>
                    <a:pt x="377" y="24"/>
                  </a:lnTo>
                  <a:lnTo>
                    <a:pt x="372" y="31"/>
                  </a:lnTo>
                  <a:lnTo>
                    <a:pt x="366" y="35"/>
                  </a:lnTo>
                  <a:lnTo>
                    <a:pt x="341" y="43"/>
                  </a:lnTo>
                  <a:lnTo>
                    <a:pt x="314" y="58"/>
                  </a:lnTo>
                  <a:lnTo>
                    <a:pt x="310" y="60"/>
                  </a:lnTo>
                  <a:lnTo>
                    <a:pt x="289" y="65"/>
                  </a:lnTo>
                  <a:lnTo>
                    <a:pt x="281" y="65"/>
                  </a:lnTo>
                  <a:lnTo>
                    <a:pt x="271" y="63"/>
                  </a:lnTo>
                  <a:lnTo>
                    <a:pt x="263" y="63"/>
                  </a:lnTo>
                  <a:lnTo>
                    <a:pt x="260" y="65"/>
                  </a:lnTo>
                  <a:lnTo>
                    <a:pt x="257" y="70"/>
                  </a:lnTo>
                  <a:lnTo>
                    <a:pt x="253" y="81"/>
                  </a:lnTo>
                  <a:lnTo>
                    <a:pt x="249" y="90"/>
                  </a:lnTo>
                  <a:lnTo>
                    <a:pt x="247" y="91"/>
                  </a:lnTo>
                  <a:lnTo>
                    <a:pt x="244" y="91"/>
                  </a:lnTo>
                  <a:lnTo>
                    <a:pt x="244" y="82"/>
                  </a:lnTo>
                  <a:lnTo>
                    <a:pt x="242" y="80"/>
                  </a:lnTo>
                  <a:lnTo>
                    <a:pt x="231" y="80"/>
                  </a:lnTo>
                  <a:lnTo>
                    <a:pt x="220" y="80"/>
                  </a:lnTo>
                  <a:lnTo>
                    <a:pt x="216" y="80"/>
                  </a:lnTo>
                  <a:lnTo>
                    <a:pt x="194" y="96"/>
                  </a:lnTo>
                  <a:lnTo>
                    <a:pt x="187" y="102"/>
                  </a:lnTo>
                  <a:lnTo>
                    <a:pt x="185" y="107"/>
                  </a:lnTo>
                  <a:lnTo>
                    <a:pt x="183" y="128"/>
                  </a:lnTo>
                  <a:lnTo>
                    <a:pt x="181" y="144"/>
                  </a:lnTo>
                  <a:lnTo>
                    <a:pt x="179" y="160"/>
                  </a:lnTo>
                  <a:lnTo>
                    <a:pt x="173" y="166"/>
                  </a:lnTo>
                  <a:lnTo>
                    <a:pt x="158" y="170"/>
                  </a:lnTo>
                  <a:lnTo>
                    <a:pt x="155" y="173"/>
                  </a:lnTo>
                  <a:lnTo>
                    <a:pt x="146" y="188"/>
                  </a:lnTo>
                  <a:lnTo>
                    <a:pt x="142" y="192"/>
                  </a:lnTo>
                  <a:lnTo>
                    <a:pt x="135" y="198"/>
                  </a:lnTo>
                  <a:lnTo>
                    <a:pt x="117" y="209"/>
                  </a:lnTo>
                  <a:lnTo>
                    <a:pt x="115" y="213"/>
                  </a:lnTo>
                  <a:lnTo>
                    <a:pt x="117" y="216"/>
                  </a:lnTo>
                  <a:lnTo>
                    <a:pt x="118" y="219"/>
                  </a:lnTo>
                  <a:lnTo>
                    <a:pt x="122" y="238"/>
                  </a:lnTo>
                  <a:lnTo>
                    <a:pt x="119" y="245"/>
                  </a:lnTo>
                  <a:lnTo>
                    <a:pt x="118" y="246"/>
                  </a:lnTo>
                  <a:lnTo>
                    <a:pt x="113" y="242"/>
                  </a:lnTo>
                  <a:lnTo>
                    <a:pt x="103" y="229"/>
                  </a:lnTo>
                  <a:lnTo>
                    <a:pt x="86" y="209"/>
                  </a:lnTo>
                  <a:lnTo>
                    <a:pt x="85" y="213"/>
                  </a:lnTo>
                  <a:lnTo>
                    <a:pt x="83" y="221"/>
                  </a:lnTo>
                  <a:lnTo>
                    <a:pt x="83" y="223"/>
                  </a:lnTo>
                  <a:lnTo>
                    <a:pt x="88" y="226"/>
                  </a:lnTo>
                  <a:lnTo>
                    <a:pt x="92" y="232"/>
                  </a:lnTo>
                  <a:lnTo>
                    <a:pt x="92" y="238"/>
                  </a:lnTo>
                  <a:lnTo>
                    <a:pt x="93" y="240"/>
                  </a:lnTo>
                  <a:lnTo>
                    <a:pt x="97" y="242"/>
                  </a:lnTo>
                  <a:lnTo>
                    <a:pt x="97" y="246"/>
                  </a:lnTo>
                  <a:lnTo>
                    <a:pt x="91" y="251"/>
                  </a:lnTo>
                  <a:lnTo>
                    <a:pt x="81" y="264"/>
                  </a:lnTo>
                  <a:lnTo>
                    <a:pt x="77" y="267"/>
                  </a:lnTo>
                  <a:lnTo>
                    <a:pt x="72" y="263"/>
                  </a:lnTo>
                  <a:lnTo>
                    <a:pt x="69" y="264"/>
                  </a:lnTo>
                  <a:lnTo>
                    <a:pt x="69" y="272"/>
                  </a:lnTo>
                  <a:lnTo>
                    <a:pt x="60" y="278"/>
                  </a:lnTo>
                  <a:lnTo>
                    <a:pt x="60" y="283"/>
                  </a:lnTo>
                  <a:lnTo>
                    <a:pt x="59" y="283"/>
                  </a:lnTo>
                  <a:lnTo>
                    <a:pt x="61" y="288"/>
                  </a:lnTo>
                  <a:lnTo>
                    <a:pt x="66" y="306"/>
                  </a:lnTo>
                  <a:lnTo>
                    <a:pt x="70" y="311"/>
                  </a:lnTo>
                  <a:lnTo>
                    <a:pt x="81" y="320"/>
                  </a:lnTo>
                  <a:lnTo>
                    <a:pt x="86" y="327"/>
                  </a:lnTo>
                  <a:lnTo>
                    <a:pt x="87" y="331"/>
                  </a:lnTo>
                  <a:lnTo>
                    <a:pt x="85" y="353"/>
                  </a:lnTo>
                  <a:lnTo>
                    <a:pt x="88" y="367"/>
                  </a:lnTo>
                  <a:lnTo>
                    <a:pt x="88" y="372"/>
                  </a:lnTo>
                  <a:lnTo>
                    <a:pt x="83" y="380"/>
                  </a:lnTo>
                  <a:lnTo>
                    <a:pt x="81" y="386"/>
                  </a:lnTo>
                  <a:lnTo>
                    <a:pt x="85" y="412"/>
                  </a:lnTo>
                  <a:lnTo>
                    <a:pt x="90" y="431"/>
                  </a:lnTo>
                  <a:lnTo>
                    <a:pt x="90" y="439"/>
                  </a:lnTo>
                  <a:lnTo>
                    <a:pt x="85" y="455"/>
                  </a:lnTo>
                  <a:lnTo>
                    <a:pt x="83" y="462"/>
                  </a:lnTo>
                  <a:lnTo>
                    <a:pt x="85" y="469"/>
                  </a:lnTo>
                  <a:lnTo>
                    <a:pt x="92" y="472"/>
                  </a:lnTo>
                  <a:lnTo>
                    <a:pt x="98" y="473"/>
                  </a:lnTo>
                  <a:lnTo>
                    <a:pt x="103" y="472"/>
                  </a:lnTo>
                  <a:lnTo>
                    <a:pt x="111" y="467"/>
                  </a:lnTo>
                  <a:lnTo>
                    <a:pt x="111" y="472"/>
                  </a:lnTo>
                  <a:lnTo>
                    <a:pt x="111" y="474"/>
                  </a:lnTo>
                  <a:lnTo>
                    <a:pt x="107" y="479"/>
                  </a:lnTo>
                  <a:lnTo>
                    <a:pt x="95" y="490"/>
                  </a:lnTo>
                  <a:lnTo>
                    <a:pt x="81" y="507"/>
                  </a:lnTo>
                  <a:lnTo>
                    <a:pt x="74" y="531"/>
                  </a:lnTo>
                  <a:lnTo>
                    <a:pt x="71" y="533"/>
                  </a:lnTo>
                  <a:lnTo>
                    <a:pt x="69" y="536"/>
                  </a:lnTo>
                  <a:lnTo>
                    <a:pt x="54" y="541"/>
                  </a:lnTo>
                  <a:lnTo>
                    <a:pt x="40" y="539"/>
                  </a:lnTo>
                  <a:lnTo>
                    <a:pt x="37" y="541"/>
                  </a:lnTo>
                  <a:lnTo>
                    <a:pt x="26" y="547"/>
                  </a:lnTo>
                  <a:lnTo>
                    <a:pt x="20" y="560"/>
                  </a:lnTo>
                  <a:lnTo>
                    <a:pt x="18" y="569"/>
                  </a:lnTo>
                  <a:lnTo>
                    <a:pt x="21" y="577"/>
                  </a:lnTo>
                  <a:lnTo>
                    <a:pt x="20" y="584"/>
                  </a:lnTo>
                  <a:lnTo>
                    <a:pt x="7" y="585"/>
                  </a:lnTo>
                  <a:lnTo>
                    <a:pt x="4" y="590"/>
                  </a:lnTo>
                  <a:lnTo>
                    <a:pt x="0" y="596"/>
                  </a:lnTo>
                  <a:lnTo>
                    <a:pt x="0" y="601"/>
                  </a:lnTo>
                  <a:lnTo>
                    <a:pt x="5" y="607"/>
                  </a:lnTo>
                  <a:lnTo>
                    <a:pt x="6" y="611"/>
                  </a:lnTo>
                  <a:lnTo>
                    <a:pt x="9" y="613"/>
                  </a:lnTo>
                  <a:lnTo>
                    <a:pt x="12" y="616"/>
                  </a:lnTo>
                  <a:lnTo>
                    <a:pt x="44" y="629"/>
                  </a:lnTo>
                  <a:lnTo>
                    <a:pt x="74" y="644"/>
                  </a:lnTo>
                  <a:lnTo>
                    <a:pt x="86" y="652"/>
                  </a:lnTo>
                  <a:lnTo>
                    <a:pt x="88" y="657"/>
                  </a:lnTo>
                  <a:lnTo>
                    <a:pt x="91" y="668"/>
                  </a:lnTo>
                  <a:lnTo>
                    <a:pt x="93" y="672"/>
                  </a:lnTo>
                  <a:lnTo>
                    <a:pt x="106" y="673"/>
                  </a:lnTo>
                  <a:lnTo>
                    <a:pt x="114" y="671"/>
                  </a:lnTo>
                  <a:lnTo>
                    <a:pt x="119" y="671"/>
                  </a:lnTo>
                  <a:lnTo>
                    <a:pt x="140" y="673"/>
                  </a:lnTo>
                  <a:lnTo>
                    <a:pt x="150" y="673"/>
                  </a:lnTo>
                  <a:lnTo>
                    <a:pt x="151" y="671"/>
                  </a:lnTo>
                  <a:lnTo>
                    <a:pt x="156" y="665"/>
                  </a:lnTo>
                  <a:lnTo>
                    <a:pt x="161" y="665"/>
                  </a:lnTo>
                  <a:lnTo>
                    <a:pt x="168" y="667"/>
                  </a:lnTo>
                  <a:lnTo>
                    <a:pt x="174" y="673"/>
                  </a:lnTo>
                  <a:lnTo>
                    <a:pt x="181" y="676"/>
                  </a:lnTo>
                  <a:lnTo>
                    <a:pt x="195" y="687"/>
                  </a:lnTo>
                  <a:lnTo>
                    <a:pt x="201" y="687"/>
                  </a:lnTo>
                  <a:lnTo>
                    <a:pt x="205" y="687"/>
                  </a:lnTo>
                  <a:lnTo>
                    <a:pt x="215" y="690"/>
                  </a:lnTo>
                  <a:lnTo>
                    <a:pt x="224" y="693"/>
                  </a:lnTo>
                  <a:lnTo>
                    <a:pt x="230" y="695"/>
                  </a:lnTo>
                  <a:lnTo>
                    <a:pt x="235" y="704"/>
                  </a:lnTo>
                  <a:lnTo>
                    <a:pt x="238" y="708"/>
                  </a:lnTo>
                  <a:lnTo>
                    <a:pt x="248" y="711"/>
                  </a:lnTo>
                  <a:lnTo>
                    <a:pt x="253" y="725"/>
                  </a:lnTo>
                  <a:lnTo>
                    <a:pt x="258" y="733"/>
                  </a:lnTo>
                  <a:lnTo>
                    <a:pt x="264" y="737"/>
                  </a:lnTo>
                  <a:lnTo>
                    <a:pt x="267" y="742"/>
                  </a:lnTo>
                  <a:lnTo>
                    <a:pt x="273" y="743"/>
                  </a:lnTo>
                  <a:lnTo>
                    <a:pt x="278" y="743"/>
                  </a:lnTo>
                  <a:lnTo>
                    <a:pt x="284" y="746"/>
                  </a:lnTo>
                  <a:lnTo>
                    <a:pt x="289" y="749"/>
                  </a:lnTo>
                  <a:lnTo>
                    <a:pt x="292" y="756"/>
                  </a:lnTo>
                  <a:lnTo>
                    <a:pt x="294" y="768"/>
                  </a:lnTo>
                  <a:lnTo>
                    <a:pt x="297" y="776"/>
                  </a:lnTo>
                  <a:lnTo>
                    <a:pt x="298" y="780"/>
                  </a:lnTo>
                  <a:lnTo>
                    <a:pt x="302" y="783"/>
                  </a:lnTo>
                  <a:lnTo>
                    <a:pt x="311" y="783"/>
                  </a:lnTo>
                  <a:lnTo>
                    <a:pt x="316" y="784"/>
                  </a:lnTo>
                  <a:lnTo>
                    <a:pt x="316" y="806"/>
                  </a:lnTo>
                  <a:lnTo>
                    <a:pt x="319" y="811"/>
                  </a:lnTo>
                  <a:lnTo>
                    <a:pt x="324" y="816"/>
                  </a:lnTo>
                  <a:lnTo>
                    <a:pt x="334" y="817"/>
                  </a:lnTo>
                  <a:lnTo>
                    <a:pt x="339" y="816"/>
                  </a:lnTo>
                  <a:lnTo>
                    <a:pt x="353" y="817"/>
                  </a:lnTo>
                  <a:lnTo>
                    <a:pt x="361" y="821"/>
                  </a:lnTo>
                  <a:lnTo>
                    <a:pt x="365" y="821"/>
                  </a:lnTo>
                  <a:lnTo>
                    <a:pt x="372" y="819"/>
                  </a:lnTo>
                  <a:lnTo>
                    <a:pt x="376" y="817"/>
                  </a:lnTo>
                  <a:lnTo>
                    <a:pt x="378" y="813"/>
                  </a:lnTo>
                  <a:lnTo>
                    <a:pt x="382" y="812"/>
                  </a:lnTo>
                  <a:lnTo>
                    <a:pt x="386" y="808"/>
                  </a:lnTo>
                  <a:lnTo>
                    <a:pt x="389" y="807"/>
                  </a:lnTo>
                  <a:lnTo>
                    <a:pt x="398" y="807"/>
                  </a:lnTo>
                  <a:lnTo>
                    <a:pt x="405" y="808"/>
                  </a:lnTo>
                  <a:lnTo>
                    <a:pt x="410" y="813"/>
                  </a:lnTo>
                  <a:lnTo>
                    <a:pt x="418" y="815"/>
                  </a:lnTo>
                  <a:lnTo>
                    <a:pt x="426" y="813"/>
                  </a:lnTo>
                  <a:lnTo>
                    <a:pt x="435" y="807"/>
                  </a:lnTo>
                  <a:lnTo>
                    <a:pt x="437" y="807"/>
                  </a:lnTo>
                  <a:lnTo>
                    <a:pt x="445" y="808"/>
                  </a:lnTo>
                  <a:lnTo>
                    <a:pt x="461" y="815"/>
                  </a:lnTo>
                  <a:lnTo>
                    <a:pt x="477" y="824"/>
                  </a:lnTo>
                  <a:lnTo>
                    <a:pt x="488" y="837"/>
                  </a:lnTo>
                  <a:lnTo>
                    <a:pt x="488" y="842"/>
                  </a:lnTo>
                  <a:lnTo>
                    <a:pt x="484" y="849"/>
                  </a:lnTo>
                  <a:lnTo>
                    <a:pt x="478" y="856"/>
                  </a:lnTo>
                  <a:lnTo>
                    <a:pt x="466" y="869"/>
                  </a:lnTo>
                  <a:lnTo>
                    <a:pt x="458" y="880"/>
                  </a:lnTo>
                  <a:lnTo>
                    <a:pt x="458" y="889"/>
                  </a:lnTo>
                  <a:lnTo>
                    <a:pt x="459" y="892"/>
                  </a:lnTo>
                  <a:lnTo>
                    <a:pt x="464" y="893"/>
                  </a:lnTo>
                  <a:lnTo>
                    <a:pt x="469" y="892"/>
                  </a:lnTo>
                  <a:lnTo>
                    <a:pt x="473" y="893"/>
                  </a:lnTo>
                  <a:lnTo>
                    <a:pt x="478" y="897"/>
                  </a:lnTo>
                  <a:lnTo>
                    <a:pt x="486" y="908"/>
                  </a:lnTo>
                  <a:lnTo>
                    <a:pt x="494" y="909"/>
                  </a:lnTo>
                  <a:lnTo>
                    <a:pt x="495" y="902"/>
                  </a:lnTo>
                  <a:lnTo>
                    <a:pt x="497" y="896"/>
                  </a:lnTo>
                  <a:lnTo>
                    <a:pt x="499" y="881"/>
                  </a:lnTo>
                  <a:lnTo>
                    <a:pt x="501" y="873"/>
                  </a:lnTo>
                  <a:lnTo>
                    <a:pt x="502" y="870"/>
                  </a:lnTo>
                  <a:lnTo>
                    <a:pt x="504" y="858"/>
                  </a:lnTo>
                  <a:lnTo>
                    <a:pt x="506" y="850"/>
                  </a:lnTo>
                  <a:lnTo>
                    <a:pt x="511" y="832"/>
                  </a:lnTo>
                  <a:lnTo>
                    <a:pt x="512" y="831"/>
                  </a:lnTo>
                  <a:lnTo>
                    <a:pt x="522" y="768"/>
                  </a:lnTo>
                  <a:lnTo>
                    <a:pt x="523" y="758"/>
                  </a:lnTo>
                  <a:lnTo>
                    <a:pt x="524" y="752"/>
                  </a:lnTo>
                  <a:lnTo>
                    <a:pt x="517" y="724"/>
                  </a:lnTo>
                  <a:lnTo>
                    <a:pt x="512" y="714"/>
                  </a:lnTo>
                  <a:lnTo>
                    <a:pt x="506" y="708"/>
                  </a:lnTo>
                  <a:lnTo>
                    <a:pt x="494" y="698"/>
                  </a:lnTo>
                  <a:lnTo>
                    <a:pt x="489" y="693"/>
                  </a:lnTo>
                  <a:lnTo>
                    <a:pt x="489" y="655"/>
                  </a:lnTo>
                  <a:lnTo>
                    <a:pt x="494" y="652"/>
                  </a:lnTo>
                  <a:lnTo>
                    <a:pt x="511" y="650"/>
                  </a:lnTo>
                  <a:lnTo>
                    <a:pt x="517" y="647"/>
                  </a:lnTo>
                  <a:lnTo>
                    <a:pt x="528" y="649"/>
                  </a:lnTo>
                  <a:lnTo>
                    <a:pt x="532" y="650"/>
                  </a:lnTo>
                  <a:lnTo>
                    <a:pt x="532" y="652"/>
                  </a:lnTo>
                  <a:lnTo>
                    <a:pt x="538" y="651"/>
                  </a:lnTo>
                  <a:lnTo>
                    <a:pt x="538" y="650"/>
                  </a:lnTo>
                  <a:lnTo>
                    <a:pt x="534" y="640"/>
                  </a:lnTo>
                  <a:lnTo>
                    <a:pt x="533" y="633"/>
                  </a:lnTo>
                  <a:lnTo>
                    <a:pt x="528" y="625"/>
                  </a:lnTo>
                  <a:lnTo>
                    <a:pt x="518" y="627"/>
                  </a:lnTo>
                  <a:lnTo>
                    <a:pt x="516" y="629"/>
                  </a:lnTo>
                  <a:lnTo>
                    <a:pt x="509" y="629"/>
                  </a:lnTo>
                  <a:lnTo>
                    <a:pt x="505" y="624"/>
                  </a:lnTo>
                  <a:lnTo>
                    <a:pt x="501" y="623"/>
                  </a:lnTo>
                  <a:lnTo>
                    <a:pt x="501" y="620"/>
                  </a:lnTo>
                  <a:lnTo>
                    <a:pt x="501" y="589"/>
                  </a:lnTo>
                  <a:lnTo>
                    <a:pt x="502" y="590"/>
                  </a:lnTo>
                  <a:lnTo>
                    <a:pt x="582" y="590"/>
                  </a:lnTo>
                  <a:lnTo>
                    <a:pt x="586" y="586"/>
                  </a:lnTo>
                  <a:lnTo>
                    <a:pt x="587" y="580"/>
                  </a:lnTo>
                  <a:lnTo>
                    <a:pt x="591" y="575"/>
                  </a:lnTo>
                  <a:lnTo>
                    <a:pt x="593" y="575"/>
                  </a:lnTo>
                  <a:lnTo>
                    <a:pt x="597" y="577"/>
                  </a:lnTo>
                  <a:lnTo>
                    <a:pt x="601" y="584"/>
                  </a:lnTo>
                  <a:lnTo>
                    <a:pt x="603" y="584"/>
                  </a:lnTo>
                  <a:lnTo>
                    <a:pt x="622" y="574"/>
                  </a:lnTo>
                  <a:lnTo>
                    <a:pt x="633" y="574"/>
                  </a:lnTo>
                  <a:lnTo>
                    <a:pt x="638" y="579"/>
                  </a:lnTo>
                  <a:lnTo>
                    <a:pt x="646" y="590"/>
                  </a:lnTo>
                  <a:lnTo>
                    <a:pt x="652" y="619"/>
                  </a:lnTo>
                  <a:lnTo>
                    <a:pt x="662" y="614"/>
                  </a:lnTo>
                  <a:lnTo>
                    <a:pt x="663" y="612"/>
                  </a:lnTo>
                  <a:lnTo>
                    <a:pt x="658" y="603"/>
                  </a:lnTo>
                  <a:lnTo>
                    <a:pt x="656" y="592"/>
                  </a:lnTo>
                  <a:lnTo>
                    <a:pt x="640" y="555"/>
                  </a:lnTo>
                  <a:lnTo>
                    <a:pt x="631" y="544"/>
                  </a:lnTo>
                  <a:lnTo>
                    <a:pt x="614" y="531"/>
                  </a:lnTo>
                  <a:lnTo>
                    <a:pt x="614" y="527"/>
                  </a:lnTo>
                  <a:lnTo>
                    <a:pt x="626" y="516"/>
                  </a:lnTo>
                  <a:lnTo>
                    <a:pt x="631" y="509"/>
                  </a:lnTo>
                  <a:lnTo>
                    <a:pt x="634" y="507"/>
                  </a:lnTo>
                  <a:lnTo>
                    <a:pt x="638" y="504"/>
                  </a:lnTo>
                  <a:lnTo>
                    <a:pt x="640" y="503"/>
                  </a:lnTo>
                  <a:lnTo>
                    <a:pt x="641" y="500"/>
                  </a:lnTo>
                  <a:lnTo>
                    <a:pt x="640" y="493"/>
                  </a:lnTo>
                  <a:lnTo>
                    <a:pt x="638" y="488"/>
                  </a:lnTo>
                  <a:lnTo>
                    <a:pt x="633" y="479"/>
                  </a:lnTo>
                  <a:lnTo>
                    <a:pt x="625" y="471"/>
                  </a:lnTo>
                  <a:lnTo>
                    <a:pt x="618" y="466"/>
                  </a:lnTo>
                  <a:lnTo>
                    <a:pt x="617" y="463"/>
                  </a:lnTo>
                  <a:lnTo>
                    <a:pt x="615" y="453"/>
                  </a:lnTo>
                  <a:lnTo>
                    <a:pt x="613" y="447"/>
                  </a:lnTo>
                  <a:lnTo>
                    <a:pt x="613" y="439"/>
                  </a:lnTo>
                  <a:lnTo>
                    <a:pt x="609" y="431"/>
                  </a:lnTo>
                  <a:lnTo>
                    <a:pt x="609" y="419"/>
                  </a:lnTo>
                  <a:lnTo>
                    <a:pt x="613" y="413"/>
                  </a:lnTo>
                  <a:lnTo>
                    <a:pt x="615" y="403"/>
                  </a:lnTo>
                  <a:lnTo>
                    <a:pt x="615" y="392"/>
                  </a:lnTo>
                  <a:lnTo>
                    <a:pt x="624" y="382"/>
                  </a:lnTo>
                  <a:lnTo>
                    <a:pt x="624" y="369"/>
                  </a:lnTo>
                  <a:lnTo>
                    <a:pt x="626" y="364"/>
                  </a:lnTo>
                  <a:lnTo>
                    <a:pt x="633" y="358"/>
                  </a:lnTo>
                  <a:lnTo>
                    <a:pt x="633" y="353"/>
                  </a:lnTo>
                  <a:lnTo>
                    <a:pt x="630" y="344"/>
                  </a:lnTo>
                  <a:lnTo>
                    <a:pt x="628" y="342"/>
                  </a:lnTo>
                  <a:lnTo>
                    <a:pt x="624" y="342"/>
                  </a:lnTo>
                  <a:lnTo>
                    <a:pt x="614" y="342"/>
                  </a:lnTo>
                  <a:lnTo>
                    <a:pt x="595" y="350"/>
                  </a:lnTo>
                  <a:lnTo>
                    <a:pt x="583" y="353"/>
                  </a:lnTo>
                  <a:lnTo>
                    <a:pt x="576" y="353"/>
                  </a:lnTo>
                  <a:lnTo>
                    <a:pt x="567" y="350"/>
                  </a:lnTo>
                  <a:lnTo>
                    <a:pt x="563" y="349"/>
                  </a:lnTo>
                  <a:lnTo>
                    <a:pt x="558" y="347"/>
                  </a:lnTo>
                  <a:lnTo>
                    <a:pt x="552" y="345"/>
                  </a:lnTo>
                  <a:lnTo>
                    <a:pt x="544" y="348"/>
                  </a:lnTo>
                  <a:lnTo>
                    <a:pt x="542" y="350"/>
                  </a:lnTo>
                  <a:lnTo>
                    <a:pt x="536" y="350"/>
                  </a:lnTo>
                  <a:lnTo>
                    <a:pt x="527" y="350"/>
                  </a:lnTo>
                  <a:lnTo>
                    <a:pt x="523" y="348"/>
                  </a:lnTo>
                  <a:lnTo>
                    <a:pt x="522" y="348"/>
                  </a:lnTo>
                  <a:lnTo>
                    <a:pt x="494" y="307"/>
                  </a:lnTo>
                  <a:lnTo>
                    <a:pt x="493" y="305"/>
                  </a:lnTo>
                  <a:lnTo>
                    <a:pt x="490" y="302"/>
                  </a:lnTo>
                  <a:lnTo>
                    <a:pt x="479" y="301"/>
                  </a:lnTo>
                  <a:lnTo>
                    <a:pt x="473" y="297"/>
                  </a:lnTo>
                  <a:lnTo>
                    <a:pt x="461" y="293"/>
                  </a:lnTo>
                  <a:lnTo>
                    <a:pt x="443" y="294"/>
                  </a:lnTo>
                  <a:lnTo>
                    <a:pt x="425" y="299"/>
                  </a:lnTo>
                  <a:lnTo>
                    <a:pt x="415" y="300"/>
                  </a:lnTo>
                  <a:lnTo>
                    <a:pt x="400" y="299"/>
                  </a:lnTo>
                  <a:lnTo>
                    <a:pt x="383" y="291"/>
                  </a:lnTo>
                  <a:lnTo>
                    <a:pt x="380" y="284"/>
                  </a:lnTo>
                  <a:lnTo>
                    <a:pt x="376" y="283"/>
                  </a:lnTo>
                  <a:lnTo>
                    <a:pt x="364" y="277"/>
                  </a:lnTo>
                  <a:lnTo>
                    <a:pt x="362" y="274"/>
                  </a:lnTo>
                  <a:lnTo>
                    <a:pt x="362" y="241"/>
                  </a:lnTo>
                  <a:lnTo>
                    <a:pt x="360" y="232"/>
                  </a:lnTo>
                  <a:lnTo>
                    <a:pt x="357" y="226"/>
                  </a:lnTo>
                  <a:lnTo>
                    <a:pt x="353" y="223"/>
                  </a:lnTo>
                  <a:lnTo>
                    <a:pt x="351" y="220"/>
                  </a:lnTo>
                  <a:lnTo>
                    <a:pt x="344" y="211"/>
                  </a:lnTo>
                  <a:lnTo>
                    <a:pt x="341" y="208"/>
                  </a:lnTo>
                  <a:lnTo>
                    <a:pt x="338" y="188"/>
                  </a:lnTo>
                  <a:lnTo>
                    <a:pt x="335" y="182"/>
                  </a:lnTo>
                  <a:lnTo>
                    <a:pt x="334" y="180"/>
                  </a:lnTo>
                  <a:lnTo>
                    <a:pt x="310" y="181"/>
                  </a:lnTo>
                  <a:lnTo>
                    <a:pt x="316" y="167"/>
                  </a:lnTo>
                  <a:lnTo>
                    <a:pt x="324" y="152"/>
                  </a:lnTo>
                  <a:lnTo>
                    <a:pt x="337" y="107"/>
                  </a:lnTo>
                  <a:lnTo>
                    <a:pt x="350" y="85"/>
                  </a:lnTo>
                  <a:lnTo>
                    <a:pt x="375" y="62"/>
                  </a:lnTo>
                  <a:lnTo>
                    <a:pt x="378" y="57"/>
                  </a:lnTo>
                  <a:lnTo>
                    <a:pt x="383" y="47"/>
                  </a:lnTo>
                  <a:lnTo>
                    <a:pt x="389" y="41"/>
                  </a:lnTo>
                  <a:lnTo>
                    <a:pt x="404" y="35"/>
                  </a:lnTo>
                  <a:lnTo>
                    <a:pt x="419" y="3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26" name="Freeform 246">
              <a:extLst>
                <a:ext uri="{FF2B5EF4-FFF2-40B4-BE49-F238E27FC236}">
                  <a16:creationId xmlns:a16="http://schemas.microsoft.com/office/drawing/2014/main" id="{23B12B90-F845-46BB-6C4A-BD74C093F75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731649" y="4639743"/>
              <a:ext cx="350700" cy="429829"/>
            </a:xfrm>
            <a:custGeom>
              <a:avLst/>
              <a:gdLst>
                <a:gd name="T0" fmla="*/ 0 w 658"/>
                <a:gd name="T1" fmla="*/ 0 h 754"/>
                <a:gd name="T2" fmla="*/ 0 w 658"/>
                <a:gd name="T3" fmla="*/ 0 h 754"/>
                <a:gd name="T4" fmla="*/ 0 w 658"/>
                <a:gd name="T5" fmla="*/ 0 h 754"/>
                <a:gd name="T6" fmla="*/ 0 w 658"/>
                <a:gd name="T7" fmla="*/ 0 h 754"/>
                <a:gd name="T8" fmla="*/ 0 w 658"/>
                <a:gd name="T9" fmla="*/ 0 h 754"/>
                <a:gd name="T10" fmla="*/ 0 w 658"/>
                <a:gd name="T11" fmla="*/ 0 h 754"/>
                <a:gd name="T12" fmla="*/ 0 w 658"/>
                <a:gd name="T13" fmla="*/ 0 h 754"/>
                <a:gd name="T14" fmla="*/ 2147483647 w 658"/>
                <a:gd name="T15" fmla="*/ 0 h 754"/>
                <a:gd name="T16" fmla="*/ 2147483647 w 658"/>
                <a:gd name="T17" fmla="*/ 0 h 754"/>
                <a:gd name="T18" fmla="*/ 2147483647 w 658"/>
                <a:gd name="T19" fmla="*/ 0 h 754"/>
                <a:gd name="T20" fmla="*/ 2147483647 w 658"/>
                <a:gd name="T21" fmla="*/ 0 h 754"/>
                <a:gd name="T22" fmla="*/ 2147483647 w 658"/>
                <a:gd name="T23" fmla="*/ 0 h 754"/>
                <a:gd name="T24" fmla="*/ 2147483647 w 658"/>
                <a:gd name="T25" fmla="*/ 0 h 754"/>
                <a:gd name="T26" fmla="*/ 2147483647 w 658"/>
                <a:gd name="T27" fmla="*/ 2147483647 h 754"/>
                <a:gd name="T28" fmla="*/ 2147483647 w 658"/>
                <a:gd name="T29" fmla="*/ 2147483647 h 754"/>
                <a:gd name="T30" fmla="*/ 2147483647 w 658"/>
                <a:gd name="T31" fmla="*/ 2147483647 h 754"/>
                <a:gd name="T32" fmla="*/ 2147483647 w 658"/>
                <a:gd name="T33" fmla="*/ 2147483647 h 754"/>
                <a:gd name="T34" fmla="*/ 2147483647 w 658"/>
                <a:gd name="T35" fmla="*/ 2147483647 h 754"/>
                <a:gd name="T36" fmla="*/ 2147483647 w 658"/>
                <a:gd name="T37" fmla="*/ 2147483647 h 754"/>
                <a:gd name="T38" fmla="*/ 2147483647 w 658"/>
                <a:gd name="T39" fmla="*/ 2147483647 h 754"/>
                <a:gd name="T40" fmla="*/ 2147483647 w 658"/>
                <a:gd name="T41" fmla="*/ 2147483647 h 754"/>
                <a:gd name="T42" fmla="*/ 2147483647 w 658"/>
                <a:gd name="T43" fmla="*/ 2147483647 h 754"/>
                <a:gd name="T44" fmla="*/ 2147483647 w 658"/>
                <a:gd name="T45" fmla="*/ 2147483647 h 754"/>
                <a:gd name="T46" fmla="*/ 2147483647 w 658"/>
                <a:gd name="T47" fmla="*/ 2147483647 h 754"/>
                <a:gd name="T48" fmla="*/ 2147483647 w 658"/>
                <a:gd name="T49" fmla="*/ 2147483647 h 754"/>
                <a:gd name="T50" fmla="*/ 2147483647 w 658"/>
                <a:gd name="T51" fmla="*/ 2147483647 h 754"/>
                <a:gd name="T52" fmla="*/ 2147483647 w 658"/>
                <a:gd name="T53" fmla="*/ 2147483647 h 754"/>
                <a:gd name="T54" fmla="*/ 2147483647 w 658"/>
                <a:gd name="T55" fmla="*/ 2147483647 h 754"/>
                <a:gd name="T56" fmla="*/ 2147483647 w 658"/>
                <a:gd name="T57" fmla="*/ 2147483647 h 754"/>
                <a:gd name="T58" fmla="*/ 0 w 658"/>
                <a:gd name="T59" fmla="*/ 2147483647 h 754"/>
                <a:gd name="T60" fmla="*/ 0 w 658"/>
                <a:gd name="T61" fmla="*/ 2147483647 h 754"/>
                <a:gd name="T62" fmla="*/ 0 w 658"/>
                <a:gd name="T63" fmla="*/ 2147483647 h 754"/>
                <a:gd name="T64" fmla="*/ 0 w 658"/>
                <a:gd name="T65" fmla="*/ 2147483647 h 754"/>
                <a:gd name="T66" fmla="*/ 0 w 658"/>
                <a:gd name="T67" fmla="*/ 2147483647 h 754"/>
                <a:gd name="T68" fmla="*/ 0 w 658"/>
                <a:gd name="T69" fmla="*/ 2147483647 h 754"/>
                <a:gd name="T70" fmla="*/ 0 w 658"/>
                <a:gd name="T71" fmla="*/ 2147483647 h 754"/>
                <a:gd name="T72" fmla="*/ 0 w 658"/>
                <a:gd name="T73" fmla="*/ 2147483647 h 754"/>
                <a:gd name="T74" fmla="*/ 0 w 658"/>
                <a:gd name="T75" fmla="*/ 2147483647 h 754"/>
                <a:gd name="T76" fmla="*/ 0 w 658"/>
                <a:gd name="T77" fmla="*/ 2147483647 h 754"/>
                <a:gd name="T78" fmla="*/ 0 w 658"/>
                <a:gd name="T79" fmla="*/ 2147483647 h 754"/>
                <a:gd name="T80" fmla="*/ 0 w 658"/>
                <a:gd name="T81" fmla="*/ 2147483647 h 754"/>
                <a:gd name="T82" fmla="*/ 0 w 658"/>
                <a:gd name="T83" fmla="*/ 2147483647 h 754"/>
                <a:gd name="T84" fmla="*/ 0 w 658"/>
                <a:gd name="T85" fmla="*/ 2147483647 h 754"/>
                <a:gd name="T86" fmla="*/ 0 w 658"/>
                <a:gd name="T87" fmla="*/ 2147483647 h 754"/>
                <a:gd name="T88" fmla="*/ 0 w 658"/>
                <a:gd name="T89" fmla="*/ 2147483647 h 754"/>
                <a:gd name="T90" fmla="*/ 0 w 658"/>
                <a:gd name="T91" fmla="*/ 2147483647 h 754"/>
                <a:gd name="T92" fmla="*/ 0 w 658"/>
                <a:gd name="T93" fmla="*/ 2147483647 h 754"/>
                <a:gd name="T94" fmla="*/ 0 w 658"/>
                <a:gd name="T95" fmla="*/ 2147483647 h 754"/>
                <a:gd name="T96" fmla="*/ 0 w 658"/>
                <a:gd name="T97" fmla="*/ 2147483647 h 754"/>
                <a:gd name="T98" fmla="*/ 0 w 658"/>
                <a:gd name="T99" fmla="*/ 2147483647 h 754"/>
                <a:gd name="T100" fmla="*/ 0 w 658"/>
                <a:gd name="T101" fmla="*/ 0 h 754"/>
                <a:gd name="T102" fmla="*/ 0 w 658"/>
                <a:gd name="T103" fmla="*/ 0 h 754"/>
                <a:gd name="T104" fmla="*/ 0 w 658"/>
                <a:gd name="T105" fmla="*/ 0 h 754"/>
                <a:gd name="T106" fmla="*/ 0 w 658"/>
                <a:gd name="T107" fmla="*/ 0 h 754"/>
                <a:gd name="T108" fmla="*/ 0 w 658"/>
                <a:gd name="T109" fmla="*/ 0 h 7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58"/>
                <a:gd name="T166" fmla="*/ 0 h 754"/>
                <a:gd name="T167" fmla="*/ 658 w 658"/>
                <a:gd name="T168" fmla="*/ 754 h 75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58" h="754">
                  <a:moveTo>
                    <a:pt x="1" y="70"/>
                  </a:moveTo>
                  <a:lnTo>
                    <a:pt x="3" y="68"/>
                  </a:lnTo>
                  <a:lnTo>
                    <a:pt x="11" y="68"/>
                  </a:lnTo>
                  <a:lnTo>
                    <a:pt x="29" y="74"/>
                  </a:lnTo>
                  <a:lnTo>
                    <a:pt x="70" y="75"/>
                  </a:lnTo>
                  <a:lnTo>
                    <a:pt x="78" y="71"/>
                  </a:lnTo>
                  <a:lnTo>
                    <a:pt x="83" y="68"/>
                  </a:lnTo>
                  <a:lnTo>
                    <a:pt x="109" y="59"/>
                  </a:lnTo>
                  <a:lnTo>
                    <a:pt x="116" y="55"/>
                  </a:lnTo>
                  <a:lnTo>
                    <a:pt x="141" y="33"/>
                  </a:lnTo>
                  <a:lnTo>
                    <a:pt x="158" y="14"/>
                  </a:lnTo>
                  <a:lnTo>
                    <a:pt x="164" y="7"/>
                  </a:lnTo>
                  <a:lnTo>
                    <a:pt x="180" y="4"/>
                  </a:lnTo>
                  <a:lnTo>
                    <a:pt x="186" y="4"/>
                  </a:lnTo>
                  <a:lnTo>
                    <a:pt x="213" y="0"/>
                  </a:lnTo>
                  <a:lnTo>
                    <a:pt x="232" y="1"/>
                  </a:lnTo>
                  <a:lnTo>
                    <a:pt x="235" y="4"/>
                  </a:lnTo>
                  <a:lnTo>
                    <a:pt x="240" y="11"/>
                  </a:lnTo>
                  <a:lnTo>
                    <a:pt x="243" y="28"/>
                  </a:lnTo>
                  <a:lnTo>
                    <a:pt x="243" y="60"/>
                  </a:lnTo>
                  <a:lnTo>
                    <a:pt x="242" y="70"/>
                  </a:lnTo>
                  <a:lnTo>
                    <a:pt x="237" y="77"/>
                  </a:lnTo>
                  <a:lnTo>
                    <a:pt x="235" y="81"/>
                  </a:lnTo>
                  <a:lnTo>
                    <a:pt x="234" y="88"/>
                  </a:lnTo>
                  <a:lnTo>
                    <a:pt x="240" y="112"/>
                  </a:lnTo>
                  <a:lnTo>
                    <a:pt x="249" y="125"/>
                  </a:lnTo>
                  <a:lnTo>
                    <a:pt x="256" y="131"/>
                  </a:lnTo>
                  <a:lnTo>
                    <a:pt x="283" y="151"/>
                  </a:lnTo>
                  <a:lnTo>
                    <a:pt x="296" y="155"/>
                  </a:lnTo>
                  <a:lnTo>
                    <a:pt x="313" y="157"/>
                  </a:lnTo>
                  <a:lnTo>
                    <a:pt x="332" y="157"/>
                  </a:lnTo>
                  <a:lnTo>
                    <a:pt x="348" y="161"/>
                  </a:lnTo>
                  <a:lnTo>
                    <a:pt x="355" y="167"/>
                  </a:lnTo>
                  <a:lnTo>
                    <a:pt x="356" y="171"/>
                  </a:lnTo>
                  <a:lnTo>
                    <a:pt x="363" y="179"/>
                  </a:lnTo>
                  <a:lnTo>
                    <a:pt x="372" y="183"/>
                  </a:lnTo>
                  <a:lnTo>
                    <a:pt x="410" y="193"/>
                  </a:lnTo>
                  <a:lnTo>
                    <a:pt x="426" y="208"/>
                  </a:lnTo>
                  <a:lnTo>
                    <a:pt x="431" y="211"/>
                  </a:lnTo>
                  <a:lnTo>
                    <a:pt x="441" y="211"/>
                  </a:lnTo>
                  <a:lnTo>
                    <a:pt x="450" y="209"/>
                  </a:lnTo>
                  <a:lnTo>
                    <a:pt x="455" y="209"/>
                  </a:lnTo>
                  <a:lnTo>
                    <a:pt x="468" y="211"/>
                  </a:lnTo>
                  <a:lnTo>
                    <a:pt x="487" y="222"/>
                  </a:lnTo>
                  <a:lnTo>
                    <a:pt x="493" y="227"/>
                  </a:lnTo>
                  <a:lnTo>
                    <a:pt x="501" y="238"/>
                  </a:lnTo>
                  <a:lnTo>
                    <a:pt x="506" y="253"/>
                  </a:lnTo>
                  <a:lnTo>
                    <a:pt x="507" y="268"/>
                  </a:lnTo>
                  <a:lnTo>
                    <a:pt x="511" y="276"/>
                  </a:lnTo>
                  <a:lnTo>
                    <a:pt x="514" y="281"/>
                  </a:lnTo>
                  <a:lnTo>
                    <a:pt x="514" y="290"/>
                  </a:lnTo>
                  <a:lnTo>
                    <a:pt x="512" y="307"/>
                  </a:lnTo>
                  <a:lnTo>
                    <a:pt x="503" y="308"/>
                  </a:lnTo>
                  <a:lnTo>
                    <a:pt x="503" y="312"/>
                  </a:lnTo>
                  <a:lnTo>
                    <a:pt x="504" y="317"/>
                  </a:lnTo>
                  <a:lnTo>
                    <a:pt x="511" y="334"/>
                  </a:lnTo>
                  <a:lnTo>
                    <a:pt x="518" y="356"/>
                  </a:lnTo>
                  <a:lnTo>
                    <a:pt x="524" y="369"/>
                  </a:lnTo>
                  <a:lnTo>
                    <a:pt x="539" y="369"/>
                  </a:lnTo>
                  <a:lnTo>
                    <a:pt x="550" y="370"/>
                  </a:lnTo>
                  <a:lnTo>
                    <a:pt x="563" y="370"/>
                  </a:lnTo>
                  <a:lnTo>
                    <a:pt x="568" y="372"/>
                  </a:lnTo>
                  <a:lnTo>
                    <a:pt x="611" y="372"/>
                  </a:lnTo>
                  <a:lnTo>
                    <a:pt x="616" y="373"/>
                  </a:lnTo>
                  <a:lnTo>
                    <a:pt x="619" y="376"/>
                  </a:lnTo>
                  <a:lnTo>
                    <a:pt x="620" y="381"/>
                  </a:lnTo>
                  <a:lnTo>
                    <a:pt x="619" y="391"/>
                  </a:lnTo>
                  <a:lnTo>
                    <a:pt x="616" y="399"/>
                  </a:lnTo>
                  <a:lnTo>
                    <a:pt x="616" y="405"/>
                  </a:lnTo>
                  <a:lnTo>
                    <a:pt x="620" y="425"/>
                  </a:lnTo>
                  <a:lnTo>
                    <a:pt x="638" y="431"/>
                  </a:lnTo>
                  <a:lnTo>
                    <a:pt x="641" y="434"/>
                  </a:lnTo>
                  <a:lnTo>
                    <a:pt x="644" y="448"/>
                  </a:lnTo>
                  <a:lnTo>
                    <a:pt x="656" y="467"/>
                  </a:lnTo>
                  <a:lnTo>
                    <a:pt x="658" y="477"/>
                  </a:lnTo>
                  <a:lnTo>
                    <a:pt x="658" y="500"/>
                  </a:lnTo>
                  <a:lnTo>
                    <a:pt x="657" y="529"/>
                  </a:lnTo>
                  <a:lnTo>
                    <a:pt x="656" y="533"/>
                  </a:lnTo>
                  <a:lnTo>
                    <a:pt x="649" y="544"/>
                  </a:lnTo>
                  <a:lnTo>
                    <a:pt x="644" y="555"/>
                  </a:lnTo>
                  <a:lnTo>
                    <a:pt x="644" y="561"/>
                  </a:lnTo>
                  <a:lnTo>
                    <a:pt x="644" y="569"/>
                  </a:lnTo>
                  <a:lnTo>
                    <a:pt x="646" y="574"/>
                  </a:lnTo>
                  <a:lnTo>
                    <a:pt x="647" y="586"/>
                  </a:lnTo>
                  <a:lnTo>
                    <a:pt x="646" y="587"/>
                  </a:lnTo>
                  <a:lnTo>
                    <a:pt x="638" y="590"/>
                  </a:lnTo>
                  <a:lnTo>
                    <a:pt x="637" y="591"/>
                  </a:lnTo>
                  <a:lnTo>
                    <a:pt x="631" y="585"/>
                  </a:lnTo>
                  <a:lnTo>
                    <a:pt x="630" y="581"/>
                  </a:lnTo>
                  <a:lnTo>
                    <a:pt x="615" y="560"/>
                  </a:lnTo>
                  <a:lnTo>
                    <a:pt x="605" y="552"/>
                  </a:lnTo>
                  <a:lnTo>
                    <a:pt x="595" y="544"/>
                  </a:lnTo>
                  <a:lnTo>
                    <a:pt x="582" y="541"/>
                  </a:lnTo>
                  <a:lnTo>
                    <a:pt x="539" y="541"/>
                  </a:lnTo>
                  <a:lnTo>
                    <a:pt x="535" y="541"/>
                  </a:lnTo>
                  <a:lnTo>
                    <a:pt x="504" y="549"/>
                  </a:lnTo>
                  <a:lnTo>
                    <a:pt x="501" y="549"/>
                  </a:lnTo>
                  <a:lnTo>
                    <a:pt x="447" y="566"/>
                  </a:lnTo>
                  <a:lnTo>
                    <a:pt x="428" y="570"/>
                  </a:lnTo>
                  <a:lnTo>
                    <a:pt x="426" y="576"/>
                  </a:lnTo>
                  <a:lnTo>
                    <a:pt x="423" y="591"/>
                  </a:lnTo>
                  <a:lnTo>
                    <a:pt x="412" y="607"/>
                  </a:lnTo>
                  <a:lnTo>
                    <a:pt x="401" y="625"/>
                  </a:lnTo>
                  <a:lnTo>
                    <a:pt x="401" y="628"/>
                  </a:lnTo>
                  <a:lnTo>
                    <a:pt x="401" y="654"/>
                  </a:lnTo>
                  <a:lnTo>
                    <a:pt x="402" y="658"/>
                  </a:lnTo>
                  <a:lnTo>
                    <a:pt x="402" y="665"/>
                  </a:lnTo>
                  <a:lnTo>
                    <a:pt x="391" y="705"/>
                  </a:lnTo>
                  <a:lnTo>
                    <a:pt x="383" y="720"/>
                  </a:lnTo>
                  <a:lnTo>
                    <a:pt x="375" y="716"/>
                  </a:lnTo>
                  <a:lnTo>
                    <a:pt x="369" y="711"/>
                  </a:lnTo>
                  <a:lnTo>
                    <a:pt x="362" y="706"/>
                  </a:lnTo>
                  <a:lnTo>
                    <a:pt x="359" y="705"/>
                  </a:lnTo>
                  <a:lnTo>
                    <a:pt x="351" y="704"/>
                  </a:lnTo>
                  <a:lnTo>
                    <a:pt x="334" y="704"/>
                  </a:lnTo>
                  <a:lnTo>
                    <a:pt x="315" y="701"/>
                  </a:lnTo>
                  <a:lnTo>
                    <a:pt x="307" y="701"/>
                  </a:lnTo>
                  <a:lnTo>
                    <a:pt x="304" y="705"/>
                  </a:lnTo>
                  <a:lnTo>
                    <a:pt x="300" y="724"/>
                  </a:lnTo>
                  <a:lnTo>
                    <a:pt x="297" y="735"/>
                  </a:lnTo>
                  <a:lnTo>
                    <a:pt x="296" y="741"/>
                  </a:lnTo>
                  <a:lnTo>
                    <a:pt x="293" y="741"/>
                  </a:lnTo>
                  <a:lnTo>
                    <a:pt x="282" y="730"/>
                  </a:lnTo>
                  <a:lnTo>
                    <a:pt x="281" y="726"/>
                  </a:lnTo>
                  <a:lnTo>
                    <a:pt x="278" y="725"/>
                  </a:lnTo>
                  <a:lnTo>
                    <a:pt x="275" y="719"/>
                  </a:lnTo>
                  <a:lnTo>
                    <a:pt x="271" y="715"/>
                  </a:lnTo>
                  <a:lnTo>
                    <a:pt x="250" y="710"/>
                  </a:lnTo>
                  <a:lnTo>
                    <a:pt x="245" y="710"/>
                  </a:lnTo>
                  <a:lnTo>
                    <a:pt x="237" y="708"/>
                  </a:lnTo>
                  <a:lnTo>
                    <a:pt x="211" y="708"/>
                  </a:lnTo>
                  <a:lnTo>
                    <a:pt x="202" y="695"/>
                  </a:lnTo>
                  <a:lnTo>
                    <a:pt x="196" y="689"/>
                  </a:lnTo>
                  <a:lnTo>
                    <a:pt x="192" y="689"/>
                  </a:lnTo>
                  <a:lnTo>
                    <a:pt x="189" y="690"/>
                  </a:lnTo>
                  <a:lnTo>
                    <a:pt x="176" y="708"/>
                  </a:lnTo>
                  <a:lnTo>
                    <a:pt x="165" y="716"/>
                  </a:lnTo>
                  <a:lnTo>
                    <a:pt x="157" y="725"/>
                  </a:lnTo>
                  <a:lnTo>
                    <a:pt x="151" y="733"/>
                  </a:lnTo>
                  <a:lnTo>
                    <a:pt x="149" y="737"/>
                  </a:lnTo>
                  <a:lnTo>
                    <a:pt x="143" y="747"/>
                  </a:lnTo>
                  <a:lnTo>
                    <a:pt x="138" y="752"/>
                  </a:lnTo>
                  <a:lnTo>
                    <a:pt x="136" y="752"/>
                  </a:lnTo>
                  <a:lnTo>
                    <a:pt x="126" y="752"/>
                  </a:lnTo>
                  <a:lnTo>
                    <a:pt x="120" y="754"/>
                  </a:lnTo>
                  <a:lnTo>
                    <a:pt x="108" y="754"/>
                  </a:lnTo>
                  <a:lnTo>
                    <a:pt x="101" y="754"/>
                  </a:lnTo>
                  <a:lnTo>
                    <a:pt x="94" y="751"/>
                  </a:lnTo>
                  <a:lnTo>
                    <a:pt x="94" y="749"/>
                  </a:lnTo>
                  <a:lnTo>
                    <a:pt x="90" y="737"/>
                  </a:lnTo>
                  <a:lnTo>
                    <a:pt x="90" y="733"/>
                  </a:lnTo>
                  <a:lnTo>
                    <a:pt x="86" y="711"/>
                  </a:lnTo>
                  <a:lnTo>
                    <a:pt x="86" y="693"/>
                  </a:lnTo>
                  <a:lnTo>
                    <a:pt x="83" y="671"/>
                  </a:lnTo>
                  <a:lnTo>
                    <a:pt x="77" y="661"/>
                  </a:lnTo>
                  <a:lnTo>
                    <a:pt x="77" y="652"/>
                  </a:lnTo>
                  <a:lnTo>
                    <a:pt x="74" y="639"/>
                  </a:lnTo>
                  <a:lnTo>
                    <a:pt x="73" y="635"/>
                  </a:lnTo>
                  <a:lnTo>
                    <a:pt x="66" y="628"/>
                  </a:lnTo>
                  <a:lnTo>
                    <a:pt x="61" y="626"/>
                  </a:lnTo>
                  <a:lnTo>
                    <a:pt x="58" y="623"/>
                  </a:lnTo>
                  <a:lnTo>
                    <a:pt x="58" y="615"/>
                  </a:lnTo>
                  <a:lnTo>
                    <a:pt x="58" y="607"/>
                  </a:lnTo>
                  <a:lnTo>
                    <a:pt x="55" y="602"/>
                  </a:lnTo>
                  <a:lnTo>
                    <a:pt x="47" y="598"/>
                  </a:lnTo>
                  <a:lnTo>
                    <a:pt x="47" y="592"/>
                  </a:lnTo>
                  <a:lnTo>
                    <a:pt x="50" y="580"/>
                  </a:lnTo>
                  <a:lnTo>
                    <a:pt x="51" y="579"/>
                  </a:lnTo>
                  <a:lnTo>
                    <a:pt x="58" y="575"/>
                  </a:lnTo>
                  <a:lnTo>
                    <a:pt x="61" y="574"/>
                  </a:lnTo>
                  <a:lnTo>
                    <a:pt x="61" y="570"/>
                  </a:lnTo>
                  <a:lnTo>
                    <a:pt x="57" y="564"/>
                  </a:lnTo>
                  <a:lnTo>
                    <a:pt x="58" y="558"/>
                  </a:lnTo>
                  <a:lnTo>
                    <a:pt x="62" y="553"/>
                  </a:lnTo>
                  <a:lnTo>
                    <a:pt x="61" y="543"/>
                  </a:lnTo>
                  <a:lnTo>
                    <a:pt x="54" y="536"/>
                  </a:lnTo>
                  <a:lnTo>
                    <a:pt x="41" y="526"/>
                  </a:lnTo>
                  <a:lnTo>
                    <a:pt x="36" y="521"/>
                  </a:lnTo>
                  <a:lnTo>
                    <a:pt x="33" y="512"/>
                  </a:lnTo>
                  <a:lnTo>
                    <a:pt x="29" y="480"/>
                  </a:lnTo>
                  <a:lnTo>
                    <a:pt x="29" y="470"/>
                  </a:lnTo>
                  <a:lnTo>
                    <a:pt x="22" y="461"/>
                  </a:lnTo>
                  <a:lnTo>
                    <a:pt x="18" y="457"/>
                  </a:lnTo>
                  <a:lnTo>
                    <a:pt x="7" y="443"/>
                  </a:lnTo>
                  <a:lnTo>
                    <a:pt x="4" y="443"/>
                  </a:lnTo>
                  <a:lnTo>
                    <a:pt x="2" y="439"/>
                  </a:lnTo>
                  <a:lnTo>
                    <a:pt x="0" y="437"/>
                  </a:lnTo>
                  <a:lnTo>
                    <a:pt x="1" y="431"/>
                  </a:lnTo>
                  <a:lnTo>
                    <a:pt x="12" y="412"/>
                  </a:lnTo>
                  <a:lnTo>
                    <a:pt x="23" y="400"/>
                  </a:lnTo>
                  <a:lnTo>
                    <a:pt x="35" y="383"/>
                  </a:lnTo>
                  <a:lnTo>
                    <a:pt x="36" y="373"/>
                  </a:lnTo>
                  <a:lnTo>
                    <a:pt x="35" y="370"/>
                  </a:lnTo>
                  <a:lnTo>
                    <a:pt x="29" y="365"/>
                  </a:lnTo>
                  <a:lnTo>
                    <a:pt x="24" y="362"/>
                  </a:lnTo>
                  <a:lnTo>
                    <a:pt x="20" y="357"/>
                  </a:lnTo>
                  <a:lnTo>
                    <a:pt x="18" y="356"/>
                  </a:lnTo>
                  <a:lnTo>
                    <a:pt x="17" y="350"/>
                  </a:lnTo>
                  <a:lnTo>
                    <a:pt x="15" y="342"/>
                  </a:lnTo>
                  <a:lnTo>
                    <a:pt x="17" y="328"/>
                  </a:lnTo>
                  <a:lnTo>
                    <a:pt x="22" y="319"/>
                  </a:lnTo>
                  <a:lnTo>
                    <a:pt x="27" y="316"/>
                  </a:lnTo>
                  <a:lnTo>
                    <a:pt x="29" y="308"/>
                  </a:lnTo>
                  <a:lnTo>
                    <a:pt x="29" y="303"/>
                  </a:lnTo>
                  <a:lnTo>
                    <a:pt x="27" y="297"/>
                  </a:lnTo>
                  <a:lnTo>
                    <a:pt x="18" y="286"/>
                  </a:lnTo>
                  <a:lnTo>
                    <a:pt x="18" y="283"/>
                  </a:lnTo>
                  <a:lnTo>
                    <a:pt x="22" y="276"/>
                  </a:lnTo>
                  <a:lnTo>
                    <a:pt x="35" y="270"/>
                  </a:lnTo>
                  <a:lnTo>
                    <a:pt x="36" y="268"/>
                  </a:lnTo>
                  <a:lnTo>
                    <a:pt x="36" y="249"/>
                  </a:lnTo>
                  <a:lnTo>
                    <a:pt x="33" y="231"/>
                  </a:lnTo>
                  <a:lnTo>
                    <a:pt x="33" y="220"/>
                  </a:lnTo>
                  <a:lnTo>
                    <a:pt x="35" y="201"/>
                  </a:lnTo>
                  <a:lnTo>
                    <a:pt x="35" y="177"/>
                  </a:lnTo>
                  <a:lnTo>
                    <a:pt x="40" y="166"/>
                  </a:lnTo>
                  <a:lnTo>
                    <a:pt x="47" y="157"/>
                  </a:lnTo>
                  <a:lnTo>
                    <a:pt x="50" y="155"/>
                  </a:lnTo>
                  <a:lnTo>
                    <a:pt x="50" y="152"/>
                  </a:lnTo>
                  <a:lnTo>
                    <a:pt x="35" y="129"/>
                  </a:lnTo>
                  <a:lnTo>
                    <a:pt x="1" y="7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27" name="Freeform 247">
              <a:extLst>
                <a:ext uri="{FF2B5EF4-FFF2-40B4-BE49-F238E27FC236}">
                  <a16:creationId xmlns:a16="http://schemas.microsoft.com/office/drawing/2014/main" id="{C83E8C89-7498-8370-9707-44C205C3466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4058472" y="5319544"/>
              <a:ext cx="156696" cy="179858"/>
            </a:xfrm>
            <a:custGeom>
              <a:avLst/>
              <a:gdLst>
                <a:gd name="T0" fmla="*/ 0 w 292"/>
                <a:gd name="T1" fmla="*/ 0 h 314"/>
                <a:gd name="T2" fmla="*/ 0 w 292"/>
                <a:gd name="T3" fmla="*/ 0 h 314"/>
                <a:gd name="T4" fmla="*/ 0 w 292"/>
                <a:gd name="T5" fmla="*/ 0 h 314"/>
                <a:gd name="T6" fmla="*/ 0 w 292"/>
                <a:gd name="T7" fmla="*/ 0 h 314"/>
                <a:gd name="T8" fmla="*/ 0 w 292"/>
                <a:gd name="T9" fmla="*/ 0 h 314"/>
                <a:gd name="T10" fmla="*/ 0 w 292"/>
                <a:gd name="T11" fmla="*/ 0 h 314"/>
                <a:gd name="T12" fmla="*/ 0 w 292"/>
                <a:gd name="T13" fmla="*/ 0 h 314"/>
                <a:gd name="T14" fmla="*/ 0 w 292"/>
                <a:gd name="T15" fmla="*/ 2147483647 h 314"/>
                <a:gd name="T16" fmla="*/ 0 w 292"/>
                <a:gd name="T17" fmla="*/ 0 h 314"/>
                <a:gd name="T18" fmla="*/ 0 w 292"/>
                <a:gd name="T19" fmla="*/ 0 h 314"/>
                <a:gd name="T20" fmla="*/ 0 w 292"/>
                <a:gd name="T21" fmla="*/ 0 h 314"/>
                <a:gd name="T22" fmla="*/ 0 w 292"/>
                <a:gd name="T23" fmla="*/ 0 h 314"/>
                <a:gd name="T24" fmla="*/ 0 w 292"/>
                <a:gd name="T25" fmla="*/ 0 h 314"/>
                <a:gd name="T26" fmla="*/ 0 w 292"/>
                <a:gd name="T27" fmla="*/ 0 h 314"/>
                <a:gd name="T28" fmla="*/ 0 w 292"/>
                <a:gd name="T29" fmla="*/ 0 h 314"/>
                <a:gd name="T30" fmla="*/ 0 w 292"/>
                <a:gd name="T31" fmla="*/ 0 h 314"/>
                <a:gd name="T32" fmla="*/ 0 w 292"/>
                <a:gd name="T33" fmla="*/ 0 h 314"/>
                <a:gd name="T34" fmla="*/ 0 w 292"/>
                <a:gd name="T35" fmla="*/ 0 h 314"/>
                <a:gd name="T36" fmla="*/ 0 w 292"/>
                <a:gd name="T37" fmla="*/ 0 h 314"/>
                <a:gd name="T38" fmla="*/ 0 w 292"/>
                <a:gd name="T39" fmla="*/ 0 h 314"/>
                <a:gd name="T40" fmla="*/ 0 w 292"/>
                <a:gd name="T41" fmla="*/ 0 h 314"/>
                <a:gd name="T42" fmla="*/ 0 w 292"/>
                <a:gd name="T43" fmla="*/ 0 h 314"/>
                <a:gd name="T44" fmla="*/ 0 w 292"/>
                <a:gd name="T45" fmla="*/ 0 h 314"/>
                <a:gd name="T46" fmla="*/ 0 w 292"/>
                <a:gd name="T47" fmla="*/ 0 h 314"/>
                <a:gd name="T48" fmla="*/ 0 w 292"/>
                <a:gd name="T49" fmla="*/ 0 h 314"/>
                <a:gd name="T50" fmla="*/ 0 w 292"/>
                <a:gd name="T51" fmla="*/ 0 h 314"/>
                <a:gd name="T52" fmla="*/ 0 w 292"/>
                <a:gd name="T53" fmla="*/ 0 h 314"/>
                <a:gd name="T54" fmla="*/ 0 w 292"/>
                <a:gd name="T55" fmla="*/ 0 h 314"/>
                <a:gd name="T56" fmla="*/ 0 w 292"/>
                <a:gd name="T57" fmla="*/ 0 h 314"/>
                <a:gd name="T58" fmla="*/ 0 w 292"/>
                <a:gd name="T59" fmla="*/ 0 h 314"/>
                <a:gd name="T60" fmla="*/ 0 w 292"/>
                <a:gd name="T61" fmla="*/ 0 h 314"/>
                <a:gd name="T62" fmla="*/ 0 w 292"/>
                <a:gd name="T63" fmla="*/ 0 h 314"/>
                <a:gd name="T64" fmla="*/ 0 w 292"/>
                <a:gd name="T65" fmla="*/ 0 h 314"/>
                <a:gd name="T66" fmla="*/ 0 w 292"/>
                <a:gd name="T67" fmla="*/ 0 h 314"/>
                <a:gd name="T68" fmla="*/ 0 w 292"/>
                <a:gd name="T69" fmla="*/ 0 h 314"/>
                <a:gd name="T70" fmla="*/ 0 w 292"/>
                <a:gd name="T71" fmla="*/ 0 h 314"/>
                <a:gd name="T72" fmla="*/ 0 w 292"/>
                <a:gd name="T73" fmla="*/ 0 h 314"/>
                <a:gd name="T74" fmla="*/ 0 w 292"/>
                <a:gd name="T75" fmla="*/ 0 h 314"/>
                <a:gd name="T76" fmla="*/ 0 w 292"/>
                <a:gd name="T77" fmla="*/ 0 h 314"/>
                <a:gd name="T78" fmla="*/ 0 w 292"/>
                <a:gd name="T79" fmla="*/ 0 h 314"/>
                <a:gd name="T80" fmla="*/ 0 w 292"/>
                <a:gd name="T81" fmla="*/ 0 h 314"/>
                <a:gd name="T82" fmla="*/ 0 w 292"/>
                <a:gd name="T83" fmla="*/ 0 h 314"/>
                <a:gd name="T84" fmla="*/ 0 w 292"/>
                <a:gd name="T85" fmla="*/ 0 h 31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92"/>
                <a:gd name="T130" fmla="*/ 0 h 314"/>
                <a:gd name="T131" fmla="*/ 292 w 292"/>
                <a:gd name="T132" fmla="*/ 314 h 31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92" h="314">
                  <a:moveTo>
                    <a:pt x="0" y="252"/>
                  </a:moveTo>
                  <a:lnTo>
                    <a:pt x="2" y="252"/>
                  </a:lnTo>
                  <a:lnTo>
                    <a:pt x="9" y="253"/>
                  </a:lnTo>
                  <a:lnTo>
                    <a:pt x="26" y="272"/>
                  </a:lnTo>
                  <a:lnTo>
                    <a:pt x="29" y="281"/>
                  </a:lnTo>
                  <a:lnTo>
                    <a:pt x="56" y="283"/>
                  </a:lnTo>
                  <a:lnTo>
                    <a:pt x="66" y="283"/>
                  </a:lnTo>
                  <a:lnTo>
                    <a:pt x="91" y="297"/>
                  </a:lnTo>
                  <a:lnTo>
                    <a:pt x="104" y="302"/>
                  </a:lnTo>
                  <a:lnTo>
                    <a:pt x="115" y="304"/>
                  </a:lnTo>
                  <a:lnTo>
                    <a:pt x="123" y="309"/>
                  </a:lnTo>
                  <a:lnTo>
                    <a:pt x="129" y="310"/>
                  </a:lnTo>
                  <a:lnTo>
                    <a:pt x="149" y="307"/>
                  </a:lnTo>
                  <a:lnTo>
                    <a:pt x="162" y="307"/>
                  </a:lnTo>
                  <a:lnTo>
                    <a:pt x="183" y="310"/>
                  </a:lnTo>
                  <a:lnTo>
                    <a:pt x="197" y="314"/>
                  </a:lnTo>
                  <a:lnTo>
                    <a:pt x="212" y="309"/>
                  </a:lnTo>
                  <a:lnTo>
                    <a:pt x="225" y="303"/>
                  </a:lnTo>
                  <a:lnTo>
                    <a:pt x="236" y="295"/>
                  </a:lnTo>
                  <a:lnTo>
                    <a:pt x="246" y="283"/>
                  </a:lnTo>
                  <a:lnTo>
                    <a:pt x="249" y="281"/>
                  </a:lnTo>
                  <a:lnTo>
                    <a:pt x="253" y="272"/>
                  </a:lnTo>
                  <a:lnTo>
                    <a:pt x="260" y="265"/>
                  </a:lnTo>
                  <a:lnTo>
                    <a:pt x="268" y="253"/>
                  </a:lnTo>
                  <a:lnTo>
                    <a:pt x="271" y="240"/>
                  </a:lnTo>
                  <a:lnTo>
                    <a:pt x="276" y="236"/>
                  </a:lnTo>
                  <a:lnTo>
                    <a:pt x="273" y="231"/>
                  </a:lnTo>
                  <a:lnTo>
                    <a:pt x="271" y="229"/>
                  </a:lnTo>
                  <a:lnTo>
                    <a:pt x="274" y="215"/>
                  </a:lnTo>
                  <a:lnTo>
                    <a:pt x="274" y="199"/>
                  </a:lnTo>
                  <a:lnTo>
                    <a:pt x="276" y="191"/>
                  </a:lnTo>
                  <a:lnTo>
                    <a:pt x="281" y="184"/>
                  </a:lnTo>
                  <a:lnTo>
                    <a:pt x="284" y="183"/>
                  </a:lnTo>
                  <a:lnTo>
                    <a:pt x="286" y="175"/>
                  </a:lnTo>
                  <a:lnTo>
                    <a:pt x="291" y="174"/>
                  </a:lnTo>
                  <a:lnTo>
                    <a:pt x="292" y="172"/>
                  </a:lnTo>
                  <a:lnTo>
                    <a:pt x="287" y="163"/>
                  </a:lnTo>
                  <a:lnTo>
                    <a:pt x="267" y="148"/>
                  </a:lnTo>
                  <a:lnTo>
                    <a:pt x="264" y="145"/>
                  </a:lnTo>
                  <a:lnTo>
                    <a:pt x="260" y="126"/>
                  </a:lnTo>
                  <a:lnTo>
                    <a:pt x="257" y="120"/>
                  </a:lnTo>
                  <a:lnTo>
                    <a:pt x="242" y="113"/>
                  </a:lnTo>
                  <a:lnTo>
                    <a:pt x="237" y="112"/>
                  </a:lnTo>
                  <a:lnTo>
                    <a:pt x="228" y="108"/>
                  </a:lnTo>
                  <a:lnTo>
                    <a:pt x="222" y="102"/>
                  </a:lnTo>
                  <a:lnTo>
                    <a:pt x="215" y="91"/>
                  </a:lnTo>
                  <a:lnTo>
                    <a:pt x="212" y="87"/>
                  </a:lnTo>
                  <a:lnTo>
                    <a:pt x="200" y="86"/>
                  </a:lnTo>
                  <a:lnTo>
                    <a:pt x="193" y="77"/>
                  </a:lnTo>
                  <a:lnTo>
                    <a:pt x="185" y="77"/>
                  </a:lnTo>
                  <a:lnTo>
                    <a:pt x="181" y="76"/>
                  </a:lnTo>
                  <a:lnTo>
                    <a:pt x="178" y="73"/>
                  </a:lnTo>
                  <a:lnTo>
                    <a:pt x="171" y="65"/>
                  </a:lnTo>
                  <a:lnTo>
                    <a:pt x="166" y="55"/>
                  </a:lnTo>
                  <a:lnTo>
                    <a:pt x="165" y="51"/>
                  </a:lnTo>
                  <a:lnTo>
                    <a:pt x="160" y="48"/>
                  </a:lnTo>
                  <a:lnTo>
                    <a:pt x="146" y="59"/>
                  </a:lnTo>
                  <a:lnTo>
                    <a:pt x="142" y="60"/>
                  </a:lnTo>
                  <a:lnTo>
                    <a:pt x="134" y="59"/>
                  </a:lnTo>
                  <a:lnTo>
                    <a:pt x="133" y="50"/>
                  </a:lnTo>
                  <a:lnTo>
                    <a:pt x="128" y="35"/>
                  </a:lnTo>
                  <a:lnTo>
                    <a:pt x="119" y="27"/>
                  </a:lnTo>
                  <a:lnTo>
                    <a:pt x="108" y="17"/>
                  </a:lnTo>
                  <a:lnTo>
                    <a:pt x="103" y="12"/>
                  </a:lnTo>
                  <a:lnTo>
                    <a:pt x="91" y="2"/>
                  </a:lnTo>
                  <a:lnTo>
                    <a:pt x="85" y="0"/>
                  </a:lnTo>
                  <a:lnTo>
                    <a:pt x="80" y="0"/>
                  </a:lnTo>
                  <a:lnTo>
                    <a:pt x="75" y="2"/>
                  </a:lnTo>
                  <a:lnTo>
                    <a:pt x="71" y="8"/>
                  </a:lnTo>
                  <a:lnTo>
                    <a:pt x="64" y="12"/>
                  </a:lnTo>
                  <a:lnTo>
                    <a:pt x="45" y="10"/>
                  </a:lnTo>
                  <a:lnTo>
                    <a:pt x="44" y="16"/>
                  </a:lnTo>
                  <a:lnTo>
                    <a:pt x="34" y="24"/>
                  </a:lnTo>
                  <a:lnTo>
                    <a:pt x="33" y="27"/>
                  </a:lnTo>
                  <a:lnTo>
                    <a:pt x="34" y="50"/>
                  </a:lnTo>
                  <a:lnTo>
                    <a:pt x="31" y="72"/>
                  </a:lnTo>
                  <a:lnTo>
                    <a:pt x="31" y="87"/>
                  </a:lnTo>
                  <a:lnTo>
                    <a:pt x="29" y="97"/>
                  </a:lnTo>
                  <a:lnTo>
                    <a:pt x="20" y="121"/>
                  </a:lnTo>
                  <a:lnTo>
                    <a:pt x="20" y="172"/>
                  </a:lnTo>
                  <a:lnTo>
                    <a:pt x="18" y="182"/>
                  </a:lnTo>
                  <a:lnTo>
                    <a:pt x="16" y="188"/>
                  </a:lnTo>
                  <a:lnTo>
                    <a:pt x="9" y="201"/>
                  </a:lnTo>
                  <a:lnTo>
                    <a:pt x="5" y="210"/>
                  </a:lnTo>
                  <a:lnTo>
                    <a:pt x="1" y="236"/>
                  </a:lnTo>
                  <a:lnTo>
                    <a:pt x="0" y="25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28" name="Freeform 248">
              <a:extLst>
                <a:ext uri="{FF2B5EF4-FFF2-40B4-BE49-F238E27FC236}">
                  <a16:creationId xmlns:a16="http://schemas.microsoft.com/office/drawing/2014/main" id="{093D584F-322C-BE2A-A081-CCBCDB027F3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977885" y="4083403"/>
              <a:ext cx="141773" cy="217964"/>
            </a:xfrm>
            <a:custGeom>
              <a:avLst/>
              <a:gdLst>
                <a:gd name="T0" fmla="*/ 0 w 265"/>
                <a:gd name="T1" fmla="*/ 0 h 386"/>
                <a:gd name="T2" fmla="*/ 0 w 265"/>
                <a:gd name="T3" fmla="*/ 0 h 386"/>
                <a:gd name="T4" fmla="*/ 0 w 265"/>
                <a:gd name="T5" fmla="*/ 0 h 386"/>
                <a:gd name="T6" fmla="*/ 0 w 265"/>
                <a:gd name="T7" fmla="*/ 0 h 386"/>
                <a:gd name="T8" fmla="*/ 0 w 265"/>
                <a:gd name="T9" fmla="*/ 0 h 386"/>
                <a:gd name="T10" fmla="*/ 0 w 265"/>
                <a:gd name="T11" fmla="*/ 0 h 386"/>
                <a:gd name="T12" fmla="*/ 0 w 265"/>
                <a:gd name="T13" fmla="*/ 0 h 386"/>
                <a:gd name="T14" fmla="*/ 0 w 265"/>
                <a:gd name="T15" fmla="*/ 0 h 386"/>
                <a:gd name="T16" fmla="*/ 0 w 265"/>
                <a:gd name="T17" fmla="*/ 0 h 386"/>
                <a:gd name="T18" fmla="*/ 0 w 265"/>
                <a:gd name="T19" fmla="*/ 0 h 386"/>
                <a:gd name="T20" fmla="*/ 0 w 265"/>
                <a:gd name="T21" fmla="*/ 0 h 386"/>
                <a:gd name="T22" fmla="*/ 0 w 265"/>
                <a:gd name="T23" fmla="*/ 0 h 386"/>
                <a:gd name="T24" fmla="*/ 0 w 265"/>
                <a:gd name="T25" fmla="*/ 0 h 386"/>
                <a:gd name="T26" fmla="*/ 0 w 265"/>
                <a:gd name="T27" fmla="*/ 0 h 386"/>
                <a:gd name="T28" fmla="*/ 0 w 265"/>
                <a:gd name="T29" fmla="*/ 0 h 386"/>
                <a:gd name="T30" fmla="*/ 0 w 265"/>
                <a:gd name="T31" fmla="*/ 0 h 386"/>
                <a:gd name="T32" fmla="*/ 0 w 265"/>
                <a:gd name="T33" fmla="*/ 0 h 386"/>
                <a:gd name="T34" fmla="*/ 0 w 265"/>
                <a:gd name="T35" fmla="*/ 0 h 386"/>
                <a:gd name="T36" fmla="*/ 0 w 265"/>
                <a:gd name="T37" fmla="*/ 2147483647 h 386"/>
                <a:gd name="T38" fmla="*/ 0 w 265"/>
                <a:gd name="T39" fmla="*/ 2147483647 h 386"/>
                <a:gd name="T40" fmla="*/ 0 w 265"/>
                <a:gd name="T41" fmla="*/ 2147483647 h 386"/>
                <a:gd name="T42" fmla="*/ 0 w 265"/>
                <a:gd name="T43" fmla="*/ 2147483647 h 386"/>
                <a:gd name="T44" fmla="*/ 0 w 265"/>
                <a:gd name="T45" fmla="*/ 2147483647 h 386"/>
                <a:gd name="T46" fmla="*/ 0 w 265"/>
                <a:gd name="T47" fmla="*/ 2147483647 h 386"/>
                <a:gd name="T48" fmla="*/ 0 w 265"/>
                <a:gd name="T49" fmla="*/ 2147483647 h 386"/>
                <a:gd name="T50" fmla="*/ 0 w 265"/>
                <a:gd name="T51" fmla="*/ 2147483647 h 386"/>
                <a:gd name="T52" fmla="*/ 0 w 265"/>
                <a:gd name="T53" fmla="*/ 2147483647 h 386"/>
                <a:gd name="T54" fmla="*/ 0 w 265"/>
                <a:gd name="T55" fmla="*/ 2147483647 h 386"/>
                <a:gd name="T56" fmla="*/ 0 w 265"/>
                <a:gd name="T57" fmla="*/ 0 h 386"/>
                <a:gd name="T58" fmla="*/ 0 w 265"/>
                <a:gd name="T59" fmla="*/ 0 h 386"/>
                <a:gd name="T60" fmla="*/ 0 w 265"/>
                <a:gd name="T61" fmla="*/ 0 h 386"/>
                <a:gd name="T62" fmla="*/ 0 w 265"/>
                <a:gd name="T63" fmla="*/ 0 h 386"/>
                <a:gd name="T64" fmla="*/ 0 w 265"/>
                <a:gd name="T65" fmla="*/ 0 h 386"/>
                <a:gd name="T66" fmla="*/ 0 w 265"/>
                <a:gd name="T67" fmla="*/ 0 h 386"/>
                <a:gd name="T68" fmla="*/ 0 w 265"/>
                <a:gd name="T69" fmla="*/ 0 h 386"/>
                <a:gd name="T70" fmla="*/ 0 w 265"/>
                <a:gd name="T71" fmla="*/ 0 h 386"/>
                <a:gd name="T72" fmla="*/ 0 w 265"/>
                <a:gd name="T73" fmla="*/ 0 h 386"/>
                <a:gd name="T74" fmla="*/ 0 w 265"/>
                <a:gd name="T75" fmla="*/ 0 h 386"/>
                <a:gd name="T76" fmla="*/ 0 w 265"/>
                <a:gd name="T77" fmla="*/ 0 h 386"/>
                <a:gd name="T78" fmla="*/ 0 w 265"/>
                <a:gd name="T79" fmla="*/ 0 h 386"/>
                <a:gd name="T80" fmla="*/ 0 w 265"/>
                <a:gd name="T81" fmla="*/ 0 h 386"/>
                <a:gd name="T82" fmla="*/ 0 w 265"/>
                <a:gd name="T83" fmla="*/ 0 h 386"/>
                <a:gd name="T84" fmla="*/ 0 w 265"/>
                <a:gd name="T85" fmla="*/ 0 h 386"/>
                <a:gd name="T86" fmla="*/ 0 w 265"/>
                <a:gd name="T87" fmla="*/ 0 h 386"/>
                <a:gd name="T88" fmla="*/ 0 w 265"/>
                <a:gd name="T89" fmla="*/ 0 h 386"/>
                <a:gd name="T90" fmla="*/ 0 w 265"/>
                <a:gd name="T91" fmla="*/ 0 h 38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65"/>
                <a:gd name="T139" fmla="*/ 0 h 386"/>
                <a:gd name="T140" fmla="*/ 265 w 265"/>
                <a:gd name="T141" fmla="*/ 386 h 38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65" h="386">
                  <a:moveTo>
                    <a:pt x="81" y="2"/>
                  </a:moveTo>
                  <a:lnTo>
                    <a:pt x="87" y="3"/>
                  </a:lnTo>
                  <a:lnTo>
                    <a:pt x="89" y="0"/>
                  </a:lnTo>
                  <a:lnTo>
                    <a:pt x="94" y="0"/>
                  </a:lnTo>
                  <a:lnTo>
                    <a:pt x="108" y="10"/>
                  </a:lnTo>
                  <a:lnTo>
                    <a:pt x="141" y="41"/>
                  </a:lnTo>
                  <a:lnTo>
                    <a:pt x="150" y="53"/>
                  </a:lnTo>
                  <a:lnTo>
                    <a:pt x="151" y="59"/>
                  </a:lnTo>
                  <a:lnTo>
                    <a:pt x="152" y="83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72" y="84"/>
                  </a:lnTo>
                  <a:lnTo>
                    <a:pt x="179" y="85"/>
                  </a:lnTo>
                  <a:lnTo>
                    <a:pt x="183" y="88"/>
                  </a:lnTo>
                  <a:lnTo>
                    <a:pt x="195" y="94"/>
                  </a:lnTo>
                  <a:lnTo>
                    <a:pt x="197" y="96"/>
                  </a:lnTo>
                  <a:lnTo>
                    <a:pt x="202" y="104"/>
                  </a:lnTo>
                  <a:lnTo>
                    <a:pt x="211" y="112"/>
                  </a:lnTo>
                  <a:lnTo>
                    <a:pt x="222" y="120"/>
                  </a:lnTo>
                  <a:lnTo>
                    <a:pt x="228" y="136"/>
                  </a:lnTo>
                  <a:lnTo>
                    <a:pt x="232" y="139"/>
                  </a:lnTo>
                  <a:lnTo>
                    <a:pt x="231" y="142"/>
                  </a:lnTo>
                  <a:lnTo>
                    <a:pt x="224" y="148"/>
                  </a:lnTo>
                  <a:lnTo>
                    <a:pt x="217" y="159"/>
                  </a:lnTo>
                  <a:lnTo>
                    <a:pt x="216" y="163"/>
                  </a:lnTo>
                  <a:lnTo>
                    <a:pt x="218" y="165"/>
                  </a:lnTo>
                  <a:lnTo>
                    <a:pt x="220" y="165"/>
                  </a:lnTo>
                  <a:lnTo>
                    <a:pt x="220" y="172"/>
                  </a:lnTo>
                  <a:lnTo>
                    <a:pt x="213" y="179"/>
                  </a:lnTo>
                  <a:lnTo>
                    <a:pt x="212" y="182"/>
                  </a:lnTo>
                  <a:lnTo>
                    <a:pt x="205" y="183"/>
                  </a:lnTo>
                  <a:lnTo>
                    <a:pt x="196" y="183"/>
                  </a:lnTo>
                  <a:lnTo>
                    <a:pt x="189" y="186"/>
                  </a:lnTo>
                  <a:lnTo>
                    <a:pt x="185" y="188"/>
                  </a:lnTo>
                  <a:lnTo>
                    <a:pt x="184" y="191"/>
                  </a:lnTo>
                  <a:lnTo>
                    <a:pt x="183" y="193"/>
                  </a:lnTo>
                  <a:lnTo>
                    <a:pt x="181" y="208"/>
                  </a:lnTo>
                  <a:lnTo>
                    <a:pt x="178" y="217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80" y="240"/>
                  </a:lnTo>
                  <a:lnTo>
                    <a:pt x="189" y="255"/>
                  </a:lnTo>
                  <a:lnTo>
                    <a:pt x="191" y="256"/>
                  </a:lnTo>
                  <a:lnTo>
                    <a:pt x="200" y="263"/>
                  </a:lnTo>
                  <a:lnTo>
                    <a:pt x="200" y="268"/>
                  </a:lnTo>
                  <a:lnTo>
                    <a:pt x="204" y="272"/>
                  </a:lnTo>
                  <a:lnTo>
                    <a:pt x="205" y="273"/>
                  </a:lnTo>
                  <a:lnTo>
                    <a:pt x="217" y="273"/>
                  </a:lnTo>
                  <a:lnTo>
                    <a:pt x="220" y="276"/>
                  </a:lnTo>
                  <a:lnTo>
                    <a:pt x="221" y="284"/>
                  </a:lnTo>
                  <a:lnTo>
                    <a:pt x="226" y="289"/>
                  </a:lnTo>
                  <a:lnTo>
                    <a:pt x="226" y="299"/>
                  </a:lnTo>
                  <a:lnTo>
                    <a:pt x="232" y="305"/>
                  </a:lnTo>
                  <a:lnTo>
                    <a:pt x="233" y="311"/>
                  </a:lnTo>
                  <a:lnTo>
                    <a:pt x="239" y="321"/>
                  </a:lnTo>
                  <a:lnTo>
                    <a:pt x="253" y="338"/>
                  </a:lnTo>
                  <a:lnTo>
                    <a:pt x="263" y="347"/>
                  </a:lnTo>
                  <a:lnTo>
                    <a:pt x="265" y="347"/>
                  </a:lnTo>
                  <a:lnTo>
                    <a:pt x="265" y="349"/>
                  </a:lnTo>
                  <a:lnTo>
                    <a:pt x="254" y="350"/>
                  </a:lnTo>
                  <a:lnTo>
                    <a:pt x="240" y="352"/>
                  </a:lnTo>
                  <a:lnTo>
                    <a:pt x="234" y="349"/>
                  </a:lnTo>
                  <a:lnTo>
                    <a:pt x="233" y="348"/>
                  </a:lnTo>
                  <a:lnTo>
                    <a:pt x="229" y="347"/>
                  </a:lnTo>
                  <a:lnTo>
                    <a:pt x="224" y="347"/>
                  </a:lnTo>
                  <a:lnTo>
                    <a:pt x="213" y="353"/>
                  </a:lnTo>
                  <a:lnTo>
                    <a:pt x="205" y="363"/>
                  </a:lnTo>
                  <a:lnTo>
                    <a:pt x="191" y="363"/>
                  </a:lnTo>
                  <a:lnTo>
                    <a:pt x="183" y="366"/>
                  </a:lnTo>
                  <a:lnTo>
                    <a:pt x="178" y="371"/>
                  </a:lnTo>
                  <a:lnTo>
                    <a:pt x="167" y="371"/>
                  </a:lnTo>
                  <a:lnTo>
                    <a:pt x="158" y="374"/>
                  </a:lnTo>
                  <a:lnTo>
                    <a:pt x="152" y="384"/>
                  </a:lnTo>
                  <a:lnTo>
                    <a:pt x="147" y="386"/>
                  </a:lnTo>
                  <a:lnTo>
                    <a:pt x="134" y="386"/>
                  </a:lnTo>
                  <a:lnTo>
                    <a:pt x="124" y="384"/>
                  </a:lnTo>
                  <a:lnTo>
                    <a:pt x="108" y="374"/>
                  </a:lnTo>
                  <a:lnTo>
                    <a:pt x="102" y="369"/>
                  </a:lnTo>
                  <a:lnTo>
                    <a:pt x="98" y="363"/>
                  </a:lnTo>
                  <a:lnTo>
                    <a:pt x="95" y="362"/>
                  </a:lnTo>
                  <a:lnTo>
                    <a:pt x="91" y="357"/>
                  </a:lnTo>
                  <a:lnTo>
                    <a:pt x="89" y="354"/>
                  </a:lnTo>
                  <a:lnTo>
                    <a:pt x="91" y="341"/>
                  </a:lnTo>
                  <a:lnTo>
                    <a:pt x="89" y="332"/>
                  </a:lnTo>
                  <a:lnTo>
                    <a:pt x="78" y="322"/>
                  </a:lnTo>
                  <a:lnTo>
                    <a:pt x="77" y="319"/>
                  </a:lnTo>
                  <a:lnTo>
                    <a:pt x="77" y="288"/>
                  </a:lnTo>
                  <a:lnTo>
                    <a:pt x="83" y="274"/>
                  </a:lnTo>
                  <a:lnTo>
                    <a:pt x="86" y="267"/>
                  </a:lnTo>
                  <a:lnTo>
                    <a:pt x="86" y="257"/>
                  </a:lnTo>
                  <a:lnTo>
                    <a:pt x="95" y="244"/>
                  </a:lnTo>
                  <a:lnTo>
                    <a:pt x="97" y="241"/>
                  </a:lnTo>
                  <a:lnTo>
                    <a:pt x="95" y="234"/>
                  </a:lnTo>
                  <a:lnTo>
                    <a:pt x="91" y="228"/>
                  </a:lnTo>
                  <a:lnTo>
                    <a:pt x="91" y="213"/>
                  </a:lnTo>
                  <a:lnTo>
                    <a:pt x="79" y="209"/>
                  </a:lnTo>
                  <a:lnTo>
                    <a:pt x="77" y="208"/>
                  </a:lnTo>
                  <a:lnTo>
                    <a:pt x="68" y="207"/>
                  </a:lnTo>
                  <a:lnTo>
                    <a:pt x="72" y="193"/>
                  </a:lnTo>
                  <a:lnTo>
                    <a:pt x="72" y="186"/>
                  </a:lnTo>
                  <a:lnTo>
                    <a:pt x="72" y="180"/>
                  </a:lnTo>
                  <a:lnTo>
                    <a:pt x="67" y="171"/>
                  </a:lnTo>
                  <a:lnTo>
                    <a:pt x="59" y="171"/>
                  </a:lnTo>
                  <a:lnTo>
                    <a:pt x="46" y="175"/>
                  </a:lnTo>
                  <a:lnTo>
                    <a:pt x="37" y="174"/>
                  </a:lnTo>
                  <a:lnTo>
                    <a:pt x="37" y="171"/>
                  </a:lnTo>
                  <a:lnTo>
                    <a:pt x="33" y="169"/>
                  </a:lnTo>
                  <a:lnTo>
                    <a:pt x="27" y="163"/>
                  </a:lnTo>
                  <a:lnTo>
                    <a:pt x="23" y="155"/>
                  </a:lnTo>
                  <a:lnTo>
                    <a:pt x="12" y="144"/>
                  </a:lnTo>
                  <a:lnTo>
                    <a:pt x="0" y="128"/>
                  </a:lnTo>
                  <a:lnTo>
                    <a:pt x="0" y="126"/>
                  </a:lnTo>
                  <a:lnTo>
                    <a:pt x="0" y="122"/>
                  </a:lnTo>
                  <a:lnTo>
                    <a:pt x="1" y="121"/>
                  </a:lnTo>
                  <a:lnTo>
                    <a:pt x="7" y="112"/>
                  </a:lnTo>
                  <a:lnTo>
                    <a:pt x="11" y="106"/>
                  </a:lnTo>
                  <a:lnTo>
                    <a:pt x="11" y="91"/>
                  </a:lnTo>
                  <a:lnTo>
                    <a:pt x="12" y="89"/>
                  </a:lnTo>
                  <a:lnTo>
                    <a:pt x="29" y="83"/>
                  </a:lnTo>
                  <a:lnTo>
                    <a:pt x="40" y="75"/>
                  </a:lnTo>
                  <a:lnTo>
                    <a:pt x="45" y="69"/>
                  </a:lnTo>
                  <a:lnTo>
                    <a:pt x="40" y="64"/>
                  </a:lnTo>
                  <a:lnTo>
                    <a:pt x="38" y="64"/>
                  </a:lnTo>
                  <a:lnTo>
                    <a:pt x="32" y="66"/>
                  </a:lnTo>
                  <a:lnTo>
                    <a:pt x="27" y="64"/>
                  </a:lnTo>
                  <a:lnTo>
                    <a:pt x="24" y="52"/>
                  </a:lnTo>
                  <a:lnTo>
                    <a:pt x="24" y="43"/>
                  </a:lnTo>
                  <a:lnTo>
                    <a:pt x="27" y="37"/>
                  </a:lnTo>
                  <a:lnTo>
                    <a:pt x="29" y="35"/>
                  </a:lnTo>
                  <a:lnTo>
                    <a:pt x="40" y="32"/>
                  </a:lnTo>
                  <a:lnTo>
                    <a:pt x="43" y="30"/>
                  </a:lnTo>
                  <a:lnTo>
                    <a:pt x="46" y="26"/>
                  </a:lnTo>
                  <a:lnTo>
                    <a:pt x="62" y="19"/>
                  </a:lnTo>
                  <a:lnTo>
                    <a:pt x="66" y="16"/>
                  </a:lnTo>
                  <a:lnTo>
                    <a:pt x="72" y="13"/>
                  </a:lnTo>
                  <a:lnTo>
                    <a:pt x="77" y="13"/>
                  </a:lnTo>
                  <a:lnTo>
                    <a:pt x="81" y="10"/>
                  </a:lnTo>
                  <a:lnTo>
                    <a:pt x="81" y="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29" name="Freeform 249">
              <a:extLst>
                <a:ext uri="{FF2B5EF4-FFF2-40B4-BE49-F238E27FC236}">
                  <a16:creationId xmlns:a16="http://schemas.microsoft.com/office/drawing/2014/main" id="{53239C1A-4B1F-F648-B0F0-0E0095536B4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4179352" y="4164187"/>
              <a:ext cx="85063" cy="114316"/>
            </a:xfrm>
            <a:custGeom>
              <a:avLst/>
              <a:gdLst>
                <a:gd name="T0" fmla="*/ 0 w 157"/>
                <a:gd name="T1" fmla="*/ 0 h 200"/>
                <a:gd name="T2" fmla="*/ 0 w 157"/>
                <a:gd name="T3" fmla="*/ 0 h 200"/>
                <a:gd name="T4" fmla="*/ 0 w 157"/>
                <a:gd name="T5" fmla="*/ 0 h 200"/>
                <a:gd name="T6" fmla="*/ 0 w 157"/>
                <a:gd name="T7" fmla="*/ 0 h 200"/>
                <a:gd name="T8" fmla="*/ 0 w 157"/>
                <a:gd name="T9" fmla="*/ 0 h 200"/>
                <a:gd name="T10" fmla="*/ 0 w 157"/>
                <a:gd name="T11" fmla="*/ 0 h 200"/>
                <a:gd name="T12" fmla="*/ 0 w 157"/>
                <a:gd name="T13" fmla="*/ 0 h 200"/>
                <a:gd name="T14" fmla="*/ 0 w 157"/>
                <a:gd name="T15" fmla="*/ 0 h 200"/>
                <a:gd name="T16" fmla="*/ 0 w 157"/>
                <a:gd name="T17" fmla="*/ 0 h 200"/>
                <a:gd name="T18" fmla="*/ 0 w 157"/>
                <a:gd name="T19" fmla="*/ 0 h 200"/>
                <a:gd name="T20" fmla="*/ 0 w 157"/>
                <a:gd name="T21" fmla="*/ 0 h 200"/>
                <a:gd name="T22" fmla="*/ 0 w 157"/>
                <a:gd name="T23" fmla="*/ 0 h 200"/>
                <a:gd name="T24" fmla="*/ 0 w 157"/>
                <a:gd name="T25" fmla="*/ 0 h 200"/>
                <a:gd name="T26" fmla="*/ 0 w 157"/>
                <a:gd name="T27" fmla="*/ 0 h 200"/>
                <a:gd name="T28" fmla="*/ 0 w 157"/>
                <a:gd name="T29" fmla="*/ 0 h 200"/>
                <a:gd name="T30" fmla="*/ 0 w 157"/>
                <a:gd name="T31" fmla="*/ 0 h 200"/>
                <a:gd name="T32" fmla="*/ 0 w 157"/>
                <a:gd name="T33" fmla="*/ 0 h 200"/>
                <a:gd name="T34" fmla="*/ 0 w 157"/>
                <a:gd name="T35" fmla="*/ 0 h 200"/>
                <a:gd name="T36" fmla="*/ 0 w 157"/>
                <a:gd name="T37" fmla="*/ 0 h 200"/>
                <a:gd name="T38" fmla="*/ 0 w 157"/>
                <a:gd name="T39" fmla="*/ 0 h 200"/>
                <a:gd name="T40" fmla="*/ 0 w 157"/>
                <a:gd name="T41" fmla="*/ 0 h 200"/>
                <a:gd name="T42" fmla="*/ 0 w 157"/>
                <a:gd name="T43" fmla="*/ 0 h 200"/>
                <a:gd name="T44" fmla="*/ 0 w 157"/>
                <a:gd name="T45" fmla="*/ 0 h 200"/>
                <a:gd name="T46" fmla="*/ 0 w 157"/>
                <a:gd name="T47" fmla="*/ 0 h 200"/>
                <a:gd name="T48" fmla="*/ 0 w 157"/>
                <a:gd name="T49" fmla="*/ 0 h 200"/>
                <a:gd name="T50" fmla="*/ 0 w 157"/>
                <a:gd name="T51" fmla="*/ 0 h 200"/>
                <a:gd name="T52" fmla="*/ 0 w 157"/>
                <a:gd name="T53" fmla="*/ 0 h 200"/>
                <a:gd name="T54" fmla="*/ 0 w 157"/>
                <a:gd name="T55" fmla="*/ 0 h 200"/>
                <a:gd name="T56" fmla="*/ 0 w 157"/>
                <a:gd name="T57" fmla="*/ 0 h 200"/>
                <a:gd name="T58" fmla="*/ 0 w 157"/>
                <a:gd name="T59" fmla="*/ 0 h 200"/>
                <a:gd name="T60" fmla="*/ 0 w 157"/>
                <a:gd name="T61" fmla="*/ 0 h 200"/>
                <a:gd name="T62" fmla="*/ 0 w 157"/>
                <a:gd name="T63" fmla="*/ 0 h 200"/>
                <a:gd name="T64" fmla="*/ 0 w 157"/>
                <a:gd name="T65" fmla="*/ 0 h 200"/>
                <a:gd name="T66" fmla="*/ 0 w 157"/>
                <a:gd name="T67" fmla="*/ 0 h 200"/>
                <a:gd name="T68" fmla="*/ 0 w 157"/>
                <a:gd name="T69" fmla="*/ 0 h 200"/>
                <a:gd name="T70" fmla="*/ 0 w 157"/>
                <a:gd name="T71" fmla="*/ 0 h 200"/>
                <a:gd name="T72" fmla="*/ 0 w 157"/>
                <a:gd name="T73" fmla="*/ 0 h 200"/>
                <a:gd name="T74" fmla="*/ 0 w 157"/>
                <a:gd name="T75" fmla="*/ 0 h 200"/>
                <a:gd name="T76" fmla="*/ 0 w 157"/>
                <a:gd name="T77" fmla="*/ 0 h 200"/>
                <a:gd name="T78" fmla="*/ 0 w 157"/>
                <a:gd name="T79" fmla="*/ 0 h 200"/>
                <a:gd name="T80" fmla="*/ 0 w 157"/>
                <a:gd name="T81" fmla="*/ 0 h 200"/>
                <a:gd name="T82" fmla="*/ 0 w 157"/>
                <a:gd name="T83" fmla="*/ 0 h 200"/>
                <a:gd name="T84" fmla="*/ 0 w 157"/>
                <a:gd name="T85" fmla="*/ 0 h 200"/>
                <a:gd name="T86" fmla="*/ 0 w 157"/>
                <a:gd name="T87" fmla="*/ 0 h 200"/>
                <a:gd name="T88" fmla="*/ 0 w 157"/>
                <a:gd name="T89" fmla="*/ 0 h 200"/>
                <a:gd name="T90" fmla="*/ 0 w 157"/>
                <a:gd name="T91" fmla="*/ 0 h 200"/>
                <a:gd name="T92" fmla="*/ 0 w 157"/>
                <a:gd name="T93" fmla="*/ 0 h 200"/>
                <a:gd name="T94" fmla="*/ 0 w 157"/>
                <a:gd name="T95" fmla="*/ 0 h 200"/>
                <a:gd name="T96" fmla="*/ 0 w 157"/>
                <a:gd name="T97" fmla="*/ 0 h 200"/>
                <a:gd name="T98" fmla="*/ 0 w 157"/>
                <a:gd name="T99" fmla="*/ 0 h 200"/>
                <a:gd name="T100" fmla="*/ 0 w 157"/>
                <a:gd name="T101" fmla="*/ 0 h 200"/>
                <a:gd name="T102" fmla="*/ 0 w 157"/>
                <a:gd name="T103" fmla="*/ 0 h 2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57"/>
                <a:gd name="T157" fmla="*/ 0 h 200"/>
                <a:gd name="T158" fmla="*/ 157 w 157"/>
                <a:gd name="T159" fmla="*/ 200 h 20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57" h="200">
                  <a:moveTo>
                    <a:pt x="0" y="182"/>
                  </a:moveTo>
                  <a:lnTo>
                    <a:pt x="13" y="169"/>
                  </a:lnTo>
                  <a:lnTo>
                    <a:pt x="15" y="166"/>
                  </a:lnTo>
                  <a:lnTo>
                    <a:pt x="17" y="147"/>
                  </a:lnTo>
                  <a:lnTo>
                    <a:pt x="22" y="125"/>
                  </a:lnTo>
                  <a:lnTo>
                    <a:pt x="23" y="110"/>
                  </a:lnTo>
                  <a:lnTo>
                    <a:pt x="18" y="102"/>
                  </a:lnTo>
                  <a:lnTo>
                    <a:pt x="17" y="101"/>
                  </a:lnTo>
                  <a:lnTo>
                    <a:pt x="17" y="99"/>
                  </a:lnTo>
                  <a:lnTo>
                    <a:pt x="8" y="86"/>
                  </a:lnTo>
                  <a:lnTo>
                    <a:pt x="5" y="75"/>
                  </a:lnTo>
                  <a:lnTo>
                    <a:pt x="3" y="56"/>
                  </a:lnTo>
                  <a:lnTo>
                    <a:pt x="3" y="34"/>
                  </a:lnTo>
                  <a:lnTo>
                    <a:pt x="7" y="24"/>
                  </a:lnTo>
                  <a:lnTo>
                    <a:pt x="15" y="18"/>
                  </a:lnTo>
                  <a:lnTo>
                    <a:pt x="19" y="12"/>
                  </a:lnTo>
                  <a:lnTo>
                    <a:pt x="19" y="10"/>
                  </a:lnTo>
                  <a:lnTo>
                    <a:pt x="22" y="7"/>
                  </a:lnTo>
                  <a:lnTo>
                    <a:pt x="28" y="5"/>
                  </a:lnTo>
                  <a:lnTo>
                    <a:pt x="32" y="1"/>
                  </a:lnTo>
                  <a:lnTo>
                    <a:pt x="35" y="0"/>
                  </a:lnTo>
                  <a:lnTo>
                    <a:pt x="49" y="8"/>
                  </a:lnTo>
                  <a:lnTo>
                    <a:pt x="61" y="13"/>
                  </a:lnTo>
                  <a:lnTo>
                    <a:pt x="73" y="19"/>
                  </a:lnTo>
                  <a:lnTo>
                    <a:pt x="85" y="21"/>
                  </a:lnTo>
                  <a:lnTo>
                    <a:pt x="98" y="28"/>
                  </a:lnTo>
                  <a:lnTo>
                    <a:pt x="113" y="39"/>
                  </a:lnTo>
                  <a:lnTo>
                    <a:pt x="116" y="40"/>
                  </a:lnTo>
                  <a:lnTo>
                    <a:pt x="130" y="53"/>
                  </a:lnTo>
                  <a:lnTo>
                    <a:pt x="135" y="59"/>
                  </a:lnTo>
                  <a:lnTo>
                    <a:pt x="146" y="65"/>
                  </a:lnTo>
                  <a:lnTo>
                    <a:pt x="156" y="75"/>
                  </a:lnTo>
                  <a:lnTo>
                    <a:pt x="156" y="86"/>
                  </a:lnTo>
                  <a:lnTo>
                    <a:pt x="157" y="86"/>
                  </a:lnTo>
                  <a:lnTo>
                    <a:pt x="144" y="99"/>
                  </a:lnTo>
                  <a:lnTo>
                    <a:pt x="141" y="107"/>
                  </a:lnTo>
                  <a:lnTo>
                    <a:pt x="128" y="125"/>
                  </a:lnTo>
                  <a:lnTo>
                    <a:pt x="118" y="137"/>
                  </a:lnTo>
                  <a:lnTo>
                    <a:pt x="114" y="144"/>
                  </a:lnTo>
                  <a:lnTo>
                    <a:pt x="105" y="166"/>
                  </a:lnTo>
                  <a:lnTo>
                    <a:pt x="78" y="190"/>
                  </a:lnTo>
                  <a:lnTo>
                    <a:pt x="76" y="193"/>
                  </a:lnTo>
                  <a:lnTo>
                    <a:pt x="71" y="195"/>
                  </a:lnTo>
                  <a:lnTo>
                    <a:pt x="61" y="195"/>
                  </a:lnTo>
                  <a:lnTo>
                    <a:pt x="54" y="191"/>
                  </a:lnTo>
                  <a:lnTo>
                    <a:pt x="48" y="191"/>
                  </a:lnTo>
                  <a:lnTo>
                    <a:pt x="44" y="193"/>
                  </a:lnTo>
                  <a:lnTo>
                    <a:pt x="28" y="200"/>
                  </a:lnTo>
                  <a:lnTo>
                    <a:pt x="22" y="200"/>
                  </a:lnTo>
                  <a:lnTo>
                    <a:pt x="19" y="199"/>
                  </a:lnTo>
                  <a:lnTo>
                    <a:pt x="10" y="193"/>
                  </a:lnTo>
                  <a:lnTo>
                    <a:pt x="0" y="18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30" name="Freeform 250">
              <a:extLst>
                <a:ext uri="{FF2B5EF4-FFF2-40B4-BE49-F238E27FC236}">
                  <a16:creationId xmlns:a16="http://schemas.microsoft.com/office/drawing/2014/main" id="{8A42EB8E-D432-6358-1F1C-BBD4F74DF1F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391395" y="4344045"/>
              <a:ext cx="365623" cy="571582"/>
            </a:xfrm>
            <a:custGeom>
              <a:avLst/>
              <a:gdLst>
                <a:gd name="T0" fmla="*/ 2147483647 w 686"/>
                <a:gd name="T1" fmla="*/ 0 h 1005"/>
                <a:gd name="T2" fmla="*/ 2147483647 w 686"/>
                <a:gd name="T3" fmla="*/ 0 h 1005"/>
                <a:gd name="T4" fmla="*/ 0 w 686"/>
                <a:gd name="T5" fmla="*/ 0 h 1005"/>
                <a:gd name="T6" fmla="*/ 0 w 686"/>
                <a:gd name="T7" fmla="*/ 0 h 1005"/>
                <a:gd name="T8" fmla="*/ 0 w 686"/>
                <a:gd name="T9" fmla="*/ 0 h 1005"/>
                <a:gd name="T10" fmla="*/ 0 w 686"/>
                <a:gd name="T11" fmla="*/ 0 h 1005"/>
                <a:gd name="T12" fmla="*/ 0 w 686"/>
                <a:gd name="T13" fmla="*/ 0 h 1005"/>
                <a:gd name="T14" fmla="*/ 0 w 686"/>
                <a:gd name="T15" fmla="*/ 0 h 1005"/>
                <a:gd name="T16" fmla="*/ 0 w 686"/>
                <a:gd name="T17" fmla="*/ 0 h 1005"/>
                <a:gd name="T18" fmla="*/ 0 w 686"/>
                <a:gd name="T19" fmla="*/ 0 h 1005"/>
                <a:gd name="T20" fmla="*/ 0 w 686"/>
                <a:gd name="T21" fmla="*/ 0 h 1005"/>
                <a:gd name="T22" fmla="*/ 0 w 686"/>
                <a:gd name="T23" fmla="*/ 0 h 1005"/>
                <a:gd name="T24" fmla="*/ 0 w 686"/>
                <a:gd name="T25" fmla="*/ 0 h 1005"/>
                <a:gd name="T26" fmla="*/ 0 w 686"/>
                <a:gd name="T27" fmla="*/ 0 h 1005"/>
                <a:gd name="T28" fmla="*/ 0 w 686"/>
                <a:gd name="T29" fmla="*/ 0 h 1005"/>
                <a:gd name="T30" fmla="*/ 0 w 686"/>
                <a:gd name="T31" fmla="*/ 2147483647 h 1005"/>
                <a:gd name="T32" fmla="*/ 0 w 686"/>
                <a:gd name="T33" fmla="*/ 2147483647 h 1005"/>
                <a:gd name="T34" fmla="*/ 0 w 686"/>
                <a:gd name="T35" fmla="*/ 2147483647 h 1005"/>
                <a:gd name="T36" fmla="*/ 0 w 686"/>
                <a:gd name="T37" fmla="*/ 2147483647 h 1005"/>
                <a:gd name="T38" fmla="*/ 0 w 686"/>
                <a:gd name="T39" fmla="*/ 2147483647 h 1005"/>
                <a:gd name="T40" fmla="*/ 0 w 686"/>
                <a:gd name="T41" fmla="*/ 2147483647 h 1005"/>
                <a:gd name="T42" fmla="*/ 0 w 686"/>
                <a:gd name="T43" fmla="*/ 2147483647 h 1005"/>
                <a:gd name="T44" fmla="*/ 0 w 686"/>
                <a:gd name="T45" fmla="*/ 2147483647 h 1005"/>
                <a:gd name="T46" fmla="*/ 2147483647 w 686"/>
                <a:gd name="T47" fmla="*/ 2147483647 h 1005"/>
                <a:gd name="T48" fmla="*/ 2147483647 w 686"/>
                <a:gd name="T49" fmla="*/ 2147483647 h 1005"/>
                <a:gd name="T50" fmla="*/ 2147483647 w 686"/>
                <a:gd name="T51" fmla="*/ 2147483647 h 1005"/>
                <a:gd name="T52" fmla="*/ 2147483647 w 686"/>
                <a:gd name="T53" fmla="*/ 2147483647 h 1005"/>
                <a:gd name="T54" fmla="*/ 2147483647 w 686"/>
                <a:gd name="T55" fmla="*/ 2147483647 h 1005"/>
                <a:gd name="T56" fmla="*/ 2147483647 w 686"/>
                <a:gd name="T57" fmla="*/ 2147483647 h 1005"/>
                <a:gd name="T58" fmla="*/ 2147483647 w 686"/>
                <a:gd name="T59" fmla="*/ 2147483647 h 1005"/>
                <a:gd name="T60" fmla="*/ 2147483647 w 686"/>
                <a:gd name="T61" fmla="*/ 2147483647 h 1005"/>
                <a:gd name="T62" fmla="*/ 2147483647 w 686"/>
                <a:gd name="T63" fmla="*/ 2147483647 h 1005"/>
                <a:gd name="T64" fmla="*/ 2147483647 w 686"/>
                <a:gd name="T65" fmla="*/ 2147483647 h 1005"/>
                <a:gd name="T66" fmla="*/ 2147483647 w 686"/>
                <a:gd name="T67" fmla="*/ 2147483647 h 1005"/>
                <a:gd name="T68" fmla="*/ 2147483647 w 686"/>
                <a:gd name="T69" fmla="*/ 2147483647 h 1005"/>
                <a:gd name="T70" fmla="*/ 2147483647 w 686"/>
                <a:gd name="T71" fmla="*/ 2147483647 h 1005"/>
                <a:gd name="T72" fmla="*/ 2147483647 w 686"/>
                <a:gd name="T73" fmla="*/ 2147483647 h 1005"/>
                <a:gd name="T74" fmla="*/ 2147483647 w 686"/>
                <a:gd name="T75" fmla="*/ 2147483647 h 1005"/>
                <a:gd name="T76" fmla="*/ 2147483647 w 686"/>
                <a:gd name="T77" fmla="*/ 2147483647 h 1005"/>
                <a:gd name="T78" fmla="*/ 2147483647 w 686"/>
                <a:gd name="T79" fmla="*/ 2147483647 h 1005"/>
                <a:gd name="T80" fmla="*/ 2147483647 w 686"/>
                <a:gd name="T81" fmla="*/ 2147483647 h 1005"/>
                <a:gd name="T82" fmla="*/ 2147483647 w 686"/>
                <a:gd name="T83" fmla="*/ 2147483647 h 1005"/>
                <a:gd name="T84" fmla="*/ 2147483647 w 686"/>
                <a:gd name="T85" fmla="*/ 2147483647 h 1005"/>
                <a:gd name="T86" fmla="*/ 2147483647 w 686"/>
                <a:gd name="T87" fmla="*/ 2147483647 h 1005"/>
                <a:gd name="T88" fmla="*/ 2147483647 w 686"/>
                <a:gd name="T89" fmla="*/ 2147483647 h 1005"/>
                <a:gd name="T90" fmla="*/ 2147483647 w 686"/>
                <a:gd name="T91" fmla="*/ 0 h 1005"/>
                <a:gd name="T92" fmla="*/ 2147483647 w 686"/>
                <a:gd name="T93" fmla="*/ 0 h 1005"/>
                <a:gd name="T94" fmla="*/ 2147483647 w 686"/>
                <a:gd name="T95" fmla="*/ 0 h 1005"/>
                <a:gd name="T96" fmla="*/ 2147483647 w 686"/>
                <a:gd name="T97" fmla="*/ 0 h 1005"/>
                <a:gd name="T98" fmla="*/ 2147483647 w 686"/>
                <a:gd name="T99" fmla="*/ 0 h 1005"/>
                <a:gd name="T100" fmla="*/ 2147483647 w 686"/>
                <a:gd name="T101" fmla="*/ 0 h 1005"/>
                <a:gd name="T102" fmla="*/ 2147483647 w 686"/>
                <a:gd name="T103" fmla="*/ 0 h 1005"/>
                <a:gd name="T104" fmla="*/ 2147483647 w 686"/>
                <a:gd name="T105" fmla="*/ 0 h 1005"/>
                <a:gd name="T106" fmla="*/ 2147483647 w 686"/>
                <a:gd name="T107" fmla="*/ 0 h 1005"/>
                <a:gd name="T108" fmla="*/ 2147483647 w 686"/>
                <a:gd name="T109" fmla="*/ 0 h 1005"/>
                <a:gd name="T110" fmla="*/ 2147483647 w 686"/>
                <a:gd name="T111" fmla="*/ 0 h 1005"/>
                <a:gd name="T112" fmla="*/ 2147483647 w 686"/>
                <a:gd name="T113" fmla="*/ 0 h 1005"/>
                <a:gd name="T114" fmla="*/ 2147483647 w 686"/>
                <a:gd name="T115" fmla="*/ 0 h 1005"/>
                <a:gd name="T116" fmla="*/ 2147483647 w 686"/>
                <a:gd name="T117" fmla="*/ 0 h 1005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86"/>
                <a:gd name="T178" fmla="*/ 0 h 1005"/>
                <a:gd name="T179" fmla="*/ 686 w 686"/>
                <a:gd name="T180" fmla="*/ 1005 h 1005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86" h="1005">
                  <a:moveTo>
                    <a:pt x="328" y="0"/>
                  </a:moveTo>
                  <a:lnTo>
                    <a:pt x="326" y="2"/>
                  </a:lnTo>
                  <a:lnTo>
                    <a:pt x="315" y="2"/>
                  </a:lnTo>
                  <a:lnTo>
                    <a:pt x="314" y="11"/>
                  </a:lnTo>
                  <a:lnTo>
                    <a:pt x="319" y="13"/>
                  </a:lnTo>
                  <a:lnTo>
                    <a:pt x="321" y="16"/>
                  </a:lnTo>
                  <a:lnTo>
                    <a:pt x="326" y="27"/>
                  </a:lnTo>
                  <a:lnTo>
                    <a:pt x="327" y="32"/>
                  </a:lnTo>
                  <a:lnTo>
                    <a:pt x="335" y="49"/>
                  </a:lnTo>
                  <a:lnTo>
                    <a:pt x="335" y="50"/>
                  </a:lnTo>
                  <a:lnTo>
                    <a:pt x="326" y="50"/>
                  </a:lnTo>
                  <a:lnTo>
                    <a:pt x="319" y="65"/>
                  </a:lnTo>
                  <a:lnTo>
                    <a:pt x="305" y="89"/>
                  </a:lnTo>
                  <a:lnTo>
                    <a:pt x="292" y="104"/>
                  </a:lnTo>
                  <a:lnTo>
                    <a:pt x="284" y="110"/>
                  </a:lnTo>
                  <a:lnTo>
                    <a:pt x="274" y="119"/>
                  </a:lnTo>
                  <a:lnTo>
                    <a:pt x="265" y="131"/>
                  </a:lnTo>
                  <a:lnTo>
                    <a:pt x="256" y="137"/>
                  </a:lnTo>
                  <a:lnTo>
                    <a:pt x="240" y="145"/>
                  </a:lnTo>
                  <a:lnTo>
                    <a:pt x="204" y="156"/>
                  </a:lnTo>
                  <a:lnTo>
                    <a:pt x="186" y="163"/>
                  </a:lnTo>
                  <a:lnTo>
                    <a:pt x="179" y="168"/>
                  </a:lnTo>
                  <a:lnTo>
                    <a:pt x="176" y="171"/>
                  </a:lnTo>
                  <a:lnTo>
                    <a:pt x="171" y="180"/>
                  </a:lnTo>
                  <a:lnTo>
                    <a:pt x="170" y="190"/>
                  </a:lnTo>
                  <a:lnTo>
                    <a:pt x="166" y="193"/>
                  </a:lnTo>
                  <a:lnTo>
                    <a:pt x="164" y="193"/>
                  </a:lnTo>
                  <a:lnTo>
                    <a:pt x="160" y="189"/>
                  </a:lnTo>
                  <a:lnTo>
                    <a:pt x="159" y="189"/>
                  </a:lnTo>
                  <a:lnTo>
                    <a:pt x="159" y="190"/>
                  </a:lnTo>
                  <a:lnTo>
                    <a:pt x="144" y="210"/>
                  </a:lnTo>
                  <a:lnTo>
                    <a:pt x="142" y="223"/>
                  </a:lnTo>
                  <a:lnTo>
                    <a:pt x="142" y="244"/>
                  </a:lnTo>
                  <a:lnTo>
                    <a:pt x="139" y="252"/>
                  </a:lnTo>
                  <a:lnTo>
                    <a:pt x="138" y="253"/>
                  </a:lnTo>
                  <a:lnTo>
                    <a:pt x="128" y="257"/>
                  </a:lnTo>
                  <a:lnTo>
                    <a:pt x="121" y="264"/>
                  </a:lnTo>
                  <a:lnTo>
                    <a:pt x="110" y="269"/>
                  </a:lnTo>
                  <a:lnTo>
                    <a:pt x="102" y="268"/>
                  </a:lnTo>
                  <a:lnTo>
                    <a:pt x="97" y="260"/>
                  </a:lnTo>
                  <a:lnTo>
                    <a:pt x="95" y="254"/>
                  </a:lnTo>
                  <a:lnTo>
                    <a:pt x="90" y="245"/>
                  </a:lnTo>
                  <a:lnTo>
                    <a:pt x="84" y="245"/>
                  </a:lnTo>
                  <a:lnTo>
                    <a:pt x="74" y="245"/>
                  </a:lnTo>
                  <a:lnTo>
                    <a:pt x="72" y="242"/>
                  </a:lnTo>
                  <a:lnTo>
                    <a:pt x="67" y="238"/>
                  </a:lnTo>
                  <a:lnTo>
                    <a:pt x="58" y="238"/>
                  </a:lnTo>
                  <a:lnTo>
                    <a:pt x="50" y="243"/>
                  </a:lnTo>
                  <a:lnTo>
                    <a:pt x="45" y="244"/>
                  </a:lnTo>
                  <a:lnTo>
                    <a:pt x="43" y="242"/>
                  </a:lnTo>
                  <a:lnTo>
                    <a:pt x="41" y="228"/>
                  </a:lnTo>
                  <a:lnTo>
                    <a:pt x="39" y="223"/>
                  </a:lnTo>
                  <a:lnTo>
                    <a:pt x="39" y="221"/>
                  </a:lnTo>
                  <a:lnTo>
                    <a:pt x="42" y="216"/>
                  </a:lnTo>
                  <a:lnTo>
                    <a:pt x="52" y="214"/>
                  </a:lnTo>
                  <a:lnTo>
                    <a:pt x="57" y="209"/>
                  </a:lnTo>
                  <a:lnTo>
                    <a:pt x="56" y="200"/>
                  </a:lnTo>
                  <a:lnTo>
                    <a:pt x="54" y="198"/>
                  </a:lnTo>
                  <a:lnTo>
                    <a:pt x="52" y="188"/>
                  </a:lnTo>
                  <a:lnTo>
                    <a:pt x="51" y="188"/>
                  </a:lnTo>
                  <a:lnTo>
                    <a:pt x="51" y="185"/>
                  </a:lnTo>
                  <a:lnTo>
                    <a:pt x="43" y="193"/>
                  </a:lnTo>
                  <a:lnTo>
                    <a:pt x="32" y="200"/>
                  </a:lnTo>
                  <a:lnTo>
                    <a:pt x="18" y="216"/>
                  </a:lnTo>
                  <a:lnTo>
                    <a:pt x="3" y="231"/>
                  </a:lnTo>
                  <a:lnTo>
                    <a:pt x="2" y="236"/>
                  </a:lnTo>
                  <a:lnTo>
                    <a:pt x="0" y="245"/>
                  </a:lnTo>
                  <a:lnTo>
                    <a:pt x="3" y="260"/>
                  </a:lnTo>
                  <a:lnTo>
                    <a:pt x="4" y="263"/>
                  </a:lnTo>
                  <a:lnTo>
                    <a:pt x="9" y="271"/>
                  </a:lnTo>
                  <a:lnTo>
                    <a:pt x="10" y="284"/>
                  </a:lnTo>
                  <a:lnTo>
                    <a:pt x="19" y="292"/>
                  </a:lnTo>
                  <a:lnTo>
                    <a:pt x="24" y="298"/>
                  </a:lnTo>
                  <a:lnTo>
                    <a:pt x="24" y="302"/>
                  </a:lnTo>
                  <a:lnTo>
                    <a:pt x="21" y="308"/>
                  </a:lnTo>
                  <a:lnTo>
                    <a:pt x="11" y="318"/>
                  </a:lnTo>
                  <a:lnTo>
                    <a:pt x="14" y="323"/>
                  </a:lnTo>
                  <a:lnTo>
                    <a:pt x="29" y="333"/>
                  </a:lnTo>
                  <a:lnTo>
                    <a:pt x="37" y="340"/>
                  </a:lnTo>
                  <a:lnTo>
                    <a:pt x="51" y="350"/>
                  </a:lnTo>
                  <a:lnTo>
                    <a:pt x="58" y="355"/>
                  </a:lnTo>
                  <a:lnTo>
                    <a:pt x="73" y="367"/>
                  </a:lnTo>
                  <a:lnTo>
                    <a:pt x="80" y="379"/>
                  </a:lnTo>
                  <a:lnTo>
                    <a:pt x="83" y="379"/>
                  </a:lnTo>
                  <a:lnTo>
                    <a:pt x="89" y="387"/>
                  </a:lnTo>
                  <a:lnTo>
                    <a:pt x="97" y="413"/>
                  </a:lnTo>
                  <a:lnTo>
                    <a:pt x="102" y="422"/>
                  </a:lnTo>
                  <a:lnTo>
                    <a:pt x="133" y="452"/>
                  </a:lnTo>
                  <a:lnTo>
                    <a:pt x="139" y="467"/>
                  </a:lnTo>
                  <a:lnTo>
                    <a:pt x="140" y="478"/>
                  </a:lnTo>
                  <a:lnTo>
                    <a:pt x="143" y="484"/>
                  </a:lnTo>
                  <a:lnTo>
                    <a:pt x="155" y="507"/>
                  </a:lnTo>
                  <a:lnTo>
                    <a:pt x="161" y="522"/>
                  </a:lnTo>
                  <a:lnTo>
                    <a:pt x="170" y="549"/>
                  </a:lnTo>
                  <a:lnTo>
                    <a:pt x="188" y="578"/>
                  </a:lnTo>
                  <a:lnTo>
                    <a:pt x="191" y="584"/>
                  </a:lnTo>
                  <a:lnTo>
                    <a:pt x="193" y="608"/>
                  </a:lnTo>
                  <a:lnTo>
                    <a:pt x="199" y="624"/>
                  </a:lnTo>
                  <a:lnTo>
                    <a:pt x="204" y="629"/>
                  </a:lnTo>
                  <a:lnTo>
                    <a:pt x="212" y="632"/>
                  </a:lnTo>
                  <a:lnTo>
                    <a:pt x="217" y="639"/>
                  </a:lnTo>
                  <a:lnTo>
                    <a:pt x="225" y="659"/>
                  </a:lnTo>
                  <a:lnTo>
                    <a:pt x="239" y="678"/>
                  </a:lnTo>
                  <a:lnTo>
                    <a:pt x="249" y="693"/>
                  </a:lnTo>
                  <a:lnTo>
                    <a:pt x="256" y="711"/>
                  </a:lnTo>
                  <a:lnTo>
                    <a:pt x="269" y="726"/>
                  </a:lnTo>
                  <a:lnTo>
                    <a:pt x="274" y="742"/>
                  </a:lnTo>
                  <a:lnTo>
                    <a:pt x="277" y="754"/>
                  </a:lnTo>
                  <a:lnTo>
                    <a:pt x="271" y="758"/>
                  </a:lnTo>
                  <a:lnTo>
                    <a:pt x="267" y="764"/>
                  </a:lnTo>
                  <a:lnTo>
                    <a:pt x="269" y="776"/>
                  </a:lnTo>
                  <a:lnTo>
                    <a:pt x="272" y="780"/>
                  </a:lnTo>
                  <a:lnTo>
                    <a:pt x="283" y="791"/>
                  </a:lnTo>
                  <a:lnTo>
                    <a:pt x="290" y="802"/>
                  </a:lnTo>
                  <a:lnTo>
                    <a:pt x="298" y="807"/>
                  </a:lnTo>
                  <a:lnTo>
                    <a:pt x="317" y="828"/>
                  </a:lnTo>
                  <a:lnTo>
                    <a:pt x="327" y="834"/>
                  </a:lnTo>
                  <a:lnTo>
                    <a:pt x="335" y="842"/>
                  </a:lnTo>
                  <a:lnTo>
                    <a:pt x="359" y="858"/>
                  </a:lnTo>
                  <a:lnTo>
                    <a:pt x="391" y="874"/>
                  </a:lnTo>
                  <a:lnTo>
                    <a:pt x="411" y="890"/>
                  </a:lnTo>
                  <a:lnTo>
                    <a:pt x="414" y="892"/>
                  </a:lnTo>
                  <a:lnTo>
                    <a:pt x="455" y="908"/>
                  </a:lnTo>
                  <a:lnTo>
                    <a:pt x="478" y="921"/>
                  </a:lnTo>
                  <a:lnTo>
                    <a:pt x="481" y="922"/>
                  </a:lnTo>
                  <a:lnTo>
                    <a:pt x="486" y="922"/>
                  </a:lnTo>
                  <a:lnTo>
                    <a:pt x="491" y="923"/>
                  </a:lnTo>
                  <a:lnTo>
                    <a:pt x="513" y="941"/>
                  </a:lnTo>
                  <a:lnTo>
                    <a:pt x="525" y="948"/>
                  </a:lnTo>
                  <a:lnTo>
                    <a:pt x="532" y="957"/>
                  </a:lnTo>
                  <a:lnTo>
                    <a:pt x="541" y="964"/>
                  </a:lnTo>
                  <a:lnTo>
                    <a:pt x="551" y="974"/>
                  </a:lnTo>
                  <a:lnTo>
                    <a:pt x="562" y="989"/>
                  </a:lnTo>
                  <a:lnTo>
                    <a:pt x="574" y="995"/>
                  </a:lnTo>
                  <a:lnTo>
                    <a:pt x="584" y="1001"/>
                  </a:lnTo>
                  <a:lnTo>
                    <a:pt x="585" y="1001"/>
                  </a:lnTo>
                  <a:lnTo>
                    <a:pt x="589" y="1005"/>
                  </a:lnTo>
                  <a:lnTo>
                    <a:pt x="599" y="996"/>
                  </a:lnTo>
                  <a:lnTo>
                    <a:pt x="601" y="996"/>
                  </a:lnTo>
                  <a:lnTo>
                    <a:pt x="620" y="995"/>
                  </a:lnTo>
                  <a:lnTo>
                    <a:pt x="626" y="992"/>
                  </a:lnTo>
                  <a:lnTo>
                    <a:pt x="627" y="991"/>
                  </a:lnTo>
                  <a:lnTo>
                    <a:pt x="628" y="982"/>
                  </a:lnTo>
                  <a:lnTo>
                    <a:pt x="634" y="973"/>
                  </a:lnTo>
                  <a:lnTo>
                    <a:pt x="638" y="968"/>
                  </a:lnTo>
                  <a:lnTo>
                    <a:pt x="642" y="966"/>
                  </a:lnTo>
                  <a:lnTo>
                    <a:pt x="638" y="960"/>
                  </a:lnTo>
                  <a:lnTo>
                    <a:pt x="636" y="960"/>
                  </a:lnTo>
                  <a:lnTo>
                    <a:pt x="637" y="954"/>
                  </a:lnTo>
                  <a:lnTo>
                    <a:pt x="649" y="935"/>
                  </a:lnTo>
                  <a:lnTo>
                    <a:pt x="659" y="923"/>
                  </a:lnTo>
                  <a:lnTo>
                    <a:pt x="671" y="906"/>
                  </a:lnTo>
                  <a:lnTo>
                    <a:pt x="672" y="896"/>
                  </a:lnTo>
                  <a:lnTo>
                    <a:pt x="671" y="893"/>
                  </a:lnTo>
                  <a:lnTo>
                    <a:pt x="665" y="888"/>
                  </a:lnTo>
                  <a:lnTo>
                    <a:pt x="660" y="885"/>
                  </a:lnTo>
                  <a:lnTo>
                    <a:pt x="656" y="880"/>
                  </a:lnTo>
                  <a:lnTo>
                    <a:pt x="654" y="879"/>
                  </a:lnTo>
                  <a:lnTo>
                    <a:pt x="653" y="873"/>
                  </a:lnTo>
                  <a:lnTo>
                    <a:pt x="651" y="865"/>
                  </a:lnTo>
                  <a:lnTo>
                    <a:pt x="653" y="851"/>
                  </a:lnTo>
                  <a:lnTo>
                    <a:pt x="658" y="842"/>
                  </a:lnTo>
                  <a:lnTo>
                    <a:pt x="663" y="839"/>
                  </a:lnTo>
                  <a:lnTo>
                    <a:pt x="665" y="831"/>
                  </a:lnTo>
                  <a:lnTo>
                    <a:pt x="665" y="826"/>
                  </a:lnTo>
                  <a:lnTo>
                    <a:pt x="664" y="820"/>
                  </a:lnTo>
                  <a:lnTo>
                    <a:pt x="654" y="809"/>
                  </a:lnTo>
                  <a:lnTo>
                    <a:pt x="654" y="806"/>
                  </a:lnTo>
                  <a:lnTo>
                    <a:pt x="658" y="799"/>
                  </a:lnTo>
                  <a:lnTo>
                    <a:pt x="671" y="793"/>
                  </a:lnTo>
                  <a:lnTo>
                    <a:pt x="672" y="791"/>
                  </a:lnTo>
                  <a:lnTo>
                    <a:pt x="672" y="772"/>
                  </a:lnTo>
                  <a:lnTo>
                    <a:pt x="669" y="754"/>
                  </a:lnTo>
                  <a:lnTo>
                    <a:pt x="669" y="743"/>
                  </a:lnTo>
                  <a:lnTo>
                    <a:pt x="671" y="724"/>
                  </a:lnTo>
                  <a:lnTo>
                    <a:pt x="671" y="700"/>
                  </a:lnTo>
                  <a:lnTo>
                    <a:pt x="676" y="689"/>
                  </a:lnTo>
                  <a:lnTo>
                    <a:pt x="683" y="680"/>
                  </a:lnTo>
                  <a:lnTo>
                    <a:pt x="686" y="678"/>
                  </a:lnTo>
                  <a:lnTo>
                    <a:pt x="686" y="675"/>
                  </a:lnTo>
                  <a:lnTo>
                    <a:pt x="671" y="652"/>
                  </a:lnTo>
                  <a:lnTo>
                    <a:pt x="637" y="593"/>
                  </a:lnTo>
                  <a:lnTo>
                    <a:pt x="620" y="594"/>
                  </a:lnTo>
                  <a:lnTo>
                    <a:pt x="612" y="598"/>
                  </a:lnTo>
                  <a:lnTo>
                    <a:pt x="605" y="600"/>
                  </a:lnTo>
                  <a:lnTo>
                    <a:pt x="600" y="600"/>
                  </a:lnTo>
                  <a:lnTo>
                    <a:pt x="594" y="597"/>
                  </a:lnTo>
                  <a:lnTo>
                    <a:pt x="591" y="593"/>
                  </a:lnTo>
                  <a:lnTo>
                    <a:pt x="591" y="564"/>
                  </a:lnTo>
                  <a:lnTo>
                    <a:pt x="591" y="560"/>
                  </a:lnTo>
                  <a:lnTo>
                    <a:pt x="591" y="506"/>
                  </a:lnTo>
                  <a:lnTo>
                    <a:pt x="591" y="503"/>
                  </a:lnTo>
                  <a:lnTo>
                    <a:pt x="588" y="505"/>
                  </a:lnTo>
                  <a:lnTo>
                    <a:pt x="578" y="514"/>
                  </a:lnTo>
                  <a:lnTo>
                    <a:pt x="556" y="530"/>
                  </a:lnTo>
                  <a:lnTo>
                    <a:pt x="538" y="540"/>
                  </a:lnTo>
                  <a:lnTo>
                    <a:pt x="530" y="541"/>
                  </a:lnTo>
                  <a:lnTo>
                    <a:pt x="515" y="540"/>
                  </a:lnTo>
                  <a:lnTo>
                    <a:pt x="502" y="537"/>
                  </a:lnTo>
                  <a:lnTo>
                    <a:pt x="499" y="533"/>
                  </a:lnTo>
                  <a:lnTo>
                    <a:pt x="497" y="522"/>
                  </a:lnTo>
                  <a:lnTo>
                    <a:pt x="493" y="517"/>
                  </a:lnTo>
                  <a:lnTo>
                    <a:pt x="488" y="513"/>
                  </a:lnTo>
                  <a:lnTo>
                    <a:pt x="468" y="512"/>
                  </a:lnTo>
                  <a:lnTo>
                    <a:pt x="456" y="508"/>
                  </a:lnTo>
                  <a:lnTo>
                    <a:pt x="455" y="505"/>
                  </a:lnTo>
                  <a:lnTo>
                    <a:pt x="461" y="495"/>
                  </a:lnTo>
                  <a:lnTo>
                    <a:pt x="460" y="486"/>
                  </a:lnTo>
                  <a:lnTo>
                    <a:pt x="450" y="480"/>
                  </a:lnTo>
                  <a:lnTo>
                    <a:pt x="438" y="467"/>
                  </a:lnTo>
                  <a:lnTo>
                    <a:pt x="434" y="459"/>
                  </a:lnTo>
                  <a:lnTo>
                    <a:pt x="425" y="448"/>
                  </a:lnTo>
                  <a:lnTo>
                    <a:pt x="424" y="444"/>
                  </a:lnTo>
                  <a:lnTo>
                    <a:pt x="422" y="432"/>
                  </a:lnTo>
                  <a:lnTo>
                    <a:pt x="411" y="409"/>
                  </a:lnTo>
                  <a:lnTo>
                    <a:pt x="411" y="405"/>
                  </a:lnTo>
                  <a:lnTo>
                    <a:pt x="412" y="401"/>
                  </a:lnTo>
                  <a:lnTo>
                    <a:pt x="424" y="379"/>
                  </a:lnTo>
                  <a:lnTo>
                    <a:pt x="428" y="362"/>
                  </a:lnTo>
                  <a:lnTo>
                    <a:pt x="432" y="357"/>
                  </a:lnTo>
                  <a:lnTo>
                    <a:pt x="441" y="355"/>
                  </a:lnTo>
                  <a:lnTo>
                    <a:pt x="450" y="354"/>
                  </a:lnTo>
                  <a:lnTo>
                    <a:pt x="450" y="324"/>
                  </a:lnTo>
                  <a:lnTo>
                    <a:pt x="452" y="318"/>
                  </a:lnTo>
                  <a:lnTo>
                    <a:pt x="461" y="302"/>
                  </a:lnTo>
                  <a:lnTo>
                    <a:pt x="470" y="290"/>
                  </a:lnTo>
                  <a:lnTo>
                    <a:pt x="483" y="274"/>
                  </a:lnTo>
                  <a:lnTo>
                    <a:pt x="494" y="265"/>
                  </a:lnTo>
                  <a:lnTo>
                    <a:pt x="510" y="254"/>
                  </a:lnTo>
                  <a:lnTo>
                    <a:pt x="529" y="247"/>
                  </a:lnTo>
                  <a:lnTo>
                    <a:pt x="580" y="232"/>
                  </a:lnTo>
                  <a:lnTo>
                    <a:pt x="593" y="227"/>
                  </a:lnTo>
                  <a:lnTo>
                    <a:pt x="613" y="228"/>
                  </a:lnTo>
                  <a:lnTo>
                    <a:pt x="620" y="225"/>
                  </a:lnTo>
                  <a:lnTo>
                    <a:pt x="621" y="222"/>
                  </a:lnTo>
                  <a:lnTo>
                    <a:pt x="613" y="221"/>
                  </a:lnTo>
                  <a:lnTo>
                    <a:pt x="605" y="210"/>
                  </a:lnTo>
                  <a:lnTo>
                    <a:pt x="600" y="206"/>
                  </a:lnTo>
                  <a:lnTo>
                    <a:pt x="596" y="205"/>
                  </a:lnTo>
                  <a:lnTo>
                    <a:pt x="591" y="206"/>
                  </a:lnTo>
                  <a:lnTo>
                    <a:pt x="586" y="205"/>
                  </a:lnTo>
                  <a:lnTo>
                    <a:pt x="585" y="202"/>
                  </a:lnTo>
                  <a:lnTo>
                    <a:pt x="585" y="193"/>
                  </a:lnTo>
                  <a:lnTo>
                    <a:pt x="593" y="182"/>
                  </a:lnTo>
                  <a:lnTo>
                    <a:pt x="605" y="169"/>
                  </a:lnTo>
                  <a:lnTo>
                    <a:pt x="611" y="162"/>
                  </a:lnTo>
                  <a:lnTo>
                    <a:pt x="615" y="155"/>
                  </a:lnTo>
                  <a:lnTo>
                    <a:pt x="615" y="150"/>
                  </a:lnTo>
                  <a:lnTo>
                    <a:pt x="605" y="137"/>
                  </a:lnTo>
                  <a:lnTo>
                    <a:pt x="588" y="128"/>
                  </a:lnTo>
                  <a:lnTo>
                    <a:pt x="572" y="121"/>
                  </a:lnTo>
                  <a:lnTo>
                    <a:pt x="564" y="120"/>
                  </a:lnTo>
                  <a:lnTo>
                    <a:pt x="562" y="120"/>
                  </a:lnTo>
                  <a:lnTo>
                    <a:pt x="553" y="126"/>
                  </a:lnTo>
                  <a:lnTo>
                    <a:pt x="545" y="128"/>
                  </a:lnTo>
                  <a:lnTo>
                    <a:pt x="537" y="126"/>
                  </a:lnTo>
                  <a:lnTo>
                    <a:pt x="532" y="121"/>
                  </a:lnTo>
                  <a:lnTo>
                    <a:pt x="525" y="120"/>
                  </a:lnTo>
                  <a:lnTo>
                    <a:pt x="516" y="120"/>
                  </a:lnTo>
                  <a:lnTo>
                    <a:pt x="513" y="121"/>
                  </a:lnTo>
                  <a:lnTo>
                    <a:pt x="509" y="125"/>
                  </a:lnTo>
                  <a:lnTo>
                    <a:pt x="505" y="126"/>
                  </a:lnTo>
                  <a:lnTo>
                    <a:pt x="503" y="130"/>
                  </a:lnTo>
                  <a:lnTo>
                    <a:pt x="499" y="132"/>
                  </a:lnTo>
                  <a:lnTo>
                    <a:pt x="492" y="134"/>
                  </a:lnTo>
                  <a:lnTo>
                    <a:pt x="488" y="134"/>
                  </a:lnTo>
                  <a:lnTo>
                    <a:pt x="480" y="130"/>
                  </a:lnTo>
                  <a:lnTo>
                    <a:pt x="466" y="129"/>
                  </a:lnTo>
                  <a:lnTo>
                    <a:pt x="461" y="130"/>
                  </a:lnTo>
                  <a:lnTo>
                    <a:pt x="451" y="129"/>
                  </a:lnTo>
                  <a:lnTo>
                    <a:pt x="446" y="124"/>
                  </a:lnTo>
                  <a:lnTo>
                    <a:pt x="443" y="119"/>
                  </a:lnTo>
                  <a:lnTo>
                    <a:pt x="443" y="97"/>
                  </a:lnTo>
                  <a:lnTo>
                    <a:pt x="438" y="96"/>
                  </a:lnTo>
                  <a:lnTo>
                    <a:pt x="429" y="96"/>
                  </a:lnTo>
                  <a:lnTo>
                    <a:pt x="425" y="93"/>
                  </a:lnTo>
                  <a:lnTo>
                    <a:pt x="424" y="89"/>
                  </a:lnTo>
                  <a:lnTo>
                    <a:pt x="421" y="81"/>
                  </a:lnTo>
                  <a:lnTo>
                    <a:pt x="419" y="69"/>
                  </a:lnTo>
                  <a:lnTo>
                    <a:pt x="416" y="62"/>
                  </a:lnTo>
                  <a:lnTo>
                    <a:pt x="411" y="59"/>
                  </a:lnTo>
                  <a:lnTo>
                    <a:pt x="405" y="56"/>
                  </a:lnTo>
                  <a:lnTo>
                    <a:pt x="400" y="56"/>
                  </a:lnTo>
                  <a:lnTo>
                    <a:pt x="394" y="55"/>
                  </a:lnTo>
                  <a:lnTo>
                    <a:pt x="391" y="50"/>
                  </a:lnTo>
                  <a:lnTo>
                    <a:pt x="385" y="46"/>
                  </a:lnTo>
                  <a:lnTo>
                    <a:pt x="380" y="38"/>
                  </a:lnTo>
                  <a:lnTo>
                    <a:pt x="375" y="24"/>
                  </a:lnTo>
                  <a:lnTo>
                    <a:pt x="366" y="21"/>
                  </a:lnTo>
                  <a:lnTo>
                    <a:pt x="362" y="17"/>
                  </a:lnTo>
                  <a:lnTo>
                    <a:pt x="357" y="8"/>
                  </a:lnTo>
                  <a:lnTo>
                    <a:pt x="352" y="6"/>
                  </a:lnTo>
                  <a:lnTo>
                    <a:pt x="342" y="3"/>
                  </a:lnTo>
                  <a:lnTo>
                    <a:pt x="332" y="0"/>
                  </a:lnTo>
                  <a:lnTo>
                    <a:pt x="328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31" name="Freeform 251">
              <a:extLst>
                <a:ext uri="{FF2B5EF4-FFF2-40B4-BE49-F238E27FC236}">
                  <a16:creationId xmlns:a16="http://schemas.microsoft.com/office/drawing/2014/main" id="{792DA1F2-D46E-2B4F-CE31-C55FD31A697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624201" y="5032991"/>
              <a:ext cx="576044" cy="1219375"/>
            </a:xfrm>
            <a:custGeom>
              <a:avLst/>
              <a:gdLst>
                <a:gd name="T0" fmla="*/ 0 w 1080"/>
                <a:gd name="T1" fmla="*/ 2147483647 h 2146"/>
                <a:gd name="T2" fmla="*/ 0 w 1080"/>
                <a:gd name="T3" fmla="*/ 2147483647 h 2146"/>
                <a:gd name="T4" fmla="*/ 0 w 1080"/>
                <a:gd name="T5" fmla="*/ 2147483647 h 2146"/>
                <a:gd name="T6" fmla="*/ 0 w 1080"/>
                <a:gd name="T7" fmla="*/ 2147483647 h 2146"/>
                <a:gd name="T8" fmla="*/ 0 w 1080"/>
                <a:gd name="T9" fmla="*/ 2147483647 h 2146"/>
                <a:gd name="T10" fmla="*/ 0 w 1080"/>
                <a:gd name="T11" fmla="*/ 2147483647 h 2146"/>
                <a:gd name="T12" fmla="*/ 0 w 1080"/>
                <a:gd name="T13" fmla="*/ 2147483647 h 2146"/>
                <a:gd name="T14" fmla="*/ 0 w 1080"/>
                <a:gd name="T15" fmla="*/ 2147483647 h 2146"/>
                <a:gd name="T16" fmla="*/ 0 w 1080"/>
                <a:gd name="T17" fmla="*/ 2147483647 h 2146"/>
                <a:gd name="T18" fmla="*/ 0 w 1080"/>
                <a:gd name="T19" fmla="*/ 2147483647 h 2146"/>
                <a:gd name="T20" fmla="*/ 0 w 1080"/>
                <a:gd name="T21" fmla="*/ 2147483647 h 2146"/>
                <a:gd name="T22" fmla="*/ 0 w 1080"/>
                <a:gd name="T23" fmla="*/ 2147483647 h 2146"/>
                <a:gd name="T24" fmla="*/ 0 w 1080"/>
                <a:gd name="T25" fmla="*/ 2147483647 h 2146"/>
                <a:gd name="T26" fmla="*/ 0 w 1080"/>
                <a:gd name="T27" fmla="*/ 2147483647 h 2146"/>
                <a:gd name="T28" fmla="*/ 0 w 1080"/>
                <a:gd name="T29" fmla="*/ 2147483647 h 2146"/>
                <a:gd name="T30" fmla="*/ 0 w 1080"/>
                <a:gd name="T31" fmla="*/ 2147483647 h 2146"/>
                <a:gd name="T32" fmla="*/ 0 w 1080"/>
                <a:gd name="T33" fmla="*/ 2147483647 h 2146"/>
                <a:gd name="T34" fmla="*/ 0 w 1080"/>
                <a:gd name="T35" fmla="*/ 2147483647 h 2146"/>
                <a:gd name="T36" fmla="*/ 0 w 1080"/>
                <a:gd name="T37" fmla="*/ 2147483647 h 2146"/>
                <a:gd name="T38" fmla="*/ 0 w 1080"/>
                <a:gd name="T39" fmla="*/ 0 h 2146"/>
                <a:gd name="T40" fmla="*/ 0 w 1080"/>
                <a:gd name="T41" fmla="*/ 0 h 2146"/>
                <a:gd name="T42" fmla="*/ 2147483647 w 1080"/>
                <a:gd name="T43" fmla="*/ 0 h 2146"/>
                <a:gd name="T44" fmla="*/ 2147483647 w 1080"/>
                <a:gd name="T45" fmla="*/ 0 h 2146"/>
                <a:gd name="T46" fmla="*/ 2147483647 w 1080"/>
                <a:gd name="T47" fmla="*/ 0 h 2146"/>
                <a:gd name="T48" fmla="*/ 2147483647 w 1080"/>
                <a:gd name="T49" fmla="*/ 0 h 2146"/>
                <a:gd name="T50" fmla="*/ 2147483647 w 1080"/>
                <a:gd name="T51" fmla="*/ 0 h 2146"/>
                <a:gd name="T52" fmla="*/ 2147483647 w 1080"/>
                <a:gd name="T53" fmla="*/ 0 h 2146"/>
                <a:gd name="T54" fmla="*/ 2147483647 w 1080"/>
                <a:gd name="T55" fmla="*/ 0 h 2146"/>
                <a:gd name="T56" fmla="*/ 2147483647 w 1080"/>
                <a:gd name="T57" fmla="*/ 0 h 2146"/>
                <a:gd name="T58" fmla="*/ 2147483647 w 1080"/>
                <a:gd name="T59" fmla="*/ 0 h 2146"/>
                <a:gd name="T60" fmla="*/ 2147483647 w 1080"/>
                <a:gd name="T61" fmla="*/ 0 h 2146"/>
                <a:gd name="T62" fmla="*/ 2147483647 w 1080"/>
                <a:gd name="T63" fmla="*/ 2147483647 h 2146"/>
                <a:gd name="T64" fmla="*/ 2147483647 w 1080"/>
                <a:gd name="T65" fmla="*/ 2147483647 h 2146"/>
                <a:gd name="T66" fmla="*/ 2147483647 w 1080"/>
                <a:gd name="T67" fmla="*/ 0 h 2146"/>
                <a:gd name="T68" fmla="*/ 2147483647 w 1080"/>
                <a:gd name="T69" fmla="*/ 0 h 2146"/>
                <a:gd name="T70" fmla="*/ 2147483647 w 1080"/>
                <a:gd name="T71" fmla="*/ 2147483647 h 2146"/>
                <a:gd name="T72" fmla="*/ 2147483647 w 1080"/>
                <a:gd name="T73" fmla="*/ 2147483647 h 2146"/>
                <a:gd name="T74" fmla="*/ 2147483647 w 1080"/>
                <a:gd name="T75" fmla="*/ 2147483647 h 2146"/>
                <a:gd name="T76" fmla="*/ 2147483647 w 1080"/>
                <a:gd name="T77" fmla="*/ 2147483647 h 2146"/>
                <a:gd name="T78" fmla="*/ 2147483647 w 1080"/>
                <a:gd name="T79" fmla="*/ 2147483647 h 2146"/>
                <a:gd name="T80" fmla="*/ 2147483647 w 1080"/>
                <a:gd name="T81" fmla="*/ 2147483647 h 2146"/>
                <a:gd name="T82" fmla="*/ 2147483647 w 1080"/>
                <a:gd name="T83" fmla="*/ 2147483647 h 2146"/>
                <a:gd name="T84" fmla="*/ 2147483647 w 1080"/>
                <a:gd name="T85" fmla="*/ 2147483647 h 2146"/>
                <a:gd name="T86" fmla="*/ 2147483647 w 1080"/>
                <a:gd name="T87" fmla="*/ 2147483647 h 2146"/>
                <a:gd name="T88" fmla="*/ 2147483647 w 1080"/>
                <a:gd name="T89" fmla="*/ 2147483647 h 2146"/>
                <a:gd name="T90" fmla="*/ 2147483647 w 1080"/>
                <a:gd name="T91" fmla="*/ 2147483647 h 2146"/>
                <a:gd name="T92" fmla="*/ 2147483647 w 1080"/>
                <a:gd name="T93" fmla="*/ 2147483647 h 2146"/>
                <a:gd name="T94" fmla="*/ 2147483647 w 1080"/>
                <a:gd name="T95" fmla="*/ 2147483647 h 2146"/>
                <a:gd name="T96" fmla="*/ 2147483647 w 1080"/>
                <a:gd name="T97" fmla="*/ 2147483647 h 2146"/>
                <a:gd name="T98" fmla="*/ 2147483647 w 1080"/>
                <a:gd name="T99" fmla="*/ 2147483647 h 2146"/>
                <a:gd name="T100" fmla="*/ 2147483647 w 1080"/>
                <a:gd name="T101" fmla="*/ 2147483647 h 2146"/>
                <a:gd name="T102" fmla="*/ 2147483647 w 1080"/>
                <a:gd name="T103" fmla="*/ 2147483647 h 2146"/>
                <a:gd name="T104" fmla="*/ 2147483647 w 1080"/>
                <a:gd name="T105" fmla="*/ 2147483647 h 2146"/>
                <a:gd name="T106" fmla="*/ 2147483647 w 1080"/>
                <a:gd name="T107" fmla="*/ 2147483647 h 2146"/>
                <a:gd name="T108" fmla="*/ 2147483647 w 1080"/>
                <a:gd name="T109" fmla="*/ 2147483647 h 2146"/>
                <a:gd name="T110" fmla="*/ 2147483647 w 1080"/>
                <a:gd name="T111" fmla="*/ 2147483647 h 2146"/>
                <a:gd name="T112" fmla="*/ 2147483647 w 1080"/>
                <a:gd name="T113" fmla="*/ 2147483647 h 2146"/>
                <a:gd name="T114" fmla="*/ 0 w 1080"/>
                <a:gd name="T115" fmla="*/ 2147483647 h 2146"/>
                <a:gd name="T116" fmla="*/ 0 w 1080"/>
                <a:gd name="T117" fmla="*/ 2147483647 h 2146"/>
                <a:gd name="T118" fmla="*/ 0 w 1080"/>
                <a:gd name="T119" fmla="*/ 2147483647 h 214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080"/>
                <a:gd name="T181" fmla="*/ 0 h 2146"/>
                <a:gd name="T182" fmla="*/ 1080 w 1080"/>
                <a:gd name="T183" fmla="*/ 2146 h 214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080" h="2146">
                  <a:moveTo>
                    <a:pt x="275" y="2146"/>
                  </a:moveTo>
                  <a:lnTo>
                    <a:pt x="270" y="2145"/>
                  </a:lnTo>
                  <a:lnTo>
                    <a:pt x="256" y="2136"/>
                  </a:lnTo>
                  <a:lnTo>
                    <a:pt x="224" y="2131"/>
                  </a:lnTo>
                  <a:lnTo>
                    <a:pt x="198" y="2123"/>
                  </a:lnTo>
                  <a:lnTo>
                    <a:pt x="187" y="2121"/>
                  </a:lnTo>
                  <a:lnTo>
                    <a:pt x="170" y="2125"/>
                  </a:lnTo>
                  <a:lnTo>
                    <a:pt x="150" y="2125"/>
                  </a:lnTo>
                  <a:lnTo>
                    <a:pt x="145" y="2125"/>
                  </a:lnTo>
                  <a:lnTo>
                    <a:pt x="140" y="2124"/>
                  </a:lnTo>
                  <a:lnTo>
                    <a:pt x="85" y="2124"/>
                  </a:lnTo>
                  <a:lnTo>
                    <a:pt x="71" y="2118"/>
                  </a:lnTo>
                  <a:lnTo>
                    <a:pt x="66" y="2113"/>
                  </a:lnTo>
                  <a:lnTo>
                    <a:pt x="60" y="2099"/>
                  </a:lnTo>
                  <a:lnTo>
                    <a:pt x="59" y="2094"/>
                  </a:lnTo>
                  <a:lnTo>
                    <a:pt x="60" y="2037"/>
                  </a:lnTo>
                  <a:lnTo>
                    <a:pt x="59" y="2022"/>
                  </a:lnTo>
                  <a:lnTo>
                    <a:pt x="57" y="2003"/>
                  </a:lnTo>
                  <a:lnTo>
                    <a:pt x="55" y="2001"/>
                  </a:lnTo>
                  <a:lnTo>
                    <a:pt x="50" y="2000"/>
                  </a:lnTo>
                  <a:lnTo>
                    <a:pt x="49" y="2000"/>
                  </a:lnTo>
                  <a:lnTo>
                    <a:pt x="44" y="2006"/>
                  </a:lnTo>
                  <a:lnTo>
                    <a:pt x="26" y="2002"/>
                  </a:lnTo>
                  <a:lnTo>
                    <a:pt x="17" y="2007"/>
                  </a:lnTo>
                  <a:lnTo>
                    <a:pt x="14" y="2015"/>
                  </a:lnTo>
                  <a:lnTo>
                    <a:pt x="10" y="2018"/>
                  </a:lnTo>
                  <a:lnTo>
                    <a:pt x="6" y="2016"/>
                  </a:lnTo>
                  <a:lnTo>
                    <a:pt x="4" y="2010"/>
                  </a:lnTo>
                  <a:lnTo>
                    <a:pt x="1" y="1995"/>
                  </a:lnTo>
                  <a:lnTo>
                    <a:pt x="0" y="1992"/>
                  </a:lnTo>
                  <a:lnTo>
                    <a:pt x="0" y="1962"/>
                  </a:lnTo>
                  <a:lnTo>
                    <a:pt x="1" y="1952"/>
                  </a:lnTo>
                  <a:lnTo>
                    <a:pt x="1" y="1940"/>
                  </a:lnTo>
                  <a:lnTo>
                    <a:pt x="9" y="1908"/>
                  </a:lnTo>
                  <a:lnTo>
                    <a:pt x="14" y="1897"/>
                  </a:lnTo>
                  <a:lnTo>
                    <a:pt x="18" y="1893"/>
                  </a:lnTo>
                  <a:lnTo>
                    <a:pt x="32" y="1866"/>
                  </a:lnTo>
                  <a:lnTo>
                    <a:pt x="43" y="1852"/>
                  </a:lnTo>
                  <a:lnTo>
                    <a:pt x="46" y="1847"/>
                  </a:lnTo>
                  <a:lnTo>
                    <a:pt x="49" y="1834"/>
                  </a:lnTo>
                  <a:lnTo>
                    <a:pt x="52" y="1813"/>
                  </a:lnTo>
                  <a:lnTo>
                    <a:pt x="53" y="1809"/>
                  </a:lnTo>
                  <a:lnTo>
                    <a:pt x="57" y="1807"/>
                  </a:lnTo>
                  <a:lnTo>
                    <a:pt x="57" y="1798"/>
                  </a:lnTo>
                  <a:lnTo>
                    <a:pt x="55" y="1787"/>
                  </a:lnTo>
                  <a:lnTo>
                    <a:pt x="52" y="1781"/>
                  </a:lnTo>
                  <a:lnTo>
                    <a:pt x="52" y="1773"/>
                  </a:lnTo>
                  <a:lnTo>
                    <a:pt x="52" y="1758"/>
                  </a:lnTo>
                  <a:lnTo>
                    <a:pt x="53" y="1752"/>
                  </a:lnTo>
                  <a:lnTo>
                    <a:pt x="57" y="1746"/>
                  </a:lnTo>
                  <a:lnTo>
                    <a:pt x="70" y="1727"/>
                  </a:lnTo>
                  <a:lnTo>
                    <a:pt x="80" y="1709"/>
                  </a:lnTo>
                  <a:lnTo>
                    <a:pt x="81" y="1699"/>
                  </a:lnTo>
                  <a:lnTo>
                    <a:pt x="89" y="1684"/>
                  </a:lnTo>
                  <a:lnTo>
                    <a:pt x="93" y="1669"/>
                  </a:lnTo>
                  <a:lnTo>
                    <a:pt x="95" y="1631"/>
                  </a:lnTo>
                  <a:lnTo>
                    <a:pt x="93" y="1624"/>
                  </a:lnTo>
                  <a:lnTo>
                    <a:pt x="93" y="1612"/>
                  </a:lnTo>
                  <a:lnTo>
                    <a:pt x="95" y="1607"/>
                  </a:lnTo>
                  <a:lnTo>
                    <a:pt x="95" y="1580"/>
                  </a:lnTo>
                  <a:lnTo>
                    <a:pt x="96" y="1571"/>
                  </a:lnTo>
                  <a:lnTo>
                    <a:pt x="100" y="1566"/>
                  </a:lnTo>
                  <a:lnTo>
                    <a:pt x="104" y="1561"/>
                  </a:lnTo>
                  <a:lnTo>
                    <a:pt x="104" y="1550"/>
                  </a:lnTo>
                  <a:lnTo>
                    <a:pt x="95" y="1539"/>
                  </a:lnTo>
                  <a:lnTo>
                    <a:pt x="81" y="1533"/>
                  </a:lnTo>
                  <a:lnTo>
                    <a:pt x="77" y="1523"/>
                  </a:lnTo>
                  <a:lnTo>
                    <a:pt x="81" y="1521"/>
                  </a:lnTo>
                  <a:lnTo>
                    <a:pt x="97" y="1523"/>
                  </a:lnTo>
                  <a:lnTo>
                    <a:pt x="111" y="1522"/>
                  </a:lnTo>
                  <a:lnTo>
                    <a:pt x="113" y="1513"/>
                  </a:lnTo>
                  <a:lnTo>
                    <a:pt x="112" y="1505"/>
                  </a:lnTo>
                  <a:lnTo>
                    <a:pt x="104" y="1496"/>
                  </a:lnTo>
                  <a:lnTo>
                    <a:pt x="90" y="1491"/>
                  </a:lnTo>
                  <a:lnTo>
                    <a:pt x="82" y="1491"/>
                  </a:lnTo>
                  <a:lnTo>
                    <a:pt x="82" y="1486"/>
                  </a:lnTo>
                  <a:lnTo>
                    <a:pt x="86" y="1457"/>
                  </a:lnTo>
                  <a:lnTo>
                    <a:pt x="85" y="1442"/>
                  </a:lnTo>
                  <a:lnTo>
                    <a:pt x="79" y="1432"/>
                  </a:lnTo>
                  <a:lnTo>
                    <a:pt x="77" y="1427"/>
                  </a:lnTo>
                  <a:lnTo>
                    <a:pt x="79" y="1400"/>
                  </a:lnTo>
                  <a:lnTo>
                    <a:pt x="77" y="1395"/>
                  </a:lnTo>
                  <a:lnTo>
                    <a:pt x="74" y="1392"/>
                  </a:lnTo>
                  <a:lnTo>
                    <a:pt x="71" y="1387"/>
                  </a:lnTo>
                  <a:lnTo>
                    <a:pt x="71" y="1351"/>
                  </a:lnTo>
                  <a:lnTo>
                    <a:pt x="77" y="1329"/>
                  </a:lnTo>
                  <a:lnTo>
                    <a:pt x="86" y="1317"/>
                  </a:lnTo>
                  <a:lnTo>
                    <a:pt x="90" y="1308"/>
                  </a:lnTo>
                  <a:lnTo>
                    <a:pt x="91" y="1303"/>
                  </a:lnTo>
                  <a:lnTo>
                    <a:pt x="91" y="1291"/>
                  </a:lnTo>
                  <a:lnTo>
                    <a:pt x="90" y="1287"/>
                  </a:lnTo>
                  <a:lnTo>
                    <a:pt x="81" y="1279"/>
                  </a:lnTo>
                  <a:lnTo>
                    <a:pt x="77" y="1264"/>
                  </a:lnTo>
                  <a:lnTo>
                    <a:pt x="80" y="1235"/>
                  </a:lnTo>
                  <a:lnTo>
                    <a:pt x="89" y="1194"/>
                  </a:lnTo>
                  <a:lnTo>
                    <a:pt x="89" y="1178"/>
                  </a:lnTo>
                  <a:lnTo>
                    <a:pt x="89" y="1173"/>
                  </a:lnTo>
                  <a:lnTo>
                    <a:pt x="106" y="1112"/>
                  </a:lnTo>
                  <a:lnTo>
                    <a:pt x="108" y="1097"/>
                  </a:lnTo>
                  <a:lnTo>
                    <a:pt x="111" y="1091"/>
                  </a:lnTo>
                  <a:lnTo>
                    <a:pt x="116" y="1086"/>
                  </a:lnTo>
                  <a:lnTo>
                    <a:pt x="124" y="1077"/>
                  </a:lnTo>
                  <a:lnTo>
                    <a:pt x="128" y="1068"/>
                  </a:lnTo>
                  <a:lnTo>
                    <a:pt x="128" y="1055"/>
                  </a:lnTo>
                  <a:lnTo>
                    <a:pt x="123" y="1043"/>
                  </a:lnTo>
                  <a:lnTo>
                    <a:pt x="119" y="1016"/>
                  </a:lnTo>
                  <a:lnTo>
                    <a:pt x="119" y="979"/>
                  </a:lnTo>
                  <a:lnTo>
                    <a:pt x="123" y="940"/>
                  </a:lnTo>
                  <a:lnTo>
                    <a:pt x="128" y="926"/>
                  </a:lnTo>
                  <a:lnTo>
                    <a:pt x="134" y="918"/>
                  </a:lnTo>
                  <a:lnTo>
                    <a:pt x="138" y="915"/>
                  </a:lnTo>
                  <a:lnTo>
                    <a:pt x="144" y="915"/>
                  </a:lnTo>
                  <a:lnTo>
                    <a:pt x="146" y="913"/>
                  </a:lnTo>
                  <a:lnTo>
                    <a:pt x="147" y="905"/>
                  </a:lnTo>
                  <a:lnTo>
                    <a:pt x="150" y="902"/>
                  </a:lnTo>
                  <a:lnTo>
                    <a:pt x="156" y="898"/>
                  </a:lnTo>
                  <a:lnTo>
                    <a:pt x="159" y="896"/>
                  </a:lnTo>
                  <a:lnTo>
                    <a:pt x="159" y="888"/>
                  </a:lnTo>
                  <a:lnTo>
                    <a:pt x="156" y="871"/>
                  </a:lnTo>
                  <a:lnTo>
                    <a:pt x="155" y="842"/>
                  </a:lnTo>
                  <a:lnTo>
                    <a:pt x="166" y="832"/>
                  </a:lnTo>
                  <a:lnTo>
                    <a:pt x="167" y="829"/>
                  </a:lnTo>
                  <a:lnTo>
                    <a:pt x="171" y="806"/>
                  </a:lnTo>
                  <a:lnTo>
                    <a:pt x="173" y="799"/>
                  </a:lnTo>
                  <a:lnTo>
                    <a:pt x="179" y="786"/>
                  </a:lnTo>
                  <a:lnTo>
                    <a:pt x="192" y="767"/>
                  </a:lnTo>
                  <a:lnTo>
                    <a:pt x="192" y="751"/>
                  </a:lnTo>
                  <a:lnTo>
                    <a:pt x="190" y="733"/>
                  </a:lnTo>
                  <a:lnTo>
                    <a:pt x="187" y="714"/>
                  </a:lnTo>
                  <a:lnTo>
                    <a:pt x="186" y="709"/>
                  </a:lnTo>
                  <a:lnTo>
                    <a:pt x="178" y="701"/>
                  </a:lnTo>
                  <a:lnTo>
                    <a:pt x="178" y="689"/>
                  </a:lnTo>
                  <a:lnTo>
                    <a:pt x="178" y="679"/>
                  </a:lnTo>
                  <a:lnTo>
                    <a:pt x="165" y="646"/>
                  </a:lnTo>
                  <a:lnTo>
                    <a:pt x="165" y="617"/>
                  </a:lnTo>
                  <a:lnTo>
                    <a:pt x="155" y="607"/>
                  </a:lnTo>
                  <a:lnTo>
                    <a:pt x="155" y="595"/>
                  </a:lnTo>
                  <a:lnTo>
                    <a:pt x="157" y="579"/>
                  </a:lnTo>
                  <a:lnTo>
                    <a:pt x="161" y="568"/>
                  </a:lnTo>
                  <a:lnTo>
                    <a:pt x="162" y="565"/>
                  </a:lnTo>
                  <a:lnTo>
                    <a:pt x="171" y="550"/>
                  </a:lnTo>
                  <a:lnTo>
                    <a:pt x="173" y="536"/>
                  </a:lnTo>
                  <a:lnTo>
                    <a:pt x="179" y="530"/>
                  </a:lnTo>
                  <a:lnTo>
                    <a:pt x="182" y="523"/>
                  </a:lnTo>
                  <a:lnTo>
                    <a:pt x="182" y="520"/>
                  </a:lnTo>
                  <a:lnTo>
                    <a:pt x="186" y="516"/>
                  </a:lnTo>
                  <a:lnTo>
                    <a:pt x="189" y="503"/>
                  </a:lnTo>
                  <a:lnTo>
                    <a:pt x="189" y="493"/>
                  </a:lnTo>
                  <a:lnTo>
                    <a:pt x="188" y="482"/>
                  </a:lnTo>
                  <a:lnTo>
                    <a:pt x="189" y="458"/>
                  </a:lnTo>
                  <a:lnTo>
                    <a:pt x="192" y="450"/>
                  </a:lnTo>
                  <a:lnTo>
                    <a:pt x="198" y="436"/>
                  </a:lnTo>
                  <a:lnTo>
                    <a:pt x="200" y="429"/>
                  </a:lnTo>
                  <a:lnTo>
                    <a:pt x="204" y="408"/>
                  </a:lnTo>
                  <a:lnTo>
                    <a:pt x="210" y="382"/>
                  </a:lnTo>
                  <a:lnTo>
                    <a:pt x="235" y="354"/>
                  </a:lnTo>
                  <a:lnTo>
                    <a:pt x="242" y="329"/>
                  </a:lnTo>
                  <a:lnTo>
                    <a:pt x="245" y="327"/>
                  </a:lnTo>
                  <a:lnTo>
                    <a:pt x="260" y="312"/>
                  </a:lnTo>
                  <a:lnTo>
                    <a:pt x="270" y="308"/>
                  </a:lnTo>
                  <a:lnTo>
                    <a:pt x="275" y="305"/>
                  </a:lnTo>
                  <a:lnTo>
                    <a:pt x="276" y="302"/>
                  </a:lnTo>
                  <a:lnTo>
                    <a:pt x="274" y="288"/>
                  </a:lnTo>
                  <a:lnTo>
                    <a:pt x="270" y="273"/>
                  </a:lnTo>
                  <a:lnTo>
                    <a:pt x="268" y="262"/>
                  </a:lnTo>
                  <a:lnTo>
                    <a:pt x="268" y="236"/>
                  </a:lnTo>
                  <a:lnTo>
                    <a:pt x="263" y="221"/>
                  </a:lnTo>
                  <a:lnTo>
                    <a:pt x="263" y="205"/>
                  </a:lnTo>
                  <a:lnTo>
                    <a:pt x="264" y="203"/>
                  </a:lnTo>
                  <a:lnTo>
                    <a:pt x="270" y="195"/>
                  </a:lnTo>
                  <a:lnTo>
                    <a:pt x="270" y="186"/>
                  </a:lnTo>
                  <a:lnTo>
                    <a:pt x="268" y="176"/>
                  </a:lnTo>
                  <a:lnTo>
                    <a:pt x="268" y="168"/>
                  </a:lnTo>
                  <a:lnTo>
                    <a:pt x="269" y="161"/>
                  </a:lnTo>
                  <a:lnTo>
                    <a:pt x="317" y="139"/>
                  </a:lnTo>
                  <a:lnTo>
                    <a:pt x="335" y="132"/>
                  </a:lnTo>
                  <a:lnTo>
                    <a:pt x="344" y="85"/>
                  </a:lnTo>
                  <a:lnTo>
                    <a:pt x="344" y="73"/>
                  </a:lnTo>
                  <a:lnTo>
                    <a:pt x="339" y="68"/>
                  </a:lnTo>
                  <a:lnTo>
                    <a:pt x="339" y="65"/>
                  </a:lnTo>
                  <a:lnTo>
                    <a:pt x="338" y="65"/>
                  </a:lnTo>
                  <a:lnTo>
                    <a:pt x="338" y="63"/>
                  </a:lnTo>
                  <a:lnTo>
                    <a:pt x="340" y="62"/>
                  </a:lnTo>
                  <a:lnTo>
                    <a:pt x="345" y="58"/>
                  </a:lnTo>
                  <a:lnTo>
                    <a:pt x="351" y="48"/>
                  </a:lnTo>
                  <a:lnTo>
                    <a:pt x="353" y="44"/>
                  </a:lnTo>
                  <a:lnTo>
                    <a:pt x="359" y="36"/>
                  </a:lnTo>
                  <a:lnTo>
                    <a:pt x="367" y="27"/>
                  </a:lnTo>
                  <a:lnTo>
                    <a:pt x="378" y="19"/>
                  </a:lnTo>
                  <a:lnTo>
                    <a:pt x="392" y="1"/>
                  </a:lnTo>
                  <a:lnTo>
                    <a:pt x="396" y="0"/>
                  </a:lnTo>
                  <a:lnTo>
                    <a:pt x="399" y="0"/>
                  </a:lnTo>
                  <a:lnTo>
                    <a:pt x="404" y="6"/>
                  </a:lnTo>
                  <a:lnTo>
                    <a:pt x="413" y="19"/>
                  </a:lnTo>
                  <a:lnTo>
                    <a:pt x="439" y="19"/>
                  </a:lnTo>
                  <a:lnTo>
                    <a:pt x="447" y="21"/>
                  </a:lnTo>
                  <a:lnTo>
                    <a:pt x="452" y="21"/>
                  </a:lnTo>
                  <a:lnTo>
                    <a:pt x="473" y="26"/>
                  </a:lnTo>
                  <a:lnTo>
                    <a:pt x="477" y="30"/>
                  </a:lnTo>
                  <a:lnTo>
                    <a:pt x="480" y="36"/>
                  </a:lnTo>
                  <a:lnTo>
                    <a:pt x="483" y="37"/>
                  </a:lnTo>
                  <a:lnTo>
                    <a:pt x="484" y="41"/>
                  </a:lnTo>
                  <a:lnTo>
                    <a:pt x="495" y="52"/>
                  </a:lnTo>
                  <a:lnTo>
                    <a:pt x="498" y="52"/>
                  </a:lnTo>
                  <a:lnTo>
                    <a:pt x="499" y="46"/>
                  </a:lnTo>
                  <a:lnTo>
                    <a:pt x="504" y="35"/>
                  </a:lnTo>
                  <a:lnTo>
                    <a:pt x="507" y="16"/>
                  </a:lnTo>
                  <a:lnTo>
                    <a:pt x="509" y="12"/>
                  </a:lnTo>
                  <a:lnTo>
                    <a:pt x="517" y="12"/>
                  </a:lnTo>
                  <a:lnTo>
                    <a:pt x="536" y="15"/>
                  </a:lnTo>
                  <a:lnTo>
                    <a:pt x="553" y="15"/>
                  </a:lnTo>
                  <a:lnTo>
                    <a:pt x="561" y="16"/>
                  </a:lnTo>
                  <a:lnTo>
                    <a:pt x="564" y="17"/>
                  </a:lnTo>
                  <a:lnTo>
                    <a:pt x="571" y="22"/>
                  </a:lnTo>
                  <a:lnTo>
                    <a:pt x="577" y="27"/>
                  </a:lnTo>
                  <a:lnTo>
                    <a:pt x="585" y="31"/>
                  </a:lnTo>
                  <a:lnTo>
                    <a:pt x="601" y="36"/>
                  </a:lnTo>
                  <a:lnTo>
                    <a:pt x="607" y="41"/>
                  </a:lnTo>
                  <a:lnTo>
                    <a:pt x="618" y="62"/>
                  </a:lnTo>
                  <a:lnTo>
                    <a:pt x="631" y="75"/>
                  </a:lnTo>
                  <a:lnTo>
                    <a:pt x="634" y="80"/>
                  </a:lnTo>
                  <a:lnTo>
                    <a:pt x="659" y="98"/>
                  </a:lnTo>
                  <a:lnTo>
                    <a:pt x="671" y="105"/>
                  </a:lnTo>
                  <a:lnTo>
                    <a:pt x="674" y="108"/>
                  </a:lnTo>
                  <a:lnTo>
                    <a:pt x="686" y="127"/>
                  </a:lnTo>
                  <a:lnTo>
                    <a:pt x="687" y="128"/>
                  </a:lnTo>
                  <a:lnTo>
                    <a:pt x="692" y="132"/>
                  </a:lnTo>
                  <a:lnTo>
                    <a:pt x="703" y="135"/>
                  </a:lnTo>
                  <a:lnTo>
                    <a:pt x="711" y="136"/>
                  </a:lnTo>
                  <a:lnTo>
                    <a:pt x="740" y="139"/>
                  </a:lnTo>
                  <a:lnTo>
                    <a:pt x="752" y="143"/>
                  </a:lnTo>
                  <a:lnTo>
                    <a:pt x="758" y="145"/>
                  </a:lnTo>
                  <a:lnTo>
                    <a:pt x="784" y="163"/>
                  </a:lnTo>
                  <a:lnTo>
                    <a:pt x="799" y="171"/>
                  </a:lnTo>
                  <a:lnTo>
                    <a:pt x="815" y="179"/>
                  </a:lnTo>
                  <a:lnTo>
                    <a:pt x="823" y="191"/>
                  </a:lnTo>
                  <a:lnTo>
                    <a:pt x="838" y="194"/>
                  </a:lnTo>
                  <a:lnTo>
                    <a:pt x="845" y="200"/>
                  </a:lnTo>
                  <a:lnTo>
                    <a:pt x="850" y="209"/>
                  </a:lnTo>
                  <a:lnTo>
                    <a:pt x="854" y="210"/>
                  </a:lnTo>
                  <a:lnTo>
                    <a:pt x="856" y="214"/>
                  </a:lnTo>
                  <a:lnTo>
                    <a:pt x="858" y="224"/>
                  </a:lnTo>
                  <a:lnTo>
                    <a:pt x="858" y="234"/>
                  </a:lnTo>
                  <a:lnTo>
                    <a:pt x="849" y="247"/>
                  </a:lnTo>
                  <a:lnTo>
                    <a:pt x="834" y="269"/>
                  </a:lnTo>
                  <a:lnTo>
                    <a:pt x="823" y="294"/>
                  </a:lnTo>
                  <a:lnTo>
                    <a:pt x="821" y="302"/>
                  </a:lnTo>
                  <a:lnTo>
                    <a:pt x="819" y="311"/>
                  </a:lnTo>
                  <a:lnTo>
                    <a:pt x="819" y="317"/>
                  </a:lnTo>
                  <a:lnTo>
                    <a:pt x="821" y="321"/>
                  </a:lnTo>
                  <a:lnTo>
                    <a:pt x="843" y="321"/>
                  </a:lnTo>
                  <a:lnTo>
                    <a:pt x="875" y="326"/>
                  </a:lnTo>
                  <a:lnTo>
                    <a:pt x="881" y="328"/>
                  </a:lnTo>
                  <a:lnTo>
                    <a:pt x="898" y="339"/>
                  </a:lnTo>
                  <a:lnTo>
                    <a:pt x="908" y="342"/>
                  </a:lnTo>
                  <a:lnTo>
                    <a:pt x="918" y="340"/>
                  </a:lnTo>
                  <a:lnTo>
                    <a:pt x="923" y="343"/>
                  </a:lnTo>
                  <a:lnTo>
                    <a:pt x="930" y="343"/>
                  </a:lnTo>
                  <a:lnTo>
                    <a:pt x="937" y="340"/>
                  </a:lnTo>
                  <a:lnTo>
                    <a:pt x="941" y="335"/>
                  </a:lnTo>
                  <a:lnTo>
                    <a:pt x="948" y="332"/>
                  </a:lnTo>
                  <a:lnTo>
                    <a:pt x="963" y="333"/>
                  </a:lnTo>
                  <a:lnTo>
                    <a:pt x="972" y="332"/>
                  </a:lnTo>
                  <a:lnTo>
                    <a:pt x="973" y="331"/>
                  </a:lnTo>
                  <a:lnTo>
                    <a:pt x="975" y="327"/>
                  </a:lnTo>
                  <a:lnTo>
                    <a:pt x="990" y="315"/>
                  </a:lnTo>
                  <a:lnTo>
                    <a:pt x="994" y="313"/>
                  </a:lnTo>
                  <a:lnTo>
                    <a:pt x="996" y="310"/>
                  </a:lnTo>
                  <a:lnTo>
                    <a:pt x="1010" y="299"/>
                  </a:lnTo>
                  <a:lnTo>
                    <a:pt x="1018" y="290"/>
                  </a:lnTo>
                  <a:lnTo>
                    <a:pt x="1025" y="280"/>
                  </a:lnTo>
                  <a:lnTo>
                    <a:pt x="1028" y="272"/>
                  </a:lnTo>
                  <a:lnTo>
                    <a:pt x="1031" y="256"/>
                  </a:lnTo>
                  <a:lnTo>
                    <a:pt x="1034" y="225"/>
                  </a:lnTo>
                  <a:lnTo>
                    <a:pt x="1043" y="225"/>
                  </a:lnTo>
                  <a:lnTo>
                    <a:pt x="1047" y="224"/>
                  </a:lnTo>
                  <a:lnTo>
                    <a:pt x="1061" y="224"/>
                  </a:lnTo>
                  <a:lnTo>
                    <a:pt x="1068" y="231"/>
                  </a:lnTo>
                  <a:lnTo>
                    <a:pt x="1080" y="270"/>
                  </a:lnTo>
                  <a:lnTo>
                    <a:pt x="1080" y="302"/>
                  </a:lnTo>
                  <a:lnTo>
                    <a:pt x="1079" y="313"/>
                  </a:lnTo>
                  <a:lnTo>
                    <a:pt x="1076" y="317"/>
                  </a:lnTo>
                  <a:lnTo>
                    <a:pt x="1074" y="321"/>
                  </a:lnTo>
                  <a:lnTo>
                    <a:pt x="1050" y="337"/>
                  </a:lnTo>
                  <a:lnTo>
                    <a:pt x="1043" y="339"/>
                  </a:lnTo>
                  <a:lnTo>
                    <a:pt x="1031" y="340"/>
                  </a:lnTo>
                  <a:lnTo>
                    <a:pt x="1023" y="344"/>
                  </a:lnTo>
                  <a:lnTo>
                    <a:pt x="1014" y="356"/>
                  </a:lnTo>
                  <a:lnTo>
                    <a:pt x="1005" y="366"/>
                  </a:lnTo>
                  <a:lnTo>
                    <a:pt x="961" y="404"/>
                  </a:lnTo>
                  <a:lnTo>
                    <a:pt x="959" y="408"/>
                  </a:lnTo>
                  <a:lnTo>
                    <a:pt x="955" y="415"/>
                  </a:lnTo>
                  <a:lnTo>
                    <a:pt x="935" y="440"/>
                  </a:lnTo>
                  <a:lnTo>
                    <a:pt x="932" y="446"/>
                  </a:lnTo>
                  <a:lnTo>
                    <a:pt x="914" y="467"/>
                  </a:lnTo>
                  <a:lnTo>
                    <a:pt x="899" y="479"/>
                  </a:lnTo>
                  <a:lnTo>
                    <a:pt x="892" y="488"/>
                  </a:lnTo>
                  <a:lnTo>
                    <a:pt x="883" y="494"/>
                  </a:lnTo>
                  <a:lnTo>
                    <a:pt x="881" y="499"/>
                  </a:lnTo>
                  <a:lnTo>
                    <a:pt x="872" y="509"/>
                  </a:lnTo>
                  <a:lnTo>
                    <a:pt x="862" y="514"/>
                  </a:lnTo>
                  <a:lnTo>
                    <a:pt x="861" y="520"/>
                  </a:lnTo>
                  <a:lnTo>
                    <a:pt x="851" y="528"/>
                  </a:lnTo>
                  <a:lnTo>
                    <a:pt x="850" y="531"/>
                  </a:lnTo>
                  <a:lnTo>
                    <a:pt x="853" y="554"/>
                  </a:lnTo>
                  <a:lnTo>
                    <a:pt x="848" y="576"/>
                  </a:lnTo>
                  <a:lnTo>
                    <a:pt x="848" y="591"/>
                  </a:lnTo>
                  <a:lnTo>
                    <a:pt x="846" y="601"/>
                  </a:lnTo>
                  <a:lnTo>
                    <a:pt x="838" y="625"/>
                  </a:lnTo>
                  <a:lnTo>
                    <a:pt x="838" y="676"/>
                  </a:lnTo>
                  <a:lnTo>
                    <a:pt x="835" y="686"/>
                  </a:lnTo>
                  <a:lnTo>
                    <a:pt x="834" y="692"/>
                  </a:lnTo>
                  <a:lnTo>
                    <a:pt x="826" y="705"/>
                  </a:lnTo>
                  <a:lnTo>
                    <a:pt x="823" y="714"/>
                  </a:lnTo>
                  <a:lnTo>
                    <a:pt x="818" y="740"/>
                  </a:lnTo>
                  <a:lnTo>
                    <a:pt x="817" y="756"/>
                  </a:lnTo>
                  <a:lnTo>
                    <a:pt x="818" y="765"/>
                  </a:lnTo>
                  <a:lnTo>
                    <a:pt x="817" y="774"/>
                  </a:lnTo>
                  <a:lnTo>
                    <a:pt x="813" y="776"/>
                  </a:lnTo>
                  <a:lnTo>
                    <a:pt x="822" y="796"/>
                  </a:lnTo>
                  <a:lnTo>
                    <a:pt x="846" y="810"/>
                  </a:lnTo>
                  <a:lnTo>
                    <a:pt x="856" y="817"/>
                  </a:lnTo>
                  <a:lnTo>
                    <a:pt x="869" y="828"/>
                  </a:lnTo>
                  <a:lnTo>
                    <a:pt x="885" y="845"/>
                  </a:lnTo>
                  <a:lnTo>
                    <a:pt x="886" y="855"/>
                  </a:lnTo>
                  <a:lnTo>
                    <a:pt x="875" y="880"/>
                  </a:lnTo>
                  <a:lnTo>
                    <a:pt x="878" y="892"/>
                  </a:lnTo>
                  <a:lnTo>
                    <a:pt x="889" y="907"/>
                  </a:lnTo>
                  <a:lnTo>
                    <a:pt x="903" y="913"/>
                  </a:lnTo>
                  <a:lnTo>
                    <a:pt x="913" y="912"/>
                  </a:lnTo>
                  <a:lnTo>
                    <a:pt x="914" y="921"/>
                  </a:lnTo>
                  <a:lnTo>
                    <a:pt x="914" y="950"/>
                  </a:lnTo>
                  <a:lnTo>
                    <a:pt x="908" y="963"/>
                  </a:lnTo>
                  <a:lnTo>
                    <a:pt x="889" y="991"/>
                  </a:lnTo>
                  <a:lnTo>
                    <a:pt x="877" y="1004"/>
                  </a:lnTo>
                  <a:lnTo>
                    <a:pt x="870" y="1015"/>
                  </a:lnTo>
                  <a:lnTo>
                    <a:pt x="865" y="1039"/>
                  </a:lnTo>
                  <a:lnTo>
                    <a:pt x="854" y="1049"/>
                  </a:lnTo>
                  <a:lnTo>
                    <a:pt x="840" y="1056"/>
                  </a:lnTo>
                  <a:lnTo>
                    <a:pt x="815" y="1065"/>
                  </a:lnTo>
                  <a:lnTo>
                    <a:pt x="805" y="1065"/>
                  </a:lnTo>
                  <a:lnTo>
                    <a:pt x="790" y="1072"/>
                  </a:lnTo>
                  <a:lnTo>
                    <a:pt x="765" y="1080"/>
                  </a:lnTo>
                  <a:lnTo>
                    <a:pt x="753" y="1082"/>
                  </a:lnTo>
                  <a:lnTo>
                    <a:pt x="733" y="1083"/>
                  </a:lnTo>
                  <a:lnTo>
                    <a:pt x="711" y="1091"/>
                  </a:lnTo>
                  <a:lnTo>
                    <a:pt x="677" y="1096"/>
                  </a:lnTo>
                  <a:lnTo>
                    <a:pt x="650" y="1096"/>
                  </a:lnTo>
                  <a:lnTo>
                    <a:pt x="620" y="1091"/>
                  </a:lnTo>
                  <a:lnTo>
                    <a:pt x="607" y="1079"/>
                  </a:lnTo>
                  <a:lnTo>
                    <a:pt x="604" y="1088"/>
                  </a:lnTo>
                  <a:lnTo>
                    <a:pt x="607" y="1113"/>
                  </a:lnTo>
                  <a:lnTo>
                    <a:pt x="616" y="1122"/>
                  </a:lnTo>
                  <a:lnTo>
                    <a:pt x="619" y="1130"/>
                  </a:lnTo>
                  <a:lnTo>
                    <a:pt x="617" y="1147"/>
                  </a:lnTo>
                  <a:lnTo>
                    <a:pt x="614" y="1155"/>
                  </a:lnTo>
                  <a:lnTo>
                    <a:pt x="611" y="1157"/>
                  </a:lnTo>
                  <a:lnTo>
                    <a:pt x="609" y="1156"/>
                  </a:lnTo>
                  <a:lnTo>
                    <a:pt x="604" y="1169"/>
                  </a:lnTo>
                  <a:lnTo>
                    <a:pt x="602" y="1184"/>
                  </a:lnTo>
                  <a:lnTo>
                    <a:pt x="607" y="1214"/>
                  </a:lnTo>
                  <a:lnTo>
                    <a:pt x="607" y="1221"/>
                  </a:lnTo>
                  <a:lnTo>
                    <a:pt x="603" y="1230"/>
                  </a:lnTo>
                  <a:lnTo>
                    <a:pt x="597" y="1237"/>
                  </a:lnTo>
                  <a:lnTo>
                    <a:pt x="580" y="1241"/>
                  </a:lnTo>
                  <a:lnTo>
                    <a:pt x="564" y="1252"/>
                  </a:lnTo>
                  <a:lnTo>
                    <a:pt x="526" y="1251"/>
                  </a:lnTo>
                  <a:lnTo>
                    <a:pt x="517" y="1247"/>
                  </a:lnTo>
                  <a:lnTo>
                    <a:pt x="507" y="1241"/>
                  </a:lnTo>
                  <a:lnTo>
                    <a:pt x="487" y="1232"/>
                  </a:lnTo>
                  <a:lnTo>
                    <a:pt x="472" y="1227"/>
                  </a:lnTo>
                  <a:lnTo>
                    <a:pt x="462" y="1216"/>
                  </a:lnTo>
                  <a:lnTo>
                    <a:pt x="451" y="1230"/>
                  </a:lnTo>
                  <a:lnTo>
                    <a:pt x="451" y="1251"/>
                  </a:lnTo>
                  <a:lnTo>
                    <a:pt x="457" y="1270"/>
                  </a:lnTo>
                  <a:lnTo>
                    <a:pt x="458" y="1302"/>
                  </a:lnTo>
                  <a:lnTo>
                    <a:pt x="459" y="1317"/>
                  </a:lnTo>
                  <a:lnTo>
                    <a:pt x="473" y="1329"/>
                  </a:lnTo>
                  <a:lnTo>
                    <a:pt x="487" y="1333"/>
                  </a:lnTo>
                  <a:lnTo>
                    <a:pt x="482" y="1340"/>
                  </a:lnTo>
                  <a:lnTo>
                    <a:pt x="489" y="1345"/>
                  </a:lnTo>
                  <a:lnTo>
                    <a:pt x="509" y="1340"/>
                  </a:lnTo>
                  <a:lnTo>
                    <a:pt x="505" y="1332"/>
                  </a:lnTo>
                  <a:lnTo>
                    <a:pt x="499" y="1328"/>
                  </a:lnTo>
                  <a:lnTo>
                    <a:pt x="515" y="1325"/>
                  </a:lnTo>
                  <a:lnTo>
                    <a:pt x="527" y="1317"/>
                  </a:lnTo>
                  <a:lnTo>
                    <a:pt x="534" y="1329"/>
                  </a:lnTo>
                  <a:lnTo>
                    <a:pt x="538" y="1355"/>
                  </a:lnTo>
                  <a:lnTo>
                    <a:pt x="536" y="1367"/>
                  </a:lnTo>
                  <a:lnTo>
                    <a:pt x="528" y="1372"/>
                  </a:lnTo>
                  <a:lnTo>
                    <a:pt x="518" y="1376"/>
                  </a:lnTo>
                  <a:lnTo>
                    <a:pt x="509" y="1376"/>
                  </a:lnTo>
                  <a:lnTo>
                    <a:pt x="501" y="1372"/>
                  </a:lnTo>
                  <a:lnTo>
                    <a:pt x="500" y="1360"/>
                  </a:lnTo>
                  <a:lnTo>
                    <a:pt x="495" y="1354"/>
                  </a:lnTo>
                  <a:lnTo>
                    <a:pt x="484" y="1351"/>
                  </a:lnTo>
                  <a:lnTo>
                    <a:pt x="475" y="1354"/>
                  </a:lnTo>
                  <a:lnTo>
                    <a:pt x="469" y="1360"/>
                  </a:lnTo>
                  <a:lnTo>
                    <a:pt x="463" y="1361"/>
                  </a:lnTo>
                  <a:lnTo>
                    <a:pt x="458" y="1366"/>
                  </a:lnTo>
                  <a:lnTo>
                    <a:pt x="458" y="1372"/>
                  </a:lnTo>
                  <a:lnTo>
                    <a:pt x="475" y="1381"/>
                  </a:lnTo>
                  <a:lnTo>
                    <a:pt x="487" y="1382"/>
                  </a:lnTo>
                  <a:lnTo>
                    <a:pt x="494" y="1384"/>
                  </a:lnTo>
                  <a:lnTo>
                    <a:pt x="500" y="1387"/>
                  </a:lnTo>
                  <a:lnTo>
                    <a:pt x="499" y="1389"/>
                  </a:lnTo>
                  <a:lnTo>
                    <a:pt x="466" y="1407"/>
                  </a:lnTo>
                  <a:lnTo>
                    <a:pt x="461" y="1414"/>
                  </a:lnTo>
                  <a:lnTo>
                    <a:pt x="457" y="1423"/>
                  </a:lnTo>
                  <a:lnTo>
                    <a:pt x="448" y="1432"/>
                  </a:lnTo>
                  <a:lnTo>
                    <a:pt x="446" y="1445"/>
                  </a:lnTo>
                  <a:lnTo>
                    <a:pt x="450" y="1461"/>
                  </a:lnTo>
                  <a:lnTo>
                    <a:pt x="448" y="1474"/>
                  </a:lnTo>
                  <a:lnTo>
                    <a:pt x="448" y="1490"/>
                  </a:lnTo>
                  <a:lnTo>
                    <a:pt x="445" y="1501"/>
                  </a:lnTo>
                  <a:lnTo>
                    <a:pt x="440" y="1506"/>
                  </a:lnTo>
                  <a:lnTo>
                    <a:pt x="432" y="1508"/>
                  </a:lnTo>
                  <a:lnTo>
                    <a:pt x="426" y="1520"/>
                  </a:lnTo>
                  <a:lnTo>
                    <a:pt x="431" y="1533"/>
                  </a:lnTo>
                  <a:lnTo>
                    <a:pt x="432" y="1538"/>
                  </a:lnTo>
                  <a:lnTo>
                    <a:pt x="429" y="1544"/>
                  </a:lnTo>
                  <a:lnTo>
                    <a:pt x="396" y="1542"/>
                  </a:lnTo>
                  <a:lnTo>
                    <a:pt x="386" y="1547"/>
                  </a:lnTo>
                  <a:lnTo>
                    <a:pt x="378" y="1556"/>
                  </a:lnTo>
                  <a:lnTo>
                    <a:pt x="369" y="1556"/>
                  </a:lnTo>
                  <a:lnTo>
                    <a:pt x="359" y="1561"/>
                  </a:lnTo>
                  <a:lnTo>
                    <a:pt x="342" y="1580"/>
                  </a:lnTo>
                  <a:lnTo>
                    <a:pt x="335" y="1588"/>
                  </a:lnTo>
                  <a:lnTo>
                    <a:pt x="333" y="1597"/>
                  </a:lnTo>
                  <a:lnTo>
                    <a:pt x="322" y="1615"/>
                  </a:lnTo>
                  <a:lnTo>
                    <a:pt x="318" y="1633"/>
                  </a:lnTo>
                  <a:lnTo>
                    <a:pt x="321" y="1640"/>
                  </a:lnTo>
                  <a:lnTo>
                    <a:pt x="327" y="1653"/>
                  </a:lnTo>
                  <a:lnTo>
                    <a:pt x="333" y="1664"/>
                  </a:lnTo>
                  <a:lnTo>
                    <a:pt x="343" y="1672"/>
                  </a:lnTo>
                  <a:lnTo>
                    <a:pt x="365" y="1696"/>
                  </a:lnTo>
                  <a:lnTo>
                    <a:pt x="389" y="1706"/>
                  </a:lnTo>
                  <a:lnTo>
                    <a:pt x="402" y="1707"/>
                  </a:lnTo>
                  <a:lnTo>
                    <a:pt x="414" y="1705"/>
                  </a:lnTo>
                  <a:lnTo>
                    <a:pt x="421" y="1712"/>
                  </a:lnTo>
                  <a:lnTo>
                    <a:pt x="424" y="1723"/>
                  </a:lnTo>
                  <a:lnTo>
                    <a:pt x="424" y="1739"/>
                  </a:lnTo>
                  <a:lnTo>
                    <a:pt x="417" y="1752"/>
                  </a:lnTo>
                  <a:lnTo>
                    <a:pt x="413" y="1754"/>
                  </a:lnTo>
                  <a:lnTo>
                    <a:pt x="417" y="1766"/>
                  </a:lnTo>
                  <a:lnTo>
                    <a:pt x="418" y="1776"/>
                  </a:lnTo>
                  <a:lnTo>
                    <a:pt x="410" y="1780"/>
                  </a:lnTo>
                  <a:lnTo>
                    <a:pt x="409" y="1791"/>
                  </a:lnTo>
                  <a:lnTo>
                    <a:pt x="402" y="1791"/>
                  </a:lnTo>
                  <a:lnTo>
                    <a:pt x="393" y="1796"/>
                  </a:lnTo>
                  <a:lnTo>
                    <a:pt x="376" y="1813"/>
                  </a:lnTo>
                  <a:lnTo>
                    <a:pt x="358" y="1829"/>
                  </a:lnTo>
                  <a:lnTo>
                    <a:pt x="350" y="1833"/>
                  </a:lnTo>
                  <a:lnTo>
                    <a:pt x="335" y="1849"/>
                  </a:lnTo>
                  <a:lnTo>
                    <a:pt x="321" y="1862"/>
                  </a:lnTo>
                  <a:lnTo>
                    <a:pt x="312" y="1882"/>
                  </a:lnTo>
                  <a:lnTo>
                    <a:pt x="310" y="1894"/>
                  </a:lnTo>
                  <a:lnTo>
                    <a:pt x="318" y="1887"/>
                  </a:lnTo>
                  <a:lnTo>
                    <a:pt x="310" y="1924"/>
                  </a:lnTo>
                  <a:lnTo>
                    <a:pt x="305" y="1940"/>
                  </a:lnTo>
                  <a:lnTo>
                    <a:pt x="296" y="1948"/>
                  </a:lnTo>
                  <a:lnTo>
                    <a:pt x="286" y="1953"/>
                  </a:lnTo>
                  <a:lnTo>
                    <a:pt x="276" y="1953"/>
                  </a:lnTo>
                  <a:lnTo>
                    <a:pt x="269" y="1946"/>
                  </a:lnTo>
                  <a:lnTo>
                    <a:pt x="258" y="1925"/>
                  </a:lnTo>
                  <a:lnTo>
                    <a:pt x="260" y="1945"/>
                  </a:lnTo>
                  <a:lnTo>
                    <a:pt x="268" y="1948"/>
                  </a:lnTo>
                  <a:lnTo>
                    <a:pt x="270" y="1954"/>
                  </a:lnTo>
                  <a:lnTo>
                    <a:pt x="270" y="1959"/>
                  </a:lnTo>
                  <a:lnTo>
                    <a:pt x="248" y="1974"/>
                  </a:lnTo>
                  <a:lnTo>
                    <a:pt x="238" y="1983"/>
                  </a:lnTo>
                  <a:lnTo>
                    <a:pt x="226" y="2026"/>
                  </a:lnTo>
                  <a:lnTo>
                    <a:pt x="219" y="2037"/>
                  </a:lnTo>
                  <a:lnTo>
                    <a:pt x="225" y="2037"/>
                  </a:lnTo>
                  <a:lnTo>
                    <a:pt x="230" y="2033"/>
                  </a:lnTo>
                  <a:lnTo>
                    <a:pt x="237" y="2058"/>
                  </a:lnTo>
                  <a:lnTo>
                    <a:pt x="241" y="2074"/>
                  </a:lnTo>
                  <a:lnTo>
                    <a:pt x="237" y="2081"/>
                  </a:lnTo>
                  <a:lnTo>
                    <a:pt x="225" y="2080"/>
                  </a:lnTo>
                  <a:lnTo>
                    <a:pt x="220" y="2082"/>
                  </a:lnTo>
                  <a:lnTo>
                    <a:pt x="229" y="2089"/>
                  </a:lnTo>
                  <a:lnTo>
                    <a:pt x="233" y="2088"/>
                  </a:lnTo>
                  <a:lnTo>
                    <a:pt x="240" y="2089"/>
                  </a:lnTo>
                  <a:lnTo>
                    <a:pt x="256" y="2120"/>
                  </a:lnTo>
                  <a:lnTo>
                    <a:pt x="275" y="2145"/>
                  </a:lnTo>
                  <a:lnTo>
                    <a:pt x="275" y="214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32" name="Freeform 253">
              <a:extLst>
                <a:ext uri="{FF2B5EF4-FFF2-40B4-BE49-F238E27FC236}">
                  <a16:creationId xmlns:a16="http://schemas.microsoft.com/office/drawing/2014/main" id="{CDF39914-DA55-F47B-4631-553E48DD978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4071903" y="4156565"/>
              <a:ext cx="119387" cy="128034"/>
            </a:xfrm>
            <a:custGeom>
              <a:avLst/>
              <a:gdLst>
                <a:gd name="T0" fmla="*/ 0 w 226"/>
                <a:gd name="T1" fmla="*/ 0 h 221"/>
                <a:gd name="T2" fmla="*/ 0 w 226"/>
                <a:gd name="T3" fmla="*/ 0 h 221"/>
                <a:gd name="T4" fmla="*/ 0 w 226"/>
                <a:gd name="T5" fmla="*/ 0 h 221"/>
                <a:gd name="T6" fmla="*/ 0 w 226"/>
                <a:gd name="T7" fmla="*/ 0 h 221"/>
                <a:gd name="T8" fmla="*/ 0 w 226"/>
                <a:gd name="T9" fmla="*/ 0 h 221"/>
                <a:gd name="T10" fmla="*/ 0 w 226"/>
                <a:gd name="T11" fmla="*/ 0 h 221"/>
                <a:gd name="T12" fmla="*/ 0 w 226"/>
                <a:gd name="T13" fmla="*/ 0 h 221"/>
                <a:gd name="T14" fmla="*/ 0 w 226"/>
                <a:gd name="T15" fmla="*/ 0 h 221"/>
                <a:gd name="T16" fmla="*/ 0 w 226"/>
                <a:gd name="T17" fmla="*/ 0 h 221"/>
                <a:gd name="T18" fmla="*/ 0 w 226"/>
                <a:gd name="T19" fmla="*/ 0 h 221"/>
                <a:gd name="T20" fmla="*/ 0 w 226"/>
                <a:gd name="T21" fmla="*/ 0 h 221"/>
                <a:gd name="T22" fmla="*/ 0 w 226"/>
                <a:gd name="T23" fmla="*/ 0 h 221"/>
                <a:gd name="T24" fmla="*/ 0 w 226"/>
                <a:gd name="T25" fmla="*/ 0 h 221"/>
                <a:gd name="T26" fmla="*/ 0 w 226"/>
                <a:gd name="T27" fmla="*/ 0 h 221"/>
                <a:gd name="T28" fmla="*/ 0 w 226"/>
                <a:gd name="T29" fmla="*/ 0 h 221"/>
                <a:gd name="T30" fmla="*/ 0 w 226"/>
                <a:gd name="T31" fmla="*/ 0 h 221"/>
                <a:gd name="T32" fmla="*/ 0 w 226"/>
                <a:gd name="T33" fmla="*/ 0 h 221"/>
                <a:gd name="T34" fmla="*/ 0 w 226"/>
                <a:gd name="T35" fmla="*/ 0 h 221"/>
                <a:gd name="T36" fmla="*/ 0 w 226"/>
                <a:gd name="T37" fmla="*/ 0 h 221"/>
                <a:gd name="T38" fmla="*/ 0 w 226"/>
                <a:gd name="T39" fmla="*/ 0 h 221"/>
                <a:gd name="T40" fmla="*/ 0 w 226"/>
                <a:gd name="T41" fmla="*/ 0 h 221"/>
                <a:gd name="T42" fmla="*/ 0 w 226"/>
                <a:gd name="T43" fmla="*/ 0 h 221"/>
                <a:gd name="T44" fmla="*/ 0 w 226"/>
                <a:gd name="T45" fmla="*/ 0 h 221"/>
                <a:gd name="T46" fmla="*/ 0 w 226"/>
                <a:gd name="T47" fmla="*/ 0 h 221"/>
                <a:gd name="T48" fmla="*/ 0 w 226"/>
                <a:gd name="T49" fmla="*/ 0 h 221"/>
                <a:gd name="T50" fmla="*/ 0 w 226"/>
                <a:gd name="T51" fmla="*/ 0 h 221"/>
                <a:gd name="T52" fmla="*/ 0 w 226"/>
                <a:gd name="T53" fmla="*/ 0 h 221"/>
                <a:gd name="T54" fmla="*/ 0 w 226"/>
                <a:gd name="T55" fmla="*/ 0 h 221"/>
                <a:gd name="T56" fmla="*/ 0 w 226"/>
                <a:gd name="T57" fmla="*/ 0 h 221"/>
                <a:gd name="T58" fmla="*/ 0 w 226"/>
                <a:gd name="T59" fmla="*/ 0 h 221"/>
                <a:gd name="T60" fmla="*/ 0 w 226"/>
                <a:gd name="T61" fmla="*/ 0 h 221"/>
                <a:gd name="T62" fmla="*/ 0 w 226"/>
                <a:gd name="T63" fmla="*/ 0 h 221"/>
                <a:gd name="T64" fmla="*/ 0 w 226"/>
                <a:gd name="T65" fmla="*/ 0 h 221"/>
                <a:gd name="T66" fmla="*/ 0 w 226"/>
                <a:gd name="T67" fmla="*/ 0 h 221"/>
                <a:gd name="T68" fmla="*/ 0 w 226"/>
                <a:gd name="T69" fmla="*/ 0 h 221"/>
                <a:gd name="T70" fmla="*/ 0 w 226"/>
                <a:gd name="T71" fmla="*/ 0 h 221"/>
                <a:gd name="T72" fmla="*/ 0 w 226"/>
                <a:gd name="T73" fmla="*/ 0 h 221"/>
                <a:gd name="T74" fmla="*/ 0 w 226"/>
                <a:gd name="T75" fmla="*/ 0 h 221"/>
                <a:gd name="T76" fmla="*/ 0 w 226"/>
                <a:gd name="T77" fmla="*/ 0 h 221"/>
                <a:gd name="T78" fmla="*/ 0 w 226"/>
                <a:gd name="T79" fmla="*/ 0 h 221"/>
                <a:gd name="T80" fmla="*/ 0 w 226"/>
                <a:gd name="T81" fmla="*/ 0 h 22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26"/>
                <a:gd name="T124" fmla="*/ 0 h 221"/>
                <a:gd name="T125" fmla="*/ 226 w 226"/>
                <a:gd name="T126" fmla="*/ 221 h 22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26" h="221">
                  <a:moveTo>
                    <a:pt x="203" y="197"/>
                  </a:moveTo>
                  <a:lnTo>
                    <a:pt x="197" y="195"/>
                  </a:lnTo>
                  <a:lnTo>
                    <a:pt x="193" y="193"/>
                  </a:lnTo>
                  <a:lnTo>
                    <a:pt x="172" y="187"/>
                  </a:lnTo>
                  <a:lnTo>
                    <a:pt x="150" y="193"/>
                  </a:lnTo>
                  <a:lnTo>
                    <a:pt x="146" y="193"/>
                  </a:lnTo>
                  <a:lnTo>
                    <a:pt x="136" y="190"/>
                  </a:lnTo>
                  <a:lnTo>
                    <a:pt x="129" y="190"/>
                  </a:lnTo>
                  <a:lnTo>
                    <a:pt x="123" y="193"/>
                  </a:lnTo>
                  <a:lnTo>
                    <a:pt x="124" y="217"/>
                  </a:lnTo>
                  <a:lnTo>
                    <a:pt x="120" y="221"/>
                  </a:lnTo>
                  <a:lnTo>
                    <a:pt x="103" y="221"/>
                  </a:lnTo>
                  <a:lnTo>
                    <a:pt x="91" y="216"/>
                  </a:lnTo>
                  <a:lnTo>
                    <a:pt x="91" y="214"/>
                  </a:lnTo>
                  <a:lnTo>
                    <a:pt x="89" y="214"/>
                  </a:lnTo>
                  <a:lnTo>
                    <a:pt x="79" y="205"/>
                  </a:lnTo>
                  <a:lnTo>
                    <a:pt x="65" y="188"/>
                  </a:lnTo>
                  <a:lnTo>
                    <a:pt x="59" y="178"/>
                  </a:lnTo>
                  <a:lnTo>
                    <a:pt x="58" y="172"/>
                  </a:lnTo>
                  <a:lnTo>
                    <a:pt x="52" y="166"/>
                  </a:lnTo>
                  <a:lnTo>
                    <a:pt x="52" y="156"/>
                  </a:lnTo>
                  <a:lnTo>
                    <a:pt x="47" y="151"/>
                  </a:lnTo>
                  <a:lnTo>
                    <a:pt x="46" y="143"/>
                  </a:lnTo>
                  <a:lnTo>
                    <a:pt x="43" y="140"/>
                  </a:lnTo>
                  <a:lnTo>
                    <a:pt x="32" y="140"/>
                  </a:lnTo>
                  <a:lnTo>
                    <a:pt x="30" y="139"/>
                  </a:lnTo>
                  <a:lnTo>
                    <a:pt x="26" y="135"/>
                  </a:lnTo>
                  <a:lnTo>
                    <a:pt x="26" y="130"/>
                  </a:lnTo>
                  <a:lnTo>
                    <a:pt x="17" y="123"/>
                  </a:lnTo>
                  <a:lnTo>
                    <a:pt x="15" y="122"/>
                  </a:lnTo>
                  <a:lnTo>
                    <a:pt x="6" y="107"/>
                  </a:lnTo>
                  <a:lnTo>
                    <a:pt x="0" y="101"/>
                  </a:lnTo>
                  <a:lnTo>
                    <a:pt x="0" y="95"/>
                  </a:lnTo>
                  <a:lnTo>
                    <a:pt x="4" y="84"/>
                  </a:lnTo>
                  <a:lnTo>
                    <a:pt x="9" y="75"/>
                  </a:lnTo>
                  <a:lnTo>
                    <a:pt x="9" y="60"/>
                  </a:lnTo>
                  <a:lnTo>
                    <a:pt x="10" y="58"/>
                  </a:lnTo>
                  <a:lnTo>
                    <a:pt x="11" y="55"/>
                  </a:lnTo>
                  <a:lnTo>
                    <a:pt x="15" y="53"/>
                  </a:lnTo>
                  <a:lnTo>
                    <a:pt x="22" y="50"/>
                  </a:lnTo>
                  <a:lnTo>
                    <a:pt x="32" y="50"/>
                  </a:lnTo>
                  <a:lnTo>
                    <a:pt x="38" y="49"/>
                  </a:lnTo>
                  <a:lnTo>
                    <a:pt x="39" y="46"/>
                  </a:lnTo>
                  <a:lnTo>
                    <a:pt x="46" y="39"/>
                  </a:lnTo>
                  <a:lnTo>
                    <a:pt x="46" y="32"/>
                  </a:lnTo>
                  <a:lnTo>
                    <a:pt x="44" y="32"/>
                  </a:lnTo>
                  <a:lnTo>
                    <a:pt x="42" y="30"/>
                  </a:lnTo>
                  <a:lnTo>
                    <a:pt x="43" y="26"/>
                  </a:lnTo>
                  <a:lnTo>
                    <a:pt x="50" y="15"/>
                  </a:lnTo>
                  <a:lnTo>
                    <a:pt x="57" y="9"/>
                  </a:lnTo>
                  <a:lnTo>
                    <a:pt x="58" y="6"/>
                  </a:lnTo>
                  <a:lnTo>
                    <a:pt x="62" y="5"/>
                  </a:lnTo>
                  <a:lnTo>
                    <a:pt x="66" y="0"/>
                  </a:lnTo>
                  <a:lnTo>
                    <a:pt x="71" y="0"/>
                  </a:lnTo>
                  <a:lnTo>
                    <a:pt x="95" y="6"/>
                  </a:lnTo>
                  <a:lnTo>
                    <a:pt x="114" y="6"/>
                  </a:lnTo>
                  <a:lnTo>
                    <a:pt x="139" y="1"/>
                  </a:lnTo>
                  <a:lnTo>
                    <a:pt x="154" y="3"/>
                  </a:lnTo>
                  <a:lnTo>
                    <a:pt x="166" y="1"/>
                  </a:lnTo>
                  <a:lnTo>
                    <a:pt x="168" y="0"/>
                  </a:lnTo>
                  <a:lnTo>
                    <a:pt x="175" y="0"/>
                  </a:lnTo>
                  <a:lnTo>
                    <a:pt x="200" y="3"/>
                  </a:lnTo>
                  <a:lnTo>
                    <a:pt x="225" y="10"/>
                  </a:lnTo>
                  <a:lnTo>
                    <a:pt x="225" y="11"/>
                  </a:lnTo>
                  <a:lnTo>
                    <a:pt x="225" y="22"/>
                  </a:lnTo>
                  <a:lnTo>
                    <a:pt x="222" y="25"/>
                  </a:lnTo>
                  <a:lnTo>
                    <a:pt x="222" y="27"/>
                  </a:lnTo>
                  <a:lnTo>
                    <a:pt x="218" y="33"/>
                  </a:lnTo>
                  <a:lnTo>
                    <a:pt x="210" y="39"/>
                  </a:lnTo>
                  <a:lnTo>
                    <a:pt x="206" y="49"/>
                  </a:lnTo>
                  <a:lnTo>
                    <a:pt x="206" y="71"/>
                  </a:lnTo>
                  <a:lnTo>
                    <a:pt x="208" y="90"/>
                  </a:lnTo>
                  <a:lnTo>
                    <a:pt x="211" y="101"/>
                  </a:lnTo>
                  <a:lnTo>
                    <a:pt x="220" y="114"/>
                  </a:lnTo>
                  <a:lnTo>
                    <a:pt x="220" y="116"/>
                  </a:lnTo>
                  <a:lnTo>
                    <a:pt x="221" y="117"/>
                  </a:lnTo>
                  <a:lnTo>
                    <a:pt x="226" y="125"/>
                  </a:lnTo>
                  <a:lnTo>
                    <a:pt x="225" y="140"/>
                  </a:lnTo>
                  <a:lnTo>
                    <a:pt x="220" y="162"/>
                  </a:lnTo>
                  <a:lnTo>
                    <a:pt x="218" y="181"/>
                  </a:lnTo>
                  <a:lnTo>
                    <a:pt x="216" y="184"/>
                  </a:lnTo>
                  <a:lnTo>
                    <a:pt x="203" y="19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33" name="Freeform 254">
              <a:extLst>
                <a:ext uri="{FF2B5EF4-FFF2-40B4-BE49-F238E27FC236}">
                  <a16:creationId xmlns:a16="http://schemas.microsoft.com/office/drawing/2014/main" id="{CB139EAC-F9B0-3846-3568-8624290D005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834620" y="3970611"/>
              <a:ext cx="10447" cy="12193"/>
            </a:xfrm>
            <a:custGeom>
              <a:avLst/>
              <a:gdLst>
                <a:gd name="T0" fmla="*/ 0 w 183"/>
                <a:gd name="T1" fmla="*/ 0 h 93"/>
                <a:gd name="T2" fmla="*/ 0 w 183"/>
                <a:gd name="T3" fmla="*/ 0 h 93"/>
                <a:gd name="T4" fmla="*/ 0 w 183"/>
                <a:gd name="T5" fmla="*/ 0 h 93"/>
                <a:gd name="T6" fmla="*/ 0 w 183"/>
                <a:gd name="T7" fmla="*/ 0 h 93"/>
                <a:gd name="T8" fmla="*/ 0 w 183"/>
                <a:gd name="T9" fmla="*/ 0 h 93"/>
                <a:gd name="T10" fmla="*/ 0 w 183"/>
                <a:gd name="T11" fmla="*/ 0 h 93"/>
                <a:gd name="T12" fmla="*/ 0 w 183"/>
                <a:gd name="T13" fmla="*/ 0 h 93"/>
                <a:gd name="T14" fmla="*/ 0 w 183"/>
                <a:gd name="T15" fmla="*/ 0 h 93"/>
                <a:gd name="T16" fmla="*/ 0 w 183"/>
                <a:gd name="T17" fmla="*/ 0 h 93"/>
                <a:gd name="T18" fmla="*/ 0 w 183"/>
                <a:gd name="T19" fmla="*/ 0 h 93"/>
                <a:gd name="T20" fmla="*/ 0 w 183"/>
                <a:gd name="T21" fmla="*/ 0 h 93"/>
                <a:gd name="T22" fmla="*/ 0 w 183"/>
                <a:gd name="T23" fmla="*/ 0 h 9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83"/>
                <a:gd name="T37" fmla="*/ 0 h 93"/>
                <a:gd name="T38" fmla="*/ 183 w 183"/>
                <a:gd name="T39" fmla="*/ 93 h 9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83" h="93">
                  <a:moveTo>
                    <a:pt x="148" y="0"/>
                  </a:moveTo>
                  <a:lnTo>
                    <a:pt x="169" y="17"/>
                  </a:lnTo>
                  <a:lnTo>
                    <a:pt x="183" y="54"/>
                  </a:lnTo>
                  <a:lnTo>
                    <a:pt x="114" y="93"/>
                  </a:lnTo>
                  <a:lnTo>
                    <a:pt x="86" y="86"/>
                  </a:lnTo>
                  <a:lnTo>
                    <a:pt x="66" y="72"/>
                  </a:lnTo>
                  <a:lnTo>
                    <a:pt x="14" y="72"/>
                  </a:lnTo>
                  <a:lnTo>
                    <a:pt x="0" y="41"/>
                  </a:lnTo>
                  <a:lnTo>
                    <a:pt x="24" y="24"/>
                  </a:lnTo>
                  <a:lnTo>
                    <a:pt x="54" y="24"/>
                  </a:lnTo>
                  <a:lnTo>
                    <a:pt x="83" y="44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34" name="Freeform 255">
              <a:extLst>
                <a:ext uri="{FF2B5EF4-FFF2-40B4-BE49-F238E27FC236}">
                  <a16:creationId xmlns:a16="http://schemas.microsoft.com/office/drawing/2014/main" id="{06510AAB-CCB8-88CF-0531-4E98419B7EE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736126" y="3956893"/>
              <a:ext cx="7462" cy="12193"/>
            </a:xfrm>
            <a:custGeom>
              <a:avLst/>
              <a:gdLst>
                <a:gd name="T0" fmla="*/ 0 w 101"/>
                <a:gd name="T1" fmla="*/ 0 h 102"/>
                <a:gd name="T2" fmla="*/ 0 w 101"/>
                <a:gd name="T3" fmla="*/ 0 h 102"/>
                <a:gd name="T4" fmla="*/ 0 w 101"/>
                <a:gd name="T5" fmla="*/ 0 h 102"/>
                <a:gd name="T6" fmla="*/ 0 w 101"/>
                <a:gd name="T7" fmla="*/ 0 h 102"/>
                <a:gd name="T8" fmla="*/ 0 w 101"/>
                <a:gd name="T9" fmla="*/ 0 h 102"/>
                <a:gd name="T10" fmla="*/ 0 w 101"/>
                <a:gd name="T11" fmla="*/ 0 h 102"/>
                <a:gd name="T12" fmla="*/ 0 w 101"/>
                <a:gd name="T13" fmla="*/ 0 h 102"/>
                <a:gd name="T14" fmla="*/ 0 w 101"/>
                <a:gd name="T15" fmla="*/ 0 h 102"/>
                <a:gd name="T16" fmla="*/ 0 w 101"/>
                <a:gd name="T17" fmla="*/ 0 h 10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1"/>
                <a:gd name="T28" fmla="*/ 0 h 102"/>
                <a:gd name="T29" fmla="*/ 101 w 101"/>
                <a:gd name="T30" fmla="*/ 102 h 10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1" h="102">
                  <a:moveTo>
                    <a:pt x="24" y="37"/>
                  </a:moveTo>
                  <a:lnTo>
                    <a:pt x="0" y="0"/>
                  </a:lnTo>
                  <a:lnTo>
                    <a:pt x="0" y="10"/>
                  </a:lnTo>
                  <a:lnTo>
                    <a:pt x="5" y="41"/>
                  </a:lnTo>
                  <a:lnTo>
                    <a:pt x="24" y="72"/>
                  </a:lnTo>
                  <a:lnTo>
                    <a:pt x="101" y="102"/>
                  </a:lnTo>
                  <a:lnTo>
                    <a:pt x="101" y="85"/>
                  </a:lnTo>
                  <a:lnTo>
                    <a:pt x="59" y="68"/>
                  </a:lnTo>
                  <a:lnTo>
                    <a:pt x="24" y="3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35" name="Freeform 256">
              <a:extLst>
                <a:ext uri="{FF2B5EF4-FFF2-40B4-BE49-F238E27FC236}">
                  <a16:creationId xmlns:a16="http://schemas.microsoft.com/office/drawing/2014/main" id="{DA356E7F-B8BF-32C1-F246-291244F4DED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749557" y="3953845"/>
              <a:ext cx="4477" cy="10669"/>
            </a:xfrm>
            <a:custGeom>
              <a:avLst/>
              <a:gdLst>
                <a:gd name="T0" fmla="*/ 0 w 69"/>
                <a:gd name="T1" fmla="*/ 0 h 85"/>
                <a:gd name="T2" fmla="*/ 0 w 69"/>
                <a:gd name="T3" fmla="*/ 0 h 85"/>
                <a:gd name="T4" fmla="*/ 0 w 69"/>
                <a:gd name="T5" fmla="*/ 0 h 85"/>
                <a:gd name="T6" fmla="*/ 0 w 69"/>
                <a:gd name="T7" fmla="*/ 0 h 85"/>
                <a:gd name="T8" fmla="*/ 0 w 69"/>
                <a:gd name="T9" fmla="*/ 0 h 85"/>
                <a:gd name="T10" fmla="*/ 0 w 69"/>
                <a:gd name="T11" fmla="*/ 0 h 85"/>
                <a:gd name="T12" fmla="*/ 0 w 69"/>
                <a:gd name="T13" fmla="*/ 0 h 85"/>
                <a:gd name="T14" fmla="*/ 0 w 69"/>
                <a:gd name="T15" fmla="*/ 0 h 85"/>
                <a:gd name="T16" fmla="*/ 0 w 69"/>
                <a:gd name="T17" fmla="*/ 0 h 8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9"/>
                <a:gd name="T28" fmla="*/ 0 h 85"/>
                <a:gd name="T29" fmla="*/ 69 w 69"/>
                <a:gd name="T30" fmla="*/ 85 h 8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9" h="85">
                  <a:moveTo>
                    <a:pt x="20" y="17"/>
                  </a:moveTo>
                  <a:lnTo>
                    <a:pt x="0" y="0"/>
                  </a:lnTo>
                  <a:lnTo>
                    <a:pt x="13" y="26"/>
                  </a:lnTo>
                  <a:lnTo>
                    <a:pt x="38" y="51"/>
                  </a:lnTo>
                  <a:lnTo>
                    <a:pt x="52" y="82"/>
                  </a:lnTo>
                  <a:lnTo>
                    <a:pt x="62" y="85"/>
                  </a:lnTo>
                  <a:lnTo>
                    <a:pt x="69" y="38"/>
                  </a:lnTo>
                  <a:lnTo>
                    <a:pt x="52" y="23"/>
                  </a:lnTo>
                  <a:lnTo>
                    <a:pt x="20" y="1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36" name="Freeform 257">
              <a:extLst>
                <a:ext uri="{FF2B5EF4-FFF2-40B4-BE49-F238E27FC236}">
                  <a16:creationId xmlns:a16="http://schemas.microsoft.com/office/drawing/2014/main" id="{C5F68587-AE56-3C78-AE13-75489DE7F31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206345" y="3870012"/>
              <a:ext cx="126849" cy="131083"/>
            </a:xfrm>
            <a:custGeom>
              <a:avLst/>
              <a:gdLst>
                <a:gd name="T0" fmla="*/ 2147483647 w 234"/>
                <a:gd name="T1" fmla="*/ 0 h 236"/>
                <a:gd name="T2" fmla="*/ 2147483647 w 234"/>
                <a:gd name="T3" fmla="*/ 0 h 236"/>
                <a:gd name="T4" fmla="*/ 2147483647 w 234"/>
                <a:gd name="T5" fmla="*/ 0 h 236"/>
                <a:gd name="T6" fmla="*/ 2147483647 w 234"/>
                <a:gd name="T7" fmla="*/ 0 h 236"/>
                <a:gd name="T8" fmla="*/ 2147483647 w 234"/>
                <a:gd name="T9" fmla="*/ 0 h 236"/>
                <a:gd name="T10" fmla="*/ 2147483647 w 234"/>
                <a:gd name="T11" fmla="*/ 0 h 236"/>
                <a:gd name="T12" fmla="*/ 2147483647 w 234"/>
                <a:gd name="T13" fmla="*/ 0 h 236"/>
                <a:gd name="T14" fmla="*/ 2147483647 w 234"/>
                <a:gd name="T15" fmla="*/ 0 h 236"/>
                <a:gd name="T16" fmla="*/ 2147483647 w 234"/>
                <a:gd name="T17" fmla="*/ 0 h 236"/>
                <a:gd name="T18" fmla="*/ 2147483647 w 234"/>
                <a:gd name="T19" fmla="*/ 0 h 236"/>
                <a:gd name="T20" fmla="*/ 2147483647 w 234"/>
                <a:gd name="T21" fmla="*/ 0 h 236"/>
                <a:gd name="T22" fmla="*/ 2147483647 w 234"/>
                <a:gd name="T23" fmla="*/ 0 h 236"/>
                <a:gd name="T24" fmla="*/ 2147483647 w 234"/>
                <a:gd name="T25" fmla="*/ 0 h 236"/>
                <a:gd name="T26" fmla="*/ 2147483647 w 234"/>
                <a:gd name="T27" fmla="*/ 0 h 236"/>
                <a:gd name="T28" fmla="*/ 2147483647 w 234"/>
                <a:gd name="T29" fmla="*/ 0 h 236"/>
                <a:gd name="T30" fmla="*/ 0 w 234"/>
                <a:gd name="T31" fmla="*/ 0 h 236"/>
                <a:gd name="T32" fmla="*/ 0 w 234"/>
                <a:gd name="T33" fmla="*/ 2147483647 h 236"/>
                <a:gd name="T34" fmla="*/ 0 w 234"/>
                <a:gd name="T35" fmla="*/ 2147483647 h 236"/>
                <a:gd name="T36" fmla="*/ 0 w 234"/>
                <a:gd name="T37" fmla="*/ 2147483647 h 236"/>
                <a:gd name="T38" fmla="*/ 0 w 234"/>
                <a:gd name="T39" fmla="*/ 2147483647 h 236"/>
                <a:gd name="T40" fmla="*/ 0 w 234"/>
                <a:gd name="T41" fmla="*/ 2147483647 h 236"/>
                <a:gd name="T42" fmla="*/ 0 w 234"/>
                <a:gd name="T43" fmla="*/ 2147483647 h 236"/>
                <a:gd name="T44" fmla="*/ 2147483647 w 234"/>
                <a:gd name="T45" fmla="*/ 2147483647 h 236"/>
                <a:gd name="T46" fmla="*/ 2147483647 w 234"/>
                <a:gd name="T47" fmla="*/ 2147483647 h 236"/>
                <a:gd name="T48" fmla="*/ 2147483647 w 234"/>
                <a:gd name="T49" fmla="*/ 2147483647 h 236"/>
                <a:gd name="T50" fmla="*/ 2147483647 w 234"/>
                <a:gd name="T51" fmla="*/ 2147483647 h 236"/>
                <a:gd name="T52" fmla="*/ 2147483647 w 234"/>
                <a:gd name="T53" fmla="*/ 2147483647 h 236"/>
                <a:gd name="T54" fmla="*/ 2147483647 w 234"/>
                <a:gd name="T55" fmla="*/ 2147483647 h 236"/>
                <a:gd name="T56" fmla="*/ 2147483647 w 234"/>
                <a:gd name="T57" fmla="*/ 2147483647 h 236"/>
                <a:gd name="T58" fmla="*/ 2147483647 w 234"/>
                <a:gd name="T59" fmla="*/ 2147483647 h 236"/>
                <a:gd name="T60" fmla="*/ 2147483647 w 234"/>
                <a:gd name="T61" fmla="*/ 2147483647 h 236"/>
                <a:gd name="T62" fmla="*/ 2147483647 w 234"/>
                <a:gd name="T63" fmla="*/ 2147483647 h 236"/>
                <a:gd name="T64" fmla="*/ 2147483647 w 234"/>
                <a:gd name="T65" fmla="*/ 2147483647 h 236"/>
                <a:gd name="T66" fmla="*/ 2147483647 w 234"/>
                <a:gd name="T67" fmla="*/ 2147483647 h 236"/>
                <a:gd name="T68" fmla="*/ 2147483647 w 234"/>
                <a:gd name="T69" fmla="*/ 2147483647 h 236"/>
                <a:gd name="T70" fmla="*/ 2147483647 w 234"/>
                <a:gd name="T71" fmla="*/ 2147483647 h 236"/>
                <a:gd name="T72" fmla="*/ 2147483647 w 234"/>
                <a:gd name="T73" fmla="*/ 2147483647 h 236"/>
                <a:gd name="T74" fmla="*/ 2147483647 w 234"/>
                <a:gd name="T75" fmla="*/ 0 h 236"/>
                <a:gd name="T76" fmla="*/ 2147483647 w 234"/>
                <a:gd name="T77" fmla="*/ 0 h 2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34"/>
                <a:gd name="T118" fmla="*/ 0 h 236"/>
                <a:gd name="T119" fmla="*/ 234 w 234"/>
                <a:gd name="T120" fmla="*/ 236 h 2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34" h="236">
                  <a:moveTo>
                    <a:pt x="234" y="0"/>
                  </a:moveTo>
                  <a:lnTo>
                    <a:pt x="223" y="0"/>
                  </a:lnTo>
                  <a:lnTo>
                    <a:pt x="209" y="6"/>
                  </a:lnTo>
                  <a:lnTo>
                    <a:pt x="206" y="11"/>
                  </a:lnTo>
                  <a:lnTo>
                    <a:pt x="197" y="16"/>
                  </a:lnTo>
                  <a:lnTo>
                    <a:pt x="187" y="16"/>
                  </a:lnTo>
                  <a:lnTo>
                    <a:pt x="180" y="21"/>
                  </a:lnTo>
                  <a:lnTo>
                    <a:pt x="163" y="21"/>
                  </a:lnTo>
                  <a:lnTo>
                    <a:pt x="160" y="18"/>
                  </a:lnTo>
                  <a:lnTo>
                    <a:pt x="156" y="14"/>
                  </a:lnTo>
                  <a:lnTo>
                    <a:pt x="150" y="12"/>
                  </a:lnTo>
                  <a:lnTo>
                    <a:pt x="149" y="16"/>
                  </a:lnTo>
                  <a:lnTo>
                    <a:pt x="147" y="17"/>
                  </a:lnTo>
                  <a:lnTo>
                    <a:pt x="143" y="18"/>
                  </a:lnTo>
                  <a:lnTo>
                    <a:pt x="139" y="25"/>
                  </a:lnTo>
                  <a:lnTo>
                    <a:pt x="136" y="38"/>
                  </a:lnTo>
                  <a:lnTo>
                    <a:pt x="133" y="41"/>
                  </a:lnTo>
                  <a:lnTo>
                    <a:pt x="123" y="43"/>
                  </a:lnTo>
                  <a:lnTo>
                    <a:pt x="118" y="48"/>
                  </a:lnTo>
                  <a:lnTo>
                    <a:pt x="117" y="50"/>
                  </a:lnTo>
                  <a:lnTo>
                    <a:pt x="113" y="52"/>
                  </a:lnTo>
                  <a:lnTo>
                    <a:pt x="110" y="58"/>
                  </a:lnTo>
                  <a:lnTo>
                    <a:pt x="101" y="59"/>
                  </a:lnTo>
                  <a:lnTo>
                    <a:pt x="101" y="61"/>
                  </a:lnTo>
                  <a:lnTo>
                    <a:pt x="99" y="63"/>
                  </a:lnTo>
                  <a:lnTo>
                    <a:pt x="93" y="63"/>
                  </a:lnTo>
                  <a:lnTo>
                    <a:pt x="85" y="57"/>
                  </a:lnTo>
                  <a:lnTo>
                    <a:pt x="78" y="54"/>
                  </a:lnTo>
                  <a:lnTo>
                    <a:pt x="72" y="64"/>
                  </a:lnTo>
                  <a:lnTo>
                    <a:pt x="68" y="72"/>
                  </a:lnTo>
                  <a:lnTo>
                    <a:pt x="51" y="74"/>
                  </a:lnTo>
                  <a:lnTo>
                    <a:pt x="46" y="72"/>
                  </a:lnTo>
                  <a:lnTo>
                    <a:pt x="43" y="80"/>
                  </a:lnTo>
                  <a:lnTo>
                    <a:pt x="43" y="95"/>
                  </a:lnTo>
                  <a:lnTo>
                    <a:pt x="41" y="96"/>
                  </a:lnTo>
                  <a:lnTo>
                    <a:pt x="35" y="101"/>
                  </a:lnTo>
                  <a:lnTo>
                    <a:pt x="32" y="108"/>
                  </a:lnTo>
                  <a:lnTo>
                    <a:pt x="29" y="111"/>
                  </a:lnTo>
                  <a:lnTo>
                    <a:pt x="12" y="112"/>
                  </a:lnTo>
                  <a:lnTo>
                    <a:pt x="2" y="112"/>
                  </a:lnTo>
                  <a:lnTo>
                    <a:pt x="0" y="118"/>
                  </a:lnTo>
                  <a:lnTo>
                    <a:pt x="2" y="120"/>
                  </a:lnTo>
                  <a:lnTo>
                    <a:pt x="16" y="136"/>
                  </a:lnTo>
                  <a:lnTo>
                    <a:pt x="20" y="141"/>
                  </a:lnTo>
                  <a:lnTo>
                    <a:pt x="42" y="162"/>
                  </a:lnTo>
                  <a:lnTo>
                    <a:pt x="57" y="181"/>
                  </a:lnTo>
                  <a:lnTo>
                    <a:pt x="66" y="189"/>
                  </a:lnTo>
                  <a:lnTo>
                    <a:pt x="70" y="194"/>
                  </a:lnTo>
                  <a:lnTo>
                    <a:pt x="77" y="197"/>
                  </a:lnTo>
                  <a:lnTo>
                    <a:pt x="95" y="211"/>
                  </a:lnTo>
                  <a:lnTo>
                    <a:pt x="98" y="217"/>
                  </a:lnTo>
                  <a:lnTo>
                    <a:pt x="98" y="221"/>
                  </a:lnTo>
                  <a:lnTo>
                    <a:pt x="99" y="221"/>
                  </a:lnTo>
                  <a:lnTo>
                    <a:pt x="105" y="215"/>
                  </a:lnTo>
                  <a:lnTo>
                    <a:pt x="110" y="215"/>
                  </a:lnTo>
                  <a:lnTo>
                    <a:pt x="120" y="220"/>
                  </a:lnTo>
                  <a:lnTo>
                    <a:pt x="143" y="226"/>
                  </a:lnTo>
                  <a:lnTo>
                    <a:pt x="152" y="226"/>
                  </a:lnTo>
                  <a:lnTo>
                    <a:pt x="160" y="224"/>
                  </a:lnTo>
                  <a:lnTo>
                    <a:pt x="165" y="224"/>
                  </a:lnTo>
                  <a:lnTo>
                    <a:pt x="174" y="227"/>
                  </a:lnTo>
                  <a:lnTo>
                    <a:pt x="182" y="235"/>
                  </a:lnTo>
                  <a:lnTo>
                    <a:pt x="187" y="236"/>
                  </a:lnTo>
                  <a:lnTo>
                    <a:pt x="197" y="236"/>
                  </a:lnTo>
                  <a:lnTo>
                    <a:pt x="209" y="233"/>
                  </a:lnTo>
                  <a:lnTo>
                    <a:pt x="214" y="231"/>
                  </a:lnTo>
                  <a:lnTo>
                    <a:pt x="214" y="230"/>
                  </a:lnTo>
                  <a:lnTo>
                    <a:pt x="212" y="224"/>
                  </a:lnTo>
                  <a:lnTo>
                    <a:pt x="204" y="211"/>
                  </a:lnTo>
                  <a:lnTo>
                    <a:pt x="204" y="200"/>
                  </a:lnTo>
                  <a:lnTo>
                    <a:pt x="209" y="190"/>
                  </a:lnTo>
                  <a:lnTo>
                    <a:pt x="212" y="181"/>
                  </a:lnTo>
                  <a:lnTo>
                    <a:pt x="213" y="156"/>
                  </a:lnTo>
                  <a:lnTo>
                    <a:pt x="219" y="117"/>
                  </a:lnTo>
                  <a:lnTo>
                    <a:pt x="219" y="82"/>
                  </a:lnTo>
                  <a:lnTo>
                    <a:pt x="231" y="43"/>
                  </a:lnTo>
                  <a:lnTo>
                    <a:pt x="234" y="23"/>
                  </a:lnTo>
                  <a:lnTo>
                    <a:pt x="234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37" name="Freeform 258">
              <a:extLst>
                <a:ext uri="{FF2B5EF4-FFF2-40B4-BE49-F238E27FC236}">
                  <a16:creationId xmlns:a16="http://schemas.microsoft.com/office/drawing/2014/main" id="{02680707-9203-CA97-DE40-B3210C4C3AA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340656" y="4040725"/>
              <a:ext cx="170127" cy="77735"/>
            </a:xfrm>
            <a:custGeom>
              <a:avLst/>
              <a:gdLst>
                <a:gd name="T0" fmla="*/ 0 w 318"/>
                <a:gd name="T1" fmla="*/ 0 h 135"/>
                <a:gd name="T2" fmla="*/ 0 w 318"/>
                <a:gd name="T3" fmla="*/ 0 h 135"/>
                <a:gd name="T4" fmla="*/ 0 w 318"/>
                <a:gd name="T5" fmla="*/ 0 h 135"/>
                <a:gd name="T6" fmla="*/ 0 w 318"/>
                <a:gd name="T7" fmla="*/ 0 h 135"/>
                <a:gd name="T8" fmla="*/ 0 w 318"/>
                <a:gd name="T9" fmla="*/ 0 h 135"/>
                <a:gd name="T10" fmla="*/ 0 w 318"/>
                <a:gd name="T11" fmla="*/ 2147483647 h 135"/>
                <a:gd name="T12" fmla="*/ 0 w 318"/>
                <a:gd name="T13" fmla="*/ 0 h 135"/>
                <a:gd name="T14" fmla="*/ 2147483647 w 318"/>
                <a:gd name="T15" fmla="*/ 2147483647 h 135"/>
                <a:gd name="T16" fmla="*/ 2147483647 w 318"/>
                <a:gd name="T17" fmla="*/ 2147483647 h 135"/>
                <a:gd name="T18" fmla="*/ 2147483647 w 318"/>
                <a:gd name="T19" fmla="*/ 2147483647 h 135"/>
                <a:gd name="T20" fmla="*/ 2147483647 w 318"/>
                <a:gd name="T21" fmla="*/ 2147483647 h 135"/>
                <a:gd name="T22" fmla="*/ 2147483647 w 318"/>
                <a:gd name="T23" fmla="*/ 2147483647 h 135"/>
                <a:gd name="T24" fmla="*/ 2147483647 w 318"/>
                <a:gd name="T25" fmla="*/ 2147483647 h 135"/>
                <a:gd name="T26" fmla="*/ 2147483647 w 318"/>
                <a:gd name="T27" fmla="*/ 2147483647 h 135"/>
                <a:gd name="T28" fmla="*/ 2147483647 w 318"/>
                <a:gd name="T29" fmla="*/ 2147483647 h 135"/>
                <a:gd name="T30" fmla="*/ 2147483647 w 318"/>
                <a:gd name="T31" fmla="*/ 2147483647 h 135"/>
                <a:gd name="T32" fmla="*/ 2147483647 w 318"/>
                <a:gd name="T33" fmla="*/ 0 h 135"/>
                <a:gd name="T34" fmla="*/ 2147483647 w 318"/>
                <a:gd name="T35" fmla="*/ 0 h 135"/>
                <a:gd name="T36" fmla="*/ 2147483647 w 318"/>
                <a:gd name="T37" fmla="*/ 0 h 135"/>
                <a:gd name="T38" fmla="*/ 2147483647 w 318"/>
                <a:gd name="T39" fmla="*/ 0 h 135"/>
                <a:gd name="T40" fmla="*/ 2147483647 w 318"/>
                <a:gd name="T41" fmla="*/ 0 h 135"/>
                <a:gd name="T42" fmla="*/ 2147483647 w 318"/>
                <a:gd name="T43" fmla="*/ 0 h 135"/>
                <a:gd name="T44" fmla="*/ 2147483647 w 318"/>
                <a:gd name="T45" fmla="*/ 2147483647 h 135"/>
                <a:gd name="T46" fmla="*/ 2147483647 w 318"/>
                <a:gd name="T47" fmla="*/ 2147483647 h 135"/>
                <a:gd name="T48" fmla="*/ 2147483647 w 318"/>
                <a:gd name="T49" fmla="*/ 2147483647 h 135"/>
                <a:gd name="T50" fmla="*/ 2147483647 w 318"/>
                <a:gd name="T51" fmla="*/ 2147483647 h 135"/>
                <a:gd name="T52" fmla="*/ 2147483647 w 318"/>
                <a:gd name="T53" fmla="*/ 2147483647 h 135"/>
                <a:gd name="T54" fmla="*/ 2147483647 w 318"/>
                <a:gd name="T55" fmla="*/ 2147483647 h 135"/>
                <a:gd name="T56" fmla="*/ 2147483647 w 318"/>
                <a:gd name="T57" fmla="*/ 2147483647 h 135"/>
                <a:gd name="T58" fmla="*/ 2147483647 w 318"/>
                <a:gd name="T59" fmla="*/ 0 h 135"/>
                <a:gd name="T60" fmla="*/ 2147483647 w 318"/>
                <a:gd name="T61" fmla="*/ 0 h 135"/>
                <a:gd name="T62" fmla="*/ 2147483647 w 318"/>
                <a:gd name="T63" fmla="*/ 0 h 135"/>
                <a:gd name="T64" fmla="*/ 2147483647 w 318"/>
                <a:gd name="T65" fmla="*/ 0 h 135"/>
                <a:gd name="T66" fmla="*/ 2147483647 w 318"/>
                <a:gd name="T67" fmla="*/ 0 h 135"/>
                <a:gd name="T68" fmla="*/ 2147483647 w 318"/>
                <a:gd name="T69" fmla="*/ 0 h 135"/>
                <a:gd name="T70" fmla="*/ 2147483647 w 318"/>
                <a:gd name="T71" fmla="*/ 0 h 135"/>
                <a:gd name="T72" fmla="*/ 2147483647 w 318"/>
                <a:gd name="T73" fmla="*/ 0 h 135"/>
                <a:gd name="T74" fmla="*/ 2147483647 w 318"/>
                <a:gd name="T75" fmla="*/ 0 h 135"/>
                <a:gd name="T76" fmla="*/ 2147483647 w 318"/>
                <a:gd name="T77" fmla="*/ 0 h 135"/>
                <a:gd name="T78" fmla="*/ 2147483647 w 318"/>
                <a:gd name="T79" fmla="*/ 0 h 135"/>
                <a:gd name="T80" fmla="*/ 0 w 318"/>
                <a:gd name="T81" fmla="*/ 0 h 135"/>
                <a:gd name="T82" fmla="*/ 0 w 318"/>
                <a:gd name="T83" fmla="*/ 0 h 13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318"/>
                <a:gd name="T127" fmla="*/ 0 h 135"/>
                <a:gd name="T128" fmla="*/ 318 w 318"/>
                <a:gd name="T129" fmla="*/ 135 h 13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318" h="135">
                  <a:moveTo>
                    <a:pt x="23" y="0"/>
                  </a:moveTo>
                  <a:lnTo>
                    <a:pt x="22" y="1"/>
                  </a:lnTo>
                  <a:lnTo>
                    <a:pt x="19" y="1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6" y="9"/>
                  </a:lnTo>
                  <a:lnTo>
                    <a:pt x="5" y="23"/>
                  </a:lnTo>
                  <a:lnTo>
                    <a:pt x="12" y="28"/>
                  </a:lnTo>
                  <a:lnTo>
                    <a:pt x="16" y="32"/>
                  </a:lnTo>
                  <a:lnTo>
                    <a:pt x="15" y="37"/>
                  </a:lnTo>
                  <a:lnTo>
                    <a:pt x="11" y="40"/>
                  </a:lnTo>
                  <a:lnTo>
                    <a:pt x="10" y="44"/>
                  </a:lnTo>
                  <a:lnTo>
                    <a:pt x="10" y="56"/>
                  </a:lnTo>
                  <a:lnTo>
                    <a:pt x="8" y="61"/>
                  </a:lnTo>
                  <a:lnTo>
                    <a:pt x="1" y="71"/>
                  </a:lnTo>
                  <a:lnTo>
                    <a:pt x="0" y="71"/>
                  </a:lnTo>
                  <a:lnTo>
                    <a:pt x="6" y="82"/>
                  </a:lnTo>
                  <a:lnTo>
                    <a:pt x="7" y="82"/>
                  </a:lnTo>
                  <a:lnTo>
                    <a:pt x="10" y="75"/>
                  </a:lnTo>
                  <a:lnTo>
                    <a:pt x="12" y="72"/>
                  </a:lnTo>
                  <a:lnTo>
                    <a:pt x="22" y="72"/>
                  </a:lnTo>
                  <a:lnTo>
                    <a:pt x="40" y="75"/>
                  </a:lnTo>
                  <a:lnTo>
                    <a:pt x="48" y="76"/>
                  </a:lnTo>
                  <a:lnTo>
                    <a:pt x="58" y="80"/>
                  </a:lnTo>
                  <a:lnTo>
                    <a:pt x="67" y="81"/>
                  </a:lnTo>
                  <a:lnTo>
                    <a:pt x="70" y="82"/>
                  </a:lnTo>
                  <a:lnTo>
                    <a:pt x="75" y="87"/>
                  </a:lnTo>
                  <a:lnTo>
                    <a:pt x="78" y="96"/>
                  </a:lnTo>
                  <a:lnTo>
                    <a:pt x="85" y="103"/>
                  </a:lnTo>
                  <a:lnTo>
                    <a:pt x="92" y="112"/>
                  </a:lnTo>
                  <a:lnTo>
                    <a:pt x="98" y="112"/>
                  </a:lnTo>
                  <a:lnTo>
                    <a:pt x="103" y="106"/>
                  </a:lnTo>
                  <a:lnTo>
                    <a:pt x="109" y="103"/>
                  </a:lnTo>
                  <a:lnTo>
                    <a:pt x="113" y="112"/>
                  </a:lnTo>
                  <a:lnTo>
                    <a:pt x="113" y="122"/>
                  </a:lnTo>
                  <a:lnTo>
                    <a:pt x="117" y="131"/>
                  </a:lnTo>
                  <a:lnTo>
                    <a:pt x="118" y="134"/>
                  </a:lnTo>
                  <a:lnTo>
                    <a:pt x="130" y="135"/>
                  </a:lnTo>
                  <a:lnTo>
                    <a:pt x="135" y="134"/>
                  </a:lnTo>
                  <a:lnTo>
                    <a:pt x="152" y="124"/>
                  </a:lnTo>
                  <a:lnTo>
                    <a:pt x="160" y="117"/>
                  </a:lnTo>
                  <a:lnTo>
                    <a:pt x="157" y="110"/>
                  </a:lnTo>
                  <a:lnTo>
                    <a:pt x="152" y="107"/>
                  </a:lnTo>
                  <a:lnTo>
                    <a:pt x="148" y="102"/>
                  </a:lnTo>
                  <a:lnTo>
                    <a:pt x="139" y="95"/>
                  </a:lnTo>
                  <a:lnTo>
                    <a:pt x="137" y="91"/>
                  </a:lnTo>
                  <a:lnTo>
                    <a:pt x="137" y="87"/>
                  </a:lnTo>
                  <a:lnTo>
                    <a:pt x="140" y="81"/>
                  </a:lnTo>
                  <a:lnTo>
                    <a:pt x="148" y="75"/>
                  </a:lnTo>
                  <a:lnTo>
                    <a:pt x="156" y="72"/>
                  </a:lnTo>
                  <a:lnTo>
                    <a:pt x="160" y="72"/>
                  </a:lnTo>
                  <a:lnTo>
                    <a:pt x="168" y="68"/>
                  </a:lnTo>
                  <a:lnTo>
                    <a:pt x="177" y="58"/>
                  </a:lnTo>
                  <a:lnTo>
                    <a:pt x="187" y="43"/>
                  </a:lnTo>
                  <a:lnTo>
                    <a:pt x="189" y="39"/>
                  </a:lnTo>
                  <a:lnTo>
                    <a:pt x="190" y="38"/>
                  </a:lnTo>
                  <a:lnTo>
                    <a:pt x="201" y="34"/>
                  </a:lnTo>
                  <a:lnTo>
                    <a:pt x="205" y="34"/>
                  </a:lnTo>
                  <a:lnTo>
                    <a:pt x="209" y="36"/>
                  </a:lnTo>
                  <a:lnTo>
                    <a:pt x="222" y="45"/>
                  </a:lnTo>
                  <a:lnTo>
                    <a:pt x="241" y="54"/>
                  </a:lnTo>
                  <a:lnTo>
                    <a:pt x="252" y="66"/>
                  </a:lnTo>
                  <a:lnTo>
                    <a:pt x="260" y="63"/>
                  </a:lnTo>
                  <a:lnTo>
                    <a:pt x="266" y="63"/>
                  </a:lnTo>
                  <a:lnTo>
                    <a:pt x="273" y="68"/>
                  </a:lnTo>
                  <a:lnTo>
                    <a:pt x="273" y="71"/>
                  </a:lnTo>
                  <a:lnTo>
                    <a:pt x="269" y="71"/>
                  </a:lnTo>
                  <a:lnTo>
                    <a:pt x="259" y="80"/>
                  </a:lnTo>
                  <a:lnTo>
                    <a:pt x="258" y="85"/>
                  </a:lnTo>
                  <a:lnTo>
                    <a:pt x="257" y="93"/>
                  </a:lnTo>
                  <a:lnTo>
                    <a:pt x="258" y="104"/>
                  </a:lnTo>
                  <a:lnTo>
                    <a:pt x="261" y="110"/>
                  </a:lnTo>
                  <a:lnTo>
                    <a:pt x="273" y="123"/>
                  </a:lnTo>
                  <a:lnTo>
                    <a:pt x="280" y="128"/>
                  </a:lnTo>
                  <a:lnTo>
                    <a:pt x="281" y="128"/>
                  </a:lnTo>
                  <a:lnTo>
                    <a:pt x="281" y="123"/>
                  </a:lnTo>
                  <a:lnTo>
                    <a:pt x="290" y="117"/>
                  </a:lnTo>
                  <a:lnTo>
                    <a:pt x="290" y="109"/>
                  </a:lnTo>
                  <a:lnTo>
                    <a:pt x="293" y="108"/>
                  </a:lnTo>
                  <a:lnTo>
                    <a:pt x="298" y="112"/>
                  </a:lnTo>
                  <a:lnTo>
                    <a:pt x="302" y="109"/>
                  </a:lnTo>
                  <a:lnTo>
                    <a:pt x="312" y="96"/>
                  </a:lnTo>
                  <a:lnTo>
                    <a:pt x="318" y="91"/>
                  </a:lnTo>
                  <a:lnTo>
                    <a:pt x="318" y="87"/>
                  </a:lnTo>
                  <a:lnTo>
                    <a:pt x="314" y="85"/>
                  </a:lnTo>
                  <a:lnTo>
                    <a:pt x="313" y="83"/>
                  </a:lnTo>
                  <a:lnTo>
                    <a:pt x="313" y="77"/>
                  </a:lnTo>
                  <a:lnTo>
                    <a:pt x="309" y="71"/>
                  </a:lnTo>
                  <a:lnTo>
                    <a:pt x="304" y="68"/>
                  </a:lnTo>
                  <a:lnTo>
                    <a:pt x="304" y="66"/>
                  </a:lnTo>
                  <a:lnTo>
                    <a:pt x="306" y="58"/>
                  </a:lnTo>
                  <a:lnTo>
                    <a:pt x="307" y="54"/>
                  </a:lnTo>
                  <a:lnTo>
                    <a:pt x="297" y="48"/>
                  </a:lnTo>
                  <a:lnTo>
                    <a:pt x="287" y="37"/>
                  </a:lnTo>
                  <a:lnTo>
                    <a:pt x="284" y="33"/>
                  </a:lnTo>
                  <a:lnTo>
                    <a:pt x="266" y="18"/>
                  </a:lnTo>
                  <a:lnTo>
                    <a:pt x="257" y="15"/>
                  </a:lnTo>
                  <a:lnTo>
                    <a:pt x="244" y="11"/>
                  </a:lnTo>
                  <a:lnTo>
                    <a:pt x="231" y="11"/>
                  </a:lnTo>
                  <a:lnTo>
                    <a:pt x="218" y="7"/>
                  </a:lnTo>
                  <a:lnTo>
                    <a:pt x="209" y="1"/>
                  </a:lnTo>
                  <a:lnTo>
                    <a:pt x="189" y="1"/>
                  </a:lnTo>
                  <a:lnTo>
                    <a:pt x="184" y="2"/>
                  </a:lnTo>
                  <a:lnTo>
                    <a:pt x="182" y="4"/>
                  </a:lnTo>
                  <a:lnTo>
                    <a:pt x="176" y="11"/>
                  </a:lnTo>
                  <a:lnTo>
                    <a:pt x="174" y="27"/>
                  </a:lnTo>
                  <a:lnTo>
                    <a:pt x="167" y="31"/>
                  </a:lnTo>
                  <a:lnTo>
                    <a:pt x="164" y="31"/>
                  </a:lnTo>
                  <a:lnTo>
                    <a:pt x="164" y="21"/>
                  </a:lnTo>
                  <a:lnTo>
                    <a:pt x="160" y="20"/>
                  </a:lnTo>
                  <a:lnTo>
                    <a:pt x="156" y="20"/>
                  </a:lnTo>
                  <a:lnTo>
                    <a:pt x="137" y="31"/>
                  </a:lnTo>
                  <a:lnTo>
                    <a:pt x="121" y="33"/>
                  </a:lnTo>
                  <a:lnTo>
                    <a:pt x="118" y="36"/>
                  </a:lnTo>
                  <a:lnTo>
                    <a:pt x="110" y="43"/>
                  </a:lnTo>
                  <a:lnTo>
                    <a:pt x="105" y="44"/>
                  </a:lnTo>
                  <a:lnTo>
                    <a:pt x="101" y="44"/>
                  </a:lnTo>
                  <a:lnTo>
                    <a:pt x="92" y="43"/>
                  </a:lnTo>
                  <a:lnTo>
                    <a:pt x="75" y="36"/>
                  </a:lnTo>
                  <a:lnTo>
                    <a:pt x="71" y="34"/>
                  </a:lnTo>
                  <a:lnTo>
                    <a:pt x="48" y="34"/>
                  </a:lnTo>
                  <a:lnTo>
                    <a:pt x="45" y="28"/>
                  </a:lnTo>
                  <a:lnTo>
                    <a:pt x="45" y="23"/>
                  </a:lnTo>
                  <a:lnTo>
                    <a:pt x="39" y="20"/>
                  </a:lnTo>
                  <a:lnTo>
                    <a:pt x="37" y="9"/>
                  </a:lnTo>
                  <a:lnTo>
                    <a:pt x="35" y="7"/>
                  </a:lnTo>
                  <a:lnTo>
                    <a:pt x="27" y="5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38" name="Freeform 259">
              <a:extLst>
                <a:ext uri="{FF2B5EF4-FFF2-40B4-BE49-F238E27FC236}">
                  <a16:creationId xmlns:a16="http://schemas.microsoft.com/office/drawing/2014/main" id="{07B96744-2A48-7705-060C-E5E448478FC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070541" y="3777036"/>
              <a:ext cx="114911" cy="135655"/>
            </a:xfrm>
            <a:custGeom>
              <a:avLst/>
              <a:gdLst>
                <a:gd name="T0" fmla="*/ 2147483647 w 212"/>
                <a:gd name="T1" fmla="*/ 0 h 235"/>
                <a:gd name="T2" fmla="*/ 0 w 212"/>
                <a:gd name="T3" fmla="*/ 0 h 235"/>
                <a:gd name="T4" fmla="*/ 2147483647 w 212"/>
                <a:gd name="T5" fmla="*/ 0 h 235"/>
                <a:gd name="T6" fmla="*/ 2147483647 w 212"/>
                <a:gd name="T7" fmla="*/ 0 h 235"/>
                <a:gd name="T8" fmla="*/ 2147483647 w 212"/>
                <a:gd name="T9" fmla="*/ 2147483647 h 235"/>
                <a:gd name="T10" fmla="*/ 2147483647 w 212"/>
                <a:gd name="T11" fmla="*/ 2147483647 h 235"/>
                <a:gd name="T12" fmla="*/ 2147483647 w 212"/>
                <a:gd name="T13" fmla="*/ 2147483647 h 235"/>
                <a:gd name="T14" fmla="*/ 0 w 212"/>
                <a:gd name="T15" fmla="*/ 2147483647 h 235"/>
                <a:gd name="T16" fmla="*/ 0 w 212"/>
                <a:gd name="T17" fmla="*/ 2147483647 h 235"/>
                <a:gd name="T18" fmla="*/ 0 w 212"/>
                <a:gd name="T19" fmla="*/ 2147483647 h 235"/>
                <a:gd name="T20" fmla="*/ 0 w 212"/>
                <a:gd name="T21" fmla="*/ 2147483647 h 235"/>
                <a:gd name="T22" fmla="*/ 0 w 212"/>
                <a:gd name="T23" fmla="*/ 2147483647 h 235"/>
                <a:gd name="T24" fmla="*/ 0 w 212"/>
                <a:gd name="T25" fmla="*/ 2147483647 h 235"/>
                <a:gd name="T26" fmla="*/ 0 w 212"/>
                <a:gd name="T27" fmla="*/ 2147483647 h 235"/>
                <a:gd name="T28" fmla="*/ 0 w 212"/>
                <a:gd name="T29" fmla="*/ 2147483647 h 235"/>
                <a:gd name="T30" fmla="*/ 0 w 212"/>
                <a:gd name="T31" fmla="*/ 2147483647 h 235"/>
                <a:gd name="T32" fmla="*/ 2147483647 w 212"/>
                <a:gd name="T33" fmla="*/ 2147483647 h 235"/>
                <a:gd name="T34" fmla="*/ 2147483647 w 212"/>
                <a:gd name="T35" fmla="*/ 2147483647 h 235"/>
                <a:gd name="T36" fmla="*/ 2147483647 w 212"/>
                <a:gd name="T37" fmla="*/ 2147483647 h 235"/>
                <a:gd name="T38" fmla="*/ 2147483647 w 212"/>
                <a:gd name="T39" fmla="*/ 2147483647 h 235"/>
                <a:gd name="T40" fmla="*/ 2147483647 w 212"/>
                <a:gd name="T41" fmla="*/ 2147483647 h 235"/>
                <a:gd name="T42" fmla="*/ 2147483647 w 212"/>
                <a:gd name="T43" fmla="*/ 2147483647 h 235"/>
                <a:gd name="T44" fmla="*/ 2147483647 w 212"/>
                <a:gd name="T45" fmla="*/ 2147483647 h 235"/>
                <a:gd name="T46" fmla="*/ 2147483647 w 212"/>
                <a:gd name="T47" fmla="*/ 2147483647 h 235"/>
                <a:gd name="T48" fmla="*/ 2147483647 w 212"/>
                <a:gd name="T49" fmla="*/ 2147483647 h 235"/>
                <a:gd name="T50" fmla="*/ 2147483647 w 212"/>
                <a:gd name="T51" fmla="*/ 2147483647 h 235"/>
                <a:gd name="T52" fmla="*/ 2147483647 w 212"/>
                <a:gd name="T53" fmla="*/ 2147483647 h 235"/>
                <a:gd name="T54" fmla="*/ 2147483647 w 212"/>
                <a:gd name="T55" fmla="*/ 2147483647 h 235"/>
                <a:gd name="T56" fmla="*/ 2147483647 w 212"/>
                <a:gd name="T57" fmla="*/ 2147483647 h 235"/>
                <a:gd name="T58" fmla="*/ 2147483647 w 212"/>
                <a:gd name="T59" fmla="*/ 2147483647 h 235"/>
                <a:gd name="T60" fmla="*/ 2147483647 w 212"/>
                <a:gd name="T61" fmla="*/ 2147483647 h 235"/>
                <a:gd name="T62" fmla="*/ 2147483647 w 212"/>
                <a:gd name="T63" fmla="*/ 2147483647 h 235"/>
                <a:gd name="T64" fmla="*/ 2147483647 w 212"/>
                <a:gd name="T65" fmla="*/ 2147483647 h 235"/>
                <a:gd name="T66" fmla="*/ 2147483647 w 212"/>
                <a:gd name="T67" fmla="*/ 2147483647 h 235"/>
                <a:gd name="T68" fmla="*/ 2147483647 w 212"/>
                <a:gd name="T69" fmla="*/ 2147483647 h 235"/>
                <a:gd name="T70" fmla="*/ 2147483647 w 212"/>
                <a:gd name="T71" fmla="*/ 2147483647 h 235"/>
                <a:gd name="T72" fmla="*/ 2147483647 w 212"/>
                <a:gd name="T73" fmla="*/ 2147483647 h 235"/>
                <a:gd name="T74" fmla="*/ 2147483647 w 212"/>
                <a:gd name="T75" fmla="*/ 0 h 23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12"/>
                <a:gd name="T115" fmla="*/ 0 h 235"/>
                <a:gd name="T116" fmla="*/ 212 w 212"/>
                <a:gd name="T117" fmla="*/ 235 h 23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12" h="235">
                  <a:moveTo>
                    <a:pt x="166" y="0"/>
                  </a:moveTo>
                  <a:lnTo>
                    <a:pt x="71" y="1"/>
                  </a:lnTo>
                  <a:lnTo>
                    <a:pt x="71" y="28"/>
                  </a:lnTo>
                  <a:lnTo>
                    <a:pt x="39" y="28"/>
                  </a:lnTo>
                  <a:lnTo>
                    <a:pt x="37" y="27"/>
                  </a:lnTo>
                  <a:lnTo>
                    <a:pt x="63" y="52"/>
                  </a:lnTo>
                  <a:lnTo>
                    <a:pt x="79" y="62"/>
                  </a:lnTo>
                  <a:lnTo>
                    <a:pt x="82" y="71"/>
                  </a:lnTo>
                  <a:lnTo>
                    <a:pt x="92" y="79"/>
                  </a:lnTo>
                  <a:lnTo>
                    <a:pt x="95" y="84"/>
                  </a:lnTo>
                  <a:lnTo>
                    <a:pt x="93" y="99"/>
                  </a:lnTo>
                  <a:lnTo>
                    <a:pt x="93" y="100"/>
                  </a:lnTo>
                  <a:lnTo>
                    <a:pt x="92" y="99"/>
                  </a:lnTo>
                  <a:lnTo>
                    <a:pt x="69" y="99"/>
                  </a:lnTo>
                  <a:lnTo>
                    <a:pt x="39" y="102"/>
                  </a:lnTo>
                  <a:lnTo>
                    <a:pt x="16" y="138"/>
                  </a:lnTo>
                  <a:lnTo>
                    <a:pt x="15" y="142"/>
                  </a:lnTo>
                  <a:lnTo>
                    <a:pt x="9" y="152"/>
                  </a:lnTo>
                  <a:lnTo>
                    <a:pt x="6" y="157"/>
                  </a:lnTo>
                  <a:lnTo>
                    <a:pt x="5" y="158"/>
                  </a:lnTo>
                  <a:lnTo>
                    <a:pt x="7" y="165"/>
                  </a:lnTo>
                  <a:lnTo>
                    <a:pt x="6" y="168"/>
                  </a:lnTo>
                  <a:lnTo>
                    <a:pt x="4" y="170"/>
                  </a:lnTo>
                  <a:lnTo>
                    <a:pt x="2" y="186"/>
                  </a:lnTo>
                  <a:lnTo>
                    <a:pt x="0" y="188"/>
                  </a:lnTo>
                  <a:lnTo>
                    <a:pt x="2" y="191"/>
                  </a:lnTo>
                  <a:lnTo>
                    <a:pt x="7" y="195"/>
                  </a:lnTo>
                  <a:lnTo>
                    <a:pt x="9" y="196"/>
                  </a:lnTo>
                  <a:lnTo>
                    <a:pt x="16" y="201"/>
                  </a:lnTo>
                  <a:lnTo>
                    <a:pt x="17" y="204"/>
                  </a:lnTo>
                  <a:lnTo>
                    <a:pt x="31" y="213"/>
                  </a:lnTo>
                  <a:lnTo>
                    <a:pt x="37" y="217"/>
                  </a:lnTo>
                  <a:lnTo>
                    <a:pt x="47" y="222"/>
                  </a:lnTo>
                  <a:lnTo>
                    <a:pt x="55" y="226"/>
                  </a:lnTo>
                  <a:lnTo>
                    <a:pt x="66" y="227"/>
                  </a:lnTo>
                  <a:lnTo>
                    <a:pt x="86" y="227"/>
                  </a:lnTo>
                  <a:lnTo>
                    <a:pt x="96" y="228"/>
                  </a:lnTo>
                  <a:lnTo>
                    <a:pt x="112" y="232"/>
                  </a:lnTo>
                  <a:lnTo>
                    <a:pt x="119" y="235"/>
                  </a:lnTo>
                  <a:lnTo>
                    <a:pt x="119" y="232"/>
                  </a:lnTo>
                  <a:lnTo>
                    <a:pt x="125" y="222"/>
                  </a:lnTo>
                  <a:lnTo>
                    <a:pt x="134" y="220"/>
                  </a:lnTo>
                  <a:lnTo>
                    <a:pt x="138" y="213"/>
                  </a:lnTo>
                  <a:lnTo>
                    <a:pt x="145" y="211"/>
                  </a:lnTo>
                  <a:lnTo>
                    <a:pt x="147" y="206"/>
                  </a:lnTo>
                  <a:lnTo>
                    <a:pt x="149" y="199"/>
                  </a:lnTo>
                  <a:lnTo>
                    <a:pt x="152" y="195"/>
                  </a:lnTo>
                  <a:lnTo>
                    <a:pt x="155" y="194"/>
                  </a:lnTo>
                  <a:lnTo>
                    <a:pt x="156" y="189"/>
                  </a:lnTo>
                  <a:lnTo>
                    <a:pt x="165" y="184"/>
                  </a:lnTo>
                  <a:lnTo>
                    <a:pt x="165" y="180"/>
                  </a:lnTo>
                  <a:lnTo>
                    <a:pt x="163" y="175"/>
                  </a:lnTo>
                  <a:lnTo>
                    <a:pt x="162" y="174"/>
                  </a:lnTo>
                  <a:lnTo>
                    <a:pt x="162" y="169"/>
                  </a:lnTo>
                  <a:lnTo>
                    <a:pt x="163" y="165"/>
                  </a:lnTo>
                  <a:lnTo>
                    <a:pt x="172" y="159"/>
                  </a:lnTo>
                  <a:lnTo>
                    <a:pt x="173" y="158"/>
                  </a:lnTo>
                  <a:lnTo>
                    <a:pt x="177" y="157"/>
                  </a:lnTo>
                  <a:lnTo>
                    <a:pt x="189" y="146"/>
                  </a:lnTo>
                  <a:lnTo>
                    <a:pt x="208" y="134"/>
                  </a:lnTo>
                  <a:lnTo>
                    <a:pt x="211" y="127"/>
                  </a:lnTo>
                  <a:lnTo>
                    <a:pt x="212" y="124"/>
                  </a:lnTo>
                  <a:lnTo>
                    <a:pt x="212" y="121"/>
                  </a:lnTo>
                  <a:lnTo>
                    <a:pt x="211" y="121"/>
                  </a:lnTo>
                  <a:lnTo>
                    <a:pt x="210" y="121"/>
                  </a:lnTo>
                  <a:lnTo>
                    <a:pt x="209" y="118"/>
                  </a:lnTo>
                  <a:lnTo>
                    <a:pt x="203" y="116"/>
                  </a:lnTo>
                  <a:lnTo>
                    <a:pt x="195" y="121"/>
                  </a:lnTo>
                  <a:lnTo>
                    <a:pt x="193" y="121"/>
                  </a:lnTo>
                  <a:lnTo>
                    <a:pt x="187" y="116"/>
                  </a:lnTo>
                  <a:lnTo>
                    <a:pt x="183" y="110"/>
                  </a:lnTo>
                  <a:lnTo>
                    <a:pt x="184" y="111"/>
                  </a:lnTo>
                  <a:lnTo>
                    <a:pt x="172" y="110"/>
                  </a:lnTo>
                  <a:lnTo>
                    <a:pt x="163" y="108"/>
                  </a:lnTo>
                  <a:lnTo>
                    <a:pt x="163" y="107"/>
                  </a:lnTo>
                  <a:lnTo>
                    <a:pt x="166" y="72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39" name="Freeform 260">
              <a:extLst>
                <a:ext uri="{FF2B5EF4-FFF2-40B4-BE49-F238E27FC236}">
                  <a16:creationId xmlns:a16="http://schemas.microsoft.com/office/drawing/2014/main" id="{CDBEA2D9-BDB3-15FE-57B8-A0A727A33CF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160082" y="3760269"/>
              <a:ext cx="31340" cy="82308"/>
            </a:xfrm>
            <a:custGeom>
              <a:avLst/>
              <a:gdLst>
                <a:gd name="T0" fmla="*/ 0 w 62"/>
                <a:gd name="T1" fmla="*/ 0 h 145"/>
                <a:gd name="T2" fmla="*/ 0 w 62"/>
                <a:gd name="T3" fmla="*/ 0 h 145"/>
                <a:gd name="T4" fmla="*/ 0 w 62"/>
                <a:gd name="T5" fmla="*/ 0 h 145"/>
                <a:gd name="T6" fmla="*/ 0 w 62"/>
                <a:gd name="T7" fmla="*/ 0 h 145"/>
                <a:gd name="T8" fmla="*/ 0 w 62"/>
                <a:gd name="T9" fmla="*/ 0 h 145"/>
                <a:gd name="T10" fmla="*/ 0 w 62"/>
                <a:gd name="T11" fmla="*/ 0 h 145"/>
                <a:gd name="T12" fmla="*/ 0 w 62"/>
                <a:gd name="T13" fmla="*/ 2147483647 h 145"/>
                <a:gd name="T14" fmla="*/ 0 w 62"/>
                <a:gd name="T15" fmla="*/ 2147483647 h 145"/>
                <a:gd name="T16" fmla="*/ 0 w 62"/>
                <a:gd name="T17" fmla="*/ 2147483647 h 145"/>
                <a:gd name="T18" fmla="*/ 0 w 62"/>
                <a:gd name="T19" fmla="*/ 2147483647 h 145"/>
                <a:gd name="T20" fmla="*/ 0 w 62"/>
                <a:gd name="T21" fmla="*/ 2147483647 h 145"/>
                <a:gd name="T22" fmla="*/ 0 w 62"/>
                <a:gd name="T23" fmla="*/ 2147483647 h 145"/>
                <a:gd name="T24" fmla="*/ 0 w 62"/>
                <a:gd name="T25" fmla="*/ 2147483647 h 145"/>
                <a:gd name="T26" fmla="*/ 0 w 62"/>
                <a:gd name="T27" fmla="*/ 2147483647 h 145"/>
                <a:gd name="T28" fmla="*/ 0 w 62"/>
                <a:gd name="T29" fmla="*/ 2147483647 h 145"/>
                <a:gd name="T30" fmla="*/ 0 w 62"/>
                <a:gd name="T31" fmla="*/ 2147483647 h 145"/>
                <a:gd name="T32" fmla="*/ 0 w 62"/>
                <a:gd name="T33" fmla="*/ 2147483647 h 145"/>
                <a:gd name="T34" fmla="*/ 0 w 62"/>
                <a:gd name="T35" fmla="*/ 2147483647 h 145"/>
                <a:gd name="T36" fmla="*/ 0 w 62"/>
                <a:gd name="T37" fmla="*/ 2147483647 h 145"/>
                <a:gd name="T38" fmla="*/ 0 w 62"/>
                <a:gd name="T39" fmla="*/ 2147483647 h 145"/>
                <a:gd name="T40" fmla="*/ 0 w 62"/>
                <a:gd name="T41" fmla="*/ 2147483647 h 145"/>
                <a:gd name="T42" fmla="*/ 0 w 62"/>
                <a:gd name="T43" fmla="*/ 0 h 145"/>
                <a:gd name="T44" fmla="*/ 0 w 62"/>
                <a:gd name="T45" fmla="*/ 0 h 145"/>
                <a:gd name="T46" fmla="*/ 0 w 62"/>
                <a:gd name="T47" fmla="*/ 0 h 145"/>
                <a:gd name="T48" fmla="*/ 0 w 62"/>
                <a:gd name="T49" fmla="*/ 0 h 145"/>
                <a:gd name="T50" fmla="*/ 0 w 62"/>
                <a:gd name="T51" fmla="*/ 0 h 145"/>
                <a:gd name="T52" fmla="*/ 0 w 62"/>
                <a:gd name="T53" fmla="*/ 0 h 145"/>
                <a:gd name="T54" fmla="*/ 0 w 62"/>
                <a:gd name="T55" fmla="*/ 0 h 145"/>
                <a:gd name="T56" fmla="*/ 0 w 62"/>
                <a:gd name="T57" fmla="*/ 0 h 14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62"/>
                <a:gd name="T88" fmla="*/ 0 h 145"/>
                <a:gd name="T89" fmla="*/ 62 w 62"/>
                <a:gd name="T90" fmla="*/ 145 h 14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62" h="145">
                  <a:moveTo>
                    <a:pt x="46" y="2"/>
                  </a:moveTo>
                  <a:lnTo>
                    <a:pt x="41" y="0"/>
                  </a:lnTo>
                  <a:lnTo>
                    <a:pt x="36" y="3"/>
                  </a:lnTo>
                  <a:lnTo>
                    <a:pt x="21" y="31"/>
                  </a:lnTo>
                  <a:lnTo>
                    <a:pt x="16" y="31"/>
                  </a:lnTo>
                  <a:lnTo>
                    <a:pt x="3" y="34"/>
                  </a:lnTo>
                  <a:lnTo>
                    <a:pt x="3" y="106"/>
                  </a:lnTo>
                  <a:lnTo>
                    <a:pt x="2" y="141"/>
                  </a:lnTo>
                  <a:lnTo>
                    <a:pt x="0" y="142"/>
                  </a:lnTo>
                  <a:lnTo>
                    <a:pt x="9" y="144"/>
                  </a:lnTo>
                  <a:lnTo>
                    <a:pt x="21" y="145"/>
                  </a:lnTo>
                  <a:lnTo>
                    <a:pt x="20" y="144"/>
                  </a:lnTo>
                  <a:lnTo>
                    <a:pt x="20" y="136"/>
                  </a:lnTo>
                  <a:lnTo>
                    <a:pt x="21" y="132"/>
                  </a:lnTo>
                  <a:lnTo>
                    <a:pt x="27" y="126"/>
                  </a:lnTo>
                  <a:lnTo>
                    <a:pt x="38" y="118"/>
                  </a:lnTo>
                  <a:lnTo>
                    <a:pt x="45" y="110"/>
                  </a:lnTo>
                  <a:lnTo>
                    <a:pt x="47" y="102"/>
                  </a:lnTo>
                  <a:lnTo>
                    <a:pt x="48" y="102"/>
                  </a:lnTo>
                  <a:lnTo>
                    <a:pt x="51" y="89"/>
                  </a:lnTo>
                  <a:lnTo>
                    <a:pt x="52" y="77"/>
                  </a:lnTo>
                  <a:lnTo>
                    <a:pt x="51" y="56"/>
                  </a:lnTo>
                  <a:lnTo>
                    <a:pt x="53" y="41"/>
                  </a:lnTo>
                  <a:lnTo>
                    <a:pt x="57" y="28"/>
                  </a:lnTo>
                  <a:lnTo>
                    <a:pt x="62" y="18"/>
                  </a:lnTo>
                  <a:lnTo>
                    <a:pt x="62" y="13"/>
                  </a:lnTo>
                  <a:lnTo>
                    <a:pt x="58" y="8"/>
                  </a:lnTo>
                  <a:lnTo>
                    <a:pt x="47" y="3"/>
                  </a:lnTo>
                  <a:lnTo>
                    <a:pt x="46" y="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40" name="Freeform 261">
              <a:extLst>
                <a:ext uri="{FF2B5EF4-FFF2-40B4-BE49-F238E27FC236}">
                  <a16:creationId xmlns:a16="http://schemas.microsoft.com/office/drawing/2014/main" id="{28BDCE54-47B1-41E7-D740-21765F67DEA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134712" y="3889828"/>
              <a:ext cx="67155" cy="39630"/>
            </a:xfrm>
            <a:custGeom>
              <a:avLst/>
              <a:gdLst>
                <a:gd name="T0" fmla="*/ 0 w 125"/>
                <a:gd name="T1" fmla="*/ 0 h 71"/>
                <a:gd name="T2" fmla="*/ 0 w 125"/>
                <a:gd name="T3" fmla="*/ 0 h 71"/>
                <a:gd name="T4" fmla="*/ 0 w 125"/>
                <a:gd name="T5" fmla="*/ 0 h 71"/>
                <a:gd name="T6" fmla="*/ 0 w 125"/>
                <a:gd name="T7" fmla="*/ 0 h 71"/>
                <a:gd name="T8" fmla="*/ 0 w 125"/>
                <a:gd name="T9" fmla="*/ 0 h 71"/>
                <a:gd name="T10" fmla="*/ 0 w 125"/>
                <a:gd name="T11" fmla="*/ 0 h 71"/>
                <a:gd name="T12" fmla="*/ 0 w 125"/>
                <a:gd name="T13" fmla="*/ 0 h 71"/>
                <a:gd name="T14" fmla="*/ 0 w 125"/>
                <a:gd name="T15" fmla="*/ 0 h 71"/>
                <a:gd name="T16" fmla="*/ 0 w 125"/>
                <a:gd name="T17" fmla="*/ 0 h 71"/>
                <a:gd name="T18" fmla="*/ 0 w 125"/>
                <a:gd name="T19" fmla="*/ 0 h 71"/>
                <a:gd name="T20" fmla="*/ 0 w 125"/>
                <a:gd name="T21" fmla="*/ 0 h 71"/>
                <a:gd name="T22" fmla="*/ 0 w 125"/>
                <a:gd name="T23" fmla="*/ 0 h 71"/>
                <a:gd name="T24" fmla="*/ 0 w 125"/>
                <a:gd name="T25" fmla="*/ 0 h 71"/>
                <a:gd name="T26" fmla="*/ 2147483647 w 125"/>
                <a:gd name="T27" fmla="*/ 0 h 71"/>
                <a:gd name="T28" fmla="*/ 2147483647 w 125"/>
                <a:gd name="T29" fmla="*/ 0 h 71"/>
                <a:gd name="T30" fmla="*/ 2147483647 w 125"/>
                <a:gd name="T31" fmla="*/ 0 h 71"/>
                <a:gd name="T32" fmla="*/ 2147483647 w 125"/>
                <a:gd name="T33" fmla="*/ 0 h 71"/>
                <a:gd name="T34" fmla="*/ 2147483647 w 125"/>
                <a:gd name="T35" fmla="*/ 0 h 71"/>
                <a:gd name="T36" fmla="*/ 2147483647 w 125"/>
                <a:gd name="T37" fmla="*/ 0 h 71"/>
                <a:gd name="T38" fmla="*/ 2147483647 w 125"/>
                <a:gd name="T39" fmla="*/ 0 h 71"/>
                <a:gd name="T40" fmla="*/ 2147483647 w 125"/>
                <a:gd name="T41" fmla="*/ 0 h 71"/>
                <a:gd name="T42" fmla="*/ 2147483647 w 125"/>
                <a:gd name="T43" fmla="*/ 0 h 71"/>
                <a:gd name="T44" fmla="*/ 2147483647 w 125"/>
                <a:gd name="T45" fmla="*/ 0 h 71"/>
                <a:gd name="T46" fmla="*/ 2147483647 w 125"/>
                <a:gd name="T47" fmla="*/ 0 h 71"/>
                <a:gd name="T48" fmla="*/ 2147483647 w 125"/>
                <a:gd name="T49" fmla="*/ 0 h 71"/>
                <a:gd name="T50" fmla="*/ 2147483647 w 125"/>
                <a:gd name="T51" fmla="*/ 0 h 71"/>
                <a:gd name="T52" fmla="*/ 2147483647 w 125"/>
                <a:gd name="T53" fmla="*/ 0 h 71"/>
                <a:gd name="T54" fmla="*/ 2147483647 w 125"/>
                <a:gd name="T55" fmla="*/ 0 h 71"/>
                <a:gd name="T56" fmla="*/ 2147483647 w 125"/>
                <a:gd name="T57" fmla="*/ 0 h 71"/>
                <a:gd name="T58" fmla="*/ 2147483647 w 125"/>
                <a:gd name="T59" fmla="*/ 0 h 71"/>
                <a:gd name="T60" fmla="*/ 2147483647 w 125"/>
                <a:gd name="T61" fmla="*/ 0 h 71"/>
                <a:gd name="T62" fmla="*/ 2147483647 w 125"/>
                <a:gd name="T63" fmla="*/ 0 h 71"/>
                <a:gd name="T64" fmla="*/ 2147483647 w 125"/>
                <a:gd name="T65" fmla="*/ 0 h 71"/>
                <a:gd name="T66" fmla="*/ 2147483647 w 125"/>
                <a:gd name="T67" fmla="*/ 0 h 71"/>
                <a:gd name="T68" fmla="*/ 2147483647 w 125"/>
                <a:gd name="T69" fmla="*/ 0 h 71"/>
                <a:gd name="T70" fmla="*/ 2147483647 w 125"/>
                <a:gd name="T71" fmla="*/ 0 h 71"/>
                <a:gd name="T72" fmla="*/ 2147483647 w 125"/>
                <a:gd name="T73" fmla="*/ 0 h 71"/>
                <a:gd name="T74" fmla="*/ 0 w 125"/>
                <a:gd name="T75" fmla="*/ 0 h 71"/>
                <a:gd name="T76" fmla="*/ 0 w 125"/>
                <a:gd name="T77" fmla="*/ 0 h 7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25"/>
                <a:gd name="T118" fmla="*/ 0 h 71"/>
                <a:gd name="T119" fmla="*/ 125 w 125"/>
                <a:gd name="T120" fmla="*/ 71 h 7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25" h="71">
                  <a:moveTo>
                    <a:pt x="33" y="0"/>
                  </a:moveTo>
                  <a:lnTo>
                    <a:pt x="31" y="4"/>
                  </a:lnTo>
                  <a:lnTo>
                    <a:pt x="28" y="11"/>
                  </a:lnTo>
                  <a:lnTo>
                    <a:pt x="26" y="16"/>
                  </a:lnTo>
                  <a:lnTo>
                    <a:pt x="19" y="18"/>
                  </a:lnTo>
                  <a:lnTo>
                    <a:pt x="15" y="25"/>
                  </a:lnTo>
                  <a:lnTo>
                    <a:pt x="6" y="27"/>
                  </a:lnTo>
                  <a:lnTo>
                    <a:pt x="0" y="37"/>
                  </a:lnTo>
                  <a:lnTo>
                    <a:pt x="0" y="40"/>
                  </a:lnTo>
                  <a:lnTo>
                    <a:pt x="9" y="48"/>
                  </a:lnTo>
                  <a:lnTo>
                    <a:pt x="21" y="53"/>
                  </a:lnTo>
                  <a:lnTo>
                    <a:pt x="36" y="55"/>
                  </a:lnTo>
                  <a:lnTo>
                    <a:pt x="46" y="56"/>
                  </a:lnTo>
                  <a:lnTo>
                    <a:pt x="58" y="65"/>
                  </a:lnTo>
                  <a:lnTo>
                    <a:pt x="76" y="70"/>
                  </a:lnTo>
                  <a:lnTo>
                    <a:pt x="103" y="71"/>
                  </a:lnTo>
                  <a:lnTo>
                    <a:pt x="120" y="64"/>
                  </a:lnTo>
                  <a:lnTo>
                    <a:pt x="125" y="59"/>
                  </a:lnTo>
                  <a:lnTo>
                    <a:pt x="123" y="56"/>
                  </a:lnTo>
                  <a:lnTo>
                    <a:pt x="123" y="38"/>
                  </a:lnTo>
                  <a:lnTo>
                    <a:pt x="123" y="37"/>
                  </a:lnTo>
                  <a:lnTo>
                    <a:pt x="118" y="32"/>
                  </a:lnTo>
                  <a:lnTo>
                    <a:pt x="109" y="29"/>
                  </a:lnTo>
                  <a:lnTo>
                    <a:pt x="107" y="27"/>
                  </a:lnTo>
                  <a:lnTo>
                    <a:pt x="100" y="28"/>
                  </a:lnTo>
                  <a:lnTo>
                    <a:pt x="95" y="33"/>
                  </a:lnTo>
                  <a:lnTo>
                    <a:pt x="90" y="33"/>
                  </a:lnTo>
                  <a:lnTo>
                    <a:pt x="85" y="31"/>
                  </a:lnTo>
                  <a:lnTo>
                    <a:pt x="82" y="28"/>
                  </a:lnTo>
                  <a:lnTo>
                    <a:pt x="82" y="26"/>
                  </a:lnTo>
                  <a:lnTo>
                    <a:pt x="75" y="26"/>
                  </a:lnTo>
                  <a:lnTo>
                    <a:pt x="73" y="23"/>
                  </a:lnTo>
                  <a:lnTo>
                    <a:pt x="71" y="20"/>
                  </a:lnTo>
                  <a:lnTo>
                    <a:pt x="66" y="20"/>
                  </a:lnTo>
                  <a:lnTo>
                    <a:pt x="59" y="15"/>
                  </a:lnTo>
                  <a:lnTo>
                    <a:pt x="57" y="10"/>
                  </a:lnTo>
                  <a:lnTo>
                    <a:pt x="52" y="4"/>
                  </a:lnTo>
                  <a:lnTo>
                    <a:pt x="39" y="4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41" name="Freeform 262">
              <a:extLst>
                <a:ext uri="{FF2B5EF4-FFF2-40B4-BE49-F238E27FC236}">
                  <a16:creationId xmlns:a16="http://schemas.microsoft.com/office/drawing/2014/main" id="{748AF516-1B5E-819B-CFC8-1DA489BB32B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257084" y="3991950"/>
              <a:ext cx="97002" cy="91453"/>
            </a:xfrm>
            <a:custGeom>
              <a:avLst/>
              <a:gdLst>
                <a:gd name="T0" fmla="*/ 2147483647 w 180"/>
                <a:gd name="T1" fmla="*/ 0 h 157"/>
                <a:gd name="T2" fmla="*/ 2147483647 w 180"/>
                <a:gd name="T3" fmla="*/ 0 h 157"/>
                <a:gd name="T4" fmla="*/ 2147483647 w 180"/>
                <a:gd name="T5" fmla="*/ 0 h 157"/>
                <a:gd name="T6" fmla="*/ 2147483647 w 180"/>
                <a:gd name="T7" fmla="*/ 0 h 157"/>
                <a:gd name="T8" fmla="*/ 2147483647 w 180"/>
                <a:gd name="T9" fmla="*/ 0 h 157"/>
                <a:gd name="T10" fmla="*/ 0 w 180"/>
                <a:gd name="T11" fmla="*/ 0 h 157"/>
                <a:gd name="T12" fmla="*/ 0 w 180"/>
                <a:gd name="T13" fmla="*/ 0 h 157"/>
                <a:gd name="T14" fmla="*/ 0 w 180"/>
                <a:gd name="T15" fmla="*/ 0 h 157"/>
                <a:gd name="T16" fmla="*/ 0 w 180"/>
                <a:gd name="T17" fmla="*/ 0 h 157"/>
                <a:gd name="T18" fmla="*/ 0 w 180"/>
                <a:gd name="T19" fmla="*/ 0 h 157"/>
                <a:gd name="T20" fmla="*/ 0 w 180"/>
                <a:gd name="T21" fmla="*/ 0 h 157"/>
                <a:gd name="T22" fmla="*/ 0 w 180"/>
                <a:gd name="T23" fmla="*/ 0 h 157"/>
                <a:gd name="T24" fmla="*/ 0 w 180"/>
                <a:gd name="T25" fmla="*/ 0 h 157"/>
                <a:gd name="T26" fmla="*/ 0 w 180"/>
                <a:gd name="T27" fmla="*/ 2147483647 h 157"/>
                <a:gd name="T28" fmla="*/ 0 w 180"/>
                <a:gd name="T29" fmla="*/ 2147483647 h 157"/>
                <a:gd name="T30" fmla="*/ 2147483647 w 180"/>
                <a:gd name="T31" fmla="*/ 0 h 157"/>
                <a:gd name="T32" fmla="*/ 0 w 180"/>
                <a:gd name="T33" fmla="*/ 0 h 157"/>
                <a:gd name="T34" fmla="*/ 2147483647 w 180"/>
                <a:gd name="T35" fmla="*/ 0 h 157"/>
                <a:gd name="T36" fmla="*/ 2147483647 w 180"/>
                <a:gd name="T37" fmla="*/ 2147483647 h 157"/>
                <a:gd name="T38" fmla="*/ 2147483647 w 180"/>
                <a:gd name="T39" fmla="*/ 2147483647 h 157"/>
                <a:gd name="T40" fmla="*/ 2147483647 w 180"/>
                <a:gd name="T41" fmla="*/ 2147483647 h 157"/>
                <a:gd name="T42" fmla="*/ 2147483647 w 180"/>
                <a:gd name="T43" fmla="*/ 2147483647 h 157"/>
                <a:gd name="T44" fmla="*/ 2147483647 w 180"/>
                <a:gd name="T45" fmla="*/ 2147483647 h 157"/>
                <a:gd name="T46" fmla="*/ 2147483647 w 180"/>
                <a:gd name="T47" fmla="*/ 2147483647 h 157"/>
                <a:gd name="T48" fmla="*/ 2147483647 w 180"/>
                <a:gd name="T49" fmla="*/ 2147483647 h 157"/>
                <a:gd name="T50" fmla="*/ 2147483647 w 180"/>
                <a:gd name="T51" fmla="*/ 2147483647 h 157"/>
                <a:gd name="T52" fmla="*/ 2147483647 w 180"/>
                <a:gd name="T53" fmla="*/ 2147483647 h 157"/>
                <a:gd name="T54" fmla="*/ 2147483647 w 180"/>
                <a:gd name="T55" fmla="*/ 2147483647 h 157"/>
                <a:gd name="T56" fmla="*/ 2147483647 w 180"/>
                <a:gd name="T57" fmla="*/ 2147483647 h 157"/>
                <a:gd name="T58" fmla="*/ 2147483647 w 180"/>
                <a:gd name="T59" fmla="*/ 2147483647 h 157"/>
                <a:gd name="T60" fmla="*/ 2147483647 w 180"/>
                <a:gd name="T61" fmla="*/ 2147483647 h 157"/>
                <a:gd name="T62" fmla="*/ 2147483647 w 180"/>
                <a:gd name="T63" fmla="*/ 2147483647 h 157"/>
                <a:gd name="T64" fmla="*/ 2147483647 w 180"/>
                <a:gd name="T65" fmla="*/ 2147483647 h 157"/>
                <a:gd name="T66" fmla="*/ 2147483647 w 180"/>
                <a:gd name="T67" fmla="*/ 2147483647 h 157"/>
                <a:gd name="T68" fmla="*/ 2147483647 w 180"/>
                <a:gd name="T69" fmla="*/ 2147483647 h 157"/>
                <a:gd name="T70" fmla="*/ 2147483647 w 180"/>
                <a:gd name="T71" fmla="*/ 0 h 157"/>
                <a:gd name="T72" fmla="*/ 2147483647 w 180"/>
                <a:gd name="T73" fmla="*/ 0 h 157"/>
                <a:gd name="T74" fmla="*/ 2147483647 w 180"/>
                <a:gd name="T75" fmla="*/ 0 h 157"/>
                <a:gd name="T76" fmla="*/ 2147483647 w 180"/>
                <a:gd name="T77" fmla="*/ 0 h 15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80"/>
                <a:gd name="T118" fmla="*/ 0 h 157"/>
                <a:gd name="T119" fmla="*/ 180 w 180"/>
                <a:gd name="T120" fmla="*/ 157 h 157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80" h="157">
                  <a:moveTo>
                    <a:pt x="121" y="16"/>
                  </a:moveTo>
                  <a:lnTo>
                    <a:pt x="118" y="18"/>
                  </a:lnTo>
                  <a:lnTo>
                    <a:pt x="104" y="21"/>
                  </a:lnTo>
                  <a:lnTo>
                    <a:pt x="94" y="21"/>
                  </a:lnTo>
                  <a:lnTo>
                    <a:pt x="89" y="20"/>
                  </a:lnTo>
                  <a:lnTo>
                    <a:pt x="81" y="12"/>
                  </a:lnTo>
                  <a:lnTo>
                    <a:pt x="72" y="9"/>
                  </a:lnTo>
                  <a:lnTo>
                    <a:pt x="67" y="9"/>
                  </a:lnTo>
                  <a:lnTo>
                    <a:pt x="59" y="11"/>
                  </a:lnTo>
                  <a:lnTo>
                    <a:pt x="50" y="11"/>
                  </a:lnTo>
                  <a:lnTo>
                    <a:pt x="27" y="5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6" y="6"/>
                  </a:lnTo>
                  <a:lnTo>
                    <a:pt x="5" y="7"/>
                  </a:lnTo>
                  <a:lnTo>
                    <a:pt x="2" y="12"/>
                  </a:lnTo>
                  <a:lnTo>
                    <a:pt x="2" y="15"/>
                  </a:lnTo>
                  <a:lnTo>
                    <a:pt x="6" y="21"/>
                  </a:lnTo>
                  <a:lnTo>
                    <a:pt x="6" y="33"/>
                  </a:lnTo>
                  <a:lnTo>
                    <a:pt x="2" y="36"/>
                  </a:lnTo>
                  <a:lnTo>
                    <a:pt x="0" y="42"/>
                  </a:lnTo>
                  <a:lnTo>
                    <a:pt x="3" y="53"/>
                  </a:lnTo>
                  <a:lnTo>
                    <a:pt x="7" y="60"/>
                  </a:lnTo>
                  <a:lnTo>
                    <a:pt x="11" y="66"/>
                  </a:lnTo>
                  <a:lnTo>
                    <a:pt x="18" y="71"/>
                  </a:lnTo>
                  <a:lnTo>
                    <a:pt x="23" y="71"/>
                  </a:lnTo>
                  <a:lnTo>
                    <a:pt x="33" y="76"/>
                  </a:lnTo>
                  <a:lnTo>
                    <a:pt x="39" y="82"/>
                  </a:lnTo>
                  <a:lnTo>
                    <a:pt x="44" y="85"/>
                  </a:lnTo>
                  <a:lnTo>
                    <a:pt x="45" y="85"/>
                  </a:lnTo>
                  <a:lnTo>
                    <a:pt x="50" y="74"/>
                  </a:lnTo>
                  <a:lnTo>
                    <a:pt x="49" y="69"/>
                  </a:lnTo>
                  <a:lnTo>
                    <a:pt x="40" y="65"/>
                  </a:lnTo>
                  <a:lnTo>
                    <a:pt x="39" y="61"/>
                  </a:lnTo>
                  <a:lnTo>
                    <a:pt x="45" y="59"/>
                  </a:lnTo>
                  <a:lnTo>
                    <a:pt x="51" y="60"/>
                  </a:lnTo>
                  <a:lnTo>
                    <a:pt x="59" y="68"/>
                  </a:lnTo>
                  <a:lnTo>
                    <a:pt x="65" y="77"/>
                  </a:lnTo>
                  <a:lnTo>
                    <a:pt x="68" y="83"/>
                  </a:lnTo>
                  <a:lnTo>
                    <a:pt x="76" y="92"/>
                  </a:lnTo>
                  <a:lnTo>
                    <a:pt x="78" y="92"/>
                  </a:lnTo>
                  <a:lnTo>
                    <a:pt x="106" y="104"/>
                  </a:lnTo>
                  <a:lnTo>
                    <a:pt x="119" y="115"/>
                  </a:lnTo>
                  <a:lnTo>
                    <a:pt x="121" y="142"/>
                  </a:lnTo>
                  <a:lnTo>
                    <a:pt x="122" y="144"/>
                  </a:lnTo>
                  <a:lnTo>
                    <a:pt x="130" y="149"/>
                  </a:lnTo>
                  <a:lnTo>
                    <a:pt x="138" y="151"/>
                  </a:lnTo>
                  <a:lnTo>
                    <a:pt x="141" y="150"/>
                  </a:lnTo>
                  <a:lnTo>
                    <a:pt x="136" y="139"/>
                  </a:lnTo>
                  <a:lnTo>
                    <a:pt x="140" y="136"/>
                  </a:lnTo>
                  <a:lnTo>
                    <a:pt x="141" y="136"/>
                  </a:lnTo>
                  <a:lnTo>
                    <a:pt x="145" y="139"/>
                  </a:lnTo>
                  <a:lnTo>
                    <a:pt x="151" y="145"/>
                  </a:lnTo>
                  <a:lnTo>
                    <a:pt x="154" y="156"/>
                  </a:lnTo>
                  <a:lnTo>
                    <a:pt x="157" y="157"/>
                  </a:lnTo>
                  <a:lnTo>
                    <a:pt x="158" y="157"/>
                  </a:lnTo>
                  <a:lnTo>
                    <a:pt x="165" y="147"/>
                  </a:lnTo>
                  <a:lnTo>
                    <a:pt x="168" y="142"/>
                  </a:lnTo>
                  <a:lnTo>
                    <a:pt x="167" y="130"/>
                  </a:lnTo>
                  <a:lnTo>
                    <a:pt x="168" y="126"/>
                  </a:lnTo>
                  <a:lnTo>
                    <a:pt x="172" y="123"/>
                  </a:lnTo>
                  <a:lnTo>
                    <a:pt x="173" y="118"/>
                  </a:lnTo>
                  <a:lnTo>
                    <a:pt x="169" y="114"/>
                  </a:lnTo>
                  <a:lnTo>
                    <a:pt x="162" y="109"/>
                  </a:lnTo>
                  <a:lnTo>
                    <a:pt x="164" y="95"/>
                  </a:lnTo>
                  <a:lnTo>
                    <a:pt x="170" y="86"/>
                  </a:lnTo>
                  <a:lnTo>
                    <a:pt x="174" y="86"/>
                  </a:lnTo>
                  <a:lnTo>
                    <a:pt x="176" y="87"/>
                  </a:lnTo>
                  <a:lnTo>
                    <a:pt x="179" y="87"/>
                  </a:lnTo>
                  <a:lnTo>
                    <a:pt x="180" y="86"/>
                  </a:lnTo>
                  <a:lnTo>
                    <a:pt x="174" y="81"/>
                  </a:lnTo>
                  <a:lnTo>
                    <a:pt x="161" y="72"/>
                  </a:lnTo>
                  <a:lnTo>
                    <a:pt x="141" y="54"/>
                  </a:lnTo>
                  <a:lnTo>
                    <a:pt x="133" y="43"/>
                  </a:lnTo>
                  <a:lnTo>
                    <a:pt x="127" y="27"/>
                  </a:lnTo>
                  <a:lnTo>
                    <a:pt x="125" y="25"/>
                  </a:lnTo>
                  <a:lnTo>
                    <a:pt x="122" y="16"/>
                  </a:lnTo>
                  <a:lnTo>
                    <a:pt x="121" y="1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42" name="Freeform 263">
              <a:extLst>
                <a:ext uri="{FF2B5EF4-FFF2-40B4-BE49-F238E27FC236}">
                  <a16:creationId xmlns:a16="http://schemas.microsoft.com/office/drawing/2014/main" id="{C473A75E-DBB7-BF00-A749-49389FBF92C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154112" y="3838004"/>
              <a:ext cx="179081" cy="96025"/>
            </a:xfrm>
            <a:custGeom>
              <a:avLst/>
              <a:gdLst>
                <a:gd name="T0" fmla="*/ 2147483647 w 337"/>
                <a:gd name="T1" fmla="*/ 0 h 166"/>
                <a:gd name="T2" fmla="*/ 2147483647 w 337"/>
                <a:gd name="T3" fmla="*/ 0 h 166"/>
                <a:gd name="T4" fmla="*/ 2147483647 w 337"/>
                <a:gd name="T5" fmla="*/ 0 h 166"/>
                <a:gd name="T6" fmla="*/ 2147483647 w 337"/>
                <a:gd name="T7" fmla="*/ 0 h 166"/>
                <a:gd name="T8" fmla="*/ 2147483647 w 337"/>
                <a:gd name="T9" fmla="*/ 0 h 166"/>
                <a:gd name="T10" fmla="*/ 2147483647 w 337"/>
                <a:gd name="T11" fmla="*/ 0 h 166"/>
                <a:gd name="T12" fmla="*/ 2147483647 w 337"/>
                <a:gd name="T13" fmla="*/ 0 h 166"/>
                <a:gd name="T14" fmla="*/ 2147483647 w 337"/>
                <a:gd name="T15" fmla="*/ 2147483647 h 166"/>
                <a:gd name="T16" fmla="*/ 2147483647 w 337"/>
                <a:gd name="T17" fmla="*/ 2147483647 h 166"/>
                <a:gd name="T18" fmla="*/ 2147483647 w 337"/>
                <a:gd name="T19" fmla="*/ 2147483647 h 166"/>
                <a:gd name="T20" fmla="*/ 2147483647 w 337"/>
                <a:gd name="T21" fmla="*/ 2147483647 h 166"/>
                <a:gd name="T22" fmla="*/ 2147483647 w 337"/>
                <a:gd name="T23" fmla="*/ 2147483647 h 166"/>
                <a:gd name="T24" fmla="*/ 2147483647 w 337"/>
                <a:gd name="T25" fmla="*/ 2147483647 h 166"/>
                <a:gd name="T26" fmla="*/ 2147483647 w 337"/>
                <a:gd name="T27" fmla="*/ 2147483647 h 166"/>
                <a:gd name="T28" fmla="*/ 2147483647 w 337"/>
                <a:gd name="T29" fmla="*/ 2147483647 h 166"/>
                <a:gd name="T30" fmla="*/ 2147483647 w 337"/>
                <a:gd name="T31" fmla="*/ 2147483647 h 166"/>
                <a:gd name="T32" fmla="*/ 2147483647 w 337"/>
                <a:gd name="T33" fmla="*/ 2147483647 h 166"/>
                <a:gd name="T34" fmla="*/ 2147483647 w 337"/>
                <a:gd name="T35" fmla="*/ 2147483647 h 166"/>
                <a:gd name="T36" fmla="*/ 2147483647 w 337"/>
                <a:gd name="T37" fmla="*/ 2147483647 h 166"/>
                <a:gd name="T38" fmla="*/ 2147483647 w 337"/>
                <a:gd name="T39" fmla="*/ 2147483647 h 166"/>
                <a:gd name="T40" fmla="*/ 2147483647 w 337"/>
                <a:gd name="T41" fmla="*/ 2147483647 h 166"/>
                <a:gd name="T42" fmla="*/ 2147483647 w 337"/>
                <a:gd name="T43" fmla="*/ 2147483647 h 166"/>
                <a:gd name="T44" fmla="*/ 2147483647 w 337"/>
                <a:gd name="T45" fmla="*/ 2147483647 h 166"/>
                <a:gd name="T46" fmla="*/ 2147483647 w 337"/>
                <a:gd name="T47" fmla="*/ 2147483647 h 166"/>
                <a:gd name="T48" fmla="*/ 2147483647 w 337"/>
                <a:gd name="T49" fmla="*/ 2147483647 h 166"/>
                <a:gd name="T50" fmla="*/ 2147483647 w 337"/>
                <a:gd name="T51" fmla="*/ 2147483647 h 166"/>
                <a:gd name="T52" fmla="*/ 2147483647 w 337"/>
                <a:gd name="T53" fmla="*/ 2147483647 h 166"/>
                <a:gd name="T54" fmla="*/ 2147483647 w 337"/>
                <a:gd name="T55" fmla="*/ 2147483647 h 166"/>
                <a:gd name="T56" fmla="*/ 0 w 337"/>
                <a:gd name="T57" fmla="*/ 2147483647 h 166"/>
                <a:gd name="T58" fmla="*/ 0 w 337"/>
                <a:gd name="T59" fmla="*/ 2147483647 h 166"/>
                <a:gd name="T60" fmla="*/ 0 w 337"/>
                <a:gd name="T61" fmla="*/ 2147483647 h 166"/>
                <a:gd name="T62" fmla="*/ 0 w 337"/>
                <a:gd name="T63" fmla="*/ 2147483647 h 166"/>
                <a:gd name="T64" fmla="*/ 0 w 337"/>
                <a:gd name="T65" fmla="*/ 2147483647 h 166"/>
                <a:gd name="T66" fmla="*/ 0 w 337"/>
                <a:gd name="T67" fmla="*/ 2147483647 h 166"/>
                <a:gd name="T68" fmla="*/ 0 w 337"/>
                <a:gd name="T69" fmla="*/ 0 h 166"/>
                <a:gd name="T70" fmla="*/ 0 w 337"/>
                <a:gd name="T71" fmla="*/ 0 h 166"/>
                <a:gd name="T72" fmla="*/ 0 w 337"/>
                <a:gd name="T73" fmla="*/ 0 h 166"/>
                <a:gd name="T74" fmla="*/ 0 w 337"/>
                <a:gd name="T75" fmla="*/ 0 h 166"/>
                <a:gd name="T76" fmla="*/ 0 w 337"/>
                <a:gd name="T77" fmla="*/ 0 h 166"/>
                <a:gd name="T78" fmla="*/ 2147483647 w 337"/>
                <a:gd name="T79" fmla="*/ 0 h 166"/>
                <a:gd name="T80" fmla="*/ 2147483647 w 337"/>
                <a:gd name="T81" fmla="*/ 0 h 166"/>
                <a:gd name="T82" fmla="*/ 2147483647 w 337"/>
                <a:gd name="T83" fmla="*/ 0 h 166"/>
                <a:gd name="T84" fmla="*/ 2147483647 w 337"/>
                <a:gd name="T85" fmla="*/ 0 h 166"/>
                <a:gd name="T86" fmla="*/ 2147483647 w 337"/>
                <a:gd name="T87" fmla="*/ 0 h 166"/>
                <a:gd name="T88" fmla="*/ 2147483647 w 337"/>
                <a:gd name="T89" fmla="*/ 0 h 166"/>
                <a:gd name="T90" fmla="*/ 2147483647 w 337"/>
                <a:gd name="T91" fmla="*/ 0 h 166"/>
                <a:gd name="T92" fmla="*/ 2147483647 w 337"/>
                <a:gd name="T93" fmla="*/ 0 h 166"/>
                <a:gd name="T94" fmla="*/ 2147483647 w 337"/>
                <a:gd name="T95" fmla="*/ 0 h 166"/>
                <a:gd name="T96" fmla="*/ 2147483647 w 337"/>
                <a:gd name="T97" fmla="*/ 0 h 166"/>
                <a:gd name="T98" fmla="*/ 2147483647 w 337"/>
                <a:gd name="T99" fmla="*/ 0 h 166"/>
                <a:gd name="T100" fmla="*/ 2147483647 w 337"/>
                <a:gd name="T101" fmla="*/ 0 h 166"/>
                <a:gd name="T102" fmla="*/ 2147483647 w 337"/>
                <a:gd name="T103" fmla="*/ 0 h 166"/>
                <a:gd name="T104" fmla="*/ 2147483647 w 337"/>
                <a:gd name="T105" fmla="*/ 0 h 1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337"/>
                <a:gd name="T160" fmla="*/ 0 h 166"/>
                <a:gd name="T161" fmla="*/ 337 w 337"/>
                <a:gd name="T162" fmla="*/ 166 h 1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337" h="166">
                  <a:moveTo>
                    <a:pt x="337" y="54"/>
                  </a:moveTo>
                  <a:lnTo>
                    <a:pt x="326" y="54"/>
                  </a:lnTo>
                  <a:lnTo>
                    <a:pt x="312" y="60"/>
                  </a:lnTo>
                  <a:lnTo>
                    <a:pt x="309" y="65"/>
                  </a:lnTo>
                  <a:lnTo>
                    <a:pt x="300" y="70"/>
                  </a:lnTo>
                  <a:lnTo>
                    <a:pt x="290" y="70"/>
                  </a:lnTo>
                  <a:lnTo>
                    <a:pt x="283" y="75"/>
                  </a:lnTo>
                  <a:lnTo>
                    <a:pt x="266" y="75"/>
                  </a:lnTo>
                  <a:lnTo>
                    <a:pt x="263" y="72"/>
                  </a:lnTo>
                  <a:lnTo>
                    <a:pt x="259" y="68"/>
                  </a:lnTo>
                  <a:lnTo>
                    <a:pt x="253" y="66"/>
                  </a:lnTo>
                  <a:lnTo>
                    <a:pt x="252" y="70"/>
                  </a:lnTo>
                  <a:lnTo>
                    <a:pt x="250" y="71"/>
                  </a:lnTo>
                  <a:lnTo>
                    <a:pt x="246" y="72"/>
                  </a:lnTo>
                  <a:lnTo>
                    <a:pt x="242" y="79"/>
                  </a:lnTo>
                  <a:lnTo>
                    <a:pt x="239" y="92"/>
                  </a:lnTo>
                  <a:lnTo>
                    <a:pt x="236" y="95"/>
                  </a:lnTo>
                  <a:lnTo>
                    <a:pt x="226" y="97"/>
                  </a:lnTo>
                  <a:lnTo>
                    <a:pt x="221" y="102"/>
                  </a:lnTo>
                  <a:lnTo>
                    <a:pt x="220" y="104"/>
                  </a:lnTo>
                  <a:lnTo>
                    <a:pt x="216" y="106"/>
                  </a:lnTo>
                  <a:lnTo>
                    <a:pt x="213" y="112"/>
                  </a:lnTo>
                  <a:lnTo>
                    <a:pt x="205" y="113"/>
                  </a:lnTo>
                  <a:lnTo>
                    <a:pt x="205" y="115"/>
                  </a:lnTo>
                  <a:lnTo>
                    <a:pt x="202" y="117"/>
                  </a:lnTo>
                  <a:lnTo>
                    <a:pt x="196" y="117"/>
                  </a:lnTo>
                  <a:lnTo>
                    <a:pt x="188" y="111"/>
                  </a:lnTo>
                  <a:lnTo>
                    <a:pt x="181" y="108"/>
                  </a:lnTo>
                  <a:lnTo>
                    <a:pt x="175" y="118"/>
                  </a:lnTo>
                  <a:lnTo>
                    <a:pt x="171" y="126"/>
                  </a:lnTo>
                  <a:lnTo>
                    <a:pt x="154" y="128"/>
                  </a:lnTo>
                  <a:lnTo>
                    <a:pt x="149" y="126"/>
                  </a:lnTo>
                  <a:lnTo>
                    <a:pt x="146" y="134"/>
                  </a:lnTo>
                  <a:lnTo>
                    <a:pt x="148" y="149"/>
                  </a:lnTo>
                  <a:lnTo>
                    <a:pt x="144" y="150"/>
                  </a:lnTo>
                  <a:lnTo>
                    <a:pt x="139" y="155"/>
                  </a:lnTo>
                  <a:lnTo>
                    <a:pt x="135" y="162"/>
                  </a:lnTo>
                  <a:lnTo>
                    <a:pt x="132" y="165"/>
                  </a:lnTo>
                  <a:lnTo>
                    <a:pt x="115" y="166"/>
                  </a:lnTo>
                  <a:lnTo>
                    <a:pt x="115" y="163"/>
                  </a:lnTo>
                  <a:lnTo>
                    <a:pt x="107" y="156"/>
                  </a:lnTo>
                  <a:lnTo>
                    <a:pt x="107" y="152"/>
                  </a:lnTo>
                  <a:lnTo>
                    <a:pt x="106" y="147"/>
                  </a:lnTo>
                  <a:lnTo>
                    <a:pt x="99" y="144"/>
                  </a:lnTo>
                  <a:lnTo>
                    <a:pt x="92" y="145"/>
                  </a:lnTo>
                  <a:lnTo>
                    <a:pt x="90" y="142"/>
                  </a:lnTo>
                  <a:lnTo>
                    <a:pt x="90" y="124"/>
                  </a:lnTo>
                  <a:lnTo>
                    <a:pt x="90" y="123"/>
                  </a:lnTo>
                  <a:lnTo>
                    <a:pt x="85" y="118"/>
                  </a:lnTo>
                  <a:lnTo>
                    <a:pt x="76" y="115"/>
                  </a:lnTo>
                  <a:lnTo>
                    <a:pt x="74" y="113"/>
                  </a:lnTo>
                  <a:lnTo>
                    <a:pt x="67" y="114"/>
                  </a:lnTo>
                  <a:lnTo>
                    <a:pt x="62" y="119"/>
                  </a:lnTo>
                  <a:lnTo>
                    <a:pt x="57" y="119"/>
                  </a:lnTo>
                  <a:lnTo>
                    <a:pt x="52" y="117"/>
                  </a:lnTo>
                  <a:lnTo>
                    <a:pt x="49" y="114"/>
                  </a:lnTo>
                  <a:lnTo>
                    <a:pt x="49" y="112"/>
                  </a:lnTo>
                  <a:lnTo>
                    <a:pt x="42" y="112"/>
                  </a:lnTo>
                  <a:lnTo>
                    <a:pt x="40" y="109"/>
                  </a:lnTo>
                  <a:lnTo>
                    <a:pt x="38" y="106"/>
                  </a:lnTo>
                  <a:lnTo>
                    <a:pt x="33" y="106"/>
                  </a:lnTo>
                  <a:lnTo>
                    <a:pt x="26" y="101"/>
                  </a:lnTo>
                  <a:lnTo>
                    <a:pt x="24" y="96"/>
                  </a:lnTo>
                  <a:lnTo>
                    <a:pt x="19" y="90"/>
                  </a:lnTo>
                  <a:lnTo>
                    <a:pt x="6" y="90"/>
                  </a:lnTo>
                  <a:lnTo>
                    <a:pt x="0" y="86"/>
                  </a:lnTo>
                  <a:lnTo>
                    <a:pt x="3" y="85"/>
                  </a:lnTo>
                  <a:lnTo>
                    <a:pt x="5" y="80"/>
                  </a:lnTo>
                  <a:lnTo>
                    <a:pt x="13" y="75"/>
                  </a:lnTo>
                  <a:lnTo>
                    <a:pt x="13" y="71"/>
                  </a:lnTo>
                  <a:lnTo>
                    <a:pt x="11" y="66"/>
                  </a:lnTo>
                  <a:lnTo>
                    <a:pt x="10" y="65"/>
                  </a:lnTo>
                  <a:lnTo>
                    <a:pt x="10" y="60"/>
                  </a:lnTo>
                  <a:lnTo>
                    <a:pt x="11" y="56"/>
                  </a:lnTo>
                  <a:lnTo>
                    <a:pt x="20" y="50"/>
                  </a:lnTo>
                  <a:lnTo>
                    <a:pt x="21" y="49"/>
                  </a:lnTo>
                  <a:lnTo>
                    <a:pt x="25" y="48"/>
                  </a:lnTo>
                  <a:lnTo>
                    <a:pt x="38" y="37"/>
                  </a:lnTo>
                  <a:lnTo>
                    <a:pt x="56" y="25"/>
                  </a:lnTo>
                  <a:lnTo>
                    <a:pt x="59" y="18"/>
                  </a:lnTo>
                  <a:lnTo>
                    <a:pt x="60" y="15"/>
                  </a:lnTo>
                  <a:lnTo>
                    <a:pt x="74" y="13"/>
                  </a:lnTo>
                  <a:lnTo>
                    <a:pt x="85" y="9"/>
                  </a:lnTo>
                  <a:lnTo>
                    <a:pt x="92" y="7"/>
                  </a:lnTo>
                  <a:lnTo>
                    <a:pt x="110" y="9"/>
                  </a:lnTo>
                  <a:lnTo>
                    <a:pt x="124" y="11"/>
                  </a:lnTo>
                  <a:lnTo>
                    <a:pt x="148" y="11"/>
                  </a:lnTo>
                  <a:lnTo>
                    <a:pt x="166" y="7"/>
                  </a:lnTo>
                  <a:lnTo>
                    <a:pt x="178" y="6"/>
                  </a:lnTo>
                  <a:lnTo>
                    <a:pt x="183" y="5"/>
                  </a:lnTo>
                  <a:lnTo>
                    <a:pt x="188" y="1"/>
                  </a:lnTo>
                  <a:lnTo>
                    <a:pt x="199" y="0"/>
                  </a:lnTo>
                  <a:lnTo>
                    <a:pt x="207" y="2"/>
                  </a:lnTo>
                  <a:lnTo>
                    <a:pt x="209" y="5"/>
                  </a:lnTo>
                  <a:lnTo>
                    <a:pt x="223" y="5"/>
                  </a:lnTo>
                  <a:lnTo>
                    <a:pt x="231" y="1"/>
                  </a:lnTo>
                  <a:lnTo>
                    <a:pt x="240" y="1"/>
                  </a:lnTo>
                  <a:lnTo>
                    <a:pt x="245" y="2"/>
                  </a:lnTo>
                  <a:lnTo>
                    <a:pt x="257" y="9"/>
                  </a:lnTo>
                  <a:lnTo>
                    <a:pt x="271" y="9"/>
                  </a:lnTo>
                  <a:lnTo>
                    <a:pt x="283" y="11"/>
                  </a:lnTo>
                  <a:lnTo>
                    <a:pt x="293" y="16"/>
                  </a:lnTo>
                  <a:lnTo>
                    <a:pt x="304" y="27"/>
                  </a:lnTo>
                  <a:lnTo>
                    <a:pt x="327" y="38"/>
                  </a:lnTo>
                  <a:lnTo>
                    <a:pt x="332" y="43"/>
                  </a:lnTo>
                  <a:lnTo>
                    <a:pt x="337" y="52"/>
                  </a:lnTo>
                  <a:lnTo>
                    <a:pt x="337" y="5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43" name="Freeform 264">
              <a:extLst>
                <a:ext uri="{FF2B5EF4-FFF2-40B4-BE49-F238E27FC236}">
                  <a16:creationId xmlns:a16="http://schemas.microsoft.com/office/drawing/2014/main" id="{7FDBDBDA-CF74-1874-DC37-AF77719CDAB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343771" y="3270995"/>
              <a:ext cx="884958" cy="614259"/>
            </a:xfrm>
            <a:custGeom>
              <a:avLst/>
              <a:gdLst>
                <a:gd name="T0" fmla="*/ 2147483647 w 1657"/>
                <a:gd name="T1" fmla="*/ 0 h 1083"/>
                <a:gd name="T2" fmla="*/ 2147483647 w 1657"/>
                <a:gd name="T3" fmla="*/ 2147483647 h 1083"/>
                <a:gd name="T4" fmla="*/ 2147483647 w 1657"/>
                <a:gd name="T5" fmla="*/ 2147483647 h 1083"/>
                <a:gd name="T6" fmla="*/ 2147483647 w 1657"/>
                <a:gd name="T7" fmla="*/ 2147483647 h 1083"/>
                <a:gd name="T8" fmla="*/ 2147483647 w 1657"/>
                <a:gd name="T9" fmla="*/ 2147483647 h 1083"/>
                <a:gd name="T10" fmla="*/ 2147483647 w 1657"/>
                <a:gd name="T11" fmla="*/ 2147483647 h 1083"/>
                <a:gd name="T12" fmla="*/ 2147483647 w 1657"/>
                <a:gd name="T13" fmla="*/ 2147483647 h 1083"/>
                <a:gd name="T14" fmla="*/ 2147483647 w 1657"/>
                <a:gd name="T15" fmla="*/ 2147483647 h 1083"/>
                <a:gd name="T16" fmla="*/ 2147483647 w 1657"/>
                <a:gd name="T17" fmla="*/ 2147483647 h 1083"/>
                <a:gd name="T18" fmla="*/ 2147483647 w 1657"/>
                <a:gd name="T19" fmla="*/ 2147483647 h 1083"/>
                <a:gd name="T20" fmla="*/ 2147483647 w 1657"/>
                <a:gd name="T21" fmla="*/ 2147483647 h 1083"/>
                <a:gd name="T22" fmla="*/ 2147483647 w 1657"/>
                <a:gd name="T23" fmla="*/ 2147483647 h 1083"/>
                <a:gd name="T24" fmla="*/ 2147483647 w 1657"/>
                <a:gd name="T25" fmla="*/ 2147483647 h 1083"/>
                <a:gd name="T26" fmla="*/ 2147483647 w 1657"/>
                <a:gd name="T27" fmla="*/ 2147483647 h 1083"/>
                <a:gd name="T28" fmla="*/ 2147483647 w 1657"/>
                <a:gd name="T29" fmla="*/ 2147483647 h 1083"/>
                <a:gd name="T30" fmla="*/ 2147483647 w 1657"/>
                <a:gd name="T31" fmla="*/ 2147483647 h 1083"/>
                <a:gd name="T32" fmla="*/ 2147483647 w 1657"/>
                <a:gd name="T33" fmla="*/ 2147483647 h 1083"/>
                <a:gd name="T34" fmla="*/ 2147483647 w 1657"/>
                <a:gd name="T35" fmla="*/ 2147483647 h 1083"/>
                <a:gd name="T36" fmla="*/ 2147483647 w 1657"/>
                <a:gd name="T37" fmla="*/ 2147483647 h 1083"/>
                <a:gd name="T38" fmla="*/ 2147483647 w 1657"/>
                <a:gd name="T39" fmla="*/ 2147483647 h 1083"/>
                <a:gd name="T40" fmla="*/ 2147483647 w 1657"/>
                <a:gd name="T41" fmla="*/ 2147483647 h 1083"/>
                <a:gd name="T42" fmla="*/ 2147483647 w 1657"/>
                <a:gd name="T43" fmla="*/ 2147483647 h 1083"/>
                <a:gd name="T44" fmla="*/ 2147483647 w 1657"/>
                <a:gd name="T45" fmla="*/ 2147483647 h 1083"/>
                <a:gd name="T46" fmla="*/ 2147483647 w 1657"/>
                <a:gd name="T47" fmla="*/ 2147483647 h 1083"/>
                <a:gd name="T48" fmla="*/ 2147483647 w 1657"/>
                <a:gd name="T49" fmla="*/ 2147483647 h 1083"/>
                <a:gd name="T50" fmla="*/ 2147483647 w 1657"/>
                <a:gd name="T51" fmla="*/ 2147483647 h 1083"/>
                <a:gd name="T52" fmla="*/ 2147483647 w 1657"/>
                <a:gd name="T53" fmla="*/ 2147483647 h 1083"/>
                <a:gd name="T54" fmla="*/ 2147483647 w 1657"/>
                <a:gd name="T55" fmla="*/ 2147483647 h 1083"/>
                <a:gd name="T56" fmla="*/ 2147483647 w 1657"/>
                <a:gd name="T57" fmla="*/ 2147483647 h 1083"/>
                <a:gd name="T58" fmla="*/ 2147483647 w 1657"/>
                <a:gd name="T59" fmla="*/ 2147483647 h 1083"/>
                <a:gd name="T60" fmla="*/ 2147483647 w 1657"/>
                <a:gd name="T61" fmla="*/ 2147483647 h 1083"/>
                <a:gd name="T62" fmla="*/ 2147483647 w 1657"/>
                <a:gd name="T63" fmla="*/ 2147483647 h 1083"/>
                <a:gd name="T64" fmla="*/ 2147483647 w 1657"/>
                <a:gd name="T65" fmla="*/ 2147483647 h 1083"/>
                <a:gd name="T66" fmla="*/ 2147483647 w 1657"/>
                <a:gd name="T67" fmla="*/ 2147483647 h 1083"/>
                <a:gd name="T68" fmla="*/ 2147483647 w 1657"/>
                <a:gd name="T69" fmla="*/ 2147483647 h 1083"/>
                <a:gd name="T70" fmla="*/ 2147483647 w 1657"/>
                <a:gd name="T71" fmla="*/ 2147483647 h 1083"/>
                <a:gd name="T72" fmla="*/ 2147483647 w 1657"/>
                <a:gd name="T73" fmla="*/ 2147483647 h 1083"/>
                <a:gd name="T74" fmla="*/ 2147483647 w 1657"/>
                <a:gd name="T75" fmla="*/ 2147483647 h 1083"/>
                <a:gd name="T76" fmla="*/ 2147483647 w 1657"/>
                <a:gd name="T77" fmla="*/ 2147483647 h 1083"/>
                <a:gd name="T78" fmla="*/ 2147483647 w 1657"/>
                <a:gd name="T79" fmla="*/ 2147483647 h 1083"/>
                <a:gd name="T80" fmla="*/ 2147483647 w 1657"/>
                <a:gd name="T81" fmla="*/ 2147483647 h 1083"/>
                <a:gd name="T82" fmla="*/ 2147483647 w 1657"/>
                <a:gd name="T83" fmla="*/ 2147483647 h 1083"/>
                <a:gd name="T84" fmla="*/ 0 w 1657"/>
                <a:gd name="T85" fmla="*/ 0 h 1083"/>
                <a:gd name="T86" fmla="*/ 2147483647 w 1657"/>
                <a:gd name="T87" fmla="*/ 2147483647 h 1083"/>
                <a:gd name="T88" fmla="*/ 2147483647 w 1657"/>
                <a:gd name="T89" fmla="*/ 2147483647 h 1083"/>
                <a:gd name="T90" fmla="*/ 2147483647 w 1657"/>
                <a:gd name="T91" fmla="*/ 2147483647 h 1083"/>
                <a:gd name="T92" fmla="*/ 2147483647 w 1657"/>
                <a:gd name="T93" fmla="*/ 2147483647 h 1083"/>
                <a:gd name="T94" fmla="*/ 2147483647 w 1657"/>
                <a:gd name="T95" fmla="*/ 2147483647 h 1083"/>
                <a:gd name="T96" fmla="*/ 2147483647 w 1657"/>
                <a:gd name="T97" fmla="*/ 2147483647 h 1083"/>
                <a:gd name="T98" fmla="*/ 2147483647 w 1657"/>
                <a:gd name="T99" fmla="*/ 2147483647 h 1083"/>
                <a:gd name="T100" fmla="*/ 2147483647 w 1657"/>
                <a:gd name="T101" fmla="*/ 2147483647 h 1083"/>
                <a:gd name="T102" fmla="*/ 2147483647 w 1657"/>
                <a:gd name="T103" fmla="*/ 2147483647 h 1083"/>
                <a:gd name="T104" fmla="*/ 2147483647 w 1657"/>
                <a:gd name="T105" fmla="*/ 2147483647 h 1083"/>
                <a:gd name="T106" fmla="*/ 2147483647 w 1657"/>
                <a:gd name="T107" fmla="*/ 2147483647 h 1083"/>
                <a:gd name="T108" fmla="*/ 2147483647 w 1657"/>
                <a:gd name="T109" fmla="*/ 2147483647 h 1083"/>
                <a:gd name="T110" fmla="*/ 2147483647 w 1657"/>
                <a:gd name="T111" fmla="*/ 2147483647 h 1083"/>
                <a:gd name="T112" fmla="*/ 2147483647 w 1657"/>
                <a:gd name="T113" fmla="*/ 2147483647 h 1083"/>
                <a:gd name="T114" fmla="*/ 2147483647 w 1657"/>
                <a:gd name="T115" fmla="*/ 2147483647 h 1083"/>
                <a:gd name="T116" fmla="*/ 2147483647 w 1657"/>
                <a:gd name="T117" fmla="*/ 2147483647 h 1083"/>
                <a:gd name="T118" fmla="*/ 2147483647 w 1657"/>
                <a:gd name="T119" fmla="*/ 2147483647 h 1083"/>
                <a:gd name="T120" fmla="*/ 2147483647 w 1657"/>
                <a:gd name="T121" fmla="*/ 2147483647 h 1083"/>
                <a:gd name="T122" fmla="*/ 2147483647 w 1657"/>
                <a:gd name="T123" fmla="*/ 0 h 108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57"/>
                <a:gd name="T187" fmla="*/ 0 h 1083"/>
                <a:gd name="T188" fmla="*/ 1657 w 1657"/>
                <a:gd name="T189" fmla="*/ 1083 h 108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57" h="1083">
                  <a:moveTo>
                    <a:pt x="127" y="56"/>
                  </a:moveTo>
                  <a:lnTo>
                    <a:pt x="136" y="59"/>
                  </a:lnTo>
                  <a:lnTo>
                    <a:pt x="140" y="61"/>
                  </a:lnTo>
                  <a:lnTo>
                    <a:pt x="148" y="68"/>
                  </a:lnTo>
                  <a:lnTo>
                    <a:pt x="151" y="67"/>
                  </a:lnTo>
                  <a:lnTo>
                    <a:pt x="152" y="72"/>
                  </a:lnTo>
                  <a:lnTo>
                    <a:pt x="162" y="77"/>
                  </a:lnTo>
                  <a:lnTo>
                    <a:pt x="168" y="79"/>
                  </a:lnTo>
                  <a:lnTo>
                    <a:pt x="183" y="77"/>
                  </a:lnTo>
                  <a:lnTo>
                    <a:pt x="191" y="82"/>
                  </a:lnTo>
                  <a:lnTo>
                    <a:pt x="191" y="88"/>
                  </a:lnTo>
                  <a:lnTo>
                    <a:pt x="196" y="90"/>
                  </a:lnTo>
                  <a:lnTo>
                    <a:pt x="215" y="95"/>
                  </a:lnTo>
                  <a:lnTo>
                    <a:pt x="219" y="99"/>
                  </a:lnTo>
                  <a:lnTo>
                    <a:pt x="223" y="105"/>
                  </a:lnTo>
                  <a:lnTo>
                    <a:pt x="223" y="125"/>
                  </a:lnTo>
                  <a:lnTo>
                    <a:pt x="226" y="131"/>
                  </a:lnTo>
                  <a:lnTo>
                    <a:pt x="233" y="144"/>
                  </a:lnTo>
                  <a:lnTo>
                    <a:pt x="234" y="152"/>
                  </a:lnTo>
                  <a:lnTo>
                    <a:pt x="237" y="154"/>
                  </a:lnTo>
                  <a:lnTo>
                    <a:pt x="240" y="161"/>
                  </a:lnTo>
                  <a:lnTo>
                    <a:pt x="243" y="177"/>
                  </a:lnTo>
                  <a:lnTo>
                    <a:pt x="248" y="183"/>
                  </a:lnTo>
                  <a:lnTo>
                    <a:pt x="251" y="185"/>
                  </a:lnTo>
                  <a:lnTo>
                    <a:pt x="254" y="188"/>
                  </a:lnTo>
                  <a:lnTo>
                    <a:pt x="258" y="207"/>
                  </a:lnTo>
                  <a:lnTo>
                    <a:pt x="260" y="212"/>
                  </a:lnTo>
                  <a:lnTo>
                    <a:pt x="262" y="215"/>
                  </a:lnTo>
                  <a:lnTo>
                    <a:pt x="269" y="219"/>
                  </a:lnTo>
                  <a:lnTo>
                    <a:pt x="272" y="224"/>
                  </a:lnTo>
                  <a:lnTo>
                    <a:pt x="277" y="239"/>
                  </a:lnTo>
                  <a:lnTo>
                    <a:pt x="286" y="245"/>
                  </a:lnTo>
                  <a:lnTo>
                    <a:pt x="290" y="257"/>
                  </a:lnTo>
                  <a:lnTo>
                    <a:pt x="299" y="268"/>
                  </a:lnTo>
                  <a:lnTo>
                    <a:pt x="310" y="272"/>
                  </a:lnTo>
                  <a:lnTo>
                    <a:pt x="324" y="292"/>
                  </a:lnTo>
                  <a:lnTo>
                    <a:pt x="334" y="299"/>
                  </a:lnTo>
                  <a:lnTo>
                    <a:pt x="351" y="303"/>
                  </a:lnTo>
                  <a:lnTo>
                    <a:pt x="357" y="304"/>
                  </a:lnTo>
                  <a:lnTo>
                    <a:pt x="360" y="306"/>
                  </a:lnTo>
                  <a:lnTo>
                    <a:pt x="361" y="320"/>
                  </a:lnTo>
                  <a:lnTo>
                    <a:pt x="358" y="325"/>
                  </a:lnTo>
                  <a:lnTo>
                    <a:pt x="361" y="330"/>
                  </a:lnTo>
                  <a:lnTo>
                    <a:pt x="361" y="335"/>
                  </a:lnTo>
                  <a:lnTo>
                    <a:pt x="367" y="342"/>
                  </a:lnTo>
                  <a:lnTo>
                    <a:pt x="374" y="348"/>
                  </a:lnTo>
                  <a:lnTo>
                    <a:pt x="390" y="355"/>
                  </a:lnTo>
                  <a:lnTo>
                    <a:pt x="398" y="364"/>
                  </a:lnTo>
                  <a:lnTo>
                    <a:pt x="401" y="374"/>
                  </a:lnTo>
                  <a:lnTo>
                    <a:pt x="406" y="376"/>
                  </a:lnTo>
                  <a:lnTo>
                    <a:pt x="407" y="379"/>
                  </a:lnTo>
                  <a:lnTo>
                    <a:pt x="421" y="379"/>
                  </a:lnTo>
                  <a:lnTo>
                    <a:pt x="428" y="384"/>
                  </a:lnTo>
                  <a:lnTo>
                    <a:pt x="433" y="395"/>
                  </a:lnTo>
                  <a:lnTo>
                    <a:pt x="439" y="397"/>
                  </a:lnTo>
                  <a:lnTo>
                    <a:pt x="439" y="402"/>
                  </a:lnTo>
                  <a:lnTo>
                    <a:pt x="433" y="412"/>
                  </a:lnTo>
                  <a:lnTo>
                    <a:pt x="430" y="414"/>
                  </a:lnTo>
                  <a:lnTo>
                    <a:pt x="428" y="421"/>
                  </a:lnTo>
                  <a:lnTo>
                    <a:pt x="427" y="425"/>
                  </a:lnTo>
                  <a:lnTo>
                    <a:pt x="426" y="433"/>
                  </a:lnTo>
                  <a:lnTo>
                    <a:pt x="427" y="438"/>
                  </a:lnTo>
                  <a:lnTo>
                    <a:pt x="432" y="445"/>
                  </a:lnTo>
                  <a:lnTo>
                    <a:pt x="444" y="445"/>
                  </a:lnTo>
                  <a:lnTo>
                    <a:pt x="452" y="439"/>
                  </a:lnTo>
                  <a:lnTo>
                    <a:pt x="454" y="443"/>
                  </a:lnTo>
                  <a:lnTo>
                    <a:pt x="450" y="451"/>
                  </a:lnTo>
                  <a:lnTo>
                    <a:pt x="453" y="456"/>
                  </a:lnTo>
                  <a:lnTo>
                    <a:pt x="476" y="468"/>
                  </a:lnTo>
                  <a:lnTo>
                    <a:pt x="482" y="470"/>
                  </a:lnTo>
                  <a:lnTo>
                    <a:pt x="487" y="466"/>
                  </a:lnTo>
                  <a:lnTo>
                    <a:pt x="501" y="481"/>
                  </a:lnTo>
                  <a:lnTo>
                    <a:pt x="506" y="484"/>
                  </a:lnTo>
                  <a:lnTo>
                    <a:pt x="507" y="492"/>
                  </a:lnTo>
                  <a:lnTo>
                    <a:pt x="507" y="503"/>
                  </a:lnTo>
                  <a:lnTo>
                    <a:pt x="509" y="507"/>
                  </a:lnTo>
                  <a:lnTo>
                    <a:pt x="543" y="535"/>
                  </a:lnTo>
                  <a:lnTo>
                    <a:pt x="554" y="545"/>
                  </a:lnTo>
                  <a:lnTo>
                    <a:pt x="561" y="548"/>
                  </a:lnTo>
                  <a:lnTo>
                    <a:pt x="565" y="553"/>
                  </a:lnTo>
                  <a:lnTo>
                    <a:pt x="567" y="558"/>
                  </a:lnTo>
                  <a:lnTo>
                    <a:pt x="567" y="564"/>
                  </a:lnTo>
                  <a:lnTo>
                    <a:pt x="570" y="568"/>
                  </a:lnTo>
                  <a:lnTo>
                    <a:pt x="576" y="568"/>
                  </a:lnTo>
                  <a:lnTo>
                    <a:pt x="582" y="577"/>
                  </a:lnTo>
                  <a:lnTo>
                    <a:pt x="588" y="589"/>
                  </a:lnTo>
                  <a:lnTo>
                    <a:pt x="592" y="595"/>
                  </a:lnTo>
                  <a:lnTo>
                    <a:pt x="604" y="604"/>
                  </a:lnTo>
                  <a:lnTo>
                    <a:pt x="615" y="617"/>
                  </a:lnTo>
                  <a:lnTo>
                    <a:pt x="630" y="627"/>
                  </a:lnTo>
                  <a:lnTo>
                    <a:pt x="632" y="633"/>
                  </a:lnTo>
                  <a:lnTo>
                    <a:pt x="631" y="635"/>
                  </a:lnTo>
                  <a:lnTo>
                    <a:pt x="631" y="640"/>
                  </a:lnTo>
                  <a:lnTo>
                    <a:pt x="638" y="664"/>
                  </a:lnTo>
                  <a:lnTo>
                    <a:pt x="645" y="672"/>
                  </a:lnTo>
                  <a:lnTo>
                    <a:pt x="646" y="681"/>
                  </a:lnTo>
                  <a:lnTo>
                    <a:pt x="652" y="687"/>
                  </a:lnTo>
                  <a:lnTo>
                    <a:pt x="656" y="694"/>
                  </a:lnTo>
                  <a:lnTo>
                    <a:pt x="658" y="703"/>
                  </a:lnTo>
                  <a:lnTo>
                    <a:pt x="658" y="712"/>
                  </a:lnTo>
                  <a:lnTo>
                    <a:pt x="656" y="717"/>
                  </a:lnTo>
                  <a:lnTo>
                    <a:pt x="646" y="728"/>
                  </a:lnTo>
                  <a:lnTo>
                    <a:pt x="645" y="729"/>
                  </a:lnTo>
                  <a:lnTo>
                    <a:pt x="646" y="733"/>
                  </a:lnTo>
                  <a:lnTo>
                    <a:pt x="653" y="739"/>
                  </a:lnTo>
                  <a:lnTo>
                    <a:pt x="654" y="742"/>
                  </a:lnTo>
                  <a:lnTo>
                    <a:pt x="640" y="748"/>
                  </a:lnTo>
                  <a:lnTo>
                    <a:pt x="635" y="752"/>
                  </a:lnTo>
                  <a:lnTo>
                    <a:pt x="635" y="756"/>
                  </a:lnTo>
                  <a:lnTo>
                    <a:pt x="637" y="758"/>
                  </a:lnTo>
                  <a:lnTo>
                    <a:pt x="642" y="771"/>
                  </a:lnTo>
                  <a:lnTo>
                    <a:pt x="643" y="779"/>
                  </a:lnTo>
                  <a:lnTo>
                    <a:pt x="646" y="788"/>
                  </a:lnTo>
                  <a:lnTo>
                    <a:pt x="656" y="793"/>
                  </a:lnTo>
                  <a:lnTo>
                    <a:pt x="670" y="810"/>
                  </a:lnTo>
                  <a:lnTo>
                    <a:pt x="675" y="815"/>
                  </a:lnTo>
                  <a:lnTo>
                    <a:pt x="683" y="821"/>
                  </a:lnTo>
                  <a:lnTo>
                    <a:pt x="689" y="823"/>
                  </a:lnTo>
                  <a:lnTo>
                    <a:pt x="699" y="827"/>
                  </a:lnTo>
                  <a:lnTo>
                    <a:pt x="706" y="827"/>
                  </a:lnTo>
                  <a:lnTo>
                    <a:pt x="710" y="830"/>
                  </a:lnTo>
                  <a:lnTo>
                    <a:pt x="722" y="841"/>
                  </a:lnTo>
                  <a:lnTo>
                    <a:pt x="731" y="843"/>
                  </a:lnTo>
                  <a:lnTo>
                    <a:pt x="738" y="850"/>
                  </a:lnTo>
                  <a:lnTo>
                    <a:pt x="740" y="855"/>
                  </a:lnTo>
                  <a:lnTo>
                    <a:pt x="740" y="858"/>
                  </a:lnTo>
                  <a:lnTo>
                    <a:pt x="744" y="859"/>
                  </a:lnTo>
                  <a:lnTo>
                    <a:pt x="746" y="861"/>
                  </a:lnTo>
                  <a:lnTo>
                    <a:pt x="748" y="865"/>
                  </a:lnTo>
                  <a:lnTo>
                    <a:pt x="750" y="870"/>
                  </a:lnTo>
                  <a:lnTo>
                    <a:pt x="755" y="874"/>
                  </a:lnTo>
                  <a:lnTo>
                    <a:pt x="769" y="875"/>
                  </a:lnTo>
                  <a:lnTo>
                    <a:pt x="775" y="879"/>
                  </a:lnTo>
                  <a:lnTo>
                    <a:pt x="780" y="880"/>
                  </a:lnTo>
                  <a:lnTo>
                    <a:pt x="782" y="884"/>
                  </a:lnTo>
                  <a:lnTo>
                    <a:pt x="814" y="892"/>
                  </a:lnTo>
                  <a:lnTo>
                    <a:pt x="820" y="895"/>
                  </a:lnTo>
                  <a:lnTo>
                    <a:pt x="828" y="895"/>
                  </a:lnTo>
                  <a:lnTo>
                    <a:pt x="832" y="892"/>
                  </a:lnTo>
                  <a:lnTo>
                    <a:pt x="836" y="895"/>
                  </a:lnTo>
                  <a:lnTo>
                    <a:pt x="850" y="902"/>
                  </a:lnTo>
                  <a:lnTo>
                    <a:pt x="855" y="909"/>
                  </a:lnTo>
                  <a:lnTo>
                    <a:pt x="856" y="912"/>
                  </a:lnTo>
                  <a:lnTo>
                    <a:pt x="860" y="913"/>
                  </a:lnTo>
                  <a:lnTo>
                    <a:pt x="862" y="917"/>
                  </a:lnTo>
                  <a:lnTo>
                    <a:pt x="869" y="919"/>
                  </a:lnTo>
                  <a:lnTo>
                    <a:pt x="875" y="924"/>
                  </a:lnTo>
                  <a:lnTo>
                    <a:pt x="884" y="928"/>
                  </a:lnTo>
                  <a:lnTo>
                    <a:pt x="884" y="931"/>
                  </a:lnTo>
                  <a:lnTo>
                    <a:pt x="890" y="936"/>
                  </a:lnTo>
                  <a:lnTo>
                    <a:pt x="894" y="935"/>
                  </a:lnTo>
                  <a:lnTo>
                    <a:pt x="900" y="939"/>
                  </a:lnTo>
                  <a:lnTo>
                    <a:pt x="905" y="941"/>
                  </a:lnTo>
                  <a:lnTo>
                    <a:pt x="916" y="945"/>
                  </a:lnTo>
                  <a:lnTo>
                    <a:pt x="926" y="946"/>
                  </a:lnTo>
                  <a:lnTo>
                    <a:pt x="943" y="951"/>
                  </a:lnTo>
                  <a:lnTo>
                    <a:pt x="953" y="959"/>
                  </a:lnTo>
                  <a:lnTo>
                    <a:pt x="960" y="961"/>
                  </a:lnTo>
                  <a:lnTo>
                    <a:pt x="985" y="968"/>
                  </a:lnTo>
                  <a:lnTo>
                    <a:pt x="1000" y="974"/>
                  </a:lnTo>
                  <a:lnTo>
                    <a:pt x="1009" y="973"/>
                  </a:lnTo>
                  <a:lnTo>
                    <a:pt x="1019" y="983"/>
                  </a:lnTo>
                  <a:lnTo>
                    <a:pt x="1043" y="998"/>
                  </a:lnTo>
                  <a:lnTo>
                    <a:pt x="1049" y="999"/>
                  </a:lnTo>
                  <a:lnTo>
                    <a:pt x="1052" y="999"/>
                  </a:lnTo>
                  <a:lnTo>
                    <a:pt x="1057" y="1003"/>
                  </a:lnTo>
                  <a:lnTo>
                    <a:pt x="1063" y="1005"/>
                  </a:lnTo>
                  <a:lnTo>
                    <a:pt x="1074" y="1009"/>
                  </a:lnTo>
                  <a:lnTo>
                    <a:pt x="1103" y="1011"/>
                  </a:lnTo>
                  <a:lnTo>
                    <a:pt x="1113" y="1017"/>
                  </a:lnTo>
                  <a:lnTo>
                    <a:pt x="1120" y="1020"/>
                  </a:lnTo>
                  <a:lnTo>
                    <a:pt x="1122" y="1020"/>
                  </a:lnTo>
                  <a:lnTo>
                    <a:pt x="1130" y="1024"/>
                  </a:lnTo>
                  <a:lnTo>
                    <a:pt x="1145" y="1025"/>
                  </a:lnTo>
                  <a:lnTo>
                    <a:pt x="1152" y="1024"/>
                  </a:lnTo>
                  <a:lnTo>
                    <a:pt x="1158" y="1021"/>
                  </a:lnTo>
                  <a:lnTo>
                    <a:pt x="1162" y="1017"/>
                  </a:lnTo>
                  <a:lnTo>
                    <a:pt x="1173" y="1013"/>
                  </a:lnTo>
                  <a:lnTo>
                    <a:pt x="1181" y="1010"/>
                  </a:lnTo>
                  <a:lnTo>
                    <a:pt x="1202" y="995"/>
                  </a:lnTo>
                  <a:lnTo>
                    <a:pt x="1207" y="994"/>
                  </a:lnTo>
                  <a:lnTo>
                    <a:pt x="1215" y="992"/>
                  </a:lnTo>
                  <a:lnTo>
                    <a:pt x="1232" y="992"/>
                  </a:lnTo>
                  <a:lnTo>
                    <a:pt x="1244" y="995"/>
                  </a:lnTo>
                  <a:lnTo>
                    <a:pt x="1266" y="1004"/>
                  </a:lnTo>
                  <a:lnTo>
                    <a:pt x="1291" y="1015"/>
                  </a:lnTo>
                  <a:lnTo>
                    <a:pt x="1309" y="1033"/>
                  </a:lnTo>
                  <a:lnTo>
                    <a:pt x="1316" y="1042"/>
                  </a:lnTo>
                  <a:lnTo>
                    <a:pt x="1336" y="1060"/>
                  </a:lnTo>
                  <a:lnTo>
                    <a:pt x="1345" y="1070"/>
                  </a:lnTo>
                  <a:lnTo>
                    <a:pt x="1362" y="1083"/>
                  </a:lnTo>
                  <a:lnTo>
                    <a:pt x="1364" y="1081"/>
                  </a:lnTo>
                  <a:lnTo>
                    <a:pt x="1366" y="1065"/>
                  </a:lnTo>
                  <a:lnTo>
                    <a:pt x="1368" y="1063"/>
                  </a:lnTo>
                  <a:lnTo>
                    <a:pt x="1369" y="1060"/>
                  </a:lnTo>
                  <a:lnTo>
                    <a:pt x="1367" y="1053"/>
                  </a:lnTo>
                  <a:lnTo>
                    <a:pt x="1368" y="1052"/>
                  </a:lnTo>
                  <a:lnTo>
                    <a:pt x="1371" y="1047"/>
                  </a:lnTo>
                  <a:lnTo>
                    <a:pt x="1377" y="1037"/>
                  </a:lnTo>
                  <a:lnTo>
                    <a:pt x="1378" y="1033"/>
                  </a:lnTo>
                  <a:lnTo>
                    <a:pt x="1401" y="997"/>
                  </a:lnTo>
                  <a:lnTo>
                    <a:pt x="1431" y="994"/>
                  </a:lnTo>
                  <a:lnTo>
                    <a:pt x="1454" y="994"/>
                  </a:lnTo>
                  <a:lnTo>
                    <a:pt x="1455" y="995"/>
                  </a:lnTo>
                  <a:lnTo>
                    <a:pt x="1455" y="994"/>
                  </a:lnTo>
                  <a:lnTo>
                    <a:pt x="1457" y="979"/>
                  </a:lnTo>
                  <a:lnTo>
                    <a:pt x="1454" y="974"/>
                  </a:lnTo>
                  <a:lnTo>
                    <a:pt x="1444" y="966"/>
                  </a:lnTo>
                  <a:lnTo>
                    <a:pt x="1441" y="957"/>
                  </a:lnTo>
                  <a:lnTo>
                    <a:pt x="1425" y="947"/>
                  </a:lnTo>
                  <a:lnTo>
                    <a:pt x="1399" y="922"/>
                  </a:lnTo>
                  <a:lnTo>
                    <a:pt x="1401" y="923"/>
                  </a:lnTo>
                  <a:lnTo>
                    <a:pt x="1433" y="923"/>
                  </a:lnTo>
                  <a:lnTo>
                    <a:pt x="1433" y="896"/>
                  </a:lnTo>
                  <a:lnTo>
                    <a:pt x="1528" y="895"/>
                  </a:lnTo>
                  <a:lnTo>
                    <a:pt x="1541" y="892"/>
                  </a:lnTo>
                  <a:lnTo>
                    <a:pt x="1546" y="892"/>
                  </a:lnTo>
                  <a:lnTo>
                    <a:pt x="1561" y="864"/>
                  </a:lnTo>
                  <a:lnTo>
                    <a:pt x="1565" y="861"/>
                  </a:lnTo>
                  <a:lnTo>
                    <a:pt x="1571" y="863"/>
                  </a:lnTo>
                  <a:lnTo>
                    <a:pt x="1572" y="855"/>
                  </a:lnTo>
                  <a:lnTo>
                    <a:pt x="1583" y="839"/>
                  </a:lnTo>
                  <a:lnTo>
                    <a:pt x="1590" y="842"/>
                  </a:lnTo>
                  <a:lnTo>
                    <a:pt x="1588" y="858"/>
                  </a:lnTo>
                  <a:lnTo>
                    <a:pt x="1593" y="859"/>
                  </a:lnTo>
                  <a:lnTo>
                    <a:pt x="1595" y="861"/>
                  </a:lnTo>
                  <a:lnTo>
                    <a:pt x="1594" y="876"/>
                  </a:lnTo>
                  <a:lnTo>
                    <a:pt x="1597" y="886"/>
                  </a:lnTo>
                  <a:lnTo>
                    <a:pt x="1600" y="881"/>
                  </a:lnTo>
                  <a:lnTo>
                    <a:pt x="1606" y="860"/>
                  </a:lnTo>
                  <a:lnTo>
                    <a:pt x="1608" y="849"/>
                  </a:lnTo>
                  <a:lnTo>
                    <a:pt x="1616" y="825"/>
                  </a:lnTo>
                  <a:lnTo>
                    <a:pt x="1619" y="815"/>
                  </a:lnTo>
                  <a:lnTo>
                    <a:pt x="1616" y="810"/>
                  </a:lnTo>
                  <a:lnTo>
                    <a:pt x="1611" y="806"/>
                  </a:lnTo>
                  <a:lnTo>
                    <a:pt x="1620" y="801"/>
                  </a:lnTo>
                  <a:lnTo>
                    <a:pt x="1619" y="794"/>
                  </a:lnTo>
                  <a:lnTo>
                    <a:pt x="1611" y="790"/>
                  </a:lnTo>
                  <a:lnTo>
                    <a:pt x="1617" y="782"/>
                  </a:lnTo>
                  <a:lnTo>
                    <a:pt x="1622" y="772"/>
                  </a:lnTo>
                  <a:lnTo>
                    <a:pt x="1622" y="763"/>
                  </a:lnTo>
                  <a:lnTo>
                    <a:pt x="1632" y="744"/>
                  </a:lnTo>
                  <a:lnTo>
                    <a:pt x="1641" y="736"/>
                  </a:lnTo>
                  <a:lnTo>
                    <a:pt x="1653" y="723"/>
                  </a:lnTo>
                  <a:lnTo>
                    <a:pt x="1656" y="714"/>
                  </a:lnTo>
                  <a:lnTo>
                    <a:pt x="1657" y="703"/>
                  </a:lnTo>
                  <a:lnTo>
                    <a:pt x="1654" y="692"/>
                  </a:lnTo>
                  <a:lnTo>
                    <a:pt x="1648" y="683"/>
                  </a:lnTo>
                  <a:lnTo>
                    <a:pt x="1617" y="680"/>
                  </a:lnTo>
                  <a:lnTo>
                    <a:pt x="1605" y="691"/>
                  </a:lnTo>
                  <a:lnTo>
                    <a:pt x="1605" y="678"/>
                  </a:lnTo>
                  <a:lnTo>
                    <a:pt x="1588" y="675"/>
                  </a:lnTo>
                  <a:lnTo>
                    <a:pt x="1576" y="676"/>
                  </a:lnTo>
                  <a:lnTo>
                    <a:pt x="1555" y="682"/>
                  </a:lnTo>
                  <a:lnTo>
                    <a:pt x="1544" y="690"/>
                  </a:lnTo>
                  <a:lnTo>
                    <a:pt x="1519" y="691"/>
                  </a:lnTo>
                  <a:lnTo>
                    <a:pt x="1504" y="691"/>
                  </a:lnTo>
                  <a:lnTo>
                    <a:pt x="1495" y="692"/>
                  </a:lnTo>
                  <a:lnTo>
                    <a:pt x="1484" y="697"/>
                  </a:lnTo>
                  <a:lnTo>
                    <a:pt x="1474" y="699"/>
                  </a:lnTo>
                  <a:lnTo>
                    <a:pt x="1464" y="708"/>
                  </a:lnTo>
                  <a:lnTo>
                    <a:pt x="1459" y="720"/>
                  </a:lnTo>
                  <a:lnTo>
                    <a:pt x="1457" y="750"/>
                  </a:lnTo>
                  <a:lnTo>
                    <a:pt x="1453" y="767"/>
                  </a:lnTo>
                  <a:lnTo>
                    <a:pt x="1449" y="779"/>
                  </a:lnTo>
                  <a:lnTo>
                    <a:pt x="1443" y="788"/>
                  </a:lnTo>
                  <a:lnTo>
                    <a:pt x="1441" y="801"/>
                  </a:lnTo>
                  <a:lnTo>
                    <a:pt x="1436" y="812"/>
                  </a:lnTo>
                  <a:lnTo>
                    <a:pt x="1426" y="823"/>
                  </a:lnTo>
                  <a:lnTo>
                    <a:pt x="1411" y="830"/>
                  </a:lnTo>
                  <a:lnTo>
                    <a:pt x="1414" y="849"/>
                  </a:lnTo>
                  <a:lnTo>
                    <a:pt x="1395" y="859"/>
                  </a:lnTo>
                  <a:lnTo>
                    <a:pt x="1387" y="860"/>
                  </a:lnTo>
                  <a:lnTo>
                    <a:pt x="1380" y="859"/>
                  </a:lnTo>
                  <a:lnTo>
                    <a:pt x="1377" y="854"/>
                  </a:lnTo>
                  <a:lnTo>
                    <a:pt x="1377" y="848"/>
                  </a:lnTo>
                  <a:lnTo>
                    <a:pt x="1368" y="846"/>
                  </a:lnTo>
                  <a:lnTo>
                    <a:pt x="1351" y="846"/>
                  </a:lnTo>
                  <a:lnTo>
                    <a:pt x="1345" y="848"/>
                  </a:lnTo>
                  <a:lnTo>
                    <a:pt x="1335" y="850"/>
                  </a:lnTo>
                  <a:lnTo>
                    <a:pt x="1321" y="858"/>
                  </a:lnTo>
                  <a:lnTo>
                    <a:pt x="1312" y="860"/>
                  </a:lnTo>
                  <a:lnTo>
                    <a:pt x="1303" y="859"/>
                  </a:lnTo>
                  <a:lnTo>
                    <a:pt x="1275" y="864"/>
                  </a:lnTo>
                  <a:lnTo>
                    <a:pt x="1251" y="876"/>
                  </a:lnTo>
                  <a:lnTo>
                    <a:pt x="1238" y="876"/>
                  </a:lnTo>
                  <a:lnTo>
                    <a:pt x="1226" y="868"/>
                  </a:lnTo>
                  <a:lnTo>
                    <a:pt x="1215" y="853"/>
                  </a:lnTo>
                  <a:lnTo>
                    <a:pt x="1210" y="849"/>
                  </a:lnTo>
                  <a:lnTo>
                    <a:pt x="1210" y="852"/>
                  </a:lnTo>
                  <a:lnTo>
                    <a:pt x="1195" y="850"/>
                  </a:lnTo>
                  <a:lnTo>
                    <a:pt x="1183" y="846"/>
                  </a:lnTo>
                  <a:lnTo>
                    <a:pt x="1175" y="843"/>
                  </a:lnTo>
                  <a:lnTo>
                    <a:pt x="1169" y="839"/>
                  </a:lnTo>
                  <a:lnTo>
                    <a:pt x="1164" y="832"/>
                  </a:lnTo>
                  <a:lnTo>
                    <a:pt x="1160" y="830"/>
                  </a:lnTo>
                  <a:lnTo>
                    <a:pt x="1154" y="822"/>
                  </a:lnTo>
                  <a:lnTo>
                    <a:pt x="1152" y="820"/>
                  </a:lnTo>
                  <a:lnTo>
                    <a:pt x="1149" y="820"/>
                  </a:lnTo>
                  <a:lnTo>
                    <a:pt x="1148" y="818"/>
                  </a:lnTo>
                  <a:lnTo>
                    <a:pt x="1146" y="809"/>
                  </a:lnTo>
                  <a:lnTo>
                    <a:pt x="1130" y="773"/>
                  </a:lnTo>
                  <a:lnTo>
                    <a:pt x="1126" y="766"/>
                  </a:lnTo>
                  <a:lnTo>
                    <a:pt x="1120" y="761"/>
                  </a:lnTo>
                  <a:lnTo>
                    <a:pt x="1108" y="747"/>
                  </a:lnTo>
                  <a:lnTo>
                    <a:pt x="1103" y="741"/>
                  </a:lnTo>
                  <a:lnTo>
                    <a:pt x="1088" y="717"/>
                  </a:lnTo>
                  <a:lnTo>
                    <a:pt x="1084" y="705"/>
                  </a:lnTo>
                  <a:lnTo>
                    <a:pt x="1086" y="703"/>
                  </a:lnTo>
                  <a:lnTo>
                    <a:pt x="1090" y="696"/>
                  </a:lnTo>
                  <a:lnTo>
                    <a:pt x="1090" y="690"/>
                  </a:lnTo>
                  <a:lnTo>
                    <a:pt x="1089" y="686"/>
                  </a:lnTo>
                  <a:lnTo>
                    <a:pt x="1071" y="664"/>
                  </a:lnTo>
                  <a:lnTo>
                    <a:pt x="1063" y="645"/>
                  </a:lnTo>
                  <a:lnTo>
                    <a:pt x="1063" y="634"/>
                  </a:lnTo>
                  <a:lnTo>
                    <a:pt x="1068" y="611"/>
                  </a:lnTo>
                  <a:lnTo>
                    <a:pt x="1067" y="574"/>
                  </a:lnTo>
                  <a:lnTo>
                    <a:pt x="1067" y="562"/>
                  </a:lnTo>
                  <a:lnTo>
                    <a:pt x="1065" y="552"/>
                  </a:lnTo>
                  <a:lnTo>
                    <a:pt x="1061" y="547"/>
                  </a:lnTo>
                  <a:lnTo>
                    <a:pt x="1060" y="529"/>
                  </a:lnTo>
                  <a:lnTo>
                    <a:pt x="1060" y="505"/>
                  </a:lnTo>
                  <a:lnTo>
                    <a:pt x="1057" y="502"/>
                  </a:lnTo>
                  <a:lnTo>
                    <a:pt x="1057" y="498"/>
                  </a:lnTo>
                  <a:lnTo>
                    <a:pt x="1062" y="484"/>
                  </a:lnTo>
                  <a:lnTo>
                    <a:pt x="1068" y="479"/>
                  </a:lnTo>
                  <a:lnTo>
                    <a:pt x="1071" y="467"/>
                  </a:lnTo>
                  <a:lnTo>
                    <a:pt x="1071" y="459"/>
                  </a:lnTo>
                  <a:lnTo>
                    <a:pt x="1073" y="455"/>
                  </a:lnTo>
                  <a:lnTo>
                    <a:pt x="1086" y="459"/>
                  </a:lnTo>
                  <a:lnTo>
                    <a:pt x="1089" y="457"/>
                  </a:lnTo>
                  <a:lnTo>
                    <a:pt x="1095" y="450"/>
                  </a:lnTo>
                  <a:lnTo>
                    <a:pt x="1098" y="444"/>
                  </a:lnTo>
                  <a:lnTo>
                    <a:pt x="1099" y="434"/>
                  </a:lnTo>
                  <a:lnTo>
                    <a:pt x="1098" y="433"/>
                  </a:lnTo>
                  <a:lnTo>
                    <a:pt x="1095" y="439"/>
                  </a:lnTo>
                  <a:lnTo>
                    <a:pt x="1093" y="443"/>
                  </a:lnTo>
                  <a:lnTo>
                    <a:pt x="1090" y="444"/>
                  </a:lnTo>
                  <a:lnTo>
                    <a:pt x="1089" y="444"/>
                  </a:lnTo>
                  <a:lnTo>
                    <a:pt x="1090" y="438"/>
                  </a:lnTo>
                  <a:lnTo>
                    <a:pt x="1095" y="425"/>
                  </a:lnTo>
                  <a:lnTo>
                    <a:pt x="1078" y="424"/>
                  </a:lnTo>
                  <a:lnTo>
                    <a:pt x="1060" y="416"/>
                  </a:lnTo>
                  <a:lnTo>
                    <a:pt x="1033" y="413"/>
                  </a:lnTo>
                  <a:lnTo>
                    <a:pt x="1018" y="405"/>
                  </a:lnTo>
                  <a:lnTo>
                    <a:pt x="1004" y="403"/>
                  </a:lnTo>
                  <a:lnTo>
                    <a:pt x="987" y="392"/>
                  </a:lnTo>
                  <a:lnTo>
                    <a:pt x="970" y="366"/>
                  </a:lnTo>
                  <a:lnTo>
                    <a:pt x="955" y="319"/>
                  </a:lnTo>
                  <a:lnTo>
                    <a:pt x="938" y="308"/>
                  </a:lnTo>
                  <a:lnTo>
                    <a:pt x="930" y="288"/>
                  </a:lnTo>
                  <a:lnTo>
                    <a:pt x="914" y="271"/>
                  </a:lnTo>
                  <a:lnTo>
                    <a:pt x="894" y="225"/>
                  </a:lnTo>
                  <a:lnTo>
                    <a:pt x="883" y="217"/>
                  </a:lnTo>
                  <a:lnTo>
                    <a:pt x="877" y="207"/>
                  </a:lnTo>
                  <a:lnTo>
                    <a:pt x="860" y="191"/>
                  </a:lnTo>
                  <a:lnTo>
                    <a:pt x="852" y="181"/>
                  </a:lnTo>
                  <a:lnTo>
                    <a:pt x="807" y="183"/>
                  </a:lnTo>
                  <a:lnTo>
                    <a:pt x="796" y="180"/>
                  </a:lnTo>
                  <a:lnTo>
                    <a:pt x="785" y="185"/>
                  </a:lnTo>
                  <a:lnTo>
                    <a:pt x="782" y="188"/>
                  </a:lnTo>
                  <a:lnTo>
                    <a:pt x="759" y="235"/>
                  </a:lnTo>
                  <a:lnTo>
                    <a:pt x="735" y="230"/>
                  </a:lnTo>
                  <a:lnTo>
                    <a:pt x="711" y="214"/>
                  </a:lnTo>
                  <a:lnTo>
                    <a:pt x="692" y="198"/>
                  </a:lnTo>
                  <a:lnTo>
                    <a:pt x="678" y="180"/>
                  </a:lnTo>
                  <a:lnTo>
                    <a:pt x="664" y="129"/>
                  </a:lnTo>
                  <a:lnTo>
                    <a:pt x="635" y="110"/>
                  </a:lnTo>
                  <a:lnTo>
                    <a:pt x="615" y="93"/>
                  </a:lnTo>
                  <a:lnTo>
                    <a:pt x="606" y="80"/>
                  </a:lnTo>
                  <a:lnTo>
                    <a:pt x="594" y="74"/>
                  </a:lnTo>
                  <a:lnTo>
                    <a:pt x="587" y="62"/>
                  </a:lnTo>
                  <a:lnTo>
                    <a:pt x="582" y="59"/>
                  </a:lnTo>
                  <a:lnTo>
                    <a:pt x="572" y="53"/>
                  </a:lnTo>
                  <a:lnTo>
                    <a:pt x="482" y="54"/>
                  </a:lnTo>
                  <a:lnTo>
                    <a:pt x="481" y="84"/>
                  </a:lnTo>
                  <a:lnTo>
                    <a:pt x="437" y="84"/>
                  </a:lnTo>
                  <a:lnTo>
                    <a:pt x="334" y="84"/>
                  </a:lnTo>
                  <a:lnTo>
                    <a:pt x="125" y="7"/>
                  </a:lnTo>
                  <a:lnTo>
                    <a:pt x="124" y="0"/>
                  </a:lnTo>
                  <a:lnTo>
                    <a:pt x="0" y="10"/>
                  </a:lnTo>
                  <a:lnTo>
                    <a:pt x="7" y="18"/>
                  </a:lnTo>
                  <a:lnTo>
                    <a:pt x="8" y="25"/>
                  </a:lnTo>
                  <a:lnTo>
                    <a:pt x="12" y="31"/>
                  </a:lnTo>
                  <a:lnTo>
                    <a:pt x="16" y="41"/>
                  </a:lnTo>
                  <a:lnTo>
                    <a:pt x="22" y="47"/>
                  </a:lnTo>
                  <a:lnTo>
                    <a:pt x="22" y="52"/>
                  </a:lnTo>
                  <a:lnTo>
                    <a:pt x="25" y="52"/>
                  </a:lnTo>
                  <a:lnTo>
                    <a:pt x="29" y="57"/>
                  </a:lnTo>
                  <a:lnTo>
                    <a:pt x="30" y="73"/>
                  </a:lnTo>
                  <a:lnTo>
                    <a:pt x="48" y="99"/>
                  </a:lnTo>
                  <a:lnTo>
                    <a:pt x="50" y="106"/>
                  </a:lnTo>
                  <a:lnTo>
                    <a:pt x="50" y="111"/>
                  </a:lnTo>
                  <a:lnTo>
                    <a:pt x="52" y="112"/>
                  </a:lnTo>
                  <a:lnTo>
                    <a:pt x="54" y="117"/>
                  </a:lnTo>
                  <a:lnTo>
                    <a:pt x="57" y="120"/>
                  </a:lnTo>
                  <a:lnTo>
                    <a:pt x="65" y="137"/>
                  </a:lnTo>
                  <a:lnTo>
                    <a:pt x="65" y="147"/>
                  </a:lnTo>
                  <a:lnTo>
                    <a:pt x="66" y="149"/>
                  </a:lnTo>
                  <a:lnTo>
                    <a:pt x="70" y="145"/>
                  </a:lnTo>
                  <a:lnTo>
                    <a:pt x="72" y="147"/>
                  </a:lnTo>
                  <a:lnTo>
                    <a:pt x="75" y="155"/>
                  </a:lnTo>
                  <a:lnTo>
                    <a:pt x="78" y="176"/>
                  </a:lnTo>
                  <a:lnTo>
                    <a:pt x="82" y="187"/>
                  </a:lnTo>
                  <a:lnTo>
                    <a:pt x="84" y="191"/>
                  </a:lnTo>
                  <a:lnTo>
                    <a:pt x="94" y="195"/>
                  </a:lnTo>
                  <a:lnTo>
                    <a:pt x="98" y="197"/>
                  </a:lnTo>
                  <a:lnTo>
                    <a:pt x="104" y="198"/>
                  </a:lnTo>
                  <a:lnTo>
                    <a:pt x="111" y="208"/>
                  </a:lnTo>
                  <a:lnTo>
                    <a:pt x="121" y="209"/>
                  </a:lnTo>
                  <a:lnTo>
                    <a:pt x="126" y="217"/>
                  </a:lnTo>
                  <a:lnTo>
                    <a:pt x="132" y="228"/>
                  </a:lnTo>
                  <a:lnTo>
                    <a:pt x="136" y="230"/>
                  </a:lnTo>
                  <a:lnTo>
                    <a:pt x="147" y="241"/>
                  </a:lnTo>
                  <a:lnTo>
                    <a:pt x="151" y="244"/>
                  </a:lnTo>
                  <a:lnTo>
                    <a:pt x="170" y="268"/>
                  </a:lnTo>
                  <a:lnTo>
                    <a:pt x="172" y="276"/>
                  </a:lnTo>
                  <a:lnTo>
                    <a:pt x="172" y="284"/>
                  </a:lnTo>
                  <a:lnTo>
                    <a:pt x="173" y="287"/>
                  </a:lnTo>
                  <a:lnTo>
                    <a:pt x="172" y="290"/>
                  </a:lnTo>
                  <a:lnTo>
                    <a:pt x="173" y="295"/>
                  </a:lnTo>
                  <a:lnTo>
                    <a:pt x="168" y="296"/>
                  </a:lnTo>
                  <a:lnTo>
                    <a:pt x="164" y="300"/>
                  </a:lnTo>
                  <a:lnTo>
                    <a:pt x="164" y="305"/>
                  </a:lnTo>
                  <a:lnTo>
                    <a:pt x="167" y="306"/>
                  </a:lnTo>
                  <a:lnTo>
                    <a:pt x="165" y="311"/>
                  </a:lnTo>
                  <a:lnTo>
                    <a:pt x="159" y="306"/>
                  </a:lnTo>
                  <a:lnTo>
                    <a:pt x="142" y="311"/>
                  </a:lnTo>
                  <a:lnTo>
                    <a:pt x="120" y="309"/>
                  </a:lnTo>
                  <a:lnTo>
                    <a:pt x="120" y="317"/>
                  </a:lnTo>
                  <a:lnTo>
                    <a:pt x="122" y="319"/>
                  </a:lnTo>
                  <a:lnTo>
                    <a:pt x="126" y="315"/>
                  </a:lnTo>
                  <a:lnTo>
                    <a:pt x="137" y="326"/>
                  </a:lnTo>
                  <a:lnTo>
                    <a:pt x="147" y="330"/>
                  </a:lnTo>
                  <a:lnTo>
                    <a:pt x="149" y="333"/>
                  </a:lnTo>
                  <a:lnTo>
                    <a:pt x="152" y="344"/>
                  </a:lnTo>
                  <a:lnTo>
                    <a:pt x="156" y="347"/>
                  </a:lnTo>
                  <a:lnTo>
                    <a:pt x="165" y="348"/>
                  </a:lnTo>
                  <a:lnTo>
                    <a:pt x="170" y="351"/>
                  </a:lnTo>
                  <a:lnTo>
                    <a:pt x="173" y="357"/>
                  </a:lnTo>
                  <a:lnTo>
                    <a:pt x="179" y="358"/>
                  </a:lnTo>
                  <a:lnTo>
                    <a:pt x="188" y="363"/>
                  </a:lnTo>
                  <a:lnTo>
                    <a:pt x="192" y="369"/>
                  </a:lnTo>
                  <a:lnTo>
                    <a:pt x="199" y="373"/>
                  </a:lnTo>
                  <a:lnTo>
                    <a:pt x="212" y="375"/>
                  </a:lnTo>
                  <a:lnTo>
                    <a:pt x="222" y="363"/>
                  </a:lnTo>
                  <a:lnTo>
                    <a:pt x="224" y="368"/>
                  </a:lnTo>
                  <a:lnTo>
                    <a:pt x="223" y="375"/>
                  </a:lnTo>
                  <a:lnTo>
                    <a:pt x="227" y="380"/>
                  </a:lnTo>
                  <a:lnTo>
                    <a:pt x="239" y="397"/>
                  </a:lnTo>
                  <a:lnTo>
                    <a:pt x="251" y="405"/>
                  </a:lnTo>
                  <a:lnTo>
                    <a:pt x="258" y="408"/>
                  </a:lnTo>
                  <a:lnTo>
                    <a:pt x="264" y="408"/>
                  </a:lnTo>
                  <a:lnTo>
                    <a:pt x="267" y="414"/>
                  </a:lnTo>
                  <a:lnTo>
                    <a:pt x="277" y="436"/>
                  </a:lnTo>
                  <a:lnTo>
                    <a:pt x="278" y="444"/>
                  </a:lnTo>
                  <a:lnTo>
                    <a:pt x="280" y="466"/>
                  </a:lnTo>
                  <a:lnTo>
                    <a:pt x="276" y="483"/>
                  </a:lnTo>
                  <a:lnTo>
                    <a:pt x="272" y="491"/>
                  </a:lnTo>
                  <a:lnTo>
                    <a:pt x="272" y="497"/>
                  </a:lnTo>
                  <a:lnTo>
                    <a:pt x="275" y="492"/>
                  </a:lnTo>
                  <a:lnTo>
                    <a:pt x="277" y="491"/>
                  </a:lnTo>
                  <a:lnTo>
                    <a:pt x="280" y="495"/>
                  </a:lnTo>
                  <a:lnTo>
                    <a:pt x="286" y="494"/>
                  </a:lnTo>
                  <a:lnTo>
                    <a:pt x="291" y="498"/>
                  </a:lnTo>
                  <a:lnTo>
                    <a:pt x="292" y="504"/>
                  </a:lnTo>
                  <a:lnTo>
                    <a:pt x="294" y="508"/>
                  </a:lnTo>
                  <a:lnTo>
                    <a:pt x="305" y="509"/>
                  </a:lnTo>
                  <a:lnTo>
                    <a:pt x="305" y="514"/>
                  </a:lnTo>
                  <a:lnTo>
                    <a:pt x="315" y="524"/>
                  </a:lnTo>
                  <a:lnTo>
                    <a:pt x="334" y="534"/>
                  </a:lnTo>
                  <a:lnTo>
                    <a:pt x="340" y="541"/>
                  </a:lnTo>
                  <a:lnTo>
                    <a:pt x="361" y="559"/>
                  </a:lnTo>
                  <a:lnTo>
                    <a:pt x="368" y="562"/>
                  </a:lnTo>
                  <a:lnTo>
                    <a:pt x="379" y="575"/>
                  </a:lnTo>
                  <a:lnTo>
                    <a:pt x="388" y="600"/>
                  </a:lnTo>
                  <a:lnTo>
                    <a:pt x="394" y="606"/>
                  </a:lnTo>
                  <a:lnTo>
                    <a:pt x="399" y="607"/>
                  </a:lnTo>
                  <a:lnTo>
                    <a:pt x="404" y="601"/>
                  </a:lnTo>
                  <a:lnTo>
                    <a:pt x="412" y="597"/>
                  </a:lnTo>
                  <a:lnTo>
                    <a:pt x="419" y="590"/>
                  </a:lnTo>
                  <a:lnTo>
                    <a:pt x="422" y="584"/>
                  </a:lnTo>
                  <a:lnTo>
                    <a:pt x="423" y="575"/>
                  </a:lnTo>
                  <a:lnTo>
                    <a:pt x="421" y="569"/>
                  </a:lnTo>
                  <a:lnTo>
                    <a:pt x="415" y="563"/>
                  </a:lnTo>
                  <a:lnTo>
                    <a:pt x="412" y="557"/>
                  </a:lnTo>
                  <a:lnTo>
                    <a:pt x="404" y="546"/>
                  </a:lnTo>
                  <a:lnTo>
                    <a:pt x="404" y="541"/>
                  </a:lnTo>
                  <a:lnTo>
                    <a:pt x="390" y="532"/>
                  </a:lnTo>
                  <a:lnTo>
                    <a:pt x="382" y="524"/>
                  </a:lnTo>
                  <a:lnTo>
                    <a:pt x="373" y="531"/>
                  </a:lnTo>
                  <a:lnTo>
                    <a:pt x="367" y="529"/>
                  </a:lnTo>
                  <a:lnTo>
                    <a:pt x="362" y="524"/>
                  </a:lnTo>
                  <a:lnTo>
                    <a:pt x="355" y="511"/>
                  </a:lnTo>
                  <a:lnTo>
                    <a:pt x="353" y="507"/>
                  </a:lnTo>
                  <a:lnTo>
                    <a:pt x="353" y="488"/>
                  </a:lnTo>
                  <a:lnTo>
                    <a:pt x="346" y="475"/>
                  </a:lnTo>
                  <a:lnTo>
                    <a:pt x="342" y="468"/>
                  </a:lnTo>
                  <a:lnTo>
                    <a:pt x="341" y="470"/>
                  </a:lnTo>
                  <a:lnTo>
                    <a:pt x="341" y="451"/>
                  </a:lnTo>
                  <a:lnTo>
                    <a:pt x="333" y="445"/>
                  </a:lnTo>
                  <a:lnTo>
                    <a:pt x="330" y="441"/>
                  </a:lnTo>
                  <a:lnTo>
                    <a:pt x="324" y="434"/>
                  </a:lnTo>
                  <a:lnTo>
                    <a:pt x="323" y="424"/>
                  </a:lnTo>
                  <a:lnTo>
                    <a:pt x="320" y="405"/>
                  </a:lnTo>
                  <a:lnTo>
                    <a:pt x="317" y="402"/>
                  </a:lnTo>
                  <a:lnTo>
                    <a:pt x="315" y="395"/>
                  </a:lnTo>
                  <a:lnTo>
                    <a:pt x="308" y="379"/>
                  </a:lnTo>
                  <a:lnTo>
                    <a:pt x="299" y="370"/>
                  </a:lnTo>
                  <a:lnTo>
                    <a:pt x="294" y="370"/>
                  </a:lnTo>
                  <a:lnTo>
                    <a:pt x="296" y="382"/>
                  </a:lnTo>
                  <a:lnTo>
                    <a:pt x="299" y="387"/>
                  </a:lnTo>
                  <a:lnTo>
                    <a:pt x="298" y="387"/>
                  </a:lnTo>
                  <a:lnTo>
                    <a:pt x="292" y="380"/>
                  </a:lnTo>
                  <a:lnTo>
                    <a:pt x="292" y="375"/>
                  </a:lnTo>
                  <a:lnTo>
                    <a:pt x="287" y="368"/>
                  </a:lnTo>
                  <a:lnTo>
                    <a:pt x="285" y="360"/>
                  </a:lnTo>
                  <a:lnTo>
                    <a:pt x="285" y="358"/>
                  </a:lnTo>
                  <a:lnTo>
                    <a:pt x="282" y="353"/>
                  </a:lnTo>
                  <a:lnTo>
                    <a:pt x="274" y="349"/>
                  </a:lnTo>
                  <a:lnTo>
                    <a:pt x="272" y="341"/>
                  </a:lnTo>
                  <a:lnTo>
                    <a:pt x="266" y="330"/>
                  </a:lnTo>
                  <a:lnTo>
                    <a:pt x="247" y="309"/>
                  </a:lnTo>
                  <a:lnTo>
                    <a:pt x="244" y="298"/>
                  </a:lnTo>
                  <a:lnTo>
                    <a:pt x="243" y="289"/>
                  </a:lnTo>
                  <a:lnTo>
                    <a:pt x="240" y="282"/>
                  </a:lnTo>
                  <a:lnTo>
                    <a:pt x="239" y="274"/>
                  </a:lnTo>
                  <a:lnTo>
                    <a:pt x="238" y="274"/>
                  </a:lnTo>
                  <a:lnTo>
                    <a:pt x="237" y="271"/>
                  </a:lnTo>
                  <a:lnTo>
                    <a:pt x="234" y="269"/>
                  </a:lnTo>
                  <a:lnTo>
                    <a:pt x="231" y="271"/>
                  </a:lnTo>
                  <a:lnTo>
                    <a:pt x="229" y="269"/>
                  </a:lnTo>
                  <a:lnTo>
                    <a:pt x="224" y="261"/>
                  </a:lnTo>
                  <a:lnTo>
                    <a:pt x="219" y="246"/>
                  </a:lnTo>
                  <a:lnTo>
                    <a:pt x="217" y="247"/>
                  </a:lnTo>
                  <a:lnTo>
                    <a:pt x="215" y="246"/>
                  </a:lnTo>
                  <a:lnTo>
                    <a:pt x="208" y="241"/>
                  </a:lnTo>
                  <a:lnTo>
                    <a:pt x="204" y="242"/>
                  </a:lnTo>
                  <a:lnTo>
                    <a:pt x="197" y="229"/>
                  </a:lnTo>
                  <a:lnTo>
                    <a:pt x="195" y="218"/>
                  </a:lnTo>
                  <a:lnTo>
                    <a:pt x="175" y="202"/>
                  </a:lnTo>
                  <a:lnTo>
                    <a:pt x="170" y="197"/>
                  </a:lnTo>
                  <a:lnTo>
                    <a:pt x="168" y="192"/>
                  </a:lnTo>
                  <a:lnTo>
                    <a:pt x="164" y="190"/>
                  </a:lnTo>
                  <a:lnTo>
                    <a:pt x="157" y="188"/>
                  </a:lnTo>
                  <a:lnTo>
                    <a:pt x="156" y="183"/>
                  </a:lnTo>
                  <a:lnTo>
                    <a:pt x="152" y="176"/>
                  </a:lnTo>
                  <a:lnTo>
                    <a:pt x="148" y="169"/>
                  </a:lnTo>
                  <a:lnTo>
                    <a:pt x="143" y="164"/>
                  </a:lnTo>
                  <a:lnTo>
                    <a:pt x="140" y="143"/>
                  </a:lnTo>
                  <a:lnTo>
                    <a:pt x="138" y="125"/>
                  </a:lnTo>
                  <a:lnTo>
                    <a:pt x="137" y="115"/>
                  </a:lnTo>
                  <a:lnTo>
                    <a:pt x="132" y="107"/>
                  </a:lnTo>
                  <a:lnTo>
                    <a:pt x="130" y="100"/>
                  </a:lnTo>
                  <a:lnTo>
                    <a:pt x="127" y="82"/>
                  </a:lnTo>
                  <a:lnTo>
                    <a:pt x="127" y="72"/>
                  </a:lnTo>
                  <a:lnTo>
                    <a:pt x="129" y="64"/>
                  </a:lnTo>
                  <a:lnTo>
                    <a:pt x="127" y="5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44" name="Freeform 267">
              <a:extLst>
                <a:ext uri="{FF2B5EF4-FFF2-40B4-BE49-F238E27FC236}">
                  <a16:creationId xmlns:a16="http://schemas.microsoft.com/office/drawing/2014/main" id="{34EA5832-B3E5-3FB1-131A-FD337C2DFF5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128515" y="2210745"/>
              <a:ext cx="8008" cy="19909"/>
            </a:xfrm>
            <a:custGeom>
              <a:avLst/>
              <a:gdLst>
                <a:gd name="T0" fmla="*/ 0 w 12"/>
                <a:gd name="T1" fmla="*/ 0 h 33"/>
                <a:gd name="T2" fmla="*/ 0 w 12"/>
                <a:gd name="T3" fmla="*/ 0 h 33"/>
                <a:gd name="T4" fmla="*/ 0 w 12"/>
                <a:gd name="T5" fmla="*/ 0 h 33"/>
                <a:gd name="T6" fmla="*/ 0 w 12"/>
                <a:gd name="T7" fmla="*/ 0 h 33"/>
                <a:gd name="T8" fmla="*/ 0 w 12"/>
                <a:gd name="T9" fmla="*/ 0 h 33"/>
                <a:gd name="T10" fmla="*/ 0 w 12"/>
                <a:gd name="T11" fmla="*/ 0 h 33"/>
                <a:gd name="T12" fmla="*/ 0 w 12"/>
                <a:gd name="T13" fmla="*/ 0 h 33"/>
                <a:gd name="T14" fmla="*/ 0 w 12"/>
                <a:gd name="T15" fmla="*/ 0 h 33"/>
                <a:gd name="T16" fmla="*/ 0 w 12"/>
                <a:gd name="T17" fmla="*/ 0 h 33"/>
                <a:gd name="T18" fmla="*/ 0 w 12"/>
                <a:gd name="T19" fmla="*/ 0 h 33"/>
                <a:gd name="T20" fmla="*/ 0 w 12"/>
                <a:gd name="T21" fmla="*/ 0 h 33"/>
                <a:gd name="T22" fmla="*/ 0 w 12"/>
                <a:gd name="T23" fmla="*/ 0 h 3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2"/>
                <a:gd name="T37" fmla="*/ 0 h 33"/>
                <a:gd name="T38" fmla="*/ 12 w 12"/>
                <a:gd name="T39" fmla="*/ 33 h 3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2" h="33">
                  <a:moveTo>
                    <a:pt x="3" y="0"/>
                  </a:moveTo>
                  <a:lnTo>
                    <a:pt x="0" y="5"/>
                  </a:lnTo>
                  <a:lnTo>
                    <a:pt x="1" y="3"/>
                  </a:lnTo>
                  <a:lnTo>
                    <a:pt x="7" y="3"/>
                  </a:lnTo>
                  <a:lnTo>
                    <a:pt x="12" y="6"/>
                  </a:lnTo>
                  <a:lnTo>
                    <a:pt x="9" y="10"/>
                  </a:lnTo>
                  <a:lnTo>
                    <a:pt x="11" y="13"/>
                  </a:lnTo>
                  <a:lnTo>
                    <a:pt x="5" y="33"/>
                  </a:lnTo>
                  <a:lnTo>
                    <a:pt x="4" y="29"/>
                  </a:lnTo>
                  <a:lnTo>
                    <a:pt x="4" y="9"/>
                  </a:lnTo>
                  <a:lnTo>
                    <a:pt x="3" y="6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45" name="Freeform 268">
              <a:extLst>
                <a:ext uri="{FF2B5EF4-FFF2-40B4-BE49-F238E27FC236}">
                  <a16:creationId xmlns:a16="http://schemas.microsoft.com/office/drawing/2014/main" id="{3A9B24B9-8F5C-8D19-1DAE-44735E02617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80669" y="2162395"/>
              <a:ext cx="16017" cy="11377"/>
            </a:xfrm>
            <a:custGeom>
              <a:avLst/>
              <a:gdLst>
                <a:gd name="T0" fmla="*/ 0 w 27"/>
                <a:gd name="T1" fmla="*/ 0 h 18"/>
                <a:gd name="T2" fmla="*/ 0 w 27"/>
                <a:gd name="T3" fmla="*/ 0 h 18"/>
                <a:gd name="T4" fmla="*/ 0 w 27"/>
                <a:gd name="T5" fmla="*/ 0 h 18"/>
                <a:gd name="T6" fmla="*/ 0 w 27"/>
                <a:gd name="T7" fmla="*/ 0 h 18"/>
                <a:gd name="T8" fmla="*/ 0 w 27"/>
                <a:gd name="T9" fmla="*/ 0 h 18"/>
                <a:gd name="T10" fmla="*/ 0 w 27"/>
                <a:gd name="T11" fmla="*/ 0 h 18"/>
                <a:gd name="T12" fmla="*/ 0 w 27"/>
                <a:gd name="T13" fmla="*/ 0 h 18"/>
                <a:gd name="T14" fmla="*/ 0 w 27"/>
                <a:gd name="T15" fmla="*/ 0 h 18"/>
                <a:gd name="T16" fmla="*/ 0 w 27"/>
                <a:gd name="T17" fmla="*/ 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7"/>
                <a:gd name="T28" fmla="*/ 0 h 18"/>
                <a:gd name="T29" fmla="*/ 27 w 27"/>
                <a:gd name="T30" fmla="*/ 18 h 1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7" h="18">
                  <a:moveTo>
                    <a:pt x="13" y="9"/>
                  </a:moveTo>
                  <a:lnTo>
                    <a:pt x="5" y="18"/>
                  </a:lnTo>
                  <a:lnTo>
                    <a:pt x="0" y="9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3" y="1"/>
                  </a:lnTo>
                  <a:lnTo>
                    <a:pt x="26" y="1"/>
                  </a:lnTo>
                  <a:lnTo>
                    <a:pt x="27" y="3"/>
                  </a:lnTo>
                  <a:lnTo>
                    <a:pt x="13" y="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46" name="Freeform 269">
              <a:extLst>
                <a:ext uri="{FF2B5EF4-FFF2-40B4-BE49-F238E27FC236}">
                  <a16:creationId xmlns:a16="http://schemas.microsoft.com/office/drawing/2014/main" id="{918D85F5-5581-98CA-7633-97458F7D18B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37959" y="2119733"/>
              <a:ext cx="77412" cy="68259"/>
            </a:xfrm>
            <a:custGeom>
              <a:avLst/>
              <a:gdLst>
                <a:gd name="T0" fmla="*/ 0 w 145"/>
                <a:gd name="T1" fmla="*/ 0 h 117"/>
                <a:gd name="T2" fmla="*/ 0 w 145"/>
                <a:gd name="T3" fmla="*/ 0 h 117"/>
                <a:gd name="T4" fmla="*/ 0 w 145"/>
                <a:gd name="T5" fmla="*/ 0 h 117"/>
                <a:gd name="T6" fmla="*/ 0 w 145"/>
                <a:gd name="T7" fmla="*/ 0 h 117"/>
                <a:gd name="T8" fmla="*/ 0 w 145"/>
                <a:gd name="T9" fmla="*/ 0 h 117"/>
                <a:gd name="T10" fmla="*/ 0 w 145"/>
                <a:gd name="T11" fmla="*/ 0 h 117"/>
                <a:gd name="T12" fmla="*/ 0 w 145"/>
                <a:gd name="T13" fmla="*/ 0 h 117"/>
                <a:gd name="T14" fmla="*/ 0 w 145"/>
                <a:gd name="T15" fmla="*/ 0 h 117"/>
                <a:gd name="T16" fmla="*/ 0 w 145"/>
                <a:gd name="T17" fmla="*/ 0 h 117"/>
                <a:gd name="T18" fmla="*/ 0 w 145"/>
                <a:gd name="T19" fmla="*/ 0 h 117"/>
                <a:gd name="T20" fmla="*/ 0 w 145"/>
                <a:gd name="T21" fmla="*/ 0 h 117"/>
                <a:gd name="T22" fmla="*/ 0 w 145"/>
                <a:gd name="T23" fmla="*/ 0 h 117"/>
                <a:gd name="T24" fmla="*/ 0 w 145"/>
                <a:gd name="T25" fmla="*/ 0 h 117"/>
                <a:gd name="T26" fmla="*/ 0 w 145"/>
                <a:gd name="T27" fmla="*/ 0 h 117"/>
                <a:gd name="T28" fmla="*/ 0 w 145"/>
                <a:gd name="T29" fmla="*/ 0 h 117"/>
                <a:gd name="T30" fmla="*/ 0 w 145"/>
                <a:gd name="T31" fmla="*/ 0 h 117"/>
                <a:gd name="T32" fmla="*/ 0 w 145"/>
                <a:gd name="T33" fmla="*/ 0 h 117"/>
                <a:gd name="T34" fmla="*/ 0 w 145"/>
                <a:gd name="T35" fmla="*/ 0 h 117"/>
                <a:gd name="T36" fmla="*/ 0 w 145"/>
                <a:gd name="T37" fmla="*/ 0 h 117"/>
                <a:gd name="T38" fmla="*/ 0 w 145"/>
                <a:gd name="T39" fmla="*/ 0 h 117"/>
                <a:gd name="T40" fmla="*/ 0 w 145"/>
                <a:gd name="T41" fmla="*/ 0 h 117"/>
                <a:gd name="T42" fmla="*/ 0 w 145"/>
                <a:gd name="T43" fmla="*/ 0 h 117"/>
                <a:gd name="T44" fmla="*/ 0 w 145"/>
                <a:gd name="T45" fmla="*/ 0 h 117"/>
                <a:gd name="T46" fmla="*/ 0 w 145"/>
                <a:gd name="T47" fmla="*/ 0 h 117"/>
                <a:gd name="T48" fmla="*/ 0 w 145"/>
                <a:gd name="T49" fmla="*/ 0 h 117"/>
                <a:gd name="T50" fmla="*/ 0 w 145"/>
                <a:gd name="T51" fmla="*/ 0 h 117"/>
                <a:gd name="T52" fmla="*/ 0 w 145"/>
                <a:gd name="T53" fmla="*/ 0 h 117"/>
                <a:gd name="T54" fmla="*/ 0 w 145"/>
                <a:gd name="T55" fmla="*/ 0 h 117"/>
                <a:gd name="T56" fmla="*/ 0 w 145"/>
                <a:gd name="T57" fmla="*/ 0 h 117"/>
                <a:gd name="T58" fmla="*/ 0 w 145"/>
                <a:gd name="T59" fmla="*/ 0 h 117"/>
                <a:gd name="T60" fmla="*/ 0 w 145"/>
                <a:gd name="T61" fmla="*/ 0 h 117"/>
                <a:gd name="T62" fmla="*/ 0 w 145"/>
                <a:gd name="T63" fmla="*/ 0 h 117"/>
                <a:gd name="T64" fmla="*/ 0 w 145"/>
                <a:gd name="T65" fmla="*/ 0 h 117"/>
                <a:gd name="T66" fmla="*/ 0 w 145"/>
                <a:gd name="T67" fmla="*/ 0 h 117"/>
                <a:gd name="T68" fmla="*/ 0 w 145"/>
                <a:gd name="T69" fmla="*/ 0 h 117"/>
                <a:gd name="T70" fmla="*/ 0 w 145"/>
                <a:gd name="T71" fmla="*/ 0 h 117"/>
                <a:gd name="T72" fmla="*/ 0 w 145"/>
                <a:gd name="T73" fmla="*/ 0 h 117"/>
                <a:gd name="T74" fmla="*/ 0 w 145"/>
                <a:gd name="T75" fmla="*/ 0 h 117"/>
                <a:gd name="T76" fmla="*/ 0 w 145"/>
                <a:gd name="T77" fmla="*/ 0 h 117"/>
                <a:gd name="T78" fmla="*/ 0 w 145"/>
                <a:gd name="T79" fmla="*/ 0 h 117"/>
                <a:gd name="T80" fmla="*/ 0 w 145"/>
                <a:gd name="T81" fmla="*/ 0 h 117"/>
                <a:gd name="T82" fmla="*/ 0 w 145"/>
                <a:gd name="T83" fmla="*/ 0 h 117"/>
                <a:gd name="T84" fmla="*/ 0 w 145"/>
                <a:gd name="T85" fmla="*/ 0 h 117"/>
                <a:gd name="T86" fmla="*/ 0 w 145"/>
                <a:gd name="T87" fmla="*/ 0 h 11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5"/>
                <a:gd name="T133" fmla="*/ 0 h 117"/>
                <a:gd name="T134" fmla="*/ 145 w 145"/>
                <a:gd name="T135" fmla="*/ 117 h 117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5" h="117">
                  <a:moveTo>
                    <a:pt x="4" y="59"/>
                  </a:moveTo>
                  <a:lnTo>
                    <a:pt x="0" y="60"/>
                  </a:lnTo>
                  <a:lnTo>
                    <a:pt x="0" y="56"/>
                  </a:lnTo>
                  <a:lnTo>
                    <a:pt x="9" y="56"/>
                  </a:lnTo>
                  <a:lnTo>
                    <a:pt x="9" y="47"/>
                  </a:lnTo>
                  <a:lnTo>
                    <a:pt x="21" y="33"/>
                  </a:lnTo>
                  <a:lnTo>
                    <a:pt x="25" y="34"/>
                  </a:lnTo>
                  <a:lnTo>
                    <a:pt x="28" y="30"/>
                  </a:lnTo>
                  <a:lnTo>
                    <a:pt x="39" y="29"/>
                  </a:lnTo>
                  <a:lnTo>
                    <a:pt x="45" y="29"/>
                  </a:lnTo>
                  <a:lnTo>
                    <a:pt x="39" y="38"/>
                  </a:lnTo>
                  <a:lnTo>
                    <a:pt x="44" y="39"/>
                  </a:lnTo>
                  <a:lnTo>
                    <a:pt x="47" y="44"/>
                  </a:lnTo>
                  <a:lnTo>
                    <a:pt x="48" y="51"/>
                  </a:lnTo>
                  <a:lnTo>
                    <a:pt x="57" y="54"/>
                  </a:lnTo>
                  <a:lnTo>
                    <a:pt x="58" y="43"/>
                  </a:lnTo>
                  <a:lnTo>
                    <a:pt x="60" y="39"/>
                  </a:lnTo>
                  <a:lnTo>
                    <a:pt x="58" y="34"/>
                  </a:lnTo>
                  <a:lnTo>
                    <a:pt x="63" y="32"/>
                  </a:lnTo>
                  <a:lnTo>
                    <a:pt x="50" y="16"/>
                  </a:lnTo>
                  <a:lnTo>
                    <a:pt x="49" y="9"/>
                  </a:lnTo>
                  <a:lnTo>
                    <a:pt x="53" y="6"/>
                  </a:lnTo>
                  <a:lnTo>
                    <a:pt x="61" y="4"/>
                  </a:lnTo>
                  <a:lnTo>
                    <a:pt x="66" y="14"/>
                  </a:lnTo>
                  <a:lnTo>
                    <a:pt x="68" y="24"/>
                  </a:lnTo>
                  <a:lnTo>
                    <a:pt x="70" y="25"/>
                  </a:lnTo>
                  <a:lnTo>
                    <a:pt x="75" y="16"/>
                  </a:lnTo>
                  <a:lnTo>
                    <a:pt x="80" y="12"/>
                  </a:lnTo>
                  <a:lnTo>
                    <a:pt x="90" y="14"/>
                  </a:lnTo>
                  <a:lnTo>
                    <a:pt x="93" y="9"/>
                  </a:lnTo>
                  <a:lnTo>
                    <a:pt x="95" y="6"/>
                  </a:lnTo>
                  <a:lnTo>
                    <a:pt x="90" y="0"/>
                  </a:lnTo>
                  <a:lnTo>
                    <a:pt x="96" y="2"/>
                  </a:lnTo>
                  <a:lnTo>
                    <a:pt x="100" y="1"/>
                  </a:lnTo>
                  <a:lnTo>
                    <a:pt x="104" y="2"/>
                  </a:lnTo>
                  <a:lnTo>
                    <a:pt x="104" y="14"/>
                  </a:lnTo>
                  <a:lnTo>
                    <a:pt x="108" y="18"/>
                  </a:lnTo>
                  <a:lnTo>
                    <a:pt x="117" y="4"/>
                  </a:lnTo>
                  <a:lnTo>
                    <a:pt x="125" y="2"/>
                  </a:lnTo>
                  <a:lnTo>
                    <a:pt x="128" y="7"/>
                  </a:lnTo>
                  <a:lnTo>
                    <a:pt x="127" y="20"/>
                  </a:lnTo>
                  <a:lnTo>
                    <a:pt x="125" y="23"/>
                  </a:lnTo>
                  <a:lnTo>
                    <a:pt x="125" y="29"/>
                  </a:lnTo>
                  <a:lnTo>
                    <a:pt x="127" y="29"/>
                  </a:lnTo>
                  <a:lnTo>
                    <a:pt x="128" y="34"/>
                  </a:lnTo>
                  <a:lnTo>
                    <a:pt x="145" y="34"/>
                  </a:lnTo>
                  <a:lnTo>
                    <a:pt x="138" y="49"/>
                  </a:lnTo>
                  <a:lnTo>
                    <a:pt x="129" y="49"/>
                  </a:lnTo>
                  <a:lnTo>
                    <a:pt x="111" y="39"/>
                  </a:lnTo>
                  <a:lnTo>
                    <a:pt x="104" y="40"/>
                  </a:lnTo>
                  <a:lnTo>
                    <a:pt x="102" y="49"/>
                  </a:lnTo>
                  <a:lnTo>
                    <a:pt x="118" y="52"/>
                  </a:lnTo>
                  <a:lnTo>
                    <a:pt x="122" y="56"/>
                  </a:lnTo>
                  <a:lnTo>
                    <a:pt x="122" y="65"/>
                  </a:lnTo>
                  <a:lnTo>
                    <a:pt x="112" y="63"/>
                  </a:lnTo>
                  <a:lnTo>
                    <a:pt x="112" y="56"/>
                  </a:lnTo>
                  <a:lnTo>
                    <a:pt x="108" y="56"/>
                  </a:lnTo>
                  <a:lnTo>
                    <a:pt x="103" y="61"/>
                  </a:lnTo>
                  <a:lnTo>
                    <a:pt x="93" y="63"/>
                  </a:lnTo>
                  <a:lnTo>
                    <a:pt x="96" y="63"/>
                  </a:lnTo>
                  <a:lnTo>
                    <a:pt x="100" y="68"/>
                  </a:lnTo>
                  <a:lnTo>
                    <a:pt x="95" y="68"/>
                  </a:lnTo>
                  <a:lnTo>
                    <a:pt x="84" y="72"/>
                  </a:lnTo>
                  <a:lnTo>
                    <a:pt x="74" y="86"/>
                  </a:lnTo>
                  <a:lnTo>
                    <a:pt x="66" y="87"/>
                  </a:lnTo>
                  <a:lnTo>
                    <a:pt x="65" y="90"/>
                  </a:lnTo>
                  <a:lnTo>
                    <a:pt x="66" y="94"/>
                  </a:lnTo>
                  <a:lnTo>
                    <a:pt x="66" y="102"/>
                  </a:lnTo>
                  <a:lnTo>
                    <a:pt x="63" y="109"/>
                  </a:lnTo>
                  <a:lnTo>
                    <a:pt x="43" y="117"/>
                  </a:lnTo>
                  <a:lnTo>
                    <a:pt x="47" y="108"/>
                  </a:lnTo>
                  <a:lnTo>
                    <a:pt x="53" y="100"/>
                  </a:lnTo>
                  <a:lnTo>
                    <a:pt x="53" y="95"/>
                  </a:lnTo>
                  <a:lnTo>
                    <a:pt x="44" y="93"/>
                  </a:lnTo>
                  <a:lnTo>
                    <a:pt x="43" y="87"/>
                  </a:lnTo>
                  <a:lnTo>
                    <a:pt x="44" y="83"/>
                  </a:lnTo>
                  <a:lnTo>
                    <a:pt x="39" y="79"/>
                  </a:lnTo>
                  <a:lnTo>
                    <a:pt x="31" y="77"/>
                  </a:lnTo>
                  <a:lnTo>
                    <a:pt x="27" y="79"/>
                  </a:lnTo>
                  <a:lnTo>
                    <a:pt x="29" y="82"/>
                  </a:lnTo>
                  <a:lnTo>
                    <a:pt x="36" y="83"/>
                  </a:lnTo>
                  <a:lnTo>
                    <a:pt x="37" y="102"/>
                  </a:lnTo>
                  <a:lnTo>
                    <a:pt x="29" y="106"/>
                  </a:lnTo>
                  <a:lnTo>
                    <a:pt x="20" y="98"/>
                  </a:lnTo>
                  <a:lnTo>
                    <a:pt x="17" y="88"/>
                  </a:lnTo>
                  <a:lnTo>
                    <a:pt x="16" y="78"/>
                  </a:lnTo>
                  <a:lnTo>
                    <a:pt x="14" y="68"/>
                  </a:lnTo>
                  <a:lnTo>
                    <a:pt x="7" y="66"/>
                  </a:lnTo>
                  <a:lnTo>
                    <a:pt x="4" y="5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47" name="Freeform 270">
              <a:extLst>
                <a:ext uri="{FF2B5EF4-FFF2-40B4-BE49-F238E27FC236}">
                  <a16:creationId xmlns:a16="http://schemas.microsoft.com/office/drawing/2014/main" id="{0CCF0DC3-1EC0-1EA3-7CF5-13B244F3F09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50900" y="1124298"/>
              <a:ext cx="875555" cy="1168926"/>
            </a:xfrm>
            <a:custGeom>
              <a:avLst/>
              <a:gdLst>
                <a:gd name="T0" fmla="*/ 0 w 1638"/>
                <a:gd name="T1" fmla="*/ 0 h 2054"/>
                <a:gd name="T2" fmla="*/ 0 w 1638"/>
                <a:gd name="T3" fmla="*/ 0 h 2054"/>
                <a:gd name="T4" fmla="*/ 0 w 1638"/>
                <a:gd name="T5" fmla="*/ 0 h 2054"/>
                <a:gd name="T6" fmla="*/ 0 w 1638"/>
                <a:gd name="T7" fmla="*/ 0 h 2054"/>
                <a:gd name="T8" fmla="*/ 0 w 1638"/>
                <a:gd name="T9" fmla="*/ 0 h 2054"/>
                <a:gd name="T10" fmla="*/ 0 w 1638"/>
                <a:gd name="T11" fmla="*/ 0 h 2054"/>
                <a:gd name="T12" fmla="*/ 0 w 1638"/>
                <a:gd name="T13" fmla="*/ 0 h 2054"/>
                <a:gd name="T14" fmla="*/ 0 w 1638"/>
                <a:gd name="T15" fmla="*/ 0 h 2054"/>
                <a:gd name="T16" fmla="*/ 0 w 1638"/>
                <a:gd name="T17" fmla="*/ 0 h 2054"/>
                <a:gd name="T18" fmla="*/ 0 w 1638"/>
                <a:gd name="T19" fmla="*/ 0 h 2054"/>
                <a:gd name="T20" fmla="*/ 0 w 1638"/>
                <a:gd name="T21" fmla="*/ 0 h 2054"/>
                <a:gd name="T22" fmla="*/ 0 w 1638"/>
                <a:gd name="T23" fmla="*/ 0 h 2054"/>
                <a:gd name="T24" fmla="*/ 0 w 1638"/>
                <a:gd name="T25" fmla="*/ 0 h 2054"/>
                <a:gd name="T26" fmla="*/ 0 w 1638"/>
                <a:gd name="T27" fmla="*/ 0 h 2054"/>
                <a:gd name="T28" fmla="*/ 0 w 1638"/>
                <a:gd name="T29" fmla="*/ 0 h 2054"/>
                <a:gd name="T30" fmla="*/ 0 w 1638"/>
                <a:gd name="T31" fmla="*/ 0 h 2054"/>
                <a:gd name="T32" fmla="*/ 0 w 1638"/>
                <a:gd name="T33" fmla="*/ 0 h 2054"/>
                <a:gd name="T34" fmla="*/ 0 w 1638"/>
                <a:gd name="T35" fmla="*/ 0 h 2054"/>
                <a:gd name="T36" fmla="*/ 0 w 1638"/>
                <a:gd name="T37" fmla="*/ 0 h 2054"/>
                <a:gd name="T38" fmla="*/ 0 w 1638"/>
                <a:gd name="T39" fmla="*/ 0 h 2054"/>
                <a:gd name="T40" fmla="*/ 0 w 1638"/>
                <a:gd name="T41" fmla="*/ 0 h 2054"/>
                <a:gd name="T42" fmla="*/ 0 w 1638"/>
                <a:gd name="T43" fmla="*/ 0 h 2054"/>
                <a:gd name="T44" fmla="*/ 0 w 1638"/>
                <a:gd name="T45" fmla="*/ 0 h 2054"/>
                <a:gd name="T46" fmla="*/ 0 w 1638"/>
                <a:gd name="T47" fmla="*/ 0 h 2054"/>
                <a:gd name="T48" fmla="*/ 0 w 1638"/>
                <a:gd name="T49" fmla="*/ 0 h 2054"/>
                <a:gd name="T50" fmla="*/ 0 w 1638"/>
                <a:gd name="T51" fmla="*/ 0 h 2054"/>
                <a:gd name="T52" fmla="*/ 0 w 1638"/>
                <a:gd name="T53" fmla="*/ 0 h 2054"/>
                <a:gd name="T54" fmla="*/ 0 w 1638"/>
                <a:gd name="T55" fmla="*/ 0 h 2054"/>
                <a:gd name="T56" fmla="*/ 0 w 1638"/>
                <a:gd name="T57" fmla="*/ 0 h 2054"/>
                <a:gd name="T58" fmla="*/ 0 w 1638"/>
                <a:gd name="T59" fmla="*/ 0 h 2054"/>
                <a:gd name="T60" fmla="*/ 0 w 1638"/>
                <a:gd name="T61" fmla="*/ 0 h 2054"/>
                <a:gd name="T62" fmla="*/ 0 w 1638"/>
                <a:gd name="T63" fmla="*/ 0 h 2054"/>
                <a:gd name="T64" fmla="*/ 0 w 1638"/>
                <a:gd name="T65" fmla="*/ 0 h 2054"/>
                <a:gd name="T66" fmla="*/ 0 w 1638"/>
                <a:gd name="T67" fmla="*/ 0 h 2054"/>
                <a:gd name="T68" fmla="*/ 0 w 1638"/>
                <a:gd name="T69" fmla="*/ 0 h 2054"/>
                <a:gd name="T70" fmla="*/ 0 w 1638"/>
                <a:gd name="T71" fmla="*/ 0 h 2054"/>
                <a:gd name="T72" fmla="*/ 0 w 1638"/>
                <a:gd name="T73" fmla="*/ 0 h 2054"/>
                <a:gd name="T74" fmla="*/ 0 w 1638"/>
                <a:gd name="T75" fmla="*/ 0 h 2054"/>
                <a:gd name="T76" fmla="*/ 0 w 1638"/>
                <a:gd name="T77" fmla="*/ 0 h 2054"/>
                <a:gd name="T78" fmla="*/ 0 w 1638"/>
                <a:gd name="T79" fmla="*/ 0 h 2054"/>
                <a:gd name="T80" fmla="*/ 0 w 1638"/>
                <a:gd name="T81" fmla="*/ 0 h 2054"/>
                <a:gd name="T82" fmla="*/ 0 w 1638"/>
                <a:gd name="T83" fmla="*/ 0 h 2054"/>
                <a:gd name="T84" fmla="*/ 0 w 1638"/>
                <a:gd name="T85" fmla="*/ 0 h 2054"/>
                <a:gd name="T86" fmla="*/ 0 w 1638"/>
                <a:gd name="T87" fmla="*/ 0 h 2054"/>
                <a:gd name="T88" fmla="*/ 0 w 1638"/>
                <a:gd name="T89" fmla="*/ 0 h 2054"/>
                <a:gd name="T90" fmla="*/ 0 w 1638"/>
                <a:gd name="T91" fmla="*/ 0 h 2054"/>
                <a:gd name="T92" fmla="*/ 0 w 1638"/>
                <a:gd name="T93" fmla="*/ 0 h 2054"/>
                <a:gd name="T94" fmla="*/ 0 w 1638"/>
                <a:gd name="T95" fmla="*/ 0 h 2054"/>
                <a:gd name="T96" fmla="*/ 0 w 1638"/>
                <a:gd name="T97" fmla="*/ 0 h 2054"/>
                <a:gd name="T98" fmla="*/ 0 w 1638"/>
                <a:gd name="T99" fmla="*/ 0 h 2054"/>
                <a:gd name="T100" fmla="*/ 0 w 1638"/>
                <a:gd name="T101" fmla="*/ 0 h 2054"/>
                <a:gd name="T102" fmla="*/ 0 w 1638"/>
                <a:gd name="T103" fmla="*/ 0 h 2054"/>
                <a:gd name="T104" fmla="*/ 0 w 1638"/>
                <a:gd name="T105" fmla="*/ 0 h 2054"/>
                <a:gd name="T106" fmla="*/ 0 w 1638"/>
                <a:gd name="T107" fmla="*/ 0 h 2054"/>
                <a:gd name="T108" fmla="*/ 0 w 1638"/>
                <a:gd name="T109" fmla="*/ 0 h 2054"/>
                <a:gd name="T110" fmla="*/ 0 w 1638"/>
                <a:gd name="T111" fmla="*/ 0 h 2054"/>
                <a:gd name="T112" fmla="*/ 0 w 1638"/>
                <a:gd name="T113" fmla="*/ 0 h 2054"/>
                <a:gd name="T114" fmla="*/ 0 w 1638"/>
                <a:gd name="T115" fmla="*/ 0 h 2054"/>
                <a:gd name="T116" fmla="*/ 0 w 1638"/>
                <a:gd name="T117" fmla="*/ 0 h 2054"/>
                <a:gd name="T118" fmla="*/ 0 w 1638"/>
                <a:gd name="T119" fmla="*/ 0 h 205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638"/>
                <a:gd name="T181" fmla="*/ 0 h 2054"/>
                <a:gd name="T182" fmla="*/ 1638 w 1638"/>
                <a:gd name="T183" fmla="*/ 2054 h 205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638" h="2054">
                  <a:moveTo>
                    <a:pt x="1486" y="1466"/>
                  </a:moveTo>
                  <a:lnTo>
                    <a:pt x="1486" y="1356"/>
                  </a:lnTo>
                  <a:lnTo>
                    <a:pt x="1486" y="1249"/>
                  </a:lnTo>
                  <a:lnTo>
                    <a:pt x="1486" y="1148"/>
                  </a:lnTo>
                  <a:lnTo>
                    <a:pt x="1486" y="1039"/>
                  </a:lnTo>
                  <a:lnTo>
                    <a:pt x="1486" y="915"/>
                  </a:lnTo>
                  <a:lnTo>
                    <a:pt x="1486" y="793"/>
                  </a:lnTo>
                  <a:lnTo>
                    <a:pt x="1486" y="678"/>
                  </a:lnTo>
                  <a:lnTo>
                    <a:pt x="1486" y="553"/>
                  </a:lnTo>
                  <a:lnTo>
                    <a:pt x="1486" y="409"/>
                  </a:lnTo>
                  <a:lnTo>
                    <a:pt x="1486" y="266"/>
                  </a:lnTo>
                  <a:lnTo>
                    <a:pt x="1484" y="263"/>
                  </a:lnTo>
                  <a:lnTo>
                    <a:pt x="1477" y="263"/>
                  </a:lnTo>
                  <a:lnTo>
                    <a:pt x="1475" y="270"/>
                  </a:lnTo>
                  <a:lnTo>
                    <a:pt x="1470" y="280"/>
                  </a:lnTo>
                  <a:lnTo>
                    <a:pt x="1467" y="276"/>
                  </a:lnTo>
                  <a:lnTo>
                    <a:pt x="1456" y="259"/>
                  </a:lnTo>
                  <a:lnTo>
                    <a:pt x="1429" y="248"/>
                  </a:lnTo>
                  <a:lnTo>
                    <a:pt x="1427" y="242"/>
                  </a:lnTo>
                  <a:lnTo>
                    <a:pt x="1408" y="232"/>
                  </a:lnTo>
                  <a:lnTo>
                    <a:pt x="1408" y="228"/>
                  </a:lnTo>
                  <a:lnTo>
                    <a:pt x="1403" y="221"/>
                  </a:lnTo>
                  <a:lnTo>
                    <a:pt x="1365" y="201"/>
                  </a:lnTo>
                  <a:lnTo>
                    <a:pt x="1361" y="205"/>
                  </a:lnTo>
                  <a:lnTo>
                    <a:pt x="1355" y="206"/>
                  </a:lnTo>
                  <a:lnTo>
                    <a:pt x="1350" y="202"/>
                  </a:lnTo>
                  <a:lnTo>
                    <a:pt x="1351" y="214"/>
                  </a:lnTo>
                  <a:lnTo>
                    <a:pt x="1349" y="220"/>
                  </a:lnTo>
                  <a:lnTo>
                    <a:pt x="1341" y="209"/>
                  </a:lnTo>
                  <a:lnTo>
                    <a:pt x="1335" y="205"/>
                  </a:lnTo>
                  <a:lnTo>
                    <a:pt x="1330" y="209"/>
                  </a:lnTo>
                  <a:lnTo>
                    <a:pt x="1303" y="214"/>
                  </a:lnTo>
                  <a:lnTo>
                    <a:pt x="1302" y="217"/>
                  </a:lnTo>
                  <a:lnTo>
                    <a:pt x="1290" y="225"/>
                  </a:lnTo>
                  <a:lnTo>
                    <a:pt x="1280" y="225"/>
                  </a:lnTo>
                  <a:lnTo>
                    <a:pt x="1273" y="217"/>
                  </a:lnTo>
                  <a:lnTo>
                    <a:pt x="1271" y="225"/>
                  </a:lnTo>
                  <a:lnTo>
                    <a:pt x="1252" y="223"/>
                  </a:lnTo>
                  <a:lnTo>
                    <a:pt x="1251" y="221"/>
                  </a:lnTo>
                  <a:lnTo>
                    <a:pt x="1253" y="215"/>
                  </a:lnTo>
                  <a:lnTo>
                    <a:pt x="1232" y="211"/>
                  </a:lnTo>
                  <a:lnTo>
                    <a:pt x="1222" y="201"/>
                  </a:lnTo>
                  <a:lnTo>
                    <a:pt x="1211" y="194"/>
                  </a:lnTo>
                  <a:lnTo>
                    <a:pt x="1178" y="194"/>
                  </a:lnTo>
                  <a:lnTo>
                    <a:pt x="1158" y="199"/>
                  </a:lnTo>
                  <a:lnTo>
                    <a:pt x="1128" y="183"/>
                  </a:lnTo>
                  <a:lnTo>
                    <a:pt x="1115" y="180"/>
                  </a:lnTo>
                  <a:lnTo>
                    <a:pt x="1107" y="172"/>
                  </a:lnTo>
                  <a:lnTo>
                    <a:pt x="1091" y="167"/>
                  </a:lnTo>
                  <a:lnTo>
                    <a:pt x="1074" y="166"/>
                  </a:lnTo>
                  <a:lnTo>
                    <a:pt x="1072" y="156"/>
                  </a:lnTo>
                  <a:lnTo>
                    <a:pt x="1054" y="152"/>
                  </a:lnTo>
                  <a:lnTo>
                    <a:pt x="1032" y="142"/>
                  </a:lnTo>
                  <a:lnTo>
                    <a:pt x="1010" y="142"/>
                  </a:lnTo>
                  <a:lnTo>
                    <a:pt x="1001" y="148"/>
                  </a:lnTo>
                  <a:lnTo>
                    <a:pt x="975" y="158"/>
                  </a:lnTo>
                  <a:lnTo>
                    <a:pt x="977" y="152"/>
                  </a:lnTo>
                  <a:lnTo>
                    <a:pt x="985" y="151"/>
                  </a:lnTo>
                  <a:lnTo>
                    <a:pt x="983" y="144"/>
                  </a:lnTo>
                  <a:lnTo>
                    <a:pt x="977" y="141"/>
                  </a:lnTo>
                  <a:lnTo>
                    <a:pt x="967" y="140"/>
                  </a:lnTo>
                  <a:lnTo>
                    <a:pt x="929" y="151"/>
                  </a:lnTo>
                  <a:lnTo>
                    <a:pt x="899" y="148"/>
                  </a:lnTo>
                  <a:lnTo>
                    <a:pt x="908" y="140"/>
                  </a:lnTo>
                  <a:lnTo>
                    <a:pt x="909" y="132"/>
                  </a:lnTo>
                  <a:lnTo>
                    <a:pt x="872" y="132"/>
                  </a:lnTo>
                  <a:lnTo>
                    <a:pt x="866" y="129"/>
                  </a:lnTo>
                  <a:lnTo>
                    <a:pt x="887" y="128"/>
                  </a:lnTo>
                  <a:lnTo>
                    <a:pt x="882" y="120"/>
                  </a:lnTo>
                  <a:lnTo>
                    <a:pt x="872" y="120"/>
                  </a:lnTo>
                  <a:lnTo>
                    <a:pt x="870" y="114"/>
                  </a:lnTo>
                  <a:lnTo>
                    <a:pt x="877" y="99"/>
                  </a:lnTo>
                  <a:lnTo>
                    <a:pt x="877" y="87"/>
                  </a:lnTo>
                  <a:lnTo>
                    <a:pt x="859" y="80"/>
                  </a:lnTo>
                  <a:lnTo>
                    <a:pt x="843" y="80"/>
                  </a:lnTo>
                  <a:lnTo>
                    <a:pt x="845" y="94"/>
                  </a:lnTo>
                  <a:lnTo>
                    <a:pt x="843" y="91"/>
                  </a:lnTo>
                  <a:lnTo>
                    <a:pt x="835" y="94"/>
                  </a:lnTo>
                  <a:lnTo>
                    <a:pt x="832" y="81"/>
                  </a:lnTo>
                  <a:lnTo>
                    <a:pt x="827" y="69"/>
                  </a:lnTo>
                  <a:lnTo>
                    <a:pt x="817" y="69"/>
                  </a:lnTo>
                  <a:lnTo>
                    <a:pt x="807" y="71"/>
                  </a:lnTo>
                  <a:lnTo>
                    <a:pt x="790" y="83"/>
                  </a:lnTo>
                  <a:lnTo>
                    <a:pt x="785" y="75"/>
                  </a:lnTo>
                  <a:lnTo>
                    <a:pt x="778" y="80"/>
                  </a:lnTo>
                  <a:lnTo>
                    <a:pt x="771" y="91"/>
                  </a:lnTo>
                  <a:lnTo>
                    <a:pt x="763" y="91"/>
                  </a:lnTo>
                  <a:lnTo>
                    <a:pt x="757" y="83"/>
                  </a:lnTo>
                  <a:lnTo>
                    <a:pt x="747" y="83"/>
                  </a:lnTo>
                  <a:lnTo>
                    <a:pt x="740" y="78"/>
                  </a:lnTo>
                  <a:lnTo>
                    <a:pt x="744" y="70"/>
                  </a:lnTo>
                  <a:lnTo>
                    <a:pt x="733" y="45"/>
                  </a:lnTo>
                  <a:lnTo>
                    <a:pt x="716" y="39"/>
                  </a:lnTo>
                  <a:lnTo>
                    <a:pt x="716" y="48"/>
                  </a:lnTo>
                  <a:lnTo>
                    <a:pt x="709" y="40"/>
                  </a:lnTo>
                  <a:lnTo>
                    <a:pt x="710" y="51"/>
                  </a:lnTo>
                  <a:lnTo>
                    <a:pt x="704" y="51"/>
                  </a:lnTo>
                  <a:lnTo>
                    <a:pt x="697" y="58"/>
                  </a:lnTo>
                  <a:lnTo>
                    <a:pt x="695" y="72"/>
                  </a:lnTo>
                  <a:lnTo>
                    <a:pt x="704" y="83"/>
                  </a:lnTo>
                  <a:lnTo>
                    <a:pt x="704" y="91"/>
                  </a:lnTo>
                  <a:lnTo>
                    <a:pt x="705" y="103"/>
                  </a:lnTo>
                  <a:lnTo>
                    <a:pt x="695" y="103"/>
                  </a:lnTo>
                  <a:lnTo>
                    <a:pt x="694" y="94"/>
                  </a:lnTo>
                  <a:lnTo>
                    <a:pt x="688" y="87"/>
                  </a:lnTo>
                  <a:lnTo>
                    <a:pt x="683" y="94"/>
                  </a:lnTo>
                  <a:lnTo>
                    <a:pt x="678" y="83"/>
                  </a:lnTo>
                  <a:lnTo>
                    <a:pt x="676" y="96"/>
                  </a:lnTo>
                  <a:lnTo>
                    <a:pt x="657" y="83"/>
                  </a:lnTo>
                  <a:lnTo>
                    <a:pt x="649" y="82"/>
                  </a:lnTo>
                  <a:lnTo>
                    <a:pt x="646" y="85"/>
                  </a:lnTo>
                  <a:lnTo>
                    <a:pt x="654" y="66"/>
                  </a:lnTo>
                  <a:lnTo>
                    <a:pt x="660" y="70"/>
                  </a:lnTo>
                  <a:lnTo>
                    <a:pt x="672" y="64"/>
                  </a:lnTo>
                  <a:lnTo>
                    <a:pt x="689" y="49"/>
                  </a:lnTo>
                  <a:lnTo>
                    <a:pt x="690" y="42"/>
                  </a:lnTo>
                  <a:lnTo>
                    <a:pt x="689" y="33"/>
                  </a:lnTo>
                  <a:lnTo>
                    <a:pt x="681" y="26"/>
                  </a:lnTo>
                  <a:lnTo>
                    <a:pt x="661" y="30"/>
                  </a:lnTo>
                  <a:lnTo>
                    <a:pt x="660" y="27"/>
                  </a:lnTo>
                  <a:lnTo>
                    <a:pt x="658" y="16"/>
                  </a:lnTo>
                  <a:lnTo>
                    <a:pt x="650" y="11"/>
                  </a:lnTo>
                  <a:lnTo>
                    <a:pt x="642" y="15"/>
                  </a:lnTo>
                  <a:lnTo>
                    <a:pt x="635" y="10"/>
                  </a:lnTo>
                  <a:lnTo>
                    <a:pt x="627" y="0"/>
                  </a:lnTo>
                  <a:lnTo>
                    <a:pt x="622" y="3"/>
                  </a:lnTo>
                  <a:lnTo>
                    <a:pt x="619" y="10"/>
                  </a:lnTo>
                  <a:lnTo>
                    <a:pt x="613" y="17"/>
                  </a:lnTo>
                  <a:lnTo>
                    <a:pt x="612" y="24"/>
                  </a:lnTo>
                  <a:lnTo>
                    <a:pt x="609" y="22"/>
                  </a:lnTo>
                  <a:lnTo>
                    <a:pt x="612" y="33"/>
                  </a:lnTo>
                  <a:lnTo>
                    <a:pt x="608" y="37"/>
                  </a:lnTo>
                  <a:lnTo>
                    <a:pt x="602" y="33"/>
                  </a:lnTo>
                  <a:lnTo>
                    <a:pt x="598" y="35"/>
                  </a:lnTo>
                  <a:lnTo>
                    <a:pt x="597" y="40"/>
                  </a:lnTo>
                  <a:lnTo>
                    <a:pt x="591" y="48"/>
                  </a:lnTo>
                  <a:lnTo>
                    <a:pt x="584" y="60"/>
                  </a:lnTo>
                  <a:lnTo>
                    <a:pt x="558" y="86"/>
                  </a:lnTo>
                  <a:lnTo>
                    <a:pt x="536" y="86"/>
                  </a:lnTo>
                  <a:lnTo>
                    <a:pt x="537" y="91"/>
                  </a:lnTo>
                  <a:lnTo>
                    <a:pt x="511" y="96"/>
                  </a:lnTo>
                  <a:lnTo>
                    <a:pt x="491" y="91"/>
                  </a:lnTo>
                  <a:lnTo>
                    <a:pt x="495" y="96"/>
                  </a:lnTo>
                  <a:lnTo>
                    <a:pt x="486" y="101"/>
                  </a:lnTo>
                  <a:lnTo>
                    <a:pt x="489" y="113"/>
                  </a:lnTo>
                  <a:lnTo>
                    <a:pt x="472" y="103"/>
                  </a:lnTo>
                  <a:lnTo>
                    <a:pt x="480" y="92"/>
                  </a:lnTo>
                  <a:lnTo>
                    <a:pt x="483" y="83"/>
                  </a:lnTo>
                  <a:lnTo>
                    <a:pt x="496" y="78"/>
                  </a:lnTo>
                  <a:lnTo>
                    <a:pt x="500" y="73"/>
                  </a:lnTo>
                  <a:lnTo>
                    <a:pt x="478" y="81"/>
                  </a:lnTo>
                  <a:lnTo>
                    <a:pt x="466" y="88"/>
                  </a:lnTo>
                  <a:lnTo>
                    <a:pt x="452" y="101"/>
                  </a:lnTo>
                  <a:lnTo>
                    <a:pt x="448" y="109"/>
                  </a:lnTo>
                  <a:lnTo>
                    <a:pt x="448" y="113"/>
                  </a:lnTo>
                  <a:lnTo>
                    <a:pt x="440" y="116"/>
                  </a:lnTo>
                  <a:lnTo>
                    <a:pt x="445" y="121"/>
                  </a:lnTo>
                  <a:lnTo>
                    <a:pt x="452" y="124"/>
                  </a:lnTo>
                  <a:lnTo>
                    <a:pt x="457" y="136"/>
                  </a:lnTo>
                  <a:lnTo>
                    <a:pt x="464" y="141"/>
                  </a:lnTo>
                  <a:lnTo>
                    <a:pt x="474" y="139"/>
                  </a:lnTo>
                  <a:lnTo>
                    <a:pt x="461" y="145"/>
                  </a:lnTo>
                  <a:lnTo>
                    <a:pt x="453" y="145"/>
                  </a:lnTo>
                  <a:lnTo>
                    <a:pt x="450" y="155"/>
                  </a:lnTo>
                  <a:lnTo>
                    <a:pt x="453" y="162"/>
                  </a:lnTo>
                  <a:lnTo>
                    <a:pt x="452" y="174"/>
                  </a:lnTo>
                  <a:lnTo>
                    <a:pt x="447" y="182"/>
                  </a:lnTo>
                  <a:lnTo>
                    <a:pt x="442" y="175"/>
                  </a:lnTo>
                  <a:lnTo>
                    <a:pt x="442" y="162"/>
                  </a:lnTo>
                  <a:lnTo>
                    <a:pt x="434" y="168"/>
                  </a:lnTo>
                  <a:lnTo>
                    <a:pt x="440" y="158"/>
                  </a:lnTo>
                  <a:lnTo>
                    <a:pt x="439" y="146"/>
                  </a:lnTo>
                  <a:lnTo>
                    <a:pt x="445" y="140"/>
                  </a:lnTo>
                  <a:lnTo>
                    <a:pt x="442" y="131"/>
                  </a:lnTo>
                  <a:lnTo>
                    <a:pt x="432" y="128"/>
                  </a:lnTo>
                  <a:lnTo>
                    <a:pt x="405" y="148"/>
                  </a:lnTo>
                  <a:lnTo>
                    <a:pt x="405" y="152"/>
                  </a:lnTo>
                  <a:lnTo>
                    <a:pt x="418" y="145"/>
                  </a:lnTo>
                  <a:lnTo>
                    <a:pt x="408" y="156"/>
                  </a:lnTo>
                  <a:lnTo>
                    <a:pt x="366" y="184"/>
                  </a:lnTo>
                  <a:lnTo>
                    <a:pt x="348" y="188"/>
                  </a:lnTo>
                  <a:lnTo>
                    <a:pt x="338" y="200"/>
                  </a:lnTo>
                  <a:lnTo>
                    <a:pt x="342" y="191"/>
                  </a:lnTo>
                  <a:lnTo>
                    <a:pt x="342" y="183"/>
                  </a:lnTo>
                  <a:lnTo>
                    <a:pt x="348" y="177"/>
                  </a:lnTo>
                  <a:lnTo>
                    <a:pt x="337" y="175"/>
                  </a:lnTo>
                  <a:lnTo>
                    <a:pt x="326" y="200"/>
                  </a:lnTo>
                  <a:lnTo>
                    <a:pt x="323" y="211"/>
                  </a:lnTo>
                  <a:lnTo>
                    <a:pt x="342" y="228"/>
                  </a:lnTo>
                  <a:lnTo>
                    <a:pt x="353" y="233"/>
                  </a:lnTo>
                  <a:lnTo>
                    <a:pt x="353" y="239"/>
                  </a:lnTo>
                  <a:lnTo>
                    <a:pt x="324" y="225"/>
                  </a:lnTo>
                  <a:lnTo>
                    <a:pt x="321" y="218"/>
                  </a:lnTo>
                  <a:lnTo>
                    <a:pt x="312" y="217"/>
                  </a:lnTo>
                  <a:lnTo>
                    <a:pt x="307" y="227"/>
                  </a:lnTo>
                  <a:lnTo>
                    <a:pt x="285" y="253"/>
                  </a:lnTo>
                  <a:lnTo>
                    <a:pt x="295" y="258"/>
                  </a:lnTo>
                  <a:lnTo>
                    <a:pt x="318" y="259"/>
                  </a:lnTo>
                  <a:lnTo>
                    <a:pt x="314" y="261"/>
                  </a:lnTo>
                  <a:lnTo>
                    <a:pt x="287" y="261"/>
                  </a:lnTo>
                  <a:lnTo>
                    <a:pt x="280" y="264"/>
                  </a:lnTo>
                  <a:lnTo>
                    <a:pt x="279" y="268"/>
                  </a:lnTo>
                  <a:lnTo>
                    <a:pt x="291" y="282"/>
                  </a:lnTo>
                  <a:lnTo>
                    <a:pt x="302" y="288"/>
                  </a:lnTo>
                  <a:lnTo>
                    <a:pt x="299" y="293"/>
                  </a:lnTo>
                  <a:lnTo>
                    <a:pt x="279" y="279"/>
                  </a:lnTo>
                  <a:lnTo>
                    <a:pt x="280" y="287"/>
                  </a:lnTo>
                  <a:lnTo>
                    <a:pt x="273" y="318"/>
                  </a:lnTo>
                  <a:lnTo>
                    <a:pt x="270" y="323"/>
                  </a:lnTo>
                  <a:lnTo>
                    <a:pt x="269" y="306"/>
                  </a:lnTo>
                  <a:lnTo>
                    <a:pt x="263" y="331"/>
                  </a:lnTo>
                  <a:lnTo>
                    <a:pt x="251" y="356"/>
                  </a:lnTo>
                  <a:lnTo>
                    <a:pt x="226" y="379"/>
                  </a:lnTo>
                  <a:lnTo>
                    <a:pt x="189" y="388"/>
                  </a:lnTo>
                  <a:lnTo>
                    <a:pt x="155" y="393"/>
                  </a:lnTo>
                  <a:lnTo>
                    <a:pt x="127" y="401"/>
                  </a:lnTo>
                  <a:lnTo>
                    <a:pt x="117" y="400"/>
                  </a:lnTo>
                  <a:lnTo>
                    <a:pt x="125" y="397"/>
                  </a:lnTo>
                  <a:lnTo>
                    <a:pt x="124" y="393"/>
                  </a:lnTo>
                  <a:lnTo>
                    <a:pt x="102" y="395"/>
                  </a:lnTo>
                  <a:lnTo>
                    <a:pt x="102" y="397"/>
                  </a:lnTo>
                  <a:lnTo>
                    <a:pt x="103" y="401"/>
                  </a:lnTo>
                  <a:lnTo>
                    <a:pt x="101" y="419"/>
                  </a:lnTo>
                  <a:lnTo>
                    <a:pt x="101" y="435"/>
                  </a:lnTo>
                  <a:lnTo>
                    <a:pt x="98" y="453"/>
                  </a:lnTo>
                  <a:lnTo>
                    <a:pt x="103" y="455"/>
                  </a:lnTo>
                  <a:lnTo>
                    <a:pt x="108" y="452"/>
                  </a:lnTo>
                  <a:lnTo>
                    <a:pt x="102" y="459"/>
                  </a:lnTo>
                  <a:lnTo>
                    <a:pt x="88" y="465"/>
                  </a:lnTo>
                  <a:lnTo>
                    <a:pt x="85" y="471"/>
                  </a:lnTo>
                  <a:lnTo>
                    <a:pt x="79" y="471"/>
                  </a:lnTo>
                  <a:lnTo>
                    <a:pt x="86" y="465"/>
                  </a:lnTo>
                  <a:lnTo>
                    <a:pt x="88" y="457"/>
                  </a:lnTo>
                  <a:lnTo>
                    <a:pt x="86" y="458"/>
                  </a:lnTo>
                  <a:lnTo>
                    <a:pt x="71" y="468"/>
                  </a:lnTo>
                  <a:lnTo>
                    <a:pt x="69" y="474"/>
                  </a:lnTo>
                  <a:lnTo>
                    <a:pt x="102" y="489"/>
                  </a:lnTo>
                  <a:lnTo>
                    <a:pt x="112" y="500"/>
                  </a:lnTo>
                  <a:lnTo>
                    <a:pt x="118" y="511"/>
                  </a:lnTo>
                  <a:lnTo>
                    <a:pt x="140" y="524"/>
                  </a:lnTo>
                  <a:lnTo>
                    <a:pt x="152" y="527"/>
                  </a:lnTo>
                  <a:lnTo>
                    <a:pt x="182" y="556"/>
                  </a:lnTo>
                  <a:lnTo>
                    <a:pt x="206" y="572"/>
                  </a:lnTo>
                  <a:lnTo>
                    <a:pt x="221" y="587"/>
                  </a:lnTo>
                  <a:lnTo>
                    <a:pt x="221" y="592"/>
                  </a:lnTo>
                  <a:lnTo>
                    <a:pt x="230" y="599"/>
                  </a:lnTo>
                  <a:lnTo>
                    <a:pt x="233" y="608"/>
                  </a:lnTo>
                  <a:lnTo>
                    <a:pt x="237" y="621"/>
                  </a:lnTo>
                  <a:lnTo>
                    <a:pt x="241" y="626"/>
                  </a:lnTo>
                  <a:lnTo>
                    <a:pt x="238" y="629"/>
                  </a:lnTo>
                  <a:lnTo>
                    <a:pt x="240" y="641"/>
                  </a:lnTo>
                  <a:lnTo>
                    <a:pt x="244" y="657"/>
                  </a:lnTo>
                  <a:lnTo>
                    <a:pt x="259" y="659"/>
                  </a:lnTo>
                  <a:lnTo>
                    <a:pt x="268" y="666"/>
                  </a:lnTo>
                  <a:lnTo>
                    <a:pt x="291" y="675"/>
                  </a:lnTo>
                  <a:lnTo>
                    <a:pt x="287" y="670"/>
                  </a:lnTo>
                  <a:lnTo>
                    <a:pt x="292" y="666"/>
                  </a:lnTo>
                  <a:lnTo>
                    <a:pt x="294" y="658"/>
                  </a:lnTo>
                  <a:lnTo>
                    <a:pt x="308" y="659"/>
                  </a:lnTo>
                  <a:lnTo>
                    <a:pt x="310" y="657"/>
                  </a:lnTo>
                  <a:lnTo>
                    <a:pt x="307" y="651"/>
                  </a:lnTo>
                  <a:lnTo>
                    <a:pt x="313" y="648"/>
                  </a:lnTo>
                  <a:lnTo>
                    <a:pt x="317" y="648"/>
                  </a:lnTo>
                  <a:lnTo>
                    <a:pt x="305" y="673"/>
                  </a:lnTo>
                  <a:lnTo>
                    <a:pt x="310" y="677"/>
                  </a:lnTo>
                  <a:lnTo>
                    <a:pt x="319" y="670"/>
                  </a:lnTo>
                  <a:lnTo>
                    <a:pt x="335" y="666"/>
                  </a:lnTo>
                  <a:lnTo>
                    <a:pt x="348" y="667"/>
                  </a:lnTo>
                  <a:lnTo>
                    <a:pt x="354" y="669"/>
                  </a:lnTo>
                  <a:lnTo>
                    <a:pt x="362" y="678"/>
                  </a:lnTo>
                  <a:lnTo>
                    <a:pt x="359" y="683"/>
                  </a:lnTo>
                  <a:lnTo>
                    <a:pt x="349" y="686"/>
                  </a:lnTo>
                  <a:lnTo>
                    <a:pt x="343" y="705"/>
                  </a:lnTo>
                  <a:lnTo>
                    <a:pt x="355" y="723"/>
                  </a:lnTo>
                  <a:lnTo>
                    <a:pt x="372" y="736"/>
                  </a:lnTo>
                  <a:lnTo>
                    <a:pt x="375" y="729"/>
                  </a:lnTo>
                  <a:lnTo>
                    <a:pt x="375" y="718"/>
                  </a:lnTo>
                  <a:lnTo>
                    <a:pt x="378" y="713"/>
                  </a:lnTo>
                  <a:lnTo>
                    <a:pt x="377" y="724"/>
                  </a:lnTo>
                  <a:lnTo>
                    <a:pt x="381" y="727"/>
                  </a:lnTo>
                  <a:lnTo>
                    <a:pt x="383" y="721"/>
                  </a:lnTo>
                  <a:lnTo>
                    <a:pt x="399" y="720"/>
                  </a:lnTo>
                  <a:lnTo>
                    <a:pt x="415" y="731"/>
                  </a:lnTo>
                  <a:lnTo>
                    <a:pt x="427" y="727"/>
                  </a:lnTo>
                  <a:lnTo>
                    <a:pt x="436" y="717"/>
                  </a:lnTo>
                  <a:lnTo>
                    <a:pt x="446" y="720"/>
                  </a:lnTo>
                  <a:lnTo>
                    <a:pt x="453" y="713"/>
                  </a:lnTo>
                  <a:lnTo>
                    <a:pt x="469" y="716"/>
                  </a:lnTo>
                  <a:lnTo>
                    <a:pt x="464" y="722"/>
                  </a:lnTo>
                  <a:lnTo>
                    <a:pt x="440" y="731"/>
                  </a:lnTo>
                  <a:lnTo>
                    <a:pt x="435" y="739"/>
                  </a:lnTo>
                  <a:lnTo>
                    <a:pt x="441" y="742"/>
                  </a:lnTo>
                  <a:lnTo>
                    <a:pt x="443" y="736"/>
                  </a:lnTo>
                  <a:lnTo>
                    <a:pt x="467" y="728"/>
                  </a:lnTo>
                  <a:lnTo>
                    <a:pt x="472" y="732"/>
                  </a:lnTo>
                  <a:lnTo>
                    <a:pt x="472" y="739"/>
                  </a:lnTo>
                  <a:lnTo>
                    <a:pt x="464" y="745"/>
                  </a:lnTo>
                  <a:lnTo>
                    <a:pt x="442" y="747"/>
                  </a:lnTo>
                  <a:lnTo>
                    <a:pt x="434" y="750"/>
                  </a:lnTo>
                  <a:lnTo>
                    <a:pt x="430" y="756"/>
                  </a:lnTo>
                  <a:lnTo>
                    <a:pt x="410" y="759"/>
                  </a:lnTo>
                  <a:lnTo>
                    <a:pt x="403" y="758"/>
                  </a:lnTo>
                  <a:lnTo>
                    <a:pt x="398" y="750"/>
                  </a:lnTo>
                  <a:lnTo>
                    <a:pt x="392" y="748"/>
                  </a:lnTo>
                  <a:lnTo>
                    <a:pt x="389" y="744"/>
                  </a:lnTo>
                  <a:lnTo>
                    <a:pt x="382" y="743"/>
                  </a:lnTo>
                  <a:lnTo>
                    <a:pt x="381" y="737"/>
                  </a:lnTo>
                  <a:lnTo>
                    <a:pt x="376" y="738"/>
                  </a:lnTo>
                  <a:lnTo>
                    <a:pt x="369" y="744"/>
                  </a:lnTo>
                  <a:lnTo>
                    <a:pt x="351" y="744"/>
                  </a:lnTo>
                  <a:lnTo>
                    <a:pt x="342" y="736"/>
                  </a:lnTo>
                  <a:lnTo>
                    <a:pt x="332" y="717"/>
                  </a:lnTo>
                  <a:lnTo>
                    <a:pt x="338" y="734"/>
                  </a:lnTo>
                  <a:lnTo>
                    <a:pt x="344" y="744"/>
                  </a:lnTo>
                  <a:lnTo>
                    <a:pt x="339" y="755"/>
                  </a:lnTo>
                  <a:lnTo>
                    <a:pt x="339" y="766"/>
                  </a:lnTo>
                  <a:lnTo>
                    <a:pt x="346" y="769"/>
                  </a:lnTo>
                  <a:lnTo>
                    <a:pt x="344" y="764"/>
                  </a:lnTo>
                  <a:lnTo>
                    <a:pt x="349" y="753"/>
                  </a:lnTo>
                  <a:lnTo>
                    <a:pt x="361" y="755"/>
                  </a:lnTo>
                  <a:lnTo>
                    <a:pt x="388" y="764"/>
                  </a:lnTo>
                  <a:lnTo>
                    <a:pt x="394" y="771"/>
                  </a:lnTo>
                  <a:lnTo>
                    <a:pt x="393" y="780"/>
                  </a:lnTo>
                  <a:lnTo>
                    <a:pt x="385" y="791"/>
                  </a:lnTo>
                  <a:lnTo>
                    <a:pt x="386" y="785"/>
                  </a:lnTo>
                  <a:lnTo>
                    <a:pt x="383" y="779"/>
                  </a:lnTo>
                  <a:lnTo>
                    <a:pt x="364" y="771"/>
                  </a:lnTo>
                  <a:lnTo>
                    <a:pt x="354" y="793"/>
                  </a:lnTo>
                  <a:lnTo>
                    <a:pt x="350" y="802"/>
                  </a:lnTo>
                  <a:lnTo>
                    <a:pt x="350" y="809"/>
                  </a:lnTo>
                  <a:lnTo>
                    <a:pt x="346" y="814"/>
                  </a:lnTo>
                  <a:lnTo>
                    <a:pt x="339" y="810"/>
                  </a:lnTo>
                  <a:lnTo>
                    <a:pt x="337" y="804"/>
                  </a:lnTo>
                  <a:lnTo>
                    <a:pt x="332" y="798"/>
                  </a:lnTo>
                  <a:lnTo>
                    <a:pt x="322" y="801"/>
                  </a:lnTo>
                  <a:lnTo>
                    <a:pt x="321" y="803"/>
                  </a:lnTo>
                  <a:lnTo>
                    <a:pt x="314" y="799"/>
                  </a:lnTo>
                  <a:lnTo>
                    <a:pt x="302" y="802"/>
                  </a:lnTo>
                  <a:lnTo>
                    <a:pt x="300" y="797"/>
                  </a:lnTo>
                  <a:lnTo>
                    <a:pt x="296" y="801"/>
                  </a:lnTo>
                  <a:lnTo>
                    <a:pt x="297" y="795"/>
                  </a:lnTo>
                  <a:lnTo>
                    <a:pt x="289" y="796"/>
                  </a:lnTo>
                  <a:lnTo>
                    <a:pt x="285" y="802"/>
                  </a:lnTo>
                  <a:lnTo>
                    <a:pt x="280" y="799"/>
                  </a:lnTo>
                  <a:lnTo>
                    <a:pt x="269" y="797"/>
                  </a:lnTo>
                  <a:lnTo>
                    <a:pt x="246" y="799"/>
                  </a:lnTo>
                  <a:lnTo>
                    <a:pt x="237" y="792"/>
                  </a:lnTo>
                  <a:lnTo>
                    <a:pt x="237" y="782"/>
                  </a:lnTo>
                  <a:lnTo>
                    <a:pt x="221" y="781"/>
                  </a:lnTo>
                  <a:lnTo>
                    <a:pt x="238" y="767"/>
                  </a:lnTo>
                  <a:lnTo>
                    <a:pt x="237" y="756"/>
                  </a:lnTo>
                  <a:lnTo>
                    <a:pt x="238" y="744"/>
                  </a:lnTo>
                  <a:lnTo>
                    <a:pt x="237" y="736"/>
                  </a:lnTo>
                  <a:lnTo>
                    <a:pt x="227" y="729"/>
                  </a:lnTo>
                  <a:lnTo>
                    <a:pt x="230" y="727"/>
                  </a:lnTo>
                  <a:lnTo>
                    <a:pt x="246" y="724"/>
                  </a:lnTo>
                  <a:lnTo>
                    <a:pt x="227" y="723"/>
                  </a:lnTo>
                  <a:lnTo>
                    <a:pt x="215" y="727"/>
                  </a:lnTo>
                  <a:lnTo>
                    <a:pt x="188" y="728"/>
                  </a:lnTo>
                  <a:lnTo>
                    <a:pt x="172" y="747"/>
                  </a:lnTo>
                  <a:lnTo>
                    <a:pt x="160" y="749"/>
                  </a:lnTo>
                  <a:lnTo>
                    <a:pt x="154" y="753"/>
                  </a:lnTo>
                  <a:lnTo>
                    <a:pt x="149" y="752"/>
                  </a:lnTo>
                  <a:lnTo>
                    <a:pt x="136" y="761"/>
                  </a:lnTo>
                  <a:lnTo>
                    <a:pt x="125" y="772"/>
                  </a:lnTo>
                  <a:lnTo>
                    <a:pt x="135" y="780"/>
                  </a:lnTo>
                  <a:lnTo>
                    <a:pt x="141" y="790"/>
                  </a:lnTo>
                  <a:lnTo>
                    <a:pt x="136" y="792"/>
                  </a:lnTo>
                  <a:lnTo>
                    <a:pt x="115" y="793"/>
                  </a:lnTo>
                  <a:lnTo>
                    <a:pt x="111" y="790"/>
                  </a:lnTo>
                  <a:lnTo>
                    <a:pt x="109" y="783"/>
                  </a:lnTo>
                  <a:lnTo>
                    <a:pt x="101" y="787"/>
                  </a:lnTo>
                  <a:lnTo>
                    <a:pt x="77" y="802"/>
                  </a:lnTo>
                  <a:lnTo>
                    <a:pt x="71" y="810"/>
                  </a:lnTo>
                  <a:lnTo>
                    <a:pt x="68" y="808"/>
                  </a:lnTo>
                  <a:lnTo>
                    <a:pt x="66" y="814"/>
                  </a:lnTo>
                  <a:lnTo>
                    <a:pt x="61" y="823"/>
                  </a:lnTo>
                  <a:lnTo>
                    <a:pt x="50" y="828"/>
                  </a:lnTo>
                  <a:lnTo>
                    <a:pt x="45" y="822"/>
                  </a:lnTo>
                  <a:lnTo>
                    <a:pt x="36" y="829"/>
                  </a:lnTo>
                  <a:lnTo>
                    <a:pt x="32" y="835"/>
                  </a:lnTo>
                  <a:lnTo>
                    <a:pt x="32" y="840"/>
                  </a:lnTo>
                  <a:lnTo>
                    <a:pt x="34" y="842"/>
                  </a:lnTo>
                  <a:lnTo>
                    <a:pt x="11" y="855"/>
                  </a:lnTo>
                  <a:lnTo>
                    <a:pt x="6" y="856"/>
                  </a:lnTo>
                  <a:lnTo>
                    <a:pt x="12" y="842"/>
                  </a:lnTo>
                  <a:lnTo>
                    <a:pt x="0" y="850"/>
                  </a:lnTo>
                  <a:lnTo>
                    <a:pt x="0" y="858"/>
                  </a:lnTo>
                  <a:lnTo>
                    <a:pt x="6" y="865"/>
                  </a:lnTo>
                  <a:lnTo>
                    <a:pt x="43" y="889"/>
                  </a:lnTo>
                  <a:lnTo>
                    <a:pt x="71" y="899"/>
                  </a:lnTo>
                  <a:lnTo>
                    <a:pt x="75" y="898"/>
                  </a:lnTo>
                  <a:lnTo>
                    <a:pt x="70" y="890"/>
                  </a:lnTo>
                  <a:lnTo>
                    <a:pt x="107" y="903"/>
                  </a:lnTo>
                  <a:lnTo>
                    <a:pt x="90" y="910"/>
                  </a:lnTo>
                  <a:lnTo>
                    <a:pt x="81" y="922"/>
                  </a:lnTo>
                  <a:lnTo>
                    <a:pt x="72" y="919"/>
                  </a:lnTo>
                  <a:lnTo>
                    <a:pt x="74" y="911"/>
                  </a:lnTo>
                  <a:lnTo>
                    <a:pt x="70" y="906"/>
                  </a:lnTo>
                  <a:lnTo>
                    <a:pt x="68" y="915"/>
                  </a:lnTo>
                  <a:lnTo>
                    <a:pt x="80" y="941"/>
                  </a:lnTo>
                  <a:lnTo>
                    <a:pt x="91" y="952"/>
                  </a:lnTo>
                  <a:lnTo>
                    <a:pt x="91" y="963"/>
                  </a:lnTo>
                  <a:lnTo>
                    <a:pt x="88" y="976"/>
                  </a:lnTo>
                  <a:lnTo>
                    <a:pt x="100" y="990"/>
                  </a:lnTo>
                  <a:lnTo>
                    <a:pt x="104" y="991"/>
                  </a:lnTo>
                  <a:lnTo>
                    <a:pt x="108" y="996"/>
                  </a:lnTo>
                  <a:lnTo>
                    <a:pt x="150" y="1005"/>
                  </a:lnTo>
                  <a:lnTo>
                    <a:pt x="160" y="1003"/>
                  </a:lnTo>
                  <a:lnTo>
                    <a:pt x="179" y="1013"/>
                  </a:lnTo>
                  <a:lnTo>
                    <a:pt x="210" y="997"/>
                  </a:lnTo>
                  <a:lnTo>
                    <a:pt x="231" y="1001"/>
                  </a:lnTo>
                  <a:lnTo>
                    <a:pt x="247" y="996"/>
                  </a:lnTo>
                  <a:lnTo>
                    <a:pt x="263" y="1003"/>
                  </a:lnTo>
                  <a:lnTo>
                    <a:pt x="275" y="1017"/>
                  </a:lnTo>
                  <a:lnTo>
                    <a:pt x="278" y="1013"/>
                  </a:lnTo>
                  <a:lnTo>
                    <a:pt x="279" y="1003"/>
                  </a:lnTo>
                  <a:lnTo>
                    <a:pt x="270" y="1001"/>
                  </a:lnTo>
                  <a:lnTo>
                    <a:pt x="263" y="995"/>
                  </a:lnTo>
                  <a:lnTo>
                    <a:pt x="260" y="990"/>
                  </a:lnTo>
                  <a:lnTo>
                    <a:pt x="275" y="989"/>
                  </a:lnTo>
                  <a:lnTo>
                    <a:pt x="280" y="997"/>
                  </a:lnTo>
                  <a:lnTo>
                    <a:pt x="290" y="1005"/>
                  </a:lnTo>
                  <a:lnTo>
                    <a:pt x="294" y="1033"/>
                  </a:lnTo>
                  <a:lnTo>
                    <a:pt x="297" y="1033"/>
                  </a:lnTo>
                  <a:lnTo>
                    <a:pt x="303" y="1017"/>
                  </a:lnTo>
                  <a:lnTo>
                    <a:pt x="312" y="1002"/>
                  </a:lnTo>
                  <a:lnTo>
                    <a:pt x="324" y="990"/>
                  </a:lnTo>
                  <a:lnTo>
                    <a:pt x="330" y="981"/>
                  </a:lnTo>
                  <a:lnTo>
                    <a:pt x="351" y="971"/>
                  </a:lnTo>
                  <a:lnTo>
                    <a:pt x="350" y="964"/>
                  </a:lnTo>
                  <a:lnTo>
                    <a:pt x="365" y="970"/>
                  </a:lnTo>
                  <a:lnTo>
                    <a:pt x="371" y="969"/>
                  </a:lnTo>
                  <a:lnTo>
                    <a:pt x="377" y="962"/>
                  </a:lnTo>
                  <a:lnTo>
                    <a:pt x="389" y="954"/>
                  </a:lnTo>
                  <a:lnTo>
                    <a:pt x="400" y="968"/>
                  </a:lnTo>
                  <a:lnTo>
                    <a:pt x="405" y="970"/>
                  </a:lnTo>
                  <a:lnTo>
                    <a:pt x="405" y="984"/>
                  </a:lnTo>
                  <a:lnTo>
                    <a:pt x="400" y="995"/>
                  </a:lnTo>
                  <a:lnTo>
                    <a:pt x="394" y="1003"/>
                  </a:lnTo>
                  <a:lnTo>
                    <a:pt x="382" y="1008"/>
                  </a:lnTo>
                  <a:lnTo>
                    <a:pt x="373" y="1003"/>
                  </a:lnTo>
                  <a:lnTo>
                    <a:pt x="365" y="1003"/>
                  </a:lnTo>
                  <a:lnTo>
                    <a:pt x="365" y="1014"/>
                  </a:lnTo>
                  <a:lnTo>
                    <a:pt x="367" y="1021"/>
                  </a:lnTo>
                  <a:lnTo>
                    <a:pt x="372" y="1016"/>
                  </a:lnTo>
                  <a:lnTo>
                    <a:pt x="382" y="1019"/>
                  </a:lnTo>
                  <a:lnTo>
                    <a:pt x="387" y="1033"/>
                  </a:lnTo>
                  <a:lnTo>
                    <a:pt x="397" y="1052"/>
                  </a:lnTo>
                  <a:lnTo>
                    <a:pt x="396" y="1061"/>
                  </a:lnTo>
                  <a:lnTo>
                    <a:pt x="394" y="1065"/>
                  </a:lnTo>
                  <a:lnTo>
                    <a:pt x="400" y="1070"/>
                  </a:lnTo>
                  <a:lnTo>
                    <a:pt x="403" y="1077"/>
                  </a:lnTo>
                  <a:lnTo>
                    <a:pt x="404" y="1084"/>
                  </a:lnTo>
                  <a:lnTo>
                    <a:pt x="403" y="1098"/>
                  </a:lnTo>
                  <a:lnTo>
                    <a:pt x="394" y="1115"/>
                  </a:lnTo>
                  <a:lnTo>
                    <a:pt x="387" y="1125"/>
                  </a:lnTo>
                  <a:lnTo>
                    <a:pt x="380" y="1132"/>
                  </a:lnTo>
                  <a:lnTo>
                    <a:pt x="371" y="1135"/>
                  </a:lnTo>
                  <a:lnTo>
                    <a:pt x="360" y="1135"/>
                  </a:lnTo>
                  <a:lnTo>
                    <a:pt x="353" y="1140"/>
                  </a:lnTo>
                  <a:lnTo>
                    <a:pt x="344" y="1138"/>
                  </a:lnTo>
                  <a:lnTo>
                    <a:pt x="326" y="1143"/>
                  </a:lnTo>
                  <a:lnTo>
                    <a:pt x="322" y="1143"/>
                  </a:lnTo>
                  <a:lnTo>
                    <a:pt x="332" y="1132"/>
                  </a:lnTo>
                  <a:lnTo>
                    <a:pt x="330" y="1130"/>
                  </a:lnTo>
                  <a:lnTo>
                    <a:pt x="321" y="1131"/>
                  </a:lnTo>
                  <a:lnTo>
                    <a:pt x="317" y="1135"/>
                  </a:lnTo>
                  <a:lnTo>
                    <a:pt x="312" y="1147"/>
                  </a:lnTo>
                  <a:lnTo>
                    <a:pt x="303" y="1158"/>
                  </a:lnTo>
                  <a:lnTo>
                    <a:pt x="286" y="1174"/>
                  </a:lnTo>
                  <a:lnTo>
                    <a:pt x="280" y="1183"/>
                  </a:lnTo>
                  <a:lnTo>
                    <a:pt x="271" y="1186"/>
                  </a:lnTo>
                  <a:lnTo>
                    <a:pt x="260" y="1183"/>
                  </a:lnTo>
                  <a:lnTo>
                    <a:pt x="256" y="1179"/>
                  </a:lnTo>
                  <a:lnTo>
                    <a:pt x="240" y="1191"/>
                  </a:lnTo>
                  <a:lnTo>
                    <a:pt x="222" y="1197"/>
                  </a:lnTo>
                  <a:lnTo>
                    <a:pt x="219" y="1202"/>
                  </a:lnTo>
                  <a:lnTo>
                    <a:pt x="217" y="1207"/>
                  </a:lnTo>
                  <a:lnTo>
                    <a:pt x="220" y="1211"/>
                  </a:lnTo>
                  <a:lnTo>
                    <a:pt x="222" y="1219"/>
                  </a:lnTo>
                  <a:lnTo>
                    <a:pt x="219" y="1224"/>
                  </a:lnTo>
                  <a:lnTo>
                    <a:pt x="201" y="1221"/>
                  </a:lnTo>
                  <a:lnTo>
                    <a:pt x="190" y="1223"/>
                  </a:lnTo>
                  <a:lnTo>
                    <a:pt x="178" y="1237"/>
                  </a:lnTo>
                  <a:lnTo>
                    <a:pt x="174" y="1245"/>
                  </a:lnTo>
                  <a:lnTo>
                    <a:pt x="170" y="1243"/>
                  </a:lnTo>
                  <a:lnTo>
                    <a:pt x="162" y="1244"/>
                  </a:lnTo>
                  <a:lnTo>
                    <a:pt x="145" y="1266"/>
                  </a:lnTo>
                  <a:lnTo>
                    <a:pt x="142" y="1267"/>
                  </a:lnTo>
                  <a:lnTo>
                    <a:pt x="139" y="1271"/>
                  </a:lnTo>
                  <a:lnTo>
                    <a:pt x="138" y="1277"/>
                  </a:lnTo>
                  <a:lnTo>
                    <a:pt x="128" y="1299"/>
                  </a:lnTo>
                  <a:lnTo>
                    <a:pt x="127" y="1305"/>
                  </a:lnTo>
                  <a:lnTo>
                    <a:pt x="128" y="1323"/>
                  </a:lnTo>
                  <a:lnTo>
                    <a:pt x="125" y="1328"/>
                  </a:lnTo>
                  <a:lnTo>
                    <a:pt x="117" y="1330"/>
                  </a:lnTo>
                  <a:lnTo>
                    <a:pt x="111" y="1329"/>
                  </a:lnTo>
                  <a:lnTo>
                    <a:pt x="107" y="1330"/>
                  </a:lnTo>
                  <a:lnTo>
                    <a:pt x="107" y="1336"/>
                  </a:lnTo>
                  <a:lnTo>
                    <a:pt x="118" y="1345"/>
                  </a:lnTo>
                  <a:lnTo>
                    <a:pt x="115" y="1348"/>
                  </a:lnTo>
                  <a:lnTo>
                    <a:pt x="104" y="1351"/>
                  </a:lnTo>
                  <a:lnTo>
                    <a:pt x="102" y="1358"/>
                  </a:lnTo>
                  <a:lnTo>
                    <a:pt x="101" y="1366"/>
                  </a:lnTo>
                  <a:lnTo>
                    <a:pt x="104" y="1363"/>
                  </a:lnTo>
                  <a:lnTo>
                    <a:pt x="124" y="1360"/>
                  </a:lnTo>
                  <a:lnTo>
                    <a:pt x="131" y="1357"/>
                  </a:lnTo>
                  <a:lnTo>
                    <a:pt x="138" y="1351"/>
                  </a:lnTo>
                  <a:lnTo>
                    <a:pt x="156" y="1348"/>
                  </a:lnTo>
                  <a:lnTo>
                    <a:pt x="157" y="1352"/>
                  </a:lnTo>
                  <a:lnTo>
                    <a:pt x="151" y="1355"/>
                  </a:lnTo>
                  <a:lnTo>
                    <a:pt x="155" y="1358"/>
                  </a:lnTo>
                  <a:lnTo>
                    <a:pt x="134" y="1362"/>
                  </a:lnTo>
                  <a:lnTo>
                    <a:pt x="125" y="1366"/>
                  </a:lnTo>
                  <a:lnTo>
                    <a:pt x="119" y="1373"/>
                  </a:lnTo>
                  <a:lnTo>
                    <a:pt x="118" y="1378"/>
                  </a:lnTo>
                  <a:lnTo>
                    <a:pt x="133" y="1388"/>
                  </a:lnTo>
                  <a:lnTo>
                    <a:pt x="145" y="1378"/>
                  </a:lnTo>
                  <a:lnTo>
                    <a:pt x="151" y="1379"/>
                  </a:lnTo>
                  <a:lnTo>
                    <a:pt x="146" y="1385"/>
                  </a:lnTo>
                  <a:lnTo>
                    <a:pt x="144" y="1394"/>
                  </a:lnTo>
                  <a:lnTo>
                    <a:pt x="147" y="1405"/>
                  </a:lnTo>
                  <a:lnTo>
                    <a:pt x="151" y="1410"/>
                  </a:lnTo>
                  <a:lnTo>
                    <a:pt x="152" y="1417"/>
                  </a:lnTo>
                  <a:lnTo>
                    <a:pt x="156" y="1423"/>
                  </a:lnTo>
                  <a:lnTo>
                    <a:pt x="161" y="1427"/>
                  </a:lnTo>
                  <a:lnTo>
                    <a:pt x="165" y="1425"/>
                  </a:lnTo>
                  <a:lnTo>
                    <a:pt x="174" y="1411"/>
                  </a:lnTo>
                  <a:lnTo>
                    <a:pt x="176" y="1420"/>
                  </a:lnTo>
                  <a:lnTo>
                    <a:pt x="179" y="1422"/>
                  </a:lnTo>
                  <a:lnTo>
                    <a:pt x="193" y="1420"/>
                  </a:lnTo>
                  <a:lnTo>
                    <a:pt x="184" y="1436"/>
                  </a:lnTo>
                  <a:lnTo>
                    <a:pt x="197" y="1441"/>
                  </a:lnTo>
                  <a:lnTo>
                    <a:pt x="219" y="1446"/>
                  </a:lnTo>
                  <a:lnTo>
                    <a:pt x="230" y="1439"/>
                  </a:lnTo>
                  <a:lnTo>
                    <a:pt x="238" y="1439"/>
                  </a:lnTo>
                  <a:lnTo>
                    <a:pt x="242" y="1449"/>
                  </a:lnTo>
                  <a:lnTo>
                    <a:pt x="237" y="1457"/>
                  </a:lnTo>
                  <a:lnTo>
                    <a:pt x="220" y="1463"/>
                  </a:lnTo>
                  <a:lnTo>
                    <a:pt x="214" y="1474"/>
                  </a:lnTo>
                  <a:lnTo>
                    <a:pt x="203" y="1487"/>
                  </a:lnTo>
                  <a:lnTo>
                    <a:pt x="197" y="1497"/>
                  </a:lnTo>
                  <a:lnTo>
                    <a:pt x="194" y="1506"/>
                  </a:lnTo>
                  <a:lnTo>
                    <a:pt x="194" y="1514"/>
                  </a:lnTo>
                  <a:lnTo>
                    <a:pt x="204" y="1533"/>
                  </a:lnTo>
                  <a:lnTo>
                    <a:pt x="209" y="1534"/>
                  </a:lnTo>
                  <a:lnTo>
                    <a:pt x="216" y="1529"/>
                  </a:lnTo>
                  <a:lnTo>
                    <a:pt x="224" y="1527"/>
                  </a:lnTo>
                  <a:lnTo>
                    <a:pt x="226" y="1531"/>
                  </a:lnTo>
                  <a:lnTo>
                    <a:pt x="222" y="1535"/>
                  </a:lnTo>
                  <a:lnTo>
                    <a:pt x="224" y="1538"/>
                  </a:lnTo>
                  <a:lnTo>
                    <a:pt x="237" y="1538"/>
                  </a:lnTo>
                  <a:lnTo>
                    <a:pt x="235" y="1540"/>
                  </a:lnTo>
                  <a:lnTo>
                    <a:pt x="222" y="1541"/>
                  </a:lnTo>
                  <a:lnTo>
                    <a:pt x="215" y="1546"/>
                  </a:lnTo>
                  <a:lnTo>
                    <a:pt x="220" y="1554"/>
                  </a:lnTo>
                  <a:lnTo>
                    <a:pt x="232" y="1563"/>
                  </a:lnTo>
                  <a:lnTo>
                    <a:pt x="238" y="1563"/>
                  </a:lnTo>
                  <a:lnTo>
                    <a:pt x="243" y="1566"/>
                  </a:lnTo>
                  <a:lnTo>
                    <a:pt x="248" y="1565"/>
                  </a:lnTo>
                  <a:lnTo>
                    <a:pt x="254" y="1568"/>
                  </a:lnTo>
                  <a:lnTo>
                    <a:pt x="262" y="1567"/>
                  </a:lnTo>
                  <a:lnTo>
                    <a:pt x="269" y="1571"/>
                  </a:lnTo>
                  <a:lnTo>
                    <a:pt x="276" y="1571"/>
                  </a:lnTo>
                  <a:lnTo>
                    <a:pt x="278" y="1565"/>
                  </a:lnTo>
                  <a:lnTo>
                    <a:pt x="285" y="1559"/>
                  </a:lnTo>
                  <a:lnTo>
                    <a:pt x="301" y="1536"/>
                  </a:lnTo>
                  <a:lnTo>
                    <a:pt x="307" y="1519"/>
                  </a:lnTo>
                  <a:lnTo>
                    <a:pt x="313" y="1517"/>
                  </a:lnTo>
                  <a:lnTo>
                    <a:pt x="312" y="1512"/>
                  </a:lnTo>
                  <a:lnTo>
                    <a:pt x="305" y="1507"/>
                  </a:lnTo>
                  <a:lnTo>
                    <a:pt x="301" y="1496"/>
                  </a:lnTo>
                  <a:lnTo>
                    <a:pt x="318" y="1468"/>
                  </a:lnTo>
                  <a:lnTo>
                    <a:pt x="334" y="1457"/>
                  </a:lnTo>
                  <a:lnTo>
                    <a:pt x="342" y="1447"/>
                  </a:lnTo>
                  <a:lnTo>
                    <a:pt x="348" y="1442"/>
                  </a:lnTo>
                  <a:lnTo>
                    <a:pt x="361" y="1441"/>
                  </a:lnTo>
                  <a:lnTo>
                    <a:pt x="328" y="1471"/>
                  </a:lnTo>
                  <a:lnTo>
                    <a:pt x="312" y="1495"/>
                  </a:lnTo>
                  <a:lnTo>
                    <a:pt x="311" y="1501"/>
                  </a:lnTo>
                  <a:lnTo>
                    <a:pt x="312" y="1504"/>
                  </a:lnTo>
                  <a:lnTo>
                    <a:pt x="318" y="1509"/>
                  </a:lnTo>
                  <a:lnTo>
                    <a:pt x="321" y="1519"/>
                  </a:lnTo>
                  <a:lnTo>
                    <a:pt x="322" y="1528"/>
                  </a:lnTo>
                  <a:lnTo>
                    <a:pt x="326" y="1538"/>
                  </a:lnTo>
                  <a:lnTo>
                    <a:pt x="333" y="1546"/>
                  </a:lnTo>
                  <a:lnTo>
                    <a:pt x="343" y="1576"/>
                  </a:lnTo>
                  <a:lnTo>
                    <a:pt x="349" y="1583"/>
                  </a:lnTo>
                  <a:lnTo>
                    <a:pt x="349" y="1589"/>
                  </a:lnTo>
                  <a:lnTo>
                    <a:pt x="338" y="1604"/>
                  </a:lnTo>
                  <a:lnTo>
                    <a:pt x="337" y="1608"/>
                  </a:lnTo>
                  <a:lnTo>
                    <a:pt x="333" y="1609"/>
                  </a:lnTo>
                  <a:lnTo>
                    <a:pt x="332" y="1617"/>
                  </a:lnTo>
                  <a:lnTo>
                    <a:pt x="338" y="1631"/>
                  </a:lnTo>
                  <a:lnTo>
                    <a:pt x="343" y="1627"/>
                  </a:lnTo>
                  <a:lnTo>
                    <a:pt x="350" y="1627"/>
                  </a:lnTo>
                  <a:lnTo>
                    <a:pt x="356" y="1631"/>
                  </a:lnTo>
                  <a:lnTo>
                    <a:pt x="351" y="1633"/>
                  </a:lnTo>
                  <a:lnTo>
                    <a:pt x="345" y="1641"/>
                  </a:lnTo>
                  <a:lnTo>
                    <a:pt x="346" y="1657"/>
                  </a:lnTo>
                  <a:lnTo>
                    <a:pt x="351" y="1657"/>
                  </a:lnTo>
                  <a:lnTo>
                    <a:pt x="355" y="1660"/>
                  </a:lnTo>
                  <a:lnTo>
                    <a:pt x="351" y="1662"/>
                  </a:lnTo>
                  <a:lnTo>
                    <a:pt x="342" y="1673"/>
                  </a:lnTo>
                  <a:lnTo>
                    <a:pt x="333" y="1673"/>
                  </a:lnTo>
                  <a:lnTo>
                    <a:pt x="326" y="1680"/>
                  </a:lnTo>
                  <a:lnTo>
                    <a:pt x="345" y="1683"/>
                  </a:lnTo>
                  <a:lnTo>
                    <a:pt x="357" y="1676"/>
                  </a:lnTo>
                  <a:lnTo>
                    <a:pt x="366" y="1664"/>
                  </a:lnTo>
                  <a:lnTo>
                    <a:pt x="373" y="1662"/>
                  </a:lnTo>
                  <a:lnTo>
                    <a:pt x="388" y="1649"/>
                  </a:lnTo>
                  <a:lnTo>
                    <a:pt x="399" y="1649"/>
                  </a:lnTo>
                  <a:lnTo>
                    <a:pt x="413" y="1637"/>
                  </a:lnTo>
                  <a:lnTo>
                    <a:pt x="426" y="1611"/>
                  </a:lnTo>
                  <a:lnTo>
                    <a:pt x="429" y="1620"/>
                  </a:lnTo>
                  <a:lnTo>
                    <a:pt x="429" y="1630"/>
                  </a:lnTo>
                  <a:lnTo>
                    <a:pt x="425" y="1635"/>
                  </a:lnTo>
                  <a:lnTo>
                    <a:pt x="425" y="1642"/>
                  </a:lnTo>
                  <a:lnTo>
                    <a:pt x="426" y="1648"/>
                  </a:lnTo>
                  <a:lnTo>
                    <a:pt x="432" y="1654"/>
                  </a:lnTo>
                  <a:lnTo>
                    <a:pt x="436" y="1653"/>
                  </a:lnTo>
                  <a:lnTo>
                    <a:pt x="440" y="1659"/>
                  </a:lnTo>
                  <a:lnTo>
                    <a:pt x="446" y="1662"/>
                  </a:lnTo>
                  <a:lnTo>
                    <a:pt x="456" y="1653"/>
                  </a:lnTo>
                  <a:lnTo>
                    <a:pt x="458" y="1648"/>
                  </a:lnTo>
                  <a:lnTo>
                    <a:pt x="461" y="1652"/>
                  </a:lnTo>
                  <a:lnTo>
                    <a:pt x="466" y="1652"/>
                  </a:lnTo>
                  <a:lnTo>
                    <a:pt x="464" y="1658"/>
                  </a:lnTo>
                  <a:lnTo>
                    <a:pt x="470" y="1662"/>
                  </a:lnTo>
                  <a:lnTo>
                    <a:pt x="477" y="1670"/>
                  </a:lnTo>
                  <a:lnTo>
                    <a:pt x="491" y="1699"/>
                  </a:lnTo>
                  <a:lnTo>
                    <a:pt x="498" y="1703"/>
                  </a:lnTo>
                  <a:lnTo>
                    <a:pt x="501" y="1702"/>
                  </a:lnTo>
                  <a:lnTo>
                    <a:pt x="509" y="1694"/>
                  </a:lnTo>
                  <a:lnTo>
                    <a:pt x="509" y="1678"/>
                  </a:lnTo>
                  <a:lnTo>
                    <a:pt x="504" y="1668"/>
                  </a:lnTo>
                  <a:lnTo>
                    <a:pt x="506" y="1664"/>
                  </a:lnTo>
                  <a:lnTo>
                    <a:pt x="511" y="1654"/>
                  </a:lnTo>
                  <a:lnTo>
                    <a:pt x="520" y="1647"/>
                  </a:lnTo>
                  <a:lnTo>
                    <a:pt x="522" y="1641"/>
                  </a:lnTo>
                  <a:lnTo>
                    <a:pt x="526" y="1640"/>
                  </a:lnTo>
                  <a:lnTo>
                    <a:pt x="526" y="1647"/>
                  </a:lnTo>
                  <a:lnTo>
                    <a:pt x="522" y="1660"/>
                  </a:lnTo>
                  <a:lnTo>
                    <a:pt x="538" y="1676"/>
                  </a:lnTo>
                  <a:lnTo>
                    <a:pt x="548" y="1679"/>
                  </a:lnTo>
                  <a:lnTo>
                    <a:pt x="572" y="1667"/>
                  </a:lnTo>
                  <a:lnTo>
                    <a:pt x="590" y="1653"/>
                  </a:lnTo>
                  <a:lnTo>
                    <a:pt x="607" y="1636"/>
                  </a:lnTo>
                  <a:lnTo>
                    <a:pt x="619" y="1629"/>
                  </a:lnTo>
                  <a:lnTo>
                    <a:pt x="620" y="1632"/>
                  </a:lnTo>
                  <a:lnTo>
                    <a:pt x="606" y="1658"/>
                  </a:lnTo>
                  <a:lnTo>
                    <a:pt x="599" y="1663"/>
                  </a:lnTo>
                  <a:lnTo>
                    <a:pt x="603" y="1664"/>
                  </a:lnTo>
                  <a:lnTo>
                    <a:pt x="603" y="1667"/>
                  </a:lnTo>
                  <a:lnTo>
                    <a:pt x="595" y="1679"/>
                  </a:lnTo>
                  <a:lnTo>
                    <a:pt x="584" y="1686"/>
                  </a:lnTo>
                  <a:lnTo>
                    <a:pt x="579" y="1713"/>
                  </a:lnTo>
                  <a:lnTo>
                    <a:pt x="588" y="1714"/>
                  </a:lnTo>
                  <a:lnTo>
                    <a:pt x="575" y="1729"/>
                  </a:lnTo>
                  <a:lnTo>
                    <a:pt x="570" y="1760"/>
                  </a:lnTo>
                  <a:lnTo>
                    <a:pt x="569" y="1775"/>
                  </a:lnTo>
                  <a:lnTo>
                    <a:pt x="566" y="1783"/>
                  </a:lnTo>
                  <a:lnTo>
                    <a:pt x="560" y="1792"/>
                  </a:lnTo>
                  <a:lnTo>
                    <a:pt x="549" y="1814"/>
                  </a:lnTo>
                  <a:lnTo>
                    <a:pt x="545" y="1810"/>
                  </a:lnTo>
                  <a:lnTo>
                    <a:pt x="541" y="1812"/>
                  </a:lnTo>
                  <a:lnTo>
                    <a:pt x="538" y="1819"/>
                  </a:lnTo>
                  <a:lnTo>
                    <a:pt x="525" y="1837"/>
                  </a:lnTo>
                  <a:lnTo>
                    <a:pt x="522" y="1837"/>
                  </a:lnTo>
                  <a:lnTo>
                    <a:pt x="518" y="1846"/>
                  </a:lnTo>
                  <a:lnTo>
                    <a:pt x="516" y="1858"/>
                  </a:lnTo>
                  <a:lnTo>
                    <a:pt x="512" y="1866"/>
                  </a:lnTo>
                  <a:lnTo>
                    <a:pt x="506" y="1863"/>
                  </a:lnTo>
                  <a:lnTo>
                    <a:pt x="502" y="1867"/>
                  </a:lnTo>
                  <a:lnTo>
                    <a:pt x="498" y="1863"/>
                  </a:lnTo>
                  <a:lnTo>
                    <a:pt x="484" y="1877"/>
                  </a:lnTo>
                  <a:lnTo>
                    <a:pt x="472" y="1879"/>
                  </a:lnTo>
                  <a:lnTo>
                    <a:pt x="456" y="1891"/>
                  </a:lnTo>
                  <a:lnTo>
                    <a:pt x="451" y="1890"/>
                  </a:lnTo>
                  <a:lnTo>
                    <a:pt x="431" y="1910"/>
                  </a:lnTo>
                  <a:lnTo>
                    <a:pt x="423" y="1925"/>
                  </a:lnTo>
                  <a:lnTo>
                    <a:pt x="416" y="1932"/>
                  </a:lnTo>
                  <a:lnTo>
                    <a:pt x="414" y="1939"/>
                  </a:lnTo>
                  <a:lnTo>
                    <a:pt x="412" y="1952"/>
                  </a:lnTo>
                  <a:lnTo>
                    <a:pt x="410" y="1953"/>
                  </a:lnTo>
                  <a:lnTo>
                    <a:pt x="424" y="1958"/>
                  </a:lnTo>
                  <a:lnTo>
                    <a:pt x="427" y="1964"/>
                  </a:lnTo>
                  <a:lnTo>
                    <a:pt x="418" y="1963"/>
                  </a:lnTo>
                  <a:lnTo>
                    <a:pt x="412" y="1958"/>
                  </a:lnTo>
                  <a:lnTo>
                    <a:pt x="404" y="1955"/>
                  </a:lnTo>
                  <a:lnTo>
                    <a:pt x="403" y="1960"/>
                  </a:lnTo>
                  <a:lnTo>
                    <a:pt x="399" y="1963"/>
                  </a:lnTo>
                  <a:lnTo>
                    <a:pt x="394" y="1960"/>
                  </a:lnTo>
                  <a:lnTo>
                    <a:pt x="389" y="1953"/>
                  </a:lnTo>
                  <a:lnTo>
                    <a:pt x="393" y="1948"/>
                  </a:lnTo>
                  <a:lnTo>
                    <a:pt x="393" y="1943"/>
                  </a:lnTo>
                  <a:lnTo>
                    <a:pt x="383" y="1945"/>
                  </a:lnTo>
                  <a:lnTo>
                    <a:pt x="375" y="1942"/>
                  </a:lnTo>
                  <a:lnTo>
                    <a:pt x="370" y="1943"/>
                  </a:lnTo>
                  <a:lnTo>
                    <a:pt x="365" y="1947"/>
                  </a:lnTo>
                  <a:lnTo>
                    <a:pt x="349" y="1953"/>
                  </a:lnTo>
                  <a:lnTo>
                    <a:pt x="326" y="1968"/>
                  </a:lnTo>
                  <a:lnTo>
                    <a:pt x="310" y="1982"/>
                  </a:lnTo>
                  <a:lnTo>
                    <a:pt x="303" y="1992"/>
                  </a:lnTo>
                  <a:lnTo>
                    <a:pt x="301" y="1995"/>
                  </a:lnTo>
                  <a:lnTo>
                    <a:pt x="300" y="1997"/>
                  </a:lnTo>
                  <a:lnTo>
                    <a:pt x="300" y="2006"/>
                  </a:lnTo>
                  <a:lnTo>
                    <a:pt x="286" y="2013"/>
                  </a:lnTo>
                  <a:lnTo>
                    <a:pt x="286" y="2018"/>
                  </a:lnTo>
                  <a:lnTo>
                    <a:pt x="281" y="2022"/>
                  </a:lnTo>
                  <a:lnTo>
                    <a:pt x="276" y="2018"/>
                  </a:lnTo>
                  <a:lnTo>
                    <a:pt x="274" y="2018"/>
                  </a:lnTo>
                  <a:lnTo>
                    <a:pt x="270" y="2022"/>
                  </a:lnTo>
                  <a:lnTo>
                    <a:pt x="263" y="2026"/>
                  </a:lnTo>
                  <a:lnTo>
                    <a:pt x="258" y="2028"/>
                  </a:lnTo>
                  <a:lnTo>
                    <a:pt x="252" y="2031"/>
                  </a:lnTo>
                  <a:lnTo>
                    <a:pt x="252" y="2033"/>
                  </a:lnTo>
                  <a:lnTo>
                    <a:pt x="257" y="2033"/>
                  </a:lnTo>
                  <a:lnTo>
                    <a:pt x="260" y="2042"/>
                  </a:lnTo>
                  <a:lnTo>
                    <a:pt x="259" y="2054"/>
                  </a:lnTo>
                  <a:lnTo>
                    <a:pt x="263" y="2054"/>
                  </a:lnTo>
                  <a:lnTo>
                    <a:pt x="269" y="2050"/>
                  </a:lnTo>
                  <a:lnTo>
                    <a:pt x="271" y="2044"/>
                  </a:lnTo>
                  <a:lnTo>
                    <a:pt x="269" y="2031"/>
                  </a:lnTo>
                  <a:lnTo>
                    <a:pt x="274" y="2031"/>
                  </a:lnTo>
                  <a:lnTo>
                    <a:pt x="278" y="2040"/>
                  </a:lnTo>
                  <a:lnTo>
                    <a:pt x="284" y="2045"/>
                  </a:lnTo>
                  <a:lnTo>
                    <a:pt x="301" y="2038"/>
                  </a:lnTo>
                  <a:lnTo>
                    <a:pt x="297" y="2019"/>
                  </a:lnTo>
                  <a:lnTo>
                    <a:pt x="299" y="2017"/>
                  </a:lnTo>
                  <a:lnTo>
                    <a:pt x="305" y="2023"/>
                  </a:lnTo>
                  <a:lnTo>
                    <a:pt x="307" y="2028"/>
                  </a:lnTo>
                  <a:lnTo>
                    <a:pt x="306" y="2034"/>
                  </a:lnTo>
                  <a:lnTo>
                    <a:pt x="312" y="2034"/>
                  </a:lnTo>
                  <a:lnTo>
                    <a:pt x="316" y="2036"/>
                  </a:lnTo>
                  <a:lnTo>
                    <a:pt x="322" y="2033"/>
                  </a:lnTo>
                  <a:lnTo>
                    <a:pt x="324" y="2029"/>
                  </a:lnTo>
                  <a:lnTo>
                    <a:pt x="328" y="2031"/>
                  </a:lnTo>
                  <a:lnTo>
                    <a:pt x="332" y="2028"/>
                  </a:lnTo>
                  <a:lnTo>
                    <a:pt x="334" y="2020"/>
                  </a:lnTo>
                  <a:lnTo>
                    <a:pt x="342" y="2013"/>
                  </a:lnTo>
                  <a:lnTo>
                    <a:pt x="344" y="2001"/>
                  </a:lnTo>
                  <a:lnTo>
                    <a:pt x="349" y="1987"/>
                  </a:lnTo>
                  <a:lnTo>
                    <a:pt x="356" y="1982"/>
                  </a:lnTo>
                  <a:lnTo>
                    <a:pt x="364" y="1981"/>
                  </a:lnTo>
                  <a:lnTo>
                    <a:pt x="365" y="1992"/>
                  </a:lnTo>
                  <a:lnTo>
                    <a:pt x="357" y="2001"/>
                  </a:lnTo>
                  <a:lnTo>
                    <a:pt x="360" y="2006"/>
                  </a:lnTo>
                  <a:lnTo>
                    <a:pt x="373" y="2002"/>
                  </a:lnTo>
                  <a:lnTo>
                    <a:pt x="388" y="1993"/>
                  </a:lnTo>
                  <a:lnTo>
                    <a:pt x="402" y="1996"/>
                  </a:lnTo>
                  <a:lnTo>
                    <a:pt x="402" y="1990"/>
                  </a:lnTo>
                  <a:lnTo>
                    <a:pt x="404" y="1988"/>
                  </a:lnTo>
                  <a:lnTo>
                    <a:pt x="405" y="1983"/>
                  </a:lnTo>
                  <a:lnTo>
                    <a:pt x="413" y="1991"/>
                  </a:lnTo>
                  <a:lnTo>
                    <a:pt x="418" y="1982"/>
                  </a:lnTo>
                  <a:lnTo>
                    <a:pt x="419" y="1980"/>
                  </a:lnTo>
                  <a:lnTo>
                    <a:pt x="423" y="1976"/>
                  </a:lnTo>
                  <a:lnTo>
                    <a:pt x="432" y="1975"/>
                  </a:lnTo>
                  <a:lnTo>
                    <a:pt x="436" y="1969"/>
                  </a:lnTo>
                  <a:lnTo>
                    <a:pt x="441" y="1966"/>
                  </a:lnTo>
                  <a:lnTo>
                    <a:pt x="446" y="1966"/>
                  </a:lnTo>
                  <a:lnTo>
                    <a:pt x="450" y="1961"/>
                  </a:lnTo>
                  <a:lnTo>
                    <a:pt x="457" y="1961"/>
                  </a:lnTo>
                  <a:lnTo>
                    <a:pt x="459" y="1968"/>
                  </a:lnTo>
                  <a:lnTo>
                    <a:pt x="459" y="1979"/>
                  </a:lnTo>
                  <a:lnTo>
                    <a:pt x="458" y="1986"/>
                  </a:lnTo>
                  <a:lnTo>
                    <a:pt x="459" y="1987"/>
                  </a:lnTo>
                  <a:lnTo>
                    <a:pt x="468" y="1969"/>
                  </a:lnTo>
                  <a:lnTo>
                    <a:pt x="470" y="1955"/>
                  </a:lnTo>
                  <a:lnTo>
                    <a:pt x="473" y="1958"/>
                  </a:lnTo>
                  <a:lnTo>
                    <a:pt x="478" y="1958"/>
                  </a:lnTo>
                  <a:lnTo>
                    <a:pt x="495" y="1954"/>
                  </a:lnTo>
                  <a:lnTo>
                    <a:pt x="506" y="1945"/>
                  </a:lnTo>
                  <a:lnTo>
                    <a:pt x="512" y="1945"/>
                  </a:lnTo>
                  <a:lnTo>
                    <a:pt x="516" y="1941"/>
                  </a:lnTo>
                  <a:lnTo>
                    <a:pt x="515" y="1931"/>
                  </a:lnTo>
                  <a:lnTo>
                    <a:pt x="515" y="1925"/>
                  </a:lnTo>
                  <a:lnTo>
                    <a:pt x="506" y="1922"/>
                  </a:lnTo>
                  <a:lnTo>
                    <a:pt x="498" y="1915"/>
                  </a:lnTo>
                  <a:lnTo>
                    <a:pt x="493" y="1907"/>
                  </a:lnTo>
                  <a:lnTo>
                    <a:pt x="490" y="1898"/>
                  </a:lnTo>
                  <a:lnTo>
                    <a:pt x="495" y="1898"/>
                  </a:lnTo>
                  <a:lnTo>
                    <a:pt x="499" y="1909"/>
                  </a:lnTo>
                  <a:lnTo>
                    <a:pt x="504" y="1915"/>
                  </a:lnTo>
                  <a:lnTo>
                    <a:pt x="513" y="1916"/>
                  </a:lnTo>
                  <a:lnTo>
                    <a:pt x="528" y="1902"/>
                  </a:lnTo>
                  <a:lnTo>
                    <a:pt x="538" y="1899"/>
                  </a:lnTo>
                  <a:lnTo>
                    <a:pt x="556" y="1899"/>
                  </a:lnTo>
                  <a:lnTo>
                    <a:pt x="560" y="1890"/>
                  </a:lnTo>
                  <a:lnTo>
                    <a:pt x="558" y="1889"/>
                  </a:lnTo>
                  <a:lnTo>
                    <a:pt x="548" y="1891"/>
                  </a:lnTo>
                  <a:lnTo>
                    <a:pt x="552" y="1886"/>
                  </a:lnTo>
                  <a:lnTo>
                    <a:pt x="564" y="1879"/>
                  </a:lnTo>
                  <a:lnTo>
                    <a:pt x="569" y="1884"/>
                  </a:lnTo>
                  <a:lnTo>
                    <a:pt x="577" y="1884"/>
                  </a:lnTo>
                  <a:lnTo>
                    <a:pt x="576" y="1872"/>
                  </a:lnTo>
                  <a:lnTo>
                    <a:pt x="577" y="1864"/>
                  </a:lnTo>
                  <a:lnTo>
                    <a:pt x="584" y="1862"/>
                  </a:lnTo>
                  <a:lnTo>
                    <a:pt x="596" y="1867"/>
                  </a:lnTo>
                  <a:lnTo>
                    <a:pt x="609" y="1855"/>
                  </a:lnTo>
                  <a:lnTo>
                    <a:pt x="611" y="1850"/>
                  </a:lnTo>
                  <a:lnTo>
                    <a:pt x="615" y="1851"/>
                  </a:lnTo>
                  <a:lnTo>
                    <a:pt x="618" y="1848"/>
                  </a:lnTo>
                  <a:lnTo>
                    <a:pt x="619" y="1843"/>
                  </a:lnTo>
                  <a:lnTo>
                    <a:pt x="625" y="1847"/>
                  </a:lnTo>
                  <a:lnTo>
                    <a:pt x="627" y="1843"/>
                  </a:lnTo>
                  <a:lnTo>
                    <a:pt x="634" y="1839"/>
                  </a:lnTo>
                  <a:lnTo>
                    <a:pt x="639" y="1831"/>
                  </a:lnTo>
                  <a:lnTo>
                    <a:pt x="639" y="1818"/>
                  </a:lnTo>
                  <a:lnTo>
                    <a:pt x="633" y="1818"/>
                  </a:lnTo>
                  <a:lnTo>
                    <a:pt x="630" y="1815"/>
                  </a:lnTo>
                  <a:lnTo>
                    <a:pt x="635" y="1809"/>
                  </a:lnTo>
                  <a:lnTo>
                    <a:pt x="652" y="1797"/>
                  </a:lnTo>
                  <a:lnTo>
                    <a:pt x="655" y="1800"/>
                  </a:lnTo>
                  <a:lnTo>
                    <a:pt x="658" y="1788"/>
                  </a:lnTo>
                  <a:lnTo>
                    <a:pt x="672" y="1788"/>
                  </a:lnTo>
                  <a:lnTo>
                    <a:pt x="673" y="1783"/>
                  </a:lnTo>
                  <a:lnTo>
                    <a:pt x="676" y="1778"/>
                  </a:lnTo>
                  <a:lnTo>
                    <a:pt x="677" y="1770"/>
                  </a:lnTo>
                  <a:lnTo>
                    <a:pt x="684" y="1770"/>
                  </a:lnTo>
                  <a:lnTo>
                    <a:pt x="693" y="1775"/>
                  </a:lnTo>
                  <a:lnTo>
                    <a:pt x="698" y="1764"/>
                  </a:lnTo>
                  <a:lnTo>
                    <a:pt x="701" y="1762"/>
                  </a:lnTo>
                  <a:lnTo>
                    <a:pt x="708" y="1757"/>
                  </a:lnTo>
                  <a:lnTo>
                    <a:pt x="712" y="1751"/>
                  </a:lnTo>
                  <a:lnTo>
                    <a:pt x="714" y="1746"/>
                  </a:lnTo>
                  <a:lnTo>
                    <a:pt x="726" y="1742"/>
                  </a:lnTo>
                  <a:lnTo>
                    <a:pt x="740" y="1739"/>
                  </a:lnTo>
                  <a:lnTo>
                    <a:pt x="746" y="1729"/>
                  </a:lnTo>
                  <a:lnTo>
                    <a:pt x="752" y="1732"/>
                  </a:lnTo>
                  <a:lnTo>
                    <a:pt x="763" y="1726"/>
                  </a:lnTo>
                  <a:lnTo>
                    <a:pt x="764" y="1717"/>
                  </a:lnTo>
                  <a:lnTo>
                    <a:pt x="757" y="1712"/>
                  </a:lnTo>
                  <a:lnTo>
                    <a:pt x="767" y="1707"/>
                  </a:lnTo>
                  <a:lnTo>
                    <a:pt x="767" y="1703"/>
                  </a:lnTo>
                  <a:lnTo>
                    <a:pt x="765" y="1699"/>
                  </a:lnTo>
                  <a:lnTo>
                    <a:pt x="767" y="1692"/>
                  </a:lnTo>
                  <a:lnTo>
                    <a:pt x="773" y="1691"/>
                  </a:lnTo>
                  <a:lnTo>
                    <a:pt x="779" y="1681"/>
                  </a:lnTo>
                  <a:lnTo>
                    <a:pt x="796" y="1675"/>
                  </a:lnTo>
                  <a:lnTo>
                    <a:pt x="803" y="1668"/>
                  </a:lnTo>
                  <a:lnTo>
                    <a:pt x="805" y="1660"/>
                  </a:lnTo>
                  <a:lnTo>
                    <a:pt x="805" y="1653"/>
                  </a:lnTo>
                  <a:lnTo>
                    <a:pt x="801" y="1649"/>
                  </a:lnTo>
                  <a:lnTo>
                    <a:pt x="787" y="1642"/>
                  </a:lnTo>
                  <a:lnTo>
                    <a:pt x="785" y="1637"/>
                  </a:lnTo>
                  <a:lnTo>
                    <a:pt x="776" y="1633"/>
                  </a:lnTo>
                  <a:lnTo>
                    <a:pt x="762" y="1638"/>
                  </a:lnTo>
                  <a:lnTo>
                    <a:pt x="757" y="1636"/>
                  </a:lnTo>
                  <a:lnTo>
                    <a:pt x="765" y="1605"/>
                  </a:lnTo>
                  <a:lnTo>
                    <a:pt x="765" y="1600"/>
                  </a:lnTo>
                  <a:lnTo>
                    <a:pt x="779" y="1598"/>
                  </a:lnTo>
                  <a:lnTo>
                    <a:pt x="785" y="1592"/>
                  </a:lnTo>
                  <a:lnTo>
                    <a:pt x="785" y="1586"/>
                  </a:lnTo>
                  <a:lnTo>
                    <a:pt x="791" y="1582"/>
                  </a:lnTo>
                  <a:lnTo>
                    <a:pt x="791" y="1574"/>
                  </a:lnTo>
                  <a:lnTo>
                    <a:pt x="790" y="1566"/>
                  </a:lnTo>
                  <a:lnTo>
                    <a:pt x="795" y="1570"/>
                  </a:lnTo>
                  <a:lnTo>
                    <a:pt x="797" y="1561"/>
                  </a:lnTo>
                  <a:lnTo>
                    <a:pt x="805" y="1559"/>
                  </a:lnTo>
                  <a:lnTo>
                    <a:pt x="805" y="1568"/>
                  </a:lnTo>
                  <a:lnTo>
                    <a:pt x="816" y="1566"/>
                  </a:lnTo>
                  <a:lnTo>
                    <a:pt x="822" y="1561"/>
                  </a:lnTo>
                  <a:lnTo>
                    <a:pt x="822" y="1554"/>
                  </a:lnTo>
                  <a:lnTo>
                    <a:pt x="812" y="1550"/>
                  </a:lnTo>
                  <a:lnTo>
                    <a:pt x="818" y="1546"/>
                  </a:lnTo>
                  <a:lnTo>
                    <a:pt x="834" y="1545"/>
                  </a:lnTo>
                  <a:lnTo>
                    <a:pt x="843" y="1533"/>
                  </a:lnTo>
                  <a:lnTo>
                    <a:pt x="843" y="1525"/>
                  </a:lnTo>
                  <a:lnTo>
                    <a:pt x="840" y="1519"/>
                  </a:lnTo>
                  <a:lnTo>
                    <a:pt x="821" y="1502"/>
                  </a:lnTo>
                  <a:lnTo>
                    <a:pt x="827" y="1501"/>
                  </a:lnTo>
                  <a:lnTo>
                    <a:pt x="833" y="1508"/>
                  </a:lnTo>
                  <a:lnTo>
                    <a:pt x="846" y="1508"/>
                  </a:lnTo>
                  <a:lnTo>
                    <a:pt x="864" y="1490"/>
                  </a:lnTo>
                  <a:lnTo>
                    <a:pt x="870" y="1470"/>
                  </a:lnTo>
                  <a:lnTo>
                    <a:pt x="889" y="1447"/>
                  </a:lnTo>
                  <a:lnTo>
                    <a:pt x="892" y="1433"/>
                  </a:lnTo>
                  <a:lnTo>
                    <a:pt x="925" y="1415"/>
                  </a:lnTo>
                  <a:lnTo>
                    <a:pt x="950" y="1390"/>
                  </a:lnTo>
                  <a:lnTo>
                    <a:pt x="950" y="1383"/>
                  </a:lnTo>
                  <a:lnTo>
                    <a:pt x="948" y="1374"/>
                  </a:lnTo>
                  <a:lnTo>
                    <a:pt x="950" y="1362"/>
                  </a:lnTo>
                  <a:lnTo>
                    <a:pt x="953" y="1353"/>
                  </a:lnTo>
                  <a:lnTo>
                    <a:pt x="959" y="1342"/>
                  </a:lnTo>
                  <a:lnTo>
                    <a:pt x="973" y="1305"/>
                  </a:lnTo>
                  <a:lnTo>
                    <a:pt x="974" y="1296"/>
                  </a:lnTo>
                  <a:lnTo>
                    <a:pt x="974" y="1287"/>
                  </a:lnTo>
                  <a:lnTo>
                    <a:pt x="977" y="1276"/>
                  </a:lnTo>
                  <a:lnTo>
                    <a:pt x="982" y="1278"/>
                  </a:lnTo>
                  <a:lnTo>
                    <a:pt x="983" y="1287"/>
                  </a:lnTo>
                  <a:lnTo>
                    <a:pt x="978" y="1329"/>
                  </a:lnTo>
                  <a:lnTo>
                    <a:pt x="973" y="1342"/>
                  </a:lnTo>
                  <a:lnTo>
                    <a:pt x="961" y="1364"/>
                  </a:lnTo>
                  <a:lnTo>
                    <a:pt x="957" y="1378"/>
                  </a:lnTo>
                  <a:lnTo>
                    <a:pt x="957" y="1390"/>
                  </a:lnTo>
                  <a:lnTo>
                    <a:pt x="962" y="1395"/>
                  </a:lnTo>
                  <a:lnTo>
                    <a:pt x="983" y="1394"/>
                  </a:lnTo>
                  <a:lnTo>
                    <a:pt x="1002" y="1373"/>
                  </a:lnTo>
                  <a:lnTo>
                    <a:pt x="1017" y="1366"/>
                  </a:lnTo>
                  <a:lnTo>
                    <a:pt x="1027" y="1364"/>
                  </a:lnTo>
                  <a:lnTo>
                    <a:pt x="1018" y="1374"/>
                  </a:lnTo>
                  <a:lnTo>
                    <a:pt x="1011" y="1378"/>
                  </a:lnTo>
                  <a:lnTo>
                    <a:pt x="1001" y="1385"/>
                  </a:lnTo>
                  <a:lnTo>
                    <a:pt x="996" y="1395"/>
                  </a:lnTo>
                  <a:lnTo>
                    <a:pt x="988" y="1401"/>
                  </a:lnTo>
                  <a:lnTo>
                    <a:pt x="988" y="1411"/>
                  </a:lnTo>
                  <a:lnTo>
                    <a:pt x="995" y="1418"/>
                  </a:lnTo>
                  <a:lnTo>
                    <a:pt x="1021" y="1425"/>
                  </a:lnTo>
                  <a:lnTo>
                    <a:pt x="1042" y="1436"/>
                  </a:lnTo>
                  <a:lnTo>
                    <a:pt x="999" y="1428"/>
                  </a:lnTo>
                  <a:lnTo>
                    <a:pt x="983" y="1436"/>
                  </a:lnTo>
                  <a:lnTo>
                    <a:pt x="975" y="1434"/>
                  </a:lnTo>
                  <a:lnTo>
                    <a:pt x="968" y="1422"/>
                  </a:lnTo>
                  <a:lnTo>
                    <a:pt x="962" y="1423"/>
                  </a:lnTo>
                  <a:lnTo>
                    <a:pt x="954" y="1428"/>
                  </a:lnTo>
                  <a:lnTo>
                    <a:pt x="946" y="1437"/>
                  </a:lnTo>
                  <a:lnTo>
                    <a:pt x="918" y="1450"/>
                  </a:lnTo>
                  <a:lnTo>
                    <a:pt x="913" y="1459"/>
                  </a:lnTo>
                  <a:lnTo>
                    <a:pt x="916" y="1471"/>
                  </a:lnTo>
                  <a:lnTo>
                    <a:pt x="916" y="1487"/>
                  </a:lnTo>
                  <a:lnTo>
                    <a:pt x="914" y="1504"/>
                  </a:lnTo>
                  <a:lnTo>
                    <a:pt x="910" y="1513"/>
                  </a:lnTo>
                  <a:lnTo>
                    <a:pt x="902" y="1522"/>
                  </a:lnTo>
                  <a:lnTo>
                    <a:pt x="897" y="1534"/>
                  </a:lnTo>
                  <a:lnTo>
                    <a:pt x="896" y="1541"/>
                  </a:lnTo>
                  <a:lnTo>
                    <a:pt x="891" y="1551"/>
                  </a:lnTo>
                  <a:lnTo>
                    <a:pt x="888" y="1561"/>
                  </a:lnTo>
                  <a:lnTo>
                    <a:pt x="892" y="1567"/>
                  </a:lnTo>
                  <a:lnTo>
                    <a:pt x="904" y="1574"/>
                  </a:lnTo>
                  <a:lnTo>
                    <a:pt x="931" y="1557"/>
                  </a:lnTo>
                  <a:lnTo>
                    <a:pt x="936" y="1559"/>
                  </a:lnTo>
                  <a:lnTo>
                    <a:pt x="931" y="1571"/>
                  </a:lnTo>
                  <a:lnTo>
                    <a:pt x="926" y="1579"/>
                  </a:lnTo>
                  <a:lnTo>
                    <a:pt x="919" y="1586"/>
                  </a:lnTo>
                  <a:lnTo>
                    <a:pt x="913" y="1586"/>
                  </a:lnTo>
                  <a:lnTo>
                    <a:pt x="912" y="1589"/>
                  </a:lnTo>
                  <a:lnTo>
                    <a:pt x="916" y="1593"/>
                  </a:lnTo>
                  <a:lnTo>
                    <a:pt x="904" y="1589"/>
                  </a:lnTo>
                  <a:lnTo>
                    <a:pt x="902" y="1589"/>
                  </a:lnTo>
                  <a:lnTo>
                    <a:pt x="899" y="1592"/>
                  </a:lnTo>
                  <a:lnTo>
                    <a:pt x="898" y="1598"/>
                  </a:lnTo>
                  <a:lnTo>
                    <a:pt x="892" y="1592"/>
                  </a:lnTo>
                  <a:lnTo>
                    <a:pt x="888" y="1598"/>
                  </a:lnTo>
                  <a:lnTo>
                    <a:pt x="889" y="1604"/>
                  </a:lnTo>
                  <a:lnTo>
                    <a:pt x="883" y="1606"/>
                  </a:lnTo>
                  <a:lnTo>
                    <a:pt x="883" y="1615"/>
                  </a:lnTo>
                  <a:lnTo>
                    <a:pt x="892" y="1617"/>
                  </a:lnTo>
                  <a:lnTo>
                    <a:pt x="896" y="1622"/>
                  </a:lnTo>
                  <a:lnTo>
                    <a:pt x="907" y="1619"/>
                  </a:lnTo>
                  <a:lnTo>
                    <a:pt x="923" y="1617"/>
                  </a:lnTo>
                  <a:lnTo>
                    <a:pt x="923" y="1608"/>
                  </a:lnTo>
                  <a:lnTo>
                    <a:pt x="924" y="1605"/>
                  </a:lnTo>
                  <a:lnTo>
                    <a:pt x="932" y="1609"/>
                  </a:lnTo>
                  <a:lnTo>
                    <a:pt x="939" y="1614"/>
                  </a:lnTo>
                  <a:lnTo>
                    <a:pt x="948" y="1595"/>
                  </a:lnTo>
                  <a:lnTo>
                    <a:pt x="957" y="1584"/>
                  </a:lnTo>
                  <a:lnTo>
                    <a:pt x="963" y="1586"/>
                  </a:lnTo>
                  <a:lnTo>
                    <a:pt x="970" y="1581"/>
                  </a:lnTo>
                  <a:lnTo>
                    <a:pt x="970" y="1592"/>
                  </a:lnTo>
                  <a:lnTo>
                    <a:pt x="968" y="1603"/>
                  </a:lnTo>
                  <a:lnTo>
                    <a:pt x="980" y="1583"/>
                  </a:lnTo>
                  <a:lnTo>
                    <a:pt x="980" y="1572"/>
                  </a:lnTo>
                  <a:lnTo>
                    <a:pt x="993" y="1565"/>
                  </a:lnTo>
                  <a:lnTo>
                    <a:pt x="997" y="1568"/>
                  </a:lnTo>
                  <a:lnTo>
                    <a:pt x="1002" y="1560"/>
                  </a:lnTo>
                  <a:lnTo>
                    <a:pt x="1000" y="1550"/>
                  </a:lnTo>
                  <a:lnTo>
                    <a:pt x="1001" y="1546"/>
                  </a:lnTo>
                  <a:lnTo>
                    <a:pt x="1005" y="1540"/>
                  </a:lnTo>
                  <a:lnTo>
                    <a:pt x="1007" y="1554"/>
                  </a:lnTo>
                  <a:lnTo>
                    <a:pt x="1011" y="1566"/>
                  </a:lnTo>
                  <a:lnTo>
                    <a:pt x="1013" y="1551"/>
                  </a:lnTo>
                  <a:lnTo>
                    <a:pt x="1015" y="1540"/>
                  </a:lnTo>
                  <a:lnTo>
                    <a:pt x="1020" y="1534"/>
                  </a:lnTo>
                  <a:lnTo>
                    <a:pt x="1020" y="1524"/>
                  </a:lnTo>
                  <a:lnTo>
                    <a:pt x="1023" y="1536"/>
                  </a:lnTo>
                  <a:lnTo>
                    <a:pt x="1028" y="1534"/>
                  </a:lnTo>
                  <a:lnTo>
                    <a:pt x="1033" y="1534"/>
                  </a:lnTo>
                  <a:lnTo>
                    <a:pt x="1038" y="1538"/>
                  </a:lnTo>
                  <a:lnTo>
                    <a:pt x="1055" y="1540"/>
                  </a:lnTo>
                  <a:lnTo>
                    <a:pt x="1064" y="1534"/>
                  </a:lnTo>
                  <a:lnTo>
                    <a:pt x="1069" y="1533"/>
                  </a:lnTo>
                  <a:lnTo>
                    <a:pt x="1074" y="1518"/>
                  </a:lnTo>
                  <a:lnTo>
                    <a:pt x="1077" y="1519"/>
                  </a:lnTo>
                  <a:lnTo>
                    <a:pt x="1083" y="1517"/>
                  </a:lnTo>
                  <a:lnTo>
                    <a:pt x="1088" y="1509"/>
                  </a:lnTo>
                  <a:lnTo>
                    <a:pt x="1085" y="1508"/>
                  </a:lnTo>
                  <a:lnTo>
                    <a:pt x="1082" y="1504"/>
                  </a:lnTo>
                  <a:lnTo>
                    <a:pt x="1076" y="1506"/>
                  </a:lnTo>
                  <a:lnTo>
                    <a:pt x="1081" y="1496"/>
                  </a:lnTo>
                  <a:lnTo>
                    <a:pt x="1088" y="1486"/>
                  </a:lnTo>
                  <a:lnTo>
                    <a:pt x="1093" y="1486"/>
                  </a:lnTo>
                  <a:lnTo>
                    <a:pt x="1096" y="1476"/>
                  </a:lnTo>
                  <a:lnTo>
                    <a:pt x="1091" y="1469"/>
                  </a:lnTo>
                  <a:lnTo>
                    <a:pt x="1082" y="1477"/>
                  </a:lnTo>
                  <a:lnTo>
                    <a:pt x="1076" y="1477"/>
                  </a:lnTo>
                  <a:lnTo>
                    <a:pt x="1065" y="1482"/>
                  </a:lnTo>
                  <a:lnTo>
                    <a:pt x="1064" y="1474"/>
                  </a:lnTo>
                  <a:lnTo>
                    <a:pt x="1074" y="1470"/>
                  </a:lnTo>
                  <a:lnTo>
                    <a:pt x="1082" y="1463"/>
                  </a:lnTo>
                  <a:lnTo>
                    <a:pt x="1083" y="1453"/>
                  </a:lnTo>
                  <a:lnTo>
                    <a:pt x="1076" y="1458"/>
                  </a:lnTo>
                  <a:lnTo>
                    <a:pt x="1076" y="1453"/>
                  </a:lnTo>
                  <a:lnTo>
                    <a:pt x="1066" y="1454"/>
                  </a:lnTo>
                  <a:lnTo>
                    <a:pt x="1066" y="1448"/>
                  </a:lnTo>
                  <a:lnTo>
                    <a:pt x="1063" y="1447"/>
                  </a:lnTo>
                  <a:lnTo>
                    <a:pt x="1066" y="1439"/>
                  </a:lnTo>
                  <a:lnTo>
                    <a:pt x="1077" y="1436"/>
                  </a:lnTo>
                  <a:lnTo>
                    <a:pt x="1083" y="1425"/>
                  </a:lnTo>
                  <a:lnTo>
                    <a:pt x="1074" y="1423"/>
                  </a:lnTo>
                  <a:lnTo>
                    <a:pt x="1082" y="1411"/>
                  </a:lnTo>
                  <a:lnTo>
                    <a:pt x="1086" y="1409"/>
                  </a:lnTo>
                  <a:lnTo>
                    <a:pt x="1090" y="1417"/>
                  </a:lnTo>
                  <a:lnTo>
                    <a:pt x="1093" y="1416"/>
                  </a:lnTo>
                  <a:lnTo>
                    <a:pt x="1098" y="1405"/>
                  </a:lnTo>
                  <a:lnTo>
                    <a:pt x="1109" y="1394"/>
                  </a:lnTo>
                  <a:lnTo>
                    <a:pt x="1109" y="1404"/>
                  </a:lnTo>
                  <a:lnTo>
                    <a:pt x="1099" y="1421"/>
                  </a:lnTo>
                  <a:lnTo>
                    <a:pt x="1096" y="1431"/>
                  </a:lnTo>
                  <a:lnTo>
                    <a:pt x="1102" y="1437"/>
                  </a:lnTo>
                  <a:lnTo>
                    <a:pt x="1111" y="1436"/>
                  </a:lnTo>
                  <a:lnTo>
                    <a:pt x="1114" y="1431"/>
                  </a:lnTo>
                  <a:lnTo>
                    <a:pt x="1114" y="1415"/>
                  </a:lnTo>
                  <a:lnTo>
                    <a:pt x="1115" y="1405"/>
                  </a:lnTo>
                  <a:lnTo>
                    <a:pt x="1120" y="1418"/>
                  </a:lnTo>
                  <a:lnTo>
                    <a:pt x="1120" y="1426"/>
                  </a:lnTo>
                  <a:lnTo>
                    <a:pt x="1128" y="1427"/>
                  </a:lnTo>
                  <a:lnTo>
                    <a:pt x="1144" y="1425"/>
                  </a:lnTo>
                  <a:lnTo>
                    <a:pt x="1150" y="1426"/>
                  </a:lnTo>
                  <a:lnTo>
                    <a:pt x="1160" y="1423"/>
                  </a:lnTo>
                  <a:lnTo>
                    <a:pt x="1166" y="1414"/>
                  </a:lnTo>
                  <a:lnTo>
                    <a:pt x="1178" y="1409"/>
                  </a:lnTo>
                  <a:lnTo>
                    <a:pt x="1190" y="1409"/>
                  </a:lnTo>
                  <a:lnTo>
                    <a:pt x="1189" y="1412"/>
                  </a:lnTo>
                  <a:lnTo>
                    <a:pt x="1173" y="1415"/>
                  </a:lnTo>
                  <a:lnTo>
                    <a:pt x="1173" y="1422"/>
                  </a:lnTo>
                  <a:lnTo>
                    <a:pt x="1171" y="1432"/>
                  </a:lnTo>
                  <a:lnTo>
                    <a:pt x="1171" y="1439"/>
                  </a:lnTo>
                  <a:lnTo>
                    <a:pt x="1177" y="1442"/>
                  </a:lnTo>
                  <a:lnTo>
                    <a:pt x="1194" y="1436"/>
                  </a:lnTo>
                  <a:lnTo>
                    <a:pt x="1195" y="1441"/>
                  </a:lnTo>
                  <a:lnTo>
                    <a:pt x="1179" y="1450"/>
                  </a:lnTo>
                  <a:lnTo>
                    <a:pt x="1168" y="1454"/>
                  </a:lnTo>
                  <a:lnTo>
                    <a:pt x="1183" y="1457"/>
                  </a:lnTo>
                  <a:lnTo>
                    <a:pt x="1190" y="1448"/>
                  </a:lnTo>
                  <a:lnTo>
                    <a:pt x="1200" y="1443"/>
                  </a:lnTo>
                  <a:lnTo>
                    <a:pt x="1204" y="1446"/>
                  </a:lnTo>
                  <a:lnTo>
                    <a:pt x="1190" y="1463"/>
                  </a:lnTo>
                  <a:lnTo>
                    <a:pt x="1208" y="1458"/>
                  </a:lnTo>
                  <a:lnTo>
                    <a:pt x="1212" y="1461"/>
                  </a:lnTo>
                  <a:lnTo>
                    <a:pt x="1222" y="1460"/>
                  </a:lnTo>
                  <a:lnTo>
                    <a:pt x="1224" y="1463"/>
                  </a:lnTo>
                  <a:lnTo>
                    <a:pt x="1216" y="1475"/>
                  </a:lnTo>
                  <a:lnTo>
                    <a:pt x="1224" y="1477"/>
                  </a:lnTo>
                  <a:lnTo>
                    <a:pt x="1238" y="1495"/>
                  </a:lnTo>
                  <a:lnTo>
                    <a:pt x="1246" y="1498"/>
                  </a:lnTo>
                  <a:lnTo>
                    <a:pt x="1253" y="1497"/>
                  </a:lnTo>
                  <a:lnTo>
                    <a:pt x="1253" y="1493"/>
                  </a:lnTo>
                  <a:lnTo>
                    <a:pt x="1254" y="1490"/>
                  </a:lnTo>
                  <a:lnTo>
                    <a:pt x="1254" y="1485"/>
                  </a:lnTo>
                  <a:lnTo>
                    <a:pt x="1258" y="1482"/>
                  </a:lnTo>
                  <a:lnTo>
                    <a:pt x="1263" y="1481"/>
                  </a:lnTo>
                  <a:lnTo>
                    <a:pt x="1268" y="1485"/>
                  </a:lnTo>
                  <a:lnTo>
                    <a:pt x="1270" y="1491"/>
                  </a:lnTo>
                  <a:lnTo>
                    <a:pt x="1270" y="1500"/>
                  </a:lnTo>
                  <a:lnTo>
                    <a:pt x="1279" y="1506"/>
                  </a:lnTo>
                  <a:lnTo>
                    <a:pt x="1284" y="1512"/>
                  </a:lnTo>
                  <a:lnTo>
                    <a:pt x="1287" y="1514"/>
                  </a:lnTo>
                  <a:lnTo>
                    <a:pt x="1289" y="1509"/>
                  </a:lnTo>
                  <a:lnTo>
                    <a:pt x="1296" y="1514"/>
                  </a:lnTo>
                  <a:lnTo>
                    <a:pt x="1301" y="1513"/>
                  </a:lnTo>
                  <a:lnTo>
                    <a:pt x="1307" y="1517"/>
                  </a:lnTo>
                  <a:lnTo>
                    <a:pt x="1313" y="1524"/>
                  </a:lnTo>
                  <a:lnTo>
                    <a:pt x="1313" y="1528"/>
                  </a:lnTo>
                  <a:lnTo>
                    <a:pt x="1312" y="1531"/>
                  </a:lnTo>
                  <a:lnTo>
                    <a:pt x="1316" y="1534"/>
                  </a:lnTo>
                  <a:lnTo>
                    <a:pt x="1324" y="1535"/>
                  </a:lnTo>
                  <a:lnTo>
                    <a:pt x="1337" y="1530"/>
                  </a:lnTo>
                  <a:lnTo>
                    <a:pt x="1370" y="1529"/>
                  </a:lnTo>
                  <a:lnTo>
                    <a:pt x="1373" y="1523"/>
                  </a:lnTo>
                  <a:lnTo>
                    <a:pt x="1383" y="1528"/>
                  </a:lnTo>
                  <a:lnTo>
                    <a:pt x="1387" y="1523"/>
                  </a:lnTo>
                  <a:lnTo>
                    <a:pt x="1399" y="1525"/>
                  </a:lnTo>
                  <a:lnTo>
                    <a:pt x="1405" y="1531"/>
                  </a:lnTo>
                  <a:lnTo>
                    <a:pt x="1437" y="1538"/>
                  </a:lnTo>
                  <a:lnTo>
                    <a:pt x="1445" y="1539"/>
                  </a:lnTo>
                  <a:lnTo>
                    <a:pt x="1459" y="1531"/>
                  </a:lnTo>
                  <a:lnTo>
                    <a:pt x="1466" y="1536"/>
                  </a:lnTo>
                  <a:lnTo>
                    <a:pt x="1467" y="1539"/>
                  </a:lnTo>
                  <a:lnTo>
                    <a:pt x="1459" y="1541"/>
                  </a:lnTo>
                  <a:lnTo>
                    <a:pt x="1458" y="1545"/>
                  </a:lnTo>
                  <a:lnTo>
                    <a:pt x="1463" y="1549"/>
                  </a:lnTo>
                  <a:lnTo>
                    <a:pt x="1483" y="1557"/>
                  </a:lnTo>
                  <a:lnTo>
                    <a:pt x="1504" y="1562"/>
                  </a:lnTo>
                  <a:lnTo>
                    <a:pt x="1522" y="1565"/>
                  </a:lnTo>
                  <a:lnTo>
                    <a:pt x="1540" y="1556"/>
                  </a:lnTo>
                  <a:lnTo>
                    <a:pt x="1555" y="1538"/>
                  </a:lnTo>
                  <a:lnTo>
                    <a:pt x="1559" y="1529"/>
                  </a:lnTo>
                  <a:lnTo>
                    <a:pt x="1563" y="1525"/>
                  </a:lnTo>
                  <a:lnTo>
                    <a:pt x="1574" y="1540"/>
                  </a:lnTo>
                  <a:lnTo>
                    <a:pt x="1580" y="1546"/>
                  </a:lnTo>
                  <a:lnTo>
                    <a:pt x="1590" y="1550"/>
                  </a:lnTo>
                  <a:lnTo>
                    <a:pt x="1586" y="1551"/>
                  </a:lnTo>
                  <a:lnTo>
                    <a:pt x="1579" y="1557"/>
                  </a:lnTo>
                  <a:lnTo>
                    <a:pt x="1579" y="1565"/>
                  </a:lnTo>
                  <a:lnTo>
                    <a:pt x="1580" y="1571"/>
                  </a:lnTo>
                  <a:lnTo>
                    <a:pt x="1581" y="1578"/>
                  </a:lnTo>
                  <a:lnTo>
                    <a:pt x="1579" y="1582"/>
                  </a:lnTo>
                  <a:lnTo>
                    <a:pt x="1574" y="1577"/>
                  </a:lnTo>
                  <a:lnTo>
                    <a:pt x="1572" y="1557"/>
                  </a:lnTo>
                  <a:lnTo>
                    <a:pt x="1574" y="1552"/>
                  </a:lnTo>
                  <a:lnTo>
                    <a:pt x="1574" y="1545"/>
                  </a:lnTo>
                  <a:lnTo>
                    <a:pt x="1570" y="1539"/>
                  </a:lnTo>
                  <a:lnTo>
                    <a:pt x="1567" y="1536"/>
                  </a:lnTo>
                  <a:lnTo>
                    <a:pt x="1563" y="1541"/>
                  </a:lnTo>
                  <a:lnTo>
                    <a:pt x="1561" y="1546"/>
                  </a:lnTo>
                  <a:lnTo>
                    <a:pt x="1561" y="1560"/>
                  </a:lnTo>
                  <a:lnTo>
                    <a:pt x="1564" y="1563"/>
                  </a:lnTo>
                  <a:lnTo>
                    <a:pt x="1564" y="1570"/>
                  </a:lnTo>
                  <a:lnTo>
                    <a:pt x="1563" y="1574"/>
                  </a:lnTo>
                  <a:lnTo>
                    <a:pt x="1560" y="1578"/>
                  </a:lnTo>
                  <a:lnTo>
                    <a:pt x="1555" y="1579"/>
                  </a:lnTo>
                  <a:lnTo>
                    <a:pt x="1548" y="1587"/>
                  </a:lnTo>
                  <a:lnTo>
                    <a:pt x="1552" y="1592"/>
                  </a:lnTo>
                  <a:lnTo>
                    <a:pt x="1567" y="1595"/>
                  </a:lnTo>
                  <a:lnTo>
                    <a:pt x="1567" y="1599"/>
                  </a:lnTo>
                  <a:lnTo>
                    <a:pt x="1572" y="1601"/>
                  </a:lnTo>
                  <a:lnTo>
                    <a:pt x="1579" y="1601"/>
                  </a:lnTo>
                  <a:lnTo>
                    <a:pt x="1581" y="1603"/>
                  </a:lnTo>
                  <a:lnTo>
                    <a:pt x="1580" y="1606"/>
                  </a:lnTo>
                  <a:lnTo>
                    <a:pt x="1598" y="1614"/>
                  </a:lnTo>
                  <a:lnTo>
                    <a:pt x="1612" y="1627"/>
                  </a:lnTo>
                  <a:lnTo>
                    <a:pt x="1612" y="1624"/>
                  </a:lnTo>
                  <a:lnTo>
                    <a:pt x="1615" y="1620"/>
                  </a:lnTo>
                  <a:lnTo>
                    <a:pt x="1629" y="1620"/>
                  </a:lnTo>
                  <a:lnTo>
                    <a:pt x="1630" y="1619"/>
                  </a:lnTo>
                  <a:lnTo>
                    <a:pt x="1631" y="1608"/>
                  </a:lnTo>
                  <a:lnTo>
                    <a:pt x="1628" y="1599"/>
                  </a:lnTo>
                  <a:lnTo>
                    <a:pt x="1630" y="1598"/>
                  </a:lnTo>
                  <a:lnTo>
                    <a:pt x="1635" y="1600"/>
                  </a:lnTo>
                  <a:lnTo>
                    <a:pt x="1638" y="1595"/>
                  </a:lnTo>
                  <a:lnTo>
                    <a:pt x="1635" y="1592"/>
                  </a:lnTo>
                  <a:lnTo>
                    <a:pt x="1608" y="1557"/>
                  </a:lnTo>
                  <a:lnTo>
                    <a:pt x="1603" y="1546"/>
                  </a:lnTo>
                  <a:lnTo>
                    <a:pt x="1590" y="1535"/>
                  </a:lnTo>
                  <a:lnTo>
                    <a:pt x="1583" y="1529"/>
                  </a:lnTo>
                  <a:lnTo>
                    <a:pt x="1587" y="1529"/>
                  </a:lnTo>
                  <a:lnTo>
                    <a:pt x="1587" y="1523"/>
                  </a:lnTo>
                  <a:lnTo>
                    <a:pt x="1587" y="1501"/>
                  </a:lnTo>
                  <a:lnTo>
                    <a:pt x="1554" y="1502"/>
                  </a:lnTo>
                  <a:lnTo>
                    <a:pt x="1542" y="1517"/>
                  </a:lnTo>
                  <a:lnTo>
                    <a:pt x="1536" y="1514"/>
                  </a:lnTo>
                  <a:lnTo>
                    <a:pt x="1521" y="1503"/>
                  </a:lnTo>
                  <a:lnTo>
                    <a:pt x="1506" y="1514"/>
                  </a:lnTo>
                  <a:lnTo>
                    <a:pt x="1486" y="1502"/>
                  </a:lnTo>
                  <a:lnTo>
                    <a:pt x="1486" y="146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48" name="Freeform 271">
              <a:extLst>
                <a:ext uri="{FF2B5EF4-FFF2-40B4-BE49-F238E27FC236}">
                  <a16:creationId xmlns:a16="http://schemas.microsoft.com/office/drawing/2014/main" id="{89B7FB3D-B805-F89D-3375-3F081CB0E33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723786" y="2011658"/>
              <a:ext cx="242913" cy="287254"/>
            </a:xfrm>
            <a:custGeom>
              <a:avLst/>
              <a:gdLst>
                <a:gd name="T0" fmla="*/ 0 w 456"/>
                <a:gd name="T1" fmla="*/ 0 h 507"/>
                <a:gd name="T2" fmla="*/ 0 w 456"/>
                <a:gd name="T3" fmla="*/ 0 h 507"/>
                <a:gd name="T4" fmla="*/ 0 w 456"/>
                <a:gd name="T5" fmla="*/ 0 h 507"/>
                <a:gd name="T6" fmla="*/ 0 w 456"/>
                <a:gd name="T7" fmla="*/ 0 h 507"/>
                <a:gd name="T8" fmla="*/ 0 w 456"/>
                <a:gd name="T9" fmla="*/ 0 h 507"/>
                <a:gd name="T10" fmla="*/ 0 w 456"/>
                <a:gd name="T11" fmla="*/ 0 h 507"/>
                <a:gd name="T12" fmla="*/ 0 w 456"/>
                <a:gd name="T13" fmla="*/ 0 h 507"/>
                <a:gd name="T14" fmla="*/ 0 w 456"/>
                <a:gd name="T15" fmla="*/ 0 h 507"/>
                <a:gd name="T16" fmla="*/ 0 w 456"/>
                <a:gd name="T17" fmla="*/ 0 h 507"/>
                <a:gd name="T18" fmla="*/ 0 w 456"/>
                <a:gd name="T19" fmla="*/ 0 h 507"/>
                <a:gd name="T20" fmla="*/ 0 w 456"/>
                <a:gd name="T21" fmla="*/ 0 h 507"/>
                <a:gd name="T22" fmla="*/ 0 w 456"/>
                <a:gd name="T23" fmla="*/ 0 h 507"/>
                <a:gd name="T24" fmla="*/ 0 w 456"/>
                <a:gd name="T25" fmla="*/ 0 h 507"/>
                <a:gd name="T26" fmla="*/ 0 w 456"/>
                <a:gd name="T27" fmla="*/ 0 h 507"/>
                <a:gd name="T28" fmla="*/ 0 w 456"/>
                <a:gd name="T29" fmla="*/ 0 h 507"/>
                <a:gd name="T30" fmla="*/ 0 w 456"/>
                <a:gd name="T31" fmla="*/ 0 h 507"/>
                <a:gd name="T32" fmla="*/ 0 w 456"/>
                <a:gd name="T33" fmla="*/ 0 h 507"/>
                <a:gd name="T34" fmla="*/ 0 w 456"/>
                <a:gd name="T35" fmla="*/ 0 h 507"/>
                <a:gd name="T36" fmla="*/ 0 w 456"/>
                <a:gd name="T37" fmla="*/ 0 h 507"/>
                <a:gd name="T38" fmla="*/ 0 w 456"/>
                <a:gd name="T39" fmla="*/ 0 h 507"/>
                <a:gd name="T40" fmla="*/ 0 w 456"/>
                <a:gd name="T41" fmla="*/ 0 h 507"/>
                <a:gd name="T42" fmla="*/ 0 w 456"/>
                <a:gd name="T43" fmla="*/ 0 h 507"/>
                <a:gd name="T44" fmla="*/ 0 w 456"/>
                <a:gd name="T45" fmla="*/ 0 h 507"/>
                <a:gd name="T46" fmla="*/ 0 w 456"/>
                <a:gd name="T47" fmla="*/ 0 h 507"/>
                <a:gd name="T48" fmla="*/ 0 w 456"/>
                <a:gd name="T49" fmla="*/ 0 h 507"/>
                <a:gd name="T50" fmla="*/ 0 w 456"/>
                <a:gd name="T51" fmla="*/ 0 h 507"/>
                <a:gd name="T52" fmla="*/ 0 w 456"/>
                <a:gd name="T53" fmla="*/ 0 h 507"/>
                <a:gd name="T54" fmla="*/ 0 w 456"/>
                <a:gd name="T55" fmla="*/ 0 h 507"/>
                <a:gd name="T56" fmla="*/ 0 w 456"/>
                <a:gd name="T57" fmla="*/ 0 h 507"/>
                <a:gd name="T58" fmla="*/ 0 w 456"/>
                <a:gd name="T59" fmla="*/ 0 h 507"/>
                <a:gd name="T60" fmla="*/ 0 w 456"/>
                <a:gd name="T61" fmla="*/ 0 h 507"/>
                <a:gd name="T62" fmla="*/ 0 w 456"/>
                <a:gd name="T63" fmla="*/ 0 h 507"/>
                <a:gd name="T64" fmla="*/ 0 w 456"/>
                <a:gd name="T65" fmla="*/ 0 h 507"/>
                <a:gd name="T66" fmla="*/ 0 w 456"/>
                <a:gd name="T67" fmla="*/ 0 h 507"/>
                <a:gd name="T68" fmla="*/ 0 w 456"/>
                <a:gd name="T69" fmla="*/ 0 h 507"/>
                <a:gd name="T70" fmla="*/ 0 w 456"/>
                <a:gd name="T71" fmla="*/ 0 h 507"/>
                <a:gd name="T72" fmla="*/ 0 w 456"/>
                <a:gd name="T73" fmla="*/ 0 h 507"/>
                <a:gd name="T74" fmla="*/ 0 w 456"/>
                <a:gd name="T75" fmla="*/ 0 h 507"/>
                <a:gd name="T76" fmla="*/ 0 w 456"/>
                <a:gd name="T77" fmla="*/ 0 h 507"/>
                <a:gd name="T78" fmla="*/ 0 w 456"/>
                <a:gd name="T79" fmla="*/ 0 h 507"/>
                <a:gd name="T80" fmla="*/ 0 w 456"/>
                <a:gd name="T81" fmla="*/ 0 h 507"/>
                <a:gd name="T82" fmla="*/ 0 w 456"/>
                <a:gd name="T83" fmla="*/ 0 h 507"/>
                <a:gd name="T84" fmla="*/ 0 w 456"/>
                <a:gd name="T85" fmla="*/ 0 h 507"/>
                <a:gd name="T86" fmla="*/ 0 w 456"/>
                <a:gd name="T87" fmla="*/ 0 h 507"/>
                <a:gd name="T88" fmla="*/ 0 w 456"/>
                <a:gd name="T89" fmla="*/ 0 h 507"/>
                <a:gd name="T90" fmla="*/ 0 w 456"/>
                <a:gd name="T91" fmla="*/ 0 h 507"/>
                <a:gd name="T92" fmla="*/ 0 w 456"/>
                <a:gd name="T93" fmla="*/ 0 h 507"/>
                <a:gd name="T94" fmla="*/ 0 w 456"/>
                <a:gd name="T95" fmla="*/ 0 h 507"/>
                <a:gd name="T96" fmla="*/ 0 w 456"/>
                <a:gd name="T97" fmla="*/ 0 h 507"/>
                <a:gd name="T98" fmla="*/ 0 w 456"/>
                <a:gd name="T99" fmla="*/ 0 h 507"/>
                <a:gd name="T100" fmla="*/ 0 w 456"/>
                <a:gd name="T101" fmla="*/ 0 h 507"/>
                <a:gd name="T102" fmla="*/ 0 w 456"/>
                <a:gd name="T103" fmla="*/ 0 h 507"/>
                <a:gd name="T104" fmla="*/ 0 w 456"/>
                <a:gd name="T105" fmla="*/ 0 h 507"/>
                <a:gd name="T106" fmla="*/ 0 w 456"/>
                <a:gd name="T107" fmla="*/ 0 h 507"/>
                <a:gd name="T108" fmla="*/ 0 w 456"/>
                <a:gd name="T109" fmla="*/ 0 h 507"/>
                <a:gd name="T110" fmla="*/ 0 w 456"/>
                <a:gd name="T111" fmla="*/ 0 h 507"/>
                <a:gd name="T112" fmla="*/ 0 w 456"/>
                <a:gd name="T113" fmla="*/ 0 h 507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56"/>
                <a:gd name="T172" fmla="*/ 0 h 507"/>
                <a:gd name="T173" fmla="*/ 456 w 456"/>
                <a:gd name="T174" fmla="*/ 507 h 507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56" h="507">
                  <a:moveTo>
                    <a:pt x="10" y="44"/>
                  </a:moveTo>
                  <a:lnTo>
                    <a:pt x="26" y="57"/>
                  </a:lnTo>
                  <a:lnTo>
                    <a:pt x="36" y="81"/>
                  </a:lnTo>
                  <a:lnTo>
                    <a:pt x="39" y="87"/>
                  </a:lnTo>
                  <a:lnTo>
                    <a:pt x="39" y="90"/>
                  </a:lnTo>
                  <a:lnTo>
                    <a:pt x="42" y="92"/>
                  </a:lnTo>
                  <a:lnTo>
                    <a:pt x="55" y="87"/>
                  </a:lnTo>
                  <a:lnTo>
                    <a:pt x="71" y="73"/>
                  </a:lnTo>
                  <a:lnTo>
                    <a:pt x="87" y="68"/>
                  </a:lnTo>
                  <a:lnTo>
                    <a:pt x="91" y="60"/>
                  </a:lnTo>
                  <a:lnTo>
                    <a:pt x="91" y="51"/>
                  </a:lnTo>
                  <a:lnTo>
                    <a:pt x="93" y="47"/>
                  </a:lnTo>
                  <a:lnTo>
                    <a:pt x="100" y="44"/>
                  </a:lnTo>
                  <a:lnTo>
                    <a:pt x="102" y="41"/>
                  </a:lnTo>
                  <a:lnTo>
                    <a:pt x="103" y="29"/>
                  </a:lnTo>
                  <a:lnTo>
                    <a:pt x="108" y="23"/>
                  </a:lnTo>
                  <a:lnTo>
                    <a:pt x="129" y="17"/>
                  </a:lnTo>
                  <a:lnTo>
                    <a:pt x="151" y="0"/>
                  </a:lnTo>
                  <a:lnTo>
                    <a:pt x="156" y="1"/>
                  </a:lnTo>
                  <a:lnTo>
                    <a:pt x="162" y="7"/>
                  </a:lnTo>
                  <a:lnTo>
                    <a:pt x="171" y="25"/>
                  </a:lnTo>
                  <a:lnTo>
                    <a:pt x="174" y="29"/>
                  </a:lnTo>
                  <a:lnTo>
                    <a:pt x="179" y="29"/>
                  </a:lnTo>
                  <a:lnTo>
                    <a:pt x="183" y="41"/>
                  </a:lnTo>
                  <a:lnTo>
                    <a:pt x="192" y="55"/>
                  </a:lnTo>
                  <a:lnTo>
                    <a:pt x="194" y="63"/>
                  </a:lnTo>
                  <a:lnTo>
                    <a:pt x="206" y="74"/>
                  </a:lnTo>
                  <a:lnTo>
                    <a:pt x="210" y="90"/>
                  </a:lnTo>
                  <a:lnTo>
                    <a:pt x="210" y="93"/>
                  </a:lnTo>
                  <a:lnTo>
                    <a:pt x="214" y="100"/>
                  </a:lnTo>
                  <a:lnTo>
                    <a:pt x="235" y="109"/>
                  </a:lnTo>
                  <a:lnTo>
                    <a:pt x="246" y="120"/>
                  </a:lnTo>
                  <a:lnTo>
                    <a:pt x="253" y="141"/>
                  </a:lnTo>
                  <a:lnTo>
                    <a:pt x="264" y="160"/>
                  </a:lnTo>
                  <a:lnTo>
                    <a:pt x="292" y="206"/>
                  </a:lnTo>
                  <a:lnTo>
                    <a:pt x="299" y="224"/>
                  </a:lnTo>
                  <a:lnTo>
                    <a:pt x="300" y="227"/>
                  </a:lnTo>
                  <a:lnTo>
                    <a:pt x="303" y="227"/>
                  </a:lnTo>
                  <a:lnTo>
                    <a:pt x="308" y="245"/>
                  </a:lnTo>
                  <a:lnTo>
                    <a:pt x="322" y="262"/>
                  </a:lnTo>
                  <a:lnTo>
                    <a:pt x="326" y="270"/>
                  </a:lnTo>
                  <a:lnTo>
                    <a:pt x="326" y="273"/>
                  </a:lnTo>
                  <a:lnTo>
                    <a:pt x="323" y="278"/>
                  </a:lnTo>
                  <a:lnTo>
                    <a:pt x="324" y="283"/>
                  </a:lnTo>
                  <a:lnTo>
                    <a:pt x="334" y="292"/>
                  </a:lnTo>
                  <a:lnTo>
                    <a:pt x="338" y="299"/>
                  </a:lnTo>
                  <a:lnTo>
                    <a:pt x="338" y="303"/>
                  </a:lnTo>
                  <a:lnTo>
                    <a:pt x="343" y="320"/>
                  </a:lnTo>
                  <a:lnTo>
                    <a:pt x="348" y="329"/>
                  </a:lnTo>
                  <a:lnTo>
                    <a:pt x="353" y="335"/>
                  </a:lnTo>
                  <a:lnTo>
                    <a:pt x="365" y="342"/>
                  </a:lnTo>
                  <a:lnTo>
                    <a:pt x="401" y="352"/>
                  </a:lnTo>
                  <a:lnTo>
                    <a:pt x="426" y="373"/>
                  </a:lnTo>
                  <a:lnTo>
                    <a:pt x="431" y="379"/>
                  </a:lnTo>
                  <a:lnTo>
                    <a:pt x="450" y="384"/>
                  </a:lnTo>
                  <a:lnTo>
                    <a:pt x="452" y="388"/>
                  </a:lnTo>
                  <a:lnTo>
                    <a:pt x="456" y="394"/>
                  </a:lnTo>
                  <a:lnTo>
                    <a:pt x="456" y="396"/>
                  </a:lnTo>
                  <a:lnTo>
                    <a:pt x="453" y="401"/>
                  </a:lnTo>
                  <a:lnTo>
                    <a:pt x="451" y="416"/>
                  </a:lnTo>
                  <a:lnTo>
                    <a:pt x="451" y="443"/>
                  </a:lnTo>
                  <a:lnTo>
                    <a:pt x="456" y="459"/>
                  </a:lnTo>
                  <a:lnTo>
                    <a:pt x="456" y="464"/>
                  </a:lnTo>
                  <a:lnTo>
                    <a:pt x="453" y="470"/>
                  </a:lnTo>
                  <a:lnTo>
                    <a:pt x="451" y="474"/>
                  </a:lnTo>
                  <a:lnTo>
                    <a:pt x="450" y="481"/>
                  </a:lnTo>
                  <a:lnTo>
                    <a:pt x="441" y="480"/>
                  </a:lnTo>
                  <a:lnTo>
                    <a:pt x="435" y="488"/>
                  </a:lnTo>
                  <a:lnTo>
                    <a:pt x="429" y="496"/>
                  </a:lnTo>
                  <a:lnTo>
                    <a:pt x="424" y="498"/>
                  </a:lnTo>
                  <a:lnTo>
                    <a:pt x="419" y="498"/>
                  </a:lnTo>
                  <a:lnTo>
                    <a:pt x="415" y="503"/>
                  </a:lnTo>
                  <a:lnTo>
                    <a:pt x="410" y="496"/>
                  </a:lnTo>
                  <a:lnTo>
                    <a:pt x="409" y="507"/>
                  </a:lnTo>
                  <a:lnTo>
                    <a:pt x="404" y="506"/>
                  </a:lnTo>
                  <a:lnTo>
                    <a:pt x="403" y="496"/>
                  </a:lnTo>
                  <a:lnTo>
                    <a:pt x="403" y="482"/>
                  </a:lnTo>
                  <a:lnTo>
                    <a:pt x="409" y="480"/>
                  </a:lnTo>
                  <a:lnTo>
                    <a:pt x="413" y="482"/>
                  </a:lnTo>
                  <a:lnTo>
                    <a:pt x="416" y="479"/>
                  </a:lnTo>
                  <a:lnTo>
                    <a:pt x="419" y="480"/>
                  </a:lnTo>
                  <a:lnTo>
                    <a:pt x="421" y="475"/>
                  </a:lnTo>
                  <a:lnTo>
                    <a:pt x="425" y="474"/>
                  </a:lnTo>
                  <a:lnTo>
                    <a:pt x="423" y="467"/>
                  </a:lnTo>
                  <a:lnTo>
                    <a:pt x="421" y="454"/>
                  </a:lnTo>
                  <a:lnTo>
                    <a:pt x="416" y="453"/>
                  </a:lnTo>
                  <a:lnTo>
                    <a:pt x="414" y="456"/>
                  </a:lnTo>
                  <a:lnTo>
                    <a:pt x="410" y="456"/>
                  </a:lnTo>
                  <a:lnTo>
                    <a:pt x="408" y="454"/>
                  </a:lnTo>
                  <a:lnTo>
                    <a:pt x="407" y="439"/>
                  </a:lnTo>
                  <a:lnTo>
                    <a:pt x="408" y="432"/>
                  </a:lnTo>
                  <a:lnTo>
                    <a:pt x="405" y="426"/>
                  </a:lnTo>
                  <a:lnTo>
                    <a:pt x="404" y="416"/>
                  </a:lnTo>
                  <a:lnTo>
                    <a:pt x="397" y="402"/>
                  </a:lnTo>
                  <a:lnTo>
                    <a:pt x="394" y="390"/>
                  </a:lnTo>
                  <a:lnTo>
                    <a:pt x="392" y="395"/>
                  </a:lnTo>
                  <a:lnTo>
                    <a:pt x="393" y="388"/>
                  </a:lnTo>
                  <a:lnTo>
                    <a:pt x="397" y="382"/>
                  </a:lnTo>
                  <a:lnTo>
                    <a:pt x="394" y="377"/>
                  </a:lnTo>
                  <a:lnTo>
                    <a:pt x="389" y="378"/>
                  </a:lnTo>
                  <a:lnTo>
                    <a:pt x="382" y="386"/>
                  </a:lnTo>
                  <a:lnTo>
                    <a:pt x="377" y="390"/>
                  </a:lnTo>
                  <a:lnTo>
                    <a:pt x="375" y="396"/>
                  </a:lnTo>
                  <a:lnTo>
                    <a:pt x="367" y="393"/>
                  </a:lnTo>
                  <a:lnTo>
                    <a:pt x="362" y="396"/>
                  </a:lnTo>
                  <a:lnTo>
                    <a:pt x="356" y="400"/>
                  </a:lnTo>
                  <a:lnTo>
                    <a:pt x="358" y="404"/>
                  </a:lnTo>
                  <a:lnTo>
                    <a:pt x="355" y="411"/>
                  </a:lnTo>
                  <a:lnTo>
                    <a:pt x="354" y="415"/>
                  </a:lnTo>
                  <a:lnTo>
                    <a:pt x="354" y="418"/>
                  </a:lnTo>
                  <a:lnTo>
                    <a:pt x="350" y="423"/>
                  </a:lnTo>
                  <a:lnTo>
                    <a:pt x="346" y="423"/>
                  </a:lnTo>
                  <a:lnTo>
                    <a:pt x="346" y="429"/>
                  </a:lnTo>
                  <a:lnTo>
                    <a:pt x="342" y="434"/>
                  </a:lnTo>
                  <a:lnTo>
                    <a:pt x="338" y="431"/>
                  </a:lnTo>
                  <a:lnTo>
                    <a:pt x="333" y="423"/>
                  </a:lnTo>
                  <a:lnTo>
                    <a:pt x="331" y="416"/>
                  </a:lnTo>
                  <a:lnTo>
                    <a:pt x="332" y="411"/>
                  </a:lnTo>
                  <a:lnTo>
                    <a:pt x="337" y="410"/>
                  </a:lnTo>
                  <a:lnTo>
                    <a:pt x="342" y="405"/>
                  </a:lnTo>
                  <a:lnTo>
                    <a:pt x="346" y="389"/>
                  </a:lnTo>
                  <a:lnTo>
                    <a:pt x="346" y="375"/>
                  </a:lnTo>
                  <a:lnTo>
                    <a:pt x="351" y="370"/>
                  </a:lnTo>
                  <a:lnTo>
                    <a:pt x="367" y="369"/>
                  </a:lnTo>
                  <a:lnTo>
                    <a:pt x="369" y="366"/>
                  </a:lnTo>
                  <a:lnTo>
                    <a:pt x="350" y="359"/>
                  </a:lnTo>
                  <a:lnTo>
                    <a:pt x="344" y="352"/>
                  </a:lnTo>
                  <a:lnTo>
                    <a:pt x="335" y="348"/>
                  </a:lnTo>
                  <a:lnTo>
                    <a:pt x="329" y="339"/>
                  </a:lnTo>
                  <a:lnTo>
                    <a:pt x="328" y="320"/>
                  </a:lnTo>
                  <a:lnTo>
                    <a:pt x="318" y="319"/>
                  </a:lnTo>
                  <a:lnTo>
                    <a:pt x="317" y="315"/>
                  </a:lnTo>
                  <a:lnTo>
                    <a:pt x="317" y="310"/>
                  </a:lnTo>
                  <a:lnTo>
                    <a:pt x="315" y="307"/>
                  </a:lnTo>
                  <a:lnTo>
                    <a:pt x="302" y="305"/>
                  </a:lnTo>
                  <a:lnTo>
                    <a:pt x="299" y="302"/>
                  </a:lnTo>
                  <a:lnTo>
                    <a:pt x="290" y="288"/>
                  </a:lnTo>
                  <a:lnTo>
                    <a:pt x="289" y="283"/>
                  </a:lnTo>
                  <a:lnTo>
                    <a:pt x="303" y="296"/>
                  </a:lnTo>
                  <a:lnTo>
                    <a:pt x="305" y="299"/>
                  </a:lnTo>
                  <a:lnTo>
                    <a:pt x="300" y="287"/>
                  </a:lnTo>
                  <a:lnTo>
                    <a:pt x="300" y="278"/>
                  </a:lnTo>
                  <a:lnTo>
                    <a:pt x="296" y="278"/>
                  </a:lnTo>
                  <a:lnTo>
                    <a:pt x="291" y="282"/>
                  </a:lnTo>
                  <a:lnTo>
                    <a:pt x="286" y="282"/>
                  </a:lnTo>
                  <a:lnTo>
                    <a:pt x="281" y="278"/>
                  </a:lnTo>
                  <a:lnTo>
                    <a:pt x="281" y="275"/>
                  </a:lnTo>
                  <a:lnTo>
                    <a:pt x="280" y="273"/>
                  </a:lnTo>
                  <a:lnTo>
                    <a:pt x="276" y="273"/>
                  </a:lnTo>
                  <a:lnTo>
                    <a:pt x="275" y="276"/>
                  </a:lnTo>
                  <a:lnTo>
                    <a:pt x="270" y="278"/>
                  </a:lnTo>
                  <a:lnTo>
                    <a:pt x="264" y="271"/>
                  </a:lnTo>
                  <a:lnTo>
                    <a:pt x="263" y="267"/>
                  </a:lnTo>
                  <a:lnTo>
                    <a:pt x="264" y="261"/>
                  </a:lnTo>
                  <a:lnTo>
                    <a:pt x="279" y="260"/>
                  </a:lnTo>
                  <a:lnTo>
                    <a:pt x="281" y="255"/>
                  </a:lnTo>
                  <a:lnTo>
                    <a:pt x="270" y="255"/>
                  </a:lnTo>
                  <a:lnTo>
                    <a:pt x="265" y="253"/>
                  </a:lnTo>
                  <a:lnTo>
                    <a:pt x="265" y="250"/>
                  </a:lnTo>
                  <a:lnTo>
                    <a:pt x="268" y="246"/>
                  </a:lnTo>
                  <a:lnTo>
                    <a:pt x="267" y="244"/>
                  </a:lnTo>
                  <a:lnTo>
                    <a:pt x="262" y="244"/>
                  </a:lnTo>
                  <a:lnTo>
                    <a:pt x="262" y="237"/>
                  </a:lnTo>
                  <a:lnTo>
                    <a:pt x="268" y="233"/>
                  </a:lnTo>
                  <a:lnTo>
                    <a:pt x="267" y="229"/>
                  </a:lnTo>
                  <a:lnTo>
                    <a:pt x="256" y="233"/>
                  </a:lnTo>
                  <a:lnTo>
                    <a:pt x="253" y="229"/>
                  </a:lnTo>
                  <a:lnTo>
                    <a:pt x="257" y="219"/>
                  </a:lnTo>
                  <a:lnTo>
                    <a:pt x="279" y="230"/>
                  </a:lnTo>
                  <a:lnTo>
                    <a:pt x="284" y="238"/>
                  </a:lnTo>
                  <a:lnTo>
                    <a:pt x="289" y="239"/>
                  </a:lnTo>
                  <a:lnTo>
                    <a:pt x="286" y="239"/>
                  </a:lnTo>
                  <a:lnTo>
                    <a:pt x="281" y="232"/>
                  </a:lnTo>
                  <a:lnTo>
                    <a:pt x="280" y="222"/>
                  </a:lnTo>
                  <a:lnTo>
                    <a:pt x="276" y="219"/>
                  </a:lnTo>
                  <a:lnTo>
                    <a:pt x="276" y="223"/>
                  </a:lnTo>
                  <a:lnTo>
                    <a:pt x="272" y="219"/>
                  </a:lnTo>
                  <a:lnTo>
                    <a:pt x="263" y="208"/>
                  </a:lnTo>
                  <a:lnTo>
                    <a:pt x="260" y="203"/>
                  </a:lnTo>
                  <a:lnTo>
                    <a:pt x="264" y="198"/>
                  </a:lnTo>
                  <a:lnTo>
                    <a:pt x="275" y="201"/>
                  </a:lnTo>
                  <a:lnTo>
                    <a:pt x="279" y="198"/>
                  </a:lnTo>
                  <a:lnTo>
                    <a:pt x="273" y="196"/>
                  </a:lnTo>
                  <a:lnTo>
                    <a:pt x="254" y="196"/>
                  </a:lnTo>
                  <a:lnTo>
                    <a:pt x="254" y="203"/>
                  </a:lnTo>
                  <a:lnTo>
                    <a:pt x="249" y="208"/>
                  </a:lnTo>
                  <a:lnTo>
                    <a:pt x="247" y="203"/>
                  </a:lnTo>
                  <a:lnTo>
                    <a:pt x="243" y="196"/>
                  </a:lnTo>
                  <a:lnTo>
                    <a:pt x="245" y="190"/>
                  </a:lnTo>
                  <a:lnTo>
                    <a:pt x="251" y="190"/>
                  </a:lnTo>
                  <a:lnTo>
                    <a:pt x="262" y="181"/>
                  </a:lnTo>
                  <a:lnTo>
                    <a:pt x="259" y="178"/>
                  </a:lnTo>
                  <a:lnTo>
                    <a:pt x="251" y="184"/>
                  </a:lnTo>
                  <a:lnTo>
                    <a:pt x="249" y="180"/>
                  </a:lnTo>
                  <a:lnTo>
                    <a:pt x="256" y="169"/>
                  </a:lnTo>
                  <a:lnTo>
                    <a:pt x="249" y="169"/>
                  </a:lnTo>
                  <a:lnTo>
                    <a:pt x="246" y="173"/>
                  </a:lnTo>
                  <a:lnTo>
                    <a:pt x="243" y="180"/>
                  </a:lnTo>
                  <a:lnTo>
                    <a:pt x="238" y="186"/>
                  </a:lnTo>
                  <a:lnTo>
                    <a:pt x="233" y="183"/>
                  </a:lnTo>
                  <a:lnTo>
                    <a:pt x="230" y="171"/>
                  </a:lnTo>
                  <a:lnTo>
                    <a:pt x="230" y="165"/>
                  </a:lnTo>
                  <a:lnTo>
                    <a:pt x="226" y="162"/>
                  </a:lnTo>
                  <a:lnTo>
                    <a:pt x="224" y="162"/>
                  </a:lnTo>
                  <a:lnTo>
                    <a:pt x="219" y="165"/>
                  </a:lnTo>
                  <a:lnTo>
                    <a:pt x="215" y="159"/>
                  </a:lnTo>
                  <a:lnTo>
                    <a:pt x="202" y="148"/>
                  </a:lnTo>
                  <a:lnTo>
                    <a:pt x="190" y="146"/>
                  </a:lnTo>
                  <a:lnTo>
                    <a:pt x="183" y="130"/>
                  </a:lnTo>
                  <a:lnTo>
                    <a:pt x="178" y="124"/>
                  </a:lnTo>
                  <a:lnTo>
                    <a:pt x="181" y="117"/>
                  </a:lnTo>
                  <a:lnTo>
                    <a:pt x="178" y="104"/>
                  </a:lnTo>
                  <a:lnTo>
                    <a:pt x="173" y="108"/>
                  </a:lnTo>
                  <a:lnTo>
                    <a:pt x="162" y="68"/>
                  </a:lnTo>
                  <a:lnTo>
                    <a:pt x="156" y="52"/>
                  </a:lnTo>
                  <a:lnTo>
                    <a:pt x="154" y="40"/>
                  </a:lnTo>
                  <a:lnTo>
                    <a:pt x="149" y="49"/>
                  </a:lnTo>
                  <a:lnTo>
                    <a:pt x="155" y="63"/>
                  </a:lnTo>
                  <a:lnTo>
                    <a:pt x="154" y="67"/>
                  </a:lnTo>
                  <a:lnTo>
                    <a:pt x="150" y="63"/>
                  </a:lnTo>
                  <a:lnTo>
                    <a:pt x="155" y="81"/>
                  </a:lnTo>
                  <a:lnTo>
                    <a:pt x="155" y="85"/>
                  </a:lnTo>
                  <a:lnTo>
                    <a:pt x="163" y="105"/>
                  </a:lnTo>
                  <a:lnTo>
                    <a:pt x="166" y="126"/>
                  </a:lnTo>
                  <a:lnTo>
                    <a:pt x="172" y="142"/>
                  </a:lnTo>
                  <a:lnTo>
                    <a:pt x="173" y="149"/>
                  </a:lnTo>
                  <a:lnTo>
                    <a:pt x="168" y="160"/>
                  </a:lnTo>
                  <a:lnTo>
                    <a:pt x="166" y="165"/>
                  </a:lnTo>
                  <a:lnTo>
                    <a:pt x="157" y="163"/>
                  </a:lnTo>
                  <a:lnTo>
                    <a:pt x="152" y="142"/>
                  </a:lnTo>
                  <a:lnTo>
                    <a:pt x="147" y="136"/>
                  </a:lnTo>
                  <a:lnTo>
                    <a:pt x="146" y="147"/>
                  </a:lnTo>
                  <a:lnTo>
                    <a:pt x="129" y="146"/>
                  </a:lnTo>
                  <a:lnTo>
                    <a:pt x="129" y="128"/>
                  </a:lnTo>
                  <a:lnTo>
                    <a:pt x="133" y="127"/>
                  </a:lnTo>
                  <a:lnTo>
                    <a:pt x="127" y="122"/>
                  </a:lnTo>
                  <a:lnTo>
                    <a:pt x="120" y="110"/>
                  </a:lnTo>
                  <a:lnTo>
                    <a:pt x="120" y="100"/>
                  </a:lnTo>
                  <a:lnTo>
                    <a:pt x="123" y="98"/>
                  </a:lnTo>
                  <a:lnTo>
                    <a:pt x="117" y="90"/>
                  </a:lnTo>
                  <a:lnTo>
                    <a:pt x="113" y="92"/>
                  </a:lnTo>
                  <a:lnTo>
                    <a:pt x="112" y="104"/>
                  </a:lnTo>
                  <a:lnTo>
                    <a:pt x="106" y="106"/>
                  </a:lnTo>
                  <a:lnTo>
                    <a:pt x="98" y="100"/>
                  </a:lnTo>
                  <a:lnTo>
                    <a:pt x="90" y="85"/>
                  </a:lnTo>
                  <a:lnTo>
                    <a:pt x="86" y="84"/>
                  </a:lnTo>
                  <a:lnTo>
                    <a:pt x="87" y="90"/>
                  </a:lnTo>
                  <a:lnTo>
                    <a:pt x="85" y="93"/>
                  </a:lnTo>
                  <a:lnTo>
                    <a:pt x="77" y="88"/>
                  </a:lnTo>
                  <a:lnTo>
                    <a:pt x="71" y="82"/>
                  </a:lnTo>
                  <a:lnTo>
                    <a:pt x="75" y="88"/>
                  </a:lnTo>
                  <a:lnTo>
                    <a:pt x="73" y="92"/>
                  </a:lnTo>
                  <a:lnTo>
                    <a:pt x="66" y="93"/>
                  </a:lnTo>
                  <a:lnTo>
                    <a:pt x="66" y="94"/>
                  </a:lnTo>
                  <a:lnTo>
                    <a:pt x="77" y="95"/>
                  </a:lnTo>
                  <a:lnTo>
                    <a:pt x="86" y="101"/>
                  </a:lnTo>
                  <a:lnTo>
                    <a:pt x="88" y="106"/>
                  </a:lnTo>
                  <a:lnTo>
                    <a:pt x="87" y="108"/>
                  </a:lnTo>
                  <a:lnTo>
                    <a:pt x="98" y="115"/>
                  </a:lnTo>
                  <a:lnTo>
                    <a:pt x="98" y="121"/>
                  </a:lnTo>
                  <a:lnTo>
                    <a:pt x="101" y="122"/>
                  </a:lnTo>
                  <a:lnTo>
                    <a:pt x="103" y="121"/>
                  </a:lnTo>
                  <a:lnTo>
                    <a:pt x="108" y="121"/>
                  </a:lnTo>
                  <a:lnTo>
                    <a:pt x="116" y="135"/>
                  </a:lnTo>
                  <a:lnTo>
                    <a:pt x="117" y="141"/>
                  </a:lnTo>
                  <a:lnTo>
                    <a:pt x="116" y="148"/>
                  </a:lnTo>
                  <a:lnTo>
                    <a:pt x="108" y="153"/>
                  </a:lnTo>
                  <a:lnTo>
                    <a:pt x="98" y="154"/>
                  </a:lnTo>
                  <a:lnTo>
                    <a:pt x="96" y="148"/>
                  </a:lnTo>
                  <a:lnTo>
                    <a:pt x="97" y="149"/>
                  </a:lnTo>
                  <a:lnTo>
                    <a:pt x="97" y="158"/>
                  </a:lnTo>
                  <a:lnTo>
                    <a:pt x="86" y="162"/>
                  </a:lnTo>
                  <a:lnTo>
                    <a:pt x="66" y="144"/>
                  </a:lnTo>
                  <a:lnTo>
                    <a:pt x="54" y="141"/>
                  </a:lnTo>
                  <a:lnTo>
                    <a:pt x="48" y="135"/>
                  </a:lnTo>
                  <a:lnTo>
                    <a:pt x="41" y="130"/>
                  </a:lnTo>
                  <a:lnTo>
                    <a:pt x="33" y="127"/>
                  </a:lnTo>
                  <a:lnTo>
                    <a:pt x="38" y="115"/>
                  </a:lnTo>
                  <a:lnTo>
                    <a:pt x="33" y="114"/>
                  </a:lnTo>
                  <a:lnTo>
                    <a:pt x="27" y="116"/>
                  </a:lnTo>
                  <a:lnTo>
                    <a:pt x="17" y="105"/>
                  </a:lnTo>
                  <a:lnTo>
                    <a:pt x="1" y="82"/>
                  </a:lnTo>
                  <a:lnTo>
                    <a:pt x="0" y="73"/>
                  </a:lnTo>
                  <a:lnTo>
                    <a:pt x="3" y="66"/>
                  </a:lnTo>
                  <a:lnTo>
                    <a:pt x="5" y="47"/>
                  </a:lnTo>
                  <a:lnTo>
                    <a:pt x="10" y="4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49" name="Freeform 273">
              <a:extLst>
                <a:ext uri="{FF2B5EF4-FFF2-40B4-BE49-F238E27FC236}">
                  <a16:creationId xmlns:a16="http://schemas.microsoft.com/office/drawing/2014/main" id="{0A05CB69-FF4D-4C93-24B0-AA2B74CB64F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813446" y="2782546"/>
              <a:ext cx="5338" cy="8545"/>
            </a:xfrm>
            <a:custGeom>
              <a:avLst/>
              <a:gdLst>
                <a:gd name="T0" fmla="*/ 0 w 10"/>
                <a:gd name="T1" fmla="*/ 0 h 15"/>
                <a:gd name="T2" fmla="*/ 0 w 10"/>
                <a:gd name="T3" fmla="*/ 0 h 15"/>
                <a:gd name="T4" fmla="*/ 0 w 10"/>
                <a:gd name="T5" fmla="*/ 0 h 15"/>
                <a:gd name="T6" fmla="*/ 0 w 10"/>
                <a:gd name="T7" fmla="*/ 0 h 15"/>
                <a:gd name="T8" fmla="*/ 0 w 10"/>
                <a:gd name="T9" fmla="*/ 0 h 15"/>
                <a:gd name="T10" fmla="*/ 0 w 10"/>
                <a:gd name="T11" fmla="*/ 0 h 15"/>
                <a:gd name="T12" fmla="*/ 0 w 10"/>
                <a:gd name="T13" fmla="*/ 0 h 15"/>
                <a:gd name="T14" fmla="*/ 0 w 10"/>
                <a:gd name="T15" fmla="*/ 0 h 15"/>
                <a:gd name="T16" fmla="*/ 0 w 10"/>
                <a:gd name="T17" fmla="*/ 0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15"/>
                <a:gd name="T29" fmla="*/ 10 w 10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15">
                  <a:moveTo>
                    <a:pt x="5" y="0"/>
                  </a:moveTo>
                  <a:lnTo>
                    <a:pt x="2" y="3"/>
                  </a:lnTo>
                  <a:lnTo>
                    <a:pt x="1" y="10"/>
                  </a:lnTo>
                  <a:lnTo>
                    <a:pt x="0" y="15"/>
                  </a:lnTo>
                  <a:lnTo>
                    <a:pt x="5" y="10"/>
                  </a:lnTo>
                  <a:lnTo>
                    <a:pt x="8" y="10"/>
                  </a:lnTo>
                  <a:lnTo>
                    <a:pt x="8" y="6"/>
                  </a:lnTo>
                  <a:lnTo>
                    <a:pt x="10" y="1"/>
                  </a:lnTo>
                  <a:lnTo>
                    <a:pt x="5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50" name="Freeform 274">
              <a:extLst>
                <a:ext uri="{FF2B5EF4-FFF2-40B4-BE49-F238E27FC236}">
                  <a16:creationId xmlns:a16="http://schemas.microsoft.com/office/drawing/2014/main" id="{44B8E008-ED78-A646-5261-96B3D3B78EB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813446" y="2782546"/>
              <a:ext cx="5338" cy="8545"/>
            </a:xfrm>
            <a:custGeom>
              <a:avLst/>
              <a:gdLst>
                <a:gd name="T0" fmla="*/ 0 w 10"/>
                <a:gd name="T1" fmla="*/ 0 h 15"/>
                <a:gd name="T2" fmla="*/ 0 w 10"/>
                <a:gd name="T3" fmla="*/ 0 h 15"/>
                <a:gd name="T4" fmla="*/ 0 w 10"/>
                <a:gd name="T5" fmla="*/ 0 h 15"/>
                <a:gd name="T6" fmla="*/ 0 w 10"/>
                <a:gd name="T7" fmla="*/ 0 h 15"/>
                <a:gd name="T8" fmla="*/ 0 w 10"/>
                <a:gd name="T9" fmla="*/ 0 h 15"/>
                <a:gd name="T10" fmla="*/ 0 w 10"/>
                <a:gd name="T11" fmla="*/ 0 h 15"/>
                <a:gd name="T12" fmla="*/ 0 w 10"/>
                <a:gd name="T13" fmla="*/ 0 h 15"/>
                <a:gd name="T14" fmla="*/ 0 w 10"/>
                <a:gd name="T15" fmla="*/ 0 h 15"/>
                <a:gd name="T16" fmla="*/ 0 w 10"/>
                <a:gd name="T17" fmla="*/ 0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15"/>
                <a:gd name="T29" fmla="*/ 10 w 10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15">
                  <a:moveTo>
                    <a:pt x="5" y="0"/>
                  </a:moveTo>
                  <a:lnTo>
                    <a:pt x="2" y="3"/>
                  </a:lnTo>
                  <a:lnTo>
                    <a:pt x="1" y="10"/>
                  </a:lnTo>
                  <a:lnTo>
                    <a:pt x="0" y="15"/>
                  </a:lnTo>
                  <a:lnTo>
                    <a:pt x="5" y="10"/>
                  </a:lnTo>
                  <a:lnTo>
                    <a:pt x="8" y="10"/>
                  </a:lnTo>
                  <a:lnTo>
                    <a:pt x="8" y="6"/>
                  </a:lnTo>
                  <a:lnTo>
                    <a:pt x="10" y="1"/>
                  </a:lnTo>
                  <a:lnTo>
                    <a:pt x="5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51" name="Freeform 275">
              <a:extLst>
                <a:ext uri="{FF2B5EF4-FFF2-40B4-BE49-F238E27FC236}">
                  <a16:creationId xmlns:a16="http://schemas.microsoft.com/office/drawing/2014/main" id="{083F4DA8-B14B-31DB-4DC0-1748847D8D7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517210" y="3033208"/>
              <a:ext cx="2669" cy="2848"/>
            </a:xfrm>
            <a:custGeom>
              <a:avLst/>
              <a:gdLst>
                <a:gd name="T0" fmla="*/ 0 w 1"/>
                <a:gd name="T1" fmla="*/ 0 h 3"/>
                <a:gd name="T2" fmla="*/ 0 w 1"/>
                <a:gd name="T3" fmla="*/ 0 h 3"/>
                <a:gd name="T4" fmla="*/ 0 w 1"/>
                <a:gd name="T5" fmla="*/ 0 h 3"/>
                <a:gd name="T6" fmla="*/ 0 60000 65536"/>
                <a:gd name="T7" fmla="*/ 0 60000 65536"/>
                <a:gd name="T8" fmla="*/ 0 60000 65536"/>
                <a:gd name="T9" fmla="*/ 0 w 1"/>
                <a:gd name="T10" fmla="*/ 0 h 3"/>
                <a:gd name="T11" fmla="*/ 1 w 1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3">
                  <a:moveTo>
                    <a:pt x="0" y="3"/>
                  </a:move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52" name="Freeform 276">
              <a:extLst>
                <a:ext uri="{FF2B5EF4-FFF2-40B4-BE49-F238E27FC236}">
                  <a16:creationId xmlns:a16="http://schemas.microsoft.com/office/drawing/2014/main" id="{9B6FC5A8-7AB9-2A99-F910-73B5664E86B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514541" y="3027512"/>
              <a:ext cx="2669" cy="2848"/>
            </a:xfrm>
            <a:custGeom>
              <a:avLst/>
              <a:gdLst>
                <a:gd name="T0" fmla="*/ 0 w 5"/>
                <a:gd name="T1" fmla="*/ 0 h 6"/>
                <a:gd name="T2" fmla="*/ 0 w 5"/>
                <a:gd name="T3" fmla="*/ 0 h 6"/>
                <a:gd name="T4" fmla="*/ 0 w 5"/>
                <a:gd name="T5" fmla="*/ 0 h 6"/>
                <a:gd name="T6" fmla="*/ 0 w 5"/>
                <a:gd name="T7" fmla="*/ 0 h 6"/>
                <a:gd name="T8" fmla="*/ 0 w 5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3" y="2"/>
                  </a:moveTo>
                  <a:lnTo>
                    <a:pt x="0" y="0"/>
                  </a:lnTo>
                  <a:lnTo>
                    <a:pt x="3" y="2"/>
                  </a:lnTo>
                  <a:lnTo>
                    <a:pt x="5" y="6"/>
                  </a:lnTo>
                  <a:lnTo>
                    <a:pt x="3" y="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53" name="Freeform 277">
              <a:extLst>
                <a:ext uri="{FF2B5EF4-FFF2-40B4-BE49-F238E27FC236}">
                  <a16:creationId xmlns:a16="http://schemas.microsoft.com/office/drawing/2014/main" id="{D124591B-3521-ADD7-1C56-DAB39D549D9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124098" y="2571761"/>
              <a:ext cx="1689348" cy="965621"/>
            </a:xfrm>
            <a:custGeom>
              <a:avLst/>
              <a:gdLst>
                <a:gd name="T0" fmla="*/ 0 w 3166"/>
                <a:gd name="T1" fmla="*/ 0 h 1693"/>
                <a:gd name="T2" fmla="*/ 0 w 3166"/>
                <a:gd name="T3" fmla="*/ 0 h 1693"/>
                <a:gd name="T4" fmla="*/ 0 w 3166"/>
                <a:gd name="T5" fmla="*/ 0 h 1693"/>
                <a:gd name="T6" fmla="*/ 0 w 3166"/>
                <a:gd name="T7" fmla="*/ 0 h 1693"/>
                <a:gd name="T8" fmla="*/ 0 w 3166"/>
                <a:gd name="T9" fmla="*/ 0 h 1693"/>
                <a:gd name="T10" fmla="*/ 0 w 3166"/>
                <a:gd name="T11" fmla="*/ 0 h 1693"/>
                <a:gd name="T12" fmla="*/ 0 w 3166"/>
                <a:gd name="T13" fmla="*/ 0 h 1693"/>
                <a:gd name="T14" fmla="*/ 0 w 3166"/>
                <a:gd name="T15" fmla="*/ 0 h 1693"/>
                <a:gd name="T16" fmla="*/ 0 w 3166"/>
                <a:gd name="T17" fmla="*/ 0 h 1693"/>
                <a:gd name="T18" fmla="*/ 0 w 3166"/>
                <a:gd name="T19" fmla="*/ 0 h 1693"/>
                <a:gd name="T20" fmla="*/ 0 w 3166"/>
                <a:gd name="T21" fmla="*/ 0 h 1693"/>
                <a:gd name="T22" fmla="*/ 0 w 3166"/>
                <a:gd name="T23" fmla="*/ 0 h 1693"/>
                <a:gd name="T24" fmla="*/ 0 w 3166"/>
                <a:gd name="T25" fmla="*/ 0 h 1693"/>
                <a:gd name="T26" fmla="*/ 0 w 3166"/>
                <a:gd name="T27" fmla="*/ 0 h 1693"/>
                <a:gd name="T28" fmla="*/ 0 w 3166"/>
                <a:gd name="T29" fmla="*/ 0 h 1693"/>
                <a:gd name="T30" fmla="*/ 0 w 3166"/>
                <a:gd name="T31" fmla="*/ 0 h 1693"/>
                <a:gd name="T32" fmla="*/ 0 w 3166"/>
                <a:gd name="T33" fmla="*/ 0 h 1693"/>
                <a:gd name="T34" fmla="*/ 0 w 3166"/>
                <a:gd name="T35" fmla="*/ 0 h 1693"/>
                <a:gd name="T36" fmla="*/ 0 w 3166"/>
                <a:gd name="T37" fmla="*/ 0 h 1693"/>
                <a:gd name="T38" fmla="*/ 0 w 3166"/>
                <a:gd name="T39" fmla="*/ 0 h 1693"/>
                <a:gd name="T40" fmla="*/ 0 w 3166"/>
                <a:gd name="T41" fmla="*/ 0 h 1693"/>
                <a:gd name="T42" fmla="*/ 0 w 3166"/>
                <a:gd name="T43" fmla="*/ 0 h 1693"/>
                <a:gd name="T44" fmla="*/ 0 w 3166"/>
                <a:gd name="T45" fmla="*/ 0 h 1693"/>
                <a:gd name="T46" fmla="*/ 0 w 3166"/>
                <a:gd name="T47" fmla="*/ 0 h 1693"/>
                <a:gd name="T48" fmla="*/ 0 w 3166"/>
                <a:gd name="T49" fmla="*/ 0 h 1693"/>
                <a:gd name="T50" fmla="*/ 0 w 3166"/>
                <a:gd name="T51" fmla="*/ 0 h 1693"/>
                <a:gd name="T52" fmla="*/ 0 w 3166"/>
                <a:gd name="T53" fmla="*/ 0 h 1693"/>
                <a:gd name="T54" fmla="*/ 0 w 3166"/>
                <a:gd name="T55" fmla="*/ 0 h 1693"/>
                <a:gd name="T56" fmla="*/ 0 w 3166"/>
                <a:gd name="T57" fmla="*/ 0 h 1693"/>
                <a:gd name="T58" fmla="*/ 0 w 3166"/>
                <a:gd name="T59" fmla="*/ 0 h 1693"/>
                <a:gd name="T60" fmla="*/ 0 w 3166"/>
                <a:gd name="T61" fmla="*/ 0 h 1693"/>
                <a:gd name="T62" fmla="*/ 0 w 3166"/>
                <a:gd name="T63" fmla="*/ 0 h 1693"/>
                <a:gd name="T64" fmla="*/ 0 w 3166"/>
                <a:gd name="T65" fmla="*/ 0 h 1693"/>
                <a:gd name="T66" fmla="*/ 0 w 3166"/>
                <a:gd name="T67" fmla="*/ 0 h 1693"/>
                <a:gd name="T68" fmla="*/ 0 w 3166"/>
                <a:gd name="T69" fmla="*/ 0 h 1693"/>
                <a:gd name="T70" fmla="*/ 0 w 3166"/>
                <a:gd name="T71" fmla="*/ 0 h 1693"/>
                <a:gd name="T72" fmla="*/ 0 w 3166"/>
                <a:gd name="T73" fmla="*/ 0 h 1693"/>
                <a:gd name="T74" fmla="*/ 0 w 3166"/>
                <a:gd name="T75" fmla="*/ 0 h 1693"/>
                <a:gd name="T76" fmla="*/ 0 w 3166"/>
                <a:gd name="T77" fmla="*/ 0 h 1693"/>
                <a:gd name="T78" fmla="*/ 0 w 3166"/>
                <a:gd name="T79" fmla="*/ 0 h 1693"/>
                <a:gd name="T80" fmla="*/ 0 w 3166"/>
                <a:gd name="T81" fmla="*/ 0 h 1693"/>
                <a:gd name="T82" fmla="*/ 0 w 3166"/>
                <a:gd name="T83" fmla="*/ 0 h 1693"/>
                <a:gd name="T84" fmla="*/ 0 w 3166"/>
                <a:gd name="T85" fmla="*/ 0 h 1693"/>
                <a:gd name="T86" fmla="*/ 0 w 3166"/>
                <a:gd name="T87" fmla="*/ 0 h 1693"/>
                <a:gd name="T88" fmla="*/ 0 w 3166"/>
                <a:gd name="T89" fmla="*/ 0 h 1693"/>
                <a:gd name="T90" fmla="*/ 0 w 3166"/>
                <a:gd name="T91" fmla="*/ 0 h 1693"/>
                <a:gd name="T92" fmla="*/ 0 w 3166"/>
                <a:gd name="T93" fmla="*/ 0 h 1693"/>
                <a:gd name="T94" fmla="*/ 0 w 3166"/>
                <a:gd name="T95" fmla="*/ 0 h 1693"/>
                <a:gd name="T96" fmla="*/ 0 w 3166"/>
                <a:gd name="T97" fmla="*/ 0 h 1693"/>
                <a:gd name="T98" fmla="*/ 0 w 3166"/>
                <a:gd name="T99" fmla="*/ 0 h 1693"/>
                <a:gd name="T100" fmla="*/ 0 w 3166"/>
                <a:gd name="T101" fmla="*/ 0 h 1693"/>
                <a:gd name="T102" fmla="*/ 0 w 3166"/>
                <a:gd name="T103" fmla="*/ 0 h 1693"/>
                <a:gd name="T104" fmla="*/ 0 w 3166"/>
                <a:gd name="T105" fmla="*/ 0 h 1693"/>
                <a:gd name="T106" fmla="*/ 0 w 3166"/>
                <a:gd name="T107" fmla="*/ 0 h 1693"/>
                <a:gd name="T108" fmla="*/ 0 w 3166"/>
                <a:gd name="T109" fmla="*/ 0 h 1693"/>
                <a:gd name="T110" fmla="*/ 0 w 3166"/>
                <a:gd name="T111" fmla="*/ 0 h 1693"/>
                <a:gd name="T112" fmla="*/ 0 w 3166"/>
                <a:gd name="T113" fmla="*/ 0 h 1693"/>
                <a:gd name="T114" fmla="*/ 0 w 3166"/>
                <a:gd name="T115" fmla="*/ 0 h 1693"/>
                <a:gd name="T116" fmla="*/ 0 w 3166"/>
                <a:gd name="T117" fmla="*/ 0 h 1693"/>
                <a:gd name="T118" fmla="*/ 0 w 3166"/>
                <a:gd name="T119" fmla="*/ 0 h 169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166"/>
                <a:gd name="T181" fmla="*/ 0 h 1693"/>
                <a:gd name="T182" fmla="*/ 3166 w 3166"/>
                <a:gd name="T183" fmla="*/ 1693 h 169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166" h="1693">
                  <a:moveTo>
                    <a:pt x="3165" y="365"/>
                  </a:moveTo>
                  <a:lnTo>
                    <a:pt x="3158" y="364"/>
                  </a:lnTo>
                  <a:lnTo>
                    <a:pt x="3160" y="361"/>
                  </a:lnTo>
                  <a:lnTo>
                    <a:pt x="3162" y="355"/>
                  </a:lnTo>
                  <a:lnTo>
                    <a:pt x="3162" y="344"/>
                  </a:lnTo>
                  <a:lnTo>
                    <a:pt x="3161" y="339"/>
                  </a:lnTo>
                  <a:lnTo>
                    <a:pt x="3160" y="343"/>
                  </a:lnTo>
                  <a:lnTo>
                    <a:pt x="3155" y="343"/>
                  </a:lnTo>
                  <a:lnTo>
                    <a:pt x="3146" y="342"/>
                  </a:lnTo>
                  <a:lnTo>
                    <a:pt x="3138" y="335"/>
                  </a:lnTo>
                  <a:lnTo>
                    <a:pt x="3135" y="330"/>
                  </a:lnTo>
                  <a:lnTo>
                    <a:pt x="3134" y="326"/>
                  </a:lnTo>
                  <a:lnTo>
                    <a:pt x="3134" y="310"/>
                  </a:lnTo>
                  <a:lnTo>
                    <a:pt x="3119" y="302"/>
                  </a:lnTo>
                  <a:lnTo>
                    <a:pt x="3119" y="246"/>
                  </a:lnTo>
                  <a:lnTo>
                    <a:pt x="3119" y="195"/>
                  </a:lnTo>
                  <a:lnTo>
                    <a:pt x="3093" y="170"/>
                  </a:lnTo>
                  <a:lnTo>
                    <a:pt x="3086" y="170"/>
                  </a:lnTo>
                  <a:lnTo>
                    <a:pt x="3079" y="181"/>
                  </a:lnTo>
                  <a:lnTo>
                    <a:pt x="3061" y="184"/>
                  </a:lnTo>
                  <a:lnTo>
                    <a:pt x="3049" y="179"/>
                  </a:lnTo>
                  <a:lnTo>
                    <a:pt x="3047" y="176"/>
                  </a:lnTo>
                  <a:lnTo>
                    <a:pt x="3044" y="170"/>
                  </a:lnTo>
                  <a:lnTo>
                    <a:pt x="3037" y="163"/>
                  </a:lnTo>
                  <a:lnTo>
                    <a:pt x="3031" y="162"/>
                  </a:lnTo>
                  <a:lnTo>
                    <a:pt x="3025" y="166"/>
                  </a:lnTo>
                  <a:lnTo>
                    <a:pt x="2998" y="211"/>
                  </a:lnTo>
                  <a:lnTo>
                    <a:pt x="2994" y="235"/>
                  </a:lnTo>
                  <a:lnTo>
                    <a:pt x="2988" y="247"/>
                  </a:lnTo>
                  <a:lnTo>
                    <a:pt x="2987" y="253"/>
                  </a:lnTo>
                  <a:lnTo>
                    <a:pt x="2982" y="262"/>
                  </a:lnTo>
                  <a:lnTo>
                    <a:pt x="2979" y="269"/>
                  </a:lnTo>
                  <a:lnTo>
                    <a:pt x="2975" y="305"/>
                  </a:lnTo>
                  <a:lnTo>
                    <a:pt x="2974" y="307"/>
                  </a:lnTo>
                  <a:lnTo>
                    <a:pt x="2967" y="312"/>
                  </a:lnTo>
                  <a:lnTo>
                    <a:pt x="2964" y="317"/>
                  </a:lnTo>
                  <a:lnTo>
                    <a:pt x="2963" y="322"/>
                  </a:lnTo>
                  <a:lnTo>
                    <a:pt x="2964" y="328"/>
                  </a:lnTo>
                  <a:lnTo>
                    <a:pt x="2964" y="330"/>
                  </a:lnTo>
                  <a:lnTo>
                    <a:pt x="2957" y="327"/>
                  </a:lnTo>
                  <a:lnTo>
                    <a:pt x="2956" y="328"/>
                  </a:lnTo>
                  <a:lnTo>
                    <a:pt x="2956" y="334"/>
                  </a:lnTo>
                  <a:lnTo>
                    <a:pt x="2945" y="330"/>
                  </a:lnTo>
                  <a:lnTo>
                    <a:pt x="2936" y="333"/>
                  </a:lnTo>
                  <a:lnTo>
                    <a:pt x="2934" y="335"/>
                  </a:lnTo>
                  <a:lnTo>
                    <a:pt x="2921" y="337"/>
                  </a:lnTo>
                  <a:lnTo>
                    <a:pt x="2918" y="340"/>
                  </a:lnTo>
                  <a:lnTo>
                    <a:pt x="2912" y="356"/>
                  </a:lnTo>
                  <a:lnTo>
                    <a:pt x="2910" y="356"/>
                  </a:lnTo>
                  <a:lnTo>
                    <a:pt x="2812" y="356"/>
                  </a:lnTo>
                  <a:lnTo>
                    <a:pt x="2737" y="356"/>
                  </a:lnTo>
                  <a:lnTo>
                    <a:pt x="2722" y="356"/>
                  </a:lnTo>
                  <a:lnTo>
                    <a:pt x="2706" y="371"/>
                  </a:lnTo>
                  <a:lnTo>
                    <a:pt x="2687" y="382"/>
                  </a:lnTo>
                  <a:lnTo>
                    <a:pt x="2684" y="387"/>
                  </a:lnTo>
                  <a:lnTo>
                    <a:pt x="2683" y="388"/>
                  </a:lnTo>
                  <a:lnTo>
                    <a:pt x="2682" y="394"/>
                  </a:lnTo>
                  <a:lnTo>
                    <a:pt x="2676" y="404"/>
                  </a:lnTo>
                  <a:lnTo>
                    <a:pt x="2655" y="418"/>
                  </a:lnTo>
                  <a:lnTo>
                    <a:pt x="2651" y="423"/>
                  </a:lnTo>
                  <a:lnTo>
                    <a:pt x="2652" y="428"/>
                  </a:lnTo>
                  <a:lnTo>
                    <a:pt x="2660" y="428"/>
                  </a:lnTo>
                  <a:lnTo>
                    <a:pt x="2663" y="431"/>
                  </a:lnTo>
                  <a:lnTo>
                    <a:pt x="2662" y="436"/>
                  </a:lnTo>
                  <a:lnTo>
                    <a:pt x="2659" y="439"/>
                  </a:lnTo>
                  <a:lnTo>
                    <a:pt x="2655" y="437"/>
                  </a:lnTo>
                  <a:lnTo>
                    <a:pt x="2654" y="440"/>
                  </a:lnTo>
                  <a:lnTo>
                    <a:pt x="2655" y="442"/>
                  </a:lnTo>
                  <a:lnTo>
                    <a:pt x="2660" y="448"/>
                  </a:lnTo>
                  <a:lnTo>
                    <a:pt x="2661" y="458"/>
                  </a:lnTo>
                  <a:lnTo>
                    <a:pt x="2660" y="466"/>
                  </a:lnTo>
                  <a:lnTo>
                    <a:pt x="2643" y="468"/>
                  </a:lnTo>
                  <a:lnTo>
                    <a:pt x="2627" y="480"/>
                  </a:lnTo>
                  <a:lnTo>
                    <a:pt x="2617" y="484"/>
                  </a:lnTo>
                  <a:lnTo>
                    <a:pt x="2597" y="484"/>
                  </a:lnTo>
                  <a:lnTo>
                    <a:pt x="2593" y="483"/>
                  </a:lnTo>
                  <a:lnTo>
                    <a:pt x="2582" y="486"/>
                  </a:lnTo>
                  <a:lnTo>
                    <a:pt x="2575" y="480"/>
                  </a:lnTo>
                  <a:lnTo>
                    <a:pt x="2560" y="477"/>
                  </a:lnTo>
                  <a:lnTo>
                    <a:pt x="2553" y="477"/>
                  </a:lnTo>
                  <a:lnTo>
                    <a:pt x="2532" y="479"/>
                  </a:lnTo>
                  <a:lnTo>
                    <a:pt x="2511" y="484"/>
                  </a:lnTo>
                  <a:lnTo>
                    <a:pt x="2501" y="489"/>
                  </a:lnTo>
                  <a:lnTo>
                    <a:pt x="2504" y="499"/>
                  </a:lnTo>
                  <a:lnTo>
                    <a:pt x="2509" y="506"/>
                  </a:lnTo>
                  <a:lnTo>
                    <a:pt x="2511" y="518"/>
                  </a:lnTo>
                  <a:lnTo>
                    <a:pt x="2499" y="531"/>
                  </a:lnTo>
                  <a:lnTo>
                    <a:pt x="2495" y="536"/>
                  </a:lnTo>
                  <a:lnTo>
                    <a:pt x="2491" y="538"/>
                  </a:lnTo>
                  <a:lnTo>
                    <a:pt x="2488" y="539"/>
                  </a:lnTo>
                  <a:lnTo>
                    <a:pt x="2478" y="549"/>
                  </a:lnTo>
                  <a:lnTo>
                    <a:pt x="2461" y="560"/>
                  </a:lnTo>
                  <a:lnTo>
                    <a:pt x="2452" y="566"/>
                  </a:lnTo>
                  <a:lnTo>
                    <a:pt x="2441" y="568"/>
                  </a:lnTo>
                  <a:lnTo>
                    <a:pt x="2432" y="575"/>
                  </a:lnTo>
                  <a:lnTo>
                    <a:pt x="2419" y="582"/>
                  </a:lnTo>
                  <a:lnTo>
                    <a:pt x="2404" y="585"/>
                  </a:lnTo>
                  <a:lnTo>
                    <a:pt x="2386" y="593"/>
                  </a:lnTo>
                  <a:lnTo>
                    <a:pt x="2350" y="614"/>
                  </a:lnTo>
                  <a:lnTo>
                    <a:pt x="2334" y="614"/>
                  </a:lnTo>
                  <a:lnTo>
                    <a:pt x="2316" y="620"/>
                  </a:lnTo>
                  <a:lnTo>
                    <a:pt x="2296" y="618"/>
                  </a:lnTo>
                  <a:lnTo>
                    <a:pt x="2294" y="614"/>
                  </a:lnTo>
                  <a:lnTo>
                    <a:pt x="2286" y="614"/>
                  </a:lnTo>
                  <a:lnTo>
                    <a:pt x="2281" y="613"/>
                  </a:lnTo>
                  <a:lnTo>
                    <a:pt x="2274" y="607"/>
                  </a:lnTo>
                  <a:lnTo>
                    <a:pt x="2259" y="602"/>
                  </a:lnTo>
                  <a:lnTo>
                    <a:pt x="2264" y="595"/>
                  </a:lnTo>
                  <a:lnTo>
                    <a:pt x="2278" y="581"/>
                  </a:lnTo>
                  <a:lnTo>
                    <a:pt x="2278" y="570"/>
                  </a:lnTo>
                  <a:lnTo>
                    <a:pt x="2283" y="558"/>
                  </a:lnTo>
                  <a:lnTo>
                    <a:pt x="2289" y="553"/>
                  </a:lnTo>
                  <a:lnTo>
                    <a:pt x="2289" y="545"/>
                  </a:lnTo>
                  <a:lnTo>
                    <a:pt x="2290" y="541"/>
                  </a:lnTo>
                  <a:lnTo>
                    <a:pt x="2296" y="534"/>
                  </a:lnTo>
                  <a:lnTo>
                    <a:pt x="2308" y="534"/>
                  </a:lnTo>
                  <a:lnTo>
                    <a:pt x="2316" y="507"/>
                  </a:lnTo>
                  <a:lnTo>
                    <a:pt x="2316" y="500"/>
                  </a:lnTo>
                  <a:lnTo>
                    <a:pt x="2315" y="502"/>
                  </a:lnTo>
                  <a:lnTo>
                    <a:pt x="2312" y="496"/>
                  </a:lnTo>
                  <a:lnTo>
                    <a:pt x="2308" y="489"/>
                  </a:lnTo>
                  <a:lnTo>
                    <a:pt x="2306" y="467"/>
                  </a:lnTo>
                  <a:lnTo>
                    <a:pt x="2305" y="456"/>
                  </a:lnTo>
                  <a:lnTo>
                    <a:pt x="2301" y="445"/>
                  </a:lnTo>
                  <a:lnTo>
                    <a:pt x="2289" y="425"/>
                  </a:lnTo>
                  <a:lnTo>
                    <a:pt x="2280" y="426"/>
                  </a:lnTo>
                  <a:lnTo>
                    <a:pt x="2263" y="434"/>
                  </a:lnTo>
                  <a:lnTo>
                    <a:pt x="2262" y="435"/>
                  </a:lnTo>
                  <a:lnTo>
                    <a:pt x="2256" y="451"/>
                  </a:lnTo>
                  <a:lnTo>
                    <a:pt x="2248" y="456"/>
                  </a:lnTo>
                  <a:lnTo>
                    <a:pt x="2242" y="458"/>
                  </a:lnTo>
                  <a:lnTo>
                    <a:pt x="2235" y="456"/>
                  </a:lnTo>
                  <a:lnTo>
                    <a:pt x="2232" y="451"/>
                  </a:lnTo>
                  <a:lnTo>
                    <a:pt x="2235" y="442"/>
                  </a:lnTo>
                  <a:lnTo>
                    <a:pt x="2240" y="432"/>
                  </a:lnTo>
                  <a:lnTo>
                    <a:pt x="2254" y="421"/>
                  </a:lnTo>
                  <a:lnTo>
                    <a:pt x="2258" y="412"/>
                  </a:lnTo>
                  <a:lnTo>
                    <a:pt x="2264" y="404"/>
                  </a:lnTo>
                  <a:lnTo>
                    <a:pt x="2267" y="398"/>
                  </a:lnTo>
                  <a:lnTo>
                    <a:pt x="2267" y="388"/>
                  </a:lnTo>
                  <a:lnTo>
                    <a:pt x="2263" y="367"/>
                  </a:lnTo>
                  <a:lnTo>
                    <a:pt x="2259" y="360"/>
                  </a:lnTo>
                  <a:lnTo>
                    <a:pt x="2259" y="353"/>
                  </a:lnTo>
                  <a:lnTo>
                    <a:pt x="2262" y="349"/>
                  </a:lnTo>
                  <a:lnTo>
                    <a:pt x="2263" y="348"/>
                  </a:lnTo>
                  <a:lnTo>
                    <a:pt x="2257" y="334"/>
                  </a:lnTo>
                  <a:lnTo>
                    <a:pt x="2251" y="328"/>
                  </a:lnTo>
                  <a:lnTo>
                    <a:pt x="2235" y="323"/>
                  </a:lnTo>
                  <a:lnTo>
                    <a:pt x="2229" y="318"/>
                  </a:lnTo>
                  <a:lnTo>
                    <a:pt x="2225" y="316"/>
                  </a:lnTo>
                  <a:lnTo>
                    <a:pt x="2211" y="306"/>
                  </a:lnTo>
                  <a:lnTo>
                    <a:pt x="2206" y="303"/>
                  </a:lnTo>
                  <a:lnTo>
                    <a:pt x="2199" y="305"/>
                  </a:lnTo>
                  <a:lnTo>
                    <a:pt x="2198" y="302"/>
                  </a:lnTo>
                  <a:lnTo>
                    <a:pt x="2186" y="299"/>
                  </a:lnTo>
                  <a:lnTo>
                    <a:pt x="2175" y="300"/>
                  </a:lnTo>
                  <a:lnTo>
                    <a:pt x="2170" y="307"/>
                  </a:lnTo>
                  <a:lnTo>
                    <a:pt x="2170" y="312"/>
                  </a:lnTo>
                  <a:lnTo>
                    <a:pt x="2171" y="318"/>
                  </a:lnTo>
                  <a:lnTo>
                    <a:pt x="2176" y="324"/>
                  </a:lnTo>
                  <a:lnTo>
                    <a:pt x="2173" y="327"/>
                  </a:lnTo>
                  <a:lnTo>
                    <a:pt x="2160" y="333"/>
                  </a:lnTo>
                  <a:lnTo>
                    <a:pt x="2151" y="334"/>
                  </a:lnTo>
                  <a:lnTo>
                    <a:pt x="2150" y="349"/>
                  </a:lnTo>
                  <a:lnTo>
                    <a:pt x="2149" y="360"/>
                  </a:lnTo>
                  <a:lnTo>
                    <a:pt x="2144" y="361"/>
                  </a:lnTo>
                  <a:lnTo>
                    <a:pt x="2140" y="367"/>
                  </a:lnTo>
                  <a:lnTo>
                    <a:pt x="2139" y="364"/>
                  </a:lnTo>
                  <a:lnTo>
                    <a:pt x="2138" y="351"/>
                  </a:lnTo>
                  <a:lnTo>
                    <a:pt x="2135" y="345"/>
                  </a:lnTo>
                  <a:lnTo>
                    <a:pt x="2130" y="349"/>
                  </a:lnTo>
                  <a:lnTo>
                    <a:pt x="2125" y="355"/>
                  </a:lnTo>
                  <a:lnTo>
                    <a:pt x="2112" y="362"/>
                  </a:lnTo>
                  <a:lnTo>
                    <a:pt x="2109" y="372"/>
                  </a:lnTo>
                  <a:lnTo>
                    <a:pt x="2104" y="378"/>
                  </a:lnTo>
                  <a:lnTo>
                    <a:pt x="2104" y="389"/>
                  </a:lnTo>
                  <a:lnTo>
                    <a:pt x="2103" y="396"/>
                  </a:lnTo>
                  <a:lnTo>
                    <a:pt x="2102" y="408"/>
                  </a:lnTo>
                  <a:lnTo>
                    <a:pt x="2103" y="412"/>
                  </a:lnTo>
                  <a:lnTo>
                    <a:pt x="2097" y="416"/>
                  </a:lnTo>
                  <a:lnTo>
                    <a:pt x="2095" y="435"/>
                  </a:lnTo>
                  <a:lnTo>
                    <a:pt x="2090" y="457"/>
                  </a:lnTo>
                  <a:lnTo>
                    <a:pt x="2097" y="480"/>
                  </a:lnTo>
                  <a:lnTo>
                    <a:pt x="2103" y="490"/>
                  </a:lnTo>
                  <a:lnTo>
                    <a:pt x="2106" y="499"/>
                  </a:lnTo>
                  <a:lnTo>
                    <a:pt x="2104" y="533"/>
                  </a:lnTo>
                  <a:lnTo>
                    <a:pt x="2095" y="559"/>
                  </a:lnTo>
                  <a:lnTo>
                    <a:pt x="2084" y="580"/>
                  </a:lnTo>
                  <a:lnTo>
                    <a:pt x="2081" y="588"/>
                  </a:lnTo>
                  <a:lnTo>
                    <a:pt x="2068" y="597"/>
                  </a:lnTo>
                  <a:lnTo>
                    <a:pt x="2054" y="606"/>
                  </a:lnTo>
                  <a:lnTo>
                    <a:pt x="2046" y="606"/>
                  </a:lnTo>
                  <a:lnTo>
                    <a:pt x="2039" y="602"/>
                  </a:lnTo>
                  <a:lnTo>
                    <a:pt x="2034" y="601"/>
                  </a:lnTo>
                  <a:lnTo>
                    <a:pt x="2032" y="595"/>
                  </a:lnTo>
                  <a:lnTo>
                    <a:pt x="2028" y="582"/>
                  </a:lnTo>
                  <a:lnTo>
                    <a:pt x="2020" y="560"/>
                  </a:lnTo>
                  <a:lnTo>
                    <a:pt x="2020" y="545"/>
                  </a:lnTo>
                  <a:lnTo>
                    <a:pt x="2020" y="533"/>
                  </a:lnTo>
                  <a:lnTo>
                    <a:pt x="2020" y="525"/>
                  </a:lnTo>
                  <a:lnTo>
                    <a:pt x="2016" y="506"/>
                  </a:lnTo>
                  <a:lnTo>
                    <a:pt x="2015" y="490"/>
                  </a:lnTo>
                  <a:lnTo>
                    <a:pt x="2018" y="477"/>
                  </a:lnTo>
                  <a:lnTo>
                    <a:pt x="2027" y="456"/>
                  </a:lnTo>
                  <a:lnTo>
                    <a:pt x="2027" y="442"/>
                  </a:lnTo>
                  <a:lnTo>
                    <a:pt x="2030" y="432"/>
                  </a:lnTo>
                  <a:lnTo>
                    <a:pt x="2036" y="413"/>
                  </a:lnTo>
                  <a:lnTo>
                    <a:pt x="2036" y="404"/>
                  </a:lnTo>
                  <a:lnTo>
                    <a:pt x="2038" y="391"/>
                  </a:lnTo>
                  <a:lnTo>
                    <a:pt x="2043" y="378"/>
                  </a:lnTo>
                  <a:lnTo>
                    <a:pt x="2053" y="362"/>
                  </a:lnTo>
                  <a:lnTo>
                    <a:pt x="2060" y="344"/>
                  </a:lnTo>
                  <a:lnTo>
                    <a:pt x="2058" y="334"/>
                  </a:lnTo>
                  <a:lnTo>
                    <a:pt x="2044" y="350"/>
                  </a:lnTo>
                  <a:lnTo>
                    <a:pt x="2043" y="359"/>
                  </a:lnTo>
                  <a:lnTo>
                    <a:pt x="2041" y="367"/>
                  </a:lnTo>
                  <a:lnTo>
                    <a:pt x="2034" y="369"/>
                  </a:lnTo>
                  <a:lnTo>
                    <a:pt x="2011" y="389"/>
                  </a:lnTo>
                  <a:lnTo>
                    <a:pt x="2011" y="385"/>
                  </a:lnTo>
                  <a:lnTo>
                    <a:pt x="2018" y="369"/>
                  </a:lnTo>
                  <a:lnTo>
                    <a:pt x="2021" y="364"/>
                  </a:lnTo>
                  <a:lnTo>
                    <a:pt x="2027" y="359"/>
                  </a:lnTo>
                  <a:lnTo>
                    <a:pt x="2034" y="346"/>
                  </a:lnTo>
                  <a:lnTo>
                    <a:pt x="2057" y="308"/>
                  </a:lnTo>
                  <a:lnTo>
                    <a:pt x="2066" y="296"/>
                  </a:lnTo>
                  <a:lnTo>
                    <a:pt x="2070" y="297"/>
                  </a:lnTo>
                  <a:lnTo>
                    <a:pt x="2077" y="294"/>
                  </a:lnTo>
                  <a:lnTo>
                    <a:pt x="2085" y="287"/>
                  </a:lnTo>
                  <a:lnTo>
                    <a:pt x="2084" y="307"/>
                  </a:lnTo>
                  <a:lnTo>
                    <a:pt x="2090" y="306"/>
                  </a:lnTo>
                  <a:lnTo>
                    <a:pt x="2107" y="287"/>
                  </a:lnTo>
                  <a:lnTo>
                    <a:pt x="2120" y="284"/>
                  </a:lnTo>
                  <a:lnTo>
                    <a:pt x="2136" y="281"/>
                  </a:lnTo>
                  <a:lnTo>
                    <a:pt x="2144" y="273"/>
                  </a:lnTo>
                  <a:lnTo>
                    <a:pt x="2155" y="270"/>
                  </a:lnTo>
                  <a:lnTo>
                    <a:pt x="2167" y="274"/>
                  </a:lnTo>
                  <a:lnTo>
                    <a:pt x="2178" y="279"/>
                  </a:lnTo>
                  <a:lnTo>
                    <a:pt x="2181" y="281"/>
                  </a:lnTo>
                  <a:lnTo>
                    <a:pt x="2184" y="286"/>
                  </a:lnTo>
                  <a:lnTo>
                    <a:pt x="2193" y="286"/>
                  </a:lnTo>
                  <a:lnTo>
                    <a:pt x="2194" y="279"/>
                  </a:lnTo>
                  <a:lnTo>
                    <a:pt x="2197" y="275"/>
                  </a:lnTo>
                  <a:lnTo>
                    <a:pt x="2202" y="278"/>
                  </a:lnTo>
                  <a:lnTo>
                    <a:pt x="2205" y="284"/>
                  </a:lnTo>
                  <a:lnTo>
                    <a:pt x="2224" y="279"/>
                  </a:lnTo>
                  <a:lnTo>
                    <a:pt x="2231" y="279"/>
                  </a:lnTo>
                  <a:lnTo>
                    <a:pt x="2231" y="278"/>
                  </a:lnTo>
                  <a:lnTo>
                    <a:pt x="2230" y="275"/>
                  </a:lnTo>
                  <a:lnTo>
                    <a:pt x="2225" y="272"/>
                  </a:lnTo>
                  <a:lnTo>
                    <a:pt x="2221" y="267"/>
                  </a:lnTo>
                  <a:lnTo>
                    <a:pt x="2215" y="263"/>
                  </a:lnTo>
                  <a:lnTo>
                    <a:pt x="2215" y="252"/>
                  </a:lnTo>
                  <a:lnTo>
                    <a:pt x="2213" y="246"/>
                  </a:lnTo>
                  <a:lnTo>
                    <a:pt x="2211" y="242"/>
                  </a:lnTo>
                  <a:lnTo>
                    <a:pt x="2209" y="238"/>
                  </a:lnTo>
                  <a:lnTo>
                    <a:pt x="2202" y="238"/>
                  </a:lnTo>
                  <a:lnTo>
                    <a:pt x="2187" y="240"/>
                  </a:lnTo>
                  <a:lnTo>
                    <a:pt x="2179" y="238"/>
                  </a:lnTo>
                  <a:lnTo>
                    <a:pt x="2171" y="233"/>
                  </a:lnTo>
                  <a:lnTo>
                    <a:pt x="2171" y="222"/>
                  </a:lnTo>
                  <a:lnTo>
                    <a:pt x="2168" y="216"/>
                  </a:lnTo>
                  <a:lnTo>
                    <a:pt x="2160" y="216"/>
                  </a:lnTo>
                  <a:lnTo>
                    <a:pt x="2150" y="221"/>
                  </a:lnTo>
                  <a:lnTo>
                    <a:pt x="2141" y="224"/>
                  </a:lnTo>
                  <a:lnTo>
                    <a:pt x="2111" y="222"/>
                  </a:lnTo>
                  <a:lnTo>
                    <a:pt x="2101" y="229"/>
                  </a:lnTo>
                  <a:lnTo>
                    <a:pt x="2092" y="232"/>
                  </a:lnTo>
                  <a:lnTo>
                    <a:pt x="2085" y="240"/>
                  </a:lnTo>
                  <a:lnTo>
                    <a:pt x="2080" y="242"/>
                  </a:lnTo>
                  <a:lnTo>
                    <a:pt x="2055" y="237"/>
                  </a:lnTo>
                  <a:lnTo>
                    <a:pt x="2047" y="238"/>
                  </a:lnTo>
                  <a:lnTo>
                    <a:pt x="2036" y="227"/>
                  </a:lnTo>
                  <a:lnTo>
                    <a:pt x="2030" y="217"/>
                  </a:lnTo>
                  <a:lnTo>
                    <a:pt x="2011" y="208"/>
                  </a:lnTo>
                  <a:lnTo>
                    <a:pt x="1995" y="210"/>
                  </a:lnTo>
                  <a:lnTo>
                    <a:pt x="1990" y="209"/>
                  </a:lnTo>
                  <a:lnTo>
                    <a:pt x="1983" y="216"/>
                  </a:lnTo>
                  <a:lnTo>
                    <a:pt x="1982" y="213"/>
                  </a:lnTo>
                  <a:lnTo>
                    <a:pt x="1983" y="200"/>
                  </a:lnTo>
                  <a:lnTo>
                    <a:pt x="1988" y="194"/>
                  </a:lnTo>
                  <a:lnTo>
                    <a:pt x="1995" y="190"/>
                  </a:lnTo>
                  <a:lnTo>
                    <a:pt x="2011" y="171"/>
                  </a:lnTo>
                  <a:lnTo>
                    <a:pt x="2020" y="165"/>
                  </a:lnTo>
                  <a:lnTo>
                    <a:pt x="2021" y="160"/>
                  </a:lnTo>
                  <a:lnTo>
                    <a:pt x="2018" y="159"/>
                  </a:lnTo>
                  <a:lnTo>
                    <a:pt x="2007" y="160"/>
                  </a:lnTo>
                  <a:lnTo>
                    <a:pt x="1996" y="163"/>
                  </a:lnTo>
                  <a:lnTo>
                    <a:pt x="1985" y="170"/>
                  </a:lnTo>
                  <a:lnTo>
                    <a:pt x="1969" y="179"/>
                  </a:lnTo>
                  <a:lnTo>
                    <a:pt x="1958" y="193"/>
                  </a:lnTo>
                  <a:lnTo>
                    <a:pt x="1947" y="199"/>
                  </a:lnTo>
                  <a:lnTo>
                    <a:pt x="1936" y="208"/>
                  </a:lnTo>
                  <a:lnTo>
                    <a:pt x="1921" y="211"/>
                  </a:lnTo>
                  <a:lnTo>
                    <a:pt x="1909" y="215"/>
                  </a:lnTo>
                  <a:lnTo>
                    <a:pt x="1890" y="229"/>
                  </a:lnTo>
                  <a:lnTo>
                    <a:pt x="1877" y="230"/>
                  </a:lnTo>
                  <a:lnTo>
                    <a:pt x="1856" y="227"/>
                  </a:lnTo>
                  <a:lnTo>
                    <a:pt x="1853" y="232"/>
                  </a:lnTo>
                  <a:lnTo>
                    <a:pt x="1851" y="230"/>
                  </a:lnTo>
                  <a:lnTo>
                    <a:pt x="1854" y="219"/>
                  </a:lnTo>
                  <a:lnTo>
                    <a:pt x="1854" y="209"/>
                  </a:lnTo>
                  <a:lnTo>
                    <a:pt x="1848" y="203"/>
                  </a:lnTo>
                  <a:lnTo>
                    <a:pt x="1811" y="226"/>
                  </a:lnTo>
                  <a:lnTo>
                    <a:pt x="1799" y="229"/>
                  </a:lnTo>
                  <a:lnTo>
                    <a:pt x="1790" y="227"/>
                  </a:lnTo>
                  <a:lnTo>
                    <a:pt x="1785" y="221"/>
                  </a:lnTo>
                  <a:lnTo>
                    <a:pt x="1792" y="213"/>
                  </a:lnTo>
                  <a:lnTo>
                    <a:pt x="1831" y="179"/>
                  </a:lnTo>
                  <a:lnTo>
                    <a:pt x="1872" y="145"/>
                  </a:lnTo>
                  <a:lnTo>
                    <a:pt x="1892" y="138"/>
                  </a:lnTo>
                  <a:lnTo>
                    <a:pt x="1915" y="118"/>
                  </a:lnTo>
                  <a:lnTo>
                    <a:pt x="1910" y="118"/>
                  </a:lnTo>
                  <a:lnTo>
                    <a:pt x="1896" y="111"/>
                  </a:lnTo>
                  <a:lnTo>
                    <a:pt x="1870" y="111"/>
                  </a:lnTo>
                  <a:lnTo>
                    <a:pt x="1853" y="103"/>
                  </a:lnTo>
                  <a:lnTo>
                    <a:pt x="1844" y="104"/>
                  </a:lnTo>
                  <a:lnTo>
                    <a:pt x="1831" y="111"/>
                  </a:lnTo>
                  <a:lnTo>
                    <a:pt x="1824" y="112"/>
                  </a:lnTo>
                  <a:lnTo>
                    <a:pt x="1812" y="106"/>
                  </a:lnTo>
                  <a:lnTo>
                    <a:pt x="1805" y="96"/>
                  </a:lnTo>
                  <a:lnTo>
                    <a:pt x="1792" y="92"/>
                  </a:lnTo>
                  <a:lnTo>
                    <a:pt x="1785" y="86"/>
                  </a:lnTo>
                  <a:lnTo>
                    <a:pt x="1776" y="84"/>
                  </a:lnTo>
                  <a:lnTo>
                    <a:pt x="1772" y="81"/>
                  </a:lnTo>
                  <a:lnTo>
                    <a:pt x="1765" y="74"/>
                  </a:lnTo>
                  <a:lnTo>
                    <a:pt x="1757" y="68"/>
                  </a:lnTo>
                  <a:lnTo>
                    <a:pt x="1747" y="64"/>
                  </a:lnTo>
                  <a:lnTo>
                    <a:pt x="1721" y="63"/>
                  </a:lnTo>
                  <a:lnTo>
                    <a:pt x="1713" y="68"/>
                  </a:lnTo>
                  <a:lnTo>
                    <a:pt x="1702" y="68"/>
                  </a:lnTo>
                  <a:lnTo>
                    <a:pt x="1695" y="66"/>
                  </a:lnTo>
                  <a:lnTo>
                    <a:pt x="1695" y="64"/>
                  </a:lnTo>
                  <a:lnTo>
                    <a:pt x="1693" y="63"/>
                  </a:lnTo>
                  <a:lnTo>
                    <a:pt x="1679" y="59"/>
                  </a:lnTo>
                  <a:lnTo>
                    <a:pt x="1675" y="55"/>
                  </a:lnTo>
                  <a:lnTo>
                    <a:pt x="1665" y="58"/>
                  </a:lnTo>
                  <a:lnTo>
                    <a:pt x="1661" y="58"/>
                  </a:lnTo>
                  <a:lnTo>
                    <a:pt x="1660" y="55"/>
                  </a:lnTo>
                  <a:lnTo>
                    <a:pt x="1651" y="57"/>
                  </a:lnTo>
                  <a:lnTo>
                    <a:pt x="1643" y="34"/>
                  </a:lnTo>
                  <a:lnTo>
                    <a:pt x="1640" y="33"/>
                  </a:lnTo>
                  <a:lnTo>
                    <a:pt x="1629" y="1"/>
                  </a:lnTo>
                  <a:lnTo>
                    <a:pt x="1622" y="0"/>
                  </a:lnTo>
                  <a:lnTo>
                    <a:pt x="1617" y="0"/>
                  </a:lnTo>
                  <a:lnTo>
                    <a:pt x="1617" y="36"/>
                  </a:lnTo>
                  <a:lnTo>
                    <a:pt x="1558" y="36"/>
                  </a:lnTo>
                  <a:lnTo>
                    <a:pt x="1503" y="36"/>
                  </a:lnTo>
                  <a:lnTo>
                    <a:pt x="1491" y="36"/>
                  </a:lnTo>
                  <a:lnTo>
                    <a:pt x="1445" y="36"/>
                  </a:lnTo>
                  <a:lnTo>
                    <a:pt x="1397" y="36"/>
                  </a:lnTo>
                  <a:lnTo>
                    <a:pt x="1344" y="36"/>
                  </a:lnTo>
                  <a:lnTo>
                    <a:pt x="1294" y="36"/>
                  </a:lnTo>
                  <a:lnTo>
                    <a:pt x="1277" y="36"/>
                  </a:lnTo>
                  <a:lnTo>
                    <a:pt x="1130" y="36"/>
                  </a:lnTo>
                  <a:lnTo>
                    <a:pt x="1086" y="36"/>
                  </a:lnTo>
                  <a:lnTo>
                    <a:pt x="1032" y="36"/>
                  </a:lnTo>
                  <a:lnTo>
                    <a:pt x="983" y="36"/>
                  </a:lnTo>
                  <a:lnTo>
                    <a:pt x="936" y="36"/>
                  </a:lnTo>
                  <a:lnTo>
                    <a:pt x="888" y="36"/>
                  </a:lnTo>
                  <a:lnTo>
                    <a:pt x="834" y="36"/>
                  </a:lnTo>
                  <a:lnTo>
                    <a:pt x="802" y="36"/>
                  </a:lnTo>
                  <a:lnTo>
                    <a:pt x="753" y="34"/>
                  </a:lnTo>
                  <a:lnTo>
                    <a:pt x="699" y="34"/>
                  </a:lnTo>
                  <a:lnTo>
                    <a:pt x="649" y="34"/>
                  </a:lnTo>
                  <a:lnTo>
                    <a:pt x="580" y="34"/>
                  </a:lnTo>
                  <a:lnTo>
                    <a:pt x="471" y="34"/>
                  </a:lnTo>
                  <a:lnTo>
                    <a:pt x="418" y="34"/>
                  </a:lnTo>
                  <a:lnTo>
                    <a:pt x="365" y="34"/>
                  </a:lnTo>
                  <a:lnTo>
                    <a:pt x="320" y="34"/>
                  </a:lnTo>
                  <a:lnTo>
                    <a:pt x="270" y="34"/>
                  </a:lnTo>
                  <a:lnTo>
                    <a:pt x="218" y="34"/>
                  </a:lnTo>
                  <a:lnTo>
                    <a:pt x="167" y="34"/>
                  </a:lnTo>
                  <a:lnTo>
                    <a:pt x="105" y="34"/>
                  </a:lnTo>
                  <a:lnTo>
                    <a:pt x="108" y="43"/>
                  </a:lnTo>
                  <a:lnTo>
                    <a:pt x="113" y="50"/>
                  </a:lnTo>
                  <a:lnTo>
                    <a:pt x="121" y="50"/>
                  </a:lnTo>
                  <a:lnTo>
                    <a:pt x="129" y="53"/>
                  </a:lnTo>
                  <a:lnTo>
                    <a:pt x="133" y="58"/>
                  </a:lnTo>
                  <a:lnTo>
                    <a:pt x="132" y="59"/>
                  </a:lnTo>
                  <a:lnTo>
                    <a:pt x="128" y="57"/>
                  </a:lnTo>
                  <a:lnTo>
                    <a:pt x="124" y="58"/>
                  </a:lnTo>
                  <a:lnTo>
                    <a:pt x="124" y="66"/>
                  </a:lnTo>
                  <a:lnTo>
                    <a:pt x="119" y="74"/>
                  </a:lnTo>
                  <a:lnTo>
                    <a:pt x="116" y="75"/>
                  </a:lnTo>
                  <a:lnTo>
                    <a:pt x="116" y="76"/>
                  </a:lnTo>
                  <a:lnTo>
                    <a:pt x="122" y="81"/>
                  </a:lnTo>
                  <a:lnTo>
                    <a:pt x="127" y="84"/>
                  </a:lnTo>
                  <a:lnTo>
                    <a:pt x="128" y="87"/>
                  </a:lnTo>
                  <a:lnTo>
                    <a:pt x="133" y="103"/>
                  </a:lnTo>
                  <a:lnTo>
                    <a:pt x="133" y="119"/>
                  </a:lnTo>
                  <a:lnTo>
                    <a:pt x="132" y="133"/>
                  </a:lnTo>
                  <a:lnTo>
                    <a:pt x="130" y="133"/>
                  </a:lnTo>
                  <a:lnTo>
                    <a:pt x="127" y="125"/>
                  </a:lnTo>
                  <a:lnTo>
                    <a:pt x="124" y="125"/>
                  </a:lnTo>
                  <a:lnTo>
                    <a:pt x="118" y="127"/>
                  </a:lnTo>
                  <a:lnTo>
                    <a:pt x="111" y="143"/>
                  </a:lnTo>
                  <a:lnTo>
                    <a:pt x="101" y="150"/>
                  </a:lnTo>
                  <a:lnTo>
                    <a:pt x="98" y="155"/>
                  </a:lnTo>
                  <a:lnTo>
                    <a:pt x="101" y="156"/>
                  </a:lnTo>
                  <a:lnTo>
                    <a:pt x="101" y="162"/>
                  </a:lnTo>
                  <a:lnTo>
                    <a:pt x="92" y="162"/>
                  </a:lnTo>
                  <a:lnTo>
                    <a:pt x="92" y="151"/>
                  </a:lnTo>
                  <a:lnTo>
                    <a:pt x="101" y="130"/>
                  </a:lnTo>
                  <a:lnTo>
                    <a:pt x="103" y="127"/>
                  </a:lnTo>
                  <a:lnTo>
                    <a:pt x="109" y="124"/>
                  </a:lnTo>
                  <a:lnTo>
                    <a:pt x="111" y="122"/>
                  </a:lnTo>
                  <a:lnTo>
                    <a:pt x="112" y="112"/>
                  </a:lnTo>
                  <a:lnTo>
                    <a:pt x="109" y="104"/>
                  </a:lnTo>
                  <a:lnTo>
                    <a:pt x="98" y="106"/>
                  </a:lnTo>
                  <a:lnTo>
                    <a:pt x="84" y="100"/>
                  </a:lnTo>
                  <a:lnTo>
                    <a:pt x="70" y="101"/>
                  </a:lnTo>
                  <a:lnTo>
                    <a:pt x="58" y="98"/>
                  </a:lnTo>
                  <a:lnTo>
                    <a:pt x="48" y="98"/>
                  </a:lnTo>
                  <a:lnTo>
                    <a:pt x="19" y="87"/>
                  </a:lnTo>
                  <a:lnTo>
                    <a:pt x="9" y="81"/>
                  </a:lnTo>
                  <a:lnTo>
                    <a:pt x="4" y="86"/>
                  </a:lnTo>
                  <a:lnTo>
                    <a:pt x="1" y="96"/>
                  </a:lnTo>
                  <a:lnTo>
                    <a:pt x="0" y="106"/>
                  </a:lnTo>
                  <a:lnTo>
                    <a:pt x="3" y="113"/>
                  </a:lnTo>
                  <a:lnTo>
                    <a:pt x="6" y="122"/>
                  </a:lnTo>
                  <a:lnTo>
                    <a:pt x="15" y="131"/>
                  </a:lnTo>
                  <a:lnTo>
                    <a:pt x="21" y="147"/>
                  </a:lnTo>
                  <a:lnTo>
                    <a:pt x="28" y="181"/>
                  </a:lnTo>
                  <a:lnTo>
                    <a:pt x="32" y="193"/>
                  </a:lnTo>
                  <a:lnTo>
                    <a:pt x="33" y="194"/>
                  </a:lnTo>
                  <a:lnTo>
                    <a:pt x="38" y="188"/>
                  </a:lnTo>
                  <a:lnTo>
                    <a:pt x="42" y="193"/>
                  </a:lnTo>
                  <a:lnTo>
                    <a:pt x="41" y="199"/>
                  </a:lnTo>
                  <a:lnTo>
                    <a:pt x="37" y="205"/>
                  </a:lnTo>
                  <a:lnTo>
                    <a:pt x="37" y="211"/>
                  </a:lnTo>
                  <a:lnTo>
                    <a:pt x="38" y="215"/>
                  </a:lnTo>
                  <a:lnTo>
                    <a:pt x="42" y="216"/>
                  </a:lnTo>
                  <a:lnTo>
                    <a:pt x="46" y="215"/>
                  </a:lnTo>
                  <a:lnTo>
                    <a:pt x="47" y="217"/>
                  </a:lnTo>
                  <a:lnTo>
                    <a:pt x="46" y="225"/>
                  </a:lnTo>
                  <a:lnTo>
                    <a:pt x="47" y="236"/>
                  </a:lnTo>
                  <a:lnTo>
                    <a:pt x="46" y="240"/>
                  </a:lnTo>
                  <a:lnTo>
                    <a:pt x="43" y="238"/>
                  </a:lnTo>
                  <a:lnTo>
                    <a:pt x="42" y="229"/>
                  </a:lnTo>
                  <a:lnTo>
                    <a:pt x="38" y="225"/>
                  </a:lnTo>
                  <a:lnTo>
                    <a:pt x="37" y="238"/>
                  </a:lnTo>
                  <a:lnTo>
                    <a:pt x="39" y="246"/>
                  </a:lnTo>
                  <a:lnTo>
                    <a:pt x="47" y="252"/>
                  </a:lnTo>
                  <a:lnTo>
                    <a:pt x="68" y="251"/>
                  </a:lnTo>
                  <a:lnTo>
                    <a:pt x="74" y="257"/>
                  </a:lnTo>
                  <a:lnTo>
                    <a:pt x="81" y="260"/>
                  </a:lnTo>
                  <a:lnTo>
                    <a:pt x="80" y="264"/>
                  </a:lnTo>
                  <a:lnTo>
                    <a:pt x="68" y="259"/>
                  </a:lnTo>
                  <a:lnTo>
                    <a:pt x="48" y="262"/>
                  </a:lnTo>
                  <a:lnTo>
                    <a:pt x="46" y="264"/>
                  </a:lnTo>
                  <a:lnTo>
                    <a:pt x="44" y="269"/>
                  </a:lnTo>
                  <a:lnTo>
                    <a:pt x="43" y="285"/>
                  </a:lnTo>
                  <a:lnTo>
                    <a:pt x="43" y="291"/>
                  </a:lnTo>
                  <a:lnTo>
                    <a:pt x="47" y="295"/>
                  </a:lnTo>
                  <a:lnTo>
                    <a:pt x="44" y="301"/>
                  </a:lnTo>
                  <a:lnTo>
                    <a:pt x="46" y="312"/>
                  </a:lnTo>
                  <a:lnTo>
                    <a:pt x="42" y="321"/>
                  </a:lnTo>
                  <a:lnTo>
                    <a:pt x="41" y="353"/>
                  </a:lnTo>
                  <a:lnTo>
                    <a:pt x="37" y="366"/>
                  </a:lnTo>
                  <a:lnTo>
                    <a:pt x="38" y="409"/>
                  </a:lnTo>
                  <a:lnTo>
                    <a:pt x="36" y="419"/>
                  </a:lnTo>
                  <a:lnTo>
                    <a:pt x="36" y="431"/>
                  </a:lnTo>
                  <a:lnTo>
                    <a:pt x="30" y="457"/>
                  </a:lnTo>
                  <a:lnTo>
                    <a:pt x="28" y="464"/>
                  </a:lnTo>
                  <a:lnTo>
                    <a:pt x="30" y="466"/>
                  </a:lnTo>
                  <a:lnTo>
                    <a:pt x="31" y="466"/>
                  </a:lnTo>
                  <a:lnTo>
                    <a:pt x="32" y="474"/>
                  </a:lnTo>
                  <a:lnTo>
                    <a:pt x="26" y="478"/>
                  </a:lnTo>
                  <a:lnTo>
                    <a:pt x="20" y="488"/>
                  </a:lnTo>
                  <a:lnTo>
                    <a:pt x="15" y="515"/>
                  </a:lnTo>
                  <a:lnTo>
                    <a:pt x="17" y="529"/>
                  </a:lnTo>
                  <a:lnTo>
                    <a:pt x="20" y="555"/>
                  </a:lnTo>
                  <a:lnTo>
                    <a:pt x="27" y="576"/>
                  </a:lnTo>
                  <a:lnTo>
                    <a:pt x="28" y="580"/>
                  </a:lnTo>
                  <a:lnTo>
                    <a:pt x="31" y="590"/>
                  </a:lnTo>
                  <a:lnTo>
                    <a:pt x="39" y="624"/>
                  </a:lnTo>
                  <a:lnTo>
                    <a:pt x="36" y="646"/>
                  </a:lnTo>
                  <a:lnTo>
                    <a:pt x="36" y="667"/>
                  </a:lnTo>
                  <a:lnTo>
                    <a:pt x="30" y="678"/>
                  </a:lnTo>
                  <a:lnTo>
                    <a:pt x="22" y="688"/>
                  </a:lnTo>
                  <a:lnTo>
                    <a:pt x="22" y="697"/>
                  </a:lnTo>
                  <a:lnTo>
                    <a:pt x="24" y="701"/>
                  </a:lnTo>
                  <a:lnTo>
                    <a:pt x="30" y="706"/>
                  </a:lnTo>
                  <a:lnTo>
                    <a:pt x="54" y="747"/>
                  </a:lnTo>
                  <a:lnTo>
                    <a:pt x="55" y="752"/>
                  </a:lnTo>
                  <a:lnTo>
                    <a:pt x="54" y="758"/>
                  </a:lnTo>
                  <a:lnTo>
                    <a:pt x="54" y="769"/>
                  </a:lnTo>
                  <a:lnTo>
                    <a:pt x="63" y="806"/>
                  </a:lnTo>
                  <a:lnTo>
                    <a:pt x="69" y="813"/>
                  </a:lnTo>
                  <a:lnTo>
                    <a:pt x="78" y="824"/>
                  </a:lnTo>
                  <a:lnTo>
                    <a:pt x="95" y="841"/>
                  </a:lnTo>
                  <a:lnTo>
                    <a:pt x="98" y="850"/>
                  </a:lnTo>
                  <a:lnTo>
                    <a:pt x="98" y="857"/>
                  </a:lnTo>
                  <a:lnTo>
                    <a:pt x="100" y="862"/>
                  </a:lnTo>
                  <a:lnTo>
                    <a:pt x="108" y="868"/>
                  </a:lnTo>
                  <a:lnTo>
                    <a:pt x="114" y="868"/>
                  </a:lnTo>
                  <a:lnTo>
                    <a:pt x="116" y="872"/>
                  </a:lnTo>
                  <a:lnTo>
                    <a:pt x="119" y="872"/>
                  </a:lnTo>
                  <a:lnTo>
                    <a:pt x="122" y="870"/>
                  </a:lnTo>
                  <a:lnTo>
                    <a:pt x="123" y="868"/>
                  </a:lnTo>
                  <a:lnTo>
                    <a:pt x="124" y="854"/>
                  </a:lnTo>
                  <a:lnTo>
                    <a:pt x="138" y="854"/>
                  </a:lnTo>
                  <a:lnTo>
                    <a:pt x="150" y="859"/>
                  </a:lnTo>
                  <a:lnTo>
                    <a:pt x="144" y="864"/>
                  </a:lnTo>
                  <a:lnTo>
                    <a:pt x="138" y="865"/>
                  </a:lnTo>
                  <a:lnTo>
                    <a:pt x="133" y="870"/>
                  </a:lnTo>
                  <a:lnTo>
                    <a:pt x="134" y="876"/>
                  </a:lnTo>
                  <a:lnTo>
                    <a:pt x="144" y="894"/>
                  </a:lnTo>
                  <a:lnTo>
                    <a:pt x="145" y="899"/>
                  </a:lnTo>
                  <a:lnTo>
                    <a:pt x="137" y="893"/>
                  </a:lnTo>
                  <a:lnTo>
                    <a:pt x="130" y="886"/>
                  </a:lnTo>
                  <a:lnTo>
                    <a:pt x="129" y="881"/>
                  </a:lnTo>
                  <a:lnTo>
                    <a:pt x="124" y="880"/>
                  </a:lnTo>
                  <a:lnTo>
                    <a:pt x="123" y="887"/>
                  </a:lnTo>
                  <a:lnTo>
                    <a:pt x="124" y="894"/>
                  </a:lnTo>
                  <a:lnTo>
                    <a:pt x="129" y="905"/>
                  </a:lnTo>
                  <a:lnTo>
                    <a:pt x="133" y="925"/>
                  </a:lnTo>
                  <a:lnTo>
                    <a:pt x="143" y="934"/>
                  </a:lnTo>
                  <a:lnTo>
                    <a:pt x="155" y="936"/>
                  </a:lnTo>
                  <a:lnTo>
                    <a:pt x="161" y="946"/>
                  </a:lnTo>
                  <a:lnTo>
                    <a:pt x="161" y="958"/>
                  </a:lnTo>
                  <a:lnTo>
                    <a:pt x="155" y="963"/>
                  </a:lnTo>
                  <a:lnTo>
                    <a:pt x="155" y="977"/>
                  </a:lnTo>
                  <a:lnTo>
                    <a:pt x="157" y="980"/>
                  </a:lnTo>
                  <a:lnTo>
                    <a:pt x="180" y="1004"/>
                  </a:lnTo>
                  <a:lnTo>
                    <a:pt x="192" y="1023"/>
                  </a:lnTo>
                  <a:lnTo>
                    <a:pt x="207" y="1038"/>
                  </a:lnTo>
                  <a:lnTo>
                    <a:pt x="213" y="1042"/>
                  </a:lnTo>
                  <a:lnTo>
                    <a:pt x="214" y="1053"/>
                  </a:lnTo>
                  <a:lnTo>
                    <a:pt x="223" y="1056"/>
                  </a:lnTo>
                  <a:lnTo>
                    <a:pt x="227" y="1064"/>
                  </a:lnTo>
                  <a:lnTo>
                    <a:pt x="227" y="1066"/>
                  </a:lnTo>
                  <a:lnTo>
                    <a:pt x="226" y="1072"/>
                  </a:lnTo>
                  <a:lnTo>
                    <a:pt x="226" y="1081"/>
                  </a:lnTo>
                  <a:lnTo>
                    <a:pt x="229" y="1096"/>
                  </a:lnTo>
                  <a:lnTo>
                    <a:pt x="231" y="1099"/>
                  </a:lnTo>
                  <a:lnTo>
                    <a:pt x="238" y="1102"/>
                  </a:lnTo>
                  <a:lnTo>
                    <a:pt x="257" y="1104"/>
                  </a:lnTo>
                  <a:lnTo>
                    <a:pt x="268" y="1110"/>
                  </a:lnTo>
                  <a:lnTo>
                    <a:pt x="273" y="1108"/>
                  </a:lnTo>
                  <a:lnTo>
                    <a:pt x="280" y="1109"/>
                  </a:lnTo>
                  <a:lnTo>
                    <a:pt x="289" y="1114"/>
                  </a:lnTo>
                  <a:lnTo>
                    <a:pt x="299" y="1118"/>
                  </a:lnTo>
                  <a:lnTo>
                    <a:pt x="302" y="1124"/>
                  </a:lnTo>
                  <a:lnTo>
                    <a:pt x="318" y="1130"/>
                  </a:lnTo>
                  <a:lnTo>
                    <a:pt x="324" y="1134"/>
                  </a:lnTo>
                  <a:lnTo>
                    <a:pt x="328" y="1137"/>
                  </a:lnTo>
                  <a:lnTo>
                    <a:pt x="331" y="1131"/>
                  </a:lnTo>
                  <a:lnTo>
                    <a:pt x="336" y="1131"/>
                  </a:lnTo>
                  <a:lnTo>
                    <a:pt x="339" y="1134"/>
                  </a:lnTo>
                  <a:lnTo>
                    <a:pt x="348" y="1141"/>
                  </a:lnTo>
                  <a:lnTo>
                    <a:pt x="349" y="1151"/>
                  </a:lnTo>
                  <a:lnTo>
                    <a:pt x="350" y="1153"/>
                  </a:lnTo>
                  <a:lnTo>
                    <a:pt x="364" y="1155"/>
                  </a:lnTo>
                  <a:lnTo>
                    <a:pt x="376" y="1161"/>
                  </a:lnTo>
                  <a:lnTo>
                    <a:pt x="383" y="1167"/>
                  </a:lnTo>
                  <a:lnTo>
                    <a:pt x="397" y="1183"/>
                  </a:lnTo>
                  <a:lnTo>
                    <a:pt x="406" y="1192"/>
                  </a:lnTo>
                  <a:lnTo>
                    <a:pt x="412" y="1201"/>
                  </a:lnTo>
                  <a:lnTo>
                    <a:pt x="415" y="1227"/>
                  </a:lnTo>
                  <a:lnTo>
                    <a:pt x="417" y="1233"/>
                  </a:lnTo>
                  <a:lnTo>
                    <a:pt x="541" y="1223"/>
                  </a:lnTo>
                  <a:lnTo>
                    <a:pt x="542" y="1230"/>
                  </a:lnTo>
                  <a:lnTo>
                    <a:pt x="751" y="1307"/>
                  </a:lnTo>
                  <a:lnTo>
                    <a:pt x="854" y="1307"/>
                  </a:lnTo>
                  <a:lnTo>
                    <a:pt x="898" y="1307"/>
                  </a:lnTo>
                  <a:lnTo>
                    <a:pt x="899" y="1277"/>
                  </a:lnTo>
                  <a:lnTo>
                    <a:pt x="989" y="1276"/>
                  </a:lnTo>
                  <a:lnTo>
                    <a:pt x="999" y="1282"/>
                  </a:lnTo>
                  <a:lnTo>
                    <a:pt x="1004" y="1285"/>
                  </a:lnTo>
                  <a:lnTo>
                    <a:pt x="1011" y="1297"/>
                  </a:lnTo>
                  <a:lnTo>
                    <a:pt x="1023" y="1303"/>
                  </a:lnTo>
                  <a:lnTo>
                    <a:pt x="1032" y="1316"/>
                  </a:lnTo>
                  <a:lnTo>
                    <a:pt x="1052" y="1333"/>
                  </a:lnTo>
                  <a:lnTo>
                    <a:pt x="1081" y="1352"/>
                  </a:lnTo>
                  <a:lnTo>
                    <a:pt x="1095" y="1403"/>
                  </a:lnTo>
                  <a:lnTo>
                    <a:pt x="1109" y="1421"/>
                  </a:lnTo>
                  <a:lnTo>
                    <a:pt x="1128" y="1437"/>
                  </a:lnTo>
                  <a:lnTo>
                    <a:pt x="1152" y="1453"/>
                  </a:lnTo>
                  <a:lnTo>
                    <a:pt x="1176" y="1458"/>
                  </a:lnTo>
                  <a:lnTo>
                    <a:pt x="1199" y="1411"/>
                  </a:lnTo>
                  <a:lnTo>
                    <a:pt x="1202" y="1408"/>
                  </a:lnTo>
                  <a:lnTo>
                    <a:pt x="1213" y="1403"/>
                  </a:lnTo>
                  <a:lnTo>
                    <a:pt x="1224" y="1406"/>
                  </a:lnTo>
                  <a:lnTo>
                    <a:pt x="1269" y="1404"/>
                  </a:lnTo>
                  <a:lnTo>
                    <a:pt x="1277" y="1414"/>
                  </a:lnTo>
                  <a:lnTo>
                    <a:pt x="1294" y="1430"/>
                  </a:lnTo>
                  <a:lnTo>
                    <a:pt x="1300" y="1440"/>
                  </a:lnTo>
                  <a:lnTo>
                    <a:pt x="1311" y="1448"/>
                  </a:lnTo>
                  <a:lnTo>
                    <a:pt x="1331" y="1494"/>
                  </a:lnTo>
                  <a:lnTo>
                    <a:pt x="1347" y="1511"/>
                  </a:lnTo>
                  <a:lnTo>
                    <a:pt x="1355" y="1531"/>
                  </a:lnTo>
                  <a:lnTo>
                    <a:pt x="1372" y="1542"/>
                  </a:lnTo>
                  <a:lnTo>
                    <a:pt x="1387" y="1589"/>
                  </a:lnTo>
                  <a:lnTo>
                    <a:pt x="1404" y="1615"/>
                  </a:lnTo>
                  <a:lnTo>
                    <a:pt x="1421" y="1626"/>
                  </a:lnTo>
                  <a:lnTo>
                    <a:pt x="1435" y="1628"/>
                  </a:lnTo>
                  <a:lnTo>
                    <a:pt x="1450" y="1636"/>
                  </a:lnTo>
                  <a:lnTo>
                    <a:pt x="1477" y="1639"/>
                  </a:lnTo>
                  <a:lnTo>
                    <a:pt x="1495" y="1647"/>
                  </a:lnTo>
                  <a:lnTo>
                    <a:pt x="1512" y="1648"/>
                  </a:lnTo>
                  <a:lnTo>
                    <a:pt x="1514" y="1647"/>
                  </a:lnTo>
                  <a:lnTo>
                    <a:pt x="1509" y="1644"/>
                  </a:lnTo>
                  <a:lnTo>
                    <a:pt x="1505" y="1632"/>
                  </a:lnTo>
                  <a:lnTo>
                    <a:pt x="1503" y="1625"/>
                  </a:lnTo>
                  <a:lnTo>
                    <a:pt x="1501" y="1624"/>
                  </a:lnTo>
                  <a:lnTo>
                    <a:pt x="1495" y="1598"/>
                  </a:lnTo>
                  <a:lnTo>
                    <a:pt x="1494" y="1588"/>
                  </a:lnTo>
                  <a:lnTo>
                    <a:pt x="1499" y="1585"/>
                  </a:lnTo>
                  <a:lnTo>
                    <a:pt x="1499" y="1572"/>
                  </a:lnTo>
                  <a:lnTo>
                    <a:pt x="1498" y="1571"/>
                  </a:lnTo>
                  <a:lnTo>
                    <a:pt x="1491" y="1570"/>
                  </a:lnTo>
                  <a:lnTo>
                    <a:pt x="1489" y="1567"/>
                  </a:lnTo>
                  <a:lnTo>
                    <a:pt x="1490" y="1564"/>
                  </a:lnTo>
                  <a:lnTo>
                    <a:pt x="1498" y="1564"/>
                  </a:lnTo>
                  <a:lnTo>
                    <a:pt x="1500" y="1566"/>
                  </a:lnTo>
                  <a:lnTo>
                    <a:pt x="1505" y="1564"/>
                  </a:lnTo>
                  <a:lnTo>
                    <a:pt x="1506" y="1556"/>
                  </a:lnTo>
                  <a:lnTo>
                    <a:pt x="1506" y="1543"/>
                  </a:lnTo>
                  <a:lnTo>
                    <a:pt x="1501" y="1533"/>
                  </a:lnTo>
                  <a:lnTo>
                    <a:pt x="1516" y="1531"/>
                  </a:lnTo>
                  <a:lnTo>
                    <a:pt x="1521" y="1521"/>
                  </a:lnTo>
                  <a:lnTo>
                    <a:pt x="1520" y="1518"/>
                  </a:lnTo>
                  <a:lnTo>
                    <a:pt x="1515" y="1519"/>
                  </a:lnTo>
                  <a:lnTo>
                    <a:pt x="1515" y="1515"/>
                  </a:lnTo>
                  <a:lnTo>
                    <a:pt x="1525" y="1508"/>
                  </a:lnTo>
                  <a:lnTo>
                    <a:pt x="1528" y="1510"/>
                  </a:lnTo>
                  <a:lnTo>
                    <a:pt x="1533" y="1502"/>
                  </a:lnTo>
                  <a:lnTo>
                    <a:pt x="1534" y="1500"/>
                  </a:lnTo>
                  <a:lnTo>
                    <a:pt x="1537" y="1496"/>
                  </a:lnTo>
                  <a:lnTo>
                    <a:pt x="1547" y="1496"/>
                  </a:lnTo>
                  <a:lnTo>
                    <a:pt x="1550" y="1494"/>
                  </a:lnTo>
                  <a:lnTo>
                    <a:pt x="1552" y="1489"/>
                  </a:lnTo>
                  <a:lnTo>
                    <a:pt x="1546" y="1485"/>
                  </a:lnTo>
                  <a:lnTo>
                    <a:pt x="1546" y="1480"/>
                  </a:lnTo>
                  <a:lnTo>
                    <a:pt x="1547" y="1476"/>
                  </a:lnTo>
                  <a:lnTo>
                    <a:pt x="1552" y="1479"/>
                  </a:lnTo>
                  <a:lnTo>
                    <a:pt x="1555" y="1481"/>
                  </a:lnTo>
                  <a:lnTo>
                    <a:pt x="1557" y="1481"/>
                  </a:lnTo>
                  <a:lnTo>
                    <a:pt x="1557" y="1476"/>
                  </a:lnTo>
                  <a:lnTo>
                    <a:pt x="1558" y="1475"/>
                  </a:lnTo>
                  <a:lnTo>
                    <a:pt x="1559" y="1476"/>
                  </a:lnTo>
                  <a:lnTo>
                    <a:pt x="1563" y="1480"/>
                  </a:lnTo>
                  <a:lnTo>
                    <a:pt x="1564" y="1480"/>
                  </a:lnTo>
                  <a:lnTo>
                    <a:pt x="1566" y="1479"/>
                  </a:lnTo>
                  <a:lnTo>
                    <a:pt x="1569" y="1475"/>
                  </a:lnTo>
                  <a:lnTo>
                    <a:pt x="1570" y="1474"/>
                  </a:lnTo>
                  <a:lnTo>
                    <a:pt x="1571" y="1483"/>
                  </a:lnTo>
                  <a:lnTo>
                    <a:pt x="1587" y="1476"/>
                  </a:lnTo>
                  <a:lnTo>
                    <a:pt x="1590" y="1478"/>
                  </a:lnTo>
                  <a:lnTo>
                    <a:pt x="1590" y="1479"/>
                  </a:lnTo>
                  <a:lnTo>
                    <a:pt x="1585" y="1481"/>
                  </a:lnTo>
                  <a:lnTo>
                    <a:pt x="1575" y="1485"/>
                  </a:lnTo>
                  <a:lnTo>
                    <a:pt x="1566" y="1489"/>
                  </a:lnTo>
                  <a:lnTo>
                    <a:pt x="1565" y="1492"/>
                  </a:lnTo>
                  <a:lnTo>
                    <a:pt x="1568" y="1492"/>
                  </a:lnTo>
                  <a:lnTo>
                    <a:pt x="1584" y="1486"/>
                  </a:lnTo>
                  <a:lnTo>
                    <a:pt x="1598" y="1479"/>
                  </a:lnTo>
                  <a:lnTo>
                    <a:pt x="1606" y="1473"/>
                  </a:lnTo>
                  <a:lnTo>
                    <a:pt x="1619" y="1463"/>
                  </a:lnTo>
                  <a:lnTo>
                    <a:pt x="1622" y="1459"/>
                  </a:lnTo>
                  <a:lnTo>
                    <a:pt x="1628" y="1443"/>
                  </a:lnTo>
                  <a:lnTo>
                    <a:pt x="1629" y="1410"/>
                  </a:lnTo>
                  <a:lnTo>
                    <a:pt x="1632" y="1408"/>
                  </a:lnTo>
                  <a:lnTo>
                    <a:pt x="1635" y="1406"/>
                  </a:lnTo>
                  <a:lnTo>
                    <a:pt x="1638" y="1406"/>
                  </a:lnTo>
                  <a:lnTo>
                    <a:pt x="1638" y="1419"/>
                  </a:lnTo>
                  <a:lnTo>
                    <a:pt x="1645" y="1419"/>
                  </a:lnTo>
                  <a:lnTo>
                    <a:pt x="1643" y="1422"/>
                  </a:lnTo>
                  <a:lnTo>
                    <a:pt x="1636" y="1425"/>
                  </a:lnTo>
                  <a:lnTo>
                    <a:pt x="1639" y="1426"/>
                  </a:lnTo>
                  <a:lnTo>
                    <a:pt x="1659" y="1419"/>
                  </a:lnTo>
                  <a:lnTo>
                    <a:pt x="1671" y="1411"/>
                  </a:lnTo>
                  <a:lnTo>
                    <a:pt x="1688" y="1411"/>
                  </a:lnTo>
                  <a:lnTo>
                    <a:pt x="1719" y="1406"/>
                  </a:lnTo>
                  <a:lnTo>
                    <a:pt x="1740" y="1413"/>
                  </a:lnTo>
                  <a:lnTo>
                    <a:pt x="1751" y="1418"/>
                  </a:lnTo>
                  <a:lnTo>
                    <a:pt x="1763" y="1420"/>
                  </a:lnTo>
                  <a:lnTo>
                    <a:pt x="1775" y="1420"/>
                  </a:lnTo>
                  <a:lnTo>
                    <a:pt x="1781" y="1414"/>
                  </a:lnTo>
                  <a:lnTo>
                    <a:pt x="1781" y="1409"/>
                  </a:lnTo>
                  <a:lnTo>
                    <a:pt x="1784" y="1405"/>
                  </a:lnTo>
                  <a:lnTo>
                    <a:pt x="1794" y="1405"/>
                  </a:lnTo>
                  <a:lnTo>
                    <a:pt x="1810" y="1414"/>
                  </a:lnTo>
                  <a:lnTo>
                    <a:pt x="1816" y="1421"/>
                  </a:lnTo>
                  <a:lnTo>
                    <a:pt x="1822" y="1422"/>
                  </a:lnTo>
                  <a:lnTo>
                    <a:pt x="1833" y="1440"/>
                  </a:lnTo>
                  <a:lnTo>
                    <a:pt x="1845" y="1440"/>
                  </a:lnTo>
                  <a:lnTo>
                    <a:pt x="1848" y="1442"/>
                  </a:lnTo>
                  <a:lnTo>
                    <a:pt x="1856" y="1445"/>
                  </a:lnTo>
                  <a:lnTo>
                    <a:pt x="1864" y="1441"/>
                  </a:lnTo>
                  <a:lnTo>
                    <a:pt x="1870" y="1445"/>
                  </a:lnTo>
                  <a:lnTo>
                    <a:pt x="1875" y="1442"/>
                  </a:lnTo>
                  <a:lnTo>
                    <a:pt x="1880" y="1442"/>
                  </a:lnTo>
                  <a:lnTo>
                    <a:pt x="1890" y="1445"/>
                  </a:lnTo>
                  <a:lnTo>
                    <a:pt x="1897" y="1436"/>
                  </a:lnTo>
                  <a:lnTo>
                    <a:pt x="1898" y="1433"/>
                  </a:lnTo>
                  <a:lnTo>
                    <a:pt x="1897" y="1429"/>
                  </a:lnTo>
                  <a:lnTo>
                    <a:pt x="1899" y="1427"/>
                  </a:lnTo>
                  <a:lnTo>
                    <a:pt x="1904" y="1427"/>
                  </a:lnTo>
                  <a:lnTo>
                    <a:pt x="1912" y="1435"/>
                  </a:lnTo>
                  <a:lnTo>
                    <a:pt x="1923" y="1440"/>
                  </a:lnTo>
                  <a:lnTo>
                    <a:pt x="1934" y="1453"/>
                  </a:lnTo>
                  <a:lnTo>
                    <a:pt x="1937" y="1452"/>
                  </a:lnTo>
                  <a:lnTo>
                    <a:pt x="1945" y="1449"/>
                  </a:lnTo>
                  <a:lnTo>
                    <a:pt x="1946" y="1445"/>
                  </a:lnTo>
                  <a:lnTo>
                    <a:pt x="1941" y="1438"/>
                  </a:lnTo>
                  <a:lnTo>
                    <a:pt x="1925" y="1430"/>
                  </a:lnTo>
                  <a:lnTo>
                    <a:pt x="1918" y="1420"/>
                  </a:lnTo>
                  <a:lnTo>
                    <a:pt x="1918" y="1418"/>
                  </a:lnTo>
                  <a:lnTo>
                    <a:pt x="1923" y="1410"/>
                  </a:lnTo>
                  <a:lnTo>
                    <a:pt x="1934" y="1402"/>
                  </a:lnTo>
                  <a:lnTo>
                    <a:pt x="1936" y="1387"/>
                  </a:lnTo>
                  <a:lnTo>
                    <a:pt x="1934" y="1386"/>
                  </a:lnTo>
                  <a:lnTo>
                    <a:pt x="1933" y="1384"/>
                  </a:lnTo>
                  <a:lnTo>
                    <a:pt x="1920" y="1389"/>
                  </a:lnTo>
                  <a:lnTo>
                    <a:pt x="1914" y="1395"/>
                  </a:lnTo>
                  <a:lnTo>
                    <a:pt x="1910" y="1394"/>
                  </a:lnTo>
                  <a:lnTo>
                    <a:pt x="1908" y="1383"/>
                  </a:lnTo>
                  <a:lnTo>
                    <a:pt x="1905" y="1382"/>
                  </a:lnTo>
                  <a:lnTo>
                    <a:pt x="1902" y="1383"/>
                  </a:lnTo>
                  <a:lnTo>
                    <a:pt x="1893" y="1388"/>
                  </a:lnTo>
                  <a:lnTo>
                    <a:pt x="1883" y="1389"/>
                  </a:lnTo>
                  <a:lnTo>
                    <a:pt x="1876" y="1382"/>
                  </a:lnTo>
                  <a:lnTo>
                    <a:pt x="1878" y="1371"/>
                  </a:lnTo>
                  <a:lnTo>
                    <a:pt x="1891" y="1367"/>
                  </a:lnTo>
                  <a:lnTo>
                    <a:pt x="1905" y="1375"/>
                  </a:lnTo>
                  <a:lnTo>
                    <a:pt x="1921" y="1377"/>
                  </a:lnTo>
                  <a:lnTo>
                    <a:pt x="1934" y="1371"/>
                  </a:lnTo>
                  <a:lnTo>
                    <a:pt x="1942" y="1373"/>
                  </a:lnTo>
                  <a:lnTo>
                    <a:pt x="1953" y="1366"/>
                  </a:lnTo>
                  <a:lnTo>
                    <a:pt x="1987" y="1368"/>
                  </a:lnTo>
                  <a:lnTo>
                    <a:pt x="1995" y="1370"/>
                  </a:lnTo>
                  <a:lnTo>
                    <a:pt x="1999" y="1367"/>
                  </a:lnTo>
                  <a:lnTo>
                    <a:pt x="2007" y="1334"/>
                  </a:lnTo>
                  <a:lnTo>
                    <a:pt x="2010" y="1341"/>
                  </a:lnTo>
                  <a:lnTo>
                    <a:pt x="2010" y="1350"/>
                  </a:lnTo>
                  <a:lnTo>
                    <a:pt x="2012" y="1363"/>
                  </a:lnTo>
                  <a:lnTo>
                    <a:pt x="2012" y="1367"/>
                  </a:lnTo>
                  <a:lnTo>
                    <a:pt x="2010" y="1373"/>
                  </a:lnTo>
                  <a:lnTo>
                    <a:pt x="2011" y="1377"/>
                  </a:lnTo>
                  <a:lnTo>
                    <a:pt x="2020" y="1376"/>
                  </a:lnTo>
                  <a:lnTo>
                    <a:pt x="2041" y="1370"/>
                  </a:lnTo>
                  <a:lnTo>
                    <a:pt x="2049" y="1361"/>
                  </a:lnTo>
                  <a:lnTo>
                    <a:pt x="2054" y="1361"/>
                  </a:lnTo>
                  <a:lnTo>
                    <a:pt x="2059" y="1356"/>
                  </a:lnTo>
                  <a:lnTo>
                    <a:pt x="2061" y="1356"/>
                  </a:lnTo>
                  <a:lnTo>
                    <a:pt x="2061" y="1359"/>
                  </a:lnTo>
                  <a:lnTo>
                    <a:pt x="2058" y="1366"/>
                  </a:lnTo>
                  <a:lnTo>
                    <a:pt x="2065" y="1366"/>
                  </a:lnTo>
                  <a:lnTo>
                    <a:pt x="2087" y="1361"/>
                  </a:lnTo>
                  <a:lnTo>
                    <a:pt x="2098" y="1361"/>
                  </a:lnTo>
                  <a:lnTo>
                    <a:pt x="2103" y="1362"/>
                  </a:lnTo>
                  <a:lnTo>
                    <a:pt x="2102" y="1366"/>
                  </a:lnTo>
                  <a:lnTo>
                    <a:pt x="2100" y="1367"/>
                  </a:lnTo>
                  <a:lnTo>
                    <a:pt x="2100" y="1370"/>
                  </a:lnTo>
                  <a:lnTo>
                    <a:pt x="2107" y="1373"/>
                  </a:lnTo>
                  <a:lnTo>
                    <a:pt x="2117" y="1377"/>
                  </a:lnTo>
                  <a:lnTo>
                    <a:pt x="2143" y="1392"/>
                  </a:lnTo>
                  <a:lnTo>
                    <a:pt x="2147" y="1397"/>
                  </a:lnTo>
                  <a:lnTo>
                    <a:pt x="2152" y="1406"/>
                  </a:lnTo>
                  <a:lnTo>
                    <a:pt x="2157" y="1410"/>
                  </a:lnTo>
                  <a:lnTo>
                    <a:pt x="2171" y="1406"/>
                  </a:lnTo>
                  <a:lnTo>
                    <a:pt x="2186" y="1404"/>
                  </a:lnTo>
                  <a:lnTo>
                    <a:pt x="2199" y="1397"/>
                  </a:lnTo>
                  <a:lnTo>
                    <a:pt x="2205" y="1397"/>
                  </a:lnTo>
                  <a:lnTo>
                    <a:pt x="2206" y="1397"/>
                  </a:lnTo>
                  <a:lnTo>
                    <a:pt x="2208" y="1390"/>
                  </a:lnTo>
                  <a:lnTo>
                    <a:pt x="2213" y="1387"/>
                  </a:lnTo>
                  <a:lnTo>
                    <a:pt x="2221" y="1387"/>
                  </a:lnTo>
                  <a:lnTo>
                    <a:pt x="2226" y="1387"/>
                  </a:lnTo>
                  <a:lnTo>
                    <a:pt x="2236" y="1390"/>
                  </a:lnTo>
                  <a:lnTo>
                    <a:pt x="2243" y="1398"/>
                  </a:lnTo>
                  <a:lnTo>
                    <a:pt x="2253" y="1409"/>
                  </a:lnTo>
                  <a:lnTo>
                    <a:pt x="2258" y="1411"/>
                  </a:lnTo>
                  <a:lnTo>
                    <a:pt x="2259" y="1421"/>
                  </a:lnTo>
                  <a:lnTo>
                    <a:pt x="2264" y="1424"/>
                  </a:lnTo>
                  <a:lnTo>
                    <a:pt x="2274" y="1437"/>
                  </a:lnTo>
                  <a:lnTo>
                    <a:pt x="2280" y="1441"/>
                  </a:lnTo>
                  <a:lnTo>
                    <a:pt x="2292" y="1446"/>
                  </a:lnTo>
                  <a:lnTo>
                    <a:pt x="2295" y="1449"/>
                  </a:lnTo>
                  <a:lnTo>
                    <a:pt x="2296" y="1457"/>
                  </a:lnTo>
                  <a:lnTo>
                    <a:pt x="2297" y="1476"/>
                  </a:lnTo>
                  <a:lnTo>
                    <a:pt x="2292" y="1511"/>
                  </a:lnTo>
                  <a:lnTo>
                    <a:pt x="2292" y="1517"/>
                  </a:lnTo>
                  <a:lnTo>
                    <a:pt x="2295" y="1527"/>
                  </a:lnTo>
                  <a:lnTo>
                    <a:pt x="2295" y="1528"/>
                  </a:lnTo>
                  <a:lnTo>
                    <a:pt x="2300" y="1528"/>
                  </a:lnTo>
                  <a:lnTo>
                    <a:pt x="2301" y="1518"/>
                  </a:lnTo>
                  <a:lnTo>
                    <a:pt x="2305" y="1521"/>
                  </a:lnTo>
                  <a:lnTo>
                    <a:pt x="2308" y="1524"/>
                  </a:lnTo>
                  <a:lnTo>
                    <a:pt x="2305" y="1537"/>
                  </a:lnTo>
                  <a:lnTo>
                    <a:pt x="2303" y="1545"/>
                  </a:lnTo>
                  <a:lnTo>
                    <a:pt x="2305" y="1556"/>
                  </a:lnTo>
                  <a:lnTo>
                    <a:pt x="2310" y="1566"/>
                  </a:lnTo>
                  <a:lnTo>
                    <a:pt x="2323" y="1587"/>
                  </a:lnTo>
                  <a:lnTo>
                    <a:pt x="2326" y="1587"/>
                  </a:lnTo>
                  <a:lnTo>
                    <a:pt x="2333" y="1585"/>
                  </a:lnTo>
                  <a:lnTo>
                    <a:pt x="2335" y="1602"/>
                  </a:lnTo>
                  <a:lnTo>
                    <a:pt x="2340" y="1601"/>
                  </a:lnTo>
                  <a:lnTo>
                    <a:pt x="2338" y="1605"/>
                  </a:lnTo>
                  <a:lnTo>
                    <a:pt x="2337" y="1609"/>
                  </a:lnTo>
                  <a:lnTo>
                    <a:pt x="2345" y="1623"/>
                  </a:lnTo>
                  <a:lnTo>
                    <a:pt x="2349" y="1635"/>
                  </a:lnTo>
                  <a:lnTo>
                    <a:pt x="2353" y="1641"/>
                  </a:lnTo>
                  <a:lnTo>
                    <a:pt x="2358" y="1647"/>
                  </a:lnTo>
                  <a:lnTo>
                    <a:pt x="2366" y="1647"/>
                  </a:lnTo>
                  <a:lnTo>
                    <a:pt x="2371" y="1653"/>
                  </a:lnTo>
                  <a:lnTo>
                    <a:pt x="2381" y="1674"/>
                  </a:lnTo>
                  <a:lnTo>
                    <a:pt x="2381" y="1688"/>
                  </a:lnTo>
                  <a:lnTo>
                    <a:pt x="2382" y="1690"/>
                  </a:lnTo>
                  <a:lnTo>
                    <a:pt x="2386" y="1693"/>
                  </a:lnTo>
                  <a:lnTo>
                    <a:pt x="2399" y="1693"/>
                  </a:lnTo>
                  <a:lnTo>
                    <a:pt x="2409" y="1690"/>
                  </a:lnTo>
                  <a:lnTo>
                    <a:pt x="2421" y="1684"/>
                  </a:lnTo>
                  <a:lnTo>
                    <a:pt x="2429" y="1688"/>
                  </a:lnTo>
                  <a:lnTo>
                    <a:pt x="2432" y="1680"/>
                  </a:lnTo>
                  <a:lnTo>
                    <a:pt x="2429" y="1677"/>
                  </a:lnTo>
                  <a:lnTo>
                    <a:pt x="2434" y="1657"/>
                  </a:lnTo>
                  <a:lnTo>
                    <a:pt x="2440" y="1636"/>
                  </a:lnTo>
                  <a:lnTo>
                    <a:pt x="2442" y="1617"/>
                  </a:lnTo>
                  <a:lnTo>
                    <a:pt x="2440" y="1597"/>
                  </a:lnTo>
                  <a:lnTo>
                    <a:pt x="2441" y="1583"/>
                  </a:lnTo>
                  <a:lnTo>
                    <a:pt x="2424" y="1539"/>
                  </a:lnTo>
                  <a:lnTo>
                    <a:pt x="2414" y="1522"/>
                  </a:lnTo>
                  <a:lnTo>
                    <a:pt x="2412" y="1508"/>
                  </a:lnTo>
                  <a:lnTo>
                    <a:pt x="2414" y="1492"/>
                  </a:lnTo>
                  <a:lnTo>
                    <a:pt x="2412" y="1483"/>
                  </a:lnTo>
                  <a:lnTo>
                    <a:pt x="2404" y="1469"/>
                  </a:lnTo>
                  <a:lnTo>
                    <a:pt x="2387" y="1441"/>
                  </a:lnTo>
                  <a:lnTo>
                    <a:pt x="2374" y="1400"/>
                  </a:lnTo>
                  <a:lnTo>
                    <a:pt x="2362" y="1354"/>
                  </a:lnTo>
                  <a:lnTo>
                    <a:pt x="2365" y="1348"/>
                  </a:lnTo>
                  <a:lnTo>
                    <a:pt x="2365" y="1332"/>
                  </a:lnTo>
                  <a:lnTo>
                    <a:pt x="2371" y="1322"/>
                  </a:lnTo>
                  <a:lnTo>
                    <a:pt x="2374" y="1311"/>
                  </a:lnTo>
                  <a:lnTo>
                    <a:pt x="2377" y="1302"/>
                  </a:lnTo>
                  <a:lnTo>
                    <a:pt x="2389" y="1274"/>
                  </a:lnTo>
                  <a:lnTo>
                    <a:pt x="2396" y="1264"/>
                  </a:lnTo>
                  <a:lnTo>
                    <a:pt x="2398" y="1264"/>
                  </a:lnTo>
                  <a:lnTo>
                    <a:pt x="2398" y="1259"/>
                  </a:lnTo>
                  <a:lnTo>
                    <a:pt x="2399" y="1257"/>
                  </a:lnTo>
                  <a:lnTo>
                    <a:pt x="2408" y="1252"/>
                  </a:lnTo>
                  <a:lnTo>
                    <a:pt x="2413" y="1252"/>
                  </a:lnTo>
                  <a:lnTo>
                    <a:pt x="2417" y="1247"/>
                  </a:lnTo>
                  <a:lnTo>
                    <a:pt x="2414" y="1242"/>
                  </a:lnTo>
                  <a:lnTo>
                    <a:pt x="2409" y="1234"/>
                  </a:lnTo>
                  <a:lnTo>
                    <a:pt x="2409" y="1232"/>
                  </a:lnTo>
                  <a:lnTo>
                    <a:pt x="2409" y="1230"/>
                  </a:lnTo>
                  <a:lnTo>
                    <a:pt x="2425" y="1228"/>
                  </a:lnTo>
                  <a:lnTo>
                    <a:pt x="2441" y="1230"/>
                  </a:lnTo>
                  <a:lnTo>
                    <a:pt x="2446" y="1228"/>
                  </a:lnTo>
                  <a:lnTo>
                    <a:pt x="2468" y="1210"/>
                  </a:lnTo>
                  <a:lnTo>
                    <a:pt x="2471" y="1210"/>
                  </a:lnTo>
                  <a:lnTo>
                    <a:pt x="2475" y="1206"/>
                  </a:lnTo>
                  <a:lnTo>
                    <a:pt x="2478" y="1199"/>
                  </a:lnTo>
                  <a:lnTo>
                    <a:pt x="2487" y="1196"/>
                  </a:lnTo>
                  <a:lnTo>
                    <a:pt x="2493" y="1192"/>
                  </a:lnTo>
                  <a:lnTo>
                    <a:pt x="2495" y="1185"/>
                  </a:lnTo>
                  <a:lnTo>
                    <a:pt x="2493" y="1179"/>
                  </a:lnTo>
                  <a:lnTo>
                    <a:pt x="2499" y="1174"/>
                  </a:lnTo>
                  <a:lnTo>
                    <a:pt x="2505" y="1163"/>
                  </a:lnTo>
                  <a:lnTo>
                    <a:pt x="2512" y="1156"/>
                  </a:lnTo>
                  <a:lnTo>
                    <a:pt x="2526" y="1150"/>
                  </a:lnTo>
                  <a:lnTo>
                    <a:pt x="2527" y="1145"/>
                  </a:lnTo>
                  <a:lnTo>
                    <a:pt x="2533" y="1144"/>
                  </a:lnTo>
                  <a:lnTo>
                    <a:pt x="2550" y="1141"/>
                  </a:lnTo>
                  <a:lnTo>
                    <a:pt x="2569" y="1133"/>
                  </a:lnTo>
                  <a:lnTo>
                    <a:pt x="2571" y="1126"/>
                  </a:lnTo>
                  <a:lnTo>
                    <a:pt x="2574" y="1123"/>
                  </a:lnTo>
                  <a:lnTo>
                    <a:pt x="2579" y="1118"/>
                  </a:lnTo>
                  <a:lnTo>
                    <a:pt x="2585" y="1109"/>
                  </a:lnTo>
                  <a:lnTo>
                    <a:pt x="2592" y="1103"/>
                  </a:lnTo>
                  <a:lnTo>
                    <a:pt x="2611" y="1094"/>
                  </a:lnTo>
                  <a:lnTo>
                    <a:pt x="2631" y="1093"/>
                  </a:lnTo>
                  <a:lnTo>
                    <a:pt x="2646" y="1083"/>
                  </a:lnTo>
                  <a:lnTo>
                    <a:pt x="2649" y="1079"/>
                  </a:lnTo>
                  <a:lnTo>
                    <a:pt x="2649" y="1071"/>
                  </a:lnTo>
                  <a:lnTo>
                    <a:pt x="2640" y="1069"/>
                  </a:lnTo>
                  <a:lnTo>
                    <a:pt x="2635" y="1071"/>
                  </a:lnTo>
                  <a:lnTo>
                    <a:pt x="2634" y="1074"/>
                  </a:lnTo>
                  <a:lnTo>
                    <a:pt x="2634" y="1071"/>
                  </a:lnTo>
                  <a:lnTo>
                    <a:pt x="2634" y="1065"/>
                  </a:lnTo>
                  <a:lnTo>
                    <a:pt x="2639" y="1061"/>
                  </a:lnTo>
                  <a:lnTo>
                    <a:pt x="2640" y="1056"/>
                  </a:lnTo>
                  <a:lnTo>
                    <a:pt x="2645" y="1053"/>
                  </a:lnTo>
                  <a:lnTo>
                    <a:pt x="2641" y="1048"/>
                  </a:lnTo>
                  <a:lnTo>
                    <a:pt x="2625" y="1042"/>
                  </a:lnTo>
                  <a:lnTo>
                    <a:pt x="2639" y="1042"/>
                  </a:lnTo>
                  <a:lnTo>
                    <a:pt x="2645" y="1037"/>
                  </a:lnTo>
                  <a:lnTo>
                    <a:pt x="2647" y="1043"/>
                  </a:lnTo>
                  <a:lnTo>
                    <a:pt x="2651" y="1043"/>
                  </a:lnTo>
                  <a:lnTo>
                    <a:pt x="2655" y="1048"/>
                  </a:lnTo>
                  <a:lnTo>
                    <a:pt x="2665" y="1048"/>
                  </a:lnTo>
                  <a:lnTo>
                    <a:pt x="2671" y="1044"/>
                  </a:lnTo>
                  <a:lnTo>
                    <a:pt x="2679" y="1032"/>
                  </a:lnTo>
                  <a:lnTo>
                    <a:pt x="2686" y="1028"/>
                  </a:lnTo>
                  <a:lnTo>
                    <a:pt x="2686" y="1020"/>
                  </a:lnTo>
                  <a:lnTo>
                    <a:pt x="2684" y="1013"/>
                  </a:lnTo>
                  <a:lnTo>
                    <a:pt x="2679" y="1007"/>
                  </a:lnTo>
                  <a:lnTo>
                    <a:pt x="2674" y="1012"/>
                  </a:lnTo>
                  <a:lnTo>
                    <a:pt x="2670" y="1023"/>
                  </a:lnTo>
                  <a:lnTo>
                    <a:pt x="2667" y="1018"/>
                  </a:lnTo>
                  <a:lnTo>
                    <a:pt x="2666" y="1006"/>
                  </a:lnTo>
                  <a:lnTo>
                    <a:pt x="2641" y="1010"/>
                  </a:lnTo>
                  <a:lnTo>
                    <a:pt x="2635" y="1008"/>
                  </a:lnTo>
                  <a:lnTo>
                    <a:pt x="2634" y="1001"/>
                  </a:lnTo>
                  <a:lnTo>
                    <a:pt x="2634" y="986"/>
                  </a:lnTo>
                  <a:lnTo>
                    <a:pt x="2635" y="984"/>
                  </a:lnTo>
                  <a:lnTo>
                    <a:pt x="2639" y="997"/>
                  </a:lnTo>
                  <a:lnTo>
                    <a:pt x="2643" y="1000"/>
                  </a:lnTo>
                  <a:lnTo>
                    <a:pt x="2647" y="1000"/>
                  </a:lnTo>
                  <a:lnTo>
                    <a:pt x="2662" y="991"/>
                  </a:lnTo>
                  <a:lnTo>
                    <a:pt x="2666" y="993"/>
                  </a:lnTo>
                  <a:lnTo>
                    <a:pt x="2666" y="989"/>
                  </a:lnTo>
                  <a:lnTo>
                    <a:pt x="2672" y="991"/>
                  </a:lnTo>
                  <a:lnTo>
                    <a:pt x="2678" y="991"/>
                  </a:lnTo>
                  <a:lnTo>
                    <a:pt x="2682" y="999"/>
                  </a:lnTo>
                  <a:lnTo>
                    <a:pt x="2682" y="997"/>
                  </a:lnTo>
                  <a:lnTo>
                    <a:pt x="2679" y="990"/>
                  </a:lnTo>
                  <a:lnTo>
                    <a:pt x="2677" y="984"/>
                  </a:lnTo>
                  <a:lnTo>
                    <a:pt x="2674" y="975"/>
                  </a:lnTo>
                  <a:lnTo>
                    <a:pt x="2673" y="973"/>
                  </a:lnTo>
                  <a:lnTo>
                    <a:pt x="2676" y="957"/>
                  </a:lnTo>
                  <a:lnTo>
                    <a:pt x="2674" y="943"/>
                  </a:lnTo>
                  <a:lnTo>
                    <a:pt x="2657" y="938"/>
                  </a:lnTo>
                  <a:lnTo>
                    <a:pt x="2655" y="940"/>
                  </a:lnTo>
                  <a:lnTo>
                    <a:pt x="2654" y="942"/>
                  </a:lnTo>
                  <a:lnTo>
                    <a:pt x="2647" y="940"/>
                  </a:lnTo>
                  <a:lnTo>
                    <a:pt x="2643" y="936"/>
                  </a:lnTo>
                  <a:lnTo>
                    <a:pt x="2643" y="931"/>
                  </a:lnTo>
                  <a:lnTo>
                    <a:pt x="2652" y="931"/>
                  </a:lnTo>
                  <a:lnTo>
                    <a:pt x="2657" y="929"/>
                  </a:lnTo>
                  <a:lnTo>
                    <a:pt x="2656" y="925"/>
                  </a:lnTo>
                  <a:lnTo>
                    <a:pt x="2651" y="923"/>
                  </a:lnTo>
                  <a:lnTo>
                    <a:pt x="2649" y="916"/>
                  </a:lnTo>
                  <a:lnTo>
                    <a:pt x="2649" y="913"/>
                  </a:lnTo>
                  <a:lnTo>
                    <a:pt x="2654" y="910"/>
                  </a:lnTo>
                  <a:lnTo>
                    <a:pt x="2657" y="910"/>
                  </a:lnTo>
                  <a:lnTo>
                    <a:pt x="2654" y="903"/>
                  </a:lnTo>
                  <a:lnTo>
                    <a:pt x="2649" y="899"/>
                  </a:lnTo>
                  <a:lnTo>
                    <a:pt x="2647" y="892"/>
                  </a:lnTo>
                  <a:lnTo>
                    <a:pt x="2647" y="891"/>
                  </a:lnTo>
                  <a:lnTo>
                    <a:pt x="2651" y="889"/>
                  </a:lnTo>
                  <a:lnTo>
                    <a:pt x="2654" y="877"/>
                  </a:lnTo>
                  <a:lnTo>
                    <a:pt x="2654" y="871"/>
                  </a:lnTo>
                  <a:lnTo>
                    <a:pt x="2647" y="864"/>
                  </a:lnTo>
                  <a:lnTo>
                    <a:pt x="2635" y="857"/>
                  </a:lnTo>
                  <a:lnTo>
                    <a:pt x="2625" y="855"/>
                  </a:lnTo>
                  <a:lnTo>
                    <a:pt x="2616" y="846"/>
                  </a:lnTo>
                  <a:lnTo>
                    <a:pt x="2598" y="838"/>
                  </a:lnTo>
                  <a:lnTo>
                    <a:pt x="2597" y="835"/>
                  </a:lnTo>
                  <a:lnTo>
                    <a:pt x="2597" y="832"/>
                  </a:lnTo>
                  <a:lnTo>
                    <a:pt x="2600" y="825"/>
                  </a:lnTo>
                  <a:lnTo>
                    <a:pt x="2604" y="824"/>
                  </a:lnTo>
                  <a:lnTo>
                    <a:pt x="2604" y="827"/>
                  </a:lnTo>
                  <a:lnTo>
                    <a:pt x="2601" y="833"/>
                  </a:lnTo>
                  <a:lnTo>
                    <a:pt x="2603" y="835"/>
                  </a:lnTo>
                  <a:lnTo>
                    <a:pt x="2611" y="837"/>
                  </a:lnTo>
                  <a:lnTo>
                    <a:pt x="2622" y="843"/>
                  </a:lnTo>
                  <a:lnTo>
                    <a:pt x="2628" y="843"/>
                  </a:lnTo>
                  <a:lnTo>
                    <a:pt x="2631" y="846"/>
                  </a:lnTo>
                  <a:lnTo>
                    <a:pt x="2639" y="849"/>
                  </a:lnTo>
                  <a:lnTo>
                    <a:pt x="2644" y="854"/>
                  </a:lnTo>
                  <a:lnTo>
                    <a:pt x="2651" y="857"/>
                  </a:lnTo>
                  <a:lnTo>
                    <a:pt x="2646" y="841"/>
                  </a:lnTo>
                  <a:lnTo>
                    <a:pt x="2640" y="835"/>
                  </a:lnTo>
                  <a:lnTo>
                    <a:pt x="2645" y="834"/>
                  </a:lnTo>
                  <a:lnTo>
                    <a:pt x="2645" y="833"/>
                  </a:lnTo>
                  <a:lnTo>
                    <a:pt x="2643" y="828"/>
                  </a:lnTo>
                  <a:lnTo>
                    <a:pt x="2641" y="816"/>
                  </a:lnTo>
                  <a:lnTo>
                    <a:pt x="2644" y="790"/>
                  </a:lnTo>
                  <a:lnTo>
                    <a:pt x="2641" y="781"/>
                  </a:lnTo>
                  <a:lnTo>
                    <a:pt x="2649" y="778"/>
                  </a:lnTo>
                  <a:lnTo>
                    <a:pt x="2662" y="767"/>
                  </a:lnTo>
                  <a:lnTo>
                    <a:pt x="2666" y="760"/>
                  </a:lnTo>
                  <a:lnTo>
                    <a:pt x="2668" y="755"/>
                  </a:lnTo>
                  <a:lnTo>
                    <a:pt x="2671" y="755"/>
                  </a:lnTo>
                  <a:lnTo>
                    <a:pt x="2673" y="758"/>
                  </a:lnTo>
                  <a:lnTo>
                    <a:pt x="2674" y="760"/>
                  </a:lnTo>
                  <a:lnTo>
                    <a:pt x="2672" y="767"/>
                  </a:lnTo>
                  <a:lnTo>
                    <a:pt x="2670" y="770"/>
                  </a:lnTo>
                  <a:lnTo>
                    <a:pt x="2665" y="773"/>
                  </a:lnTo>
                  <a:lnTo>
                    <a:pt x="2661" y="778"/>
                  </a:lnTo>
                  <a:lnTo>
                    <a:pt x="2661" y="782"/>
                  </a:lnTo>
                  <a:lnTo>
                    <a:pt x="2663" y="789"/>
                  </a:lnTo>
                  <a:lnTo>
                    <a:pt x="2662" y="792"/>
                  </a:lnTo>
                  <a:lnTo>
                    <a:pt x="2655" y="801"/>
                  </a:lnTo>
                  <a:lnTo>
                    <a:pt x="2656" y="803"/>
                  </a:lnTo>
                  <a:lnTo>
                    <a:pt x="2662" y="803"/>
                  </a:lnTo>
                  <a:lnTo>
                    <a:pt x="2663" y="806"/>
                  </a:lnTo>
                  <a:lnTo>
                    <a:pt x="2663" y="812"/>
                  </a:lnTo>
                  <a:lnTo>
                    <a:pt x="2663" y="821"/>
                  </a:lnTo>
                  <a:lnTo>
                    <a:pt x="2660" y="823"/>
                  </a:lnTo>
                  <a:lnTo>
                    <a:pt x="2657" y="827"/>
                  </a:lnTo>
                  <a:lnTo>
                    <a:pt x="2656" y="832"/>
                  </a:lnTo>
                  <a:lnTo>
                    <a:pt x="2657" y="838"/>
                  </a:lnTo>
                  <a:lnTo>
                    <a:pt x="2663" y="845"/>
                  </a:lnTo>
                  <a:lnTo>
                    <a:pt x="2672" y="846"/>
                  </a:lnTo>
                  <a:lnTo>
                    <a:pt x="2676" y="848"/>
                  </a:lnTo>
                  <a:lnTo>
                    <a:pt x="2681" y="859"/>
                  </a:lnTo>
                  <a:lnTo>
                    <a:pt x="2682" y="865"/>
                  </a:lnTo>
                  <a:lnTo>
                    <a:pt x="2683" y="867"/>
                  </a:lnTo>
                  <a:lnTo>
                    <a:pt x="2688" y="870"/>
                  </a:lnTo>
                  <a:lnTo>
                    <a:pt x="2687" y="876"/>
                  </a:lnTo>
                  <a:lnTo>
                    <a:pt x="2682" y="877"/>
                  </a:lnTo>
                  <a:lnTo>
                    <a:pt x="2679" y="881"/>
                  </a:lnTo>
                  <a:lnTo>
                    <a:pt x="2671" y="903"/>
                  </a:lnTo>
                  <a:lnTo>
                    <a:pt x="2671" y="911"/>
                  </a:lnTo>
                  <a:lnTo>
                    <a:pt x="2672" y="923"/>
                  </a:lnTo>
                  <a:lnTo>
                    <a:pt x="2674" y="925"/>
                  </a:lnTo>
                  <a:lnTo>
                    <a:pt x="2679" y="924"/>
                  </a:lnTo>
                  <a:lnTo>
                    <a:pt x="2683" y="921"/>
                  </a:lnTo>
                  <a:lnTo>
                    <a:pt x="2686" y="916"/>
                  </a:lnTo>
                  <a:lnTo>
                    <a:pt x="2693" y="892"/>
                  </a:lnTo>
                  <a:lnTo>
                    <a:pt x="2709" y="862"/>
                  </a:lnTo>
                  <a:lnTo>
                    <a:pt x="2709" y="854"/>
                  </a:lnTo>
                  <a:lnTo>
                    <a:pt x="2717" y="843"/>
                  </a:lnTo>
                  <a:lnTo>
                    <a:pt x="2720" y="834"/>
                  </a:lnTo>
                  <a:lnTo>
                    <a:pt x="2722" y="828"/>
                  </a:lnTo>
                  <a:lnTo>
                    <a:pt x="2717" y="811"/>
                  </a:lnTo>
                  <a:lnTo>
                    <a:pt x="2708" y="796"/>
                  </a:lnTo>
                  <a:lnTo>
                    <a:pt x="2694" y="771"/>
                  </a:lnTo>
                  <a:lnTo>
                    <a:pt x="2692" y="763"/>
                  </a:lnTo>
                  <a:lnTo>
                    <a:pt x="2694" y="757"/>
                  </a:lnTo>
                  <a:lnTo>
                    <a:pt x="2700" y="764"/>
                  </a:lnTo>
                  <a:lnTo>
                    <a:pt x="2708" y="773"/>
                  </a:lnTo>
                  <a:lnTo>
                    <a:pt x="2715" y="775"/>
                  </a:lnTo>
                  <a:lnTo>
                    <a:pt x="2721" y="780"/>
                  </a:lnTo>
                  <a:lnTo>
                    <a:pt x="2732" y="781"/>
                  </a:lnTo>
                  <a:lnTo>
                    <a:pt x="2731" y="795"/>
                  </a:lnTo>
                  <a:lnTo>
                    <a:pt x="2732" y="797"/>
                  </a:lnTo>
                  <a:lnTo>
                    <a:pt x="2740" y="790"/>
                  </a:lnTo>
                  <a:lnTo>
                    <a:pt x="2751" y="773"/>
                  </a:lnTo>
                  <a:lnTo>
                    <a:pt x="2758" y="765"/>
                  </a:lnTo>
                  <a:lnTo>
                    <a:pt x="2762" y="759"/>
                  </a:lnTo>
                  <a:lnTo>
                    <a:pt x="2762" y="754"/>
                  </a:lnTo>
                  <a:lnTo>
                    <a:pt x="2767" y="752"/>
                  </a:lnTo>
                  <a:lnTo>
                    <a:pt x="2769" y="749"/>
                  </a:lnTo>
                  <a:lnTo>
                    <a:pt x="2773" y="730"/>
                  </a:lnTo>
                  <a:lnTo>
                    <a:pt x="2774" y="727"/>
                  </a:lnTo>
                  <a:lnTo>
                    <a:pt x="2776" y="728"/>
                  </a:lnTo>
                  <a:lnTo>
                    <a:pt x="2779" y="727"/>
                  </a:lnTo>
                  <a:lnTo>
                    <a:pt x="2783" y="712"/>
                  </a:lnTo>
                  <a:lnTo>
                    <a:pt x="2784" y="708"/>
                  </a:lnTo>
                  <a:lnTo>
                    <a:pt x="2781" y="703"/>
                  </a:lnTo>
                  <a:lnTo>
                    <a:pt x="2776" y="697"/>
                  </a:lnTo>
                  <a:lnTo>
                    <a:pt x="2769" y="693"/>
                  </a:lnTo>
                  <a:lnTo>
                    <a:pt x="2769" y="690"/>
                  </a:lnTo>
                  <a:lnTo>
                    <a:pt x="2769" y="687"/>
                  </a:lnTo>
                  <a:lnTo>
                    <a:pt x="2773" y="678"/>
                  </a:lnTo>
                  <a:lnTo>
                    <a:pt x="2775" y="674"/>
                  </a:lnTo>
                  <a:lnTo>
                    <a:pt x="2785" y="662"/>
                  </a:lnTo>
                  <a:lnTo>
                    <a:pt x="2790" y="662"/>
                  </a:lnTo>
                  <a:lnTo>
                    <a:pt x="2796" y="652"/>
                  </a:lnTo>
                  <a:lnTo>
                    <a:pt x="2807" y="650"/>
                  </a:lnTo>
                  <a:lnTo>
                    <a:pt x="2819" y="644"/>
                  </a:lnTo>
                  <a:lnTo>
                    <a:pt x="2830" y="641"/>
                  </a:lnTo>
                  <a:lnTo>
                    <a:pt x="2835" y="635"/>
                  </a:lnTo>
                  <a:lnTo>
                    <a:pt x="2843" y="631"/>
                  </a:lnTo>
                  <a:lnTo>
                    <a:pt x="2856" y="634"/>
                  </a:lnTo>
                  <a:lnTo>
                    <a:pt x="2869" y="631"/>
                  </a:lnTo>
                  <a:lnTo>
                    <a:pt x="2894" y="630"/>
                  </a:lnTo>
                  <a:lnTo>
                    <a:pt x="2913" y="625"/>
                  </a:lnTo>
                  <a:lnTo>
                    <a:pt x="2918" y="623"/>
                  </a:lnTo>
                  <a:lnTo>
                    <a:pt x="2923" y="619"/>
                  </a:lnTo>
                  <a:lnTo>
                    <a:pt x="2929" y="604"/>
                  </a:lnTo>
                  <a:lnTo>
                    <a:pt x="2931" y="602"/>
                  </a:lnTo>
                  <a:lnTo>
                    <a:pt x="2936" y="604"/>
                  </a:lnTo>
                  <a:lnTo>
                    <a:pt x="2937" y="614"/>
                  </a:lnTo>
                  <a:lnTo>
                    <a:pt x="2941" y="614"/>
                  </a:lnTo>
                  <a:lnTo>
                    <a:pt x="2948" y="613"/>
                  </a:lnTo>
                  <a:lnTo>
                    <a:pt x="2963" y="604"/>
                  </a:lnTo>
                  <a:lnTo>
                    <a:pt x="2967" y="604"/>
                  </a:lnTo>
                  <a:lnTo>
                    <a:pt x="2969" y="612"/>
                  </a:lnTo>
                  <a:lnTo>
                    <a:pt x="2974" y="613"/>
                  </a:lnTo>
                  <a:lnTo>
                    <a:pt x="2987" y="608"/>
                  </a:lnTo>
                  <a:lnTo>
                    <a:pt x="2993" y="609"/>
                  </a:lnTo>
                  <a:lnTo>
                    <a:pt x="3004" y="602"/>
                  </a:lnTo>
                  <a:lnTo>
                    <a:pt x="3006" y="599"/>
                  </a:lnTo>
                  <a:lnTo>
                    <a:pt x="3004" y="586"/>
                  </a:lnTo>
                  <a:lnTo>
                    <a:pt x="3002" y="583"/>
                  </a:lnTo>
                  <a:lnTo>
                    <a:pt x="3000" y="583"/>
                  </a:lnTo>
                  <a:lnTo>
                    <a:pt x="3000" y="596"/>
                  </a:lnTo>
                  <a:lnTo>
                    <a:pt x="2999" y="599"/>
                  </a:lnTo>
                  <a:lnTo>
                    <a:pt x="2991" y="602"/>
                  </a:lnTo>
                  <a:lnTo>
                    <a:pt x="2982" y="599"/>
                  </a:lnTo>
                  <a:lnTo>
                    <a:pt x="2972" y="593"/>
                  </a:lnTo>
                  <a:lnTo>
                    <a:pt x="2967" y="582"/>
                  </a:lnTo>
                  <a:lnTo>
                    <a:pt x="2963" y="580"/>
                  </a:lnTo>
                  <a:lnTo>
                    <a:pt x="2962" y="569"/>
                  </a:lnTo>
                  <a:lnTo>
                    <a:pt x="2957" y="564"/>
                  </a:lnTo>
                  <a:lnTo>
                    <a:pt x="2948" y="559"/>
                  </a:lnTo>
                  <a:lnTo>
                    <a:pt x="2947" y="558"/>
                  </a:lnTo>
                  <a:lnTo>
                    <a:pt x="2947" y="552"/>
                  </a:lnTo>
                  <a:lnTo>
                    <a:pt x="2950" y="548"/>
                  </a:lnTo>
                  <a:lnTo>
                    <a:pt x="2953" y="547"/>
                  </a:lnTo>
                  <a:lnTo>
                    <a:pt x="2957" y="538"/>
                  </a:lnTo>
                  <a:lnTo>
                    <a:pt x="2962" y="536"/>
                  </a:lnTo>
                  <a:lnTo>
                    <a:pt x="2957" y="528"/>
                  </a:lnTo>
                  <a:lnTo>
                    <a:pt x="2951" y="515"/>
                  </a:lnTo>
                  <a:lnTo>
                    <a:pt x="2956" y="500"/>
                  </a:lnTo>
                  <a:lnTo>
                    <a:pt x="2971" y="488"/>
                  </a:lnTo>
                  <a:lnTo>
                    <a:pt x="2982" y="470"/>
                  </a:lnTo>
                  <a:lnTo>
                    <a:pt x="2987" y="466"/>
                  </a:lnTo>
                  <a:lnTo>
                    <a:pt x="2989" y="455"/>
                  </a:lnTo>
                  <a:lnTo>
                    <a:pt x="2996" y="446"/>
                  </a:lnTo>
                  <a:lnTo>
                    <a:pt x="3005" y="442"/>
                  </a:lnTo>
                  <a:lnTo>
                    <a:pt x="3009" y="443"/>
                  </a:lnTo>
                  <a:lnTo>
                    <a:pt x="3011" y="451"/>
                  </a:lnTo>
                  <a:lnTo>
                    <a:pt x="3014" y="451"/>
                  </a:lnTo>
                  <a:lnTo>
                    <a:pt x="3017" y="447"/>
                  </a:lnTo>
                  <a:lnTo>
                    <a:pt x="3020" y="437"/>
                  </a:lnTo>
                  <a:lnTo>
                    <a:pt x="3022" y="437"/>
                  </a:lnTo>
                  <a:lnTo>
                    <a:pt x="3025" y="441"/>
                  </a:lnTo>
                  <a:lnTo>
                    <a:pt x="3027" y="441"/>
                  </a:lnTo>
                  <a:lnTo>
                    <a:pt x="3032" y="440"/>
                  </a:lnTo>
                  <a:lnTo>
                    <a:pt x="3036" y="432"/>
                  </a:lnTo>
                  <a:lnTo>
                    <a:pt x="3039" y="429"/>
                  </a:lnTo>
                  <a:lnTo>
                    <a:pt x="3045" y="431"/>
                  </a:lnTo>
                  <a:lnTo>
                    <a:pt x="3048" y="430"/>
                  </a:lnTo>
                  <a:lnTo>
                    <a:pt x="3053" y="421"/>
                  </a:lnTo>
                  <a:lnTo>
                    <a:pt x="3054" y="414"/>
                  </a:lnTo>
                  <a:lnTo>
                    <a:pt x="3058" y="408"/>
                  </a:lnTo>
                  <a:lnTo>
                    <a:pt x="3059" y="398"/>
                  </a:lnTo>
                  <a:lnTo>
                    <a:pt x="3065" y="393"/>
                  </a:lnTo>
                  <a:lnTo>
                    <a:pt x="3068" y="392"/>
                  </a:lnTo>
                  <a:lnTo>
                    <a:pt x="3070" y="393"/>
                  </a:lnTo>
                  <a:lnTo>
                    <a:pt x="3071" y="400"/>
                  </a:lnTo>
                  <a:lnTo>
                    <a:pt x="3072" y="405"/>
                  </a:lnTo>
                  <a:lnTo>
                    <a:pt x="3077" y="407"/>
                  </a:lnTo>
                  <a:lnTo>
                    <a:pt x="3082" y="404"/>
                  </a:lnTo>
                  <a:lnTo>
                    <a:pt x="3092" y="412"/>
                  </a:lnTo>
                  <a:lnTo>
                    <a:pt x="3097" y="410"/>
                  </a:lnTo>
                  <a:lnTo>
                    <a:pt x="3100" y="405"/>
                  </a:lnTo>
                  <a:lnTo>
                    <a:pt x="3107" y="399"/>
                  </a:lnTo>
                  <a:lnTo>
                    <a:pt x="3112" y="399"/>
                  </a:lnTo>
                  <a:lnTo>
                    <a:pt x="3118" y="396"/>
                  </a:lnTo>
                  <a:lnTo>
                    <a:pt x="3120" y="389"/>
                  </a:lnTo>
                  <a:lnTo>
                    <a:pt x="3133" y="388"/>
                  </a:lnTo>
                  <a:lnTo>
                    <a:pt x="3136" y="387"/>
                  </a:lnTo>
                  <a:lnTo>
                    <a:pt x="3141" y="383"/>
                  </a:lnTo>
                  <a:lnTo>
                    <a:pt x="3147" y="383"/>
                  </a:lnTo>
                  <a:lnTo>
                    <a:pt x="3151" y="380"/>
                  </a:lnTo>
                  <a:lnTo>
                    <a:pt x="3158" y="380"/>
                  </a:lnTo>
                  <a:lnTo>
                    <a:pt x="3165" y="375"/>
                  </a:lnTo>
                  <a:lnTo>
                    <a:pt x="3166" y="370"/>
                  </a:lnTo>
                  <a:lnTo>
                    <a:pt x="3165" y="36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54" name="Freeform 279">
              <a:extLst>
                <a:ext uri="{FF2B5EF4-FFF2-40B4-BE49-F238E27FC236}">
                  <a16:creationId xmlns:a16="http://schemas.microsoft.com/office/drawing/2014/main" id="{A94008D7-B437-7451-ABA9-7F78C6CE7C3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4137566" y="2361037"/>
              <a:ext cx="1492" cy="3049"/>
            </a:xfrm>
            <a:custGeom>
              <a:avLst/>
              <a:gdLst>
                <a:gd name="T0" fmla="*/ 0 w 3"/>
                <a:gd name="T1" fmla="*/ 0 h 2"/>
                <a:gd name="T2" fmla="*/ 0 w 3"/>
                <a:gd name="T3" fmla="*/ 2147483647 h 2"/>
                <a:gd name="T4" fmla="*/ 0 w 3"/>
                <a:gd name="T5" fmla="*/ 2147483647 h 2"/>
                <a:gd name="T6" fmla="*/ 0 w 3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2"/>
                <a:gd name="T14" fmla="*/ 3 w 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2">
                  <a:moveTo>
                    <a:pt x="0" y="0"/>
                  </a:moveTo>
                  <a:lnTo>
                    <a:pt x="0" y="1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55" name="Freeform 280">
              <a:extLst>
                <a:ext uri="{FF2B5EF4-FFF2-40B4-BE49-F238E27FC236}">
                  <a16:creationId xmlns:a16="http://schemas.microsoft.com/office/drawing/2014/main" id="{D2C54985-CF94-142E-C0BA-FCFD471BB69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4036087" y="2461635"/>
              <a:ext cx="194004" cy="237778"/>
            </a:xfrm>
            <a:custGeom>
              <a:avLst/>
              <a:gdLst>
                <a:gd name="T0" fmla="*/ 0 w 362"/>
                <a:gd name="T1" fmla="*/ 0 h 420"/>
                <a:gd name="T2" fmla="*/ 0 w 362"/>
                <a:gd name="T3" fmla="*/ 0 h 420"/>
                <a:gd name="T4" fmla="*/ 0 w 362"/>
                <a:gd name="T5" fmla="*/ 0 h 420"/>
                <a:gd name="T6" fmla="*/ 0 w 362"/>
                <a:gd name="T7" fmla="*/ 0 h 420"/>
                <a:gd name="T8" fmla="*/ 0 w 362"/>
                <a:gd name="T9" fmla="*/ 0 h 420"/>
                <a:gd name="T10" fmla="*/ 0 w 362"/>
                <a:gd name="T11" fmla="*/ 0 h 420"/>
                <a:gd name="T12" fmla="*/ 0 w 362"/>
                <a:gd name="T13" fmla="*/ 0 h 420"/>
                <a:gd name="T14" fmla="*/ 0 w 362"/>
                <a:gd name="T15" fmla="*/ 0 h 420"/>
                <a:gd name="T16" fmla="*/ 0 w 362"/>
                <a:gd name="T17" fmla="*/ 0 h 420"/>
                <a:gd name="T18" fmla="*/ 0 w 362"/>
                <a:gd name="T19" fmla="*/ 0 h 420"/>
                <a:gd name="T20" fmla="*/ 0 w 362"/>
                <a:gd name="T21" fmla="*/ 0 h 420"/>
                <a:gd name="T22" fmla="*/ 0 w 362"/>
                <a:gd name="T23" fmla="*/ 0 h 420"/>
                <a:gd name="T24" fmla="*/ 0 w 362"/>
                <a:gd name="T25" fmla="*/ 0 h 420"/>
                <a:gd name="T26" fmla="*/ 0 w 362"/>
                <a:gd name="T27" fmla="*/ 0 h 420"/>
                <a:gd name="T28" fmla="*/ 0 w 362"/>
                <a:gd name="T29" fmla="*/ 2147483647 h 420"/>
                <a:gd name="T30" fmla="*/ 0 w 362"/>
                <a:gd name="T31" fmla="*/ 2147483647 h 420"/>
                <a:gd name="T32" fmla="*/ 0 w 362"/>
                <a:gd name="T33" fmla="*/ 2147483647 h 420"/>
                <a:gd name="T34" fmla="*/ 0 w 362"/>
                <a:gd name="T35" fmla="*/ 2147483647 h 420"/>
                <a:gd name="T36" fmla="*/ 0 w 362"/>
                <a:gd name="T37" fmla="*/ 2147483647 h 420"/>
                <a:gd name="T38" fmla="*/ 0 w 362"/>
                <a:gd name="T39" fmla="*/ 2147483647 h 420"/>
                <a:gd name="T40" fmla="*/ 0 w 362"/>
                <a:gd name="T41" fmla="*/ 2147483647 h 420"/>
                <a:gd name="T42" fmla="*/ 0 w 362"/>
                <a:gd name="T43" fmla="*/ 2147483647 h 420"/>
                <a:gd name="T44" fmla="*/ 0 w 362"/>
                <a:gd name="T45" fmla="*/ 2147483647 h 420"/>
                <a:gd name="T46" fmla="*/ 0 w 362"/>
                <a:gd name="T47" fmla="*/ 2147483647 h 420"/>
                <a:gd name="T48" fmla="*/ 0 w 362"/>
                <a:gd name="T49" fmla="*/ 2147483647 h 420"/>
                <a:gd name="T50" fmla="*/ 0 w 362"/>
                <a:gd name="T51" fmla="*/ 2147483647 h 420"/>
                <a:gd name="T52" fmla="*/ 0 w 362"/>
                <a:gd name="T53" fmla="*/ 2147483647 h 420"/>
                <a:gd name="T54" fmla="*/ 0 w 362"/>
                <a:gd name="T55" fmla="*/ 2147483647 h 420"/>
                <a:gd name="T56" fmla="*/ 0 w 362"/>
                <a:gd name="T57" fmla="*/ 2147483647 h 420"/>
                <a:gd name="T58" fmla="*/ 0 w 362"/>
                <a:gd name="T59" fmla="*/ 2147483647 h 420"/>
                <a:gd name="T60" fmla="*/ 2147483647 w 362"/>
                <a:gd name="T61" fmla="*/ 2147483647 h 420"/>
                <a:gd name="T62" fmla="*/ 2147483647 w 362"/>
                <a:gd name="T63" fmla="*/ 2147483647 h 420"/>
                <a:gd name="T64" fmla="*/ 2147483647 w 362"/>
                <a:gd name="T65" fmla="*/ 2147483647 h 420"/>
                <a:gd name="T66" fmla="*/ 2147483647 w 362"/>
                <a:gd name="T67" fmla="*/ 2147483647 h 420"/>
                <a:gd name="T68" fmla="*/ 2147483647 w 362"/>
                <a:gd name="T69" fmla="*/ 2147483647 h 420"/>
                <a:gd name="T70" fmla="*/ 2147483647 w 362"/>
                <a:gd name="T71" fmla="*/ 0 h 420"/>
                <a:gd name="T72" fmla="*/ 2147483647 w 362"/>
                <a:gd name="T73" fmla="*/ 0 h 420"/>
                <a:gd name="T74" fmla="*/ 2147483647 w 362"/>
                <a:gd name="T75" fmla="*/ 2147483647 h 420"/>
                <a:gd name="T76" fmla="*/ 2147483647 w 362"/>
                <a:gd name="T77" fmla="*/ 2147483647 h 420"/>
                <a:gd name="T78" fmla="*/ 2147483647 w 362"/>
                <a:gd name="T79" fmla="*/ 0 h 420"/>
                <a:gd name="T80" fmla="*/ 2147483647 w 362"/>
                <a:gd name="T81" fmla="*/ 0 h 420"/>
                <a:gd name="T82" fmla="*/ 2147483647 w 362"/>
                <a:gd name="T83" fmla="*/ 0 h 420"/>
                <a:gd name="T84" fmla="*/ 0 w 362"/>
                <a:gd name="T85" fmla="*/ 0 h 420"/>
                <a:gd name="T86" fmla="*/ 0 w 362"/>
                <a:gd name="T87" fmla="*/ 0 h 420"/>
                <a:gd name="T88" fmla="*/ 0 w 362"/>
                <a:gd name="T89" fmla="*/ 0 h 420"/>
                <a:gd name="T90" fmla="*/ 2147483647 w 362"/>
                <a:gd name="T91" fmla="*/ 0 h 420"/>
                <a:gd name="T92" fmla="*/ 0 w 362"/>
                <a:gd name="T93" fmla="*/ 0 h 420"/>
                <a:gd name="T94" fmla="*/ 0 w 362"/>
                <a:gd name="T95" fmla="*/ 0 h 420"/>
                <a:gd name="T96" fmla="*/ 0 w 362"/>
                <a:gd name="T97" fmla="*/ 0 h 420"/>
                <a:gd name="T98" fmla="*/ 0 w 362"/>
                <a:gd name="T99" fmla="*/ 0 h 420"/>
                <a:gd name="T100" fmla="*/ 0 w 362"/>
                <a:gd name="T101" fmla="*/ 0 h 420"/>
                <a:gd name="T102" fmla="*/ 0 w 362"/>
                <a:gd name="T103" fmla="*/ 0 h 420"/>
                <a:gd name="T104" fmla="*/ 0 w 362"/>
                <a:gd name="T105" fmla="*/ 0 h 420"/>
                <a:gd name="T106" fmla="*/ 0 w 362"/>
                <a:gd name="T107" fmla="*/ 0 h 420"/>
                <a:gd name="T108" fmla="*/ 0 w 362"/>
                <a:gd name="T109" fmla="*/ 0 h 420"/>
                <a:gd name="T110" fmla="*/ 0 w 362"/>
                <a:gd name="T111" fmla="*/ 0 h 420"/>
                <a:gd name="T112" fmla="*/ 0 w 362"/>
                <a:gd name="T113" fmla="*/ 0 h 420"/>
                <a:gd name="T114" fmla="*/ 0 w 362"/>
                <a:gd name="T115" fmla="*/ 0 h 420"/>
                <a:gd name="T116" fmla="*/ 0 w 362"/>
                <a:gd name="T117" fmla="*/ 0 h 420"/>
                <a:gd name="T118" fmla="*/ 0 w 362"/>
                <a:gd name="T119" fmla="*/ 0 h 42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62"/>
                <a:gd name="T181" fmla="*/ 0 h 420"/>
                <a:gd name="T182" fmla="*/ 362 w 362"/>
                <a:gd name="T183" fmla="*/ 420 h 42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62" h="420">
                  <a:moveTo>
                    <a:pt x="170" y="11"/>
                  </a:moveTo>
                  <a:lnTo>
                    <a:pt x="159" y="16"/>
                  </a:lnTo>
                  <a:lnTo>
                    <a:pt x="147" y="25"/>
                  </a:lnTo>
                  <a:lnTo>
                    <a:pt x="144" y="33"/>
                  </a:lnTo>
                  <a:lnTo>
                    <a:pt x="141" y="38"/>
                  </a:lnTo>
                  <a:lnTo>
                    <a:pt x="138" y="43"/>
                  </a:lnTo>
                  <a:lnTo>
                    <a:pt x="135" y="46"/>
                  </a:lnTo>
                  <a:lnTo>
                    <a:pt x="135" y="48"/>
                  </a:lnTo>
                  <a:lnTo>
                    <a:pt x="129" y="52"/>
                  </a:lnTo>
                  <a:lnTo>
                    <a:pt x="127" y="60"/>
                  </a:lnTo>
                  <a:lnTo>
                    <a:pt x="126" y="68"/>
                  </a:lnTo>
                  <a:lnTo>
                    <a:pt x="120" y="75"/>
                  </a:lnTo>
                  <a:lnTo>
                    <a:pt x="111" y="78"/>
                  </a:lnTo>
                  <a:lnTo>
                    <a:pt x="106" y="83"/>
                  </a:lnTo>
                  <a:lnTo>
                    <a:pt x="115" y="89"/>
                  </a:lnTo>
                  <a:lnTo>
                    <a:pt x="109" y="96"/>
                  </a:lnTo>
                  <a:lnTo>
                    <a:pt x="103" y="119"/>
                  </a:lnTo>
                  <a:lnTo>
                    <a:pt x="103" y="121"/>
                  </a:lnTo>
                  <a:lnTo>
                    <a:pt x="110" y="128"/>
                  </a:lnTo>
                  <a:lnTo>
                    <a:pt x="93" y="134"/>
                  </a:lnTo>
                  <a:lnTo>
                    <a:pt x="92" y="139"/>
                  </a:lnTo>
                  <a:lnTo>
                    <a:pt x="81" y="164"/>
                  </a:lnTo>
                  <a:lnTo>
                    <a:pt x="79" y="175"/>
                  </a:lnTo>
                  <a:lnTo>
                    <a:pt x="82" y="178"/>
                  </a:lnTo>
                  <a:lnTo>
                    <a:pt x="82" y="182"/>
                  </a:lnTo>
                  <a:lnTo>
                    <a:pt x="73" y="182"/>
                  </a:lnTo>
                  <a:lnTo>
                    <a:pt x="65" y="193"/>
                  </a:lnTo>
                  <a:lnTo>
                    <a:pt x="61" y="202"/>
                  </a:lnTo>
                  <a:lnTo>
                    <a:pt x="63" y="207"/>
                  </a:lnTo>
                  <a:lnTo>
                    <a:pt x="71" y="208"/>
                  </a:lnTo>
                  <a:lnTo>
                    <a:pt x="71" y="210"/>
                  </a:lnTo>
                  <a:lnTo>
                    <a:pt x="68" y="215"/>
                  </a:lnTo>
                  <a:lnTo>
                    <a:pt x="71" y="221"/>
                  </a:lnTo>
                  <a:lnTo>
                    <a:pt x="52" y="219"/>
                  </a:lnTo>
                  <a:lnTo>
                    <a:pt x="39" y="254"/>
                  </a:lnTo>
                  <a:lnTo>
                    <a:pt x="31" y="259"/>
                  </a:lnTo>
                  <a:lnTo>
                    <a:pt x="27" y="252"/>
                  </a:lnTo>
                  <a:lnTo>
                    <a:pt x="19" y="257"/>
                  </a:lnTo>
                  <a:lnTo>
                    <a:pt x="11" y="263"/>
                  </a:lnTo>
                  <a:lnTo>
                    <a:pt x="11" y="267"/>
                  </a:lnTo>
                  <a:lnTo>
                    <a:pt x="33" y="264"/>
                  </a:lnTo>
                  <a:lnTo>
                    <a:pt x="44" y="267"/>
                  </a:lnTo>
                  <a:lnTo>
                    <a:pt x="47" y="274"/>
                  </a:lnTo>
                  <a:lnTo>
                    <a:pt x="18" y="300"/>
                  </a:lnTo>
                  <a:lnTo>
                    <a:pt x="1" y="318"/>
                  </a:lnTo>
                  <a:lnTo>
                    <a:pt x="0" y="332"/>
                  </a:lnTo>
                  <a:lnTo>
                    <a:pt x="4" y="342"/>
                  </a:lnTo>
                  <a:lnTo>
                    <a:pt x="18" y="344"/>
                  </a:lnTo>
                  <a:lnTo>
                    <a:pt x="38" y="339"/>
                  </a:lnTo>
                  <a:lnTo>
                    <a:pt x="68" y="334"/>
                  </a:lnTo>
                  <a:lnTo>
                    <a:pt x="90" y="338"/>
                  </a:lnTo>
                  <a:lnTo>
                    <a:pt x="103" y="338"/>
                  </a:lnTo>
                  <a:lnTo>
                    <a:pt x="113" y="342"/>
                  </a:lnTo>
                  <a:lnTo>
                    <a:pt x="141" y="343"/>
                  </a:lnTo>
                  <a:lnTo>
                    <a:pt x="156" y="339"/>
                  </a:lnTo>
                  <a:lnTo>
                    <a:pt x="173" y="337"/>
                  </a:lnTo>
                  <a:lnTo>
                    <a:pt x="180" y="329"/>
                  </a:lnTo>
                  <a:lnTo>
                    <a:pt x="196" y="322"/>
                  </a:lnTo>
                  <a:lnTo>
                    <a:pt x="194" y="332"/>
                  </a:lnTo>
                  <a:lnTo>
                    <a:pt x="194" y="339"/>
                  </a:lnTo>
                  <a:lnTo>
                    <a:pt x="179" y="345"/>
                  </a:lnTo>
                  <a:lnTo>
                    <a:pt x="176" y="350"/>
                  </a:lnTo>
                  <a:lnTo>
                    <a:pt x="187" y="350"/>
                  </a:lnTo>
                  <a:lnTo>
                    <a:pt x="189" y="354"/>
                  </a:lnTo>
                  <a:lnTo>
                    <a:pt x="211" y="352"/>
                  </a:lnTo>
                  <a:lnTo>
                    <a:pt x="221" y="336"/>
                  </a:lnTo>
                  <a:lnTo>
                    <a:pt x="229" y="339"/>
                  </a:lnTo>
                  <a:lnTo>
                    <a:pt x="244" y="339"/>
                  </a:lnTo>
                  <a:lnTo>
                    <a:pt x="248" y="343"/>
                  </a:lnTo>
                  <a:lnTo>
                    <a:pt x="235" y="352"/>
                  </a:lnTo>
                  <a:lnTo>
                    <a:pt x="224" y="361"/>
                  </a:lnTo>
                  <a:lnTo>
                    <a:pt x="212" y="380"/>
                  </a:lnTo>
                  <a:lnTo>
                    <a:pt x="199" y="383"/>
                  </a:lnTo>
                  <a:lnTo>
                    <a:pt x="191" y="387"/>
                  </a:lnTo>
                  <a:lnTo>
                    <a:pt x="189" y="397"/>
                  </a:lnTo>
                  <a:lnTo>
                    <a:pt x="200" y="399"/>
                  </a:lnTo>
                  <a:lnTo>
                    <a:pt x="213" y="397"/>
                  </a:lnTo>
                  <a:lnTo>
                    <a:pt x="224" y="392"/>
                  </a:lnTo>
                  <a:lnTo>
                    <a:pt x="234" y="376"/>
                  </a:lnTo>
                  <a:lnTo>
                    <a:pt x="248" y="360"/>
                  </a:lnTo>
                  <a:lnTo>
                    <a:pt x="264" y="354"/>
                  </a:lnTo>
                  <a:lnTo>
                    <a:pt x="267" y="356"/>
                  </a:lnTo>
                  <a:lnTo>
                    <a:pt x="281" y="315"/>
                  </a:lnTo>
                  <a:lnTo>
                    <a:pt x="289" y="315"/>
                  </a:lnTo>
                  <a:lnTo>
                    <a:pt x="291" y="327"/>
                  </a:lnTo>
                  <a:lnTo>
                    <a:pt x="294" y="344"/>
                  </a:lnTo>
                  <a:lnTo>
                    <a:pt x="297" y="361"/>
                  </a:lnTo>
                  <a:lnTo>
                    <a:pt x="289" y="382"/>
                  </a:lnTo>
                  <a:lnTo>
                    <a:pt x="287" y="401"/>
                  </a:lnTo>
                  <a:lnTo>
                    <a:pt x="294" y="403"/>
                  </a:lnTo>
                  <a:lnTo>
                    <a:pt x="314" y="376"/>
                  </a:lnTo>
                  <a:lnTo>
                    <a:pt x="319" y="380"/>
                  </a:lnTo>
                  <a:lnTo>
                    <a:pt x="314" y="392"/>
                  </a:lnTo>
                  <a:lnTo>
                    <a:pt x="315" y="402"/>
                  </a:lnTo>
                  <a:lnTo>
                    <a:pt x="315" y="412"/>
                  </a:lnTo>
                  <a:lnTo>
                    <a:pt x="320" y="420"/>
                  </a:lnTo>
                  <a:lnTo>
                    <a:pt x="330" y="412"/>
                  </a:lnTo>
                  <a:lnTo>
                    <a:pt x="343" y="414"/>
                  </a:lnTo>
                  <a:lnTo>
                    <a:pt x="351" y="396"/>
                  </a:lnTo>
                  <a:lnTo>
                    <a:pt x="356" y="372"/>
                  </a:lnTo>
                  <a:lnTo>
                    <a:pt x="362" y="354"/>
                  </a:lnTo>
                  <a:lnTo>
                    <a:pt x="362" y="332"/>
                  </a:lnTo>
                  <a:lnTo>
                    <a:pt x="357" y="329"/>
                  </a:lnTo>
                  <a:lnTo>
                    <a:pt x="343" y="353"/>
                  </a:lnTo>
                  <a:lnTo>
                    <a:pt x="339" y="347"/>
                  </a:lnTo>
                  <a:lnTo>
                    <a:pt x="339" y="332"/>
                  </a:lnTo>
                  <a:lnTo>
                    <a:pt x="343" y="317"/>
                  </a:lnTo>
                  <a:lnTo>
                    <a:pt x="348" y="306"/>
                  </a:lnTo>
                  <a:lnTo>
                    <a:pt x="353" y="301"/>
                  </a:lnTo>
                  <a:lnTo>
                    <a:pt x="353" y="293"/>
                  </a:lnTo>
                  <a:lnTo>
                    <a:pt x="332" y="307"/>
                  </a:lnTo>
                  <a:lnTo>
                    <a:pt x="324" y="323"/>
                  </a:lnTo>
                  <a:lnTo>
                    <a:pt x="319" y="337"/>
                  </a:lnTo>
                  <a:lnTo>
                    <a:pt x="313" y="337"/>
                  </a:lnTo>
                  <a:lnTo>
                    <a:pt x="307" y="333"/>
                  </a:lnTo>
                  <a:lnTo>
                    <a:pt x="304" y="327"/>
                  </a:lnTo>
                  <a:lnTo>
                    <a:pt x="307" y="320"/>
                  </a:lnTo>
                  <a:lnTo>
                    <a:pt x="310" y="306"/>
                  </a:lnTo>
                  <a:lnTo>
                    <a:pt x="308" y="305"/>
                  </a:lnTo>
                  <a:lnTo>
                    <a:pt x="307" y="300"/>
                  </a:lnTo>
                  <a:lnTo>
                    <a:pt x="298" y="291"/>
                  </a:lnTo>
                  <a:lnTo>
                    <a:pt x="319" y="284"/>
                  </a:lnTo>
                  <a:lnTo>
                    <a:pt x="326" y="274"/>
                  </a:lnTo>
                  <a:lnTo>
                    <a:pt x="336" y="270"/>
                  </a:lnTo>
                  <a:lnTo>
                    <a:pt x="342" y="259"/>
                  </a:lnTo>
                  <a:lnTo>
                    <a:pt x="340" y="254"/>
                  </a:lnTo>
                  <a:lnTo>
                    <a:pt x="314" y="267"/>
                  </a:lnTo>
                  <a:lnTo>
                    <a:pt x="308" y="266"/>
                  </a:lnTo>
                  <a:lnTo>
                    <a:pt x="293" y="272"/>
                  </a:lnTo>
                  <a:lnTo>
                    <a:pt x="291" y="268"/>
                  </a:lnTo>
                  <a:lnTo>
                    <a:pt x="297" y="259"/>
                  </a:lnTo>
                  <a:lnTo>
                    <a:pt x="304" y="247"/>
                  </a:lnTo>
                  <a:lnTo>
                    <a:pt x="300" y="242"/>
                  </a:lnTo>
                  <a:lnTo>
                    <a:pt x="294" y="241"/>
                  </a:lnTo>
                  <a:lnTo>
                    <a:pt x="300" y="226"/>
                  </a:lnTo>
                  <a:lnTo>
                    <a:pt x="312" y="215"/>
                  </a:lnTo>
                  <a:lnTo>
                    <a:pt x="319" y="202"/>
                  </a:lnTo>
                  <a:lnTo>
                    <a:pt x="318" y="197"/>
                  </a:lnTo>
                  <a:lnTo>
                    <a:pt x="313" y="196"/>
                  </a:lnTo>
                  <a:lnTo>
                    <a:pt x="293" y="189"/>
                  </a:lnTo>
                  <a:lnTo>
                    <a:pt x="275" y="192"/>
                  </a:lnTo>
                  <a:lnTo>
                    <a:pt x="267" y="184"/>
                  </a:lnTo>
                  <a:lnTo>
                    <a:pt x="229" y="203"/>
                  </a:lnTo>
                  <a:lnTo>
                    <a:pt x="218" y="204"/>
                  </a:lnTo>
                  <a:lnTo>
                    <a:pt x="228" y="186"/>
                  </a:lnTo>
                  <a:lnTo>
                    <a:pt x="229" y="178"/>
                  </a:lnTo>
                  <a:lnTo>
                    <a:pt x="218" y="184"/>
                  </a:lnTo>
                  <a:lnTo>
                    <a:pt x="216" y="189"/>
                  </a:lnTo>
                  <a:lnTo>
                    <a:pt x="210" y="186"/>
                  </a:lnTo>
                  <a:lnTo>
                    <a:pt x="189" y="184"/>
                  </a:lnTo>
                  <a:lnTo>
                    <a:pt x="190" y="172"/>
                  </a:lnTo>
                  <a:lnTo>
                    <a:pt x="179" y="168"/>
                  </a:lnTo>
                  <a:lnTo>
                    <a:pt x="191" y="157"/>
                  </a:lnTo>
                  <a:lnTo>
                    <a:pt x="210" y="149"/>
                  </a:lnTo>
                  <a:lnTo>
                    <a:pt x="202" y="145"/>
                  </a:lnTo>
                  <a:lnTo>
                    <a:pt x="176" y="144"/>
                  </a:lnTo>
                  <a:lnTo>
                    <a:pt x="179" y="132"/>
                  </a:lnTo>
                  <a:lnTo>
                    <a:pt x="172" y="132"/>
                  </a:lnTo>
                  <a:lnTo>
                    <a:pt x="162" y="148"/>
                  </a:lnTo>
                  <a:lnTo>
                    <a:pt x="149" y="159"/>
                  </a:lnTo>
                  <a:lnTo>
                    <a:pt x="142" y="173"/>
                  </a:lnTo>
                  <a:lnTo>
                    <a:pt x="137" y="161"/>
                  </a:lnTo>
                  <a:lnTo>
                    <a:pt x="142" y="149"/>
                  </a:lnTo>
                  <a:lnTo>
                    <a:pt x="142" y="137"/>
                  </a:lnTo>
                  <a:lnTo>
                    <a:pt x="153" y="122"/>
                  </a:lnTo>
                  <a:lnTo>
                    <a:pt x="160" y="105"/>
                  </a:lnTo>
                  <a:lnTo>
                    <a:pt x="170" y="91"/>
                  </a:lnTo>
                  <a:lnTo>
                    <a:pt x="172" y="81"/>
                  </a:lnTo>
                  <a:lnTo>
                    <a:pt x="170" y="75"/>
                  </a:lnTo>
                  <a:lnTo>
                    <a:pt x="172" y="64"/>
                  </a:lnTo>
                  <a:lnTo>
                    <a:pt x="176" y="71"/>
                  </a:lnTo>
                  <a:lnTo>
                    <a:pt x="187" y="64"/>
                  </a:lnTo>
                  <a:lnTo>
                    <a:pt x="195" y="42"/>
                  </a:lnTo>
                  <a:lnTo>
                    <a:pt x="185" y="33"/>
                  </a:lnTo>
                  <a:lnTo>
                    <a:pt x="186" y="26"/>
                  </a:lnTo>
                  <a:lnTo>
                    <a:pt x="200" y="25"/>
                  </a:lnTo>
                  <a:lnTo>
                    <a:pt x="207" y="8"/>
                  </a:lnTo>
                  <a:lnTo>
                    <a:pt x="207" y="0"/>
                  </a:lnTo>
                  <a:lnTo>
                    <a:pt x="199" y="8"/>
                  </a:lnTo>
                  <a:lnTo>
                    <a:pt x="194" y="5"/>
                  </a:lnTo>
                  <a:lnTo>
                    <a:pt x="183" y="5"/>
                  </a:lnTo>
                  <a:lnTo>
                    <a:pt x="170" y="1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56" name="Freeform 281">
              <a:extLst>
                <a:ext uri="{FF2B5EF4-FFF2-40B4-BE49-F238E27FC236}">
                  <a16:creationId xmlns:a16="http://schemas.microsoft.com/office/drawing/2014/main" id="{93C1F92C-9D9F-4A18-779C-B64532B2C12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013963" y="2498217"/>
              <a:ext cx="146250" cy="121938"/>
            </a:xfrm>
            <a:custGeom>
              <a:avLst/>
              <a:gdLst>
                <a:gd name="T0" fmla="*/ 0 w 275"/>
                <a:gd name="T1" fmla="*/ 0 h 214"/>
                <a:gd name="T2" fmla="*/ 0 w 275"/>
                <a:gd name="T3" fmla="*/ 0 h 214"/>
                <a:gd name="T4" fmla="*/ 0 w 275"/>
                <a:gd name="T5" fmla="*/ 0 h 214"/>
                <a:gd name="T6" fmla="*/ 0 w 275"/>
                <a:gd name="T7" fmla="*/ 0 h 214"/>
                <a:gd name="T8" fmla="*/ 0 w 275"/>
                <a:gd name="T9" fmla="*/ 0 h 214"/>
                <a:gd name="T10" fmla="*/ 0 w 275"/>
                <a:gd name="T11" fmla="*/ 0 h 214"/>
                <a:gd name="T12" fmla="*/ 0 w 275"/>
                <a:gd name="T13" fmla="*/ 0 h 214"/>
                <a:gd name="T14" fmla="*/ 0 w 275"/>
                <a:gd name="T15" fmla="*/ 0 h 214"/>
                <a:gd name="T16" fmla="*/ 0 w 275"/>
                <a:gd name="T17" fmla="*/ 0 h 214"/>
                <a:gd name="T18" fmla="*/ 0 w 275"/>
                <a:gd name="T19" fmla="*/ 0 h 214"/>
                <a:gd name="T20" fmla="*/ 0 w 275"/>
                <a:gd name="T21" fmla="*/ 0 h 214"/>
                <a:gd name="T22" fmla="*/ 0 w 275"/>
                <a:gd name="T23" fmla="*/ 0 h 214"/>
                <a:gd name="T24" fmla="*/ 0 w 275"/>
                <a:gd name="T25" fmla="*/ 0 h 214"/>
                <a:gd name="T26" fmla="*/ 0 w 275"/>
                <a:gd name="T27" fmla="*/ 0 h 214"/>
                <a:gd name="T28" fmla="*/ 0 w 275"/>
                <a:gd name="T29" fmla="*/ 0 h 214"/>
                <a:gd name="T30" fmla="*/ 0 w 275"/>
                <a:gd name="T31" fmla="*/ 0 h 214"/>
                <a:gd name="T32" fmla="*/ 0 w 275"/>
                <a:gd name="T33" fmla="*/ 0 h 214"/>
                <a:gd name="T34" fmla="*/ 0 w 275"/>
                <a:gd name="T35" fmla="*/ 0 h 214"/>
                <a:gd name="T36" fmla="*/ 0 w 275"/>
                <a:gd name="T37" fmla="*/ 0 h 214"/>
                <a:gd name="T38" fmla="*/ 0 w 275"/>
                <a:gd name="T39" fmla="*/ 0 h 214"/>
                <a:gd name="T40" fmla="*/ 0 w 275"/>
                <a:gd name="T41" fmla="*/ 0 h 214"/>
                <a:gd name="T42" fmla="*/ 0 w 275"/>
                <a:gd name="T43" fmla="*/ 0 h 214"/>
                <a:gd name="T44" fmla="*/ 0 w 275"/>
                <a:gd name="T45" fmla="*/ 0 h 214"/>
                <a:gd name="T46" fmla="*/ 0 w 275"/>
                <a:gd name="T47" fmla="*/ 0 h 214"/>
                <a:gd name="T48" fmla="*/ 0 w 275"/>
                <a:gd name="T49" fmla="*/ 0 h 214"/>
                <a:gd name="T50" fmla="*/ 0 w 275"/>
                <a:gd name="T51" fmla="*/ 0 h 214"/>
                <a:gd name="T52" fmla="*/ 0 w 275"/>
                <a:gd name="T53" fmla="*/ 0 h 214"/>
                <a:gd name="T54" fmla="*/ 0 w 275"/>
                <a:gd name="T55" fmla="*/ 0 h 214"/>
                <a:gd name="T56" fmla="*/ 0 w 275"/>
                <a:gd name="T57" fmla="*/ 0 h 214"/>
                <a:gd name="T58" fmla="*/ 0 w 275"/>
                <a:gd name="T59" fmla="*/ 0 h 214"/>
                <a:gd name="T60" fmla="*/ 0 w 275"/>
                <a:gd name="T61" fmla="*/ 0 h 214"/>
                <a:gd name="T62" fmla="*/ 0 w 275"/>
                <a:gd name="T63" fmla="*/ 0 h 214"/>
                <a:gd name="T64" fmla="*/ 0 w 275"/>
                <a:gd name="T65" fmla="*/ 0 h 214"/>
                <a:gd name="T66" fmla="*/ 0 w 275"/>
                <a:gd name="T67" fmla="*/ 0 h 214"/>
                <a:gd name="T68" fmla="*/ 0 w 275"/>
                <a:gd name="T69" fmla="*/ 0 h 214"/>
                <a:gd name="T70" fmla="*/ 0 w 275"/>
                <a:gd name="T71" fmla="*/ 0 h 214"/>
                <a:gd name="T72" fmla="*/ 0 w 275"/>
                <a:gd name="T73" fmla="*/ 0 h 214"/>
                <a:gd name="T74" fmla="*/ 0 w 275"/>
                <a:gd name="T75" fmla="*/ 0 h 214"/>
                <a:gd name="T76" fmla="*/ 0 w 275"/>
                <a:gd name="T77" fmla="*/ 0 h 214"/>
                <a:gd name="T78" fmla="*/ 0 w 275"/>
                <a:gd name="T79" fmla="*/ 0 h 214"/>
                <a:gd name="T80" fmla="*/ 0 w 275"/>
                <a:gd name="T81" fmla="*/ 0 h 214"/>
                <a:gd name="T82" fmla="*/ 0 w 275"/>
                <a:gd name="T83" fmla="*/ 0 h 214"/>
                <a:gd name="T84" fmla="*/ 0 w 275"/>
                <a:gd name="T85" fmla="*/ 0 h 214"/>
                <a:gd name="T86" fmla="*/ 0 w 275"/>
                <a:gd name="T87" fmla="*/ 0 h 214"/>
                <a:gd name="T88" fmla="*/ 0 w 275"/>
                <a:gd name="T89" fmla="*/ 0 h 214"/>
                <a:gd name="T90" fmla="*/ 0 w 275"/>
                <a:gd name="T91" fmla="*/ 0 h 214"/>
                <a:gd name="T92" fmla="*/ 0 w 275"/>
                <a:gd name="T93" fmla="*/ 0 h 214"/>
                <a:gd name="T94" fmla="*/ 0 w 275"/>
                <a:gd name="T95" fmla="*/ 0 h 214"/>
                <a:gd name="T96" fmla="*/ 0 w 275"/>
                <a:gd name="T97" fmla="*/ 0 h 214"/>
                <a:gd name="T98" fmla="*/ 0 w 275"/>
                <a:gd name="T99" fmla="*/ 0 h 214"/>
                <a:gd name="T100" fmla="*/ 0 w 275"/>
                <a:gd name="T101" fmla="*/ 0 h 214"/>
                <a:gd name="T102" fmla="*/ 0 w 275"/>
                <a:gd name="T103" fmla="*/ 0 h 214"/>
                <a:gd name="T104" fmla="*/ 0 w 275"/>
                <a:gd name="T105" fmla="*/ 0 h 214"/>
                <a:gd name="T106" fmla="*/ 0 w 275"/>
                <a:gd name="T107" fmla="*/ 0 h 214"/>
                <a:gd name="T108" fmla="*/ 0 w 275"/>
                <a:gd name="T109" fmla="*/ 0 h 214"/>
                <a:gd name="T110" fmla="*/ 0 w 275"/>
                <a:gd name="T111" fmla="*/ 0 h 214"/>
                <a:gd name="T112" fmla="*/ 0 w 275"/>
                <a:gd name="T113" fmla="*/ 0 h 21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75"/>
                <a:gd name="T172" fmla="*/ 0 h 214"/>
                <a:gd name="T173" fmla="*/ 275 w 275"/>
                <a:gd name="T174" fmla="*/ 214 h 21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75" h="214">
                  <a:moveTo>
                    <a:pt x="45" y="41"/>
                  </a:moveTo>
                  <a:lnTo>
                    <a:pt x="48" y="41"/>
                  </a:lnTo>
                  <a:lnTo>
                    <a:pt x="48" y="42"/>
                  </a:lnTo>
                  <a:lnTo>
                    <a:pt x="48" y="41"/>
                  </a:lnTo>
                  <a:lnTo>
                    <a:pt x="45" y="31"/>
                  </a:lnTo>
                  <a:lnTo>
                    <a:pt x="45" y="22"/>
                  </a:lnTo>
                  <a:lnTo>
                    <a:pt x="24" y="20"/>
                  </a:lnTo>
                  <a:lnTo>
                    <a:pt x="19" y="15"/>
                  </a:lnTo>
                  <a:lnTo>
                    <a:pt x="16" y="21"/>
                  </a:lnTo>
                  <a:lnTo>
                    <a:pt x="13" y="27"/>
                  </a:lnTo>
                  <a:lnTo>
                    <a:pt x="6" y="24"/>
                  </a:lnTo>
                  <a:lnTo>
                    <a:pt x="0" y="19"/>
                  </a:lnTo>
                  <a:lnTo>
                    <a:pt x="0" y="11"/>
                  </a:lnTo>
                  <a:lnTo>
                    <a:pt x="2" y="6"/>
                  </a:lnTo>
                  <a:lnTo>
                    <a:pt x="8" y="2"/>
                  </a:lnTo>
                  <a:lnTo>
                    <a:pt x="18" y="0"/>
                  </a:lnTo>
                  <a:lnTo>
                    <a:pt x="28" y="4"/>
                  </a:lnTo>
                  <a:lnTo>
                    <a:pt x="38" y="9"/>
                  </a:lnTo>
                  <a:lnTo>
                    <a:pt x="46" y="10"/>
                  </a:lnTo>
                  <a:lnTo>
                    <a:pt x="56" y="18"/>
                  </a:lnTo>
                  <a:lnTo>
                    <a:pt x="89" y="31"/>
                  </a:lnTo>
                  <a:lnTo>
                    <a:pt x="119" y="38"/>
                  </a:lnTo>
                  <a:lnTo>
                    <a:pt x="134" y="43"/>
                  </a:lnTo>
                  <a:lnTo>
                    <a:pt x="148" y="46"/>
                  </a:lnTo>
                  <a:lnTo>
                    <a:pt x="153" y="51"/>
                  </a:lnTo>
                  <a:lnTo>
                    <a:pt x="157" y="57"/>
                  </a:lnTo>
                  <a:lnTo>
                    <a:pt x="158" y="65"/>
                  </a:lnTo>
                  <a:lnTo>
                    <a:pt x="188" y="99"/>
                  </a:lnTo>
                  <a:lnTo>
                    <a:pt x="189" y="101"/>
                  </a:lnTo>
                  <a:lnTo>
                    <a:pt x="188" y="106"/>
                  </a:lnTo>
                  <a:lnTo>
                    <a:pt x="190" y="112"/>
                  </a:lnTo>
                  <a:lnTo>
                    <a:pt x="194" y="116"/>
                  </a:lnTo>
                  <a:lnTo>
                    <a:pt x="206" y="126"/>
                  </a:lnTo>
                  <a:lnTo>
                    <a:pt x="215" y="129"/>
                  </a:lnTo>
                  <a:lnTo>
                    <a:pt x="225" y="131"/>
                  </a:lnTo>
                  <a:lnTo>
                    <a:pt x="228" y="134"/>
                  </a:lnTo>
                  <a:lnTo>
                    <a:pt x="236" y="137"/>
                  </a:lnTo>
                  <a:lnTo>
                    <a:pt x="250" y="151"/>
                  </a:lnTo>
                  <a:lnTo>
                    <a:pt x="253" y="160"/>
                  </a:lnTo>
                  <a:lnTo>
                    <a:pt x="260" y="174"/>
                  </a:lnTo>
                  <a:lnTo>
                    <a:pt x="261" y="180"/>
                  </a:lnTo>
                  <a:lnTo>
                    <a:pt x="264" y="189"/>
                  </a:lnTo>
                  <a:lnTo>
                    <a:pt x="266" y="194"/>
                  </a:lnTo>
                  <a:lnTo>
                    <a:pt x="269" y="188"/>
                  </a:lnTo>
                  <a:lnTo>
                    <a:pt x="275" y="202"/>
                  </a:lnTo>
                  <a:lnTo>
                    <a:pt x="272" y="203"/>
                  </a:lnTo>
                  <a:lnTo>
                    <a:pt x="271" y="209"/>
                  </a:lnTo>
                  <a:lnTo>
                    <a:pt x="264" y="214"/>
                  </a:lnTo>
                  <a:lnTo>
                    <a:pt x="258" y="214"/>
                  </a:lnTo>
                  <a:lnTo>
                    <a:pt x="239" y="207"/>
                  </a:lnTo>
                  <a:lnTo>
                    <a:pt x="222" y="198"/>
                  </a:lnTo>
                  <a:lnTo>
                    <a:pt x="222" y="196"/>
                  </a:lnTo>
                  <a:lnTo>
                    <a:pt x="217" y="193"/>
                  </a:lnTo>
                  <a:lnTo>
                    <a:pt x="211" y="196"/>
                  </a:lnTo>
                  <a:lnTo>
                    <a:pt x="196" y="189"/>
                  </a:lnTo>
                  <a:lnTo>
                    <a:pt x="196" y="185"/>
                  </a:lnTo>
                  <a:lnTo>
                    <a:pt x="200" y="180"/>
                  </a:lnTo>
                  <a:lnTo>
                    <a:pt x="202" y="175"/>
                  </a:lnTo>
                  <a:lnTo>
                    <a:pt x="199" y="176"/>
                  </a:lnTo>
                  <a:lnTo>
                    <a:pt x="196" y="182"/>
                  </a:lnTo>
                  <a:lnTo>
                    <a:pt x="190" y="183"/>
                  </a:lnTo>
                  <a:lnTo>
                    <a:pt x="182" y="176"/>
                  </a:lnTo>
                  <a:lnTo>
                    <a:pt x="179" y="172"/>
                  </a:lnTo>
                  <a:lnTo>
                    <a:pt x="179" y="167"/>
                  </a:lnTo>
                  <a:lnTo>
                    <a:pt x="184" y="165"/>
                  </a:lnTo>
                  <a:lnTo>
                    <a:pt x="190" y="160"/>
                  </a:lnTo>
                  <a:lnTo>
                    <a:pt x="184" y="159"/>
                  </a:lnTo>
                  <a:lnTo>
                    <a:pt x="178" y="155"/>
                  </a:lnTo>
                  <a:lnTo>
                    <a:pt x="173" y="161"/>
                  </a:lnTo>
                  <a:lnTo>
                    <a:pt x="166" y="160"/>
                  </a:lnTo>
                  <a:lnTo>
                    <a:pt x="153" y="162"/>
                  </a:lnTo>
                  <a:lnTo>
                    <a:pt x="143" y="154"/>
                  </a:lnTo>
                  <a:lnTo>
                    <a:pt x="147" y="155"/>
                  </a:lnTo>
                  <a:lnTo>
                    <a:pt x="157" y="153"/>
                  </a:lnTo>
                  <a:lnTo>
                    <a:pt x="153" y="145"/>
                  </a:lnTo>
                  <a:lnTo>
                    <a:pt x="143" y="135"/>
                  </a:lnTo>
                  <a:lnTo>
                    <a:pt x="132" y="134"/>
                  </a:lnTo>
                  <a:lnTo>
                    <a:pt x="130" y="129"/>
                  </a:lnTo>
                  <a:lnTo>
                    <a:pt x="120" y="124"/>
                  </a:lnTo>
                  <a:lnTo>
                    <a:pt x="109" y="126"/>
                  </a:lnTo>
                  <a:lnTo>
                    <a:pt x="104" y="124"/>
                  </a:lnTo>
                  <a:lnTo>
                    <a:pt x="100" y="112"/>
                  </a:lnTo>
                  <a:lnTo>
                    <a:pt x="105" y="108"/>
                  </a:lnTo>
                  <a:lnTo>
                    <a:pt x="118" y="110"/>
                  </a:lnTo>
                  <a:lnTo>
                    <a:pt x="129" y="105"/>
                  </a:lnTo>
                  <a:lnTo>
                    <a:pt x="119" y="100"/>
                  </a:lnTo>
                  <a:lnTo>
                    <a:pt x="109" y="102"/>
                  </a:lnTo>
                  <a:lnTo>
                    <a:pt x="107" y="100"/>
                  </a:lnTo>
                  <a:lnTo>
                    <a:pt x="105" y="94"/>
                  </a:lnTo>
                  <a:lnTo>
                    <a:pt x="99" y="99"/>
                  </a:lnTo>
                  <a:lnTo>
                    <a:pt x="96" y="89"/>
                  </a:lnTo>
                  <a:lnTo>
                    <a:pt x="86" y="83"/>
                  </a:lnTo>
                  <a:lnTo>
                    <a:pt x="82" y="84"/>
                  </a:lnTo>
                  <a:lnTo>
                    <a:pt x="80" y="80"/>
                  </a:lnTo>
                  <a:lnTo>
                    <a:pt x="72" y="86"/>
                  </a:lnTo>
                  <a:lnTo>
                    <a:pt x="65" y="80"/>
                  </a:lnTo>
                  <a:lnTo>
                    <a:pt x="66" y="70"/>
                  </a:lnTo>
                  <a:lnTo>
                    <a:pt x="70" y="65"/>
                  </a:lnTo>
                  <a:lnTo>
                    <a:pt x="66" y="65"/>
                  </a:lnTo>
                  <a:lnTo>
                    <a:pt x="60" y="61"/>
                  </a:lnTo>
                  <a:lnTo>
                    <a:pt x="56" y="70"/>
                  </a:lnTo>
                  <a:lnTo>
                    <a:pt x="49" y="61"/>
                  </a:lnTo>
                  <a:lnTo>
                    <a:pt x="45" y="62"/>
                  </a:lnTo>
                  <a:lnTo>
                    <a:pt x="40" y="59"/>
                  </a:lnTo>
                  <a:lnTo>
                    <a:pt x="34" y="67"/>
                  </a:lnTo>
                  <a:lnTo>
                    <a:pt x="29" y="64"/>
                  </a:lnTo>
                  <a:lnTo>
                    <a:pt x="27" y="62"/>
                  </a:lnTo>
                  <a:lnTo>
                    <a:pt x="29" y="57"/>
                  </a:lnTo>
                  <a:lnTo>
                    <a:pt x="30" y="48"/>
                  </a:lnTo>
                  <a:lnTo>
                    <a:pt x="24" y="45"/>
                  </a:lnTo>
                  <a:lnTo>
                    <a:pt x="23" y="37"/>
                  </a:lnTo>
                  <a:lnTo>
                    <a:pt x="33" y="35"/>
                  </a:lnTo>
                  <a:lnTo>
                    <a:pt x="41" y="36"/>
                  </a:lnTo>
                  <a:lnTo>
                    <a:pt x="45" y="4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57" name="Freeform 282">
              <a:extLst>
                <a:ext uri="{FF2B5EF4-FFF2-40B4-BE49-F238E27FC236}">
                  <a16:creationId xmlns:a16="http://schemas.microsoft.com/office/drawing/2014/main" id="{B40AC012-F95F-3020-8607-B769261F264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860121" y="1262076"/>
              <a:ext cx="126849" cy="124985"/>
            </a:xfrm>
            <a:custGeom>
              <a:avLst/>
              <a:gdLst>
                <a:gd name="T0" fmla="*/ 0 w 236"/>
                <a:gd name="T1" fmla="*/ 0 h 221"/>
                <a:gd name="T2" fmla="*/ 0 w 236"/>
                <a:gd name="T3" fmla="*/ 0 h 221"/>
                <a:gd name="T4" fmla="*/ 0 w 236"/>
                <a:gd name="T5" fmla="*/ 0 h 221"/>
                <a:gd name="T6" fmla="*/ 0 w 236"/>
                <a:gd name="T7" fmla="*/ 0 h 221"/>
                <a:gd name="T8" fmla="*/ 0 w 236"/>
                <a:gd name="T9" fmla="*/ 0 h 221"/>
                <a:gd name="T10" fmla="*/ 0 w 236"/>
                <a:gd name="T11" fmla="*/ 0 h 221"/>
                <a:gd name="T12" fmla="*/ 0 w 236"/>
                <a:gd name="T13" fmla="*/ 0 h 221"/>
                <a:gd name="T14" fmla="*/ 0 w 236"/>
                <a:gd name="T15" fmla="*/ 0 h 221"/>
                <a:gd name="T16" fmla="*/ 0 w 236"/>
                <a:gd name="T17" fmla="*/ 0 h 221"/>
                <a:gd name="T18" fmla="*/ 0 w 236"/>
                <a:gd name="T19" fmla="*/ 0 h 221"/>
                <a:gd name="T20" fmla="*/ 0 w 236"/>
                <a:gd name="T21" fmla="*/ 0 h 221"/>
                <a:gd name="T22" fmla="*/ 0 w 236"/>
                <a:gd name="T23" fmla="*/ 0 h 221"/>
                <a:gd name="T24" fmla="*/ 0 w 236"/>
                <a:gd name="T25" fmla="*/ 0 h 221"/>
                <a:gd name="T26" fmla="*/ 0 w 236"/>
                <a:gd name="T27" fmla="*/ 0 h 221"/>
                <a:gd name="T28" fmla="*/ 0 w 236"/>
                <a:gd name="T29" fmla="*/ 0 h 221"/>
                <a:gd name="T30" fmla="*/ 0 w 236"/>
                <a:gd name="T31" fmla="*/ 0 h 221"/>
                <a:gd name="T32" fmla="*/ 0 w 236"/>
                <a:gd name="T33" fmla="*/ 0 h 221"/>
                <a:gd name="T34" fmla="*/ 0 w 236"/>
                <a:gd name="T35" fmla="*/ 0 h 221"/>
                <a:gd name="T36" fmla="*/ 0 w 236"/>
                <a:gd name="T37" fmla="*/ 0 h 221"/>
                <a:gd name="T38" fmla="*/ 0 w 236"/>
                <a:gd name="T39" fmla="*/ 0 h 221"/>
                <a:gd name="T40" fmla="*/ 0 w 236"/>
                <a:gd name="T41" fmla="*/ 0 h 221"/>
                <a:gd name="T42" fmla="*/ 0 w 236"/>
                <a:gd name="T43" fmla="*/ 0 h 221"/>
                <a:gd name="T44" fmla="*/ 0 w 236"/>
                <a:gd name="T45" fmla="*/ 0 h 221"/>
                <a:gd name="T46" fmla="*/ 0 w 236"/>
                <a:gd name="T47" fmla="*/ 0 h 221"/>
                <a:gd name="T48" fmla="*/ 0 w 236"/>
                <a:gd name="T49" fmla="*/ 0 h 221"/>
                <a:gd name="T50" fmla="*/ 0 w 236"/>
                <a:gd name="T51" fmla="*/ 0 h 221"/>
                <a:gd name="T52" fmla="*/ 0 w 236"/>
                <a:gd name="T53" fmla="*/ 0 h 221"/>
                <a:gd name="T54" fmla="*/ 0 w 236"/>
                <a:gd name="T55" fmla="*/ 0 h 221"/>
                <a:gd name="T56" fmla="*/ 0 w 236"/>
                <a:gd name="T57" fmla="*/ 0 h 221"/>
                <a:gd name="T58" fmla="*/ 0 w 236"/>
                <a:gd name="T59" fmla="*/ 0 h 221"/>
                <a:gd name="T60" fmla="*/ 0 w 236"/>
                <a:gd name="T61" fmla="*/ 0 h 221"/>
                <a:gd name="T62" fmla="*/ 0 w 236"/>
                <a:gd name="T63" fmla="*/ 0 h 221"/>
                <a:gd name="T64" fmla="*/ 0 w 236"/>
                <a:gd name="T65" fmla="*/ 0 h 221"/>
                <a:gd name="T66" fmla="*/ 0 w 236"/>
                <a:gd name="T67" fmla="*/ 0 h 221"/>
                <a:gd name="T68" fmla="*/ 0 w 236"/>
                <a:gd name="T69" fmla="*/ 0 h 22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36"/>
                <a:gd name="T106" fmla="*/ 0 h 221"/>
                <a:gd name="T107" fmla="*/ 236 w 236"/>
                <a:gd name="T108" fmla="*/ 221 h 221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36" h="221">
                  <a:moveTo>
                    <a:pt x="141" y="55"/>
                  </a:moveTo>
                  <a:lnTo>
                    <a:pt x="132" y="38"/>
                  </a:lnTo>
                  <a:lnTo>
                    <a:pt x="126" y="33"/>
                  </a:lnTo>
                  <a:lnTo>
                    <a:pt x="118" y="33"/>
                  </a:lnTo>
                  <a:lnTo>
                    <a:pt x="120" y="24"/>
                  </a:lnTo>
                  <a:lnTo>
                    <a:pt x="118" y="18"/>
                  </a:lnTo>
                  <a:lnTo>
                    <a:pt x="108" y="14"/>
                  </a:lnTo>
                  <a:lnTo>
                    <a:pt x="104" y="4"/>
                  </a:lnTo>
                  <a:lnTo>
                    <a:pt x="96" y="0"/>
                  </a:lnTo>
                  <a:lnTo>
                    <a:pt x="86" y="0"/>
                  </a:lnTo>
                  <a:lnTo>
                    <a:pt x="84" y="11"/>
                  </a:lnTo>
                  <a:lnTo>
                    <a:pt x="73" y="20"/>
                  </a:lnTo>
                  <a:lnTo>
                    <a:pt x="65" y="44"/>
                  </a:lnTo>
                  <a:lnTo>
                    <a:pt x="71" y="52"/>
                  </a:lnTo>
                  <a:lnTo>
                    <a:pt x="71" y="57"/>
                  </a:lnTo>
                  <a:lnTo>
                    <a:pt x="66" y="51"/>
                  </a:lnTo>
                  <a:lnTo>
                    <a:pt x="56" y="51"/>
                  </a:lnTo>
                  <a:lnTo>
                    <a:pt x="53" y="57"/>
                  </a:lnTo>
                  <a:lnTo>
                    <a:pt x="54" y="62"/>
                  </a:lnTo>
                  <a:lnTo>
                    <a:pt x="53" y="73"/>
                  </a:lnTo>
                  <a:lnTo>
                    <a:pt x="57" y="90"/>
                  </a:lnTo>
                  <a:lnTo>
                    <a:pt x="50" y="98"/>
                  </a:lnTo>
                  <a:lnTo>
                    <a:pt x="48" y="108"/>
                  </a:lnTo>
                  <a:lnTo>
                    <a:pt x="40" y="109"/>
                  </a:lnTo>
                  <a:lnTo>
                    <a:pt x="24" y="117"/>
                  </a:lnTo>
                  <a:lnTo>
                    <a:pt x="11" y="119"/>
                  </a:lnTo>
                  <a:lnTo>
                    <a:pt x="2" y="125"/>
                  </a:lnTo>
                  <a:lnTo>
                    <a:pt x="0" y="136"/>
                  </a:lnTo>
                  <a:lnTo>
                    <a:pt x="0" y="152"/>
                  </a:lnTo>
                  <a:lnTo>
                    <a:pt x="10" y="163"/>
                  </a:lnTo>
                  <a:lnTo>
                    <a:pt x="21" y="168"/>
                  </a:lnTo>
                  <a:lnTo>
                    <a:pt x="21" y="158"/>
                  </a:lnTo>
                  <a:lnTo>
                    <a:pt x="24" y="153"/>
                  </a:lnTo>
                  <a:lnTo>
                    <a:pt x="32" y="152"/>
                  </a:lnTo>
                  <a:lnTo>
                    <a:pt x="41" y="158"/>
                  </a:lnTo>
                  <a:lnTo>
                    <a:pt x="44" y="167"/>
                  </a:lnTo>
                  <a:lnTo>
                    <a:pt x="51" y="170"/>
                  </a:lnTo>
                  <a:lnTo>
                    <a:pt x="55" y="175"/>
                  </a:lnTo>
                  <a:lnTo>
                    <a:pt x="60" y="172"/>
                  </a:lnTo>
                  <a:lnTo>
                    <a:pt x="62" y="165"/>
                  </a:lnTo>
                  <a:lnTo>
                    <a:pt x="71" y="172"/>
                  </a:lnTo>
                  <a:lnTo>
                    <a:pt x="71" y="180"/>
                  </a:lnTo>
                  <a:lnTo>
                    <a:pt x="77" y="183"/>
                  </a:lnTo>
                  <a:lnTo>
                    <a:pt x="89" y="180"/>
                  </a:lnTo>
                  <a:lnTo>
                    <a:pt x="99" y="196"/>
                  </a:lnTo>
                  <a:lnTo>
                    <a:pt x="109" y="202"/>
                  </a:lnTo>
                  <a:lnTo>
                    <a:pt x="129" y="206"/>
                  </a:lnTo>
                  <a:lnTo>
                    <a:pt x="132" y="210"/>
                  </a:lnTo>
                  <a:lnTo>
                    <a:pt x="134" y="202"/>
                  </a:lnTo>
                  <a:lnTo>
                    <a:pt x="136" y="202"/>
                  </a:lnTo>
                  <a:lnTo>
                    <a:pt x="152" y="213"/>
                  </a:lnTo>
                  <a:lnTo>
                    <a:pt x="167" y="221"/>
                  </a:lnTo>
                  <a:lnTo>
                    <a:pt x="177" y="216"/>
                  </a:lnTo>
                  <a:lnTo>
                    <a:pt x="186" y="195"/>
                  </a:lnTo>
                  <a:lnTo>
                    <a:pt x="194" y="194"/>
                  </a:lnTo>
                  <a:lnTo>
                    <a:pt x="209" y="179"/>
                  </a:lnTo>
                  <a:lnTo>
                    <a:pt x="216" y="178"/>
                  </a:lnTo>
                  <a:lnTo>
                    <a:pt x="216" y="186"/>
                  </a:lnTo>
                  <a:lnTo>
                    <a:pt x="223" y="183"/>
                  </a:lnTo>
                  <a:lnTo>
                    <a:pt x="233" y="174"/>
                  </a:lnTo>
                  <a:lnTo>
                    <a:pt x="236" y="164"/>
                  </a:lnTo>
                  <a:lnTo>
                    <a:pt x="231" y="163"/>
                  </a:lnTo>
                  <a:lnTo>
                    <a:pt x="220" y="169"/>
                  </a:lnTo>
                  <a:lnTo>
                    <a:pt x="207" y="153"/>
                  </a:lnTo>
                  <a:lnTo>
                    <a:pt x="202" y="142"/>
                  </a:lnTo>
                  <a:lnTo>
                    <a:pt x="202" y="132"/>
                  </a:lnTo>
                  <a:lnTo>
                    <a:pt x="190" y="110"/>
                  </a:lnTo>
                  <a:lnTo>
                    <a:pt x="179" y="100"/>
                  </a:lnTo>
                  <a:lnTo>
                    <a:pt x="174" y="89"/>
                  </a:lnTo>
                  <a:lnTo>
                    <a:pt x="143" y="60"/>
                  </a:lnTo>
                  <a:lnTo>
                    <a:pt x="141" y="5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58" name="Freeform 283">
              <a:extLst>
                <a:ext uri="{FF2B5EF4-FFF2-40B4-BE49-F238E27FC236}">
                  <a16:creationId xmlns:a16="http://schemas.microsoft.com/office/drawing/2014/main" id="{C17B1472-AEEE-1DDC-AA6B-A81BF964229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084104" y="777375"/>
              <a:ext cx="310407" cy="370385"/>
            </a:xfrm>
            <a:custGeom>
              <a:avLst/>
              <a:gdLst>
                <a:gd name="T0" fmla="*/ 0 w 582"/>
                <a:gd name="T1" fmla="*/ 0 h 653"/>
                <a:gd name="T2" fmla="*/ 0 w 582"/>
                <a:gd name="T3" fmla="*/ 0 h 653"/>
                <a:gd name="T4" fmla="*/ 0 w 582"/>
                <a:gd name="T5" fmla="*/ 0 h 653"/>
                <a:gd name="T6" fmla="*/ 0 w 582"/>
                <a:gd name="T7" fmla="*/ 0 h 653"/>
                <a:gd name="T8" fmla="*/ 0 w 582"/>
                <a:gd name="T9" fmla="*/ 0 h 653"/>
                <a:gd name="T10" fmla="*/ 0 w 582"/>
                <a:gd name="T11" fmla="*/ 0 h 653"/>
                <a:gd name="T12" fmla="*/ 0 w 582"/>
                <a:gd name="T13" fmla="*/ 0 h 653"/>
                <a:gd name="T14" fmla="*/ 0 w 582"/>
                <a:gd name="T15" fmla="*/ 2147483647 h 653"/>
                <a:gd name="T16" fmla="*/ 0 w 582"/>
                <a:gd name="T17" fmla="*/ 2147483647 h 653"/>
                <a:gd name="T18" fmla="*/ 0 w 582"/>
                <a:gd name="T19" fmla="*/ 2147483647 h 653"/>
                <a:gd name="T20" fmla="*/ 0 w 582"/>
                <a:gd name="T21" fmla="*/ 2147483647 h 653"/>
                <a:gd name="T22" fmla="*/ 0 w 582"/>
                <a:gd name="T23" fmla="*/ 2147483647 h 653"/>
                <a:gd name="T24" fmla="*/ 0 w 582"/>
                <a:gd name="T25" fmla="*/ 2147483647 h 653"/>
                <a:gd name="T26" fmla="*/ 0 w 582"/>
                <a:gd name="T27" fmla="*/ 2147483647 h 653"/>
                <a:gd name="T28" fmla="*/ 0 w 582"/>
                <a:gd name="T29" fmla="*/ 2147483647 h 653"/>
                <a:gd name="T30" fmla="*/ 0 w 582"/>
                <a:gd name="T31" fmla="*/ 2147483647 h 653"/>
                <a:gd name="T32" fmla="*/ 0 w 582"/>
                <a:gd name="T33" fmla="*/ 2147483647 h 653"/>
                <a:gd name="T34" fmla="*/ 0 w 582"/>
                <a:gd name="T35" fmla="*/ 2147483647 h 653"/>
                <a:gd name="T36" fmla="*/ 0 w 582"/>
                <a:gd name="T37" fmla="*/ 2147483647 h 653"/>
                <a:gd name="T38" fmla="*/ 0 w 582"/>
                <a:gd name="T39" fmla="*/ 2147483647 h 653"/>
                <a:gd name="T40" fmla="*/ 0 w 582"/>
                <a:gd name="T41" fmla="*/ 2147483647 h 653"/>
                <a:gd name="T42" fmla="*/ 0 w 582"/>
                <a:gd name="T43" fmla="*/ 2147483647 h 653"/>
                <a:gd name="T44" fmla="*/ 0 w 582"/>
                <a:gd name="T45" fmla="*/ 2147483647 h 653"/>
                <a:gd name="T46" fmla="*/ 0 w 582"/>
                <a:gd name="T47" fmla="*/ 2147483647 h 653"/>
                <a:gd name="T48" fmla="*/ 0 w 582"/>
                <a:gd name="T49" fmla="*/ 2147483647 h 653"/>
                <a:gd name="T50" fmla="*/ 0 w 582"/>
                <a:gd name="T51" fmla="*/ 2147483647 h 653"/>
                <a:gd name="T52" fmla="*/ 0 w 582"/>
                <a:gd name="T53" fmla="*/ 2147483647 h 653"/>
                <a:gd name="T54" fmla="*/ 0 w 582"/>
                <a:gd name="T55" fmla="*/ 2147483647 h 653"/>
                <a:gd name="T56" fmla="*/ 0 w 582"/>
                <a:gd name="T57" fmla="*/ 2147483647 h 653"/>
                <a:gd name="T58" fmla="*/ 0 w 582"/>
                <a:gd name="T59" fmla="*/ 2147483647 h 653"/>
                <a:gd name="T60" fmla="*/ 0 w 582"/>
                <a:gd name="T61" fmla="*/ 2147483647 h 653"/>
                <a:gd name="T62" fmla="*/ 2147483647 w 582"/>
                <a:gd name="T63" fmla="*/ 2147483647 h 653"/>
                <a:gd name="T64" fmla="*/ 2147483647 w 582"/>
                <a:gd name="T65" fmla="*/ 2147483647 h 653"/>
                <a:gd name="T66" fmla="*/ 2147483647 w 582"/>
                <a:gd name="T67" fmla="*/ 2147483647 h 653"/>
                <a:gd name="T68" fmla="*/ 2147483647 w 582"/>
                <a:gd name="T69" fmla="*/ 2147483647 h 653"/>
                <a:gd name="T70" fmla="*/ 2147483647 w 582"/>
                <a:gd name="T71" fmla="*/ 2147483647 h 653"/>
                <a:gd name="T72" fmla="*/ 2147483647 w 582"/>
                <a:gd name="T73" fmla="*/ 0 h 653"/>
                <a:gd name="T74" fmla="*/ 2147483647 w 582"/>
                <a:gd name="T75" fmla="*/ 0 h 653"/>
                <a:gd name="T76" fmla="*/ 2147483647 w 582"/>
                <a:gd name="T77" fmla="*/ 0 h 653"/>
                <a:gd name="T78" fmla="*/ 2147483647 w 582"/>
                <a:gd name="T79" fmla="*/ 0 h 653"/>
                <a:gd name="T80" fmla="*/ 2147483647 w 582"/>
                <a:gd name="T81" fmla="*/ 0 h 653"/>
                <a:gd name="T82" fmla="*/ 2147483647 w 582"/>
                <a:gd name="T83" fmla="*/ 0 h 653"/>
                <a:gd name="T84" fmla="*/ 2147483647 w 582"/>
                <a:gd name="T85" fmla="*/ 0 h 653"/>
                <a:gd name="T86" fmla="*/ 2147483647 w 582"/>
                <a:gd name="T87" fmla="*/ 0 h 653"/>
                <a:gd name="T88" fmla="*/ 2147483647 w 582"/>
                <a:gd name="T89" fmla="*/ 0 h 653"/>
                <a:gd name="T90" fmla="*/ 2147483647 w 582"/>
                <a:gd name="T91" fmla="*/ 0 h 653"/>
                <a:gd name="T92" fmla="*/ 2147483647 w 582"/>
                <a:gd name="T93" fmla="*/ 0 h 653"/>
                <a:gd name="T94" fmla="*/ 2147483647 w 582"/>
                <a:gd name="T95" fmla="*/ 0 h 653"/>
                <a:gd name="T96" fmla="*/ 0 w 582"/>
                <a:gd name="T97" fmla="*/ 0 h 653"/>
                <a:gd name="T98" fmla="*/ 0 w 582"/>
                <a:gd name="T99" fmla="*/ 0 h 653"/>
                <a:gd name="T100" fmla="*/ 0 w 582"/>
                <a:gd name="T101" fmla="*/ 0 h 653"/>
                <a:gd name="T102" fmla="*/ 0 w 582"/>
                <a:gd name="T103" fmla="*/ 0 h 653"/>
                <a:gd name="T104" fmla="*/ 0 w 582"/>
                <a:gd name="T105" fmla="*/ 0 h 653"/>
                <a:gd name="T106" fmla="*/ 0 w 582"/>
                <a:gd name="T107" fmla="*/ 0 h 653"/>
                <a:gd name="T108" fmla="*/ 0 w 582"/>
                <a:gd name="T109" fmla="*/ 0 h 653"/>
                <a:gd name="T110" fmla="*/ 0 w 582"/>
                <a:gd name="T111" fmla="*/ 0 h 653"/>
                <a:gd name="T112" fmla="*/ 0 w 582"/>
                <a:gd name="T113" fmla="*/ 0 h 653"/>
                <a:gd name="T114" fmla="*/ 0 w 582"/>
                <a:gd name="T115" fmla="*/ 0 h 653"/>
                <a:gd name="T116" fmla="*/ 0 w 582"/>
                <a:gd name="T117" fmla="*/ 0 h 65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82"/>
                <a:gd name="T178" fmla="*/ 0 h 653"/>
                <a:gd name="T179" fmla="*/ 582 w 582"/>
                <a:gd name="T180" fmla="*/ 653 h 65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582" h="653">
                  <a:moveTo>
                    <a:pt x="93" y="117"/>
                  </a:moveTo>
                  <a:lnTo>
                    <a:pt x="100" y="129"/>
                  </a:lnTo>
                  <a:lnTo>
                    <a:pt x="109" y="137"/>
                  </a:lnTo>
                  <a:lnTo>
                    <a:pt x="113" y="148"/>
                  </a:lnTo>
                  <a:lnTo>
                    <a:pt x="105" y="161"/>
                  </a:lnTo>
                  <a:lnTo>
                    <a:pt x="97" y="189"/>
                  </a:lnTo>
                  <a:lnTo>
                    <a:pt x="93" y="198"/>
                  </a:lnTo>
                  <a:lnTo>
                    <a:pt x="84" y="208"/>
                  </a:lnTo>
                  <a:lnTo>
                    <a:pt x="84" y="213"/>
                  </a:lnTo>
                  <a:lnTo>
                    <a:pt x="81" y="225"/>
                  </a:lnTo>
                  <a:lnTo>
                    <a:pt x="76" y="229"/>
                  </a:lnTo>
                  <a:lnTo>
                    <a:pt x="72" y="242"/>
                  </a:lnTo>
                  <a:lnTo>
                    <a:pt x="72" y="251"/>
                  </a:lnTo>
                  <a:lnTo>
                    <a:pt x="65" y="263"/>
                  </a:lnTo>
                  <a:lnTo>
                    <a:pt x="66" y="272"/>
                  </a:lnTo>
                  <a:lnTo>
                    <a:pt x="64" y="275"/>
                  </a:lnTo>
                  <a:lnTo>
                    <a:pt x="60" y="284"/>
                  </a:lnTo>
                  <a:lnTo>
                    <a:pt x="55" y="288"/>
                  </a:lnTo>
                  <a:lnTo>
                    <a:pt x="57" y="299"/>
                  </a:lnTo>
                  <a:lnTo>
                    <a:pt x="64" y="298"/>
                  </a:lnTo>
                  <a:lnTo>
                    <a:pt x="66" y="305"/>
                  </a:lnTo>
                  <a:lnTo>
                    <a:pt x="72" y="309"/>
                  </a:lnTo>
                  <a:lnTo>
                    <a:pt x="73" y="315"/>
                  </a:lnTo>
                  <a:lnTo>
                    <a:pt x="72" y="321"/>
                  </a:lnTo>
                  <a:lnTo>
                    <a:pt x="51" y="331"/>
                  </a:lnTo>
                  <a:lnTo>
                    <a:pt x="43" y="327"/>
                  </a:lnTo>
                  <a:lnTo>
                    <a:pt x="41" y="333"/>
                  </a:lnTo>
                  <a:lnTo>
                    <a:pt x="44" y="342"/>
                  </a:lnTo>
                  <a:lnTo>
                    <a:pt x="46" y="345"/>
                  </a:lnTo>
                  <a:lnTo>
                    <a:pt x="46" y="358"/>
                  </a:lnTo>
                  <a:lnTo>
                    <a:pt x="48" y="359"/>
                  </a:lnTo>
                  <a:lnTo>
                    <a:pt x="48" y="366"/>
                  </a:lnTo>
                  <a:lnTo>
                    <a:pt x="44" y="380"/>
                  </a:lnTo>
                  <a:lnTo>
                    <a:pt x="49" y="377"/>
                  </a:lnTo>
                  <a:lnTo>
                    <a:pt x="50" y="387"/>
                  </a:lnTo>
                  <a:lnTo>
                    <a:pt x="44" y="391"/>
                  </a:lnTo>
                  <a:lnTo>
                    <a:pt x="38" y="400"/>
                  </a:lnTo>
                  <a:lnTo>
                    <a:pt x="45" y="404"/>
                  </a:lnTo>
                  <a:lnTo>
                    <a:pt x="40" y="409"/>
                  </a:lnTo>
                  <a:lnTo>
                    <a:pt x="33" y="406"/>
                  </a:lnTo>
                  <a:lnTo>
                    <a:pt x="27" y="418"/>
                  </a:lnTo>
                  <a:lnTo>
                    <a:pt x="27" y="430"/>
                  </a:lnTo>
                  <a:lnTo>
                    <a:pt x="21" y="435"/>
                  </a:lnTo>
                  <a:lnTo>
                    <a:pt x="22" y="441"/>
                  </a:lnTo>
                  <a:lnTo>
                    <a:pt x="30" y="449"/>
                  </a:lnTo>
                  <a:lnTo>
                    <a:pt x="12" y="455"/>
                  </a:lnTo>
                  <a:lnTo>
                    <a:pt x="17" y="457"/>
                  </a:lnTo>
                  <a:lnTo>
                    <a:pt x="18" y="465"/>
                  </a:lnTo>
                  <a:lnTo>
                    <a:pt x="13" y="463"/>
                  </a:lnTo>
                  <a:lnTo>
                    <a:pt x="10" y="471"/>
                  </a:lnTo>
                  <a:lnTo>
                    <a:pt x="11" y="479"/>
                  </a:lnTo>
                  <a:lnTo>
                    <a:pt x="16" y="482"/>
                  </a:lnTo>
                  <a:lnTo>
                    <a:pt x="8" y="499"/>
                  </a:lnTo>
                  <a:lnTo>
                    <a:pt x="0" y="500"/>
                  </a:lnTo>
                  <a:lnTo>
                    <a:pt x="3" y="509"/>
                  </a:lnTo>
                  <a:lnTo>
                    <a:pt x="30" y="499"/>
                  </a:lnTo>
                  <a:lnTo>
                    <a:pt x="49" y="504"/>
                  </a:lnTo>
                  <a:lnTo>
                    <a:pt x="51" y="509"/>
                  </a:lnTo>
                  <a:lnTo>
                    <a:pt x="41" y="505"/>
                  </a:lnTo>
                  <a:lnTo>
                    <a:pt x="41" y="511"/>
                  </a:lnTo>
                  <a:lnTo>
                    <a:pt x="60" y="522"/>
                  </a:lnTo>
                  <a:lnTo>
                    <a:pt x="66" y="530"/>
                  </a:lnTo>
                  <a:lnTo>
                    <a:pt x="66" y="519"/>
                  </a:lnTo>
                  <a:lnTo>
                    <a:pt x="75" y="520"/>
                  </a:lnTo>
                  <a:lnTo>
                    <a:pt x="75" y="531"/>
                  </a:lnTo>
                  <a:lnTo>
                    <a:pt x="99" y="541"/>
                  </a:lnTo>
                  <a:lnTo>
                    <a:pt x="113" y="560"/>
                  </a:lnTo>
                  <a:lnTo>
                    <a:pt x="116" y="575"/>
                  </a:lnTo>
                  <a:lnTo>
                    <a:pt x="124" y="585"/>
                  </a:lnTo>
                  <a:lnTo>
                    <a:pt x="139" y="632"/>
                  </a:lnTo>
                  <a:lnTo>
                    <a:pt x="151" y="653"/>
                  </a:lnTo>
                  <a:lnTo>
                    <a:pt x="163" y="650"/>
                  </a:lnTo>
                  <a:lnTo>
                    <a:pt x="180" y="628"/>
                  </a:lnTo>
                  <a:lnTo>
                    <a:pt x="194" y="624"/>
                  </a:lnTo>
                  <a:lnTo>
                    <a:pt x="215" y="603"/>
                  </a:lnTo>
                  <a:lnTo>
                    <a:pt x="223" y="592"/>
                  </a:lnTo>
                  <a:lnTo>
                    <a:pt x="229" y="580"/>
                  </a:lnTo>
                  <a:lnTo>
                    <a:pt x="238" y="587"/>
                  </a:lnTo>
                  <a:lnTo>
                    <a:pt x="239" y="592"/>
                  </a:lnTo>
                  <a:lnTo>
                    <a:pt x="238" y="600"/>
                  </a:lnTo>
                  <a:lnTo>
                    <a:pt x="249" y="601"/>
                  </a:lnTo>
                  <a:lnTo>
                    <a:pt x="259" y="600"/>
                  </a:lnTo>
                  <a:lnTo>
                    <a:pt x="263" y="591"/>
                  </a:lnTo>
                  <a:lnTo>
                    <a:pt x="264" y="581"/>
                  </a:lnTo>
                  <a:lnTo>
                    <a:pt x="269" y="590"/>
                  </a:lnTo>
                  <a:lnTo>
                    <a:pt x="272" y="591"/>
                  </a:lnTo>
                  <a:lnTo>
                    <a:pt x="279" y="587"/>
                  </a:lnTo>
                  <a:lnTo>
                    <a:pt x="291" y="575"/>
                  </a:lnTo>
                  <a:lnTo>
                    <a:pt x="298" y="562"/>
                  </a:lnTo>
                  <a:lnTo>
                    <a:pt x="298" y="549"/>
                  </a:lnTo>
                  <a:lnTo>
                    <a:pt x="301" y="542"/>
                  </a:lnTo>
                  <a:lnTo>
                    <a:pt x="298" y="537"/>
                  </a:lnTo>
                  <a:lnTo>
                    <a:pt x="299" y="511"/>
                  </a:lnTo>
                  <a:lnTo>
                    <a:pt x="297" y="501"/>
                  </a:lnTo>
                  <a:lnTo>
                    <a:pt x="310" y="474"/>
                  </a:lnTo>
                  <a:lnTo>
                    <a:pt x="313" y="461"/>
                  </a:lnTo>
                  <a:lnTo>
                    <a:pt x="314" y="449"/>
                  </a:lnTo>
                  <a:lnTo>
                    <a:pt x="317" y="446"/>
                  </a:lnTo>
                  <a:lnTo>
                    <a:pt x="328" y="455"/>
                  </a:lnTo>
                  <a:lnTo>
                    <a:pt x="336" y="446"/>
                  </a:lnTo>
                  <a:lnTo>
                    <a:pt x="346" y="444"/>
                  </a:lnTo>
                  <a:lnTo>
                    <a:pt x="362" y="433"/>
                  </a:lnTo>
                  <a:lnTo>
                    <a:pt x="366" y="412"/>
                  </a:lnTo>
                  <a:lnTo>
                    <a:pt x="371" y="395"/>
                  </a:lnTo>
                  <a:lnTo>
                    <a:pt x="371" y="381"/>
                  </a:lnTo>
                  <a:lnTo>
                    <a:pt x="379" y="370"/>
                  </a:lnTo>
                  <a:lnTo>
                    <a:pt x="392" y="361"/>
                  </a:lnTo>
                  <a:lnTo>
                    <a:pt x="406" y="357"/>
                  </a:lnTo>
                  <a:lnTo>
                    <a:pt x="416" y="343"/>
                  </a:lnTo>
                  <a:lnTo>
                    <a:pt x="438" y="330"/>
                  </a:lnTo>
                  <a:lnTo>
                    <a:pt x="462" y="309"/>
                  </a:lnTo>
                  <a:lnTo>
                    <a:pt x="474" y="304"/>
                  </a:lnTo>
                  <a:lnTo>
                    <a:pt x="481" y="294"/>
                  </a:lnTo>
                  <a:lnTo>
                    <a:pt x="514" y="267"/>
                  </a:lnTo>
                  <a:lnTo>
                    <a:pt x="550" y="251"/>
                  </a:lnTo>
                  <a:lnTo>
                    <a:pt x="582" y="224"/>
                  </a:lnTo>
                  <a:lnTo>
                    <a:pt x="581" y="203"/>
                  </a:lnTo>
                  <a:lnTo>
                    <a:pt x="573" y="198"/>
                  </a:lnTo>
                  <a:lnTo>
                    <a:pt x="561" y="180"/>
                  </a:lnTo>
                  <a:lnTo>
                    <a:pt x="552" y="176"/>
                  </a:lnTo>
                  <a:lnTo>
                    <a:pt x="535" y="150"/>
                  </a:lnTo>
                  <a:lnTo>
                    <a:pt x="512" y="129"/>
                  </a:lnTo>
                  <a:lnTo>
                    <a:pt x="506" y="119"/>
                  </a:lnTo>
                  <a:lnTo>
                    <a:pt x="487" y="95"/>
                  </a:lnTo>
                  <a:lnTo>
                    <a:pt x="478" y="89"/>
                  </a:lnTo>
                  <a:lnTo>
                    <a:pt x="462" y="69"/>
                  </a:lnTo>
                  <a:lnTo>
                    <a:pt x="420" y="59"/>
                  </a:lnTo>
                  <a:lnTo>
                    <a:pt x="390" y="73"/>
                  </a:lnTo>
                  <a:lnTo>
                    <a:pt x="385" y="78"/>
                  </a:lnTo>
                  <a:lnTo>
                    <a:pt x="382" y="86"/>
                  </a:lnTo>
                  <a:lnTo>
                    <a:pt x="389" y="96"/>
                  </a:lnTo>
                  <a:lnTo>
                    <a:pt x="384" y="105"/>
                  </a:lnTo>
                  <a:lnTo>
                    <a:pt x="382" y="115"/>
                  </a:lnTo>
                  <a:lnTo>
                    <a:pt x="371" y="121"/>
                  </a:lnTo>
                  <a:lnTo>
                    <a:pt x="368" y="108"/>
                  </a:lnTo>
                  <a:lnTo>
                    <a:pt x="374" y="101"/>
                  </a:lnTo>
                  <a:lnTo>
                    <a:pt x="374" y="85"/>
                  </a:lnTo>
                  <a:lnTo>
                    <a:pt x="373" y="78"/>
                  </a:lnTo>
                  <a:lnTo>
                    <a:pt x="358" y="75"/>
                  </a:lnTo>
                  <a:lnTo>
                    <a:pt x="352" y="81"/>
                  </a:lnTo>
                  <a:lnTo>
                    <a:pt x="352" y="86"/>
                  </a:lnTo>
                  <a:lnTo>
                    <a:pt x="345" y="92"/>
                  </a:lnTo>
                  <a:lnTo>
                    <a:pt x="340" y="111"/>
                  </a:lnTo>
                  <a:lnTo>
                    <a:pt x="338" y="102"/>
                  </a:lnTo>
                  <a:lnTo>
                    <a:pt x="336" y="90"/>
                  </a:lnTo>
                  <a:lnTo>
                    <a:pt x="345" y="76"/>
                  </a:lnTo>
                  <a:lnTo>
                    <a:pt x="304" y="52"/>
                  </a:lnTo>
                  <a:lnTo>
                    <a:pt x="291" y="33"/>
                  </a:lnTo>
                  <a:lnTo>
                    <a:pt x="279" y="24"/>
                  </a:lnTo>
                  <a:lnTo>
                    <a:pt x="276" y="13"/>
                  </a:lnTo>
                  <a:lnTo>
                    <a:pt x="244" y="0"/>
                  </a:lnTo>
                  <a:lnTo>
                    <a:pt x="231" y="3"/>
                  </a:lnTo>
                  <a:lnTo>
                    <a:pt x="224" y="14"/>
                  </a:lnTo>
                  <a:lnTo>
                    <a:pt x="213" y="9"/>
                  </a:lnTo>
                  <a:lnTo>
                    <a:pt x="197" y="16"/>
                  </a:lnTo>
                  <a:lnTo>
                    <a:pt x="157" y="19"/>
                  </a:lnTo>
                  <a:lnTo>
                    <a:pt x="156" y="24"/>
                  </a:lnTo>
                  <a:lnTo>
                    <a:pt x="158" y="36"/>
                  </a:lnTo>
                  <a:lnTo>
                    <a:pt x="158" y="46"/>
                  </a:lnTo>
                  <a:lnTo>
                    <a:pt x="154" y="36"/>
                  </a:lnTo>
                  <a:lnTo>
                    <a:pt x="151" y="31"/>
                  </a:lnTo>
                  <a:lnTo>
                    <a:pt x="150" y="21"/>
                  </a:lnTo>
                  <a:lnTo>
                    <a:pt x="146" y="19"/>
                  </a:lnTo>
                  <a:lnTo>
                    <a:pt x="141" y="29"/>
                  </a:lnTo>
                  <a:lnTo>
                    <a:pt x="139" y="27"/>
                  </a:lnTo>
                  <a:lnTo>
                    <a:pt x="136" y="20"/>
                  </a:lnTo>
                  <a:lnTo>
                    <a:pt x="120" y="24"/>
                  </a:lnTo>
                  <a:lnTo>
                    <a:pt x="120" y="27"/>
                  </a:lnTo>
                  <a:lnTo>
                    <a:pt x="105" y="24"/>
                  </a:lnTo>
                  <a:lnTo>
                    <a:pt x="99" y="25"/>
                  </a:lnTo>
                  <a:lnTo>
                    <a:pt x="99" y="31"/>
                  </a:lnTo>
                  <a:lnTo>
                    <a:pt x="83" y="33"/>
                  </a:lnTo>
                  <a:lnTo>
                    <a:pt x="70" y="40"/>
                  </a:lnTo>
                  <a:lnTo>
                    <a:pt x="75" y="42"/>
                  </a:lnTo>
                  <a:lnTo>
                    <a:pt x="80" y="63"/>
                  </a:lnTo>
                  <a:lnTo>
                    <a:pt x="93" y="73"/>
                  </a:lnTo>
                  <a:lnTo>
                    <a:pt x="84" y="78"/>
                  </a:lnTo>
                  <a:lnTo>
                    <a:pt x="83" y="89"/>
                  </a:lnTo>
                  <a:lnTo>
                    <a:pt x="93" y="11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59" name="Freeform 284">
              <a:extLst>
                <a:ext uri="{FF2B5EF4-FFF2-40B4-BE49-F238E27FC236}">
                  <a16:creationId xmlns:a16="http://schemas.microsoft.com/office/drawing/2014/main" id="{A3AAD033-598F-70FD-FEF9-1F44EAD211A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287062" y="917603"/>
              <a:ext cx="532766" cy="466411"/>
            </a:xfrm>
            <a:custGeom>
              <a:avLst/>
              <a:gdLst>
                <a:gd name="T0" fmla="*/ 0 w 999"/>
                <a:gd name="T1" fmla="*/ 2147483647 h 819"/>
                <a:gd name="T2" fmla="*/ 0 w 999"/>
                <a:gd name="T3" fmla="*/ 2147483647 h 819"/>
                <a:gd name="T4" fmla="*/ 2147483647 w 999"/>
                <a:gd name="T5" fmla="*/ 2147483647 h 819"/>
                <a:gd name="T6" fmla="*/ 2147483647 w 999"/>
                <a:gd name="T7" fmla="*/ 2147483647 h 819"/>
                <a:gd name="T8" fmla="*/ 0 w 999"/>
                <a:gd name="T9" fmla="*/ 2147483647 h 819"/>
                <a:gd name="T10" fmla="*/ 0 w 999"/>
                <a:gd name="T11" fmla="*/ 2147483647 h 819"/>
                <a:gd name="T12" fmla="*/ 0 w 999"/>
                <a:gd name="T13" fmla="*/ 2147483647 h 819"/>
                <a:gd name="T14" fmla="*/ 0 w 999"/>
                <a:gd name="T15" fmla="*/ 2147483647 h 819"/>
                <a:gd name="T16" fmla="*/ 0 w 999"/>
                <a:gd name="T17" fmla="*/ 2147483647 h 819"/>
                <a:gd name="T18" fmla="*/ 0 w 999"/>
                <a:gd name="T19" fmla="*/ 2147483647 h 819"/>
                <a:gd name="T20" fmla="*/ 0 w 999"/>
                <a:gd name="T21" fmla="*/ 2147483647 h 819"/>
                <a:gd name="T22" fmla="*/ 0 w 999"/>
                <a:gd name="T23" fmla="*/ 0 h 819"/>
                <a:gd name="T24" fmla="*/ 0 w 999"/>
                <a:gd name="T25" fmla="*/ 0 h 819"/>
                <a:gd name="T26" fmla="*/ 0 w 999"/>
                <a:gd name="T27" fmla="*/ 0 h 819"/>
                <a:gd name="T28" fmla="*/ 0 w 999"/>
                <a:gd name="T29" fmla="*/ 0 h 819"/>
                <a:gd name="T30" fmla="*/ 0 w 999"/>
                <a:gd name="T31" fmla="*/ 0 h 819"/>
                <a:gd name="T32" fmla="*/ 0 w 999"/>
                <a:gd name="T33" fmla="*/ 0 h 819"/>
                <a:gd name="T34" fmla="*/ 0 w 999"/>
                <a:gd name="T35" fmla="*/ 0 h 819"/>
                <a:gd name="T36" fmla="*/ 2147483647 w 999"/>
                <a:gd name="T37" fmla="*/ 0 h 819"/>
                <a:gd name="T38" fmla="*/ 2147483647 w 999"/>
                <a:gd name="T39" fmla="*/ 0 h 819"/>
                <a:gd name="T40" fmla="*/ 2147483647 w 999"/>
                <a:gd name="T41" fmla="*/ 0 h 819"/>
                <a:gd name="T42" fmla="*/ 2147483647 w 999"/>
                <a:gd name="T43" fmla="*/ 0 h 819"/>
                <a:gd name="T44" fmla="*/ 2147483647 w 999"/>
                <a:gd name="T45" fmla="*/ 0 h 819"/>
                <a:gd name="T46" fmla="*/ 2147483647 w 999"/>
                <a:gd name="T47" fmla="*/ 0 h 819"/>
                <a:gd name="T48" fmla="*/ 2147483647 w 999"/>
                <a:gd name="T49" fmla="*/ 0 h 819"/>
                <a:gd name="T50" fmla="*/ 2147483647 w 999"/>
                <a:gd name="T51" fmla="*/ 0 h 819"/>
                <a:gd name="T52" fmla="*/ 2147483647 w 999"/>
                <a:gd name="T53" fmla="*/ 0 h 819"/>
                <a:gd name="T54" fmla="*/ 2147483647 w 999"/>
                <a:gd name="T55" fmla="*/ 0 h 819"/>
                <a:gd name="T56" fmla="*/ 2147483647 w 999"/>
                <a:gd name="T57" fmla="*/ 0 h 819"/>
                <a:gd name="T58" fmla="*/ 2147483647 w 999"/>
                <a:gd name="T59" fmla="*/ 0 h 819"/>
                <a:gd name="T60" fmla="*/ 2147483647 w 999"/>
                <a:gd name="T61" fmla="*/ 0 h 819"/>
                <a:gd name="T62" fmla="*/ 2147483647 w 999"/>
                <a:gd name="T63" fmla="*/ 0 h 819"/>
                <a:gd name="T64" fmla="*/ 2147483647 w 999"/>
                <a:gd name="T65" fmla="*/ 0 h 819"/>
                <a:gd name="T66" fmla="*/ 2147483647 w 999"/>
                <a:gd name="T67" fmla="*/ 0 h 819"/>
                <a:gd name="T68" fmla="*/ 2147483647 w 999"/>
                <a:gd name="T69" fmla="*/ 0 h 819"/>
                <a:gd name="T70" fmla="*/ 2147483647 w 999"/>
                <a:gd name="T71" fmla="*/ 2147483647 h 819"/>
                <a:gd name="T72" fmla="*/ 2147483647 w 999"/>
                <a:gd name="T73" fmla="*/ 2147483647 h 819"/>
                <a:gd name="T74" fmla="*/ 2147483647 w 999"/>
                <a:gd name="T75" fmla="*/ 2147483647 h 819"/>
                <a:gd name="T76" fmla="*/ 2147483647 w 999"/>
                <a:gd name="T77" fmla="*/ 2147483647 h 819"/>
                <a:gd name="T78" fmla="*/ 2147483647 w 999"/>
                <a:gd name="T79" fmla="*/ 2147483647 h 819"/>
                <a:gd name="T80" fmla="*/ 2147483647 w 999"/>
                <a:gd name="T81" fmla="*/ 2147483647 h 819"/>
                <a:gd name="T82" fmla="*/ 2147483647 w 999"/>
                <a:gd name="T83" fmla="*/ 2147483647 h 819"/>
                <a:gd name="T84" fmla="*/ 2147483647 w 999"/>
                <a:gd name="T85" fmla="*/ 2147483647 h 819"/>
                <a:gd name="T86" fmla="*/ 2147483647 w 999"/>
                <a:gd name="T87" fmla="*/ 2147483647 h 819"/>
                <a:gd name="T88" fmla="*/ 2147483647 w 999"/>
                <a:gd name="T89" fmla="*/ 2147483647 h 819"/>
                <a:gd name="T90" fmla="*/ 2147483647 w 999"/>
                <a:gd name="T91" fmla="*/ 2147483647 h 819"/>
                <a:gd name="T92" fmla="*/ 2147483647 w 999"/>
                <a:gd name="T93" fmla="*/ 2147483647 h 819"/>
                <a:gd name="T94" fmla="*/ 2147483647 w 999"/>
                <a:gd name="T95" fmla="*/ 2147483647 h 819"/>
                <a:gd name="T96" fmla="*/ 2147483647 w 999"/>
                <a:gd name="T97" fmla="*/ 2147483647 h 819"/>
                <a:gd name="T98" fmla="*/ 2147483647 w 999"/>
                <a:gd name="T99" fmla="*/ 2147483647 h 819"/>
                <a:gd name="T100" fmla="*/ 2147483647 w 999"/>
                <a:gd name="T101" fmla="*/ 2147483647 h 819"/>
                <a:gd name="T102" fmla="*/ 2147483647 w 999"/>
                <a:gd name="T103" fmla="*/ 2147483647 h 819"/>
                <a:gd name="T104" fmla="*/ 2147483647 w 999"/>
                <a:gd name="T105" fmla="*/ 2147483647 h 819"/>
                <a:gd name="T106" fmla="*/ 2147483647 w 999"/>
                <a:gd name="T107" fmla="*/ 2147483647 h 819"/>
                <a:gd name="T108" fmla="*/ 2147483647 w 999"/>
                <a:gd name="T109" fmla="*/ 2147483647 h 819"/>
                <a:gd name="T110" fmla="*/ 0 w 999"/>
                <a:gd name="T111" fmla="*/ 2147483647 h 819"/>
                <a:gd name="T112" fmla="*/ 0 w 999"/>
                <a:gd name="T113" fmla="*/ 2147483647 h 81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999"/>
                <a:gd name="T172" fmla="*/ 0 h 819"/>
                <a:gd name="T173" fmla="*/ 999 w 999"/>
                <a:gd name="T174" fmla="*/ 819 h 819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999" h="819">
                  <a:moveTo>
                    <a:pt x="230" y="698"/>
                  </a:moveTo>
                  <a:lnTo>
                    <a:pt x="225" y="704"/>
                  </a:lnTo>
                  <a:lnTo>
                    <a:pt x="203" y="704"/>
                  </a:lnTo>
                  <a:lnTo>
                    <a:pt x="196" y="698"/>
                  </a:lnTo>
                  <a:lnTo>
                    <a:pt x="173" y="697"/>
                  </a:lnTo>
                  <a:lnTo>
                    <a:pt x="137" y="671"/>
                  </a:lnTo>
                  <a:lnTo>
                    <a:pt x="137" y="660"/>
                  </a:lnTo>
                  <a:lnTo>
                    <a:pt x="126" y="657"/>
                  </a:lnTo>
                  <a:lnTo>
                    <a:pt x="118" y="650"/>
                  </a:lnTo>
                  <a:lnTo>
                    <a:pt x="116" y="630"/>
                  </a:lnTo>
                  <a:lnTo>
                    <a:pt x="105" y="622"/>
                  </a:lnTo>
                  <a:lnTo>
                    <a:pt x="101" y="613"/>
                  </a:lnTo>
                  <a:lnTo>
                    <a:pt x="94" y="593"/>
                  </a:lnTo>
                  <a:lnTo>
                    <a:pt x="91" y="581"/>
                  </a:lnTo>
                  <a:lnTo>
                    <a:pt x="112" y="571"/>
                  </a:lnTo>
                  <a:lnTo>
                    <a:pt x="169" y="549"/>
                  </a:lnTo>
                  <a:lnTo>
                    <a:pt x="209" y="539"/>
                  </a:lnTo>
                  <a:lnTo>
                    <a:pt x="232" y="538"/>
                  </a:lnTo>
                  <a:lnTo>
                    <a:pt x="253" y="530"/>
                  </a:lnTo>
                  <a:lnTo>
                    <a:pt x="266" y="528"/>
                  </a:lnTo>
                  <a:lnTo>
                    <a:pt x="279" y="536"/>
                  </a:lnTo>
                  <a:lnTo>
                    <a:pt x="318" y="539"/>
                  </a:lnTo>
                  <a:lnTo>
                    <a:pt x="339" y="546"/>
                  </a:lnTo>
                  <a:lnTo>
                    <a:pt x="358" y="544"/>
                  </a:lnTo>
                  <a:lnTo>
                    <a:pt x="369" y="533"/>
                  </a:lnTo>
                  <a:lnTo>
                    <a:pt x="365" y="526"/>
                  </a:lnTo>
                  <a:lnTo>
                    <a:pt x="365" y="522"/>
                  </a:lnTo>
                  <a:lnTo>
                    <a:pt x="374" y="527"/>
                  </a:lnTo>
                  <a:lnTo>
                    <a:pt x="382" y="525"/>
                  </a:lnTo>
                  <a:lnTo>
                    <a:pt x="381" y="520"/>
                  </a:lnTo>
                  <a:lnTo>
                    <a:pt x="375" y="510"/>
                  </a:lnTo>
                  <a:lnTo>
                    <a:pt x="368" y="506"/>
                  </a:lnTo>
                  <a:lnTo>
                    <a:pt x="348" y="503"/>
                  </a:lnTo>
                  <a:lnTo>
                    <a:pt x="344" y="495"/>
                  </a:lnTo>
                  <a:lnTo>
                    <a:pt x="332" y="495"/>
                  </a:lnTo>
                  <a:lnTo>
                    <a:pt x="317" y="488"/>
                  </a:lnTo>
                  <a:lnTo>
                    <a:pt x="312" y="482"/>
                  </a:lnTo>
                  <a:lnTo>
                    <a:pt x="296" y="479"/>
                  </a:lnTo>
                  <a:lnTo>
                    <a:pt x="289" y="480"/>
                  </a:lnTo>
                  <a:lnTo>
                    <a:pt x="282" y="473"/>
                  </a:lnTo>
                  <a:lnTo>
                    <a:pt x="248" y="479"/>
                  </a:lnTo>
                  <a:lnTo>
                    <a:pt x="196" y="499"/>
                  </a:lnTo>
                  <a:lnTo>
                    <a:pt x="188" y="493"/>
                  </a:lnTo>
                  <a:lnTo>
                    <a:pt x="172" y="493"/>
                  </a:lnTo>
                  <a:lnTo>
                    <a:pt x="162" y="488"/>
                  </a:lnTo>
                  <a:lnTo>
                    <a:pt x="158" y="480"/>
                  </a:lnTo>
                  <a:lnTo>
                    <a:pt x="118" y="489"/>
                  </a:lnTo>
                  <a:lnTo>
                    <a:pt x="101" y="478"/>
                  </a:lnTo>
                  <a:lnTo>
                    <a:pt x="83" y="482"/>
                  </a:lnTo>
                  <a:lnTo>
                    <a:pt x="81" y="476"/>
                  </a:lnTo>
                  <a:lnTo>
                    <a:pt x="81" y="472"/>
                  </a:lnTo>
                  <a:lnTo>
                    <a:pt x="68" y="467"/>
                  </a:lnTo>
                  <a:lnTo>
                    <a:pt x="57" y="452"/>
                  </a:lnTo>
                  <a:lnTo>
                    <a:pt x="46" y="434"/>
                  </a:lnTo>
                  <a:lnTo>
                    <a:pt x="42" y="418"/>
                  </a:lnTo>
                  <a:lnTo>
                    <a:pt x="62" y="396"/>
                  </a:lnTo>
                  <a:lnTo>
                    <a:pt x="83" y="387"/>
                  </a:lnTo>
                  <a:lnTo>
                    <a:pt x="103" y="385"/>
                  </a:lnTo>
                  <a:lnTo>
                    <a:pt x="122" y="377"/>
                  </a:lnTo>
                  <a:lnTo>
                    <a:pt x="142" y="363"/>
                  </a:lnTo>
                  <a:lnTo>
                    <a:pt x="161" y="358"/>
                  </a:lnTo>
                  <a:lnTo>
                    <a:pt x="160" y="361"/>
                  </a:lnTo>
                  <a:lnTo>
                    <a:pt x="165" y="364"/>
                  </a:lnTo>
                  <a:lnTo>
                    <a:pt x="178" y="361"/>
                  </a:lnTo>
                  <a:lnTo>
                    <a:pt x="185" y="358"/>
                  </a:lnTo>
                  <a:lnTo>
                    <a:pt x="181" y="353"/>
                  </a:lnTo>
                  <a:lnTo>
                    <a:pt x="165" y="352"/>
                  </a:lnTo>
                  <a:lnTo>
                    <a:pt x="173" y="342"/>
                  </a:lnTo>
                  <a:lnTo>
                    <a:pt x="187" y="339"/>
                  </a:lnTo>
                  <a:lnTo>
                    <a:pt x="193" y="334"/>
                  </a:lnTo>
                  <a:lnTo>
                    <a:pt x="194" y="329"/>
                  </a:lnTo>
                  <a:lnTo>
                    <a:pt x="133" y="340"/>
                  </a:lnTo>
                  <a:lnTo>
                    <a:pt x="122" y="345"/>
                  </a:lnTo>
                  <a:lnTo>
                    <a:pt x="111" y="347"/>
                  </a:lnTo>
                  <a:lnTo>
                    <a:pt x="105" y="352"/>
                  </a:lnTo>
                  <a:lnTo>
                    <a:pt x="96" y="352"/>
                  </a:lnTo>
                  <a:lnTo>
                    <a:pt x="91" y="348"/>
                  </a:lnTo>
                  <a:lnTo>
                    <a:pt x="90" y="344"/>
                  </a:lnTo>
                  <a:lnTo>
                    <a:pt x="83" y="343"/>
                  </a:lnTo>
                  <a:lnTo>
                    <a:pt x="79" y="345"/>
                  </a:lnTo>
                  <a:lnTo>
                    <a:pt x="83" y="348"/>
                  </a:lnTo>
                  <a:lnTo>
                    <a:pt x="83" y="354"/>
                  </a:lnTo>
                  <a:lnTo>
                    <a:pt x="68" y="354"/>
                  </a:lnTo>
                  <a:lnTo>
                    <a:pt x="64" y="359"/>
                  </a:lnTo>
                  <a:lnTo>
                    <a:pt x="51" y="360"/>
                  </a:lnTo>
                  <a:lnTo>
                    <a:pt x="45" y="355"/>
                  </a:lnTo>
                  <a:lnTo>
                    <a:pt x="43" y="347"/>
                  </a:lnTo>
                  <a:lnTo>
                    <a:pt x="47" y="338"/>
                  </a:lnTo>
                  <a:lnTo>
                    <a:pt x="53" y="333"/>
                  </a:lnTo>
                  <a:lnTo>
                    <a:pt x="69" y="332"/>
                  </a:lnTo>
                  <a:lnTo>
                    <a:pt x="67" y="310"/>
                  </a:lnTo>
                  <a:lnTo>
                    <a:pt x="53" y="313"/>
                  </a:lnTo>
                  <a:lnTo>
                    <a:pt x="41" y="322"/>
                  </a:lnTo>
                  <a:lnTo>
                    <a:pt x="35" y="320"/>
                  </a:lnTo>
                  <a:lnTo>
                    <a:pt x="33" y="311"/>
                  </a:lnTo>
                  <a:lnTo>
                    <a:pt x="29" y="309"/>
                  </a:lnTo>
                  <a:lnTo>
                    <a:pt x="8" y="313"/>
                  </a:lnTo>
                  <a:lnTo>
                    <a:pt x="6" y="304"/>
                  </a:lnTo>
                  <a:lnTo>
                    <a:pt x="2" y="290"/>
                  </a:lnTo>
                  <a:lnTo>
                    <a:pt x="0" y="273"/>
                  </a:lnTo>
                  <a:lnTo>
                    <a:pt x="6" y="256"/>
                  </a:lnTo>
                  <a:lnTo>
                    <a:pt x="22" y="234"/>
                  </a:lnTo>
                  <a:lnTo>
                    <a:pt x="32" y="218"/>
                  </a:lnTo>
                  <a:lnTo>
                    <a:pt x="52" y="209"/>
                  </a:lnTo>
                  <a:lnTo>
                    <a:pt x="53" y="202"/>
                  </a:lnTo>
                  <a:lnTo>
                    <a:pt x="51" y="194"/>
                  </a:lnTo>
                  <a:lnTo>
                    <a:pt x="48" y="189"/>
                  </a:lnTo>
                  <a:lnTo>
                    <a:pt x="36" y="189"/>
                  </a:lnTo>
                  <a:lnTo>
                    <a:pt x="32" y="182"/>
                  </a:lnTo>
                  <a:lnTo>
                    <a:pt x="31" y="165"/>
                  </a:lnTo>
                  <a:lnTo>
                    <a:pt x="36" y="151"/>
                  </a:lnTo>
                  <a:lnTo>
                    <a:pt x="46" y="135"/>
                  </a:lnTo>
                  <a:lnTo>
                    <a:pt x="85" y="94"/>
                  </a:lnTo>
                  <a:lnTo>
                    <a:pt x="122" y="68"/>
                  </a:lnTo>
                  <a:lnTo>
                    <a:pt x="129" y="59"/>
                  </a:lnTo>
                  <a:lnTo>
                    <a:pt x="142" y="55"/>
                  </a:lnTo>
                  <a:lnTo>
                    <a:pt x="148" y="44"/>
                  </a:lnTo>
                  <a:lnTo>
                    <a:pt x="162" y="42"/>
                  </a:lnTo>
                  <a:lnTo>
                    <a:pt x="194" y="22"/>
                  </a:lnTo>
                  <a:lnTo>
                    <a:pt x="239" y="0"/>
                  </a:lnTo>
                  <a:lnTo>
                    <a:pt x="252" y="3"/>
                  </a:lnTo>
                  <a:lnTo>
                    <a:pt x="255" y="10"/>
                  </a:lnTo>
                  <a:lnTo>
                    <a:pt x="261" y="14"/>
                  </a:lnTo>
                  <a:lnTo>
                    <a:pt x="262" y="21"/>
                  </a:lnTo>
                  <a:lnTo>
                    <a:pt x="269" y="31"/>
                  </a:lnTo>
                  <a:lnTo>
                    <a:pt x="272" y="43"/>
                  </a:lnTo>
                  <a:lnTo>
                    <a:pt x="273" y="71"/>
                  </a:lnTo>
                  <a:lnTo>
                    <a:pt x="272" y="94"/>
                  </a:lnTo>
                  <a:lnTo>
                    <a:pt x="259" y="101"/>
                  </a:lnTo>
                  <a:lnTo>
                    <a:pt x="255" y="111"/>
                  </a:lnTo>
                  <a:lnTo>
                    <a:pt x="253" y="117"/>
                  </a:lnTo>
                  <a:lnTo>
                    <a:pt x="255" y="121"/>
                  </a:lnTo>
                  <a:lnTo>
                    <a:pt x="252" y="127"/>
                  </a:lnTo>
                  <a:lnTo>
                    <a:pt x="239" y="133"/>
                  </a:lnTo>
                  <a:lnTo>
                    <a:pt x="237" y="138"/>
                  </a:lnTo>
                  <a:lnTo>
                    <a:pt x="244" y="146"/>
                  </a:lnTo>
                  <a:lnTo>
                    <a:pt x="268" y="126"/>
                  </a:lnTo>
                  <a:lnTo>
                    <a:pt x="274" y="126"/>
                  </a:lnTo>
                  <a:lnTo>
                    <a:pt x="277" y="135"/>
                  </a:lnTo>
                  <a:lnTo>
                    <a:pt x="295" y="127"/>
                  </a:lnTo>
                  <a:lnTo>
                    <a:pt x="300" y="113"/>
                  </a:lnTo>
                  <a:lnTo>
                    <a:pt x="294" y="110"/>
                  </a:lnTo>
                  <a:lnTo>
                    <a:pt x="294" y="97"/>
                  </a:lnTo>
                  <a:lnTo>
                    <a:pt x="300" y="81"/>
                  </a:lnTo>
                  <a:lnTo>
                    <a:pt x="309" y="76"/>
                  </a:lnTo>
                  <a:lnTo>
                    <a:pt x="310" y="69"/>
                  </a:lnTo>
                  <a:lnTo>
                    <a:pt x="315" y="64"/>
                  </a:lnTo>
                  <a:lnTo>
                    <a:pt x="329" y="62"/>
                  </a:lnTo>
                  <a:lnTo>
                    <a:pt x="355" y="80"/>
                  </a:lnTo>
                  <a:lnTo>
                    <a:pt x="388" y="91"/>
                  </a:lnTo>
                  <a:lnTo>
                    <a:pt x="396" y="101"/>
                  </a:lnTo>
                  <a:lnTo>
                    <a:pt x="406" y="106"/>
                  </a:lnTo>
                  <a:lnTo>
                    <a:pt x="415" y="113"/>
                  </a:lnTo>
                  <a:lnTo>
                    <a:pt x="424" y="128"/>
                  </a:lnTo>
                  <a:lnTo>
                    <a:pt x="427" y="145"/>
                  </a:lnTo>
                  <a:lnTo>
                    <a:pt x="408" y="171"/>
                  </a:lnTo>
                  <a:lnTo>
                    <a:pt x="388" y="189"/>
                  </a:lnTo>
                  <a:lnTo>
                    <a:pt x="388" y="192"/>
                  </a:lnTo>
                  <a:lnTo>
                    <a:pt x="406" y="188"/>
                  </a:lnTo>
                  <a:lnTo>
                    <a:pt x="415" y="173"/>
                  </a:lnTo>
                  <a:lnTo>
                    <a:pt x="427" y="166"/>
                  </a:lnTo>
                  <a:lnTo>
                    <a:pt x="425" y="173"/>
                  </a:lnTo>
                  <a:lnTo>
                    <a:pt x="420" y="187"/>
                  </a:lnTo>
                  <a:lnTo>
                    <a:pt x="433" y="192"/>
                  </a:lnTo>
                  <a:lnTo>
                    <a:pt x="435" y="187"/>
                  </a:lnTo>
                  <a:lnTo>
                    <a:pt x="439" y="167"/>
                  </a:lnTo>
                  <a:lnTo>
                    <a:pt x="440" y="161"/>
                  </a:lnTo>
                  <a:lnTo>
                    <a:pt x="446" y="157"/>
                  </a:lnTo>
                  <a:lnTo>
                    <a:pt x="454" y="148"/>
                  </a:lnTo>
                  <a:lnTo>
                    <a:pt x="465" y="150"/>
                  </a:lnTo>
                  <a:lnTo>
                    <a:pt x="472" y="146"/>
                  </a:lnTo>
                  <a:lnTo>
                    <a:pt x="486" y="164"/>
                  </a:lnTo>
                  <a:lnTo>
                    <a:pt x="488" y="157"/>
                  </a:lnTo>
                  <a:lnTo>
                    <a:pt x="486" y="148"/>
                  </a:lnTo>
                  <a:lnTo>
                    <a:pt x="483" y="145"/>
                  </a:lnTo>
                  <a:lnTo>
                    <a:pt x="486" y="144"/>
                  </a:lnTo>
                  <a:lnTo>
                    <a:pt x="494" y="151"/>
                  </a:lnTo>
                  <a:lnTo>
                    <a:pt x="499" y="148"/>
                  </a:lnTo>
                  <a:lnTo>
                    <a:pt x="497" y="138"/>
                  </a:lnTo>
                  <a:lnTo>
                    <a:pt x="484" y="129"/>
                  </a:lnTo>
                  <a:lnTo>
                    <a:pt x="484" y="123"/>
                  </a:lnTo>
                  <a:lnTo>
                    <a:pt x="486" y="122"/>
                  </a:lnTo>
                  <a:lnTo>
                    <a:pt x="498" y="132"/>
                  </a:lnTo>
                  <a:lnTo>
                    <a:pt x="503" y="123"/>
                  </a:lnTo>
                  <a:lnTo>
                    <a:pt x="488" y="103"/>
                  </a:lnTo>
                  <a:lnTo>
                    <a:pt x="481" y="100"/>
                  </a:lnTo>
                  <a:lnTo>
                    <a:pt x="473" y="90"/>
                  </a:lnTo>
                  <a:lnTo>
                    <a:pt x="470" y="78"/>
                  </a:lnTo>
                  <a:lnTo>
                    <a:pt x="468" y="68"/>
                  </a:lnTo>
                  <a:lnTo>
                    <a:pt x="477" y="67"/>
                  </a:lnTo>
                  <a:lnTo>
                    <a:pt x="494" y="71"/>
                  </a:lnTo>
                  <a:lnTo>
                    <a:pt x="504" y="76"/>
                  </a:lnTo>
                  <a:lnTo>
                    <a:pt x="508" y="87"/>
                  </a:lnTo>
                  <a:lnTo>
                    <a:pt x="519" y="86"/>
                  </a:lnTo>
                  <a:lnTo>
                    <a:pt x="519" y="92"/>
                  </a:lnTo>
                  <a:lnTo>
                    <a:pt x="526" y="108"/>
                  </a:lnTo>
                  <a:lnTo>
                    <a:pt x="533" y="113"/>
                  </a:lnTo>
                  <a:lnTo>
                    <a:pt x="540" y="111"/>
                  </a:lnTo>
                  <a:lnTo>
                    <a:pt x="546" y="117"/>
                  </a:lnTo>
                  <a:lnTo>
                    <a:pt x="546" y="121"/>
                  </a:lnTo>
                  <a:lnTo>
                    <a:pt x="554" y="127"/>
                  </a:lnTo>
                  <a:lnTo>
                    <a:pt x="553" y="133"/>
                  </a:lnTo>
                  <a:lnTo>
                    <a:pt x="551" y="135"/>
                  </a:lnTo>
                  <a:lnTo>
                    <a:pt x="560" y="139"/>
                  </a:lnTo>
                  <a:lnTo>
                    <a:pt x="568" y="155"/>
                  </a:lnTo>
                  <a:lnTo>
                    <a:pt x="567" y="186"/>
                  </a:lnTo>
                  <a:lnTo>
                    <a:pt x="568" y="197"/>
                  </a:lnTo>
                  <a:lnTo>
                    <a:pt x="570" y="205"/>
                  </a:lnTo>
                  <a:lnTo>
                    <a:pt x="575" y="214"/>
                  </a:lnTo>
                  <a:lnTo>
                    <a:pt x="578" y="243"/>
                  </a:lnTo>
                  <a:lnTo>
                    <a:pt x="592" y="258"/>
                  </a:lnTo>
                  <a:lnTo>
                    <a:pt x="585" y="273"/>
                  </a:lnTo>
                  <a:lnTo>
                    <a:pt x="585" y="295"/>
                  </a:lnTo>
                  <a:lnTo>
                    <a:pt x="591" y="296"/>
                  </a:lnTo>
                  <a:lnTo>
                    <a:pt x="600" y="311"/>
                  </a:lnTo>
                  <a:lnTo>
                    <a:pt x="606" y="310"/>
                  </a:lnTo>
                  <a:lnTo>
                    <a:pt x="608" y="301"/>
                  </a:lnTo>
                  <a:lnTo>
                    <a:pt x="616" y="297"/>
                  </a:lnTo>
                  <a:lnTo>
                    <a:pt x="622" y="295"/>
                  </a:lnTo>
                  <a:lnTo>
                    <a:pt x="629" y="285"/>
                  </a:lnTo>
                  <a:lnTo>
                    <a:pt x="630" y="274"/>
                  </a:lnTo>
                  <a:lnTo>
                    <a:pt x="639" y="270"/>
                  </a:lnTo>
                  <a:lnTo>
                    <a:pt x="639" y="264"/>
                  </a:lnTo>
                  <a:lnTo>
                    <a:pt x="627" y="247"/>
                  </a:lnTo>
                  <a:lnTo>
                    <a:pt x="624" y="236"/>
                  </a:lnTo>
                  <a:lnTo>
                    <a:pt x="624" y="225"/>
                  </a:lnTo>
                  <a:lnTo>
                    <a:pt x="619" y="220"/>
                  </a:lnTo>
                  <a:lnTo>
                    <a:pt x="617" y="203"/>
                  </a:lnTo>
                  <a:lnTo>
                    <a:pt x="614" y="187"/>
                  </a:lnTo>
                  <a:lnTo>
                    <a:pt x="618" y="186"/>
                  </a:lnTo>
                  <a:lnTo>
                    <a:pt x="617" y="177"/>
                  </a:lnTo>
                  <a:lnTo>
                    <a:pt x="617" y="166"/>
                  </a:lnTo>
                  <a:lnTo>
                    <a:pt x="613" y="160"/>
                  </a:lnTo>
                  <a:lnTo>
                    <a:pt x="612" y="139"/>
                  </a:lnTo>
                  <a:lnTo>
                    <a:pt x="610" y="121"/>
                  </a:lnTo>
                  <a:lnTo>
                    <a:pt x="605" y="103"/>
                  </a:lnTo>
                  <a:lnTo>
                    <a:pt x="597" y="68"/>
                  </a:lnTo>
                  <a:lnTo>
                    <a:pt x="595" y="62"/>
                  </a:lnTo>
                  <a:lnTo>
                    <a:pt x="599" y="62"/>
                  </a:lnTo>
                  <a:lnTo>
                    <a:pt x="600" y="49"/>
                  </a:lnTo>
                  <a:lnTo>
                    <a:pt x="596" y="49"/>
                  </a:lnTo>
                  <a:lnTo>
                    <a:pt x="592" y="38"/>
                  </a:lnTo>
                  <a:lnTo>
                    <a:pt x="596" y="33"/>
                  </a:lnTo>
                  <a:lnTo>
                    <a:pt x="606" y="33"/>
                  </a:lnTo>
                  <a:lnTo>
                    <a:pt x="608" y="27"/>
                  </a:lnTo>
                  <a:lnTo>
                    <a:pt x="597" y="16"/>
                  </a:lnTo>
                  <a:lnTo>
                    <a:pt x="599" y="8"/>
                  </a:lnTo>
                  <a:lnTo>
                    <a:pt x="602" y="8"/>
                  </a:lnTo>
                  <a:lnTo>
                    <a:pt x="602" y="3"/>
                  </a:lnTo>
                  <a:lnTo>
                    <a:pt x="608" y="3"/>
                  </a:lnTo>
                  <a:lnTo>
                    <a:pt x="630" y="9"/>
                  </a:lnTo>
                  <a:lnTo>
                    <a:pt x="632" y="15"/>
                  </a:lnTo>
                  <a:lnTo>
                    <a:pt x="650" y="33"/>
                  </a:lnTo>
                  <a:lnTo>
                    <a:pt x="665" y="40"/>
                  </a:lnTo>
                  <a:lnTo>
                    <a:pt x="667" y="37"/>
                  </a:lnTo>
                  <a:lnTo>
                    <a:pt x="669" y="31"/>
                  </a:lnTo>
                  <a:lnTo>
                    <a:pt x="662" y="28"/>
                  </a:lnTo>
                  <a:lnTo>
                    <a:pt x="661" y="21"/>
                  </a:lnTo>
                  <a:lnTo>
                    <a:pt x="661" y="15"/>
                  </a:lnTo>
                  <a:lnTo>
                    <a:pt x="666" y="14"/>
                  </a:lnTo>
                  <a:lnTo>
                    <a:pt x="676" y="19"/>
                  </a:lnTo>
                  <a:lnTo>
                    <a:pt x="678" y="25"/>
                  </a:lnTo>
                  <a:lnTo>
                    <a:pt x="687" y="28"/>
                  </a:lnTo>
                  <a:lnTo>
                    <a:pt x="691" y="44"/>
                  </a:lnTo>
                  <a:lnTo>
                    <a:pt x="696" y="52"/>
                  </a:lnTo>
                  <a:lnTo>
                    <a:pt x="720" y="67"/>
                  </a:lnTo>
                  <a:lnTo>
                    <a:pt x="720" y="74"/>
                  </a:lnTo>
                  <a:lnTo>
                    <a:pt x="734" y="81"/>
                  </a:lnTo>
                  <a:lnTo>
                    <a:pt x="741" y="91"/>
                  </a:lnTo>
                  <a:lnTo>
                    <a:pt x="742" y="96"/>
                  </a:lnTo>
                  <a:lnTo>
                    <a:pt x="750" y="102"/>
                  </a:lnTo>
                  <a:lnTo>
                    <a:pt x="751" y="110"/>
                  </a:lnTo>
                  <a:lnTo>
                    <a:pt x="745" y="123"/>
                  </a:lnTo>
                  <a:lnTo>
                    <a:pt x="751" y="123"/>
                  </a:lnTo>
                  <a:lnTo>
                    <a:pt x="756" y="140"/>
                  </a:lnTo>
                  <a:lnTo>
                    <a:pt x="756" y="151"/>
                  </a:lnTo>
                  <a:lnTo>
                    <a:pt x="755" y="156"/>
                  </a:lnTo>
                  <a:lnTo>
                    <a:pt x="758" y="166"/>
                  </a:lnTo>
                  <a:lnTo>
                    <a:pt x="759" y="177"/>
                  </a:lnTo>
                  <a:lnTo>
                    <a:pt x="766" y="200"/>
                  </a:lnTo>
                  <a:lnTo>
                    <a:pt x="768" y="246"/>
                  </a:lnTo>
                  <a:lnTo>
                    <a:pt x="771" y="250"/>
                  </a:lnTo>
                  <a:lnTo>
                    <a:pt x="775" y="273"/>
                  </a:lnTo>
                  <a:lnTo>
                    <a:pt x="791" y="294"/>
                  </a:lnTo>
                  <a:lnTo>
                    <a:pt x="799" y="306"/>
                  </a:lnTo>
                  <a:lnTo>
                    <a:pt x="804" y="322"/>
                  </a:lnTo>
                  <a:lnTo>
                    <a:pt x="802" y="329"/>
                  </a:lnTo>
                  <a:lnTo>
                    <a:pt x="805" y="336"/>
                  </a:lnTo>
                  <a:lnTo>
                    <a:pt x="806" y="353"/>
                  </a:lnTo>
                  <a:lnTo>
                    <a:pt x="804" y="353"/>
                  </a:lnTo>
                  <a:lnTo>
                    <a:pt x="796" y="358"/>
                  </a:lnTo>
                  <a:lnTo>
                    <a:pt x="798" y="383"/>
                  </a:lnTo>
                  <a:lnTo>
                    <a:pt x="794" y="396"/>
                  </a:lnTo>
                  <a:lnTo>
                    <a:pt x="798" y="409"/>
                  </a:lnTo>
                  <a:lnTo>
                    <a:pt x="812" y="419"/>
                  </a:lnTo>
                  <a:lnTo>
                    <a:pt x="815" y="428"/>
                  </a:lnTo>
                  <a:lnTo>
                    <a:pt x="829" y="455"/>
                  </a:lnTo>
                  <a:lnTo>
                    <a:pt x="847" y="460"/>
                  </a:lnTo>
                  <a:lnTo>
                    <a:pt x="854" y="479"/>
                  </a:lnTo>
                  <a:lnTo>
                    <a:pt x="860" y="483"/>
                  </a:lnTo>
                  <a:lnTo>
                    <a:pt x="870" y="484"/>
                  </a:lnTo>
                  <a:lnTo>
                    <a:pt x="876" y="492"/>
                  </a:lnTo>
                  <a:lnTo>
                    <a:pt x="881" y="487"/>
                  </a:lnTo>
                  <a:lnTo>
                    <a:pt x="881" y="478"/>
                  </a:lnTo>
                  <a:lnTo>
                    <a:pt x="885" y="476"/>
                  </a:lnTo>
                  <a:lnTo>
                    <a:pt x="896" y="480"/>
                  </a:lnTo>
                  <a:lnTo>
                    <a:pt x="901" y="485"/>
                  </a:lnTo>
                  <a:lnTo>
                    <a:pt x="898" y="494"/>
                  </a:lnTo>
                  <a:lnTo>
                    <a:pt x="938" y="531"/>
                  </a:lnTo>
                  <a:lnTo>
                    <a:pt x="946" y="536"/>
                  </a:lnTo>
                  <a:lnTo>
                    <a:pt x="958" y="536"/>
                  </a:lnTo>
                  <a:lnTo>
                    <a:pt x="963" y="543"/>
                  </a:lnTo>
                  <a:lnTo>
                    <a:pt x="962" y="552"/>
                  </a:lnTo>
                  <a:lnTo>
                    <a:pt x="963" y="560"/>
                  </a:lnTo>
                  <a:lnTo>
                    <a:pt x="972" y="562"/>
                  </a:lnTo>
                  <a:lnTo>
                    <a:pt x="978" y="558"/>
                  </a:lnTo>
                  <a:lnTo>
                    <a:pt x="981" y="562"/>
                  </a:lnTo>
                  <a:lnTo>
                    <a:pt x="989" y="558"/>
                  </a:lnTo>
                  <a:lnTo>
                    <a:pt x="994" y="560"/>
                  </a:lnTo>
                  <a:lnTo>
                    <a:pt x="999" y="584"/>
                  </a:lnTo>
                  <a:lnTo>
                    <a:pt x="994" y="596"/>
                  </a:lnTo>
                  <a:lnTo>
                    <a:pt x="997" y="622"/>
                  </a:lnTo>
                  <a:lnTo>
                    <a:pt x="992" y="635"/>
                  </a:lnTo>
                  <a:lnTo>
                    <a:pt x="984" y="638"/>
                  </a:lnTo>
                  <a:lnTo>
                    <a:pt x="977" y="635"/>
                  </a:lnTo>
                  <a:lnTo>
                    <a:pt x="967" y="617"/>
                  </a:lnTo>
                  <a:lnTo>
                    <a:pt x="967" y="595"/>
                  </a:lnTo>
                  <a:lnTo>
                    <a:pt x="961" y="616"/>
                  </a:lnTo>
                  <a:lnTo>
                    <a:pt x="958" y="635"/>
                  </a:lnTo>
                  <a:lnTo>
                    <a:pt x="956" y="640"/>
                  </a:lnTo>
                  <a:lnTo>
                    <a:pt x="952" y="629"/>
                  </a:lnTo>
                  <a:lnTo>
                    <a:pt x="946" y="627"/>
                  </a:lnTo>
                  <a:lnTo>
                    <a:pt x="944" y="633"/>
                  </a:lnTo>
                  <a:lnTo>
                    <a:pt x="938" y="623"/>
                  </a:lnTo>
                  <a:lnTo>
                    <a:pt x="934" y="611"/>
                  </a:lnTo>
                  <a:lnTo>
                    <a:pt x="934" y="597"/>
                  </a:lnTo>
                  <a:lnTo>
                    <a:pt x="931" y="605"/>
                  </a:lnTo>
                  <a:lnTo>
                    <a:pt x="925" y="606"/>
                  </a:lnTo>
                  <a:lnTo>
                    <a:pt x="924" y="602"/>
                  </a:lnTo>
                  <a:lnTo>
                    <a:pt x="918" y="617"/>
                  </a:lnTo>
                  <a:lnTo>
                    <a:pt x="914" y="617"/>
                  </a:lnTo>
                  <a:lnTo>
                    <a:pt x="902" y="624"/>
                  </a:lnTo>
                  <a:lnTo>
                    <a:pt x="902" y="632"/>
                  </a:lnTo>
                  <a:lnTo>
                    <a:pt x="906" y="632"/>
                  </a:lnTo>
                  <a:lnTo>
                    <a:pt x="907" y="656"/>
                  </a:lnTo>
                  <a:lnTo>
                    <a:pt x="899" y="657"/>
                  </a:lnTo>
                  <a:lnTo>
                    <a:pt x="895" y="652"/>
                  </a:lnTo>
                  <a:lnTo>
                    <a:pt x="881" y="651"/>
                  </a:lnTo>
                  <a:lnTo>
                    <a:pt x="874" y="654"/>
                  </a:lnTo>
                  <a:lnTo>
                    <a:pt x="872" y="657"/>
                  </a:lnTo>
                  <a:lnTo>
                    <a:pt x="879" y="670"/>
                  </a:lnTo>
                  <a:lnTo>
                    <a:pt x="880" y="677"/>
                  </a:lnTo>
                  <a:lnTo>
                    <a:pt x="877" y="694"/>
                  </a:lnTo>
                  <a:lnTo>
                    <a:pt x="879" y="700"/>
                  </a:lnTo>
                  <a:lnTo>
                    <a:pt x="888" y="681"/>
                  </a:lnTo>
                  <a:lnTo>
                    <a:pt x="902" y="672"/>
                  </a:lnTo>
                  <a:lnTo>
                    <a:pt x="906" y="663"/>
                  </a:lnTo>
                  <a:lnTo>
                    <a:pt x="929" y="662"/>
                  </a:lnTo>
                  <a:lnTo>
                    <a:pt x="931" y="668"/>
                  </a:lnTo>
                  <a:lnTo>
                    <a:pt x="940" y="671"/>
                  </a:lnTo>
                  <a:lnTo>
                    <a:pt x="936" y="677"/>
                  </a:lnTo>
                  <a:lnTo>
                    <a:pt x="935" y="684"/>
                  </a:lnTo>
                  <a:lnTo>
                    <a:pt x="929" y="691"/>
                  </a:lnTo>
                  <a:lnTo>
                    <a:pt x="930" y="695"/>
                  </a:lnTo>
                  <a:lnTo>
                    <a:pt x="925" y="694"/>
                  </a:lnTo>
                  <a:lnTo>
                    <a:pt x="923" y="700"/>
                  </a:lnTo>
                  <a:lnTo>
                    <a:pt x="927" y="710"/>
                  </a:lnTo>
                  <a:lnTo>
                    <a:pt x="933" y="711"/>
                  </a:lnTo>
                  <a:lnTo>
                    <a:pt x="935" y="700"/>
                  </a:lnTo>
                  <a:lnTo>
                    <a:pt x="947" y="706"/>
                  </a:lnTo>
                  <a:lnTo>
                    <a:pt x="958" y="708"/>
                  </a:lnTo>
                  <a:lnTo>
                    <a:pt x="961" y="719"/>
                  </a:lnTo>
                  <a:lnTo>
                    <a:pt x="960" y="727"/>
                  </a:lnTo>
                  <a:lnTo>
                    <a:pt x="954" y="729"/>
                  </a:lnTo>
                  <a:lnTo>
                    <a:pt x="951" y="726"/>
                  </a:lnTo>
                  <a:lnTo>
                    <a:pt x="949" y="734"/>
                  </a:lnTo>
                  <a:lnTo>
                    <a:pt x="944" y="740"/>
                  </a:lnTo>
                  <a:lnTo>
                    <a:pt x="944" y="745"/>
                  </a:lnTo>
                  <a:lnTo>
                    <a:pt x="936" y="743"/>
                  </a:lnTo>
                  <a:lnTo>
                    <a:pt x="917" y="751"/>
                  </a:lnTo>
                  <a:lnTo>
                    <a:pt x="914" y="761"/>
                  </a:lnTo>
                  <a:lnTo>
                    <a:pt x="901" y="761"/>
                  </a:lnTo>
                  <a:lnTo>
                    <a:pt x="895" y="757"/>
                  </a:lnTo>
                  <a:lnTo>
                    <a:pt x="893" y="767"/>
                  </a:lnTo>
                  <a:lnTo>
                    <a:pt x="887" y="770"/>
                  </a:lnTo>
                  <a:lnTo>
                    <a:pt x="885" y="774"/>
                  </a:lnTo>
                  <a:lnTo>
                    <a:pt x="876" y="769"/>
                  </a:lnTo>
                  <a:lnTo>
                    <a:pt x="861" y="775"/>
                  </a:lnTo>
                  <a:lnTo>
                    <a:pt x="836" y="769"/>
                  </a:lnTo>
                  <a:lnTo>
                    <a:pt x="831" y="761"/>
                  </a:lnTo>
                  <a:lnTo>
                    <a:pt x="814" y="756"/>
                  </a:lnTo>
                  <a:lnTo>
                    <a:pt x="809" y="749"/>
                  </a:lnTo>
                  <a:lnTo>
                    <a:pt x="800" y="749"/>
                  </a:lnTo>
                  <a:lnTo>
                    <a:pt x="795" y="758"/>
                  </a:lnTo>
                  <a:lnTo>
                    <a:pt x="771" y="754"/>
                  </a:lnTo>
                  <a:lnTo>
                    <a:pt x="758" y="749"/>
                  </a:lnTo>
                  <a:lnTo>
                    <a:pt x="757" y="742"/>
                  </a:lnTo>
                  <a:lnTo>
                    <a:pt x="773" y="726"/>
                  </a:lnTo>
                  <a:lnTo>
                    <a:pt x="768" y="720"/>
                  </a:lnTo>
                  <a:lnTo>
                    <a:pt x="758" y="724"/>
                  </a:lnTo>
                  <a:lnTo>
                    <a:pt x="742" y="722"/>
                  </a:lnTo>
                  <a:lnTo>
                    <a:pt x="740" y="715"/>
                  </a:lnTo>
                  <a:lnTo>
                    <a:pt x="726" y="711"/>
                  </a:lnTo>
                  <a:lnTo>
                    <a:pt x="721" y="714"/>
                  </a:lnTo>
                  <a:lnTo>
                    <a:pt x="697" y="710"/>
                  </a:lnTo>
                  <a:lnTo>
                    <a:pt x="696" y="700"/>
                  </a:lnTo>
                  <a:lnTo>
                    <a:pt x="699" y="693"/>
                  </a:lnTo>
                  <a:lnTo>
                    <a:pt x="697" y="677"/>
                  </a:lnTo>
                  <a:lnTo>
                    <a:pt x="693" y="666"/>
                  </a:lnTo>
                  <a:lnTo>
                    <a:pt x="682" y="662"/>
                  </a:lnTo>
                  <a:lnTo>
                    <a:pt x="678" y="670"/>
                  </a:lnTo>
                  <a:lnTo>
                    <a:pt x="673" y="678"/>
                  </a:lnTo>
                  <a:lnTo>
                    <a:pt x="660" y="684"/>
                  </a:lnTo>
                  <a:lnTo>
                    <a:pt x="665" y="702"/>
                  </a:lnTo>
                  <a:lnTo>
                    <a:pt x="665" y="710"/>
                  </a:lnTo>
                  <a:lnTo>
                    <a:pt x="655" y="718"/>
                  </a:lnTo>
                  <a:lnTo>
                    <a:pt x="639" y="741"/>
                  </a:lnTo>
                  <a:lnTo>
                    <a:pt x="612" y="748"/>
                  </a:lnTo>
                  <a:lnTo>
                    <a:pt x="572" y="748"/>
                  </a:lnTo>
                  <a:lnTo>
                    <a:pt x="578" y="753"/>
                  </a:lnTo>
                  <a:lnTo>
                    <a:pt x="567" y="770"/>
                  </a:lnTo>
                  <a:lnTo>
                    <a:pt x="552" y="781"/>
                  </a:lnTo>
                  <a:lnTo>
                    <a:pt x="535" y="788"/>
                  </a:lnTo>
                  <a:lnTo>
                    <a:pt x="521" y="796"/>
                  </a:lnTo>
                  <a:lnTo>
                    <a:pt x="503" y="799"/>
                  </a:lnTo>
                  <a:lnTo>
                    <a:pt x="495" y="795"/>
                  </a:lnTo>
                  <a:lnTo>
                    <a:pt x="482" y="801"/>
                  </a:lnTo>
                  <a:lnTo>
                    <a:pt x="467" y="797"/>
                  </a:lnTo>
                  <a:lnTo>
                    <a:pt x="460" y="802"/>
                  </a:lnTo>
                  <a:lnTo>
                    <a:pt x="455" y="796"/>
                  </a:lnTo>
                  <a:lnTo>
                    <a:pt x="440" y="802"/>
                  </a:lnTo>
                  <a:lnTo>
                    <a:pt x="425" y="805"/>
                  </a:lnTo>
                  <a:lnTo>
                    <a:pt x="423" y="807"/>
                  </a:lnTo>
                  <a:lnTo>
                    <a:pt x="430" y="807"/>
                  </a:lnTo>
                  <a:lnTo>
                    <a:pt x="429" y="812"/>
                  </a:lnTo>
                  <a:lnTo>
                    <a:pt x="415" y="812"/>
                  </a:lnTo>
                  <a:lnTo>
                    <a:pt x="393" y="818"/>
                  </a:lnTo>
                  <a:lnTo>
                    <a:pt x="387" y="815"/>
                  </a:lnTo>
                  <a:lnTo>
                    <a:pt x="369" y="815"/>
                  </a:lnTo>
                  <a:lnTo>
                    <a:pt x="320" y="819"/>
                  </a:lnTo>
                  <a:lnTo>
                    <a:pt x="321" y="816"/>
                  </a:lnTo>
                  <a:lnTo>
                    <a:pt x="332" y="807"/>
                  </a:lnTo>
                  <a:lnTo>
                    <a:pt x="314" y="796"/>
                  </a:lnTo>
                  <a:lnTo>
                    <a:pt x="305" y="783"/>
                  </a:lnTo>
                  <a:lnTo>
                    <a:pt x="301" y="770"/>
                  </a:lnTo>
                  <a:lnTo>
                    <a:pt x="296" y="758"/>
                  </a:lnTo>
                  <a:lnTo>
                    <a:pt x="296" y="743"/>
                  </a:lnTo>
                  <a:lnTo>
                    <a:pt x="300" y="732"/>
                  </a:lnTo>
                  <a:lnTo>
                    <a:pt x="300" y="729"/>
                  </a:lnTo>
                  <a:lnTo>
                    <a:pt x="291" y="724"/>
                  </a:lnTo>
                  <a:lnTo>
                    <a:pt x="290" y="719"/>
                  </a:lnTo>
                  <a:lnTo>
                    <a:pt x="287" y="713"/>
                  </a:lnTo>
                  <a:lnTo>
                    <a:pt x="277" y="706"/>
                  </a:lnTo>
                  <a:lnTo>
                    <a:pt x="277" y="702"/>
                  </a:lnTo>
                  <a:lnTo>
                    <a:pt x="259" y="697"/>
                  </a:lnTo>
                  <a:lnTo>
                    <a:pt x="230" y="69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60" name="Freeform 285">
              <a:extLst>
                <a:ext uri="{FF2B5EF4-FFF2-40B4-BE49-F238E27FC236}">
                  <a16:creationId xmlns:a16="http://schemas.microsoft.com/office/drawing/2014/main" id="{DE49C59B-7D4F-6819-7BE4-4DBD842A499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637762" y="873400"/>
              <a:ext cx="74617" cy="96026"/>
            </a:xfrm>
            <a:custGeom>
              <a:avLst/>
              <a:gdLst>
                <a:gd name="T0" fmla="*/ 0 w 137"/>
                <a:gd name="T1" fmla="*/ 0 h 167"/>
                <a:gd name="T2" fmla="*/ 0 w 137"/>
                <a:gd name="T3" fmla="*/ 0 h 167"/>
                <a:gd name="T4" fmla="*/ 0 w 137"/>
                <a:gd name="T5" fmla="*/ 0 h 167"/>
                <a:gd name="T6" fmla="*/ 0 w 137"/>
                <a:gd name="T7" fmla="*/ 0 h 167"/>
                <a:gd name="T8" fmla="*/ 0 w 137"/>
                <a:gd name="T9" fmla="*/ 0 h 167"/>
                <a:gd name="T10" fmla="*/ 0 w 137"/>
                <a:gd name="T11" fmla="*/ 0 h 167"/>
                <a:gd name="T12" fmla="*/ 0 w 137"/>
                <a:gd name="T13" fmla="*/ 0 h 167"/>
                <a:gd name="T14" fmla="*/ 0 w 137"/>
                <a:gd name="T15" fmla="*/ 0 h 167"/>
                <a:gd name="T16" fmla="*/ 0 w 137"/>
                <a:gd name="T17" fmla="*/ 0 h 167"/>
                <a:gd name="T18" fmla="*/ 0 w 137"/>
                <a:gd name="T19" fmla="*/ 0 h 167"/>
                <a:gd name="T20" fmla="*/ 0 w 137"/>
                <a:gd name="T21" fmla="*/ 0 h 167"/>
                <a:gd name="T22" fmla="*/ 0 w 137"/>
                <a:gd name="T23" fmla="*/ 0 h 167"/>
                <a:gd name="T24" fmla="*/ 0 w 137"/>
                <a:gd name="T25" fmla="*/ 0 h 167"/>
                <a:gd name="T26" fmla="*/ 0 w 137"/>
                <a:gd name="T27" fmla="*/ 0 h 167"/>
                <a:gd name="T28" fmla="*/ 0 w 137"/>
                <a:gd name="T29" fmla="*/ 0 h 167"/>
                <a:gd name="T30" fmla="*/ 0 w 137"/>
                <a:gd name="T31" fmla="*/ 0 h 167"/>
                <a:gd name="T32" fmla="*/ 0 w 137"/>
                <a:gd name="T33" fmla="*/ 0 h 167"/>
                <a:gd name="T34" fmla="*/ 0 w 137"/>
                <a:gd name="T35" fmla="*/ 0 h 167"/>
                <a:gd name="T36" fmla="*/ 0 w 137"/>
                <a:gd name="T37" fmla="*/ 0 h 167"/>
                <a:gd name="T38" fmla="*/ 0 w 137"/>
                <a:gd name="T39" fmla="*/ 0 h 167"/>
                <a:gd name="T40" fmla="*/ 0 w 137"/>
                <a:gd name="T41" fmla="*/ 0 h 167"/>
                <a:gd name="T42" fmla="*/ 0 w 137"/>
                <a:gd name="T43" fmla="*/ 0 h 167"/>
                <a:gd name="T44" fmla="*/ 0 w 137"/>
                <a:gd name="T45" fmla="*/ 0 h 167"/>
                <a:gd name="T46" fmla="*/ 0 w 137"/>
                <a:gd name="T47" fmla="*/ 0 h 167"/>
                <a:gd name="T48" fmla="*/ 0 w 137"/>
                <a:gd name="T49" fmla="*/ 0 h 167"/>
                <a:gd name="T50" fmla="*/ 0 w 137"/>
                <a:gd name="T51" fmla="*/ 0 h 167"/>
                <a:gd name="T52" fmla="*/ 0 w 137"/>
                <a:gd name="T53" fmla="*/ 0 h 167"/>
                <a:gd name="T54" fmla="*/ 0 w 137"/>
                <a:gd name="T55" fmla="*/ 0 h 167"/>
                <a:gd name="T56" fmla="*/ 0 w 137"/>
                <a:gd name="T57" fmla="*/ 0 h 167"/>
                <a:gd name="T58" fmla="*/ 0 w 137"/>
                <a:gd name="T59" fmla="*/ 0 h 167"/>
                <a:gd name="T60" fmla="*/ 0 w 137"/>
                <a:gd name="T61" fmla="*/ 0 h 167"/>
                <a:gd name="T62" fmla="*/ 0 w 137"/>
                <a:gd name="T63" fmla="*/ 0 h 167"/>
                <a:gd name="T64" fmla="*/ 0 w 137"/>
                <a:gd name="T65" fmla="*/ 0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7"/>
                <a:gd name="T100" fmla="*/ 0 h 167"/>
                <a:gd name="T101" fmla="*/ 137 w 137"/>
                <a:gd name="T102" fmla="*/ 167 h 16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7" h="167">
                  <a:moveTo>
                    <a:pt x="114" y="130"/>
                  </a:moveTo>
                  <a:lnTo>
                    <a:pt x="114" y="121"/>
                  </a:lnTo>
                  <a:lnTo>
                    <a:pt x="118" y="111"/>
                  </a:lnTo>
                  <a:lnTo>
                    <a:pt x="127" y="95"/>
                  </a:lnTo>
                  <a:lnTo>
                    <a:pt x="132" y="76"/>
                  </a:lnTo>
                  <a:lnTo>
                    <a:pt x="135" y="59"/>
                  </a:lnTo>
                  <a:lnTo>
                    <a:pt x="135" y="46"/>
                  </a:lnTo>
                  <a:lnTo>
                    <a:pt x="137" y="39"/>
                  </a:lnTo>
                  <a:lnTo>
                    <a:pt x="134" y="29"/>
                  </a:lnTo>
                  <a:lnTo>
                    <a:pt x="126" y="28"/>
                  </a:lnTo>
                  <a:lnTo>
                    <a:pt x="120" y="16"/>
                  </a:lnTo>
                  <a:lnTo>
                    <a:pt x="99" y="2"/>
                  </a:lnTo>
                  <a:lnTo>
                    <a:pt x="88" y="0"/>
                  </a:lnTo>
                  <a:lnTo>
                    <a:pt x="69" y="6"/>
                  </a:lnTo>
                  <a:lnTo>
                    <a:pt x="34" y="6"/>
                  </a:lnTo>
                  <a:lnTo>
                    <a:pt x="23" y="12"/>
                  </a:lnTo>
                  <a:lnTo>
                    <a:pt x="13" y="32"/>
                  </a:lnTo>
                  <a:lnTo>
                    <a:pt x="2" y="48"/>
                  </a:lnTo>
                  <a:lnTo>
                    <a:pt x="0" y="57"/>
                  </a:lnTo>
                  <a:lnTo>
                    <a:pt x="26" y="71"/>
                  </a:lnTo>
                  <a:lnTo>
                    <a:pt x="32" y="81"/>
                  </a:lnTo>
                  <a:lnTo>
                    <a:pt x="44" y="92"/>
                  </a:lnTo>
                  <a:lnTo>
                    <a:pt x="54" y="109"/>
                  </a:lnTo>
                  <a:lnTo>
                    <a:pt x="60" y="115"/>
                  </a:lnTo>
                  <a:lnTo>
                    <a:pt x="71" y="132"/>
                  </a:lnTo>
                  <a:lnTo>
                    <a:pt x="72" y="141"/>
                  </a:lnTo>
                  <a:lnTo>
                    <a:pt x="93" y="167"/>
                  </a:lnTo>
                  <a:lnTo>
                    <a:pt x="96" y="163"/>
                  </a:lnTo>
                  <a:lnTo>
                    <a:pt x="96" y="158"/>
                  </a:lnTo>
                  <a:lnTo>
                    <a:pt x="100" y="158"/>
                  </a:lnTo>
                  <a:lnTo>
                    <a:pt x="110" y="145"/>
                  </a:lnTo>
                  <a:lnTo>
                    <a:pt x="114" y="136"/>
                  </a:lnTo>
                  <a:lnTo>
                    <a:pt x="114" y="13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61" name="Freeform 286">
              <a:extLst>
                <a:ext uri="{FF2B5EF4-FFF2-40B4-BE49-F238E27FC236}">
                  <a16:creationId xmlns:a16="http://schemas.microsoft.com/office/drawing/2014/main" id="{C01A06FA-B056-A88E-DDB4-B2A41BF8A36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773566" y="859683"/>
              <a:ext cx="177588" cy="274359"/>
            </a:xfrm>
            <a:custGeom>
              <a:avLst/>
              <a:gdLst>
                <a:gd name="T0" fmla="*/ 0 w 331"/>
                <a:gd name="T1" fmla="*/ 2147483647 h 484"/>
                <a:gd name="T2" fmla="*/ 0 w 331"/>
                <a:gd name="T3" fmla="*/ 2147483647 h 484"/>
                <a:gd name="T4" fmla="*/ 0 w 331"/>
                <a:gd name="T5" fmla="*/ 2147483647 h 484"/>
                <a:gd name="T6" fmla="*/ 0 w 331"/>
                <a:gd name="T7" fmla="*/ 2147483647 h 484"/>
                <a:gd name="T8" fmla="*/ 0 w 331"/>
                <a:gd name="T9" fmla="*/ 0 h 484"/>
                <a:gd name="T10" fmla="*/ 0 w 331"/>
                <a:gd name="T11" fmla="*/ 0 h 484"/>
                <a:gd name="T12" fmla="*/ 0 w 331"/>
                <a:gd name="T13" fmla="*/ 0 h 484"/>
                <a:gd name="T14" fmla="*/ 0 w 331"/>
                <a:gd name="T15" fmla="*/ 0 h 484"/>
                <a:gd name="T16" fmla="*/ 0 w 331"/>
                <a:gd name="T17" fmla="*/ 0 h 484"/>
                <a:gd name="T18" fmla="*/ 0 w 331"/>
                <a:gd name="T19" fmla="*/ 0 h 484"/>
                <a:gd name="T20" fmla="*/ 0 w 331"/>
                <a:gd name="T21" fmla="*/ 0 h 484"/>
                <a:gd name="T22" fmla="*/ 0 w 331"/>
                <a:gd name="T23" fmla="*/ 0 h 484"/>
                <a:gd name="T24" fmla="*/ 0 w 331"/>
                <a:gd name="T25" fmla="*/ 0 h 484"/>
                <a:gd name="T26" fmla="*/ 0 w 331"/>
                <a:gd name="T27" fmla="*/ 0 h 484"/>
                <a:gd name="T28" fmla="*/ 0 w 331"/>
                <a:gd name="T29" fmla="*/ 0 h 484"/>
                <a:gd name="T30" fmla="*/ 0 w 331"/>
                <a:gd name="T31" fmla="*/ 0 h 484"/>
                <a:gd name="T32" fmla="*/ 0 w 331"/>
                <a:gd name="T33" fmla="*/ 0 h 484"/>
                <a:gd name="T34" fmla="*/ 0 w 331"/>
                <a:gd name="T35" fmla="*/ 0 h 484"/>
                <a:gd name="T36" fmla="*/ 0 w 331"/>
                <a:gd name="T37" fmla="*/ 0 h 484"/>
                <a:gd name="T38" fmla="*/ 0 w 331"/>
                <a:gd name="T39" fmla="*/ 0 h 484"/>
                <a:gd name="T40" fmla="*/ 0 w 331"/>
                <a:gd name="T41" fmla="*/ 0 h 484"/>
                <a:gd name="T42" fmla="*/ 0 w 331"/>
                <a:gd name="T43" fmla="*/ 0 h 484"/>
                <a:gd name="T44" fmla="*/ 0 w 331"/>
                <a:gd name="T45" fmla="*/ 0 h 484"/>
                <a:gd name="T46" fmla="*/ 0 w 331"/>
                <a:gd name="T47" fmla="*/ 0 h 484"/>
                <a:gd name="T48" fmla="*/ 0 w 331"/>
                <a:gd name="T49" fmla="*/ 0 h 484"/>
                <a:gd name="T50" fmla="*/ 0 w 331"/>
                <a:gd name="T51" fmla="*/ 0 h 484"/>
                <a:gd name="T52" fmla="*/ 0 w 331"/>
                <a:gd name="T53" fmla="*/ 0 h 484"/>
                <a:gd name="T54" fmla="*/ 0 w 331"/>
                <a:gd name="T55" fmla="*/ 0 h 484"/>
                <a:gd name="T56" fmla="*/ 0 w 331"/>
                <a:gd name="T57" fmla="*/ 0 h 484"/>
                <a:gd name="T58" fmla="*/ 0 w 331"/>
                <a:gd name="T59" fmla="*/ 0 h 484"/>
                <a:gd name="T60" fmla="*/ 0 w 331"/>
                <a:gd name="T61" fmla="*/ 0 h 484"/>
                <a:gd name="T62" fmla="*/ 0 w 331"/>
                <a:gd name="T63" fmla="*/ 0 h 484"/>
                <a:gd name="T64" fmla="*/ 0 w 331"/>
                <a:gd name="T65" fmla="*/ 0 h 484"/>
                <a:gd name="T66" fmla="*/ 0 w 331"/>
                <a:gd name="T67" fmla="*/ 0 h 484"/>
                <a:gd name="T68" fmla="*/ 0 w 331"/>
                <a:gd name="T69" fmla="*/ 0 h 484"/>
                <a:gd name="T70" fmla="*/ 0 w 331"/>
                <a:gd name="T71" fmla="*/ 0 h 484"/>
                <a:gd name="T72" fmla="*/ 0 w 331"/>
                <a:gd name="T73" fmla="*/ 0 h 484"/>
                <a:gd name="T74" fmla="*/ 0 w 331"/>
                <a:gd name="T75" fmla="*/ 0 h 484"/>
                <a:gd name="T76" fmla="*/ 0 w 331"/>
                <a:gd name="T77" fmla="*/ 0 h 484"/>
                <a:gd name="T78" fmla="*/ 0 w 331"/>
                <a:gd name="T79" fmla="*/ 0 h 484"/>
                <a:gd name="T80" fmla="*/ 0 w 331"/>
                <a:gd name="T81" fmla="*/ 0 h 484"/>
                <a:gd name="T82" fmla="*/ 0 w 331"/>
                <a:gd name="T83" fmla="*/ 0 h 484"/>
                <a:gd name="T84" fmla="*/ 0 w 331"/>
                <a:gd name="T85" fmla="*/ 0 h 484"/>
                <a:gd name="T86" fmla="*/ 2147483647 w 331"/>
                <a:gd name="T87" fmla="*/ 0 h 484"/>
                <a:gd name="T88" fmla="*/ 2147483647 w 331"/>
                <a:gd name="T89" fmla="*/ 0 h 484"/>
                <a:gd name="T90" fmla="*/ 2147483647 w 331"/>
                <a:gd name="T91" fmla="*/ 0 h 484"/>
                <a:gd name="T92" fmla="*/ 2147483647 w 331"/>
                <a:gd name="T93" fmla="*/ 2147483647 h 484"/>
                <a:gd name="T94" fmla="*/ 2147483647 w 331"/>
                <a:gd name="T95" fmla="*/ 2147483647 h 484"/>
                <a:gd name="T96" fmla="*/ 2147483647 w 331"/>
                <a:gd name="T97" fmla="*/ 2147483647 h 484"/>
                <a:gd name="T98" fmla="*/ 2147483647 w 331"/>
                <a:gd name="T99" fmla="*/ 2147483647 h 484"/>
                <a:gd name="T100" fmla="*/ 0 w 331"/>
                <a:gd name="T101" fmla="*/ 2147483647 h 484"/>
                <a:gd name="T102" fmla="*/ 0 w 331"/>
                <a:gd name="T103" fmla="*/ 2147483647 h 484"/>
                <a:gd name="T104" fmla="*/ 0 w 331"/>
                <a:gd name="T105" fmla="*/ 2147483647 h 484"/>
                <a:gd name="T106" fmla="*/ 0 w 331"/>
                <a:gd name="T107" fmla="*/ 2147483647 h 484"/>
                <a:gd name="T108" fmla="*/ 0 w 331"/>
                <a:gd name="T109" fmla="*/ 2147483647 h 484"/>
                <a:gd name="T110" fmla="*/ 0 w 331"/>
                <a:gd name="T111" fmla="*/ 2147483647 h 484"/>
                <a:gd name="T112" fmla="*/ 0 w 331"/>
                <a:gd name="T113" fmla="*/ 2147483647 h 484"/>
                <a:gd name="T114" fmla="*/ 0 w 331"/>
                <a:gd name="T115" fmla="*/ 2147483647 h 48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31"/>
                <a:gd name="T175" fmla="*/ 0 h 484"/>
                <a:gd name="T176" fmla="*/ 331 w 331"/>
                <a:gd name="T177" fmla="*/ 484 h 48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31" h="484">
                  <a:moveTo>
                    <a:pt x="137" y="376"/>
                  </a:moveTo>
                  <a:lnTo>
                    <a:pt x="132" y="371"/>
                  </a:lnTo>
                  <a:lnTo>
                    <a:pt x="124" y="351"/>
                  </a:lnTo>
                  <a:lnTo>
                    <a:pt x="123" y="344"/>
                  </a:lnTo>
                  <a:lnTo>
                    <a:pt x="116" y="336"/>
                  </a:lnTo>
                  <a:lnTo>
                    <a:pt x="109" y="334"/>
                  </a:lnTo>
                  <a:lnTo>
                    <a:pt x="99" y="341"/>
                  </a:lnTo>
                  <a:lnTo>
                    <a:pt x="94" y="328"/>
                  </a:lnTo>
                  <a:lnTo>
                    <a:pt x="87" y="317"/>
                  </a:lnTo>
                  <a:lnTo>
                    <a:pt x="81" y="317"/>
                  </a:lnTo>
                  <a:lnTo>
                    <a:pt x="78" y="325"/>
                  </a:lnTo>
                  <a:lnTo>
                    <a:pt x="55" y="322"/>
                  </a:lnTo>
                  <a:lnTo>
                    <a:pt x="51" y="307"/>
                  </a:lnTo>
                  <a:lnTo>
                    <a:pt x="42" y="297"/>
                  </a:lnTo>
                  <a:lnTo>
                    <a:pt x="40" y="291"/>
                  </a:lnTo>
                  <a:lnTo>
                    <a:pt x="22" y="275"/>
                  </a:lnTo>
                  <a:lnTo>
                    <a:pt x="18" y="268"/>
                  </a:lnTo>
                  <a:lnTo>
                    <a:pt x="1" y="245"/>
                  </a:lnTo>
                  <a:lnTo>
                    <a:pt x="0" y="227"/>
                  </a:lnTo>
                  <a:lnTo>
                    <a:pt x="2" y="205"/>
                  </a:lnTo>
                  <a:lnTo>
                    <a:pt x="6" y="189"/>
                  </a:lnTo>
                  <a:lnTo>
                    <a:pt x="15" y="182"/>
                  </a:lnTo>
                  <a:lnTo>
                    <a:pt x="28" y="179"/>
                  </a:lnTo>
                  <a:lnTo>
                    <a:pt x="35" y="189"/>
                  </a:lnTo>
                  <a:lnTo>
                    <a:pt x="43" y="194"/>
                  </a:lnTo>
                  <a:lnTo>
                    <a:pt x="44" y="195"/>
                  </a:lnTo>
                  <a:lnTo>
                    <a:pt x="42" y="202"/>
                  </a:lnTo>
                  <a:lnTo>
                    <a:pt x="48" y="209"/>
                  </a:lnTo>
                  <a:lnTo>
                    <a:pt x="59" y="212"/>
                  </a:lnTo>
                  <a:lnTo>
                    <a:pt x="64" y="217"/>
                  </a:lnTo>
                  <a:lnTo>
                    <a:pt x="65" y="228"/>
                  </a:lnTo>
                  <a:lnTo>
                    <a:pt x="69" y="236"/>
                  </a:lnTo>
                  <a:lnTo>
                    <a:pt x="71" y="244"/>
                  </a:lnTo>
                  <a:lnTo>
                    <a:pt x="89" y="245"/>
                  </a:lnTo>
                  <a:lnTo>
                    <a:pt x="97" y="241"/>
                  </a:lnTo>
                  <a:lnTo>
                    <a:pt x="99" y="236"/>
                  </a:lnTo>
                  <a:lnTo>
                    <a:pt x="105" y="238"/>
                  </a:lnTo>
                  <a:lnTo>
                    <a:pt x="113" y="236"/>
                  </a:lnTo>
                  <a:lnTo>
                    <a:pt x="124" y="223"/>
                  </a:lnTo>
                  <a:lnTo>
                    <a:pt x="119" y="214"/>
                  </a:lnTo>
                  <a:lnTo>
                    <a:pt x="116" y="196"/>
                  </a:lnTo>
                  <a:lnTo>
                    <a:pt x="120" y="196"/>
                  </a:lnTo>
                  <a:lnTo>
                    <a:pt x="128" y="206"/>
                  </a:lnTo>
                  <a:lnTo>
                    <a:pt x="132" y="204"/>
                  </a:lnTo>
                  <a:lnTo>
                    <a:pt x="132" y="190"/>
                  </a:lnTo>
                  <a:lnTo>
                    <a:pt x="129" y="183"/>
                  </a:lnTo>
                  <a:lnTo>
                    <a:pt x="119" y="182"/>
                  </a:lnTo>
                  <a:lnTo>
                    <a:pt x="116" y="171"/>
                  </a:lnTo>
                  <a:lnTo>
                    <a:pt x="112" y="168"/>
                  </a:lnTo>
                  <a:lnTo>
                    <a:pt x="112" y="155"/>
                  </a:lnTo>
                  <a:lnTo>
                    <a:pt x="110" y="144"/>
                  </a:lnTo>
                  <a:lnTo>
                    <a:pt x="112" y="140"/>
                  </a:lnTo>
                  <a:lnTo>
                    <a:pt x="121" y="137"/>
                  </a:lnTo>
                  <a:lnTo>
                    <a:pt x="137" y="151"/>
                  </a:lnTo>
                  <a:lnTo>
                    <a:pt x="140" y="146"/>
                  </a:lnTo>
                  <a:lnTo>
                    <a:pt x="118" y="113"/>
                  </a:lnTo>
                  <a:lnTo>
                    <a:pt x="114" y="119"/>
                  </a:lnTo>
                  <a:lnTo>
                    <a:pt x="113" y="128"/>
                  </a:lnTo>
                  <a:lnTo>
                    <a:pt x="104" y="131"/>
                  </a:lnTo>
                  <a:lnTo>
                    <a:pt x="93" y="134"/>
                  </a:lnTo>
                  <a:lnTo>
                    <a:pt x="77" y="123"/>
                  </a:lnTo>
                  <a:lnTo>
                    <a:pt x="69" y="107"/>
                  </a:lnTo>
                  <a:lnTo>
                    <a:pt x="61" y="105"/>
                  </a:lnTo>
                  <a:lnTo>
                    <a:pt x="59" y="89"/>
                  </a:lnTo>
                  <a:lnTo>
                    <a:pt x="60" y="78"/>
                  </a:lnTo>
                  <a:lnTo>
                    <a:pt x="80" y="78"/>
                  </a:lnTo>
                  <a:lnTo>
                    <a:pt x="87" y="85"/>
                  </a:lnTo>
                  <a:lnTo>
                    <a:pt x="89" y="92"/>
                  </a:lnTo>
                  <a:lnTo>
                    <a:pt x="99" y="98"/>
                  </a:lnTo>
                  <a:lnTo>
                    <a:pt x="102" y="92"/>
                  </a:lnTo>
                  <a:lnTo>
                    <a:pt x="98" y="80"/>
                  </a:lnTo>
                  <a:lnTo>
                    <a:pt x="98" y="71"/>
                  </a:lnTo>
                  <a:lnTo>
                    <a:pt x="85" y="67"/>
                  </a:lnTo>
                  <a:lnTo>
                    <a:pt x="80" y="59"/>
                  </a:lnTo>
                  <a:lnTo>
                    <a:pt x="71" y="59"/>
                  </a:lnTo>
                  <a:lnTo>
                    <a:pt x="66" y="45"/>
                  </a:lnTo>
                  <a:lnTo>
                    <a:pt x="77" y="32"/>
                  </a:lnTo>
                  <a:lnTo>
                    <a:pt x="96" y="21"/>
                  </a:lnTo>
                  <a:lnTo>
                    <a:pt x="101" y="28"/>
                  </a:lnTo>
                  <a:lnTo>
                    <a:pt x="114" y="32"/>
                  </a:lnTo>
                  <a:lnTo>
                    <a:pt x="124" y="39"/>
                  </a:lnTo>
                  <a:lnTo>
                    <a:pt x="126" y="32"/>
                  </a:lnTo>
                  <a:lnTo>
                    <a:pt x="126" y="24"/>
                  </a:lnTo>
                  <a:lnTo>
                    <a:pt x="113" y="19"/>
                  </a:lnTo>
                  <a:lnTo>
                    <a:pt x="109" y="12"/>
                  </a:lnTo>
                  <a:lnTo>
                    <a:pt x="119" y="5"/>
                  </a:lnTo>
                  <a:lnTo>
                    <a:pt x="129" y="0"/>
                  </a:lnTo>
                  <a:lnTo>
                    <a:pt x="135" y="5"/>
                  </a:lnTo>
                  <a:lnTo>
                    <a:pt x="144" y="21"/>
                  </a:lnTo>
                  <a:lnTo>
                    <a:pt x="152" y="22"/>
                  </a:lnTo>
                  <a:lnTo>
                    <a:pt x="164" y="32"/>
                  </a:lnTo>
                  <a:lnTo>
                    <a:pt x="175" y="37"/>
                  </a:lnTo>
                  <a:lnTo>
                    <a:pt x="188" y="34"/>
                  </a:lnTo>
                  <a:lnTo>
                    <a:pt x="193" y="38"/>
                  </a:lnTo>
                  <a:lnTo>
                    <a:pt x="217" y="31"/>
                  </a:lnTo>
                  <a:lnTo>
                    <a:pt x="248" y="8"/>
                  </a:lnTo>
                  <a:lnTo>
                    <a:pt x="274" y="1"/>
                  </a:lnTo>
                  <a:lnTo>
                    <a:pt x="276" y="8"/>
                  </a:lnTo>
                  <a:lnTo>
                    <a:pt x="288" y="26"/>
                  </a:lnTo>
                  <a:lnTo>
                    <a:pt x="295" y="28"/>
                  </a:lnTo>
                  <a:lnTo>
                    <a:pt x="293" y="51"/>
                  </a:lnTo>
                  <a:lnTo>
                    <a:pt x="284" y="66"/>
                  </a:lnTo>
                  <a:lnTo>
                    <a:pt x="270" y="69"/>
                  </a:lnTo>
                  <a:lnTo>
                    <a:pt x="266" y="75"/>
                  </a:lnTo>
                  <a:lnTo>
                    <a:pt x="270" y="76"/>
                  </a:lnTo>
                  <a:lnTo>
                    <a:pt x="281" y="86"/>
                  </a:lnTo>
                  <a:lnTo>
                    <a:pt x="284" y="94"/>
                  </a:lnTo>
                  <a:lnTo>
                    <a:pt x="282" y="112"/>
                  </a:lnTo>
                  <a:lnTo>
                    <a:pt x="279" y="108"/>
                  </a:lnTo>
                  <a:lnTo>
                    <a:pt x="268" y="112"/>
                  </a:lnTo>
                  <a:lnTo>
                    <a:pt x="250" y="130"/>
                  </a:lnTo>
                  <a:lnTo>
                    <a:pt x="241" y="148"/>
                  </a:lnTo>
                  <a:lnTo>
                    <a:pt x="233" y="155"/>
                  </a:lnTo>
                  <a:lnTo>
                    <a:pt x="228" y="164"/>
                  </a:lnTo>
                  <a:lnTo>
                    <a:pt x="221" y="172"/>
                  </a:lnTo>
                  <a:lnTo>
                    <a:pt x="220" y="184"/>
                  </a:lnTo>
                  <a:lnTo>
                    <a:pt x="220" y="195"/>
                  </a:lnTo>
                  <a:lnTo>
                    <a:pt x="242" y="172"/>
                  </a:lnTo>
                  <a:lnTo>
                    <a:pt x="257" y="167"/>
                  </a:lnTo>
                  <a:lnTo>
                    <a:pt x="265" y="173"/>
                  </a:lnTo>
                  <a:lnTo>
                    <a:pt x="280" y="189"/>
                  </a:lnTo>
                  <a:lnTo>
                    <a:pt x="279" y="201"/>
                  </a:lnTo>
                  <a:lnTo>
                    <a:pt x="282" y="204"/>
                  </a:lnTo>
                  <a:lnTo>
                    <a:pt x="285" y="215"/>
                  </a:lnTo>
                  <a:lnTo>
                    <a:pt x="290" y="216"/>
                  </a:lnTo>
                  <a:lnTo>
                    <a:pt x="293" y="222"/>
                  </a:lnTo>
                  <a:lnTo>
                    <a:pt x="295" y="228"/>
                  </a:lnTo>
                  <a:lnTo>
                    <a:pt x="290" y="238"/>
                  </a:lnTo>
                  <a:lnTo>
                    <a:pt x="290" y="248"/>
                  </a:lnTo>
                  <a:lnTo>
                    <a:pt x="303" y="236"/>
                  </a:lnTo>
                  <a:lnTo>
                    <a:pt x="314" y="234"/>
                  </a:lnTo>
                  <a:lnTo>
                    <a:pt x="315" y="222"/>
                  </a:lnTo>
                  <a:lnTo>
                    <a:pt x="322" y="232"/>
                  </a:lnTo>
                  <a:lnTo>
                    <a:pt x="322" y="242"/>
                  </a:lnTo>
                  <a:lnTo>
                    <a:pt x="324" y="247"/>
                  </a:lnTo>
                  <a:lnTo>
                    <a:pt x="331" y="274"/>
                  </a:lnTo>
                  <a:lnTo>
                    <a:pt x="331" y="282"/>
                  </a:lnTo>
                  <a:lnTo>
                    <a:pt x="329" y="288"/>
                  </a:lnTo>
                  <a:lnTo>
                    <a:pt x="319" y="300"/>
                  </a:lnTo>
                  <a:lnTo>
                    <a:pt x="314" y="301"/>
                  </a:lnTo>
                  <a:lnTo>
                    <a:pt x="320" y="313"/>
                  </a:lnTo>
                  <a:lnTo>
                    <a:pt x="323" y="322"/>
                  </a:lnTo>
                  <a:lnTo>
                    <a:pt x="324" y="338"/>
                  </a:lnTo>
                  <a:lnTo>
                    <a:pt x="323" y="344"/>
                  </a:lnTo>
                  <a:lnTo>
                    <a:pt x="315" y="355"/>
                  </a:lnTo>
                  <a:lnTo>
                    <a:pt x="323" y="354"/>
                  </a:lnTo>
                  <a:lnTo>
                    <a:pt x="325" y="360"/>
                  </a:lnTo>
                  <a:lnTo>
                    <a:pt x="327" y="373"/>
                  </a:lnTo>
                  <a:lnTo>
                    <a:pt x="327" y="385"/>
                  </a:lnTo>
                  <a:lnTo>
                    <a:pt x="322" y="389"/>
                  </a:lnTo>
                  <a:lnTo>
                    <a:pt x="318" y="384"/>
                  </a:lnTo>
                  <a:lnTo>
                    <a:pt x="307" y="393"/>
                  </a:lnTo>
                  <a:lnTo>
                    <a:pt x="303" y="410"/>
                  </a:lnTo>
                  <a:lnTo>
                    <a:pt x="280" y="428"/>
                  </a:lnTo>
                  <a:lnTo>
                    <a:pt x="266" y="422"/>
                  </a:lnTo>
                  <a:lnTo>
                    <a:pt x="249" y="426"/>
                  </a:lnTo>
                  <a:lnTo>
                    <a:pt x="238" y="422"/>
                  </a:lnTo>
                  <a:lnTo>
                    <a:pt x="236" y="428"/>
                  </a:lnTo>
                  <a:lnTo>
                    <a:pt x="248" y="444"/>
                  </a:lnTo>
                  <a:lnTo>
                    <a:pt x="248" y="454"/>
                  </a:lnTo>
                  <a:lnTo>
                    <a:pt x="231" y="467"/>
                  </a:lnTo>
                  <a:lnTo>
                    <a:pt x="229" y="475"/>
                  </a:lnTo>
                  <a:lnTo>
                    <a:pt x="221" y="483"/>
                  </a:lnTo>
                  <a:lnTo>
                    <a:pt x="212" y="484"/>
                  </a:lnTo>
                  <a:lnTo>
                    <a:pt x="205" y="464"/>
                  </a:lnTo>
                  <a:lnTo>
                    <a:pt x="199" y="465"/>
                  </a:lnTo>
                  <a:lnTo>
                    <a:pt x="195" y="473"/>
                  </a:lnTo>
                  <a:lnTo>
                    <a:pt x="187" y="473"/>
                  </a:lnTo>
                  <a:lnTo>
                    <a:pt x="182" y="454"/>
                  </a:lnTo>
                  <a:lnTo>
                    <a:pt x="178" y="431"/>
                  </a:lnTo>
                  <a:lnTo>
                    <a:pt x="172" y="424"/>
                  </a:lnTo>
                  <a:lnTo>
                    <a:pt x="167" y="406"/>
                  </a:lnTo>
                  <a:lnTo>
                    <a:pt x="158" y="394"/>
                  </a:lnTo>
                  <a:lnTo>
                    <a:pt x="144" y="384"/>
                  </a:lnTo>
                  <a:lnTo>
                    <a:pt x="137" y="37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62" name="Freeform 287">
              <a:extLst>
                <a:ext uri="{FF2B5EF4-FFF2-40B4-BE49-F238E27FC236}">
                  <a16:creationId xmlns:a16="http://schemas.microsoft.com/office/drawing/2014/main" id="{B1ECF21C-41D9-D838-8D24-9BB4963F19F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763119" y="515209"/>
              <a:ext cx="156696" cy="214914"/>
            </a:xfrm>
            <a:custGeom>
              <a:avLst/>
              <a:gdLst>
                <a:gd name="T0" fmla="*/ 0 w 292"/>
                <a:gd name="T1" fmla="*/ 0 h 380"/>
                <a:gd name="T2" fmla="*/ 0 w 292"/>
                <a:gd name="T3" fmla="*/ 0 h 380"/>
                <a:gd name="T4" fmla="*/ 0 w 292"/>
                <a:gd name="T5" fmla="*/ 0 h 380"/>
                <a:gd name="T6" fmla="*/ 0 w 292"/>
                <a:gd name="T7" fmla="*/ 0 h 380"/>
                <a:gd name="T8" fmla="*/ 0 w 292"/>
                <a:gd name="T9" fmla="*/ 0 h 380"/>
                <a:gd name="T10" fmla="*/ 0 w 292"/>
                <a:gd name="T11" fmla="*/ 0 h 380"/>
                <a:gd name="T12" fmla="*/ 0 w 292"/>
                <a:gd name="T13" fmla="*/ 0 h 380"/>
                <a:gd name="T14" fmla="*/ 0 w 292"/>
                <a:gd name="T15" fmla="*/ 0 h 380"/>
                <a:gd name="T16" fmla="*/ 0 w 292"/>
                <a:gd name="T17" fmla="*/ 2147483647 h 380"/>
                <a:gd name="T18" fmla="*/ 0 w 292"/>
                <a:gd name="T19" fmla="*/ 2147483647 h 380"/>
                <a:gd name="T20" fmla="*/ 0 w 292"/>
                <a:gd name="T21" fmla="*/ 2147483647 h 380"/>
                <a:gd name="T22" fmla="*/ 0 w 292"/>
                <a:gd name="T23" fmla="*/ 2147483647 h 380"/>
                <a:gd name="T24" fmla="*/ 0 w 292"/>
                <a:gd name="T25" fmla="*/ 2147483647 h 380"/>
                <a:gd name="T26" fmla="*/ 0 w 292"/>
                <a:gd name="T27" fmla="*/ 2147483647 h 380"/>
                <a:gd name="T28" fmla="*/ 0 w 292"/>
                <a:gd name="T29" fmla="*/ 2147483647 h 380"/>
                <a:gd name="T30" fmla="*/ 0 w 292"/>
                <a:gd name="T31" fmla="*/ 2147483647 h 380"/>
                <a:gd name="T32" fmla="*/ 0 w 292"/>
                <a:gd name="T33" fmla="*/ 2147483647 h 380"/>
                <a:gd name="T34" fmla="*/ 0 w 292"/>
                <a:gd name="T35" fmla="*/ 0 h 380"/>
                <a:gd name="T36" fmla="*/ 0 w 292"/>
                <a:gd name="T37" fmla="*/ 0 h 380"/>
                <a:gd name="T38" fmla="*/ 0 w 292"/>
                <a:gd name="T39" fmla="*/ 0 h 380"/>
                <a:gd name="T40" fmla="*/ 0 w 292"/>
                <a:gd name="T41" fmla="*/ 0 h 380"/>
                <a:gd name="T42" fmla="*/ 0 w 292"/>
                <a:gd name="T43" fmla="*/ 0 h 380"/>
                <a:gd name="T44" fmla="*/ 0 w 292"/>
                <a:gd name="T45" fmla="*/ 0 h 380"/>
                <a:gd name="T46" fmla="*/ 0 w 292"/>
                <a:gd name="T47" fmla="*/ 0 h 380"/>
                <a:gd name="T48" fmla="*/ 0 w 292"/>
                <a:gd name="T49" fmla="*/ 0 h 380"/>
                <a:gd name="T50" fmla="*/ 0 w 292"/>
                <a:gd name="T51" fmla="*/ 0 h 380"/>
                <a:gd name="T52" fmla="*/ 0 w 292"/>
                <a:gd name="T53" fmla="*/ 0 h 380"/>
                <a:gd name="T54" fmla="*/ 0 w 292"/>
                <a:gd name="T55" fmla="*/ 0 h 380"/>
                <a:gd name="T56" fmla="*/ 0 w 292"/>
                <a:gd name="T57" fmla="*/ 0 h 380"/>
                <a:gd name="T58" fmla="*/ 0 w 292"/>
                <a:gd name="T59" fmla="*/ 0 h 380"/>
                <a:gd name="T60" fmla="*/ 0 w 292"/>
                <a:gd name="T61" fmla="*/ 0 h 380"/>
                <a:gd name="T62" fmla="*/ 0 w 292"/>
                <a:gd name="T63" fmla="*/ 0 h 380"/>
                <a:gd name="T64" fmla="*/ 0 w 292"/>
                <a:gd name="T65" fmla="*/ 0 h 380"/>
                <a:gd name="T66" fmla="*/ 0 w 292"/>
                <a:gd name="T67" fmla="*/ 0 h 380"/>
                <a:gd name="T68" fmla="*/ 0 w 292"/>
                <a:gd name="T69" fmla="*/ 0 h 380"/>
                <a:gd name="T70" fmla="*/ 0 w 292"/>
                <a:gd name="T71" fmla="*/ 0 h 380"/>
                <a:gd name="T72" fmla="*/ 0 w 292"/>
                <a:gd name="T73" fmla="*/ 0 h 380"/>
                <a:gd name="T74" fmla="*/ 0 w 292"/>
                <a:gd name="T75" fmla="*/ 0 h 380"/>
                <a:gd name="T76" fmla="*/ 0 w 292"/>
                <a:gd name="T77" fmla="*/ 0 h 380"/>
                <a:gd name="T78" fmla="*/ 0 w 292"/>
                <a:gd name="T79" fmla="*/ 0 h 380"/>
                <a:gd name="T80" fmla="*/ 0 w 292"/>
                <a:gd name="T81" fmla="*/ 0 h 380"/>
                <a:gd name="T82" fmla="*/ 0 w 292"/>
                <a:gd name="T83" fmla="*/ 0 h 380"/>
                <a:gd name="T84" fmla="*/ 0 w 292"/>
                <a:gd name="T85" fmla="*/ 0 h 380"/>
                <a:gd name="T86" fmla="*/ 0 w 292"/>
                <a:gd name="T87" fmla="*/ 0 h 380"/>
                <a:gd name="T88" fmla="*/ 0 w 292"/>
                <a:gd name="T89" fmla="*/ 0 h 380"/>
                <a:gd name="T90" fmla="*/ 0 w 292"/>
                <a:gd name="T91" fmla="*/ 0 h 380"/>
                <a:gd name="T92" fmla="*/ 0 w 292"/>
                <a:gd name="T93" fmla="*/ 0 h 380"/>
                <a:gd name="T94" fmla="*/ 0 w 292"/>
                <a:gd name="T95" fmla="*/ 0 h 380"/>
                <a:gd name="T96" fmla="*/ 0 w 292"/>
                <a:gd name="T97" fmla="*/ 0 h 380"/>
                <a:gd name="T98" fmla="*/ 0 w 292"/>
                <a:gd name="T99" fmla="*/ 0 h 380"/>
                <a:gd name="T100" fmla="*/ 0 w 292"/>
                <a:gd name="T101" fmla="*/ 0 h 380"/>
                <a:gd name="T102" fmla="*/ 0 w 292"/>
                <a:gd name="T103" fmla="*/ 0 h 38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92"/>
                <a:gd name="T157" fmla="*/ 0 h 380"/>
                <a:gd name="T158" fmla="*/ 292 w 292"/>
                <a:gd name="T159" fmla="*/ 380 h 38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92" h="380">
                  <a:moveTo>
                    <a:pt x="281" y="160"/>
                  </a:moveTo>
                  <a:lnTo>
                    <a:pt x="282" y="162"/>
                  </a:lnTo>
                  <a:lnTo>
                    <a:pt x="281" y="165"/>
                  </a:lnTo>
                  <a:lnTo>
                    <a:pt x="281" y="171"/>
                  </a:lnTo>
                  <a:lnTo>
                    <a:pt x="282" y="177"/>
                  </a:lnTo>
                  <a:lnTo>
                    <a:pt x="281" y="187"/>
                  </a:lnTo>
                  <a:lnTo>
                    <a:pt x="268" y="198"/>
                  </a:lnTo>
                  <a:lnTo>
                    <a:pt x="266" y="206"/>
                  </a:lnTo>
                  <a:lnTo>
                    <a:pt x="285" y="213"/>
                  </a:lnTo>
                  <a:lnTo>
                    <a:pt x="291" y="210"/>
                  </a:lnTo>
                  <a:lnTo>
                    <a:pt x="292" y="224"/>
                  </a:lnTo>
                  <a:lnTo>
                    <a:pt x="291" y="237"/>
                  </a:lnTo>
                  <a:lnTo>
                    <a:pt x="290" y="267"/>
                  </a:lnTo>
                  <a:lnTo>
                    <a:pt x="292" y="285"/>
                  </a:lnTo>
                  <a:lnTo>
                    <a:pt x="284" y="254"/>
                  </a:lnTo>
                  <a:lnTo>
                    <a:pt x="279" y="244"/>
                  </a:lnTo>
                  <a:lnTo>
                    <a:pt x="274" y="240"/>
                  </a:lnTo>
                  <a:lnTo>
                    <a:pt x="270" y="244"/>
                  </a:lnTo>
                  <a:lnTo>
                    <a:pt x="263" y="242"/>
                  </a:lnTo>
                  <a:lnTo>
                    <a:pt x="260" y="249"/>
                  </a:lnTo>
                  <a:lnTo>
                    <a:pt x="268" y="254"/>
                  </a:lnTo>
                  <a:lnTo>
                    <a:pt x="269" y="263"/>
                  </a:lnTo>
                  <a:lnTo>
                    <a:pt x="268" y="267"/>
                  </a:lnTo>
                  <a:lnTo>
                    <a:pt x="265" y="259"/>
                  </a:lnTo>
                  <a:lnTo>
                    <a:pt x="258" y="264"/>
                  </a:lnTo>
                  <a:lnTo>
                    <a:pt x="255" y="270"/>
                  </a:lnTo>
                  <a:lnTo>
                    <a:pt x="263" y="279"/>
                  </a:lnTo>
                  <a:lnTo>
                    <a:pt x="259" y="280"/>
                  </a:lnTo>
                  <a:lnTo>
                    <a:pt x="258" y="285"/>
                  </a:lnTo>
                  <a:lnTo>
                    <a:pt x="260" y="291"/>
                  </a:lnTo>
                  <a:lnTo>
                    <a:pt x="258" y="292"/>
                  </a:lnTo>
                  <a:lnTo>
                    <a:pt x="253" y="286"/>
                  </a:lnTo>
                  <a:lnTo>
                    <a:pt x="248" y="302"/>
                  </a:lnTo>
                  <a:lnTo>
                    <a:pt x="249" y="308"/>
                  </a:lnTo>
                  <a:lnTo>
                    <a:pt x="254" y="306"/>
                  </a:lnTo>
                  <a:lnTo>
                    <a:pt x="271" y="338"/>
                  </a:lnTo>
                  <a:lnTo>
                    <a:pt x="274" y="345"/>
                  </a:lnTo>
                  <a:lnTo>
                    <a:pt x="269" y="349"/>
                  </a:lnTo>
                  <a:lnTo>
                    <a:pt x="263" y="345"/>
                  </a:lnTo>
                  <a:lnTo>
                    <a:pt x="258" y="334"/>
                  </a:lnTo>
                  <a:lnTo>
                    <a:pt x="254" y="330"/>
                  </a:lnTo>
                  <a:lnTo>
                    <a:pt x="248" y="332"/>
                  </a:lnTo>
                  <a:lnTo>
                    <a:pt x="248" y="339"/>
                  </a:lnTo>
                  <a:lnTo>
                    <a:pt x="250" y="345"/>
                  </a:lnTo>
                  <a:lnTo>
                    <a:pt x="250" y="350"/>
                  </a:lnTo>
                  <a:lnTo>
                    <a:pt x="255" y="359"/>
                  </a:lnTo>
                  <a:lnTo>
                    <a:pt x="255" y="369"/>
                  </a:lnTo>
                  <a:lnTo>
                    <a:pt x="230" y="372"/>
                  </a:lnTo>
                  <a:lnTo>
                    <a:pt x="228" y="365"/>
                  </a:lnTo>
                  <a:lnTo>
                    <a:pt x="219" y="375"/>
                  </a:lnTo>
                  <a:lnTo>
                    <a:pt x="211" y="375"/>
                  </a:lnTo>
                  <a:lnTo>
                    <a:pt x="208" y="370"/>
                  </a:lnTo>
                  <a:lnTo>
                    <a:pt x="209" y="360"/>
                  </a:lnTo>
                  <a:lnTo>
                    <a:pt x="203" y="364"/>
                  </a:lnTo>
                  <a:lnTo>
                    <a:pt x="201" y="373"/>
                  </a:lnTo>
                  <a:lnTo>
                    <a:pt x="190" y="371"/>
                  </a:lnTo>
                  <a:lnTo>
                    <a:pt x="190" y="360"/>
                  </a:lnTo>
                  <a:lnTo>
                    <a:pt x="188" y="369"/>
                  </a:lnTo>
                  <a:lnTo>
                    <a:pt x="180" y="372"/>
                  </a:lnTo>
                  <a:lnTo>
                    <a:pt x="177" y="364"/>
                  </a:lnTo>
                  <a:lnTo>
                    <a:pt x="179" y="354"/>
                  </a:lnTo>
                  <a:lnTo>
                    <a:pt x="167" y="380"/>
                  </a:lnTo>
                  <a:lnTo>
                    <a:pt x="144" y="380"/>
                  </a:lnTo>
                  <a:lnTo>
                    <a:pt x="130" y="373"/>
                  </a:lnTo>
                  <a:lnTo>
                    <a:pt x="123" y="365"/>
                  </a:lnTo>
                  <a:lnTo>
                    <a:pt x="122" y="339"/>
                  </a:lnTo>
                  <a:lnTo>
                    <a:pt x="118" y="332"/>
                  </a:lnTo>
                  <a:lnTo>
                    <a:pt x="119" y="327"/>
                  </a:lnTo>
                  <a:lnTo>
                    <a:pt x="142" y="327"/>
                  </a:lnTo>
                  <a:lnTo>
                    <a:pt x="147" y="322"/>
                  </a:lnTo>
                  <a:lnTo>
                    <a:pt x="131" y="319"/>
                  </a:lnTo>
                  <a:lnTo>
                    <a:pt x="136" y="303"/>
                  </a:lnTo>
                  <a:lnTo>
                    <a:pt x="119" y="310"/>
                  </a:lnTo>
                  <a:lnTo>
                    <a:pt x="115" y="300"/>
                  </a:lnTo>
                  <a:lnTo>
                    <a:pt x="128" y="291"/>
                  </a:lnTo>
                  <a:lnTo>
                    <a:pt x="113" y="280"/>
                  </a:lnTo>
                  <a:lnTo>
                    <a:pt x="131" y="276"/>
                  </a:lnTo>
                  <a:lnTo>
                    <a:pt x="141" y="279"/>
                  </a:lnTo>
                  <a:lnTo>
                    <a:pt x="145" y="273"/>
                  </a:lnTo>
                  <a:lnTo>
                    <a:pt x="141" y="270"/>
                  </a:lnTo>
                  <a:lnTo>
                    <a:pt x="162" y="268"/>
                  </a:lnTo>
                  <a:lnTo>
                    <a:pt x="163" y="262"/>
                  </a:lnTo>
                  <a:lnTo>
                    <a:pt x="141" y="265"/>
                  </a:lnTo>
                  <a:lnTo>
                    <a:pt x="155" y="256"/>
                  </a:lnTo>
                  <a:lnTo>
                    <a:pt x="152" y="252"/>
                  </a:lnTo>
                  <a:lnTo>
                    <a:pt x="156" y="247"/>
                  </a:lnTo>
                  <a:lnTo>
                    <a:pt x="169" y="242"/>
                  </a:lnTo>
                  <a:lnTo>
                    <a:pt x="168" y="237"/>
                  </a:lnTo>
                  <a:lnTo>
                    <a:pt x="163" y="232"/>
                  </a:lnTo>
                  <a:lnTo>
                    <a:pt x="166" y="225"/>
                  </a:lnTo>
                  <a:lnTo>
                    <a:pt x="204" y="219"/>
                  </a:lnTo>
                  <a:lnTo>
                    <a:pt x="211" y="214"/>
                  </a:lnTo>
                  <a:lnTo>
                    <a:pt x="210" y="209"/>
                  </a:lnTo>
                  <a:lnTo>
                    <a:pt x="203" y="214"/>
                  </a:lnTo>
                  <a:lnTo>
                    <a:pt x="174" y="216"/>
                  </a:lnTo>
                  <a:lnTo>
                    <a:pt x="172" y="214"/>
                  </a:lnTo>
                  <a:lnTo>
                    <a:pt x="163" y="220"/>
                  </a:lnTo>
                  <a:lnTo>
                    <a:pt x="153" y="219"/>
                  </a:lnTo>
                  <a:lnTo>
                    <a:pt x="135" y="227"/>
                  </a:lnTo>
                  <a:lnTo>
                    <a:pt x="129" y="225"/>
                  </a:lnTo>
                  <a:lnTo>
                    <a:pt x="92" y="241"/>
                  </a:lnTo>
                  <a:lnTo>
                    <a:pt x="72" y="240"/>
                  </a:lnTo>
                  <a:lnTo>
                    <a:pt x="67" y="248"/>
                  </a:lnTo>
                  <a:lnTo>
                    <a:pt x="60" y="242"/>
                  </a:lnTo>
                  <a:lnTo>
                    <a:pt x="50" y="252"/>
                  </a:lnTo>
                  <a:lnTo>
                    <a:pt x="26" y="254"/>
                  </a:lnTo>
                  <a:lnTo>
                    <a:pt x="17" y="263"/>
                  </a:lnTo>
                  <a:lnTo>
                    <a:pt x="4" y="256"/>
                  </a:lnTo>
                  <a:lnTo>
                    <a:pt x="0" y="242"/>
                  </a:lnTo>
                  <a:lnTo>
                    <a:pt x="8" y="240"/>
                  </a:lnTo>
                  <a:lnTo>
                    <a:pt x="7" y="232"/>
                  </a:lnTo>
                  <a:lnTo>
                    <a:pt x="10" y="222"/>
                  </a:lnTo>
                  <a:lnTo>
                    <a:pt x="18" y="220"/>
                  </a:lnTo>
                  <a:lnTo>
                    <a:pt x="39" y="227"/>
                  </a:lnTo>
                  <a:lnTo>
                    <a:pt x="37" y="219"/>
                  </a:lnTo>
                  <a:lnTo>
                    <a:pt x="31" y="215"/>
                  </a:lnTo>
                  <a:lnTo>
                    <a:pt x="33" y="206"/>
                  </a:lnTo>
                  <a:lnTo>
                    <a:pt x="27" y="206"/>
                  </a:lnTo>
                  <a:lnTo>
                    <a:pt x="28" y="193"/>
                  </a:lnTo>
                  <a:lnTo>
                    <a:pt x="42" y="183"/>
                  </a:lnTo>
                  <a:lnTo>
                    <a:pt x="49" y="183"/>
                  </a:lnTo>
                  <a:lnTo>
                    <a:pt x="67" y="198"/>
                  </a:lnTo>
                  <a:lnTo>
                    <a:pt x="71" y="209"/>
                  </a:lnTo>
                  <a:lnTo>
                    <a:pt x="83" y="205"/>
                  </a:lnTo>
                  <a:lnTo>
                    <a:pt x="82" y="195"/>
                  </a:lnTo>
                  <a:lnTo>
                    <a:pt x="81" y="187"/>
                  </a:lnTo>
                  <a:lnTo>
                    <a:pt x="65" y="176"/>
                  </a:lnTo>
                  <a:lnTo>
                    <a:pt x="69" y="166"/>
                  </a:lnTo>
                  <a:lnTo>
                    <a:pt x="77" y="156"/>
                  </a:lnTo>
                  <a:lnTo>
                    <a:pt x="77" y="150"/>
                  </a:lnTo>
                  <a:lnTo>
                    <a:pt x="53" y="161"/>
                  </a:lnTo>
                  <a:lnTo>
                    <a:pt x="51" y="149"/>
                  </a:lnTo>
                  <a:lnTo>
                    <a:pt x="44" y="136"/>
                  </a:lnTo>
                  <a:lnTo>
                    <a:pt x="44" y="122"/>
                  </a:lnTo>
                  <a:lnTo>
                    <a:pt x="48" y="109"/>
                  </a:lnTo>
                  <a:lnTo>
                    <a:pt x="33" y="109"/>
                  </a:lnTo>
                  <a:lnTo>
                    <a:pt x="34" y="95"/>
                  </a:lnTo>
                  <a:lnTo>
                    <a:pt x="33" y="85"/>
                  </a:lnTo>
                  <a:lnTo>
                    <a:pt x="44" y="66"/>
                  </a:lnTo>
                  <a:lnTo>
                    <a:pt x="43" y="65"/>
                  </a:lnTo>
                  <a:lnTo>
                    <a:pt x="47" y="55"/>
                  </a:lnTo>
                  <a:lnTo>
                    <a:pt x="53" y="50"/>
                  </a:lnTo>
                  <a:lnTo>
                    <a:pt x="74" y="58"/>
                  </a:lnTo>
                  <a:lnTo>
                    <a:pt x="77" y="57"/>
                  </a:lnTo>
                  <a:lnTo>
                    <a:pt x="81" y="63"/>
                  </a:lnTo>
                  <a:lnTo>
                    <a:pt x="81" y="74"/>
                  </a:lnTo>
                  <a:lnTo>
                    <a:pt x="85" y="72"/>
                  </a:lnTo>
                  <a:lnTo>
                    <a:pt x="96" y="82"/>
                  </a:lnTo>
                  <a:lnTo>
                    <a:pt x="90" y="93"/>
                  </a:lnTo>
                  <a:lnTo>
                    <a:pt x="110" y="123"/>
                  </a:lnTo>
                  <a:lnTo>
                    <a:pt x="110" y="127"/>
                  </a:lnTo>
                  <a:lnTo>
                    <a:pt x="114" y="133"/>
                  </a:lnTo>
                  <a:lnTo>
                    <a:pt x="122" y="129"/>
                  </a:lnTo>
                  <a:lnTo>
                    <a:pt x="128" y="131"/>
                  </a:lnTo>
                  <a:lnTo>
                    <a:pt x="122" y="140"/>
                  </a:lnTo>
                  <a:lnTo>
                    <a:pt x="134" y="147"/>
                  </a:lnTo>
                  <a:lnTo>
                    <a:pt x="150" y="165"/>
                  </a:lnTo>
                  <a:lnTo>
                    <a:pt x="161" y="167"/>
                  </a:lnTo>
                  <a:lnTo>
                    <a:pt x="169" y="160"/>
                  </a:lnTo>
                  <a:lnTo>
                    <a:pt x="171" y="156"/>
                  </a:lnTo>
                  <a:lnTo>
                    <a:pt x="161" y="158"/>
                  </a:lnTo>
                  <a:lnTo>
                    <a:pt x="152" y="144"/>
                  </a:lnTo>
                  <a:lnTo>
                    <a:pt x="142" y="117"/>
                  </a:lnTo>
                  <a:lnTo>
                    <a:pt x="158" y="113"/>
                  </a:lnTo>
                  <a:lnTo>
                    <a:pt x="153" y="104"/>
                  </a:lnTo>
                  <a:lnTo>
                    <a:pt x="130" y="108"/>
                  </a:lnTo>
                  <a:lnTo>
                    <a:pt x="122" y="100"/>
                  </a:lnTo>
                  <a:lnTo>
                    <a:pt x="125" y="93"/>
                  </a:lnTo>
                  <a:lnTo>
                    <a:pt x="137" y="93"/>
                  </a:lnTo>
                  <a:lnTo>
                    <a:pt x="140" y="86"/>
                  </a:lnTo>
                  <a:lnTo>
                    <a:pt x="147" y="86"/>
                  </a:lnTo>
                  <a:lnTo>
                    <a:pt x="141" y="82"/>
                  </a:lnTo>
                  <a:lnTo>
                    <a:pt x="133" y="71"/>
                  </a:lnTo>
                  <a:lnTo>
                    <a:pt x="115" y="71"/>
                  </a:lnTo>
                  <a:lnTo>
                    <a:pt x="107" y="64"/>
                  </a:lnTo>
                  <a:lnTo>
                    <a:pt x="96" y="45"/>
                  </a:lnTo>
                  <a:lnTo>
                    <a:pt x="97" y="38"/>
                  </a:lnTo>
                  <a:lnTo>
                    <a:pt x="108" y="37"/>
                  </a:lnTo>
                  <a:lnTo>
                    <a:pt x="112" y="21"/>
                  </a:lnTo>
                  <a:lnTo>
                    <a:pt x="129" y="7"/>
                  </a:lnTo>
                  <a:lnTo>
                    <a:pt x="153" y="11"/>
                  </a:lnTo>
                  <a:lnTo>
                    <a:pt x="168" y="6"/>
                  </a:lnTo>
                  <a:lnTo>
                    <a:pt x="172" y="16"/>
                  </a:lnTo>
                  <a:lnTo>
                    <a:pt x="183" y="28"/>
                  </a:lnTo>
                  <a:lnTo>
                    <a:pt x="204" y="36"/>
                  </a:lnTo>
                  <a:lnTo>
                    <a:pt x="201" y="45"/>
                  </a:lnTo>
                  <a:lnTo>
                    <a:pt x="203" y="52"/>
                  </a:lnTo>
                  <a:lnTo>
                    <a:pt x="205" y="45"/>
                  </a:lnTo>
                  <a:lnTo>
                    <a:pt x="216" y="49"/>
                  </a:lnTo>
                  <a:lnTo>
                    <a:pt x="220" y="39"/>
                  </a:lnTo>
                  <a:lnTo>
                    <a:pt x="212" y="21"/>
                  </a:lnTo>
                  <a:lnTo>
                    <a:pt x="216" y="15"/>
                  </a:lnTo>
                  <a:lnTo>
                    <a:pt x="231" y="18"/>
                  </a:lnTo>
                  <a:lnTo>
                    <a:pt x="235" y="6"/>
                  </a:lnTo>
                  <a:lnTo>
                    <a:pt x="219" y="0"/>
                  </a:lnTo>
                  <a:lnTo>
                    <a:pt x="237" y="0"/>
                  </a:lnTo>
                  <a:lnTo>
                    <a:pt x="243" y="11"/>
                  </a:lnTo>
                  <a:lnTo>
                    <a:pt x="255" y="22"/>
                  </a:lnTo>
                  <a:lnTo>
                    <a:pt x="242" y="20"/>
                  </a:lnTo>
                  <a:lnTo>
                    <a:pt x="246" y="26"/>
                  </a:lnTo>
                  <a:lnTo>
                    <a:pt x="265" y="33"/>
                  </a:lnTo>
                  <a:lnTo>
                    <a:pt x="276" y="48"/>
                  </a:lnTo>
                  <a:lnTo>
                    <a:pt x="278" y="60"/>
                  </a:lnTo>
                  <a:lnTo>
                    <a:pt x="274" y="72"/>
                  </a:lnTo>
                  <a:lnTo>
                    <a:pt x="274" y="90"/>
                  </a:lnTo>
                  <a:lnTo>
                    <a:pt x="282" y="107"/>
                  </a:lnTo>
                  <a:lnTo>
                    <a:pt x="284" y="123"/>
                  </a:lnTo>
                  <a:lnTo>
                    <a:pt x="280" y="134"/>
                  </a:lnTo>
                  <a:lnTo>
                    <a:pt x="281" y="140"/>
                  </a:lnTo>
                  <a:lnTo>
                    <a:pt x="280" y="149"/>
                  </a:lnTo>
                  <a:lnTo>
                    <a:pt x="281" y="16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63" name="Freeform 288">
              <a:extLst>
                <a:ext uri="{FF2B5EF4-FFF2-40B4-BE49-F238E27FC236}">
                  <a16:creationId xmlns:a16="http://schemas.microsoft.com/office/drawing/2014/main" id="{EAD81BB7-1579-14AA-3C08-EBE5FF60198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327355" y="490822"/>
              <a:ext cx="356670" cy="304844"/>
            </a:xfrm>
            <a:custGeom>
              <a:avLst/>
              <a:gdLst>
                <a:gd name="T0" fmla="*/ 2147483647 w 672"/>
                <a:gd name="T1" fmla="*/ 0 h 534"/>
                <a:gd name="T2" fmla="*/ 2147483647 w 672"/>
                <a:gd name="T3" fmla="*/ 0 h 534"/>
                <a:gd name="T4" fmla="*/ 2147483647 w 672"/>
                <a:gd name="T5" fmla="*/ 0 h 534"/>
                <a:gd name="T6" fmla="*/ 2147483647 w 672"/>
                <a:gd name="T7" fmla="*/ 0 h 534"/>
                <a:gd name="T8" fmla="*/ 2147483647 w 672"/>
                <a:gd name="T9" fmla="*/ 0 h 534"/>
                <a:gd name="T10" fmla="*/ 2147483647 w 672"/>
                <a:gd name="T11" fmla="*/ 0 h 534"/>
                <a:gd name="T12" fmla="*/ 2147483647 w 672"/>
                <a:gd name="T13" fmla="*/ 0 h 534"/>
                <a:gd name="T14" fmla="*/ 2147483647 w 672"/>
                <a:gd name="T15" fmla="*/ 0 h 534"/>
                <a:gd name="T16" fmla="*/ 2147483647 w 672"/>
                <a:gd name="T17" fmla="*/ 0 h 534"/>
                <a:gd name="T18" fmla="*/ 2147483647 w 672"/>
                <a:gd name="T19" fmla="*/ 0 h 534"/>
                <a:gd name="T20" fmla="*/ 2147483647 w 672"/>
                <a:gd name="T21" fmla="*/ 2147483647 h 534"/>
                <a:gd name="T22" fmla="*/ 2147483647 w 672"/>
                <a:gd name="T23" fmla="*/ 2147483647 h 534"/>
                <a:gd name="T24" fmla="*/ 2147483647 w 672"/>
                <a:gd name="T25" fmla="*/ 2147483647 h 534"/>
                <a:gd name="T26" fmla="*/ 2147483647 w 672"/>
                <a:gd name="T27" fmla="*/ 2147483647 h 534"/>
                <a:gd name="T28" fmla="*/ 2147483647 w 672"/>
                <a:gd name="T29" fmla="*/ 2147483647 h 534"/>
                <a:gd name="T30" fmla="*/ 2147483647 w 672"/>
                <a:gd name="T31" fmla="*/ 2147483647 h 534"/>
                <a:gd name="T32" fmla="*/ 2147483647 w 672"/>
                <a:gd name="T33" fmla="*/ 2147483647 h 534"/>
                <a:gd name="T34" fmla="*/ 0 w 672"/>
                <a:gd name="T35" fmla="*/ 2147483647 h 534"/>
                <a:gd name="T36" fmla="*/ 0 w 672"/>
                <a:gd name="T37" fmla="*/ 2147483647 h 534"/>
                <a:gd name="T38" fmla="*/ 0 w 672"/>
                <a:gd name="T39" fmla="*/ 2147483647 h 534"/>
                <a:gd name="T40" fmla="*/ 0 w 672"/>
                <a:gd name="T41" fmla="*/ 2147483647 h 534"/>
                <a:gd name="T42" fmla="*/ 2147483647 w 672"/>
                <a:gd name="T43" fmla="*/ 2147483647 h 534"/>
                <a:gd name="T44" fmla="*/ 2147483647 w 672"/>
                <a:gd name="T45" fmla="*/ 2147483647 h 534"/>
                <a:gd name="T46" fmla="*/ 0 w 672"/>
                <a:gd name="T47" fmla="*/ 2147483647 h 534"/>
                <a:gd name="T48" fmla="*/ 0 w 672"/>
                <a:gd name="T49" fmla="*/ 2147483647 h 534"/>
                <a:gd name="T50" fmla="*/ 0 w 672"/>
                <a:gd name="T51" fmla="*/ 2147483647 h 534"/>
                <a:gd name="T52" fmla="*/ 0 w 672"/>
                <a:gd name="T53" fmla="*/ 2147483647 h 534"/>
                <a:gd name="T54" fmla="*/ 0 w 672"/>
                <a:gd name="T55" fmla="*/ 2147483647 h 534"/>
                <a:gd name="T56" fmla="*/ 0 w 672"/>
                <a:gd name="T57" fmla="*/ 2147483647 h 534"/>
                <a:gd name="T58" fmla="*/ 0 w 672"/>
                <a:gd name="T59" fmla="*/ 2147483647 h 534"/>
                <a:gd name="T60" fmla="*/ 0 w 672"/>
                <a:gd name="T61" fmla="*/ 2147483647 h 534"/>
                <a:gd name="T62" fmla="*/ 0 w 672"/>
                <a:gd name="T63" fmla="*/ 2147483647 h 534"/>
                <a:gd name="T64" fmla="*/ 0 w 672"/>
                <a:gd name="T65" fmla="*/ 2147483647 h 534"/>
                <a:gd name="T66" fmla="*/ 0 w 672"/>
                <a:gd name="T67" fmla="*/ 0 h 534"/>
                <a:gd name="T68" fmla="*/ 0 w 672"/>
                <a:gd name="T69" fmla="*/ 0 h 534"/>
                <a:gd name="T70" fmla="*/ 0 w 672"/>
                <a:gd name="T71" fmla="*/ 0 h 534"/>
                <a:gd name="T72" fmla="*/ 0 w 672"/>
                <a:gd name="T73" fmla="*/ 0 h 534"/>
                <a:gd name="T74" fmla="*/ 0 w 672"/>
                <a:gd name="T75" fmla="*/ 0 h 534"/>
                <a:gd name="T76" fmla="*/ 0 w 672"/>
                <a:gd name="T77" fmla="*/ 0 h 534"/>
                <a:gd name="T78" fmla="*/ 0 w 672"/>
                <a:gd name="T79" fmla="*/ 0 h 534"/>
                <a:gd name="T80" fmla="*/ 0 w 672"/>
                <a:gd name="T81" fmla="*/ 0 h 534"/>
                <a:gd name="T82" fmla="*/ 0 w 672"/>
                <a:gd name="T83" fmla="*/ 0 h 534"/>
                <a:gd name="T84" fmla="*/ 0 w 672"/>
                <a:gd name="T85" fmla="*/ 0 h 534"/>
                <a:gd name="T86" fmla="*/ 0 w 672"/>
                <a:gd name="T87" fmla="*/ 0 h 534"/>
                <a:gd name="T88" fmla="*/ 0 w 672"/>
                <a:gd name="T89" fmla="*/ 0 h 534"/>
                <a:gd name="T90" fmla="*/ 2147483647 w 672"/>
                <a:gd name="T91" fmla="*/ 0 h 534"/>
                <a:gd name="T92" fmla="*/ 2147483647 w 672"/>
                <a:gd name="T93" fmla="*/ 0 h 534"/>
                <a:gd name="T94" fmla="*/ 2147483647 w 672"/>
                <a:gd name="T95" fmla="*/ 0 h 534"/>
                <a:gd name="T96" fmla="*/ 2147483647 w 672"/>
                <a:gd name="T97" fmla="*/ 0 h 534"/>
                <a:gd name="T98" fmla="*/ 2147483647 w 672"/>
                <a:gd name="T99" fmla="*/ 0 h 534"/>
                <a:gd name="T100" fmla="*/ 2147483647 w 672"/>
                <a:gd name="T101" fmla="*/ 0 h 534"/>
                <a:gd name="T102" fmla="*/ 2147483647 w 672"/>
                <a:gd name="T103" fmla="*/ 0 h 534"/>
                <a:gd name="T104" fmla="*/ 2147483647 w 672"/>
                <a:gd name="T105" fmla="*/ 0 h 53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672"/>
                <a:gd name="T160" fmla="*/ 0 h 534"/>
                <a:gd name="T161" fmla="*/ 672 w 672"/>
                <a:gd name="T162" fmla="*/ 534 h 53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672" h="534">
                  <a:moveTo>
                    <a:pt x="420" y="83"/>
                  </a:moveTo>
                  <a:lnTo>
                    <a:pt x="420" y="80"/>
                  </a:lnTo>
                  <a:lnTo>
                    <a:pt x="420" y="82"/>
                  </a:lnTo>
                  <a:lnTo>
                    <a:pt x="433" y="81"/>
                  </a:lnTo>
                  <a:lnTo>
                    <a:pt x="439" y="71"/>
                  </a:lnTo>
                  <a:lnTo>
                    <a:pt x="439" y="59"/>
                  </a:lnTo>
                  <a:lnTo>
                    <a:pt x="458" y="8"/>
                  </a:lnTo>
                  <a:lnTo>
                    <a:pt x="466" y="3"/>
                  </a:lnTo>
                  <a:lnTo>
                    <a:pt x="478" y="6"/>
                  </a:lnTo>
                  <a:lnTo>
                    <a:pt x="489" y="0"/>
                  </a:lnTo>
                  <a:lnTo>
                    <a:pt x="503" y="26"/>
                  </a:lnTo>
                  <a:lnTo>
                    <a:pt x="503" y="37"/>
                  </a:lnTo>
                  <a:lnTo>
                    <a:pt x="493" y="49"/>
                  </a:lnTo>
                  <a:lnTo>
                    <a:pt x="495" y="61"/>
                  </a:lnTo>
                  <a:lnTo>
                    <a:pt x="501" y="69"/>
                  </a:lnTo>
                  <a:lnTo>
                    <a:pt x="500" y="76"/>
                  </a:lnTo>
                  <a:lnTo>
                    <a:pt x="501" y="94"/>
                  </a:lnTo>
                  <a:lnTo>
                    <a:pt x="504" y="99"/>
                  </a:lnTo>
                  <a:lnTo>
                    <a:pt x="511" y="102"/>
                  </a:lnTo>
                  <a:lnTo>
                    <a:pt x="525" y="120"/>
                  </a:lnTo>
                  <a:lnTo>
                    <a:pt x="526" y="129"/>
                  </a:lnTo>
                  <a:lnTo>
                    <a:pt x="525" y="139"/>
                  </a:lnTo>
                  <a:lnTo>
                    <a:pt x="527" y="143"/>
                  </a:lnTo>
                  <a:lnTo>
                    <a:pt x="519" y="152"/>
                  </a:lnTo>
                  <a:lnTo>
                    <a:pt x="510" y="172"/>
                  </a:lnTo>
                  <a:lnTo>
                    <a:pt x="500" y="178"/>
                  </a:lnTo>
                  <a:lnTo>
                    <a:pt x="512" y="183"/>
                  </a:lnTo>
                  <a:lnTo>
                    <a:pt x="536" y="178"/>
                  </a:lnTo>
                  <a:lnTo>
                    <a:pt x="554" y="196"/>
                  </a:lnTo>
                  <a:lnTo>
                    <a:pt x="548" y="213"/>
                  </a:lnTo>
                  <a:lnTo>
                    <a:pt x="541" y="215"/>
                  </a:lnTo>
                  <a:lnTo>
                    <a:pt x="531" y="234"/>
                  </a:lnTo>
                  <a:lnTo>
                    <a:pt x="533" y="243"/>
                  </a:lnTo>
                  <a:lnTo>
                    <a:pt x="543" y="222"/>
                  </a:lnTo>
                  <a:lnTo>
                    <a:pt x="551" y="218"/>
                  </a:lnTo>
                  <a:lnTo>
                    <a:pt x="560" y="215"/>
                  </a:lnTo>
                  <a:lnTo>
                    <a:pt x="579" y="218"/>
                  </a:lnTo>
                  <a:lnTo>
                    <a:pt x="594" y="266"/>
                  </a:lnTo>
                  <a:lnTo>
                    <a:pt x="600" y="242"/>
                  </a:lnTo>
                  <a:lnTo>
                    <a:pt x="605" y="240"/>
                  </a:lnTo>
                  <a:lnTo>
                    <a:pt x="600" y="236"/>
                  </a:lnTo>
                  <a:lnTo>
                    <a:pt x="595" y="207"/>
                  </a:lnTo>
                  <a:lnTo>
                    <a:pt x="601" y="196"/>
                  </a:lnTo>
                  <a:lnTo>
                    <a:pt x="606" y="184"/>
                  </a:lnTo>
                  <a:lnTo>
                    <a:pt x="637" y="191"/>
                  </a:lnTo>
                  <a:lnTo>
                    <a:pt x="659" y="215"/>
                  </a:lnTo>
                  <a:lnTo>
                    <a:pt x="671" y="245"/>
                  </a:lnTo>
                  <a:lnTo>
                    <a:pt x="670" y="258"/>
                  </a:lnTo>
                  <a:lnTo>
                    <a:pt x="672" y="265"/>
                  </a:lnTo>
                  <a:lnTo>
                    <a:pt x="672" y="281"/>
                  </a:lnTo>
                  <a:lnTo>
                    <a:pt x="670" y="296"/>
                  </a:lnTo>
                  <a:lnTo>
                    <a:pt x="660" y="304"/>
                  </a:lnTo>
                  <a:lnTo>
                    <a:pt x="654" y="347"/>
                  </a:lnTo>
                  <a:lnTo>
                    <a:pt x="649" y="357"/>
                  </a:lnTo>
                  <a:lnTo>
                    <a:pt x="643" y="385"/>
                  </a:lnTo>
                  <a:lnTo>
                    <a:pt x="635" y="404"/>
                  </a:lnTo>
                  <a:lnTo>
                    <a:pt x="618" y="405"/>
                  </a:lnTo>
                  <a:lnTo>
                    <a:pt x="611" y="410"/>
                  </a:lnTo>
                  <a:lnTo>
                    <a:pt x="600" y="425"/>
                  </a:lnTo>
                  <a:lnTo>
                    <a:pt x="575" y="430"/>
                  </a:lnTo>
                  <a:lnTo>
                    <a:pt x="560" y="423"/>
                  </a:lnTo>
                  <a:lnTo>
                    <a:pt x="552" y="416"/>
                  </a:lnTo>
                  <a:lnTo>
                    <a:pt x="546" y="409"/>
                  </a:lnTo>
                  <a:lnTo>
                    <a:pt x="547" y="395"/>
                  </a:lnTo>
                  <a:lnTo>
                    <a:pt x="526" y="423"/>
                  </a:lnTo>
                  <a:lnTo>
                    <a:pt x="509" y="425"/>
                  </a:lnTo>
                  <a:lnTo>
                    <a:pt x="490" y="421"/>
                  </a:lnTo>
                  <a:lnTo>
                    <a:pt x="500" y="411"/>
                  </a:lnTo>
                  <a:lnTo>
                    <a:pt x="492" y="398"/>
                  </a:lnTo>
                  <a:lnTo>
                    <a:pt x="492" y="389"/>
                  </a:lnTo>
                  <a:lnTo>
                    <a:pt x="484" y="394"/>
                  </a:lnTo>
                  <a:lnTo>
                    <a:pt x="481" y="405"/>
                  </a:lnTo>
                  <a:lnTo>
                    <a:pt x="472" y="416"/>
                  </a:lnTo>
                  <a:lnTo>
                    <a:pt x="461" y="421"/>
                  </a:lnTo>
                  <a:lnTo>
                    <a:pt x="450" y="435"/>
                  </a:lnTo>
                  <a:lnTo>
                    <a:pt x="425" y="442"/>
                  </a:lnTo>
                  <a:lnTo>
                    <a:pt x="414" y="442"/>
                  </a:lnTo>
                  <a:lnTo>
                    <a:pt x="386" y="457"/>
                  </a:lnTo>
                  <a:lnTo>
                    <a:pt x="387" y="466"/>
                  </a:lnTo>
                  <a:lnTo>
                    <a:pt x="383" y="475"/>
                  </a:lnTo>
                  <a:lnTo>
                    <a:pt x="376" y="480"/>
                  </a:lnTo>
                  <a:lnTo>
                    <a:pt x="375" y="485"/>
                  </a:lnTo>
                  <a:lnTo>
                    <a:pt x="358" y="495"/>
                  </a:lnTo>
                  <a:lnTo>
                    <a:pt x="348" y="497"/>
                  </a:lnTo>
                  <a:lnTo>
                    <a:pt x="347" y="502"/>
                  </a:lnTo>
                  <a:lnTo>
                    <a:pt x="332" y="503"/>
                  </a:lnTo>
                  <a:lnTo>
                    <a:pt x="325" y="514"/>
                  </a:lnTo>
                  <a:lnTo>
                    <a:pt x="299" y="528"/>
                  </a:lnTo>
                  <a:lnTo>
                    <a:pt x="277" y="534"/>
                  </a:lnTo>
                  <a:lnTo>
                    <a:pt x="231" y="530"/>
                  </a:lnTo>
                  <a:lnTo>
                    <a:pt x="202" y="512"/>
                  </a:lnTo>
                  <a:lnTo>
                    <a:pt x="184" y="495"/>
                  </a:lnTo>
                  <a:lnTo>
                    <a:pt x="177" y="482"/>
                  </a:lnTo>
                  <a:lnTo>
                    <a:pt x="177" y="478"/>
                  </a:lnTo>
                  <a:lnTo>
                    <a:pt x="181" y="466"/>
                  </a:lnTo>
                  <a:lnTo>
                    <a:pt x="191" y="455"/>
                  </a:lnTo>
                  <a:lnTo>
                    <a:pt x="198" y="454"/>
                  </a:lnTo>
                  <a:lnTo>
                    <a:pt x="212" y="446"/>
                  </a:lnTo>
                  <a:lnTo>
                    <a:pt x="224" y="443"/>
                  </a:lnTo>
                  <a:lnTo>
                    <a:pt x="229" y="448"/>
                  </a:lnTo>
                  <a:lnTo>
                    <a:pt x="235" y="447"/>
                  </a:lnTo>
                  <a:lnTo>
                    <a:pt x="242" y="441"/>
                  </a:lnTo>
                  <a:lnTo>
                    <a:pt x="242" y="431"/>
                  </a:lnTo>
                  <a:lnTo>
                    <a:pt x="253" y="415"/>
                  </a:lnTo>
                  <a:lnTo>
                    <a:pt x="304" y="408"/>
                  </a:lnTo>
                  <a:lnTo>
                    <a:pt x="315" y="409"/>
                  </a:lnTo>
                  <a:lnTo>
                    <a:pt x="317" y="420"/>
                  </a:lnTo>
                  <a:lnTo>
                    <a:pt x="327" y="420"/>
                  </a:lnTo>
                  <a:lnTo>
                    <a:pt x="334" y="404"/>
                  </a:lnTo>
                  <a:lnTo>
                    <a:pt x="344" y="396"/>
                  </a:lnTo>
                  <a:lnTo>
                    <a:pt x="350" y="383"/>
                  </a:lnTo>
                  <a:lnTo>
                    <a:pt x="363" y="372"/>
                  </a:lnTo>
                  <a:lnTo>
                    <a:pt x="368" y="362"/>
                  </a:lnTo>
                  <a:lnTo>
                    <a:pt x="366" y="352"/>
                  </a:lnTo>
                  <a:lnTo>
                    <a:pt x="355" y="352"/>
                  </a:lnTo>
                  <a:lnTo>
                    <a:pt x="343" y="376"/>
                  </a:lnTo>
                  <a:lnTo>
                    <a:pt x="331" y="372"/>
                  </a:lnTo>
                  <a:lnTo>
                    <a:pt x="294" y="383"/>
                  </a:lnTo>
                  <a:lnTo>
                    <a:pt x="289" y="372"/>
                  </a:lnTo>
                  <a:lnTo>
                    <a:pt x="293" y="361"/>
                  </a:lnTo>
                  <a:lnTo>
                    <a:pt x="278" y="372"/>
                  </a:lnTo>
                  <a:lnTo>
                    <a:pt x="277" y="358"/>
                  </a:lnTo>
                  <a:lnTo>
                    <a:pt x="272" y="356"/>
                  </a:lnTo>
                  <a:lnTo>
                    <a:pt x="270" y="376"/>
                  </a:lnTo>
                  <a:lnTo>
                    <a:pt x="263" y="389"/>
                  </a:lnTo>
                  <a:lnTo>
                    <a:pt x="251" y="392"/>
                  </a:lnTo>
                  <a:lnTo>
                    <a:pt x="247" y="379"/>
                  </a:lnTo>
                  <a:lnTo>
                    <a:pt x="239" y="394"/>
                  </a:lnTo>
                  <a:lnTo>
                    <a:pt x="224" y="398"/>
                  </a:lnTo>
                  <a:lnTo>
                    <a:pt x="207" y="408"/>
                  </a:lnTo>
                  <a:lnTo>
                    <a:pt x="200" y="396"/>
                  </a:lnTo>
                  <a:lnTo>
                    <a:pt x="202" y="389"/>
                  </a:lnTo>
                  <a:lnTo>
                    <a:pt x="215" y="373"/>
                  </a:lnTo>
                  <a:lnTo>
                    <a:pt x="212" y="372"/>
                  </a:lnTo>
                  <a:lnTo>
                    <a:pt x="209" y="357"/>
                  </a:lnTo>
                  <a:lnTo>
                    <a:pt x="210" y="340"/>
                  </a:lnTo>
                  <a:lnTo>
                    <a:pt x="225" y="330"/>
                  </a:lnTo>
                  <a:lnTo>
                    <a:pt x="235" y="319"/>
                  </a:lnTo>
                  <a:lnTo>
                    <a:pt x="227" y="319"/>
                  </a:lnTo>
                  <a:lnTo>
                    <a:pt x="218" y="329"/>
                  </a:lnTo>
                  <a:lnTo>
                    <a:pt x="199" y="324"/>
                  </a:lnTo>
                  <a:lnTo>
                    <a:pt x="191" y="363"/>
                  </a:lnTo>
                  <a:lnTo>
                    <a:pt x="186" y="367"/>
                  </a:lnTo>
                  <a:lnTo>
                    <a:pt x="180" y="349"/>
                  </a:lnTo>
                  <a:lnTo>
                    <a:pt x="171" y="346"/>
                  </a:lnTo>
                  <a:lnTo>
                    <a:pt x="170" y="363"/>
                  </a:lnTo>
                  <a:lnTo>
                    <a:pt x="178" y="376"/>
                  </a:lnTo>
                  <a:lnTo>
                    <a:pt x="177" y="394"/>
                  </a:lnTo>
                  <a:lnTo>
                    <a:pt x="171" y="396"/>
                  </a:lnTo>
                  <a:lnTo>
                    <a:pt x="155" y="416"/>
                  </a:lnTo>
                  <a:lnTo>
                    <a:pt x="143" y="415"/>
                  </a:lnTo>
                  <a:lnTo>
                    <a:pt x="138" y="396"/>
                  </a:lnTo>
                  <a:lnTo>
                    <a:pt x="138" y="378"/>
                  </a:lnTo>
                  <a:lnTo>
                    <a:pt x="124" y="389"/>
                  </a:lnTo>
                  <a:lnTo>
                    <a:pt x="113" y="388"/>
                  </a:lnTo>
                  <a:lnTo>
                    <a:pt x="114" y="405"/>
                  </a:lnTo>
                  <a:lnTo>
                    <a:pt x="114" y="420"/>
                  </a:lnTo>
                  <a:lnTo>
                    <a:pt x="102" y="417"/>
                  </a:lnTo>
                  <a:lnTo>
                    <a:pt x="80" y="399"/>
                  </a:lnTo>
                  <a:lnTo>
                    <a:pt x="85" y="389"/>
                  </a:lnTo>
                  <a:lnTo>
                    <a:pt x="76" y="383"/>
                  </a:lnTo>
                  <a:lnTo>
                    <a:pt x="78" y="369"/>
                  </a:lnTo>
                  <a:lnTo>
                    <a:pt x="64" y="374"/>
                  </a:lnTo>
                  <a:lnTo>
                    <a:pt x="58" y="388"/>
                  </a:lnTo>
                  <a:lnTo>
                    <a:pt x="25" y="379"/>
                  </a:lnTo>
                  <a:lnTo>
                    <a:pt x="10" y="372"/>
                  </a:lnTo>
                  <a:lnTo>
                    <a:pt x="0" y="358"/>
                  </a:lnTo>
                  <a:lnTo>
                    <a:pt x="1" y="351"/>
                  </a:lnTo>
                  <a:lnTo>
                    <a:pt x="11" y="325"/>
                  </a:lnTo>
                  <a:lnTo>
                    <a:pt x="24" y="309"/>
                  </a:lnTo>
                  <a:lnTo>
                    <a:pt x="51" y="307"/>
                  </a:lnTo>
                  <a:lnTo>
                    <a:pt x="87" y="309"/>
                  </a:lnTo>
                  <a:lnTo>
                    <a:pt x="94" y="306"/>
                  </a:lnTo>
                  <a:lnTo>
                    <a:pt x="105" y="291"/>
                  </a:lnTo>
                  <a:lnTo>
                    <a:pt x="130" y="276"/>
                  </a:lnTo>
                  <a:lnTo>
                    <a:pt x="140" y="259"/>
                  </a:lnTo>
                  <a:lnTo>
                    <a:pt x="122" y="272"/>
                  </a:lnTo>
                  <a:lnTo>
                    <a:pt x="101" y="276"/>
                  </a:lnTo>
                  <a:lnTo>
                    <a:pt x="86" y="288"/>
                  </a:lnTo>
                  <a:lnTo>
                    <a:pt x="60" y="297"/>
                  </a:lnTo>
                  <a:lnTo>
                    <a:pt x="22" y="293"/>
                  </a:lnTo>
                  <a:lnTo>
                    <a:pt x="22" y="270"/>
                  </a:lnTo>
                  <a:lnTo>
                    <a:pt x="33" y="245"/>
                  </a:lnTo>
                  <a:lnTo>
                    <a:pt x="76" y="240"/>
                  </a:lnTo>
                  <a:lnTo>
                    <a:pt x="103" y="231"/>
                  </a:lnTo>
                  <a:lnTo>
                    <a:pt x="144" y="226"/>
                  </a:lnTo>
                  <a:lnTo>
                    <a:pt x="157" y="212"/>
                  </a:lnTo>
                  <a:lnTo>
                    <a:pt x="134" y="222"/>
                  </a:lnTo>
                  <a:lnTo>
                    <a:pt x="55" y="231"/>
                  </a:lnTo>
                  <a:lnTo>
                    <a:pt x="47" y="225"/>
                  </a:lnTo>
                  <a:lnTo>
                    <a:pt x="47" y="210"/>
                  </a:lnTo>
                  <a:lnTo>
                    <a:pt x="53" y="200"/>
                  </a:lnTo>
                  <a:lnTo>
                    <a:pt x="60" y="196"/>
                  </a:lnTo>
                  <a:lnTo>
                    <a:pt x="58" y="188"/>
                  </a:lnTo>
                  <a:lnTo>
                    <a:pt x="51" y="179"/>
                  </a:lnTo>
                  <a:lnTo>
                    <a:pt x="62" y="158"/>
                  </a:lnTo>
                  <a:lnTo>
                    <a:pt x="76" y="151"/>
                  </a:lnTo>
                  <a:lnTo>
                    <a:pt x="103" y="153"/>
                  </a:lnTo>
                  <a:lnTo>
                    <a:pt x="118" y="151"/>
                  </a:lnTo>
                  <a:lnTo>
                    <a:pt x="156" y="159"/>
                  </a:lnTo>
                  <a:lnTo>
                    <a:pt x="161" y="154"/>
                  </a:lnTo>
                  <a:lnTo>
                    <a:pt x="151" y="154"/>
                  </a:lnTo>
                  <a:lnTo>
                    <a:pt x="144" y="143"/>
                  </a:lnTo>
                  <a:lnTo>
                    <a:pt x="100" y="139"/>
                  </a:lnTo>
                  <a:lnTo>
                    <a:pt x="92" y="129"/>
                  </a:lnTo>
                  <a:lnTo>
                    <a:pt x="101" y="103"/>
                  </a:lnTo>
                  <a:lnTo>
                    <a:pt x="113" y="88"/>
                  </a:lnTo>
                  <a:lnTo>
                    <a:pt x="138" y="88"/>
                  </a:lnTo>
                  <a:lnTo>
                    <a:pt x="146" y="78"/>
                  </a:lnTo>
                  <a:lnTo>
                    <a:pt x="166" y="78"/>
                  </a:lnTo>
                  <a:lnTo>
                    <a:pt x="180" y="83"/>
                  </a:lnTo>
                  <a:lnTo>
                    <a:pt x="191" y="97"/>
                  </a:lnTo>
                  <a:lnTo>
                    <a:pt x="191" y="116"/>
                  </a:lnTo>
                  <a:lnTo>
                    <a:pt x="186" y="124"/>
                  </a:lnTo>
                  <a:lnTo>
                    <a:pt x="192" y="147"/>
                  </a:lnTo>
                  <a:lnTo>
                    <a:pt x="219" y="147"/>
                  </a:lnTo>
                  <a:lnTo>
                    <a:pt x="234" y="136"/>
                  </a:lnTo>
                  <a:lnTo>
                    <a:pt x="258" y="135"/>
                  </a:lnTo>
                  <a:lnTo>
                    <a:pt x="258" y="148"/>
                  </a:lnTo>
                  <a:lnTo>
                    <a:pt x="280" y="152"/>
                  </a:lnTo>
                  <a:lnTo>
                    <a:pt x="288" y="179"/>
                  </a:lnTo>
                  <a:lnTo>
                    <a:pt x="302" y="200"/>
                  </a:lnTo>
                  <a:lnTo>
                    <a:pt x="312" y="200"/>
                  </a:lnTo>
                  <a:lnTo>
                    <a:pt x="321" y="210"/>
                  </a:lnTo>
                  <a:lnTo>
                    <a:pt x="301" y="223"/>
                  </a:lnTo>
                  <a:lnTo>
                    <a:pt x="300" y="234"/>
                  </a:lnTo>
                  <a:lnTo>
                    <a:pt x="310" y="237"/>
                  </a:lnTo>
                  <a:lnTo>
                    <a:pt x="336" y="227"/>
                  </a:lnTo>
                  <a:lnTo>
                    <a:pt x="336" y="232"/>
                  </a:lnTo>
                  <a:lnTo>
                    <a:pt x="339" y="239"/>
                  </a:lnTo>
                  <a:lnTo>
                    <a:pt x="342" y="250"/>
                  </a:lnTo>
                  <a:lnTo>
                    <a:pt x="336" y="258"/>
                  </a:lnTo>
                  <a:lnTo>
                    <a:pt x="340" y="256"/>
                  </a:lnTo>
                  <a:lnTo>
                    <a:pt x="344" y="271"/>
                  </a:lnTo>
                  <a:lnTo>
                    <a:pt x="343" y="287"/>
                  </a:lnTo>
                  <a:lnTo>
                    <a:pt x="349" y="297"/>
                  </a:lnTo>
                  <a:lnTo>
                    <a:pt x="359" y="298"/>
                  </a:lnTo>
                  <a:lnTo>
                    <a:pt x="366" y="297"/>
                  </a:lnTo>
                  <a:lnTo>
                    <a:pt x="371" y="292"/>
                  </a:lnTo>
                  <a:lnTo>
                    <a:pt x="377" y="293"/>
                  </a:lnTo>
                  <a:lnTo>
                    <a:pt x="395" y="288"/>
                  </a:lnTo>
                  <a:lnTo>
                    <a:pt x="399" y="297"/>
                  </a:lnTo>
                  <a:lnTo>
                    <a:pt x="419" y="293"/>
                  </a:lnTo>
                  <a:lnTo>
                    <a:pt x="469" y="303"/>
                  </a:lnTo>
                  <a:lnTo>
                    <a:pt x="478" y="301"/>
                  </a:lnTo>
                  <a:lnTo>
                    <a:pt x="482" y="283"/>
                  </a:lnTo>
                  <a:lnTo>
                    <a:pt x="482" y="261"/>
                  </a:lnTo>
                  <a:lnTo>
                    <a:pt x="468" y="245"/>
                  </a:lnTo>
                  <a:lnTo>
                    <a:pt x="462" y="233"/>
                  </a:lnTo>
                  <a:lnTo>
                    <a:pt x="450" y="236"/>
                  </a:lnTo>
                  <a:lnTo>
                    <a:pt x="444" y="229"/>
                  </a:lnTo>
                  <a:lnTo>
                    <a:pt x="440" y="221"/>
                  </a:lnTo>
                  <a:lnTo>
                    <a:pt x="431" y="227"/>
                  </a:lnTo>
                  <a:lnTo>
                    <a:pt x="425" y="218"/>
                  </a:lnTo>
                  <a:lnTo>
                    <a:pt x="449" y="204"/>
                  </a:lnTo>
                  <a:lnTo>
                    <a:pt x="451" y="193"/>
                  </a:lnTo>
                  <a:lnTo>
                    <a:pt x="462" y="190"/>
                  </a:lnTo>
                  <a:lnTo>
                    <a:pt x="456" y="163"/>
                  </a:lnTo>
                  <a:lnTo>
                    <a:pt x="450" y="152"/>
                  </a:lnTo>
                  <a:lnTo>
                    <a:pt x="440" y="148"/>
                  </a:lnTo>
                  <a:lnTo>
                    <a:pt x="438" y="142"/>
                  </a:lnTo>
                  <a:lnTo>
                    <a:pt x="424" y="139"/>
                  </a:lnTo>
                  <a:lnTo>
                    <a:pt x="402" y="120"/>
                  </a:lnTo>
                  <a:lnTo>
                    <a:pt x="401" y="110"/>
                  </a:lnTo>
                  <a:lnTo>
                    <a:pt x="401" y="100"/>
                  </a:lnTo>
                  <a:lnTo>
                    <a:pt x="396" y="93"/>
                  </a:lnTo>
                  <a:lnTo>
                    <a:pt x="412" y="89"/>
                  </a:lnTo>
                  <a:lnTo>
                    <a:pt x="420" y="8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64" name="Freeform 289">
              <a:extLst>
                <a:ext uri="{FF2B5EF4-FFF2-40B4-BE49-F238E27FC236}">
                  <a16:creationId xmlns:a16="http://schemas.microsoft.com/office/drawing/2014/main" id="{76DED15D-5EBF-37D2-95F9-B07F22B0142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175136" y="394796"/>
              <a:ext cx="213405" cy="234730"/>
            </a:xfrm>
            <a:custGeom>
              <a:avLst/>
              <a:gdLst>
                <a:gd name="T0" fmla="*/ 0 w 399"/>
                <a:gd name="T1" fmla="*/ 0 h 411"/>
                <a:gd name="T2" fmla="*/ 0 w 399"/>
                <a:gd name="T3" fmla="*/ 0 h 411"/>
                <a:gd name="T4" fmla="*/ 0 w 399"/>
                <a:gd name="T5" fmla="*/ 0 h 411"/>
                <a:gd name="T6" fmla="*/ 0 w 399"/>
                <a:gd name="T7" fmla="*/ 0 h 411"/>
                <a:gd name="T8" fmla="*/ 0 w 399"/>
                <a:gd name="T9" fmla="*/ 0 h 411"/>
                <a:gd name="T10" fmla="*/ 0 w 399"/>
                <a:gd name="T11" fmla="*/ 0 h 411"/>
                <a:gd name="T12" fmla="*/ 0 w 399"/>
                <a:gd name="T13" fmla="*/ 0 h 411"/>
                <a:gd name="T14" fmla="*/ 0 w 399"/>
                <a:gd name="T15" fmla="*/ 0 h 411"/>
                <a:gd name="T16" fmla="*/ 0 w 399"/>
                <a:gd name="T17" fmla="*/ 0 h 411"/>
                <a:gd name="T18" fmla="*/ 2147483647 w 399"/>
                <a:gd name="T19" fmla="*/ 0 h 411"/>
                <a:gd name="T20" fmla="*/ 0 w 399"/>
                <a:gd name="T21" fmla="*/ 0 h 411"/>
                <a:gd name="T22" fmla="*/ 2147483647 w 399"/>
                <a:gd name="T23" fmla="*/ 0 h 411"/>
                <a:gd name="T24" fmla="*/ 2147483647 w 399"/>
                <a:gd name="T25" fmla="*/ 0 h 411"/>
                <a:gd name="T26" fmla="*/ 2147483647 w 399"/>
                <a:gd name="T27" fmla="*/ 0 h 411"/>
                <a:gd name="T28" fmla="*/ 2147483647 w 399"/>
                <a:gd name="T29" fmla="*/ 0 h 411"/>
                <a:gd name="T30" fmla="*/ 2147483647 w 399"/>
                <a:gd name="T31" fmla="*/ 0 h 411"/>
                <a:gd name="T32" fmla="*/ 2147483647 w 399"/>
                <a:gd name="T33" fmla="*/ 0 h 411"/>
                <a:gd name="T34" fmla="*/ 2147483647 w 399"/>
                <a:gd name="T35" fmla="*/ 0 h 411"/>
                <a:gd name="T36" fmla="*/ 2147483647 w 399"/>
                <a:gd name="T37" fmla="*/ 0 h 411"/>
                <a:gd name="T38" fmla="*/ 2147483647 w 399"/>
                <a:gd name="T39" fmla="*/ 0 h 411"/>
                <a:gd name="T40" fmla="*/ 2147483647 w 399"/>
                <a:gd name="T41" fmla="*/ 0 h 411"/>
                <a:gd name="T42" fmla="*/ 0 w 399"/>
                <a:gd name="T43" fmla="*/ 0 h 411"/>
                <a:gd name="T44" fmla="*/ 0 w 399"/>
                <a:gd name="T45" fmla="*/ 0 h 411"/>
                <a:gd name="T46" fmla="*/ 0 w 399"/>
                <a:gd name="T47" fmla="*/ 0 h 411"/>
                <a:gd name="T48" fmla="*/ 0 w 399"/>
                <a:gd name="T49" fmla="*/ 0 h 411"/>
                <a:gd name="T50" fmla="*/ 0 w 399"/>
                <a:gd name="T51" fmla="*/ 0 h 411"/>
                <a:gd name="T52" fmla="*/ 0 w 399"/>
                <a:gd name="T53" fmla="*/ 0 h 411"/>
                <a:gd name="T54" fmla="*/ 0 w 399"/>
                <a:gd name="T55" fmla="*/ 0 h 411"/>
                <a:gd name="T56" fmla="*/ 0 w 399"/>
                <a:gd name="T57" fmla="*/ 0 h 411"/>
                <a:gd name="T58" fmla="*/ 0 w 399"/>
                <a:gd name="T59" fmla="*/ 0 h 411"/>
                <a:gd name="T60" fmla="*/ 0 w 399"/>
                <a:gd name="T61" fmla="*/ 2147483647 h 411"/>
                <a:gd name="T62" fmla="*/ 0 w 399"/>
                <a:gd name="T63" fmla="*/ 2147483647 h 411"/>
                <a:gd name="T64" fmla="*/ 0 w 399"/>
                <a:gd name="T65" fmla="*/ 0 h 411"/>
                <a:gd name="T66" fmla="*/ 0 w 399"/>
                <a:gd name="T67" fmla="*/ 2147483647 h 411"/>
                <a:gd name="T68" fmla="*/ 0 w 399"/>
                <a:gd name="T69" fmla="*/ 2147483647 h 411"/>
                <a:gd name="T70" fmla="*/ 0 w 399"/>
                <a:gd name="T71" fmla="*/ 2147483647 h 411"/>
                <a:gd name="T72" fmla="*/ 0 w 399"/>
                <a:gd name="T73" fmla="*/ 2147483647 h 411"/>
                <a:gd name="T74" fmla="*/ 0 w 399"/>
                <a:gd name="T75" fmla="*/ 2147483647 h 411"/>
                <a:gd name="T76" fmla="*/ 0 w 399"/>
                <a:gd name="T77" fmla="*/ 2147483647 h 411"/>
                <a:gd name="T78" fmla="*/ 0 w 399"/>
                <a:gd name="T79" fmla="*/ 2147483647 h 411"/>
                <a:gd name="T80" fmla="*/ 0 w 399"/>
                <a:gd name="T81" fmla="*/ 2147483647 h 411"/>
                <a:gd name="T82" fmla="*/ 0 w 399"/>
                <a:gd name="T83" fmla="*/ 2147483647 h 411"/>
                <a:gd name="T84" fmla="*/ 0 w 399"/>
                <a:gd name="T85" fmla="*/ 2147483647 h 411"/>
                <a:gd name="T86" fmla="*/ 0 w 399"/>
                <a:gd name="T87" fmla="*/ 2147483647 h 411"/>
                <a:gd name="T88" fmla="*/ 0 w 399"/>
                <a:gd name="T89" fmla="*/ 2147483647 h 411"/>
                <a:gd name="T90" fmla="*/ 0 w 399"/>
                <a:gd name="T91" fmla="*/ 2147483647 h 411"/>
                <a:gd name="T92" fmla="*/ 0 w 399"/>
                <a:gd name="T93" fmla="*/ 2147483647 h 411"/>
                <a:gd name="T94" fmla="*/ 0 w 399"/>
                <a:gd name="T95" fmla="*/ 0 h 411"/>
                <a:gd name="T96" fmla="*/ 0 w 399"/>
                <a:gd name="T97" fmla="*/ 0 h 411"/>
                <a:gd name="T98" fmla="*/ 0 w 399"/>
                <a:gd name="T99" fmla="*/ 0 h 411"/>
                <a:gd name="T100" fmla="*/ 0 w 399"/>
                <a:gd name="T101" fmla="*/ 0 h 411"/>
                <a:gd name="T102" fmla="*/ 0 w 399"/>
                <a:gd name="T103" fmla="*/ 0 h 411"/>
                <a:gd name="T104" fmla="*/ 0 w 399"/>
                <a:gd name="T105" fmla="*/ 0 h 411"/>
                <a:gd name="T106" fmla="*/ 0 w 399"/>
                <a:gd name="T107" fmla="*/ 0 h 411"/>
                <a:gd name="T108" fmla="*/ 0 w 399"/>
                <a:gd name="T109" fmla="*/ 0 h 41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99"/>
                <a:gd name="T166" fmla="*/ 0 h 411"/>
                <a:gd name="T167" fmla="*/ 399 w 399"/>
                <a:gd name="T168" fmla="*/ 411 h 41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99" h="411">
                  <a:moveTo>
                    <a:pt x="154" y="134"/>
                  </a:moveTo>
                  <a:lnTo>
                    <a:pt x="156" y="136"/>
                  </a:lnTo>
                  <a:lnTo>
                    <a:pt x="157" y="126"/>
                  </a:lnTo>
                  <a:lnTo>
                    <a:pt x="166" y="120"/>
                  </a:lnTo>
                  <a:lnTo>
                    <a:pt x="170" y="109"/>
                  </a:lnTo>
                  <a:lnTo>
                    <a:pt x="177" y="100"/>
                  </a:lnTo>
                  <a:lnTo>
                    <a:pt x="184" y="99"/>
                  </a:lnTo>
                  <a:lnTo>
                    <a:pt x="187" y="89"/>
                  </a:lnTo>
                  <a:lnTo>
                    <a:pt x="197" y="75"/>
                  </a:lnTo>
                  <a:lnTo>
                    <a:pt x="198" y="61"/>
                  </a:lnTo>
                  <a:lnTo>
                    <a:pt x="221" y="57"/>
                  </a:lnTo>
                  <a:lnTo>
                    <a:pt x="224" y="48"/>
                  </a:lnTo>
                  <a:lnTo>
                    <a:pt x="232" y="49"/>
                  </a:lnTo>
                  <a:lnTo>
                    <a:pt x="238" y="57"/>
                  </a:lnTo>
                  <a:lnTo>
                    <a:pt x="242" y="51"/>
                  </a:lnTo>
                  <a:lnTo>
                    <a:pt x="256" y="50"/>
                  </a:lnTo>
                  <a:lnTo>
                    <a:pt x="260" y="45"/>
                  </a:lnTo>
                  <a:lnTo>
                    <a:pt x="269" y="44"/>
                  </a:lnTo>
                  <a:lnTo>
                    <a:pt x="267" y="60"/>
                  </a:lnTo>
                  <a:lnTo>
                    <a:pt x="270" y="76"/>
                  </a:lnTo>
                  <a:lnTo>
                    <a:pt x="274" y="72"/>
                  </a:lnTo>
                  <a:lnTo>
                    <a:pt x="271" y="57"/>
                  </a:lnTo>
                  <a:lnTo>
                    <a:pt x="275" y="48"/>
                  </a:lnTo>
                  <a:lnTo>
                    <a:pt x="285" y="59"/>
                  </a:lnTo>
                  <a:lnTo>
                    <a:pt x="298" y="66"/>
                  </a:lnTo>
                  <a:lnTo>
                    <a:pt x="306" y="66"/>
                  </a:lnTo>
                  <a:lnTo>
                    <a:pt x="303" y="57"/>
                  </a:lnTo>
                  <a:lnTo>
                    <a:pt x="319" y="61"/>
                  </a:lnTo>
                  <a:lnTo>
                    <a:pt x="330" y="49"/>
                  </a:lnTo>
                  <a:lnTo>
                    <a:pt x="329" y="43"/>
                  </a:lnTo>
                  <a:lnTo>
                    <a:pt x="322" y="44"/>
                  </a:lnTo>
                  <a:lnTo>
                    <a:pt x="313" y="37"/>
                  </a:lnTo>
                  <a:lnTo>
                    <a:pt x="307" y="23"/>
                  </a:lnTo>
                  <a:lnTo>
                    <a:pt x="317" y="19"/>
                  </a:lnTo>
                  <a:lnTo>
                    <a:pt x="323" y="7"/>
                  </a:lnTo>
                  <a:lnTo>
                    <a:pt x="343" y="0"/>
                  </a:lnTo>
                  <a:lnTo>
                    <a:pt x="365" y="18"/>
                  </a:lnTo>
                  <a:lnTo>
                    <a:pt x="365" y="24"/>
                  </a:lnTo>
                  <a:lnTo>
                    <a:pt x="382" y="37"/>
                  </a:lnTo>
                  <a:lnTo>
                    <a:pt x="399" y="57"/>
                  </a:lnTo>
                  <a:lnTo>
                    <a:pt x="399" y="66"/>
                  </a:lnTo>
                  <a:lnTo>
                    <a:pt x="397" y="72"/>
                  </a:lnTo>
                  <a:lnTo>
                    <a:pt x="384" y="77"/>
                  </a:lnTo>
                  <a:lnTo>
                    <a:pt x="381" y="85"/>
                  </a:lnTo>
                  <a:lnTo>
                    <a:pt x="356" y="91"/>
                  </a:lnTo>
                  <a:lnTo>
                    <a:pt x="349" y="99"/>
                  </a:lnTo>
                  <a:lnTo>
                    <a:pt x="348" y="108"/>
                  </a:lnTo>
                  <a:lnTo>
                    <a:pt x="353" y="119"/>
                  </a:lnTo>
                  <a:lnTo>
                    <a:pt x="376" y="148"/>
                  </a:lnTo>
                  <a:lnTo>
                    <a:pt x="377" y="159"/>
                  </a:lnTo>
                  <a:lnTo>
                    <a:pt x="369" y="159"/>
                  </a:lnTo>
                  <a:lnTo>
                    <a:pt x="360" y="152"/>
                  </a:lnTo>
                  <a:lnTo>
                    <a:pt x="353" y="159"/>
                  </a:lnTo>
                  <a:lnTo>
                    <a:pt x="355" y="173"/>
                  </a:lnTo>
                  <a:lnTo>
                    <a:pt x="364" y="174"/>
                  </a:lnTo>
                  <a:lnTo>
                    <a:pt x="366" y="186"/>
                  </a:lnTo>
                  <a:lnTo>
                    <a:pt x="370" y="190"/>
                  </a:lnTo>
                  <a:lnTo>
                    <a:pt x="375" y="210"/>
                  </a:lnTo>
                  <a:lnTo>
                    <a:pt x="366" y="222"/>
                  </a:lnTo>
                  <a:lnTo>
                    <a:pt x="350" y="237"/>
                  </a:lnTo>
                  <a:lnTo>
                    <a:pt x="324" y="237"/>
                  </a:lnTo>
                  <a:lnTo>
                    <a:pt x="318" y="244"/>
                  </a:lnTo>
                  <a:lnTo>
                    <a:pt x="314" y="258"/>
                  </a:lnTo>
                  <a:lnTo>
                    <a:pt x="317" y="288"/>
                  </a:lnTo>
                  <a:lnTo>
                    <a:pt x="313" y="302"/>
                  </a:lnTo>
                  <a:lnTo>
                    <a:pt x="300" y="309"/>
                  </a:lnTo>
                  <a:lnTo>
                    <a:pt x="287" y="307"/>
                  </a:lnTo>
                  <a:lnTo>
                    <a:pt x="265" y="269"/>
                  </a:lnTo>
                  <a:lnTo>
                    <a:pt x="265" y="253"/>
                  </a:lnTo>
                  <a:lnTo>
                    <a:pt x="269" y="237"/>
                  </a:lnTo>
                  <a:lnTo>
                    <a:pt x="268" y="220"/>
                  </a:lnTo>
                  <a:lnTo>
                    <a:pt x="275" y="195"/>
                  </a:lnTo>
                  <a:lnTo>
                    <a:pt x="276" y="183"/>
                  </a:lnTo>
                  <a:lnTo>
                    <a:pt x="270" y="182"/>
                  </a:lnTo>
                  <a:lnTo>
                    <a:pt x="262" y="193"/>
                  </a:lnTo>
                  <a:lnTo>
                    <a:pt x="246" y="189"/>
                  </a:lnTo>
                  <a:lnTo>
                    <a:pt x="244" y="200"/>
                  </a:lnTo>
                  <a:lnTo>
                    <a:pt x="244" y="206"/>
                  </a:lnTo>
                  <a:lnTo>
                    <a:pt x="237" y="213"/>
                  </a:lnTo>
                  <a:lnTo>
                    <a:pt x="243" y="220"/>
                  </a:lnTo>
                  <a:lnTo>
                    <a:pt x="244" y="244"/>
                  </a:lnTo>
                  <a:lnTo>
                    <a:pt x="235" y="255"/>
                  </a:lnTo>
                  <a:lnTo>
                    <a:pt x="225" y="242"/>
                  </a:lnTo>
                  <a:lnTo>
                    <a:pt x="216" y="239"/>
                  </a:lnTo>
                  <a:lnTo>
                    <a:pt x="216" y="247"/>
                  </a:lnTo>
                  <a:lnTo>
                    <a:pt x="211" y="256"/>
                  </a:lnTo>
                  <a:lnTo>
                    <a:pt x="217" y="264"/>
                  </a:lnTo>
                  <a:lnTo>
                    <a:pt x="227" y="268"/>
                  </a:lnTo>
                  <a:lnTo>
                    <a:pt x="233" y="291"/>
                  </a:lnTo>
                  <a:lnTo>
                    <a:pt x="231" y="302"/>
                  </a:lnTo>
                  <a:lnTo>
                    <a:pt x="216" y="311"/>
                  </a:lnTo>
                  <a:lnTo>
                    <a:pt x="215" y="331"/>
                  </a:lnTo>
                  <a:lnTo>
                    <a:pt x="211" y="342"/>
                  </a:lnTo>
                  <a:lnTo>
                    <a:pt x="209" y="340"/>
                  </a:lnTo>
                  <a:lnTo>
                    <a:pt x="201" y="344"/>
                  </a:lnTo>
                  <a:lnTo>
                    <a:pt x="195" y="324"/>
                  </a:lnTo>
                  <a:lnTo>
                    <a:pt x="188" y="308"/>
                  </a:lnTo>
                  <a:lnTo>
                    <a:pt x="185" y="287"/>
                  </a:lnTo>
                  <a:lnTo>
                    <a:pt x="181" y="295"/>
                  </a:lnTo>
                  <a:lnTo>
                    <a:pt x="173" y="290"/>
                  </a:lnTo>
                  <a:lnTo>
                    <a:pt x="172" y="301"/>
                  </a:lnTo>
                  <a:lnTo>
                    <a:pt x="174" y="318"/>
                  </a:lnTo>
                  <a:lnTo>
                    <a:pt x="178" y="324"/>
                  </a:lnTo>
                  <a:lnTo>
                    <a:pt x="173" y="334"/>
                  </a:lnTo>
                  <a:lnTo>
                    <a:pt x="181" y="336"/>
                  </a:lnTo>
                  <a:lnTo>
                    <a:pt x="162" y="346"/>
                  </a:lnTo>
                  <a:lnTo>
                    <a:pt x="173" y="352"/>
                  </a:lnTo>
                  <a:lnTo>
                    <a:pt x="181" y="368"/>
                  </a:lnTo>
                  <a:lnTo>
                    <a:pt x="182" y="376"/>
                  </a:lnTo>
                  <a:lnTo>
                    <a:pt x="173" y="376"/>
                  </a:lnTo>
                  <a:lnTo>
                    <a:pt x="171" y="393"/>
                  </a:lnTo>
                  <a:lnTo>
                    <a:pt x="162" y="398"/>
                  </a:lnTo>
                  <a:lnTo>
                    <a:pt x="154" y="398"/>
                  </a:lnTo>
                  <a:lnTo>
                    <a:pt x="145" y="384"/>
                  </a:lnTo>
                  <a:lnTo>
                    <a:pt x="144" y="400"/>
                  </a:lnTo>
                  <a:lnTo>
                    <a:pt x="139" y="411"/>
                  </a:lnTo>
                  <a:lnTo>
                    <a:pt x="131" y="393"/>
                  </a:lnTo>
                  <a:lnTo>
                    <a:pt x="130" y="367"/>
                  </a:lnTo>
                  <a:lnTo>
                    <a:pt x="123" y="367"/>
                  </a:lnTo>
                  <a:lnTo>
                    <a:pt x="114" y="351"/>
                  </a:lnTo>
                  <a:lnTo>
                    <a:pt x="118" y="339"/>
                  </a:lnTo>
                  <a:lnTo>
                    <a:pt x="117" y="328"/>
                  </a:lnTo>
                  <a:lnTo>
                    <a:pt x="114" y="319"/>
                  </a:lnTo>
                  <a:lnTo>
                    <a:pt x="103" y="329"/>
                  </a:lnTo>
                  <a:lnTo>
                    <a:pt x="101" y="349"/>
                  </a:lnTo>
                  <a:lnTo>
                    <a:pt x="101" y="360"/>
                  </a:lnTo>
                  <a:lnTo>
                    <a:pt x="91" y="382"/>
                  </a:lnTo>
                  <a:lnTo>
                    <a:pt x="82" y="371"/>
                  </a:lnTo>
                  <a:lnTo>
                    <a:pt x="56" y="360"/>
                  </a:lnTo>
                  <a:lnTo>
                    <a:pt x="55" y="352"/>
                  </a:lnTo>
                  <a:lnTo>
                    <a:pt x="58" y="346"/>
                  </a:lnTo>
                  <a:lnTo>
                    <a:pt x="58" y="334"/>
                  </a:lnTo>
                  <a:lnTo>
                    <a:pt x="50" y="356"/>
                  </a:lnTo>
                  <a:lnTo>
                    <a:pt x="44" y="361"/>
                  </a:lnTo>
                  <a:lnTo>
                    <a:pt x="37" y="378"/>
                  </a:lnTo>
                  <a:lnTo>
                    <a:pt x="21" y="383"/>
                  </a:lnTo>
                  <a:lnTo>
                    <a:pt x="12" y="373"/>
                  </a:lnTo>
                  <a:lnTo>
                    <a:pt x="12" y="367"/>
                  </a:lnTo>
                  <a:lnTo>
                    <a:pt x="25" y="333"/>
                  </a:lnTo>
                  <a:lnTo>
                    <a:pt x="16" y="328"/>
                  </a:lnTo>
                  <a:lnTo>
                    <a:pt x="2" y="346"/>
                  </a:lnTo>
                  <a:lnTo>
                    <a:pt x="0" y="326"/>
                  </a:lnTo>
                  <a:lnTo>
                    <a:pt x="5" y="317"/>
                  </a:lnTo>
                  <a:lnTo>
                    <a:pt x="15" y="308"/>
                  </a:lnTo>
                  <a:lnTo>
                    <a:pt x="16" y="285"/>
                  </a:lnTo>
                  <a:lnTo>
                    <a:pt x="27" y="280"/>
                  </a:lnTo>
                  <a:lnTo>
                    <a:pt x="29" y="274"/>
                  </a:lnTo>
                  <a:lnTo>
                    <a:pt x="39" y="266"/>
                  </a:lnTo>
                  <a:lnTo>
                    <a:pt x="47" y="266"/>
                  </a:lnTo>
                  <a:lnTo>
                    <a:pt x="59" y="274"/>
                  </a:lnTo>
                  <a:lnTo>
                    <a:pt x="64" y="269"/>
                  </a:lnTo>
                  <a:lnTo>
                    <a:pt x="70" y="271"/>
                  </a:lnTo>
                  <a:lnTo>
                    <a:pt x="82" y="239"/>
                  </a:lnTo>
                  <a:lnTo>
                    <a:pt x="90" y="231"/>
                  </a:lnTo>
                  <a:lnTo>
                    <a:pt x="91" y="225"/>
                  </a:lnTo>
                  <a:lnTo>
                    <a:pt x="90" y="209"/>
                  </a:lnTo>
                  <a:lnTo>
                    <a:pt x="93" y="216"/>
                  </a:lnTo>
                  <a:lnTo>
                    <a:pt x="99" y="213"/>
                  </a:lnTo>
                  <a:lnTo>
                    <a:pt x="111" y="206"/>
                  </a:lnTo>
                  <a:lnTo>
                    <a:pt x="114" y="198"/>
                  </a:lnTo>
                  <a:lnTo>
                    <a:pt x="120" y="198"/>
                  </a:lnTo>
                  <a:lnTo>
                    <a:pt x="134" y="178"/>
                  </a:lnTo>
                  <a:lnTo>
                    <a:pt x="147" y="174"/>
                  </a:lnTo>
                  <a:lnTo>
                    <a:pt x="138" y="170"/>
                  </a:lnTo>
                  <a:lnTo>
                    <a:pt x="147" y="150"/>
                  </a:lnTo>
                  <a:lnTo>
                    <a:pt x="149" y="139"/>
                  </a:lnTo>
                  <a:lnTo>
                    <a:pt x="154" y="13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65" name="Freeform 290">
              <a:extLst>
                <a:ext uri="{FF2B5EF4-FFF2-40B4-BE49-F238E27FC236}">
                  <a16:creationId xmlns:a16="http://schemas.microsoft.com/office/drawing/2014/main" id="{E9C5C632-5BEE-9FF6-8C25-CA5C64588C1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449727" y="314013"/>
              <a:ext cx="105957" cy="109743"/>
            </a:xfrm>
            <a:custGeom>
              <a:avLst/>
              <a:gdLst>
                <a:gd name="T0" fmla="*/ 0 w 200"/>
                <a:gd name="T1" fmla="*/ 0 h 195"/>
                <a:gd name="T2" fmla="*/ 0 w 200"/>
                <a:gd name="T3" fmla="*/ 0 h 195"/>
                <a:gd name="T4" fmla="*/ 0 w 200"/>
                <a:gd name="T5" fmla="*/ 0 h 195"/>
                <a:gd name="T6" fmla="*/ 0 w 200"/>
                <a:gd name="T7" fmla="*/ 0 h 195"/>
                <a:gd name="T8" fmla="*/ 0 w 200"/>
                <a:gd name="T9" fmla="*/ 0 h 195"/>
                <a:gd name="T10" fmla="*/ 0 w 200"/>
                <a:gd name="T11" fmla="*/ 0 h 195"/>
                <a:gd name="T12" fmla="*/ 0 w 200"/>
                <a:gd name="T13" fmla="*/ 0 h 195"/>
                <a:gd name="T14" fmla="*/ 0 w 200"/>
                <a:gd name="T15" fmla="*/ 0 h 195"/>
                <a:gd name="T16" fmla="*/ 0 w 200"/>
                <a:gd name="T17" fmla="*/ 0 h 195"/>
                <a:gd name="T18" fmla="*/ 0 w 200"/>
                <a:gd name="T19" fmla="*/ 0 h 195"/>
                <a:gd name="T20" fmla="*/ 0 w 200"/>
                <a:gd name="T21" fmla="*/ 0 h 195"/>
                <a:gd name="T22" fmla="*/ 0 w 200"/>
                <a:gd name="T23" fmla="*/ 0 h 195"/>
                <a:gd name="T24" fmla="*/ 0 w 200"/>
                <a:gd name="T25" fmla="*/ 0 h 195"/>
                <a:gd name="T26" fmla="*/ 0 w 200"/>
                <a:gd name="T27" fmla="*/ 0 h 195"/>
                <a:gd name="T28" fmla="*/ 0 w 200"/>
                <a:gd name="T29" fmla="*/ 0 h 195"/>
                <a:gd name="T30" fmla="*/ 0 w 200"/>
                <a:gd name="T31" fmla="*/ 0 h 195"/>
                <a:gd name="T32" fmla="*/ 0 w 200"/>
                <a:gd name="T33" fmla="*/ 0 h 195"/>
                <a:gd name="T34" fmla="*/ 0 w 200"/>
                <a:gd name="T35" fmla="*/ 0 h 195"/>
                <a:gd name="T36" fmla="*/ 0 w 200"/>
                <a:gd name="T37" fmla="*/ 0 h 195"/>
                <a:gd name="T38" fmla="*/ 0 w 200"/>
                <a:gd name="T39" fmla="*/ 0 h 195"/>
                <a:gd name="T40" fmla="*/ 0 w 200"/>
                <a:gd name="T41" fmla="*/ 0 h 195"/>
                <a:gd name="T42" fmla="*/ 0 w 200"/>
                <a:gd name="T43" fmla="*/ 0 h 195"/>
                <a:gd name="T44" fmla="*/ 0 w 200"/>
                <a:gd name="T45" fmla="*/ 0 h 195"/>
                <a:gd name="T46" fmla="*/ 0 w 200"/>
                <a:gd name="T47" fmla="*/ 0 h 195"/>
                <a:gd name="T48" fmla="*/ 0 w 200"/>
                <a:gd name="T49" fmla="*/ 0 h 195"/>
                <a:gd name="T50" fmla="*/ 0 w 200"/>
                <a:gd name="T51" fmla="*/ 0 h 195"/>
                <a:gd name="T52" fmla="*/ 0 w 200"/>
                <a:gd name="T53" fmla="*/ 0 h 195"/>
                <a:gd name="T54" fmla="*/ 0 w 200"/>
                <a:gd name="T55" fmla="*/ 0 h 195"/>
                <a:gd name="T56" fmla="*/ 0 w 200"/>
                <a:gd name="T57" fmla="*/ 0 h 195"/>
                <a:gd name="T58" fmla="*/ 0 w 200"/>
                <a:gd name="T59" fmla="*/ 0 h 195"/>
                <a:gd name="T60" fmla="*/ 0 w 200"/>
                <a:gd name="T61" fmla="*/ 0 h 195"/>
                <a:gd name="T62" fmla="*/ 0 w 200"/>
                <a:gd name="T63" fmla="*/ 0 h 195"/>
                <a:gd name="T64" fmla="*/ 0 w 200"/>
                <a:gd name="T65" fmla="*/ 0 h 195"/>
                <a:gd name="T66" fmla="*/ 0 w 200"/>
                <a:gd name="T67" fmla="*/ 0 h 195"/>
                <a:gd name="T68" fmla="*/ 0 w 200"/>
                <a:gd name="T69" fmla="*/ 0 h 195"/>
                <a:gd name="T70" fmla="*/ 0 w 200"/>
                <a:gd name="T71" fmla="*/ 0 h 195"/>
                <a:gd name="T72" fmla="*/ 0 w 200"/>
                <a:gd name="T73" fmla="*/ 0 h 195"/>
                <a:gd name="T74" fmla="*/ 0 w 200"/>
                <a:gd name="T75" fmla="*/ 0 h 195"/>
                <a:gd name="T76" fmla="*/ 0 w 200"/>
                <a:gd name="T77" fmla="*/ 0 h 195"/>
                <a:gd name="T78" fmla="*/ 0 w 200"/>
                <a:gd name="T79" fmla="*/ 0 h 195"/>
                <a:gd name="T80" fmla="*/ 0 w 200"/>
                <a:gd name="T81" fmla="*/ 0 h 195"/>
                <a:gd name="T82" fmla="*/ 0 w 200"/>
                <a:gd name="T83" fmla="*/ 0 h 195"/>
                <a:gd name="T84" fmla="*/ 0 w 200"/>
                <a:gd name="T85" fmla="*/ 0 h 195"/>
                <a:gd name="T86" fmla="*/ 0 w 200"/>
                <a:gd name="T87" fmla="*/ 0 h 195"/>
                <a:gd name="T88" fmla="*/ 0 w 200"/>
                <a:gd name="T89" fmla="*/ 0 h 195"/>
                <a:gd name="T90" fmla="*/ 0 w 200"/>
                <a:gd name="T91" fmla="*/ 0 h 195"/>
                <a:gd name="T92" fmla="*/ 0 w 200"/>
                <a:gd name="T93" fmla="*/ 0 h 195"/>
                <a:gd name="T94" fmla="*/ 0 w 200"/>
                <a:gd name="T95" fmla="*/ 0 h 195"/>
                <a:gd name="T96" fmla="*/ 0 w 200"/>
                <a:gd name="T97" fmla="*/ 0 h 195"/>
                <a:gd name="T98" fmla="*/ 0 w 200"/>
                <a:gd name="T99" fmla="*/ 0 h 195"/>
                <a:gd name="T100" fmla="*/ 0 w 200"/>
                <a:gd name="T101" fmla="*/ 0 h 195"/>
                <a:gd name="T102" fmla="*/ 0 w 200"/>
                <a:gd name="T103" fmla="*/ 0 h 195"/>
                <a:gd name="T104" fmla="*/ 0 w 200"/>
                <a:gd name="T105" fmla="*/ 0 h 195"/>
                <a:gd name="T106" fmla="*/ 0 w 200"/>
                <a:gd name="T107" fmla="*/ 0 h 195"/>
                <a:gd name="T108" fmla="*/ 0 w 200"/>
                <a:gd name="T109" fmla="*/ 0 h 195"/>
                <a:gd name="T110" fmla="*/ 0 w 200"/>
                <a:gd name="T111" fmla="*/ 0 h 195"/>
                <a:gd name="T112" fmla="*/ 0 w 200"/>
                <a:gd name="T113" fmla="*/ 0 h 195"/>
                <a:gd name="T114" fmla="*/ 0 w 200"/>
                <a:gd name="T115" fmla="*/ 0 h 195"/>
                <a:gd name="T116" fmla="*/ 0 w 200"/>
                <a:gd name="T117" fmla="*/ 0 h 195"/>
                <a:gd name="T118" fmla="*/ 0 w 200"/>
                <a:gd name="T119" fmla="*/ 0 h 195"/>
                <a:gd name="T120" fmla="*/ 0 w 200"/>
                <a:gd name="T121" fmla="*/ 0 h 19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00"/>
                <a:gd name="T184" fmla="*/ 0 h 195"/>
                <a:gd name="T185" fmla="*/ 200 w 200"/>
                <a:gd name="T186" fmla="*/ 195 h 19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00" h="195">
                  <a:moveTo>
                    <a:pt x="76" y="19"/>
                  </a:moveTo>
                  <a:lnTo>
                    <a:pt x="84" y="23"/>
                  </a:lnTo>
                  <a:lnTo>
                    <a:pt x="84" y="19"/>
                  </a:lnTo>
                  <a:lnTo>
                    <a:pt x="95" y="13"/>
                  </a:lnTo>
                  <a:lnTo>
                    <a:pt x="127" y="7"/>
                  </a:lnTo>
                  <a:lnTo>
                    <a:pt x="128" y="13"/>
                  </a:lnTo>
                  <a:lnTo>
                    <a:pt x="138" y="16"/>
                  </a:lnTo>
                  <a:lnTo>
                    <a:pt x="145" y="5"/>
                  </a:lnTo>
                  <a:lnTo>
                    <a:pt x="172" y="0"/>
                  </a:lnTo>
                  <a:lnTo>
                    <a:pt x="198" y="8"/>
                  </a:lnTo>
                  <a:lnTo>
                    <a:pt x="200" y="21"/>
                  </a:lnTo>
                  <a:lnTo>
                    <a:pt x="199" y="37"/>
                  </a:lnTo>
                  <a:lnTo>
                    <a:pt x="194" y="46"/>
                  </a:lnTo>
                  <a:lnTo>
                    <a:pt x="149" y="60"/>
                  </a:lnTo>
                  <a:lnTo>
                    <a:pt x="135" y="60"/>
                  </a:lnTo>
                  <a:lnTo>
                    <a:pt x="134" y="65"/>
                  </a:lnTo>
                  <a:lnTo>
                    <a:pt x="127" y="70"/>
                  </a:lnTo>
                  <a:lnTo>
                    <a:pt x="134" y="76"/>
                  </a:lnTo>
                  <a:lnTo>
                    <a:pt x="129" y="80"/>
                  </a:lnTo>
                  <a:lnTo>
                    <a:pt x="105" y="81"/>
                  </a:lnTo>
                  <a:lnTo>
                    <a:pt x="107" y="85"/>
                  </a:lnTo>
                  <a:lnTo>
                    <a:pt x="107" y="97"/>
                  </a:lnTo>
                  <a:lnTo>
                    <a:pt x="114" y="87"/>
                  </a:lnTo>
                  <a:lnTo>
                    <a:pt x="116" y="94"/>
                  </a:lnTo>
                  <a:lnTo>
                    <a:pt x="111" y="104"/>
                  </a:lnTo>
                  <a:lnTo>
                    <a:pt x="123" y="92"/>
                  </a:lnTo>
                  <a:lnTo>
                    <a:pt x="129" y="92"/>
                  </a:lnTo>
                  <a:lnTo>
                    <a:pt x="129" y="104"/>
                  </a:lnTo>
                  <a:lnTo>
                    <a:pt x="134" y="99"/>
                  </a:lnTo>
                  <a:lnTo>
                    <a:pt x="135" y="87"/>
                  </a:lnTo>
                  <a:lnTo>
                    <a:pt x="140" y="81"/>
                  </a:lnTo>
                  <a:lnTo>
                    <a:pt x="144" y="89"/>
                  </a:lnTo>
                  <a:lnTo>
                    <a:pt x="155" y="92"/>
                  </a:lnTo>
                  <a:lnTo>
                    <a:pt x="173" y="87"/>
                  </a:lnTo>
                  <a:lnTo>
                    <a:pt x="177" y="115"/>
                  </a:lnTo>
                  <a:lnTo>
                    <a:pt x="173" y="150"/>
                  </a:lnTo>
                  <a:lnTo>
                    <a:pt x="168" y="157"/>
                  </a:lnTo>
                  <a:lnTo>
                    <a:pt x="161" y="163"/>
                  </a:lnTo>
                  <a:lnTo>
                    <a:pt x="125" y="177"/>
                  </a:lnTo>
                  <a:lnTo>
                    <a:pt x="117" y="172"/>
                  </a:lnTo>
                  <a:lnTo>
                    <a:pt x="76" y="195"/>
                  </a:lnTo>
                  <a:lnTo>
                    <a:pt x="64" y="195"/>
                  </a:lnTo>
                  <a:lnTo>
                    <a:pt x="52" y="190"/>
                  </a:lnTo>
                  <a:lnTo>
                    <a:pt x="46" y="179"/>
                  </a:lnTo>
                  <a:lnTo>
                    <a:pt x="44" y="169"/>
                  </a:lnTo>
                  <a:lnTo>
                    <a:pt x="14" y="158"/>
                  </a:lnTo>
                  <a:lnTo>
                    <a:pt x="6" y="148"/>
                  </a:lnTo>
                  <a:lnTo>
                    <a:pt x="6" y="136"/>
                  </a:lnTo>
                  <a:lnTo>
                    <a:pt x="9" y="129"/>
                  </a:lnTo>
                  <a:lnTo>
                    <a:pt x="6" y="118"/>
                  </a:lnTo>
                  <a:lnTo>
                    <a:pt x="6" y="102"/>
                  </a:lnTo>
                  <a:lnTo>
                    <a:pt x="0" y="83"/>
                  </a:lnTo>
                  <a:lnTo>
                    <a:pt x="4" y="61"/>
                  </a:lnTo>
                  <a:lnTo>
                    <a:pt x="8" y="56"/>
                  </a:lnTo>
                  <a:lnTo>
                    <a:pt x="32" y="49"/>
                  </a:lnTo>
                  <a:lnTo>
                    <a:pt x="37" y="39"/>
                  </a:lnTo>
                  <a:lnTo>
                    <a:pt x="46" y="33"/>
                  </a:lnTo>
                  <a:lnTo>
                    <a:pt x="54" y="37"/>
                  </a:lnTo>
                  <a:lnTo>
                    <a:pt x="63" y="23"/>
                  </a:lnTo>
                  <a:lnTo>
                    <a:pt x="71" y="23"/>
                  </a:lnTo>
                  <a:lnTo>
                    <a:pt x="76" y="1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66" name="Freeform 291">
              <a:extLst>
                <a:ext uri="{FF2B5EF4-FFF2-40B4-BE49-F238E27FC236}">
                  <a16:creationId xmlns:a16="http://schemas.microsoft.com/office/drawing/2014/main" id="{DA9E7D72-0AEF-AE05-123B-D4A214E25EC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449727" y="213415"/>
              <a:ext cx="116403" cy="73163"/>
            </a:xfrm>
            <a:custGeom>
              <a:avLst/>
              <a:gdLst>
                <a:gd name="T0" fmla="*/ 0 w 219"/>
                <a:gd name="T1" fmla="*/ 0 h 133"/>
                <a:gd name="T2" fmla="*/ 0 w 219"/>
                <a:gd name="T3" fmla="*/ 0 h 133"/>
                <a:gd name="T4" fmla="*/ 0 w 219"/>
                <a:gd name="T5" fmla="*/ 0 h 133"/>
                <a:gd name="T6" fmla="*/ 0 w 219"/>
                <a:gd name="T7" fmla="*/ 0 h 133"/>
                <a:gd name="T8" fmla="*/ 0 w 219"/>
                <a:gd name="T9" fmla="*/ 0 h 133"/>
                <a:gd name="T10" fmla="*/ 0 w 219"/>
                <a:gd name="T11" fmla="*/ 0 h 133"/>
                <a:gd name="T12" fmla="*/ 0 w 219"/>
                <a:gd name="T13" fmla="*/ 0 h 133"/>
                <a:gd name="T14" fmla="*/ 0 w 219"/>
                <a:gd name="T15" fmla="*/ 0 h 133"/>
                <a:gd name="T16" fmla="*/ 0 w 219"/>
                <a:gd name="T17" fmla="*/ 0 h 133"/>
                <a:gd name="T18" fmla="*/ 0 w 219"/>
                <a:gd name="T19" fmla="*/ 0 h 133"/>
                <a:gd name="T20" fmla="*/ 0 w 219"/>
                <a:gd name="T21" fmla="*/ 0 h 133"/>
                <a:gd name="T22" fmla="*/ 0 w 219"/>
                <a:gd name="T23" fmla="*/ 0 h 133"/>
                <a:gd name="T24" fmla="*/ 0 w 219"/>
                <a:gd name="T25" fmla="*/ 0 h 133"/>
                <a:gd name="T26" fmla="*/ 0 w 219"/>
                <a:gd name="T27" fmla="*/ 0 h 133"/>
                <a:gd name="T28" fmla="*/ 0 w 219"/>
                <a:gd name="T29" fmla="*/ 0 h 133"/>
                <a:gd name="T30" fmla="*/ 0 w 219"/>
                <a:gd name="T31" fmla="*/ 0 h 133"/>
                <a:gd name="T32" fmla="*/ 0 w 219"/>
                <a:gd name="T33" fmla="*/ 0 h 133"/>
                <a:gd name="T34" fmla="*/ 0 w 219"/>
                <a:gd name="T35" fmla="*/ 0 h 133"/>
                <a:gd name="T36" fmla="*/ 0 w 219"/>
                <a:gd name="T37" fmla="*/ 0 h 133"/>
                <a:gd name="T38" fmla="*/ 0 w 219"/>
                <a:gd name="T39" fmla="*/ 0 h 133"/>
                <a:gd name="T40" fmla="*/ 0 w 219"/>
                <a:gd name="T41" fmla="*/ 0 h 133"/>
                <a:gd name="T42" fmla="*/ 0 w 219"/>
                <a:gd name="T43" fmla="*/ 0 h 133"/>
                <a:gd name="T44" fmla="*/ 0 w 219"/>
                <a:gd name="T45" fmla="*/ 0 h 133"/>
                <a:gd name="T46" fmla="*/ 0 w 219"/>
                <a:gd name="T47" fmla="*/ 0 h 133"/>
                <a:gd name="T48" fmla="*/ 0 w 219"/>
                <a:gd name="T49" fmla="*/ 0 h 133"/>
                <a:gd name="T50" fmla="*/ 0 w 219"/>
                <a:gd name="T51" fmla="*/ 0 h 133"/>
                <a:gd name="T52" fmla="*/ 0 w 219"/>
                <a:gd name="T53" fmla="*/ 0 h 133"/>
                <a:gd name="T54" fmla="*/ 0 w 219"/>
                <a:gd name="T55" fmla="*/ 0 h 133"/>
                <a:gd name="T56" fmla="*/ 0 w 219"/>
                <a:gd name="T57" fmla="*/ 0 h 133"/>
                <a:gd name="T58" fmla="*/ 0 w 219"/>
                <a:gd name="T59" fmla="*/ 0 h 133"/>
                <a:gd name="T60" fmla="*/ 0 w 219"/>
                <a:gd name="T61" fmla="*/ 0 h 133"/>
                <a:gd name="T62" fmla="*/ 0 w 219"/>
                <a:gd name="T63" fmla="*/ 0 h 133"/>
                <a:gd name="T64" fmla="*/ 0 w 219"/>
                <a:gd name="T65" fmla="*/ 0 h 133"/>
                <a:gd name="T66" fmla="*/ 0 w 219"/>
                <a:gd name="T67" fmla="*/ 0 h 133"/>
                <a:gd name="T68" fmla="*/ 0 w 219"/>
                <a:gd name="T69" fmla="*/ 0 h 133"/>
                <a:gd name="T70" fmla="*/ 0 w 219"/>
                <a:gd name="T71" fmla="*/ 0 h 133"/>
                <a:gd name="T72" fmla="*/ 0 w 219"/>
                <a:gd name="T73" fmla="*/ 0 h 133"/>
                <a:gd name="T74" fmla="*/ 0 w 219"/>
                <a:gd name="T75" fmla="*/ 0 h 133"/>
                <a:gd name="T76" fmla="*/ 0 w 219"/>
                <a:gd name="T77" fmla="*/ 0 h 133"/>
                <a:gd name="T78" fmla="*/ 0 w 219"/>
                <a:gd name="T79" fmla="*/ 0 h 133"/>
                <a:gd name="T80" fmla="*/ 0 w 219"/>
                <a:gd name="T81" fmla="*/ 0 h 133"/>
                <a:gd name="T82" fmla="*/ 0 w 219"/>
                <a:gd name="T83" fmla="*/ 0 h 133"/>
                <a:gd name="T84" fmla="*/ 0 w 219"/>
                <a:gd name="T85" fmla="*/ 0 h 133"/>
                <a:gd name="T86" fmla="*/ 0 w 219"/>
                <a:gd name="T87" fmla="*/ 0 h 133"/>
                <a:gd name="T88" fmla="*/ 0 w 219"/>
                <a:gd name="T89" fmla="*/ 0 h 133"/>
                <a:gd name="T90" fmla="*/ 0 w 219"/>
                <a:gd name="T91" fmla="*/ 0 h 133"/>
                <a:gd name="T92" fmla="*/ 0 w 219"/>
                <a:gd name="T93" fmla="*/ 0 h 133"/>
                <a:gd name="T94" fmla="*/ 0 w 219"/>
                <a:gd name="T95" fmla="*/ 0 h 133"/>
                <a:gd name="T96" fmla="*/ 0 w 219"/>
                <a:gd name="T97" fmla="*/ 0 h 133"/>
                <a:gd name="T98" fmla="*/ 0 w 219"/>
                <a:gd name="T99" fmla="*/ 0 h 133"/>
                <a:gd name="T100" fmla="*/ 0 w 219"/>
                <a:gd name="T101" fmla="*/ 0 h 133"/>
                <a:gd name="T102" fmla="*/ 0 w 219"/>
                <a:gd name="T103" fmla="*/ 0 h 133"/>
                <a:gd name="T104" fmla="*/ 0 w 219"/>
                <a:gd name="T105" fmla="*/ 0 h 133"/>
                <a:gd name="T106" fmla="*/ 0 w 219"/>
                <a:gd name="T107" fmla="*/ 0 h 133"/>
                <a:gd name="T108" fmla="*/ 0 w 219"/>
                <a:gd name="T109" fmla="*/ 0 h 133"/>
                <a:gd name="T110" fmla="*/ 0 w 219"/>
                <a:gd name="T111" fmla="*/ 0 h 133"/>
                <a:gd name="T112" fmla="*/ 0 w 219"/>
                <a:gd name="T113" fmla="*/ 0 h 133"/>
                <a:gd name="T114" fmla="*/ 0 w 219"/>
                <a:gd name="T115" fmla="*/ 0 h 13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19"/>
                <a:gd name="T175" fmla="*/ 0 h 133"/>
                <a:gd name="T176" fmla="*/ 219 w 219"/>
                <a:gd name="T177" fmla="*/ 133 h 133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19" h="133">
                  <a:moveTo>
                    <a:pt x="184" y="32"/>
                  </a:moveTo>
                  <a:lnTo>
                    <a:pt x="188" y="31"/>
                  </a:lnTo>
                  <a:lnTo>
                    <a:pt x="192" y="46"/>
                  </a:lnTo>
                  <a:lnTo>
                    <a:pt x="207" y="47"/>
                  </a:lnTo>
                  <a:lnTo>
                    <a:pt x="208" y="57"/>
                  </a:lnTo>
                  <a:lnTo>
                    <a:pt x="216" y="66"/>
                  </a:lnTo>
                  <a:lnTo>
                    <a:pt x="216" y="74"/>
                  </a:lnTo>
                  <a:lnTo>
                    <a:pt x="219" y="80"/>
                  </a:lnTo>
                  <a:lnTo>
                    <a:pt x="219" y="101"/>
                  </a:lnTo>
                  <a:lnTo>
                    <a:pt x="216" y="117"/>
                  </a:lnTo>
                  <a:lnTo>
                    <a:pt x="208" y="122"/>
                  </a:lnTo>
                  <a:lnTo>
                    <a:pt x="195" y="126"/>
                  </a:lnTo>
                  <a:lnTo>
                    <a:pt x="188" y="121"/>
                  </a:lnTo>
                  <a:lnTo>
                    <a:pt x="160" y="131"/>
                  </a:lnTo>
                  <a:lnTo>
                    <a:pt x="148" y="127"/>
                  </a:lnTo>
                  <a:lnTo>
                    <a:pt x="130" y="105"/>
                  </a:lnTo>
                  <a:lnTo>
                    <a:pt x="121" y="104"/>
                  </a:lnTo>
                  <a:lnTo>
                    <a:pt x="114" y="94"/>
                  </a:lnTo>
                  <a:lnTo>
                    <a:pt x="109" y="97"/>
                  </a:lnTo>
                  <a:lnTo>
                    <a:pt x="107" y="90"/>
                  </a:lnTo>
                  <a:lnTo>
                    <a:pt x="107" y="105"/>
                  </a:lnTo>
                  <a:lnTo>
                    <a:pt x="111" y="117"/>
                  </a:lnTo>
                  <a:lnTo>
                    <a:pt x="105" y="120"/>
                  </a:lnTo>
                  <a:lnTo>
                    <a:pt x="107" y="131"/>
                  </a:lnTo>
                  <a:lnTo>
                    <a:pt x="86" y="133"/>
                  </a:lnTo>
                  <a:lnTo>
                    <a:pt x="78" y="111"/>
                  </a:lnTo>
                  <a:lnTo>
                    <a:pt x="60" y="107"/>
                  </a:lnTo>
                  <a:lnTo>
                    <a:pt x="57" y="99"/>
                  </a:lnTo>
                  <a:lnTo>
                    <a:pt x="49" y="101"/>
                  </a:lnTo>
                  <a:lnTo>
                    <a:pt x="51" y="107"/>
                  </a:lnTo>
                  <a:lnTo>
                    <a:pt x="51" y="110"/>
                  </a:lnTo>
                  <a:lnTo>
                    <a:pt x="43" y="107"/>
                  </a:lnTo>
                  <a:lnTo>
                    <a:pt x="31" y="115"/>
                  </a:lnTo>
                  <a:lnTo>
                    <a:pt x="32" y="124"/>
                  </a:lnTo>
                  <a:lnTo>
                    <a:pt x="31" y="132"/>
                  </a:lnTo>
                  <a:lnTo>
                    <a:pt x="28" y="126"/>
                  </a:lnTo>
                  <a:lnTo>
                    <a:pt x="15" y="133"/>
                  </a:lnTo>
                  <a:lnTo>
                    <a:pt x="8" y="131"/>
                  </a:lnTo>
                  <a:lnTo>
                    <a:pt x="6" y="120"/>
                  </a:lnTo>
                  <a:lnTo>
                    <a:pt x="0" y="120"/>
                  </a:lnTo>
                  <a:lnTo>
                    <a:pt x="8" y="94"/>
                  </a:lnTo>
                  <a:lnTo>
                    <a:pt x="23" y="79"/>
                  </a:lnTo>
                  <a:lnTo>
                    <a:pt x="27" y="84"/>
                  </a:lnTo>
                  <a:lnTo>
                    <a:pt x="36" y="81"/>
                  </a:lnTo>
                  <a:lnTo>
                    <a:pt x="36" y="75"/>
                  </a:lnTo>
                  <a:lnTo>
                    <a:pt x="53" y="62"/>
                  </a:lnTo>
                  <a:lnTo>
                    <a:pt x="85" y="54"/>
                  </a:lnTo>
                  <a:lnTo>
                    <a:pt x="105" y="45"/>
                  </a:lnTo>
                  <a:lnTo>
                    <a:pt x="117" y="19"/>
                  </a:lnTo>
                  <a:lnTo>
                    <a:pt x="121" y="26"/>
                  </a:lnTo>
                  <a:lnTo>
                    <a:pt x="140" y="3"/>
                  </a:lnTo>
                  <a:lnTo>
                    <a:pt x="159" y="0"/>
                  </a:lnTo>
                  <a:lnTo>
                    <a:pt x="164" y="5"/>
                  </a:lnTo>
                  <a:lnTo>
                    <a:pt x="164" y="13"/>
                  </a:lnTo>
                  <a:lnTo>
                    <a:pt x="168" y="13"/>
                  </a:lnTo>
                  <a:lnTo>
                    <a:pt x="171" y="21"/>
                  </a:lnTo>
                  <a:lnTo>
                    <a:pt x="184" y="26"/>
                  </a:lnTo>
                  <a:lnTo>
                    <a:pt x="184" y="3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67" name="Freeform 292">
              <a:extLst>
                <a:ext uri="{FF2B5EF4-FFF2-40B4-BE49-F238E27FC236}">
                  <a16:creationId xmlns:a16="http://schemas.microsoft.com/office/drawing/2014/main" id="{BF8A7E2C-ADA6-0441-BECC-015B486C525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957123" y="358215"/>
              <a:ext cx="86556" cy="59445"/>
            </a:xfrm>
            <a:custGeom>
              <a:avLst/>
              <a:gdLst>
                <a:gd name="T0" fmla="*/ 0 w 164"/>
                <a:gd name="T1" fmla="*/ 0 h 103"/>
                <a:gd name="T2" fmla="*/ 0 w 164"/>
                <a:gd name="T3" fmla="*/ 0 h 103"/>
                <a:gd name="T4" fmla="*/ 0 w 164"/>
                <a:gd name="T5" fmla="*/ 0 h 103"/>
                <a:gd name="T6" fmla="*/ 0 w 164"/>
                <a:gd name="T7" fmla="*/ 0 h 103"/>
                <a:gd name="T8" fmla="*/ 0 w 164"/>
                <a:gd name="T9" fmla="*/ 0 h 103"/>
                <a:gd name="T10" fmla="*/ 0 w 164"/>
                <a:gd name="T11" fmla="*/ 0 h 103"/>
                <a:gd name="T12" fmla="*/ 0 w 164"/>
                <a:gd name="T13" fmla="*/ 0 h 103"/>
                <a:gd name="T14" fmla="*/ 0 w 164"/>
                <a:gd name="T15" fmla="*/ 0 h 103"/>
                <a:gd name="T16" fmla="*/ 0 w 164"/>
                <a:gd name="T17" fmla="*/ 0 h 103"/>
                <a:gd name="T18" fmla="*/ 0 w 164"/>
                <a:gd name="T19" fmla="*/ 0 h 103"/>
                <a:gd name="T20" fmla="*/ 0 w 164"/>
                <a:gd name="T21" fmla="*/ 0 h 103"/>
                <a:gd name="T22" fmla="*/ 0 w 164"/>
                <a:gd name="T23" fmla="*/ 0 h 103"/>
                <a:gd name="T24" fmla="*/ 0 w 164"/>
                <a:gd name="T25" fmla="*/ 0 h 103"/>
                <a:gd name="T26" fmla="*/ 0 w 164"/>
                <a:gd name="T27" fmla="*/ 0 h 103"/>
                <a:gd name="T28" fmla="*/ 0 w 164"/>
                <a:gd name="T29" fmla="*/ 0 h 103"/>
                <a:gd name="T30" fmla="*/ 0 w 164"/>
                <a:gd name="T31" fmla="*/ 0 h 103"/>
                <a:gd name="T32" fmla="*/ 0 w 164"/>
                <a:gd name="T33" fmla="*/ 0 h 103"/>
                <a:gd name="T34" fmla="*/ 0 w 164"/>
                <a:gd name="T35" fmla="*/ 0 h 103"/>
                <a:gd name="T36" fmla="*/ 0 w 164"/>
                <a:gd name="T37" fmla="*/ 0 h 103"/>
                <a:gd name="T38" fmla="*/ 0 w 164"/>
                <a:gd name="T39" fmla="*/ 0 h 103"/>
                <a:gd name="T40" fmla="*/ 0 w 164"/>
                <a:gd name="T41" fmla="*/ 0 h 103"/>
                <a:gd name="T42" fmla="*/ 0 w 164"/>
                <a:gd name="T43" fmla="*/ 0 h 103"/>
                <a:gd name="T44" fmla="*/ 0 w 164"/>
                <a:gd name="T45" fmla="*/ 0 h 103"/>
                <a:gd name="T46" fmla="*/ 0 w 164"/>
                <a:gd name="T47" fmla="*/ 0 h 103"/>
                <a:gd name="T48" fmla="*/ 0 w 164"/>
                <a:gd name="T49" fmla="*/ 0 h 103"/>
                <a:gd name="T50" fmla="*/ 0 w 164"/>
                <a:gd name="T51" fmla="*/ 0 h 103"/>
                <a:gd name="T52" fmla="*/ 0 w 164"/>
                <a:gd name="T53" fmla="*/ 0 h 103"/>
                <a:gd name="T54" fmla="*/ 0 w 164"/>
                <a:gd name="T55" fmla="*/ 0 h 103"/>
                <a:gd name="T56" fmla="*/ 0 w 164"/>
                <a:gd name="T57" fmla="*/ 0 h 103"/>
                <a:gd name="T58" fmla="*/ 0 w 164"/>
                <a:gd name="T59" fmla="*/ 0 h 103"/>
                <a:gd name="T60" fmla="*/ 0 w 164"/>
                <a:gd name="T61" fmla="*/ 0 h 103"/>
                <a:gd name="T62" fmla="*/ 0 w 164"/>
                <a:gd name="T63" fmla="*/ 0 h 103"/>
                <a:gd name="T64" fmla="*/ 0 w 164"/>
                <a:gd name="T65" fmla="*/ 0 h 103"/>
                <a:gd name="T66" fmla="*/ 0 w 164"/>
                <a:gd name="T67" fmla="*/ 0 h 103"/>
                <a:gd name="T68" fmla="*/ 0 w 164"/>
                <a:gd name="T69" fmla="*/ 0 h 103"/>
                <a:gd name="T70" fmla="*/ 0 w 164"/>
                <a:gd name="T71" fmla="*/ 0 h 103"/>
                <a:gd name="T72" fmla="*/ 0 w 164"/>
                <a:gd name="T73" fmla="*/ 0 h 103"/>
                <a:gd name="T74" fmla="*/ 0 w 164"/>
                <a:gd name="T75" fmla="*/ 0 h 103"/>
                <a:gd name="T76" fmla="*/ 0 w 164"/>
                <a:gd name="T77" fmla="*/ 0 h 103"/>
                <a:gd name="T78" fmla="*/ 0 w 164"/>
                <a:gd name="T79" fmla="*/ 0 h 103"/>
                <a:gd name="T80" fmla="*/ 0 w 164"/>
                <a:gd name="T81" fmla="*/ 0 h 103"/>
                <a:gd name="T82" fmla="*/ 0 w 164"/>
                <a:gd name="T83" fmla="*/ 0 h 103"/>
                <a:gd name="T84" fmla="*/ 0 w 164"/>
                <a:gd name="T85" fmla="*/ 0 h 103"/>
                <a:gd name="T86" fmla="*/ 0 w 164"/>
                <a:gd name="T87" fmla="*/ 0 h 103"/>
                <a:gd name="T88" fmla="*/ 0 w 164"/>
                <a:gd name="T89" fmla="*/ 0 h 10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64"/>
                <a:gd name="T136" fmla="*/ 0 h 103"/>
                <a:gd name="T137" fmla="*/ 164 w 164"/>
                <a:gd name="T138" fmla="*/ 103 h 10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64" h="103">
                  <a:moveTo>
                    <a:pt x="61" y="15"/>
                  </a:moveTo>
                  <a:lnTo>
                    <a:pt x="70" y="20"/>
                  </a:lnTo>
                  <a:lnTo>
                    <a:pt x="73" y="12"/>
                  </a:lnTo>
                  <a:lnTo>
                    <a:pt x="89" y="10"/>
                  </a:lnTo>
                  <a:lnTo>
                    <a:pt x="89" y="15"/>
                  </a:lnTo>
                  <a:lnTo>
                    <a:pt x="103" y="20"/>
                  </a:lnTo>
                  <a:lnTo>
                    <a:pt x="106" y="15"/>
                  </a:lnTo>
                  <a:lnTo>
                    <a:pt x="124" y="26"/>
                  </a:lnTo>
                  <a:lnTo>
                    <a:pt x="135" y="25"/>
                  </a:lnTo>
                  <a:lnTo>
                    <a:pt x="140" y="15"/>
                  </a:lnTo>
                  <a:lnTo>
                    <a:pt x="147" y="25"/>
                  </a:lnTo>
                  <a:lnTo>
                    <a:pt x="158" y="30"/>
                  </a:lnTo>
                  <a:lnTo>
                    <a:pt x="164" y="44"/>
                  </a:lnTo>
                  <a:lnTo>
                    <a:pt x="162" y="49"/>
                  </a:lnTo>
                  <a:lnTo>
                    <a:pt x="151" y="52"/>
                  </a:lnTo>
                  <a:lnTo>
                    <a:pt x="148" y="57"/>
                  </a:lnTo>
                  <a:lnTo>
                    <a:pt x="151" y="62"/>
                  </a:lnTo>
                  <a:lnTo>
                    <a:pt x="152" y="71"/>
                  </a:lnTo>
                  <a:lnTo>
                    <a:pt x="149" y="85"/>
                  </a:lnTo>
                  <a:lnTo>
                    <a:pt x="151" y="91"/>
                  </a:lnTo>
                  <a:lnTo>
                    <a:pt x="146" y="101"/>
                  </a:lnTo>
                  <a:lnTo>
                    <a:pt x="126" y="103"/>
                  </a:lnTo>
                  <a:lnTo>
                    <a:pt x="105" y="98"/>
                  </a:lnTo>
                  <a:lnTo>
                    <a:pt x="99" y="91"/>
                  </a:lnTo>
                  <a:lnTo>
                    <a:pt x="82" y="93"/>
                  </a:lnTo>
                  <a:lnTo>
                    <a:pt x="81" y="89"/>
                  </a:lnTo>
                  <a:lnTo>
                    <a:pt x="65" y="97"/>
                  </a:lnTo>
                  <a:lnTo>
                    <a:pt x="63" y="92"/>
                  </a:lnTo>
                  <a:lnTo>
                    <a:pt x="54" y="87"/>
                  </a:lnTo>
                  <a:lnTo>
                    <a:pt x="34" y="87"/>
                  </a:lnTo>
                  <a:lnTo>
                    <a:pt x="24" y="76"/>
                  </a:lnTo>
                  <a:lnTo>
                    <a:pt x="17" y="76"/>
                  </a:lnTo>
                  <a:lnTo>
                    <a:pt x="7" y="63"/>
                  </a:lnTo>
                  <a:lnTo>
                    <a:pt x="3" y="52"/>
                  </a:lnTo>
                  <a:lnTo>
                    <a:pt x="3" y="44"/>
                  </a:lnTo>
                  <a:lnTo>
                    <a:pt x="0" y="42"/>
                  </a:lnTo>
                  <a:lnTo>
                    <a:pt x="2" y="30"/>
                  </a:lnTo>
                  <a:lnTo>
                    <a:pt x="13" y="20"/>
                  </a:lnTo>
                  <a:lnTo>
                    <a:pt x="30" y="15"/>
                  </a:lnTo>
                  <a:lnTo>
                    <a:pt x="35" y="0"/>
                  </a:lnTo>
                  <a:lnTo>
                    <a:pt x="41" y="0"/>
                  </a:lnTo>
                  <a:lnTo>
                    <a:pt x="45" y="15"/>
                  </a:lnTo>
                  <a:lnTo>
                    <a:pt x="50" y="12"/>
                  </a:lnTo>
                  <a:lnTo>
                    <a:pt x="54" y="17"/>
                  </a:lnTo>
                  <a:lnTo>
                    <a:pt x="61" y="1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68" name="Freeform 293">
              <a:extLst>
                <a:ext uri="{FF2B5EF4-FFF2-40B4-BE49-F238E27FC236}">
                  <a16:creationId xmlns:a16="http://schemas.microsoft.com/office/drawing/2014/main" id="{18540911-9DC1-CE61-83E3-41143AD8CF8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931754" y="457289"/>
              <a:ext cx="505903" cy="338377"/>
            </a:xfrm>
            <a:custGeom>
              <a:avLst/>
              <a:gdLst>
                <a:gd name="T0" fmla="*/ 0 w 946"/>
                <a:gd name="T1" fmla="*/ 0 h 593"/>
                <a:gd name="T2" fmla="*/ 0 w 946"/>
                <a:gd name="T3" fmla="*/ 0 h 593"/>
                <a:gd name="T4" fmla="*/ 0 w 946"/>
                <a:gd name="T5" fmla="*/ 0 h 593"/>
                <a:gd name="T6" fmla="*/ 0 w 946"/>
                <a:gd name="T7" fmla="*/ 0 h 593"/>
                <a:gd name="T8" fmla="*/ 0 w 946"/>
                <a:gd name="T9" fmla="*/ 0 h 593"/>
                <a:gd name="T10" fmla="*/ 0 w 946"/>
                <a:gd name="T11" fmla="*/ 0 h 593"/>
                <a:gd name="T12" fmla="*/ 0 w 946"/>
                <a:gd name="T13" fmla="*/ 0 h 593"/>
                <a:gd name="T14" fmla="*/ 0 w 946"/>
                <a:gd name="T15" fmla="*/ 0 h 593"/>
                <a:gd name="T16" fmla="*/ 0 w 946"/>
                <a:gd name="T17" fmla="*/ 2147483647 h 593"/>
                <a:gd name="T18" fmla="*/ 0 w 946"/>
                <a:gd name="T19" fmla="*/ 2147483647 h 593"/>
                <a:gd name="T20" fmla="*/ 0 w 946"/>
                <a:gd name="T21" fmla="*/ 2147483647 h 593"/>
                <a:gd name="T22" fmla="*/ 0 w 946"/>
                <a:gd name="T23" fmla="*/ 2147483647 h 593"/>
                <a:gd name="T24" fmla="*/ 2147483647 w 946"/>
                <a:gd name="T25" fmla="*/ 2147483647 h 593"/>
                <a:gd name="T26" fmla="*/ 2147483647 w 946"/>
                <a:gd name="T27" fmla="*/ 2147483647 h 593"/>
                <a:gd name="T28" fmla="*/ 2147483647 w 946"/>
                <a:gd name="T29" fmla="*/ 2147483647 h 593"/>
                <a:gd name="T30" fmla="*/ 2147483647 w 946"/>
                <a:gd name="T31" fmla="*/ 2147483647 h 593"/>
                <a:gd name="T32" fmla="*/ 2147483647 w 946"/>
                <a:gd name="T33" fmla="*/ 2147483647 h 593"/>
                <a:gd name="T34" fmla="*/ 2147483647 w 946"/>
                <a:gd name="T35" fmla="*/ 2147483647 h 593"/>
                <a:gd name="T36" fmla="*/ 2147483647 w 946"/>
                <a:gd name="T37" fmla="*/ 2147483647 h 593"/>
                <a:gd name="T38" fmla="*/ 2147483647 w 946"/>
                <a:gd name="T39" fmla="*/ 2147483647 h 593"/>
                <a:gd name="T40" fmla="*/ 2147483647 w 946"/>
                <a:gd name="T41" fmla="*/ 2147483647 h 593"/>
                <a:gd name="T42" fmla="*/ 2147483647 w 946"/>
                <a:gd name="T43" fmla="*/ 2147483647 h 593"/>
                <a:gd name="T44" fmla="*/ 2147483647 w 946"/>
                <a:gd name="T45" fmla="*/ 2147483647 h 593"/>
                <a:gd name="T46" fmla="*/ 2147483647 w 946"/>
                <a:gd name="T47" fmla="*/ 2147483647 h 593"/>
                <a:gd name="T48" fmla="*/ 2147483647 w 946"/>
                <a:gd name="T49" fmla="*/ 2147483647 h 593"/>
                <a:gd name="T50" fmla="*/ 2147483647 w 946"/>
                <a:gd name="T51" fmla="*/ 2147483647 h 593"/>
                <a:gd name="T52" fmla="*/ 2147483647 w 946"/>
                <a:gd name="T53" fmla="*/ 2147483647 h 593"/>
                <a:gd name="T54" fmla="*/ 2147483647 w 946"/>
                <a:gd name="T55" fmla="*/ 2147483647 h 593"/>
                <a:gd name="T56" fmla="*/ 2147483647 w 946"/>
                <a:gd name="T57" fmla="*/ 2147483647 h 593"/>
                <a:gd name="T58" fmla="*/ 2147483647 w 946"/>
                <a:gd name="T59" fmla="*/ 0 h 593"/>
                <a:gd name="T60" fmla="*/ 2147483647 w 946"/>
                <a:gd name="T61" fmla="*/ 0 h 593"/>
                <a:gd name="T62" fmla="*/ 2147483647 w 946"/>
                <a:gd name="T63" fmla="*/ 2147483647 h 593"/>
                <a:gd name="T64" fmla="*/ 2147483647 w 946"/>
                <a:gd name="T65" fmla="*/ 2147483647 h 593"/>
                <a:gd name="T66" fmla="*/ 2147483647 w 946"/>
                <a:gd name="T67" fmla="*/ 2147483647 h 593"/>
                <a:gd name="T68" fmla="*/ 2147483647 w 946"/>
                <a:gd name="T69" fmla="*/ 2147483647 h 593"/>
                <a:gd name="T70" fmla="*/ 2147483647 w 946"/>
                <a:gd name="T71" fmla="*/ 2147483647 h 593"/>
                <a:gd name="T72" fmla="*/ 2147483647 w 946"/>
                <a:gd name="T73" fmla="*/ 2147483647 h 593"/>
                <a:gd name="T74" fmla="*/ 2147483647 w 946"/>
                <a:gd name="T75" fmla="*/ 2147483647 h 593"/>
                <a:gd name="T76" fmla="*/ 2147483647 w 946"/>
                <a:gd name="T77" fmla="*/ 2147483647 h 593"/>
                <a:gd name="T78" fmla="*/ 2147483647 w 946"/>
                <a:gd name="T79" fmla="*/ 2147483647 h 593"/>
                <a:gd name="T80" fmla="*/ 2147483647 w 946"/>
                <a:gd name="T81" fmla="*/ 2147483647 h 593"/>
                <a:gd name="T82" fmla="*/ 2147483647 w 946"/>
                <a:gd name="T83" fmla="*/ 0 h 593"/>
                <a:gd name="T84" fmla="*/ 2147483647 w 946"/>
                <a:gd name="T85" fmla="*/ 0 h 593"/>
                <a:gd name="T86" fmla="*/ 2147483647 w 946"/>
                <a:gd name="T87" fmla="*/ 0 h 593"/>
                <a:gd name="T88" fmla="*/ 2147483647 w 946"/>
                <a:gd name="T89" fmla="*/ 0 h 593"/>
                <a:gd name="T90" fmla="*/ 2147483647 w 946"/>
                <a:gd name="T91" fmla="*/ 0 h 593"/>
                <a:gd name="T92" fmla="*/ 0 w 946"/>
                <a:gd name="T93" fmla="*/ 0 h 593"/>
                <a:gd name="T94" fmla="*/ 2147483647 w 946"/>
                <a:gd name="T95" fmla="*/ 0 h 593"/>
                <a:gd name="T96" fmla="*/ 2147483647 w 946"/>
                <a:gd name="T97" fmla="*/ 0 h 593"/>
                <a:gd name="T98" fmla="*/ 2147483647 w 946"/>
                <a:gd name="T99" fmla="*/ 0 h 593"/>
                <a:gd name="T100" fmla="*/ 2147483647 w 946"/>
                <a:gd name="T101" fmla="*/ 0 h 593"/>
                <a:gd name="T102" fmla="*/ 2147483647 w 946"/>
                <a:gd name="T103" fmla="*/ 0 h 593"/>
                <a:gd name="T104" fmla="*/ 0 w 946"/>
                <a:gd name="T105" fmla="*/ 0 h 593"/>
                <a:gd name="T106" fmla="*/ 0 w 946"/>
                <a:gd name="T107" fmla="*/ 0 h 593"/>
                <a:gd name="T108" fmla="*/ 0 w 946"/>
                <a:gd name="T109" fmla="*/ 0 h 593"/>
                <a:gd name="T110" fmla="*/ 0 w 946"/>
                <a:gd name="T111" fmla="*/ 0 h 593"/>
                <a:gd name="T112" fmla="*/ 0 w 946"/>
                <a:gd name="T113" fmla="*/ 0 h 59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946"/>
                <a:gd name="T172" fmla="*/ 0 h 593"/>
                <a:gd name="T173" fmla="*/ 946 w 946"/>
                <a:gd name="T174" fmla="*/ 593 h 59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946" h="593">
                  <a:moveTo>
                    <a:pt x="111" y="15"/>
                  </a:moveTo>
                  <a:lnTo>
                    <a:pt x="101" y="17"/>
                  </a:lnTo>
                  <a:lnTo>
                    <a:pt x="79" y="2"/>
                  </a:lnTo>
                  <a:lnTo>
                    <a:pt x="60" y="0"/>
                  </a:lnTo>
                  <a:lnTo>
                    <a:pt x="27" y="11"/>
                  </a:lnTo>
                  <a:lnTo>
                    <a:pt x="27" y="21"/>
                  </a:lnTo>
                  <a:lnTo>
                    <a:pt x="21" y="27"/>
                  </a:lnTo>
                  <a:lnTo>
                    <a:pt x="6" y="25"/>
                  </a:lnTo>
                  <a:lnTo>
                    <a:pt x="9" y="32"/>
                  </a:lnTo>
                  <a:lnTo>
                    <a:pt x="5" y="39"/>
                  </a:lnTo>
                  <a:lnTo>
                    <a:pt x="8" y="48"/>
                  </a:lnTo>
                  <a:lnTo>
                    <a:pt x="19" y="52"/>
                  </a:lnTo>
                  <a:lnTo>
                    <a:pt x="31" y="66"/>
                  </a:lnTo>
                  <a:lnTo>
                    <a:pt x="36" y="72"/>
                  </a:lnTo>
                  <a:lnTo>
                    <a:pt x="37" y="76"/>
                  </a:lnTo>
                  <a:lnTo>
                    <a:pt x="21" y="76"/>
                  </a:lnTo>
                  <a:lnTo>
                    <a:pt x="6" y="64"/>
                  </a:lnTo>
                  <a:lnTo>
                    <a:pt x="3" y="6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24" y="92"/>
                  </a:lnTo>
                  <a:lnTo>
                    <a:pt x="25" y="99"/>
                  </a:lnTo>
                  <a:lnTo>
                    <a:pt x="35" y="108"/>
                  </a:lnTo>
                  <a:lnTo>
                    <a:pt x="37" y="106"/>
                  </a:lnTo>
                  <a:lnTo>
                    <a:pt x="45" y="122"/>
                  </a:lnTo>
                  <a:lnTo>
                    <a:pt x="52" y="120"/>
                  </a:lnTo>
                  <a:lnTo>
                    <a:pt x="72" y="167"/>
                  </a:lnTo>
                  <a:lnTo>
                    <a:pt x="91" y="169"/>
                  </a:lnTo>
                  <a:lnTo>
                    <a:pt x="101" y="179"/>
                  </a:lnTo>
                  <a:lnTo>
                    <a:pt x="110" y="210"/>
                  </a:lnTo>
                  <a:lnTo>
                    <a:pt x="111" y="192"/>
                  </a:lnTo>
                  <a:lnTo>
                    <a:pt x="118" y="201"/>
                  </a:lnTo>
                  <a:lnTo>
                    <a:pt x="169" y="210"/>
                  </a:lnTo>
                  <a:lnTo>
                    <a:pt x="175" y="209"/>
                  </a:lnTo>
                  <a:lnTo>
                    <a:pt x="167" y="204"/>
                  </a:lnTo>
                  <a:lnTo>
                    <a:pt x="169" y="197"/>
                  </a:lnTo>
                  <a:lnTo>
                    <a:pt x="176" y="194"/>
                  </a:lnTo>
                  <a:lnTo>
                    <a:pt x="177" y="197"/>
                  </a:lnTo>
                  <a:lnTo>
                    <a:pt x="185" y="192"/>
                  </a:lnTo>
                  <a:lnTo>
                    <a:pt x="191" y="187"/>
                  </a:lnTo>
                  <a:lnTo>
                    <a:pt x="192" y="181"/>
                  </a:lnTo>
                  <a:lnTo>
                    <a:pt x="197" y="176"/>
                  </a:lnTo>
                  <a:lnTo>
                    <a:pt x="207" y="183"/>
                  </a:lnTo>
                  <a:lnTo>
                    <a:pt x="210" y="203"/>
                  </a:lnTo>
                  <a:lnTo>
                    <a:pt x="216" y="216"/>
                  </a:lnTo>
                  <a:lnTo>
                    <a:pt x="224" y="230"/>
                  </a:lnTo>
                  <a:lnTo>
                    <a:pt x="229" y="253"/>
                  </a:lnTo>
                  <a:lnTo>
                    <a:pt x="229" y="268"/>
                  </a:lnTo>
                  <a:lnTo>
                    <a:pt x="234" y="271"/>
                  </a:lnTo>
                  <a:lnTo>
                    <a:pt x="246" y="289"/>
                  </a:lnTo>
                  <a:lnTo>
                    <a:pt x="255" y="306"/>
                  </a:lnTo>
                  <a:lnTo>
                    <a:pt x="256" y="328"/>
                  </a:lnTo>
                  <a:lnTo>
                    <a:pt x="258" y="345"/>
                  </a:lnTo>
                  <a:lnTo>
                    <a:pt x="266" y="354"/>
                  </a:lnTo>
                  <a:lnTo>
                    <a:pt x="253" y="367"/>
                  </a:lnTo>
                  <a:lnTo>
                    <a:pt x="239" y="397"/>
                  </a:lnTo>
                  <a:lnTo>
                    <a:pt x="245" y="400"/>
                  </a:lnTo>
                  <a:lnTo>
                    <a:pt x="240" y="426"/>
                  </a:lnTo>
                  <a:lnTo>
                    <a:pt x="239" y="437"/>
                  </a:lnTo>
                  <a:lnTo>
                    <a:pt x="245" y="454"/>
                  </a:lnTo>
                  <a:lnTo>
                    <a:pt x="264" y="450"/>
                  </a:lnTo>
                  <a:lnTo>
                    <a:pt x="261" y="466"/>
                  </a:lnTo>
                  <a:lnTo>
                    <a:pt x="256" y="481"/>
                  </a:lnTo>
                  <a:lnTo>
                    <a:pt x="258" y="507"/>
                  </a:lnTo>
                  <a:lnTo>
                    <a:pt x="257" y="518"/>
                  </a:lnTo>
                  <a:lnTo>
                    <a:pt x="271" y="534"/>
                  </a:lnTo>
                  <a:lnTo>
                    <a:pt x="288" y="540"/>
                  </a:lnTo>
                  <a:lnTo>
                    <a:pt x="282" y="543"/>
                  </a:lnTo>
                  <a:lnTo>
                    <a:pt x="283" y="551"/>
                  </a:lnTo>
                  <a:lnTo>
                    <a:pt x="288" y="558"/>
                  </a:lnTo>
                  <a:lnTo>
                    <a:pt x="306" y="554"/>
                  </a:lnTo>
                  <a:lnTo>
                    <a:pt x="307" y="537"/>
                  </a:lnTo>
                  <a:lnTo>
                    <a:pt x="312" y="533"/>
                  </a:lnTo>
                  <a:lnTo>
                    <a:pt x="330" y="517"/>
                  </a:lnTo>
                  <a:lnTo>
                    <a:pt x="318" y="537"/>
                  </a:lnTo>
                  <a:lnTo>
                    <a:pt x="334" y="560"/>
                  </a:lnTo>
                  <a:lnTo>
                    <a:pt x="334" y="533"/>
                  </a:lnTo>
                  <a:lnTo>
                    <a:pt x="345" y="559"/>
                  </a:lnTo>
                  <a:lnTo>
                    <a:pt x="355" y="559"/>
                  </a:lnTo>
                  <a:lnTo>
                    <a:pt x="352" y="569"/>
                  </a:lnTo>
                  <a:lnTo>
                    <a:pt x="363" y="572"/>
                  </a:lnTo>
                  <a:lnTo>
                    <a:pt x="366" y="564"/>
                  </a:lnTo>
                  <a:lnTo>
                    <a:pt x="369" y="577"/>
                  </a:lnTo>
                  <a:lnTo>
                    <a:pt x="397" y="580"/>
                  </a:lnTo>
                  <a:lnTo>
                    <a:pt x="417" y="558"/>
                  </a:lnTo>
                  <a:lnTo>
                    <a:pt x="416" y="553"/>
                  </a:lnTo>
                  <a:lnTo>
                    <a:pt x="404" y="542"/>
                  </a:lnTo>
                  <a:lnTo>
                    <a:pt x="407" y="529"/>
                  </a:lnTo>
                  <a:lnTo>
                    <a:pt x="404" y="529"/>
                  </a:lnTo>
                  <a:lnTo>
                    <a:pt x="412" y="527"/>
                  </a:lnTo>
                  <a:lnTo>
                    <a:pt x="419" y="531"/>
                  </a:lnTo>
                  <a:lnTo>
                    <a:pt x="418" y="517"/>
                  </a:lnTo>
                  <a:lnTo>
                    <a:pt x="425" y="540"/>
                  </a:lnTo>
                  <a:lnTo>
                    <a:pt x="431" y="550"/>
                  </a:lnTo>
                  <a:lnTo>
                    <a:pt x="441" y="531"/>
                  </a:lnTo>
                  <a:lnTo>
                    <a:pt x="443" y="517"/>
                  </a:lnTo>
                  <a:lnTo>
                    <a:pt x="447" y="518"/>
                  </a:lnTo>
                  <a:lnTo>
                    <a:pt x="456" y="528"/>
                  </a:lnTo>
                  <a:lnTo>
                    <a:pt x="456" y="538"/>
                  </a:lnTo>
                  <a:lnTo>
                    <a:pt x="452" y="561"/>
                  </a:lnTo>
                  <a:lnTo>
                    <a:pt x="451" y="585"/>
                  </a:lnTo>
                  <a:lnTo>
                    <a:pt x="466" y="591"/>
                  </a:lnTo>
                  <a:lnTo>
                    <a:pt x="474" y="585"/>
                  </a:lnTo>
                  <a:lnTo>
                    <a:pt x="486" y="591"/>
                  </a:lnTo>
                  <a:lnTo>
                    <a:pt x="493" y="583"/>
                  </a:lnTo>
                  <a:lnTo>
                    <a:pt x="497" y="593"/>
                  </a:lnTo>
                  <a:lnTo>
                    <a:pt x="516" y="588"/>
                  </a:lnTo>
                  <a:lnTo>
                    <a:pt x="517" y="575"/>
                  </a:lnTo>
                  <a:lnTo>
                    <a:pt x="525" y="575"/>
                  </a:lnTo>
                  <a:lnTo>
                    <a:pt x="524" y="588"/>
                  </a:lnTo>
                  <a:lnTo>
                    <a:pt x="533" y="591"/>
                  </a:lnTo>
                  <a:lnTo>
                    <a:pt x="554" y="592"/>
                  </a:lnTo>
                  <a:lnTo>
                    <a:pt x="560" y="587"/>
                  </a:lnTo>
                  <a:lnTo>
                    <a:pt x="559" y="579"/>
                  </a:lnTo>
                  <a:lnTo>
                    <a:pt x="553" y="566"/>
                  </a:lnTo>
                  <a:lnTo>
                    <a:pt x="557" y="579"/>
                  </a:lnTo>
                  <a:lnTo>
                    <a:pt x="572" y="588"/>
                  </a:lnTo>
                  <a:lnTo>
                    <a:pt x="579" y="580"/>
                  </a:lnTo>
                  <a:lnTo>
                    <a:pt x="583" y="566"/>
                  </a:lnTo>
                  <a:lnTo>
                    <a:pt x="590" y="579"/>
                  </a:lnTo>
                  <a:lnTo>
                    <a:pt x="594" y="592"/>
                  </a:lnTo>
                  <a:lnTo>
                    <a:pt x="613" y="588"/>
                  </a:lnTo>
                  <a:lnTo>
                    <a:pt x="621" y="575"/>
                  </a:lnTo>
                  <a:lnTo>
                    <a:pt x="621" y="549"/>
                  </a:lnTo>
                  <a:lnTo>
                    <a:pt x="634" y="581"/>
                  </a:lnTo>
                  <a:lnTo>
                    <a:pt x="640" y="585"/>
                  </a:lnTo>
                  <a:lnTo>
                    <a:pt x="643" y="576"/>
                  </a:lnTo>
                  <a:lnTo>
                    <a:pt x="651" y="566"/>
                  </a:lnTo>
                  <a:lnTo>
                    <a:pt x="649" y="551"/>
                  </a:lnTo>
                  <a:lnTo>
                    <a:pt x="650" y="543"/>
                  </a:lnTo>
                  <a:lnTo>
                    <a:pt x="651" y="556"/>
                  </a:lnTo>
                  <a:lnTo>
                    <a:pt x="658" y="580"/>
                  </a:lnTo>
                  <a:lnTo>
                    <a:pt x="682" y="580"/>
                  </a:lnTo>
                  <a:lnTo>
                    <a:pt x="730" y="569"/>
                  </a:lnTo>
                  <a:lnTo>
                    <a:pt x="747" y="532"/>
                  </a:lnTo>
                  <a:lnTo>
                    <a:pt x="737" y="521"/>
                  </a:lnTo>
                  <a:lnTo>
                    <a:pt x="731" y="505"/>
                  </a:lnTo>
                  <a:lnTo>
                    <a:pt x="728" y="497"/>
                  </a:lnTo>
                  <a:lnTo>
                    <a:pt x="739" y="504"/>
                  </a:lnTo>
                  <a:lnTo>
                    <a:pt x="746" y="518"/>
                  </a:lnTo>
                  <a:lnTo>
                    <a:pt x="757" y="518"/>
                  </a:lnTo>
                  <a:lnTo>
                    <a:pt x="758" y="533"/>
                  </a:lnTo>
                  <a:lnTo>
                    <a:pt x="758" y="559"/>
                  </a:lnTo>
                  <a:lnTo>
                    <a:pt x="775" y="582"/>
                  </a:lnTo>
                  <a:lnTo>
                    <a:pt x="788" y="580"/>
                  </a:lnTo>
                  <a:lnTo>
                    <a:pt x="790" y="570"/>
                  </a:lnTo>
                  <a:lnTo>
                    <a:pt x="796" y="580"/>
                  </a:lnTo>
                  <a:lnTo>
                    <a:pt x="811" y="588"/>
                  </a:lnTo>
                  <a:lnTo>
                    <a:pt x="825" y="591"/>
                  </a:lnTo>
                  <a:lnTo>
                    <a:pt x="837" y="579"/>
                  </a:lnTo>
                  <a:lnTo>
                    <a:pt x="859" y="570"/>
                  </a:lnTo>
                  <a:lnTo>
                    <a:pt x="892" y="570"/>
                  </a:lnTo>
                  <a:lnTo>
                    <a:pt x="903" y="564"/>
                  </a:lnTo>
                  <a:lnTo>
                    <a:pt x="917" y="563"/>
                  </a:lnTo>
                  <a:lnTo>
                    <a:pt x="917" y="534"/>
                  </a:lnTo>
                  <a:lnTo>
                    <a:pt x="913" y="528"/>
                  </a:lnTo>
                  <a:lnTo>
                    <a:pt x="915" y="521"/>
                  </a:lnTo>
                  <a:lnTo>
                    <a:pt x="909" y="510"/>
                  </a:lnTo>
                  <a:lnTo>
                    <a:pt x="896" y="495"/>
                  </a:lnTo>
                  <a:lnTo>
                    <a:pt x="897" y="468"/>
                  </a:lnTo>
                  <a:lnTo>
                    <a:pt x="907" y="463"/>
                  </a:lnTo>
                  <a:lnTo>
                    <a:pt x="917" y="453"/>
                  </a:lnTo>
                  <a:lnTo>
                    <a:pt x="923" y="440"/>
                  </a:lnTo>
                  <a:lnTo>
                    <a:pt x="935" y="434"/>
                  </a:lnTo>
                  <a:lnTo>
                    <a:pt x="946" y="415"/>
                  </a:lnTo>
                  <a:lnTo>
                    <a:pt x="945" y="378"/>
                  </a:lnTo>
                  <a:lnTo>
                    <a:pt x="944" y="376"/>
                  </a:lnTo>
                  <a:lnTo>
                    <a:pt x="936" y="376"/>
                  </a:lnTo>
                  <a:lnTo>
                    <a:pt x="933" y="367"/>
                  </a:lnTo>
                  <a:lnTo>
                    <a:pt x="935" y="361"/>
                  </a:lnTo>
                  <a:lnTo>
                    <a:pt x="911" y="366"/>
                  </a:lnTo>
                  <a:lnTo>
                    <a:pt x="902" y="362"/>
                  </a:lnTo>
                  <a:lnTo>
                    <a:pt x="913" y="355"/>
                  </a:lnTo>
                  <a:lnTo>
                    <a:pt x="912" y="346"/>
                  </a:lnTo>
                  <a:lnTo>
                    <a:pt x="909" y="341"/>
                  </a:lnTo>
                  <a:lnTo>
                    <a:pt x="892" y="329"/>
                  </a:lnTo>
                  <a:lnTo>
                    <a:pt x="881" y="334"/>
                  </a:lnTo>
                  <a:lnTo>
                    <a:pt x="860" y="328"/>
                  </a:lnTo>
                  <a:lnTo>
                    <a:pt x="863" y="310"/>
                  </a:lnTo>
                  <a:lnTo>
                    <a:pt x="859" y="302"/>
                  </a:lnTo>
                  <a:lnTo>
                    <a:pt x="853" y="305"/>
                  </a:lnTo>
                  <a:lnTo>
                    <a:pt x="798" y="291"/>
                  </a:lnTo>
                  <a:lnTo>
                    <a:pt x="777" y="297"/>
                  </a:lnTo>
                  <a:lnTo>
                    <a:pt x="756" y="313"/>
                  </a:lnTo>
                  <a:lnTo>
                    <a:pt x="741" y="311"/>
                  </a:lnTo>
                  <a:lnTo>
                    <a:pt x="737" y="302"/>
                  </a:lnTo>
                  <a:lnTo>
                    <a:pt x="729" y="306"/>
                  </a:lnTo>
                  <a:lnTo>
                    <a:pt x="720" y="298"/>
                  </a:lnTo>
                  <a:lnTo>
                    <a:pt x="712" y="298"/>
                  </a:lnTo>
                  <a:lnTo>
                    <a:pt x="705" y="310"/>
                  </a:lnTo>
                  <a:lnTo>
                    <a:pt x="676" y="324"/>
                  </a:lnTo>
                  <a:lnTo>
                    <a:pt x="670" y="330"/>
                  </a:lnTo>
                  <a:lnTo>
                    <a:pt x="671" y="338"/>
                  </a:lnTo>
                  <a:lnTo>
                    <a:pt x="673" y="341"/>
                  </a:lnTo>
                  <a:lnTo>
                    <a:pt x="654" y="335"/>
                  </a:lnTo>
                  <a:lnTo>
                    <a:pt x="644" y="339"/>
                  </a:lnTo>
                  <a:lnTo>
                    <a:pt x="638" y="351"/>
                  </a:lnTo>
                  <a:lnTo>
                    <a:pt x="635" y="348"/>
                  </a:lnTo>
                  <a:lnTo>
                    <a:pt x="638" y="362"/>
                  </a:lnTo>
                  <a:lnTo>
                    <a:pt x="637" y="367"/>
                  </a:lnTo>
                  <a:lnTo>
                    <a:pt x="635" y="362"/>
                  </a:lnTo>
                  <a:lnTo>
                    <a:pt x="623" y="357"/>
                  </a:lnTo>
                  <a:lnTo>
                    <a:pt x="621" y="349"/>
                  </a:lnTo>
                  <a:lnTo>
                    <a:pt x="610" y="361"/>
                  </a:lnTo>
                  <a:lnTo>
                    <a:pt x="600" y="361"/>
                  </a:lnTo>
                  <a:lnTo>
                    <a:pt x="584" y="370"/>
                  </a:lnTo>
                  <a:lnTo>
                    <a:pt x="585" y="377"/>
                  </a:lnTo>
                  <a:lnTo>
                    <a:pt x="596" y="386"/>
                  </a:lnTo>
                  <a:lnTo>
                    <a:pt x="615" y="391"/>
                  </a:lnTo>
                  <a:lnTo>
                    <a:pt x="617" y="399"/>
                  </a:lnTo>
                  <a:lnTo>
                    <a:pt x="606" y="394"/>
                  </a:lnTo>
                  <a:lnTo>
                    <a:pt x="583" y="393"/>
                  </a:lnTo>
                  <a:lnTo>
                    <a:pt x="554" y="409"/>
                  </a:lnTo>
                  <a:lnTo>
                    <a:pt x="549" y="403"/>
                  </a:lnTo>
                  <a:lnTo>
                    <a:pt x="567" y="393"/>
                  </a:lnTo>
                  <a:lnTo>
                    <a:pt x="560" y="386"/>
                  </a:lnTo>
                  <a:lnTo>
                    <a:pt x="538" y="377"/>
                  </a:lnTo>
                  <a:lnTo>
                    <a:pt x="529" y="360"/>
                  </a:lnTo>
                  <a:lnTo>
                    <a:pt x="511" y="351"/>
                  </a:lnTo>
                  <a:lnTo>
                    <a:pt x="504" y="364"/>
                  </a:lnTo>
                  <a:lnTo>
                    <a:pt x="505" y="377"/>
                  </a:lnTo>
                  <a:lnTo>
                    <a:pt x="503" y="386"/>
                  </a:lnTo>
                  <a:lnTo>
                    <a:pt x="498" y="364"/>
                  </a:lnTo>
                  <a:lnTo>
                    <a:pt x="492" y="357"/>
                  </a:lnTo>
                  <a:lnTo>
                    <a:pt x="482" y="370"/>
                  </a:lnTo>
                  <a:lnTo>
                    <a:pt x="479" y="377"/>
                  </a:lnTo>
                  <a:lnTo>
                    <a:pt x="474" y="384"/>
                  </a:lnTo>
                  <a:lnTo>
                    <a:pt x="465" y="383"/>
                  </a:lnTo>
                  <a:lnTo>
                    <a:pt x="470" y="371"/>
                  </a:lnTo>
                  <a:lnTo>
                    <a:pt x="467" y="367"/>
                  </a:lnTo>
                  <a:lnTo>
                    <a:pt x="458" y="357"/>
                  </a:lnTo>
                  <a:lnTo>
                    <a:pt x="456" y="350"/>
                  </a:lnTo>
                  <a:lnTo>
                    <a:pt x="445" y="340"/>
                  </a:lnTo>
                  <a:lnTo>
                    <a:pt x="436" y="348"/>
                  </a:lnTo>
                  <a:lnTo>
                    <a:pt x="434" y="359"/>
                  </a:lnTo>
                  <a:lnTo>
                    <a:pt x="439" y="383"/>
                  </a:lnTo>
                  <a:lnTo>
                    <a:pt x="431" y="397"/>
                  </a:lnTo>
                  <a:lnTo>
                    <a:pt x="427" y="388"/>
                  </a:lnTo>
                  <a:lnTo>
                    <a:pt x="422" y="365"/>
                  </a:lnTo>
                  <a:lnTo>
                    <a:pt x="407" y="357"/>
                  </a:lnTo>
                  <a:lnTo>
                    <a:pt x="400" y="367"/>
                  </a:lnTo>
                  <a:lnTo>
                    <a:pt x="395" y="366"/>
                  </a:lnTo>
                  <a:lnTo>
                    <a:pt x="395" y="364"/>
                  </a:lnTo>
                  <a:lnTo>
                    <a:pt x="397" y="357"/>
                  </a:lnTo>
                  <a:lnTo>
                    <a:pt x="388" y="361"/>
                  </a:lnTo>
                  <a:lnTo>
                    <a:pt x="390" y="354"/>
                  </a:lnTo>
                  <a:lnTo>
                    <a:pt x="409" y="349"/>
                  </a:lnTo>
                  <a:lnTo>
                    <a:pt x="417" y="317"/>
                  </a:lnTo>
                  <a:lnTo>
                    <a:pt x="412" y="316"/>
                  </a:lnTo>
                  <a:lnTo>
                    <a:pt x="407" y="302"/>
                  </a:lnTo>
                  <a:lnTo>
                    <a:pt x="393" y="310"/>
                  </a:lnTo>
                  <a:lnTo>
                    <a:pt x="381" y="306"/>
                  </a:lnTo>
                  <a:lnTo>
                    <a:pt x="387" y="295"/>
                  </a:lnTo>
                  <a:lnTo>
                    <a:pt x="380" y="278"/>
                  </a:lnTo>
                  <a:lnTo>
                    <a:pt x="374" y="274"/>
                  </a:lnTo>
                  <a:lnTo>
                    <a:pt x="369" y="284"/>
                  </a:lnTo>
                  <a:lnTo>
                    <a:pt x="365" y="286"/>
                  </a:lnTo>
                  <a:lnTo>
                    <a:pt x="358" y="279"/>
                  </a:lnTo>
                  <a:lnTo>
                    <a:pt x="347" y="289"/>
                  </a:lnTo>
                  <a:lnTo>
                    <a:pt x="347" y="275"/>
                  </a:lnTo>
                  <a:lnTo>
                    <a:pt x="339" y="280"/>
                  </a:lnTo>
                  <a:lnTo>
                    <a:pt x="333" y="279"/>
                  </a:lnTo>
                  <a:lnTo>
                    <a:pt x="332" y="276"/>
                  </a:lnTo>
                  <a:lnTo>
                    <a:pt x="327" y="289"/>
                  </a:lnTo>
                  <a:lnTo>
                    <a:pt x="306" y="312"/>
                  </a:lnTo>
                  <a:lnTo>
                    <a:pt x="309" y="291"/>
                  </a:lnTo>
                  <a:lnTo>
                    <a:pt x="317" y="286"/>
                  </a:lnTo>
                  <a:lnTo>
                    <a:pt x="318" y="281"/>
                  </a:lnTo>
                  <a:lnTo>
                    <a:pt x="312" y="271"/>
                  </a:lnTo>
                  <a:lnTo>
                    <a:pt x="354" y="263"/>
                  </a:lnTo>
                  <a:lnTo>
                    <a:pt x="344" y="255"/>
                  </a:lnTo>
                  <a:lnTo>
                    <a:pt x="332" y="259"/>
                  </a:lnTo>
                  <a:lnTo>
                    <a:pt x="326" y="252"/>
                  </a:lnTo>
                  <a:lnTo>
                    <a:pt x="328" y="249"/>
                  </a:lnTo>
                  <a:lnTo>
                    <a:pt x="330" y="246"/>
                  </a:lnTo>
                  <a:lnTo>
                    <a:pt x="325" y="246"/>
                  </a:lnTo>
                  <a:lnTo>
                    <a:pt x="321" y="238"/>
                  </a:lnTo>
                  <a:lnTo>
                    <a:pt x="307" y="231"/>
                  </a:lnTo>
                  <a:lnTo>
                    <a:pt x="290" y="230"/>
                  </a:lnTo>
                  <a:lnTo>
                    <a:pt x="301" y="217"/>
                  </a:lnTo>
                  <a:lnTo>
                    <a:pt x="295" y="215"/>
                  </a:lnTo>
                  <a:lnTo>
                    <a:pt x="296" y="206"/>
                  </a:lnTo>
                  <a:lnTo>
                    <a:pt x="311" y="225"/>
                  </a:lnTo>
                  <a:lnTo>
                    <a:pt x="326" y="228"/>
                  </a:lnTo>
                  <a:lnTo>
                    <a:pt x="337" y="227"/>
                  </a:lnTo>
                  <a:lnTo>
                    <a:pt x="349" y="241"/>
                  </a:lnTo>
                  <a:lnTo>
                    <a:pt x="357" y="241"/>
                  </a:lnTo>
                  <a:lnTo>
                    <a:pt x="347" y="232"/>
                  </a:lnTo>
                  <a:lnTo>
                    <a:pt x="359" y="231"/>
                  </a:lnTo>
                  <a:lnTo>
                    <a:pt x="387" y="237"/>
                  </a:lnTo>
                  <a:lnTo>
                    <a:pt x="402" y="236"/>
                  </a:lnTo>
                  <a:lnTo>
                    <a:pt x="417" y="222"/>
                  </a:lnTo>
                  <a:lnTo>
                    <a:pt x="420" y="206"/>
                  </a:lnTo>
                  <a:lnTo>
                    <a:pt x="418" y="193"/>
                  </a:lnTo>
                  <a:lnTo>
                    <a:pt x="401" y="197"/>
                  </a:lnTo>
                  <a:lnTo>
                    <a:pt x="386" y="193"/>
                  </a:lnTo>
                  <a:lnTo>
                    <a:pt x="359" y="176"/>
                  </a:lnTo>
                  <a:lnTo>
                    <a:pt x="352" y="174"/>
                  </a:lnTo>
                  <a:lnTo>
                    <a:pt x="347" y="179"/>
                  </a:lnTo>
                  <a:lnTo>
                    <a:pt x="344" y="172"/>
                  </a:lnTo>
                  <a:lnTo>
                    <a:pt x="325" y="160"/>
                  </a:lnTo>
                  <a:lnTo>
                    <a:pt x="298" y="157"/>
                  </a:lnTo>
                  <a:lnTo>
                    <a:pt x="295" y="151"/>
                  </a:lnTo>
                  <a:lnTo>
                    <a:pt x="295" y="146"/>
                  </a:lnTo>
                  <a:lnTo>
                    <a:pt x="320" y="150"/>
                  </a:lnTo>
                  <a:lnTo>
                    <a:pt x="323" y="144"/>
                  </a:lnTo>
                  <a:lnTo>
                    <a:pt x="328" y="151"/>
                  </a:lnTo>
                  <a:lnTo>
                    <a:pt x="337" y="157"/>
                  </a:lnTo>
                  <a:lnTo>
                    <a:pt x="345" y="160"/>
                  </a:lnTo>
                  <a:lnTo>
                    <a:pt x="354" y="156"/>
                  </a:lnTo>
                  <a:lnTo>
                    <a:pt x="352" y="150"/>
                  </a:lnTo>
                  <a:lnTo>
                    <a:pt x="350" y="139"/>
                  </a:lnTo>
                  <a:lnTo>
                    <a:pt x="345" y="130"/>
                  </a:lnTo>
                  <a:lnTo>
                    <a:pt x="320" y="112"/>
                  </a:lnTo>
                  <a:lnTo>
                    <a:pt x="310" y="108"/>
                  </a:lnTo>
                  <a:lnTo>
                    <a:pt x="302" y="102"/>
                  </a:lnTo>
                  <a:lnTo>
                    <a:pt x="301" y="97"/>
                  </a:lnTo>
                  <a:lnTo>
                    <a:pt x="293" y="95"/>
                  </a:lnTo>
                  <a:lnTo>
                    <a:pt x="290" y="99"/>
                  </a:lnTo>
                  <a:lnTo>
                    <a:pt x="269" y="107"/>
                  </a:lnTo>
                  <a:lnTo>
                    <a:pt x="261" y="119"/>
                  </a:lnTo>
                  <a:lnTo>
                    <a:pt x="247" y="123"/>
                  </a:lnTo>
                  <a:lnTo>
                    <a:pt x="241" y="115"/>
                  </a:lnTo>
                  <a:lnTo>
                    <a:pt x="232" y="123"/>
                  </a:lnTo>
                  <a:lnTo>
                    <a:pt x="210" y="120"/>
                  </a:lnTo>
                  <a:lnTo>
                    <a:pt x="193" y="152"/>
                  </a:lnTo>
                  <a:lnTo>
                    <a:pt x="180" y="163"/>
                  </a:lnTo>
                  <a:lnTo>
                    <a:pt x="182" y="154"/>
                  </a:lnTo>
                  <a:lnTo>
                    <a:pt x="181" y="147"/>
                  </a:lnTo>
                  <a:lnTo>
                    <a:pt x="192" y="123"/>
                  </a:lnTo>
                  <a:lnTo>
                    <a:pt x="191" y="112"/>
                  </a:lnTo>
                  <a:lnTo>
                    <a:pt x="197" y="86"/>
                  </a:lnTo>
                  <a:lnTo>
                    <a:pt x="193" y="82"/>
                  </a:lnTo>
                  <a:lnTo>
                    <a:pt x="192" y="70"/>
                  </a:lnTo>
                  <a:lnTo>
                    <a:pt x="186" y="63"/>
                  </a:lnTo>
                  <a:lnTo>
                    <a:pt x="176" y="36"/>
                  </a:lnTo>
                  <a:lnTo>
                    <a:pt x="166" y="39"/>
                  </a:lnTo>
                  <a:lnTo>
                    <a:pt x="161" y="29"/>
                  </a:lnTo>
                  <a:lnTo>
                    <a:pt x="156" y="39"/>
                  </a:lnTo>
                  <a:lnTo>
                    <a:pt x="143" y="45"/>
                  </a:lnTo>
                  <a:lnTo>
                    <a:pt x="137" y="33"/>
                  </a:lnTo>
                  <a:lnTo>
                    <a:pt x="111" y="1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69" name="Freeform 294">
              <a:extLst>
                <a:ext uri="{FF2B5EF4-FFF2-40B4-BE49-F238E27FC236}">
                  <a16:creationId xmlns:a16="http://schemas.microsoft.com/office/drawing/2014/main" id="{69E32849-3438-CE5C-A311-85F6AFAC5E32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946677" y="644768"/>
              <a:ext cx="86556" cy="131083"/>
            </a:xfrm>
            <a:custGeom>
              <a:avLst/>
              <a:gdLst>
                <a:gd name="T0" fmla="*/ 0 w 163"/>
                <a:gd name="T1" fmla="*/ 0 h 229"/>
                <a:gd name="T2" fmla="*/ 0 w 163"/>
                <a:gd name="T3" fmla="*/ 0 h 229"/>
                <a:gd name="T4" fmla="*/ 0 w 163"/>
                <a:gd name="T5" fmla="*/ 0 h 229"/>
                <a:gd name="T6" fmla="*/ 0 w 163"/>
                <a:gd name="T7" fmla="*/ 0 h 229"/>
                <a:gd name="T8" fmla="*/ 0 w 163"/>
                <a:gd name="T9" fmla="*/ 0 h 229"/>
                <a:gd name="T10" fmla="*/ 0 w 163"/>
                <a:gd name="T11" fmla="*/ 0 h 229"/>
                <a:gd name="T12" fmla="*/ 0 w 163"/>
                <a:gd name="T13" fmla="*/ 0 h 229"/>
                <a:gd name="T14" fmla="*/ 0 w 163"/>
                <a:gd name="T15" fmla="*/ 0 h 229"/>
                <a:gd name="T16" fmla="*/ 0 w 163"/>
                <a:gd name="T17" fmla="*/ 0 h 229"/>
                <a:gd name="T18" fmla="*/ 0 w 163"/>
                <a:gd name="T19" fmla="*/ 0 h 229"/>
                <a:gd name="T20" fmla="*/ 0 w 163"/>
                <a:gd name="T21" fmla="*/ 0 h 229"/>
                <a:gd name="T22" fmla="*/ 0 w 163"/>
                <a:gd name="T23" fmla="*/ 0 h 229"/>
                <a:gd name="T24" fmla="*/ 0 w 163"/>
                <a:gd name="T25" fmla="*/ 0 h 229"/>
                <a:gd name="T26" fmla="*/ 0 w 163"/>
                <a:gd name="T27" fmla="*/ 0 h 229"/>
                <a:gd name="T28" fmla="*/ 0 w 163"/>
                <a:gd name="T29" fmla="*/ 0 h 229"/>
                <a:gd name="T30" fmla="*/ 0 w 163"/>
                <a:gd name="T31" fmla="*/ 0 h 229"/>
                <a:gd name="T32" fmla="*/ 0 w 163"/>
                <a:gd name="T33" fmla="*/ 0 h 229"/>
                <a:gd name="T34" fmla="*/ 0 w 163"/>
                <a:gd name="T35" fmla="*/ 0 h 229"/>
                <a:gd name="T36" fmla="*/ 0 w 163"/>
                <a:gd name="T37" fmla="*/ 0 h 229"/>
                <a:gd name="T38" fmla="*/ 0 w 163"/>
                <a:gd name="T39" fmla="*/ 0 h 229"/>
                <a:gd name="T40" fmla="*/ 0 w 163"/>
                <a:gd name="T41" fmla="*/ 0 h 229"/>
                <a:gd name="T42" fmla="*/ 0 w 163"/>
                <a:gd name="T43" fmla="*/ 0 h 229"/>
                <a:gd name="T44" fmla="*/ 0 w 163"/>
                <a:gd name="T45" fmla="*/ 0 h 229"/>
                <a:gd name="T46" fmla="*/ 0 w 163"/>
                <a:gd name="T47" fmla="*/ 0 h 229"/>
                <a:gd name="T48" fmla="*/ 0 w 163"/>
                <a:gd name="T49" fmla="*/ 0 h 229"/>
                <a:gd name="T50" fmla="*/ 0 w 163"/>
                <a:gd name="T51" fmla="*/ 0 h 229"/>
                <a:gd name="T52" fmla="*/ 0 w 163"/>
                <a:gd name="T53" fmla="*/ 0 h 229"/>
                <a:gd name="T54" fmla="*/ 0 w 163"/>
                <a:gd name="T55" fmla="*/ 0 h 229"/>
                <a:gd name="T56" fmla="*/ 0 w 163"/>
                <a:gd name="T57" fmla="*/ 0 h 229"/>
                <a:gd name="T58" fmla="*/ 0 w 163"/>
                <a:gd name="T59" fmla="*/ 0 h 229"/>
                <a:gd name="T60" fmla="*/ 0 w 163"/>
                <a:gd name="T61" fmla="*/ 0 h 229"/>
                <a:gd name="T62" fmla="*/ 0 w 163"/>
                <a:gd name="T63" fmla="*/ 0 h 229"/>
                <a:gd name="T64" fmla="*/ 0 w 163"/>
                <a:gd name="T65" fmla="*/ 0 h 229"/>
                <a:gd name="T66" fmla="*/ 0 w 163"/>
                <a:gd name="T67" fmla="*/ 0 h 229"/>
                <a:gd name="T68" fmla="*/ 0 w 163"/>
                <a:gd name="T69" fmla="*/ 0 h 229"/>
                <a:gd name="T70" fmla="*/ 0 w 163"/>
                <a:gd name="T71" fmla="*/ 0 h 229"/>
                <a:gd name="T72" fmla="*/ 0 w 163"/>
                <a:gd name="T73" fmla="*/ 0 h 229"/>
                <a:gd name="T74" fmla="*/ 0 w 163"/>
                <a:gd name="T75" fmla="*/ 0 h 22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63"/>
                <a:gd name="T115" fmla="*/ 0 h 229"/>
                <a:gd name="T116" fmla="*/ 163 w 163"/>
                <a:gd name="T117" fmla="*/ 229 h 229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63" h="229">
                  <a:moveTo>
                    <a:pt x="84" y="7"/>
                  </a:moveTo>
                  <a:lnTo>
                    <a:pt x="82" y="0"/>
                  </a:lnTo>
                  <a:lnTo>
                    <a:pt x="85" y="12"/>
                  </a:lnTo>
                  <a:lnTo>
                    <a:pt x="105" y="22"/>
                  </a:lnTo>
                  <a:lnTo>
                    <a:pt x="114" y="34"/>
                  </a:lnTo>
                  <a:lnTo>
                    <a:pt x="123" y="39"/>
                  </a:lnTo>
                  <a:lnTo>
                    <a:pt x="123" y="48"/>
                  </a:lnTo>
                  <a:lnTo>
                    <a:pt x="129" y="48"/>
                  </a:lnTo>
                  <a:lnTo>
                    <a:pt x="134" y="59"/>
                  </a:lnTo>
                  <a:lnTo>
                    <a:pt x="130" y="76"/>
                  </a:lnTo>
                  <a:lnTo>
                    <a:pt x="141" y="65"/>
                  </a:lnTo>
                  <a:lnTo>
                    <a:pt x="149" y="76"/>
                  </a:lnTo>
                  <a:lnTo>
                    <a:pt x="147" y="82"/>
                  </a:lnTo>
                  <a:lnTo>
                    <a:pt x="156" y="89"/>
                  </a:lnTo>
                  <a:lnTo>
                    <a:pt x="161" y="99"/>
                  </a:lnTo>
                  <a:lnTo>
                    <a:pt x="157" y="109"/>
                  </a:lnTo>
                  <a:lnTo>
                    <a:pt x="161" y="123"/>
                  </a:lnTo>
                  <a:lnTo>
                    <a:pt x="159" y="145"/>
                  </a:lnTo>
                  <a:lnTo>
                    <a:pt x="163" y="182"/>
                  </a:lnTo>
                  <a:lnTo>
                    <a:pt x="161" y="210"/>
                  </a:lnTo>
                  <a:lnTo>
                    <a:pt x="159" y="218"/>
                  </a:lnTo>
                  <a:lnTo>
                    <a:pt x="150" y="226"/>
                  </a:lnTo>
                  <a:lnTo>
                    <a:pt x="136" y="224"/>
                  </a:lnTo>
                  <a:lnTo>
                    <a:pt x="124" y="229"/>
                  </a:lnTo>
                  <a:lnTo>
                    <a:pt x="112" y="226"/>
                  </a:lnTo>
                  <a:lnTo>
                    <a:pt x="98" y="228"/>
                  </a:lnTo>
                  <a:lnTo>
                    <a:pt x="89" y="220"/>
                  </a:lnTo>
                  <a:lnTo>
                    <a:pt x="86" y="211"/>
                  </a:lnTo>
                  <a:lnTo>
                    <a:pt x="77" y="207"/>
                  </a:lnTo>
                  <a:lnTo>
                    <a:pt x="75" y="197"/>
                  </a:lnTo>
                  <a:lnTo>
                    <a:pt x="68" y="185"/>
                  </a:lnTo>
                  <a:lnTo>
                    <a:pt x="62" y="185"/>
                  </a:lnTo>
                  <a:lnTo>
                    <a:pt x="59" y="190"/>
                  </a:lnTo>
                  <a:lnTo>
                    <a:pt x="60" y="195"/>
                  </a:lnTo>
                  <a:lnTo>
                    <a:pt x="57" y="197"/>
                  </a:lnTo>
                  <a:lnTo>
                    <a:pt x="53" y="193"/>
                  </a:lnTo>
                  <a:lnTo>
                    <a:pt x="52" y="180"/>
                  </a:lnTo>
                  <a:lnTo>
                    <a:pt x="50" y="178"/>
                  </a:lnTo>
                  <a:lnTo>
                    <a:pt x="42" y="177"/>
                  </a:lnTo>
                  <a:lnTo>
                    <a:pt x="39" y="183"/>
                  </a:lnTo>
                  <a:lnTo>
                    <a:pt x="34" y="178"/>
                  </a:lnTo>
                  <a:lnTo>
                    <a:pt x="26" y="159"/>
                  </a:lnTo>
                  <a:lnTo>
                    <a:pt x="26" y="152"/>
                  </a:lnTo>
                  <a:lnTo>
                    <a:pt x="31" y="142"/>
                  </a:lnTo>
                  <a:lnTo>
                    <a:pt x="27" y="146"/>
                  </a:lnTo>
                  <a:lnTo>
                    <a:pt x="25" y="137"/>
                  </a:lnTo>
                  <a:lnTo>
                    <a:pt x="19" y="157"/>
                  </a:lnTo>
                  <a:lnTo>
                    <a:pt x="14" y="158"/>
                  </a:lnTo>
                  <a:lnTo>
                    <a:pt x="11" y="146"/>
                  </a:lnTo>
                  <a:lnTo>
                    <a:pt x="6" y="141"/>
                  </a:lnTo>
                  <a:lnTo>
                    <a:pt x="1" y="123"/>
                  </a:lnTo>
                  <a:lnTo>
                    <a:pt x="0" y="113"/>
                  </a:lnTo>
                  <a:lnTo>
                    <a:pt x="0" y="103"/>
                  </a:lnTo>
                  <a:lnTo>
                    <a:pt x="6" y="103"/>
                  </a:lnTo>
                  <a:lnTo>
                    <a:pt x="11" y="99"/>
                  </a:lnTo>
                  <a:lnTo>
                    <a:pt x="7" y="92"/>
                  </a:lnTo>
                  <a:lnTo>
                    <a:pt x="12" y="89"/>
                  </a:lnTo>
                  <a:lnTo>
                    <a:pt x="23" y="83"/>
                  </a:lnTo>
                  <a:lnTo>
                    <a:pt x="36" y="78"/>
                  </a:lnTo>
                  <a:lnTo>
                    <a:pt x="34" y="73"/>
                  </a:lnTo>
                  <a:lnTo>
                    <a:pt x="26" y="73"/>
                  </a:lnTo>
                  <a:lnTo>
                    <a:pt x="26" y="67"/>
                  </a:lnTo>
                  <a:lnTo>
                    <a:pt x="32" y="56"/>
                  </a:lnTo>
                  <a:lnTo>
                    <a:pt x="32" y="64"/>
                  </a:lnTo>
                  <a:lnTo>
                    <a:pt x="39" y="61"/>
                  </a:lnTo>
                  <a:lnTo>
                    <a:pt x="39" y="50"/>
                  </a:lnTo>
                  <a:lnTo>
                    <a:pt x="31" y="50"/>
                  </a:lnTo>
                  <a:lnTo>
                    <a:pt x="23" y="60"/>
                  </a:lnTo>
                  <a:lnTo>
                    <a:pt x="22" y="50"/>
                  </a:lnTo>
                  <a:lnTo>
                    <a:pt x="28" y="45"/>
                  </a:lnTo>
                  <a:lnTo>
                    <a:pt x="44" y="49"/>
                  </a:lnTo>
                  <a:lnTo>
                    <a:pt x="44" y="43"/>
                  </a:lnTo>
                  <a:lnTo>
                    <a:pt x="41" y="28"/>
                  </a:lnTo>
                  <a:lnTo>
                    <a:pt x="65" y="5"/>
                  </a:lnTo>
                  <a:lnTo>
                    <a:pt x="76" y="2"/>
                  </a:lnTo>
                  <a:lnTo>
                    <a:pt x="84" y="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70" name="Freeform 295">
              <a:extLst>
                <a:ext uri="{FF2B5EF4-FFF2-40B4-BE49-F238E27FC236}">
                  <a16:creationId xmlns:a16="http://schemas.microsoft.com/office/drawing/2014/main" id="{6360C2D8-6CB1-CF98-0629-0099328FA28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218284" y="1591308"/>
              <a:ext cx="205943" cy="198148"/>
            </a:xfrm>
            <a:custGeom>
              <a:avLst/>
              <a:gdLst>
                <a:gd name="T0" fmla="*/ 0 w 384"/>
                <a:gd name="T1" fmla="*/ 0 h 349"/>
                <a:gd name="T2" fmla="*/ 0 w 384"/>
                <a:gd name="T3" fmla="*/ 0 h 349"/>
                <a:gd name="T4" fmla="*/ 0 w 384"/>
                <a:gd name="T5" fmla="*/ 0 h 349"/>
                <a:gd name="T6" fmla="*/ 0 w 384"/>
                <a:gd name="T7" fmla="*/ 0 h 349"/>
                <a:gd name="T8" fmla="*/ 0 w 384"/>
                <a:gd name="T9" fmla="*/ 0 h 349"/>
                <a:gd name="T10" fmla="*/ 0 w 384"/>
                <a:gd name="T11" fmla="*/ 0 h 349"/>
                <a:gd name="T12" fmla="*/ 0 w 384"/>
                <a:gd name="T13" fmla="*/ 0 h 349"/>
                <a:gd name="T14" fmla="*/ 0 w 384"/>
                <a:gd name="T15" fmla="*/ 0 h 349"/>
                <a:gd name="T16" fmla="*/ 0 w 384"/>
                <a:gd name="T17" fmla="*/ 0 h 349"/>
                <a:gd name="T18" fmla="*/ 0 w 384"/>
                <a:gd name="T19" fmla="*/ 0 h 349"/>
                <a:gd name="T20" fmla="*/ 0 w 384"/>
                <a:gd name="T21" fmla="*/ 0 h 349"/>
                <a:gd name="T22" fmla="*/ 2147483647 w 384"/>
                <a:gd name="T23" fmla="*/ 0 h 349"/>
                <a:gd name="T24" fmla="*/ 2147483647 w 384"/>
                <a:gd name="T25" fmla="*/ 0 h 349"/>
                <a:gd name="T26" fmla="*/ 2147483647 w 384"/>
                <a:gd name="T27" fmla="*/ 0 h 349"/>
                <a:gd name="T28" fmla="*/ 2147483647 w 384"/>
                <a:gd name="T29" fmla="*/ 0 h 349"/>
                <a:gd name="T30" fmla="*/ 2147483647 w 384"/>
                <a:gd name="T31" fmla="*/ 0 h 349"/>
                <a:gd name="T32" fmla="*/ 2147483647 w 384"/>
                <a:gd name="T33" fmla="*/ 0 h 349"/>
                <a:gd name="T34" fmla="*/ 0 w 384"/>
                <a:gd name="T35" fmla="*/ 0 h 349"/>
                <a:gd name="T36" fmla="*/ 0 w 384"/>
                <a:gd name="T37" fmla="*/ 0 h 349"/>
                <a:gd name="T38" fmla="*/ 0 w 384"/>
                <a:gd name="T39" fmla="*/ 0 h 349"/>
                <a:gd name="T40" fmla="*/ 0 w 384"/>
                <a:gd name="T41" fmla="*/ 0 h 349"/>
                <a:gd name="T42" fmla="*/ 0 w 384"/>
                <a:gd name="T43" fmla="*/ 0 h 349"/>
                <a:gd name="T44" fmla="*/ 0 w 384"/>
                <a:gd name="T45" fmla="*/ 0 h 349"/>
                <a:gd name="T46" fmla="*/ 0 w 384"/>
                <a:gd name="T47" fmla="*/ 0 h 349"/>
                <a:gd name="T48" fmla="*/ 0 w 384"/>
                <a:gd name="T49" fmla="*/ 0 h 349"/>
                <a:gd name="T50" fmla="*/ 0 w 384"/>
                <a:gd name="T51" fmla="*/ 0 h 349"/>
                <a:gd name="T52" fmla="*/ 0 w 384"/>
                <a:gd name="T53" fmla="*/ 0 h 349"/>
                <a:gd name="T54" fmla="*/ 0 w 384"/>
                <a:gd name="T55" fmla="*/ 0 h 349"/>
                <a:gd name="T56" fmla="*/ 0 w 384"/>
                <a:gd name="T57" fmla="*/ 2147483647 h 349"/>
                <a:gd name="T58" fmla="*/ 0 w 384"/>
                <a:gd name="T59" fmla="*/ 2147483647 h 349"/>
                <a:gd name="T60" fmla="*/ 0 w 384"/>
                <a:gd name="T61" fmla="*/ 2147483647 h 349"/>
                <a:gd name="T62" fmla="*/ 0 w 384"/>
                <a:gd name="T63" fmla="*/ 0 h 349"/>
                <a:gd name="T64" fmla="*/ 0 w 384"/>
                <a:gd name="T65" fmla="*/ 0 h 349"/>
                <a:gd name="T66" fmla="*/ 0 w 384"/>
                <a:gd name="T67" fmla="*/ 0 h 349"/>
                <a:gd name="T68" fmla="*/ 0 w 384"/>
                <a:gd name="T69" fmla="*/ 0 h 349"/>
                <a:gd name="T70" fmla="*/ 0 w 384"/>
                <a:gd name="T71" fmla="*/ 0 h 349"/>
                <a:gd name="T72" fmla="*/ 0 w 384"/>
                <a:gd name="T73" fmla="*/ 0 h 349"/>
                <a:gd name="T74" fmla="*/ 0 w 384"/>
                <a:gd name="T75" fmla="*/ 0 h 349"/>
                <a:gd name="T76" fmla="*/ 0 w 384"/>
                <a:gd name="T77" fmla="*/ 0 h 349"/>
                <a:gd name="T78" fmla="*/ 0 w 384"/>
                <a:gd name="T79" fmla="*/ 0 h 349"/>
                <a:gd name="T80" fmla="*/ 0 w 384"/>
                <a:gd name="T81" fmla="*/ 0 h 349"/>
                <a:gd name="T82" fmla="*/ 0 w 384"/>
                <a:gd name="T83" fmla="*/ 0 h 34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384"/>
                <a:gd name="T127" fmla="*/ 0 h 349"/>
                <a:gd name="T128" fmla="*/ 384 w 384"/>
                <a:gd name="T129" fmla="*/ 349 h 34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384" h="349">
                  <a:moveTo>
                    <a:pt x="77" y="14"/>
                  </a:moveTo>
                  <a:lnTo>
                    <a:pt x="86" y="1"/>
                  </a:lnTo>
                  <a:lnTo>
                    <a:pt x="91" y="0"/>
                  </a:lnTo>
                  <a:lnTo>
                    <a:pt x="93" y="11"/>
                  </a:lnTo>
                  <a:lnTo>
                    <a:pt x="106" y="10"/>
                  </a:lnTo>
                  <a:lnTo>
                    <a:pt x="110" y="27"/>
                  </a:lnTo>
                  <a:lnTo>
                    <a:pt x="119" y="38"/>
                  </a:lnTo>
                  <a:lnTo>
                    <a:pt x="114" y="48"/>
                  </a:lnTo>
                  <a:lnTo>
                    <a:pt x="118" y="61"/>
                  </a:lnTo>
                  <a:lnTo>
                    <a:pt x="120" y="81"/>
                  </a:lnTo>
                  <a:lnTo>
                    <a:pt x="129" y="85"/>
                  </a:lnTo>
                  <a:lnTo>
                    <a:pt x="134" y="70"/>
                  </a:lnTo>
                  <a:lnTo>
                    <a:pt x="142" y="57"/>
                  </a:lnTo>
                  <a:lnTo>
                    <a:pt x="150" y="59"/>
                  </a:lnTo>
                  <a:lnTo>
                    <a:pt x="161" y="70"/>
                  </a:lnTo>
                  <a:lnTo>
                    <a:pt x="169" y="72"/>
                  </a:lnTo>
                  <a:lnTo>
                    <a:pt x="168" y="89"/>
                  </a:lnTo>
                  <a:lnTo>
                    <a:pt x="179" y="96"/>
                  </a:lnTo>
                  <a:lnTo>
                    <a:pt x="207" y="100"/>
                  </a:lnTo>
                  <a:lnTo>
                    <a:pt x="209" y="108"/>
                  </a:lnTo>
                  <a:lnTo>
                    <a:pt x="212" y="116"/>
                  </a:lnTo>
                  <a:lnTo>
                    <a:pt x="222" y="127"/>
                  </a:lnTo>
                  <a:lnTo>
                    <a:pt x="233" y="132"/>
                  </a:lnTo>
                  <a:lnTo>
                    <a:pt x="243" y="143"/>
                  </a:lnTo>
                  <a:lnTo>
                    <a:pt x="255" y="151"/>
                  </a:lnTo>
                  <a:lnTo>
                    <a:pt x="265" y="148"/>
                  </a:lnTo>
                  <a:lnTo>
                    <a:pt x="276" y="157"/>
                  </a:lnTo>
                  <a:lnTo>
                    <a:pt x="286" y="161"/>
                  </a:lnTo>
                  <a:lnTo>
                    <a:pt x="290" y="172"/>
                  </a:lnTo>
                  <a:lnTo>
                    <a:pt x="296" y="183"/>
                  </a:lnTo>
                  <a:lnTo>
                    <a:pt x="301" y="213"/>
                  </a:lnTo>
                  <a:lnTo>
                    <a:pt x="307" y="222"/>
                  </a:lnTo>
                  <a:lnTo>
                    <a:pt x="303" y="236"/>
                  </a:lnTo>
                  <a:lnTo>
                    <a:pt x="308" y="239"/>
                  </a:lnTo>
                  <a:lnTo>
                    <a:pt x="319" y="236"/>
                  </a:lnTo>
                  <a:lnTo>
                    <a:pt x="327" y="237"/>
                  </a:lnTo>
                  <a:lnTo>
                    <a:pt x="329" y="240"/>
                  </a:lnTo>
                  <a:lnTo>
                    <a:pt x="343" y="227"/>
                  </a:lnTo>
                  <a:lnTo>
                    <a:pt x="351" y="232"/>
                  </a:lnTo>
                  <a:lnTo>
                    <a:pt x="356" y="240"/>
                  </a:lnTo>
                  <a:lnTo>
                    <a:pt x="362" y="245"/>
                  </a:lnTo>
                  <a:lnTo>
                    <a:pt x="364" y="256"/>
                  </a:lnTo>
                  <a:lnTo>
                    <a:pt x="362" y="260"/>
                  </a:lnTo>
                  <a:lnTo>
                    <a:pt x="383" y="266"/>
                  </a:lnTo>
                  <a:lnTo>
                    <a:pt x="384" y="272"/>
                  </a:lnTo>
                  <a:lnTo>
                    <a:pt x="376" y="274"/>
                  </a:lnTo>
                  <a:lnTo>
                    <a:pt x="360" y="291"/>
                  </a:lnTo>
                  <a:lnTo>
                    <a:pt x="351" y="296"/>
                  </a:lnTo>
                  <a:lnTo>
                    <a:pt x="343" y="307"/>
                  </a:lnTo>
                  <a:lnTo>
                    <a:pt x="335" y="309"/>
                  </a:lnTo>
                  <a:lnTo>
                    <a:pt x="319" y="303"/>
                  </a:lnTo>
                  <a:lnTo>
                    <a:pt x="314" y="298"/>
                  </a:lnTo>
                  <a:lnTo>
                    <a:pt x="313" y="295"/>
                  </a:lnTo>
                  <a:lnTo>
                    <a:pt x="307" y="298"/>
                  </a:lnTo>
                  <a:lnTo>
                    <a:pt x="302" y="288"/>
                  </a:lnTo>
                  <a:lnTo>
                    <a:pt x="293" y="285"/>
                  </a:lnTo>
                  <a:lnTo>
                    <a:pt x="285" y="283"/>
                  </a:lnTo>
                  <a:lnTo>
                    <a:pt x="280" y="280"/>
                  </a:lnTo>
                  <a:lnTo>
                    <a:pt x="275" y="283"/>
                  </a:lnTo>
                  <a:lnTo>
                    <a:pt x="263" y="282"/>
                  </a:lnTo>
                  <a:lnTo>
                    <a:pt x="260" y="275"/>
                  </a:lnTo>
                  <a:lnTo>
                    <a:pt x="265" y="264"/>
                  </a:lnTo>
                  <a:lnTo>
                    <a:pt x="263" y="253"/>
                  </a:lnTo>
                  <a:lnTo>
                    <a:pt x="255" y="249"/>
                  </a:lnTo>
                  <a:lnTo>
                    <a:pt x="236" y="244"/>
                  </a:lnTo>
                  <a:lnTo>
                    <a:pt x="233" y="247"/>
                  </a:lnTo>
                  <a:lnTo>
                    <a:pt x="233" y="249"/>
                  </a:lnTo>
                  <a:lnTo>
                    <a:pt x="225" y="245"/>
                  </a:lnTo>
                  <a:lnTo>
                    <a:pt x="230" y="232"/>
                  </a:lnTo>
                  <a:lnTo>
                    <a:pt x="236" y="226"/>
                  </a:lnTo>
                  <a:lnTo>
                    <a:pt x="233" y="222"/>
                  </a:lnTo>
                  <a:lnTo>
                    <a:pt x="212" y="227"/>
                  </a:lnTo>
                  <a:lnTo>
                    <a:pt x="198" y="233"/>
                  </a:lnTo>
                  <a:lnTo>
                    <a:pt x="198" y="239"/>
                  </a:lnTo>
                  <a:lnTo>
                    <a:pt x="195" y="256"/>
                  </a:lnTo>
                  <a:lnTo>
                    <a:pt x="198" y="263"/>
                  </a:lnTo>
                  <a:lnTo>
                    <a:pt x="196" y="274"/>
                  </a:lnTo>
                  <a:lnTo>
                    <a:pt x="189" y="274"/>
                  </a:lnTo>
                  <a:lnTo>
                    <a:pt x="185" y="281"/>
                  </a:lnTo>
                  <a:lnTo>
                    <a:pt x="178" y="283"/>
                  </a:lnTo>
                  <a:lnTo>
                    <a:pt x="176" y="290"/>
                  </a:lnTo>
                  <a:lnTo>
                    <a:pt x="171" y="296"/>
                  </a:lnTo>
                  <a:lnTo>
                    <a:pt x="162" y="296"/>
                  </a:lnTo>
                  <a:lnTo>
                    <a:pt x="155" y="307"/>
                  </a:lnTo>
                  <a:lnTo>
                    <a:pt x="151" y="315"/>
                  </a:lnTo>
                  <a:lnTo>
                    <a:pt x="147" y="314"/>
                  </a:lnTo>
                  <a:lnTo>
                    <a:pt x="147" y="317"/>
                  </a:lnTo>
                  <a:lnTo>
                    <a:pt x="145" y="325"/>
                  </a:lnTo>
                  <a:lnTo>
                    <a:pt x="137" y="335"/>
                  </a:lnTo>
                  <a:lnTo>
                    <a:pt x="108" y="349"/>
                  </a:lnTo>
                  <a:lnTo>
                    <a:pt x="104" y="345"/>
                  </a:lnTo>
                  <a:lnTo>
                    <a:pt x="97" y="349"/>
                  </a:lnTo>
                  <a:lnTo>
                    <a:pt x="88" y="331"/>
                  </a:lnTo>
                  <a:lnTo>
                    <a:pt x="86" y="309"/>
                  </a:lnTo>
                  <a:lnTo>
                    <a:pt x="87" y="290"/>
                  </a:lnTo>
                  <a:lnTo>
                    <a:pt x="85" y="283"/>
                  </a:lnTo>
                  <a:lnTo>
                    <a:pt x="83" y="269"/>
                  </a:lnTo>
                  <a:lnTo>
                    <a:pt x="82" y="259"/>
                  </a:lnTo>
                  <a:lnTo>
                    <a:pt x="79" y="264"/>
                  </a:lnTo>
                  <a:lnTo>
                    <a:pt x="76" y="281"/>
                  </a:lnTo>
                  <a:lnTo>
                    <a:pt x="69" y="281"/>
                  </a:lnTo>
                  <a:lnTo>
                    <a:pt x="63" y="286"/>
                  </a:lnTo>
                  <a:lnTo>
                    <a:pt x="47" y="286"/>
                  </a:lnTo>
                  <a:lnTo>
                    <a:pt x="43" y="283"/>
                  </a:lnTo>
                  <a:lnTo>
                    <a:pt x="37" y="285"/>
                  </a:lnTo>
                  <a:lnTo>
                    <a:pt x="23" y="295"/>
                  </a:lnTo>
                  <a:lnTo>
                    <a:pt x="8" y="299"/>
                  </a:lnTo>
                  <a:lnTo>
                    <a:pt x="4" y="293"/>
                  </a:lnTo>
                  <a:lnTo>
                    <a:pt x="0" y="283"/>
                  </a:lnTo>
                  <a:lnTo>
                    <a:pt x="12" y="256"/>
                  </a:lnTo>
                  <a:lnTo>
                    <a:pt x="20" y="249"/>
                  </a:lnTo>
                  <a:lnTo>
                    <a:pt x="32" y="245"/>
                  </a:lnTo>
                  <a:lnTo>
                    <a:pt x="51" y="223"/>
                  </a:lnTo>
                  <a:lnTo>
                    <a:pt x="51" y="211"/>
                  </a:lnTo>
                  <a:lnTo>
                    <a:pt x="48" y="206"/>
                  </a:lnTo>
                  <a:lnTo>
                    <a:pt x="47" y="182"/>
                  </a:lnTo>
                  <a:lnTo>
                    <a:pt x="44" y="174"/>
                  </a:lnTo>
                  <a:lnTo>
                    <a:pt x="47" y="158"/>
                  </a:lnTo>
                  <a:lnTo>
                    <a:pt x="53" y="141"/>
                  </a:lnTo>
                  <a:lnTo>
                    <a:pt x="55" y="125"/>
                  </a:lnTo>
                  <a:lnTo>
                    <a:pt x="55" y="121"/>
                  </a:lnTo>
                  <a:lnTo>
                    <a:pt x="58" y="110"/>
                  </a:lnTo>
                  <a:lnTo>
                    <a:pt x="59" y="72"/>
                  </a:lnTo>
                  <a:lnTo>
                    <a:pt x="59" y="60"/>
                  </a:lnTo>
                  <a:lnTo>
                    <a:pt x="63" y="49"/>
                  </a:lnTo>
                  <a:lnTo>
                    <a:pt x="66" y="29"/>
                  </a:lnTo>
                  <a:lnTo>
                    <a:pt x="72" y="19"/>
                  </a:lnTo>
                  <a:lnTo>
                    <a:pt x="77" y="1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71" name="Freeform 296">
              <a:extLst>
                <a:ext uri="{FF2B5EF4-FFF2-40B4-BE49-F238E27FC236}">
                  <a16:creationId xmlns:a16="http://schemas.microsoft.com/office/drawing/2014/main" id="{77762006-4421-28FA-6DDE-F95416469AB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509290" y="1399256"/>
              <a:ext cx="64171" cy="91453"/>
            </a:xfrm>
            <a:custGeom>
              <a:avLst/>
              <a:gdLst>
                <a:gd name="T0" fmla="*/ 0 w 122"/>
                <a:gd name="T1" fmla="*/ 0 h 161"/>
                <a:gd name="T2" fmla="*/ 0 w 122"/>
                <a:gd name="T3" fmla="*/ 0 h 161"/>
                <a:gd name="T4" fmla="*/ 0 w 122"/>
                <a:gd name="T5" fmla="*/ 0 h 161"/>
                <a:gd name="T6" fmla="*/ 0 w 122"/>
                <a:gd name="T7" fmla="*/ 0 h 161"/>
                <a:gd name="T8" fmla="*/ 0 w 122"/>
                <a:gd name="T9" fmla="*/ 0 h 161"/>
                <a:gd name="T10" fmla="*/ 0 w 122"/>
                <a:gd name="T11" fmla="*/ 0 h 161"/>
                <a:gd name="T12" fmla="*/ 0 w 122"/>
                <a:gd name="T13" fmla="*/ 0 h 161"/>
                <a:gd name="T14" fmla="*/ 0 w 122"/>
                <a:gd name="T15" fmla="*/ 0 h 161"/>
                <a:gd name="T16" fmla="*/ 0 w 122"/>
                <a:gd name="T17" fmla="*/ 0 h 161"/>
                <a:gd name="T18" fmla="*/ 0 w 122"/>
                <a:gd name="T19" fmla="*/ 0 h 161"/>
                <a:gd name="T20" fmla="*/ 0 w 122"/>
                <a:gd name="T21" fmla="*/ 0 h 161"/>
                <a:gd name="T22" fmla="*/ 0 w 122"/>
                <a:gd name="T23" fmla="*/ 0 h 161"/>
                <a:gd name="T24" fmla="*/ 0 w 122"/>
                <a:gd name="T25" fmla="*/ 0 h 161"/>
                <a:gd name="T26" fmla="*/ 0 w 122"/>
                <a:gd name="T27" fmla="*/ 0 h 161"/>
                <a:gd name="T28" fmla="*/ 0 w 122"/>
                <a:gd name="T29" fmla="*/ 0 h 161"/>
                <a:gd name="T30" fmla="*/ 0 w 122"/>
                <a:gd name="T31" fmla="*/ 0 h 161"/>
                <a:gd name="T32" fmla="*/ 0 w 122"/>
                <a:gd name="T33" fmla="*/ 0 h 161"/>
                <a:gd name="T34" fmla="*/ 0 w 122"/>
                <a:gd name="T35" fmla="*/ 0 h 161"/>
                <a:gd name="T36" fmla="*/ 0 w 122"/>
                <a:gd name="T37" fmla="*/ 0 h 161"/>
                <a:gd name="T38" fmla="*/ 0 w 122"/>
                <a:gd name="T39" fmla="*/ 0 h 161"/>
                <a:gd name="T40" fmla="*/ 0 w 122"/>
                <a:gd name="T41" fmla="*/ 0 h 161"/>
                <a:gd name="T42" fmla="*/ 0 w 122"/>
                <a:gd name="T43" fmla="*/ 0 h 161"/>
                <a:gd name="T44" fmla="*/ 0 w 122"/>
                <a:gd name="T45" fmla="*/ 0 h 161"/>
                <a:gd name="T46" fmla="*/ 0 w 122"/>
                <a:gd name="T47" fmla="*/ 0 h 161"/>
                <a:gd name="T48" fmla="*/ 0 w 122"/>
                <a:gd name="T49" fmla="*/ 0 h 161"/>
                <a:gd name="T50" fmla="*/ 0 w 122"/>
                <a:gd name="T51" fmla="*/ 0 h 161"/>
                <a:gd name="T52" fmla="*/ 0 w 122"/>
                <a:gd name="T53" fmla="*/ 0 h 161"/>
                <a:gd name="T54" fmla="*/ 0 w 122"/>
                <a:gd name="T55" fmla="*/ 0 h 161"/>
                <a:gd name="T56" fmla="*/ 0 w 122"/>
                <a:gd name="T57" fmla="*/ 0 h 16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22"/>
                <a:gd name="T88" fmla="*/ 0 h 161"/>
                <a:gd name="T89" fmla="*/ 122 w 122"/>
                <a:gd name="T90" fmla="*/ 161 h 161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22" h="161">
                  <a:moveTo>
                    <a:pt x="52" y="4"/>
                  </a:moveTo>
                  <a:lnTo>
                    <a:pt x="56" y="0"/>
                  </a:lnTo>
                  <a:lnTo>
                    <a:pt x="59" y="5"/>
                  </a:lnTo>
                  <a:lnTo>
                    <a:pt x="65" y="11"/>
                  </a:lnTo>
                  <a:lnTo>
                    <a:pt x="75" y="3"/>
                  </a:lnTo>
                  <a:lnTo>
                    <a:pt x="87" y="5"/>
                  </a:lnTo>
                  <a:lnTo>
                    <a:pt x="92" y="17"/>
                  </a:lnTo>
                  <a:lnTo>
                    <a:pt x="100" y="19"/>
                  </a:lnTo>
                  <a:lnTo>
                    <a:pt x="111" y="17"/>
                  </a:lnTo>
                  <a:lnTo>
                    <a:pt x="119" y="33"/>
                  </a:lnTo>
                  <a:lnTo>
                    <a:pt x="120" y="49"/>
                  </a:lnTo>
                  <a:lnTo>
                    <a:pt x="119" y="74"/>
                  </a:lnTo>
                  <a:lnTo>
                    <a:pt x="122" y="97"/>
                  </a:lnTo>
                  <a:lnTo>
                    <a:pt x="119" y="119"/>
                  </a:lnTo>
                  <a:lnTo>
                    <a:pt x="104" y="139"/>
                  </a:lnTo>
                  <a:lnTo>
                    <a:pt x="88" y="151"/>
                  </a:lnTo>
                  <a:lnTo>
                    <a:pt x="39" y="161"/>
                  </a:lnTo>
                  <a:lnTo>
                    <a:pt x="33" y="158"/>
                  </a:lnTo>
                  <a:lnTo>
                    <a:pt x="17" y="153"/>
                  </a:lnTo>
                  <a:lnTo>
                    <a:pt x="6" y="132"/>
                  </a:lnTo>
                  <a:lnTo>
                    <a:pt x="1" y="110"/>
                  </a:lnTo>
                  <a:lnTo>
                    <a:pt x="0" y="90"/>
                  </a:lnTo>
                  <a:lnTo>
                    <a:pt x="2" y="72"/>
                  </a:lnTo>
                  <a:lnTo>
                    <a:pt x="8" y="62"/>
                  </a:lnTo>
                  <a:lnTo>
                    <a:pt x="13" y="46"/>
                  </a:lnTo>
                  <a:lnTo>
                    <a:pt x="22" y="27"/>
                  </a:lnTo>
                  <a:lnTo>
                    <a:pt x="33" y="13"/>
                  </a:lnTo>
                  <a:lnTo>
                    <a:pt x="44" y="10"/>
                  </a:lnTo>
                  <a:lnTo>
                    <a:pt x="52" y="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72" name="Freeform 297">
              <a:extLst>
                <a:ext uri="{FF2B5EF4-FFF2-40B4-BE49-F238E27FC236}">
                  <a16:creationId xmlns:a16="http://schemas.microsoft.com/office/drawing/2014/main" id="{12CC81E2-98DA-8ECB-DFD6-6E34DE122B5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401841" y="881021"/>
              <a:ext cx="141773" cy="108219"/>
            </a:xfrm>
            <a:custGeom>
              <a:avLst/>
              <a:gdLst>
                <a:gd name="T0" fmla="*/ 0 w 265"/>
                <a:gd name="T1" fmla="*/ 0 h 190"/>
                <a:gd name="T2" fmla="*/ 0 w 265"/>
                <a:gd name="T3" fmla="*/ 0 h 190"/>
                <a:gd name="T4" fmla="*/ 0 w 265"/>
                <a:gd name="T5" fmla="*/ 0 h 190"/>
                <a:gd name="T6" fmla="*/ 0 w 265"/>
                <a:gd name="T7" fmla="*/ 0 h 190"/>
                <a:gd name="T8" fmla="*/ 0 w 265"/>
                <a:gd name="T9" fmla="*/ 0 h 190"/>
                <a:gd name="T10" fmla="*/ 0 w 265"/>
                <a:gd name="T11" fmla="*/ 0 h 190"/>
                <a:gd name="T12" fmla="*/ 0 w 265"/>
                <a:gd name="T13" fmla="*/ 0 h 190"/>
                <a:gd name="T14" fmla="*/ 0 w 265"/>
                <a:gd name="T15" fmla="*/ 0 h 190"/>
                <a:gd name="T16" fmla="*/ 0 w 265"/>
                <a:gd name="T17" fmla="*/ 0 h 190"/>
                <a:gd name="T18" fmla="*/ 0 w 265"/>
                <a:gd name="T19" fmla="*/ 0 h 190"/>
                <a:gd name="T20" fmla="*/ 0 w 265"/>
                <a:gd name="T21" fmla="*/ 0 h 190"/>
                <a:gd name="T22" fmla="*/ 0 w 265"/>
                <a:gd name="T23" fmla="*/ 0 h 190"/>
                <a:gd name="T24" fmla="*/ 0 w 265"/>
                <a:gd name="T25" fmla="*/ 0 h 190"/>
                <a:gd name="T26" fmla="*/ 0 w 265"/>
                <a:gd name="T27" fmla="*/ 0 h 190"/>
                <a:gd name="T28" fmla="*/ 0 w 265"/>
                <a:gd name="T29" fmla="*/ 0 h 190"/>
                <a:gd name="T30" fmla="*/ 0 w 265"/>
                <a:gd name="T31" fmla="*/ 0 h 190"/>
                <a:gd name="T32" fmla="*/ 0 w 265"/>
                <a:gd name="T33" fmla="*/ 0 h 190"/>
                <a:gd name="T34" fmla="*/ 0 w 265"/>
                <a:gd name="T35" fmla="*/ 0 h 190"/>
                <a:gd name="T36" fmla="*/ 0 w 265"/>
                <a:gd name="T37" fmla="*/ 0 h 190"/>
                <a:gd name="T38" fmla="*/ 0 w 265"/>
                <a:gd name="T39" fmla="*/ 0 h 190"/>
                <a:gd name="T40" fmla="*/ 0 w 265"/>
                <a:gd name="T41" fmla="*/ 0 h 190"/>
                <a:gd name="T42" fmla="*/ 0 w 265"/>
                <a:gd name="T43" fmla="*/ 0 h 190"/>
                <a:gd name="T44" fmla="*/ 0 w 265"/>
                <a:gd name="T45" fmla="*/ 0 h 190"/>
                <a:gd name="T46" fmla="*/ 0 w 265"/>
                <a:gd name="T47" fmla="*/ 0 h 190"/>
                <a:gd name="T48" fmla="*/ 0 w 265"/>
                <a:gd name="T49" fmla="*/ 0 h 190"/>
                <a:gd name="T50" fmla="*/ 0 w 265"/>
                <a:gd name="T51" fmla="*/ 0 h 190"/>
                <a:gd name="T52" fmla="*/ 0 w 265"/>
                <a:gd name="T53" fmla="*/ 0 h 190"/>
                <a:gd name="T54" fmla="*/ 0 w 265"/>
                <a:gd name="T55" fmla="*/ 0 h 190"/>
                <a:gd name="T56" fmla="*/ 0 w 265"/>
                <a:gd name="T57" fmla="*/ 0 h 190"/>
                <a:gd name="T58" fmla="*/ 0 w 265"/>
                <a:gd name="T59" fmla="*/ 0 h 190"/>
                <a:gd name="T60" fmla="*/ 0 w 265"/>
                <a:gd name="T61" fmla="*/ 0 h 190"/>
                <a:gd name="T62" fmla="*/ 0 w 265"/>
                <a:gd name="T63" fmla="*/ 0 h 190"/>
                <a:gd name="T64" fmla="*/ 0 w 265"/>
                <a:gd name="T65" fmla="*/ 0 h 190"/>
                <a:gd name="T66" fmla="*/ 0 w 265"/>
                <a:gd name="T67" fmla="*/ 0 h 190"/>
                <a:gd name="T68" fmla="*/ 0 w 265"/>
                <a:gd name="T69" fmla="*/ 0 h 190"/>
                <a:gd name="T70" fmla="*/ 0 w 265"/>
                <a:gd name="T71" fmla="*/ 0 h 19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65"/>
                <a:gd name="T109" fmla="*/ 0 h 190"/>
                <a:gd name="T110" fmla="*/ 265 w 265"/>
                <a:gd name="T111" fmla="*/ 190 h 19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65" h="190">
                  <a:moveTo>
                    <a:pt x="110" y="18"/>
                  </a:moveTo>
                  <a:lnTo>
                    <a:pt x="129" y="14"/>
                  </a:lnTo>
                  <a:lnTo>
                    <a:pt x="149" y="16"/>
                  </a:lnTo>
                  <a:lnTo>
                    <a:pt x="200" y="45"/>
                  </a:lnTo>
                  <a:lnTo>
                    <a:pt x="207" y="57"/>
                  </a:lnTo>
                  <a:lnTo>
                    <a:pt x="208" y="68"/>
                  </a:lnTo>
                  <a:lnTo>
                    <a:pt x="217" y="81"/>
                  </a:lnTo>
                  <a:lnTo>
                    <a:pt x="227" y="87"/>
                  </a:lnTo>
                  <a:lnTo>
                    <a:pt x="243" y="118"/>
                  </a:lnTo>
                  <a:lnTo>
                    <a:pt x="254" y="129"/>
                  </a:lnTo>
                  <a:lnTo>
                    <a:pt x="253" y="136"/>
                  </a:lnTo>
                  <a:lnTo>
                    <a:pt x="255" y="147"/>
                  </a:lnTo>
                  <a:lnTo>
                    <a:pt x="265" y="158"/>
                  </a:lnTo>
                  <a:lnTo>
                    <a:pt x="256" y="172"/>
                  </a:lnTo>
                  <a:lnTo>
                    <a:pt x="238" y="173"/>
                  </a:lnTo>
                  <a:lnTo>
                    <a:pt x="213" y="170"/>
                  </a:lnTo>
                  <a:lnTo>
                    <a:pt x="186" y="159"/>
                  </a:lnTo>
                  <a:lnTo>
                    <a:pt x="148" y="158"/>
                  </a:lnTo>
                  <a:lnTo>
                    <a:pt x="109" y="183"/>
                  </a:lnTo>
                  <a:lnTo>
                    <a:pt x="86" y="190"/>
                  </a:lnTo>
                  <a:lnTo>
                    <a:pt x="65" y="179"/>
                  </a:lnTo>
                  <a:lnTo>
                    <a:pt x="49" y="165"/>
                  </a:lnTo>
                  <a:lnTo>
                    <a:pt x="41" y="145"/>
                  </a:lnTo>
                  <a:lnTo>
                    <a:pt x="39" y="100"/>
                  </a:lnTo>
                  <a:lnTo>
                    <a:pt x="11" y="92"/>
                  </a:lnTo>
                  <a:lnTo>
                    <a:pt x="0" y="72"/>
                  </a:lnTo>
                  <a:lnTo>
                    <a:pt x="1" y="51"/>
                  </a:lnTo>
                  <a:lnTo>
                    <a:pt x="6" y="44"/>
                  </a:lnTo>
                  <a:lnTo>
                    <a:pt x="6" y="18"/>
                  </a:lnTo>
                  <a:lnTo>
                    <a:pt x="14" y="1"/>
                  </a:lnTo>
                  <a:lnTo>
                    <a:pt x="28" y="0"/>
                  </a:lnTo>
                  <a:lnTo>
                    <a:pt x="40" y="8"/>
                  </a:lnTo>
                  <a:lnTo>
                    <a:pt x="49" y="7"/>
                  </a:lnTo>
                  <a:lnTo>
                    <a:pt x="73" y="17"/>
                  </a:lnTo>
                  <a:lnTo>
                    <a:pt x="102" y="23"/>
                  </a:lnTo>
                  <a:lnTo>
                    <a:pt x="110" y="1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73" name="Freeform 298">
              <a:extLst>
                <a:ext uri="{FF2B5EF4-FFF2-40B4-BE49-F238E27FC236}">
                  <a16:creationId xmlns:a16="http://schemas.microsoft.com/office/drawing/2014/main" id="{7DF71A10-C8B1-1040-4DD7-E44E560B953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133220" y="867303"/>
              <a:ext cx="843174" cy="1012081"/>
            </a:xfrm>
            <a:custGeom>
              <a:avLst/>
              <a:gdLst>
                <a:gd name="T0" fmla="*/ 2147483647 w 1581"/>
                <a:gd name="T1" fmla="*/ 2147483647 h 1779"/>
                <a:gd name="T2" fmla="*/ 2147483647 w 1581"/>
                <a:gd name="T3" fmla="*/ 2147483647 h 1779"/>
                <a:gd name="T4" fmla="*/ 2147483647 w 1581"/>
                <a:gd name="T5" fmla="*/ 2147483647 h 1779"/>
                <a:gd name="T6" fmla="*/ 2147483647 w 1581"/>
                <a:gd name="T7" fmla="*/ 2147483647 h 1779"/>
                <a:gd name="T8" fmla="*/ 2147483647 w 1581"/>
                <a:gd name="T9" fmla="*/ 2147483647 h 1779"/>
                <a:gd name="T10" fmla="*/ 2147483647 w 1581"/>
                <a:gd name="T11" fmla="*/ 2147483647 h 1779"/>
                <a:gd name="T12" fmla="*/ 2147483647 w 1581"/>
                <a:gd name="T13" fmla="*/ 2147483647 h 1779"/>
                <a:gd name="T14" fmla="*/ 2147483647 w 1581"/>
                <a:gd name="T15" fmla="*/ 2147483647 h 1779"/>
                <a:gd name="T16" fmla="*/ 2147483647 w 1581"/>
                <a:gd name="T17" fmla="*/ 2147483647 h 1779"/>
                <a:gd name="T18" fmla="*/ 2147483647 w 1581"/>
                <a:gd name="T19" fmla="*/ 2147483647 h 1779"/>
                <a:gd name="T20" fmla="*/ 2147483647 w 1581"/>
                <a:gd name="T21" fmla="*/ 2147483647 h 1779"/>
                <a:gd name="T22" fmla="*/ 2147483647 w 1581"/>
                <a:gd name="T23" fmla="*/ 2147483647 h 1779"/>
                <a:gd name="T24" fmla="*/ 2147483647 w 1581"/>
                <a:gd name="T25" fmla="*/ 2147483647 h 1779"/>
                <a:gd name="T26" fmla="*/ 2147483647 w 1581"/>
                <a:gd name="T27" fmla="*/ 2147483647 h 1779"/>
                <a:gd name="T28" fmla="*/ 2147483647 w 1581"/>
                <a:gd name="T29" fmla="*/ 2147483647 h 1779"/>
                <a:gd name="T30" fmla="*/ 2147483647 w 1581"/>
                <a:gd name="T31" fmla="*/ 2147483647 h 1779"/>
                <a:gd name="T32" fmla="*/ 2147483647 w 1581"/>
                <a:gd name="T33" fmla="*/ 2147483647 h 1779"/>
                <a:gd name="T34" fmla="*/ 2147483647 w 1581"/>
                <a:gd name="T35" fmla="*/ 2147483647 h 1779"/>
                <a:gd name="T36" fmla="*/ 2147483647 w 1581"/>
                <a:gd name="T37" fmla="*/ 2147483647 h 1779"/>
                <a:gd name="T38" fmla="*/ 2147483647 w 1581"/>
                <a:gd name="T39" fmla="*/ 2147483647 h 1779"/>
                <a:gd name="T40" fmla="*/ 2147483647 w 1581"/>
                <a:gd name="T41" fmla="*/ 2147483647 h 1779"/>
                <a:gd name="T42" fmla="*/ 2147483647 w 1581"/>
                <a:gd name="T43" fmla="*/ 2147483647 h 1779"/>
                <a:gd name="T44" fmla="*/ 2147483647 w 1581"/>
                <a:gd name="T45" fmla="*/ 2147483647 h 1779"/>
                <a:gd name="T46" fmla="*/ 2147483647 w 1581"/>
                <a:gd name="T47" fmla="*/ 2147483647 h 1779"/>
                <a:gd name="T48" fmla="*/ 2147483647 w 1581"/>
                <a:gd name="T49" fmla="*/ 2147483647 h 1779"/>
                <a:gd name="T50" fmla="*/ 2147483647 w 1581"/>
                <a:gd name="T51" fmla="*/ 2147483647 h 1779"/>
                <a:gd name="T52" fmla="*/ 2147483647 w 1581"/>
                <a:gd name="T53" fmla="*/ 2147483647 h 1779"/>
                <a:gd name="T54" fmla="*/ 2147483647 w 1581"/>
                <a:gd name="T55" fmla="*/ 2147483647 h 1779"/>
                <a:gd name="T56" fmla="*/ 2147483647 w 1581"/>
                <a:gd name="T57" fmla="*/ 2147483647 h 1779"/>
                <a:gd name="T58" fmla="*/ 2147483647 w 1581"/>
                <a:gd name="T59" fmla="*/ 0 h 1779"/>
                <a:gd name="T60" fmla="*/ 2147483647 w 1581"/>
                <a:gd name="T61" fmla="*/ 0 h 1779"/>
                <a:gd name="T62" fmla="*/ 2147483647 w 1581"/>
                <a:gd name="T63" fmla="*/ 2147483647 h 1779"/>
                <a:gd name="T64" fmla="*/ 2147483647 w 1581"/>
                <a:gd name="T65" fmla="*/ 0 h 1779"/>
                <a:gd name="T66" fmla="*/ 2147483647 w 1581"/>
                <a:gd name="T67" fmla="*/ 0 h 1779"/>
                <a:gd name="T68" fmla="*/ 0 w 1581"/>
                <a:gd name="T69" fmla="*/ 0 h 1779"/>
                <a:gd name="T70" fmla="*/ 0 w 1581"/>
                <a:gd name="T71" fmla="*/ 0 h 1779"/>
                <a:gd name="T72" fmla="*/ 0 w 1581"/>
                <a:gd name="T73" fmla="*/ 0 h 1779"/>
                <a:gd name="T74" fmla="*/ 0 w 1581"/>
                <a:gd name="T75" fmla="*/ 2147483647 h 1779"/>
                <a:gd name="T76" fmla="*/ 0 w 1581"/>
                <a:gd name="T77" fmla="*/ 2147483647 h 1779"/>
                <a:gd name="T78" fmla="*/ 0 w 1581"/>
                <a:gd name="T79" fmla="*/ 2147483647 h 1779"/>
                <a:gd name="T80" fmla="*/ 0 w 1581"/>
                <a:gd name="T81" fmla="*/ 0 h 1779"/>
                <a:gd name="T82" fmla="*/ 0 w 1581"/>
                <a:gd name="T83" fmla="*/ 0 h 1779"/>
                <a:gd name="T84" fmla="*/ 0 w 1581"/>
                <a:gd name="T85" fmla="*/ 0 h 1779"/>
                <a:gd name="T86" fmla="*/ 0 w 1581"/>
                <a:gd name="T87" fmla="*/ 2147483647 h 1779"/>
                <a:gd name="T88" fmla="*/ 0 w 1581"/>
                <a:gd name="T89" fmla="*/ 2147483647 h 1779"/>
                <a:gd name="T90" fmla="*/ 0 w 1581"/>
                <a:gd name="T91" fmla="*/ 2147483647 h 1779"/>
                <a:gd name="T92" fmla="*/ 2147483647 w 1581"/>
                <a:gd name="T93" fmla="*/ 2147483647 h 1779"/>
                <a:gd name="T94" fmla="*/ 2147483647 w 1581"/>
                <a:gd name="T95" fmla="*/ 2147483647 h 1779"/>
                <a:gd name="T96" fmla="*/ 2147483647 w 1581"/>
                <a:gd name="T97" fmla="*/ 2147483647 h 1779"/>
                <a:gd name="T98" fmla="*/ 2147483647 w 1581"/>
                <a:gd name="T99" fmla="*/ 2147483647 h 1779"/>
                <a:gd name="T100" fmla="*/ 2147483647 w 1581"/>
                <a:gd name="T101" fmla="*/ 2147483647 h 1779"/>
                <a:gd name="T102" fmla="*/ 2147483647 w 1581"/>
                <a:gd name="T103" fmla="*/ 2147483647 h 1779"/>
                <a:gd name="T104" fmla="*/ 2147483647 w 1581"/>
                <a:gd name="T105" fmla="*/ 2147483647 h 1779"/>
                <a:gd name="T106" fmla="*/ 2147483647 w 1581"/>
                <a:gd name="T107" fmla="*/ 2147483647 h 1779"/>
                <a:gd name="T108" fmla="*/ 2147483647 w 1581"/>
                <a:gd name="T109" fmla="*/ 2147483647 h 1779"/>
                <a:gd name="T110" fmla="*/ 2147483647 w 1581"/>
                <a:gd name="T111" fmla="*/ 2147483647 h 1779"/>
                <a:gd name="T112" fmla="*/ 2147483647 w 1581"/>
                <a:gd name="T113" fmla="*/ 2147483647 h 1779"/>
                <a:gd name="T114" fmla="*/ 2147483647 w 1581"/>
                <a:gd name="T115" fmla="*/ 2147483647 h 1779"/>
                <a:gd name="T116" fmla="*/ 2147483647 w 1581"/>
                <a:gd name="T117" fmla="*/ 2147483647 h 1779"/>
                <a:gd name="T118" fmla="*/ 2147483647 w 1581"/>
                <a:gd name="T119" fmla="*/ 2147483647 h 1779"/>
                <a:gd name="T120" fmla="*/ 2147483647 w 1581"/>
                <a:gd name="T121" fmla="*/ 2147483647 h 177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81"/>
                <a:gd name="T184" fmla="*/ 0 h 1779"/>
                <a:gd name="T185" fmla="*/ 1581 w 1581"/>
                <a:gd name="T186" fmla="*/ 1779 h 177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81" h="1779">
                  <a:moveTo>
                    <a:pt x="1037" y="1646"/>
                  </a:moveTo>
                  <a:lnTo>
                    <a:pt x="1053" y="1650"/>
                  </a:lnTo>
                  <a:lnTo>
                    <a:pt x="1071" y="1657"/>
                  </a:lnTo>
                  <a:lnTo>
                    <a:pt x="1072" y="1665"/>
                  </a:lnTo>
                  <a:lnTo>
                    <a:pt x="1078" y="1665"/>
                  </a:lnTo>
                  <a:lnTo>
                    <a:pt x="1091" y="1673"/>
                  </a:lnTo>
                  <a:lnTo>
                    <a:pt x="1102" y="1667"/>
                  </a:lnTo>
                  <a:lnTo>
                    <a:pt x="1109" y="1654"/>
                  </a:lnTo>
                  <a:lnTo>
                    <a:pt x="1111" y="1659"/>
                  </a:lnTo>
                  <a:lnTo>
                    <a:pt x="1109" y="1672"/>
                  </a:lnTo>
                  <a:lnTo>
                    <a:pt x="1118" y="1677"/>
                  </a:lnTo>
                  <a:lnTo>
                    <a:pt x="1121" y="1668"/>
                  </a:lnTo>
                  <a:lnTo>
                    <a:pt x="1131" y="1671"/>
                  </a:lnTo>
                  <a:lnTo>
                    <a:pt x="1137" y="1667"/>
                  </a:lnTo>
                  <a:lnTo>
                    <a:pt x="1135" y="1678"/>
                  </a:lnTo>
                  <a:lnTo>
                    <a:pt x="1138" y="1688"/>
                  </a:lnTo>
                  <a:lnTo>
                    <a:pt x="1145" y="1688"/>
                  </a:lnTo>
                  <a:lnTo>
                    <a:pt x="1148" y="1693"/>
                  </a:lnTo>
                  <a:lnTo>
                    <a:pt x="1150" y="1703"/>
                  </a:lnTo>
                  <a:lnTo>
                    <a:pt x="1159" y="1716"/>
                  </a:lnTo>
                  <a:lnTo>
                    <a:pt x="1170" y="1720"/>
                  </a:lnTo>
                  <a:lnTo>
                    <a:pt x="1175" y="1708"/>
                  </a:lnTo>
                  <a:lnTo>
                    <a:pt x="1175" y="1720"/>
                  </a:lnTo>
                  <a:lnTo>
                    <a:pt x="1181" y="1722"/>
                  </a:lnTo>
                  <a:lnTo>
                    <a:pt x="1185" y="1730"/>
                  </a:lnTo>
                  <a:lnTo>
                    <a:pt x="1196" y="1735"/>
                  </a:lnTo>
                  <a:lnTo>
                    <a:pt x="1205" y="1732"/>
                  </a:lnTo>
                  <a:lnTo>
                    <a:pt x="1213" y="1740"/>
                  </a:lnTo>
                  <a:lnTo>
                    <a:pt x="1236" y="1741"/>
                  </a:lnTo>
                  <a:lnTo>
                    <a:pt x="1238" y="1748"/>
                  </a:lnTo>
                  <a:lnTo>
                    <a:pt x="1249" y="1758"/>
                  </a:lnTo>
                  <a:lnTo>
                    <a:pt x="1254" y="1759"/>
                  </a:lnTo>
                  <a:lnTo>
                    <a:pt x="1267" y="1758"/>
                  </a:lnTo>
                  <a:lnTo>
                    <a:pt x="1280" y="1751"/>
                  </a:lnTo>
                  <a:lnTo>
                    <a:pt x="1306" y="1779"/>
                  </a:lnTo>
                  <a:lnTo>
                    <a:pt x="1325" y="1776"/>
                  </a:lnTo>
                  <a:lnTo>
                    <a:pt x="1323" y="1768"/>
                  </a:lnTo>
                  <a:lnTo>
                    <a:pt x="1317" y="1759"/>
                  </a:lnTo>
                  <a:lnTo>
                    <a:pt x="1317" y="1753"/>
                  </a:lnTo>
                  <a:lnTo>
                    <a:pt x="1320" y="1747"/>
                  </a:lnTo>
                  <a:lnTo>
                    <a:pt x="1322" y="1735"/>
                  </a:lnTo>
                  <a:lnTo>
                    <a:pt x="1319" y="1726"/>
                  </a:lnTo>
                  <a:lnTo>
                    <a:pt x="1301" y="1705"/>
                  </a:lnTo>
                  <a:lnTo>
                    <a:pt x="1285" y="1692"/>
                  </a:lnTo>
                  <a:lnTo>
                    <a:pt x="1279" y="1683"/>
                  </a:lnTo>
                  <a:lnTo>
                    <a:pt x="1270" y="1679"/>
                  </a:lnTo>
                  <a:lnTo>
                    <a:pt x="1253" y="1665"/>
                  </a:lnTo>
                  <a:lnTo>
                    <a:pt x="1249" y="1652"/>
                  </a:lnTo>
                  <a:lnTo>
                    <a:pt x="1236" y="1645"/>
                  </a:lnTo>
                  <a:lnTo>
                    <a:pt x="1236" y="1633"/>
                  </a:lnTo>
                  <a:lnTo>
                    <a:pt x="1224" y="1635"/>
                  </a:lnTo>
                  <a:lnTo>
                    <a:pt x="1220" y="1622"/>
                  </a:lnTo>
                  <a:lnTo>
                    <a:pt x="1216" y="1619"/>
                  </a:lnTo>
                  <a:lnTo>
                    <a:pt x="1213" y="1622"/>
                  </a:lnTo>
                  <a:lnTo>
                    <a:pt x="1210" y="1618"/>
                  </a:lnTo>
                  <a:lnTo>
                    <a:pt x="1188" y="1587"/>
                  </a:lnTo>
                  <a:lnTo>
                    <a:pt x="1178" y="1577"/>
                  </a:lnTo>
                  <a:lnTo>
                    <a:pt x="1167" y="1557"/>
                  </a:lnTo>
                  <a:lnTo>
                    <a:pt x="1180" y="1552"/>
                  </a:lnTo>
                  <a:lnTo>
                    <a:pt x="1197" y="1565"/>
                  </a:lnTo>
                  <a:lnTo>
                    <a:pt x="1216" y="1587"/>
                  </a:lnTo>
                  <a:lnTo>
                    <a:pt x="1231" y="1590"/>
                  </a:lnTo>
                  <a:lnTo>
                    <a:pt x="1227" y="1579"/>
                  </a:lnTo>
                  <a:lnTo>
                    <a:pt x="1236" y="1576"/>
                  </a:lnTo>
                  <a:lnTo>
                    <a:pt x="1258" y="1612"/>
                  </a:lnTo>
                  <a:lnTo>
                    <a:pt x="1269" y="1618"/>
                  </a:lnTo>
                  <a:lnTo>
                    <a:pt x="1280" y="1619"/>
                  </a:lnTo>
                  <a:lnTo>
                    <a:pt x="1287" y="1641"/>
                  </a:lnTo>
                  <a:lnTo>
                    <a:pt x="1318" y="1641"/>
                  </a:lnTo>
                  <a:lnTo>
                    <a:pt x="1330" y="1657"/>
                  </a:lnTo>
                  <a:lnTo>
                    <a:pt x="1335" y="1649"/>
                  </a:lnTo>
                  <a:lnTo>
                    <a:pt x="1341" y="1654"/>
                  </a:lnTo>
                  <a:lnTo>
                    <a:pt x="1350" y="1657"/>
                  </a:lnTo>
                  <a:lnTo>
                    <a:pt x="1356" y="1649"/>
                  </a:lnTo>
                  <a:lnTo>
                    <a:pt x="1360" y="1651"/>
                  </a:lnTo>
                  <a:lnTo>
                    <a:pt x="1361" y="1657"/>
                  </a:lnTo>
                  <a:lnTo>
                    <a:pt x="1367" y="1668"/>
                  </a:lnTo>
                  <a:lnTo>
                    <a:pt x="1376" y="1663"/>
                  </a:lnTo>
                  <a:lnTo>
                    <a:pt x="1376" y="1670"/>
                  </a:lnTo>
                  <a:lnTo>
                    <a:pt x="1372" y="1679"/>
                  </a:lnTo>
                  <a:lnTo>
                    <a:pt x="1371" y="1684"/>
                  </a:lnTo>
                  <a:lnTo>
                    <a:pt x="1382" y="1690"/>
                  </a:lnTo>
                  <a:lnTo>
                    <a:pt x="1387" y="1700"/>
                  </a:lnTo>
                  <a:lnTo>
                    <a:pt x="1394" y="1698"/>
                  </a:lnTo>
                  <a:lnTo>
                    <a:pt x="1390" y="1690"/>
                  </a:lnTo>
                  <a:lnTo>
                    <a:pt x="1389" y="1683"/>
                  </a:lnTo>
                  <a:lnTo>
                    <a:pt x="1382" y="1666"/>
                  </a:lnTo>
                  <a:lnTo>
                    <a:pt x="1380" y="1659"/>
                  </a:lnTo>
                  <a:lnTo>
                    <a:pt x="1384" y="1651"/>
                  </a:lnTo>
                  <a:lnTo>
                    <a:pt x="1393" y="1654"/>
                  </a:lnTo>
                  <a:lnTo>
                    <a:pt x="1400" y="1662"/>
                  </a:lnTo>
                  <a:lnTo>
                    <a:pt x="1410" y="1665"/>
                  </a:lnTo>
                  <a:lnTo>
                    <a:pt x="1412" y="1657"/>
                  </a:lnTo>
                  <a:lnTo>
                    <a:pt x="1411" y="1651"/>
                  </a:lnTo>
                  <a:lnTo>
                    <a:pt x="1408" y="1649"/>
                  </a:lnTo>
                  <a:lnTo>
                    <a:pt x="1408" y="1645"/>
                  </a:lnTo>
                  <a:lnTo>
                    <a:pt x="1403" y="1643"/>
                  </a:lnTo>
                  <a:lnTo>
                    <a:pt x="1393" y="1644"/>
                  </a:lnTo>
                  <a:lnTo>
                    <a:pt x="1387" y="1625"/>
                  </a:lnTo>
                  <a:lnTo>
                    <a:pt x="1380" y="1613"/>
                  </a:lnTo>
                  <a:lnTo>
                    <a:pt x="1383" y="1606"/>
                  </a:lnTo>
                  <a:lnTo>
                    <a:pt x="1383" y="1589"/>
                  </a:lnTo>
                  <a:lnTo>
                    <a:pt x="1395" y="1598"/>
                  </a:lnTo>
                  <a:lnTo>
                    <a:pt x="1406" y="1612"/>
                  </a:lnTo>
                  <a:lnTo>
                    <a:pt x="1408" y="1607"/>
                  </a:lnTo>
                  <a:lnTo>
                    <a:pt x="1405" y="1593"/>
                  </a:lnTo>
                  <a:lnTo>
                    <a:pt x="1409" y="1589"/>
                  </a:lnTo>
                  <a:lnTo>
                    <a:pt x="1409" y="1570"/>
                  </a:lnTo>
                  <a:lnTo>
                    <a:pt x="1411" y="1560"/>
                  </a:lnTo>
                  <a:lnTo>
                    <a:pt x="1405" y="1547"/>
                  </a:lnTo>
                  <a:lnTo>
                    <a:pt x="1401" y="1520"/>
                  </a:lnTo>
                  <a:lnTo>
                    <a:pt x="1388" y="1518"/>
                  </a:lnTo>
                  <a:lnTo>
                    <a:pt x="1374" y="1511"/>
                  </a:lnTo>
                  <a:lnTo>
                    <a:pt x="1368" y="1505"/>
                  </a:lnTo>
                  <a:lnTo>
                    <a:pt x="1367" y="1485"/>
                  </a:lnTo>
                  <a:lnTo>
                    <a:pt x="1379" y="1482"/>
                  </a:lnTo>
                  <a:lnTo>
                    <a:pt x="1383" y="1464"/>
                  </a:lnTo>
                  <a:lnTo>
                    <a:pt x="1380" y="1450"/>
                  </a:lnTo>
                  <a:lnTo>
                    <a:pt x="1367" y="1453"/>
                  </a:lnTo>
                  <a:lnTo>
                    <a:pt x="1368" y="1445"/>
                  </a:lnTo>
                  <a:lnTo>
                    <a:pt x="1366" y="1436"/>
                  </a:lnTo>
                  <a:lnTo>
                    <a:pt x="1362" y="1434"/>
                  </a:lnTo>
                  <a:lnTo>
                    <a:pt x="1346" y="1447"/>
                  </a:lnTo>
                  <a:lnTo>
                    <a:pt x="1346" y="1425"/>
                  </a:lnTo>
                  <a:lnTo>
                    <a:pt x="1344" y="1414"/>
                  </a:lnTo>
                  <a:lnTo>
                    <a:pt x="1331" y="1413"/>
                  </a:lnTo>
                  <a:lnTo>
                    <a:pt x="1315" y="1426"/>
                  </a:lnTo>
                  <a:lnTo>
                    <a:pt x="1308" y="1420"/>
                  </a:lnTo>
                  <a:lnTo>
                    <a:pt x="1320" y="1404"/>
                  </a:lnTo>
                  <a:lnTo>
                    <a:pt x="1312" y="1405"/>
                  </a:lnTo>
                  <a:lnTo>
                    <a:pt x="1299" y="1402"/>
                  </a:lnTo>
                  <a:lnTo>
                    <a:pt x="1291" y="1404"/>
                  </a:lnTo>
                  <a:lnTo>
                    <a:pt x="1288" y="1421"/>
                  </a:lnTo>
                  <a:lnTo>
                    <a:pt x="1283" y="1402"/>
                  </a:lnTo>
                  <a:lnTo>
                    <a:pt x="1275" y="1388"/>
                  </a:lnTo>
                  <a:lnTo>
                    <a:pt x="1275" y="1382"/>
                  </a:lnTo>
                  <a:lnTo>
                    <a:pt x="1271" y="1371"/>
                  </a:lnTo>
                  <a:lnTo>
                    <a:pt x="1258" y="1367"/>
                  </a:lnTo>
                  <a:lnTo>
                    <a:pt x="1258" y="1363"/>
                  </a:lnTo>
                  <a:lnTo>
                    <a:pt x="1263" y="1354"/>
                  </a:lnTo>
                  <a:lnTo>
                    <a:pt x="1256" y="1347"/>
                  </a:lnTo>
                  <a:lnTo>
                    <a:pt x="1263" y="1344"/>
                  </a:lnTo>
                  <a:lnTo>
                    <a:pt x="1253" y="1334"/>
                  </a:lnTo>
                  <a:lnTo>
                    <a:pt x="1252" y="1326"/>
                  </a:lnTo>
                  <a:lnTo>
                    <a:pt x="1256" y="1316"/>
                  </a:lnTo>
                  <a:lnTo>
                    <a:pt x="1240" y="1311"/>
                  </a:lnTo>
                  <a:lnTo>
                    <a:pt x="1221" y="1321"/>
                  </a:lnTo>
                  <a:lnTo>
                    <a:pt x="1220" y="1316"/>
                  </a:lnTo>
                  <a:lnTo>
                    <a:pt x="1224" y="1299"/>
                  </a:lnTo>
                  <a:lnTo>
                    <a:pt x="1221" y="1280"/>
                  </a:lnTo>
                  <a:lnTo>
                    <a:pt x="1229" y="1278"/>
                  </a:lnTo>
                  <a:lnTo>
                    <a:pt x="1236" y="1280"/>
                  </a:lnTo>
                  <a:lnTo>
                    <a:pt x="1252" y="1272"/>
                  </a:lnTo>
                  <a:lnTo>
                    <a:pt x="1263" y="1272"/>
                  </a:lnTo>
                  <a:lnTo>
                    <a:pt x="1256" y="1254"/>
                  </a:lnTo>
                  <a:lnTo>
                    <a:pt x="1242" y="1240"/>
                  </a:lnTo>
                  <a:lnTo>
                    <a:pt x="1222" y="1236"/>
                  </a:lnTo>
                  <a:lnTo>
                    <a:pt x="1215" y="1230"/>
                  </a:lnTo>
                  <a:lnTo>
                    <a:pt x="1209" y="1211"/>
                  </a:lnTo>
                  <a:lnTo>
                    <a:pt x="1226" y="1213"/>
                  </a:lnTo>
                  <a:lnTo>
                    <a:pt x="1221" y="1203"/>
                  </a:lnTo>
                  <a:lnTo>
                    <a:pt x="1231" y="1202"/>
                  </a:lnTo>
                  <a:lnTo>
                    <a:pt x="1253" y="1224"/>
                  </a:lnTo>
                  <a:lnTo>
                    <a:pt x="1260" y="1224"/>
                  </a:lnTo>
                  <a:lnTo>
                    <a:pt x="1252" y="1204"/>
                  </a:lnTo>
                  <a:lnTo>
                    <a:pt x="1260" y="1205"/>
                  </a:lnTo>
                  <a:lnTo>
                    <a:pt x="1247" y="1192"/>
                  </a:lnTo>
                  <a:lnTo>
                    <a:pt x="1253" y="1183"/>
                  </a:lnTo>
                  <a:lnTo>
                    <a:pt x="1265" y="1192"/>
                  </a:lnTo>
                  <a:lnTo>
                    <a:pt x="1277" y="1194"/>
                  </a:lnTo>
                  <a:lnTo>
                    <a:pt x="1279" y="1211"/>
                  </a:lnTo>
                  <a:lnTo>
                    <a:pt x="1272" y="1220"/>
                  </a:lnTo>
                  <a:lnTo>
                    <a:pt x="1288" y="1224"/>
                  </a:lnTo>
                  <a:lnTo>
                    <a:pt x="1317" y="1245"/>
                  </a:lnTo>
                  <a:lnTo>
                    <a:pt x="1329" y="1251"/>
                  </a:lnTo>
                  <a:lnTo>
                    <a:pt x="1333" y="1272"/>
                  </a:lnTo>
                  <a:lnTo>
                    <a:pt x="1350" y="1272"/>
                  </a:lnTo>
                  <a:lnTo>
                    <a:pt x="1362" y="1265"/>
                  </a:lnTo>
                  <a:lnTo>
                    <a:pt x="1358" y="1283"/>
                  </a:lnTo>
                  <a:lnTo>
                    <a:pt x="1362" y="1306"/>
                  </a:lnTo>
                  <a:lnTo>
                    <a:pt x="1366" y="1315"/>
                  </a:lnTo>
                  <a:lnTo>
                    <a:pt x="1384" y="1340"/>
                  </a:lnTo>
                  <a:lnTo>
                    <a:pt x="1400" y="1332"/>
                  </a:lnTo>
                  <a:lnTo>
                    <a:pt x="1403" y="1343"/>
                  </a:lnTo>
                  <a:lnTo>
                    <a:pt x="1395" y="1359"/>
                  </a:lnTo>
                  <a:lnTo>
                    <a:pt x="1405" y="1375"/>
                  </a:lnTo>
                  <a:lnTo>
                    <a:pt x="1422" y="1365"/>
                  </a:lnTo>
                  <a:lnTo>
                    <a:pt x="1430" y="1388"/>
                  </a:lnTo>
                  <a:lnTo>
                    <a:pt x="1442" y="1380"/>
                  </a:lnTo>
                  <a:lnTo>
                    <a:pt x="1446" y="1392"/>
                  </a:lnTo>
                  <a:lnTo>
                    <a:pt x="1451" y="1403"/>
                  </a:lnTo>
                  <a:lnTo>
                    <a:pt x="1459" y="1409"/>
                  </a:lnTo>
                  <a:lnTo>
                    <a:pt x="1465" y="1386"/>
                  </a:lnTo>
                  <a:lnTo>
                    <a:pt x="1466" y="1374"/>
                  </a:lnTo>
                  <a:lnTo>
                    <a:pt x="1470" y="1359"/>
                  </a:lnTo>
                  <a:lnTo>
                    <a:pt x="1479" y="1358"/>
                  </a:lnTo>
                  <a:lnTo>
                    <a:pt x="1475" y="1339"/>
                  </a:lnTo>
                  <a:lnTo>
                    <a:pt x="1466" y="1311"/>
                  </a:lnTo>
                  <a:lnTo>
                    <a:pt x="1468" y="1297"/>
                  </a:lnTo>
                  <a:lnTo>
                    <a:pt x="1491" y="1320"/>
                  </a:lnTo>
                  <a:lnTo>
                    <a:pt x="1506" y="1321"/>
                  </a:lnTo>
                  <a:lnTo>
                    <a:pt x="1508" y="1310"/>
                  </a:lnTo>
                  <a:lnTo>
                    <a:pt x="1512" y="1299"/>
                  </a:lnTo>
                  <a:lnTo>
                    <a:pt x="1523" y="1294"/>
                  </a:lnTo>
                  <a:lnTo>
                    <a:pt x="1524" y="1269"/>
                  </a:lnTo>
                  <a:lnTo>
                    <a:pt x="1541" y="1263"/>
                  </a:lnTo>
                  <a:lnTo>
                    <a:pt x="1533" y="1251"/>
                  </a:lnTo>
                  <a:lnTo>
                    <a:pt x="1512" y="1254"/>
                  </a:lnTo>
                  <a:lnTo>
                    <a:pt x="1514" y="1241"/>
                  </a:lnTo>
                  <a:lnTo>
                    <a:pt x="1527" y="1242"/>
                  </a:lnTo>
                  <a:lnTo>
                    <a:pt x="1529" y="1229"/>
                  </a:lnTo>
                  <a:lnTo>
                    <a:pt x="1513" y="1224"/>
                  </a:lnTo>
                  <a:lnTo>
                    <a:pt x="1525" y="1218"/>
                  </a:lnTo>
                  <a:lnTo>
                    <a:pt x="1549" y="1232"/>
                  </a:lnTo>
                  <a:lnTo>
                    <a:pt x="1562" y="1232"/>
                  </a:lnTo>
                  <a:lnTo>
                    <a:pt x="1567" y="1224"/>
                  </a:lnTo>
                  <a:lnTo>
                    <a:pt x="1557" y="1211"/>
                  </a:lnTo>
                  <a:lnTo>
                    <a:pt x="1560" y="1207"/>
                  </a:lnTo>
                  <a:lnTo>
                    <a:pt x="1564" y="1197"/>
                  </a:lnTo>
                  <a:lnTo>
                    <a:pt x="1573" y="1193"/>
                  </a:lnTo>
                  <a:lnTo>
                    <a:pt x="1581" y="1182"/>
                  </a:lnTo>
                  <a:lnTo>
                    <a:pt x="1573" y="1165"/>
                  </a:lnTo>
                  <a:lnTo>
                    <a:pt x="1555" y="1144"/>
                  </a:lnTo>
                  <a:lnTo>
                    <a:pt x="1544" y="1139"/>
                  </a:lnTo>
                  <a:lnTo>
                    <a:pt x="1535" y="1132"/>
                  </a:lnTo>
                  <a:lnTo>
                    <a:pt x="1523" y="1134"/>
                  </a:lnTo>
                  <a:lnTo>
                    <a:pt x="1513" y="1130"/>
                  </a:lnTo>
                  <a:lnTo>
                    <a:pt x="1496" y="1132"/>
                  </a:lnTo>
                  <a:lnTo>
                    <a:pt x="1474" y="1144"/>
                  </a:lnTo>
                  <a:lnTo>
                    <a:pt x="1480" y="1112"/>
                  </a:lnTo>
                  <a:lnTo>
                    <a:pt x="1490" y="1100"/>
                  </a:lnTo>
                  <a:lnTo>
                    <a:pt x="1489" y="1089"/>
                  </a:lnTo>
                  <a:lnTo>
                    <a:pt x="1478" y="1087"/>
                  </a:lnTo>
                  <a:lnTo>
                    <a:pt x="1471" y="1095"/>
                  </a:lnTo>
                  <a:lnTo>
                    <a:pt x="1439" y="1100"/>
                  </a:lnTo>
                  <a:lnTo>
                    <a:pt x="1426" y="1098"/>
                  </a:lnTo>
                  <a:lnTo>
                    <a:pt x="1435" y="1091"/>
                  </a:lnTo>
                  <a:lnTo>
                    <a:pt x="1422" y="1087"/>
                  </a:lnTo>
                  <a:lnTo>
                    <a:pt x="1427" y="1081"/>
                  </a:lnTo>
                  <a:lnTo>
                    <a:pt x="1441" y="1080"/>
                  </a:lnTo>
                  <a:lnTo>
                    <a:pt x="1441" y="1070"/>
                  </a:lnTo>
                  <a:lnTo>
                    <a:pt x="1423" y="1035"/>
                  </a:lnTo>
                  <a:lnTo>
                    <a:pt x="1416" y="1022"/>
                  </a:lnTo>
                  <a:lnTo>
                    <a:pt x="1410" y="1017"/>
                  </a:lnTo>
                  <a:lnTo>
                    <a:pt x="1401" y="1011"/>
                  </a:lnTo>
                  <a:lnTo>
                    <a:pt x="1379" y="1016"/>
                  </a:lnTo>
                  <a:lnTo>
                    <a:pt x="1374" y="1010"/>
                  </a:lnTo>
                  <a:lnTo>
                    <a:pt x="1377" y="999"/>
                  </a:lnTo>
                  <a:lnTo>
                    <a:pt x="1382" y="993"/>
                  </a:lnTo>
                  <a:lnTo>
                    <a:pt x="1383" y="979"/>
                  </a:lnTo>
                  <a:lnTo>
                    <a:pt x="1363" y="984"/>
                  </a:lnTo>
                  <a:lnTo>
                    <a:pt x="1342" y="985"/>
                  </a:lnTo>
                  <a:lnTo>
                    <a:pt x="1329" y="1000"/>
                  </a:lnTo>
                  <a:lnTo>
                    <a:pt x="1323" y="989"/>
                  </a:lnTo>
                  <a:lnTo>
                    <a:pt x="1312" y="985"/>
                  </a:lnTo>
                  <a:lnTo>
                    <a:pt x="1314" y="976"/>
                  </a:lnTo>
                  <a:lnTo>
                    <a:pt x="1324" y="968"/>
                  </a:lnTo>
                  <a:lnTo>
                    <a:pt x="1315" y="952"/>
                  </a:lnTo>
                  <a:lnTo>
                    <a:pt x="1297" y="957"/>
                  </a:lnTo>
                  <a:lnTo>
                    <a:pt x="1283" y="958"/>
                  </a:lnTo>
                  <a:lnTo>
                    <a:pt x="1279" y="952"/>
                  </a:lnTo>
                  <a:lnTo>
                    <a:pt x="1285" y="940"/>
                  </a:lnTo>
                  <a:lnTo>
                    <a:pt x="1288" y="929"/>
                  </a:lnTo>
                  <a:lnTo>
                    <a:pt x="1279" y="923"/>
                  </a:lnTo>
                  <a:lnTo>
                    <a:pt x="1252" y="918"/>
                  </a:lnTo>
                  <a:lnTo>
                    <a:pt x="1216" y="908"/>
                  </a:lnTo>
                  <a:lnTo>
                    <a:pt x="1204" y="902"/>
                  </a:lnTo>
                  <a:lnTo>
                    <a:pt x="1199" y="893"/>
                  </a:lnTo>
                  <a:lnTo>
                    <a:pt x="1215" y="893"/>
                  </a:lnTo>
                  <a:lnTo>
                    <a:pt x="1216" y="885"/>
                  </a:lnTo>
                  <a:lnTo>
                    <a:pt x="1233" y="882"/>
                  </a:lnTo>
                  <a:lnTo>
                    <a:pt x="1224" y="875"/>
                  </a:lnTo>
                  <a:lnTo>
                    <a:pt x="1226" y="870"/>
                  </a:lnTo>
                  <a:lnTo>
                    <a:pt x="1209" y="852"/>
                  </a:lnTo>
                  <a:lnTo>
                    <a:pt x="1210" y="842"/>
                  </a:lnTo>
                  <a:lnTo>
                    <a:pt x="1228" y="843"/>
                  </a:lnTo>
                  <a:lnTo>
                    <a:pt x="1231" y="836"/>
                  </a:lnTo>
                  <a:lnTo>
                    <a:pt x="1220" y="826"/>
                  </a:lnTo>
                  <a:lnTo>
                    <a:pt x="1202" y="815"/>
                  </a:lnTo>
                  <a:lnTo>
                    <a:pt x="1188" y="816"/>
                  </a:lnTo>
                  <a:lnTo>
                    <a:pt x="1186" y="807"/>
                  </a:lnTo>
                  <a:lnTo>
                    <a:pt x="1202" y="804"/>
                  </a:lnTo>
                  <a:lnTo>
                    <a:pt x="1207" y="807"/>
                  </a:lnTo>
                  <a:lnTo>
                    <a:pt x="1215" y="804"/>
                  </a:lnTo>
                  <a:lnTo>
                    <a:pt x="1215" y="791"/>
                  </a:lnTo>
                  <a:lnTo>
                    <a:pt x="1248" y="812"/>
                  </a:lnTo>
                  <a:lnTo>
                    <a:pt x="1263" y="812"/>
                  </a:lnTo>
                  <a:lnTo>
                    <a:pt x="1280" y="805"/>
                  </a:lnTo>
                  <a:lnTo>
                    <a:pt x="1295" y="811"/>
                  </a:lnTo>
                  <a:lnTo>
                    <a:pt x="1299" y="802"/>
                  </a:lnTo>
                  <a:lnTo>
                    <a:pt x="1299" y="793"/>
                  </a:lnTo>
                  <a:lnTo>
                    <a:pt x="1286" y="779"/>
                  </a:lnTo>
                  <a:lnTo>
                    <a:pt x="1269" y="768"/>
                  </a:lnTo>
                  <a:lnTo>
                    <a:pt x="1249" y="766"/>
                  </a:lnTo>
                  <a:lnTo>
                    <a:pt x="1228" y="767"/>
                  </a:lnTo>
                  <a:lnTo>
                    <a:pt x="1211" y="757"/>
                  </a:lnTo>
                  <a:lnTo>
                    <a:pt x="1206" y="769"/>
                  </a:lnTo>
                  <a:lnTo>
                    <a:pt x="1191" y="752"/>
                  </a:lnTo>
                  <a:lnTo>
                    <a:pt x="1178" y="743"/>
                  </a:lnTo>
                  <a:lnTo>
                    <a:pt x="1169" y="751"/>
                  </a:lnTo>
                  <a:lnTo>
                    <a:pt x="1180" y="735"/>
                  </a:lnTo>
                  <a:lnTo>
                    <a:pt x="1201" y="736"/>
                  </a:lnTo>
                  <a:lnTo>
                    <a:pt x="1215" y="729"/>
                  </a:lnTo>
                  <a:lnTo>
                    <a:pt x="1222" y="716"/>
                  </a:lnTo>
                  <a:lnTo>
                    <a:pt x="1238" y="713"/>
                  </a:lnTo>
                  <a:lnTo>
                    <a:pt x="1258" y="723"/>
                  </a:lnTo>
                  <a:lnTo>
                    <a:pt x="1267" y="705"/>
                  </a:lnTo>
                  <a:lnTo>
                    <a:pt x="1261" y="691"/>
                  </a:lnTo>
                  <a:lnTo>
                    <a:pt x="1226" y="641"/>
                  </a:lnTo>
                  <a:lnTo>
                    <a:pt x="1207" y="632"/>
                  </a:lnTo>
                  <a:lnTo>
                    <a:pt x="1200" y="646"/>
                  </a:lnTo>
                  <a:lnTo>
                    <a:pt x="1201" y="661"/>
                  </a:lnTo>
                  <a:lnTo>
                    <a:pt x="1185" y="673"/>
                  </a:lnTo>
                  <a:lnTo>
                    <a:pt x="1178" y="688"/>
                  </a:lnTo>
                  <a:lnTo>
                    <a:pt x="1161" y="687"/>
                  </a:lnTo>
                  <a:lnTo>
                    <a:pt x="1178" y="661"/>
                  </a:lnTo>
                  <a:lnTo>
                    <a:pt x="1178" y="649"/>
                  </a:lnTo>
                  <a:lnTo>
                    <a:pt x="1142" y="651"/>
                  </a:lnTo>
                  <a:lnTo>
                    <a:pt x="1130" y="660"/>
                  </a:lnTo>
                  <a:lnTo>
                    <a:pt x="1125" y="653"/>
                  </a:lnTo>
                  <a:lnTo>
                    <a:pt x="1140" y="640"/>
                  </a:lnTo>
                  <a:lnTo>
                    <a:pt x="1169" y="628"/>
                  </a:lnTo>
                  <a:lnTo>
                    <a:pt x="1178" y="606"/>
                  </a:lnTo>
                  <a:lnTo>
                    <a:pt x="1188" y="619"/>
                  </a:lnTo>
                  <a:lnTo>
                    <a:pt x="1190" y="606"/>
                  </a:lnTo>
                  <a:lnTo>
                    <a:pt x="1190" y="585"/>
                  </a:lnTo>
                  <a:lnTo>
                    <a:pt x="1154" y="570"/>
                  </a:lnTo>
                  <a:lnTo>
                    <a:pt x="1143" y="560"/>
                  </a:lnTo>
                  <a:lnTo>
                    <a:pt x="1131" y="557"/>
                  </a:lnTo>
                  <a:lnTo>
                    <a:pt x="1111" y="563"/>
                  </a:lnTo>
                  <a:lnTo>
                    <a:pt x="1099" y="580"/>
                  </a:lnTo>
                  <a:lnTo>
                    <a:pt x="1093" y="585"/>
                  </a:lnTo>
                  <a:lnTo>
                    <a:pt x="1083" y="597"/>
                  </a:lnTo>
                  <a:lnTo>
                    <a:pt x="1083" y="591"/>
                  </a:lnTo>
                  <a:lnTo>
                    <a:pt x="1089" y="575"/>
                  </a:lnTo>
                  <a:lnTo>
                    <a:pt x="1102" y="563"/>
                  </a:lnTo>
                  <a:lnTo>
                    <a:pt x="1110" y="542"/>
                  </a:lnTo>
                  <a:lnTo>
                    <a:pt x="1102" y="546"/>
                  </a:lnTo>
                  <a:lnTo>
                    <a:pt x="1091" y="556"/>
                  </a:lnTo>
                  <a:lnTo>
                    <a:pt x="1076" y="560"/>
                  </a:lnTo>
                  <a:lnTo>
                    <a:pt x="1057" y="575"/>
                  </a:lnTo>
                  <a:lnTo>
                    <a:pt x="1059" y="564"/>
                  </a:lnTo>
                  <a:lnTo>
                    <a:pt x="1066" y="552"/>
                  </a:lnTo>
                  <a:lnTo>
                    <a:pt x="1075" y="528"/>
                  </a:lnTo>
                  <a:lnTo>
                    <a:pt x="1071" y="509"/>
                  </a:lnTo>
                  <a:lnTo>
                    <a:pt x="1060" y="506"/>
                  </a:lnTo>
                  <a:lnTo>
                    <a:pt x="1044" y="520"/>
                  </a:lnTo>
                  <a:lnTo>
                    <a:pt x="1028" y="525"/>
                  </a:lnTo>
                  <a:lnTo>
                    <a:pt x="1021" y="513"/>
                  </a:lnTo>
                  <a:lnTo>
                    <a:pt x="990" y="506"/>
                  </a:lnTo>
                  <a:lnTo>
                    <a:pt x="1018" y="500"/>
                  </a:lnTo>
                  <a:lnTo>
                    <a:pt x="1034" y="501"/>
                  </a:lnTo>
                  <a:lnTo>
                    <a:pt x="1041" y="489"/>
                  </a:lnTo>
                  <a:lnTo>
                    <a:pt x="1048" y="477"/>
                  </a:lnTo>
                  <a:lnTo>
                    <a:pt x="1041" y="455"/>
                  </a:lnTo>
                  <a:lnTo>
                    <a:pt x="1028" y="431"/>
                  </a:lnTo>
                  <a:lnTo>
                    <a:pt x="986" y="412"/>
                  </a:lnTo>
                  <a:lnTo>
                    <a:pt x="968" y="393"/>
                  </a:lnTo>
                  <a:lnTo>
                    <a:pt x="965" y="395"/>
                  </a:lnTo>
                  <a:lnTo>
                    <a:pt x="962" y="412"/>
                  </a:lnTo>
                  <a:lnTo>
                    <a:pt x="949" y="425"/>
                  </a:lnTo>
                  <a:lnTo>
                    <a:pt x="935" y="419"/>
                  </a:lnTo>
                  <a:lnTo>
                    <a:pt x="922" y="423"/>
                  </a:lnTo>
                  <a:lnTo>
                    <a:pt x="928" y="454"/>
                  </a:lnTo>
                  <a:lnTo>
                    <a:pt x="927" y="463"/>
                  </a:lnTo>
                  <a:lnTo>
                    <a:pt x="926" y="455"/>
                  </a:lnTo>
                  <a:lnTo>
                    <a:pt x="914" y="457"/>
                  </a:lnTo>
                  <a:lnTo>
                    <a:pt x="912" y="452"/>
                  </a:lnTo>
                  <a:lnTo>
                    <a:pt x="904" y="443"/>
                  </a:lnTo>
                  <a:lnTo>
                    <a:pt x="906" y="419"/>
                  </a:lnTo>
                  <a:lnTo>
                    <a:pt x="896" y="418"/>
                  </a:lnTo>
                  <a:lnTo>
                    <a:pt x="882" y="438"/>
                  </a:lnTo>
                  <a:lnTo>
                    <a:pt x="895" y="408"/>
                  </a:lnTo>
                  <a:lnTo>
                    <a:pt x="912" y="385"/>
                  </a:lnTo>
                  <a:lnTo>
                    <a:pt x="910" y="379"/>
                  </a:lnTo>
                  <a:lnTo>
                    <a:pt x="883" y="385"/>
                  </a:lnTo>
                  <a:lnTo>
                    <a:pt x="867" y="385"/>
                  </a:lnTo>
                  <a:lnTo>
                    <a:pt x="851" y="406"/>
                  </a:lnTo>
                  <a:lnTo>
                    <a:pt x="844" y="411"/>
                  </a:lnTo>
                  <a:lnTo>
                    <a:pt x="845" y="391"/>
                  </a:lnTo>
                  <a:lnTo>
                    <a:pt x="829" y="401"/>
                  </a:lnTo>
                  <a:lnTo>
                    <a:pt x="846" y="381"/>
                  </a:lnTo>
                  <a:lnTo>
                    <a:pt x="863" y="370"/>
                  </a:lnTo>
                  <a:lnTo>
                    <a:pt x="871" y="357"/>
                  </a:lnTo>
                  <a:lnTo>
                    <a:pt x="867" y="334"/>
                  </a:lnTo>
                  <a:lnTo>
                    <a:pt x="846" y="328"/>
                  </a:lnTo>
                  <a:lnTo>
                    <a:pt x="825" y="328"/>
                  </a:lnTo>
                  <a:lnTo>
                    <a:pt x="819" y="322"/>
                  </a:lnTo>
                  <a:lnTo>
                    <a:pt x="831" y="305"/>
                  </a:lnTo>
                  <a:lnTo>
                    <a:pt x="828" y="289"/>
                  </a:lnTo>
                  <a:lnTo>
                    <a:pt x="818" y="266"/>
                  </a:lnTo>
                  <a:lnTo>
                    <a:pt x="808" y="259"/>
                  </a:lnTo>
                  <a:lnTo>
                    <a:pt x="812" y="250"/>
                  </a:lnTo>
                  <a:lnTo>
                    <a:pt x="791" y="240"/>
                  </a:lnTo>
                  <a:lnTo>
                    <a:pt x="771" y="239"/>
                  </a:lnTo>
                  <a:lnTo>
                    <a:pt x="712" y="209"/>
                  </a:lnTo>
                  <a:lnTo>
                    <a:pt x="685" y="208"/>
                  </a:lnTo>
                  <a:lnTo>
                    <a:pt x="656" y="221"/>
                  </a:lnTo>
                  <a:lnTo>
                    <a:pt x="631" y="245"/>
                  </a:lnTo>
                  <a:lnTo>
                    <a:pt x="630" y="266"/>
                  </a:lnTo>
                  <a:lnTo>
                    <a:pt x="646" y="280"/>
                  </a:lnTo>
                  <a:lnTo>
                    <a:pt x="634" y="285"/>
                  </a:lnTo>
                  <a:lnTo>
                    <a:pt x="618" y="285"/>
                  </a:lnTo>
                  <a:lnTo>
                    <a:pt x="607" y="300"/>
                  </a:lnTo>
                  <a:lnTo>
                    <a:pt x="588" y="274"/>
                  </a:lnTo>
                  <a:lnTo>
                    <a:pt x="575" y="289"/>
                  </a:lnTo>
                  <a:lnTo>
                    <a:pt x="565" y="283"/>
                  </a:lnTo>
                  <a:lnTo>
                    <a:pt x="566" y="267"/>
                  </a:lnTo>
                  <a:lnTo>
                    <a:pt x="562" y="251"/>
                  </a:lnTo>
                  <a:lnTo>
                    <a:pt x="550" y="275"/>
                  </a:lnTo>
                  <a:lnTo>
                    <a:pt x="550" y="283"/>
                  </a:lnTo>
                  <a:lnTo>
                    <a:pt x="545" y="306"/>
                  </a:lnTo>
                  <a:lnTo>
                    <a:pt x="537" y="304"/>
                  </a:lnTo>
                  <a:lnTo>
                    <a:pt x="533" y="322"/>
                  </a:lnTo>
                  <a:lnTo>
                    <a:pt x="519" y="344"/>
                  </a:lnTo>
                  <a:lnTo>
                    <a:pt x="503" y="357"/>
                  </a:lnTo>
                  <a:lnTo>
                    <a:pt x="506" y="347"/>
                  </a:lnTo>
                  <a:lnTo>
                    <a:pt x="498" y="336"/>
                  </a:lnTo>
                  <a:lnTo>
                    <a:pt x="503" y="325"/>
                  </a:lnTo>
                  <a:lnTo>
                    <a:pt x="517" y="328"/>
                  </a:lnTo>
                  <a:lnTo>
                    <a:pt x="519" y="323"/>
                  </a:lnTo>
                  <a:lnTo>
                    <a:pt x="511" y="312"/>
                  </a:lnTo>
                  <a:lnTo>
                    <a:pt x="506" y="312"/>
                  </a:lnTo>
                  <a:lnTo>
                    <a:pt x="512" y="289"/>
                  </a:lnTo>
                  <a:lnTo>
                    <a:pt x="518" y="274"/>
                  </a:lnTo>
                  <a:lnTo>
                    <a:pt x="528" y="230"/>
                  </a:lnTo>
                  <a:lnTo>
                    <a:pt x="534" y="212"/>
                  </a:lnTo>
                  <a:lnTo>
                    <a:pt x="518" y="196"/>
                  </a:lnTo>
                  <a:lnTo>
                    <a:pt x="510" y="176"/>
                  </a:lnTo>
                  <a:lnTo>
                    <a:pt x="508" y="167"/>
                  </a:lnTo>
                  <a:lnTo>
                    <a:pt x="518" y="159"/>
                  </a:lnTo>
                  <a:lnTo>
                    <a:pt x="519" y="148"/>
                  </a:lnTo>
                  <a:lnTo>
                    <a:pt x="512" y="134"/>
                  </a:lnTo>
                  <a:lnTo>
                    <a:pt x="496" y="122"/>
                  </a:lnTo>
                  <a:lnTo>
                    <a:pt x="475" y="115"/>
                  </a:lnTo>
                  <a:lnTo>
                    <a:pt x="489" y="99"/>
                  </a:lnTo>
                  <a:lnTo>
                    <a:pt x="484" y="47"/>
                  </a:lnTo>
                  <a:lnTo>
                    <a:pt x="475" y="33"/>
                  </a:lnTo>
                  <a:lnTo>
                    <a:pt x="470" y="22"/>
                  </a:lnTo>
                  <a:lnTo>
                    <a:pt x="417" y="26"/>
                  </a:lnTo>
                  <a:lnTo>
                    <a:pt x="401" y="25"/>
                  </a:lnTo>
                  <a:lnTo>
                    <a:pt x="390" y="33"/>
                  </a:lnTo>
                  <a:lnTo>
                    <a:pt x="378" y="37"/>
                  </a:lnTo>
                  <a:lnTo>
                    <a:pt x="358" y="49"/>
                  </a:lnTo>
                  <a:lnTo>
                    <a:pt x="339" y="68"/>
                  </a:lnTo>
                  <a:lnTo>
                    <a:pt x="355" y="84"/>
                  </a:lnTo>
                  <a:lnTo>
                    <a:pt x="351" y="103"/>
                  </a:lnTo>
                  <a:lnTo>
                    <a:pt x="347" y="92"/>
                  </a:lnTo>
                  <a:lnTo>
                    <a:pt x="340" y="80"/>
                  </a:lnTo>
                  <a:lnTo>
                    <a:pt x="325" y="73"/>
                  </a:lnTo>
                  <a:lnTo>
                    <a:pt x="307" y="81"/>
                  </a:lnTo>
                  <a:lnTo>
                    <a:pt x="304" y="94"/>
                  </a:lnTo>
                  <a:lnTo>
                    <a:pt x="313" y="118"/>
                  </a:lnTo>
                  <a:lnTo>
                    <a:pt x="303" y="112"/>
                  </a:lnTo>
                  <a:lnTo>
                    <a:pt x="291" y="94"/>
                  </a:lnTo>
                  <a:lnTo>
                    <a:pt x="277" y="97"/>
                  </a:lnTo>
                  <a:lnTo>
                    <a:pt x="272" y="115"/>
                  </a:lnTo>
                  <a:lnTo>
                    <a:pt x="285" y="131"/>
                  </a:lnTo>
                  <a:lnTo>
                    <a:pt x="344" y="153"/>
                  </a:lnTo>
                  <a:lnTo>
                    <a:pt x="341" y="160"/>
                  </a:lnTo>
                  <a:lnTo>
                    <a:pt x="324" y="156"/>
                  </a:lnTo>
                  <a:lnTo>
                    <a:pt x="266" y="138"/>
                  </a:lnTo>
                  <a:lnTo>
                    <a:pt x="264" y="148"/>
                  </a:lnTo>
                  <a:lnTo>
                    <a:pt x="258" y="144"/>
                  </a:lnTo>
                  <a:lnTo>
                    <a:pt x="250" y="148"/>
                  </a:lnTo>
                  <a:lnTo>
                    <a:pt x="261" y="156"/>
                  </a:lnTo>
                  <a:lnTo>
                    <a:pt x="276" y="160"/>
                  </a:lnTo>
                  <a:lnTo>
                    <a:pt x="293" y="177"/>
                  </a:lnTo>
                  <a:lnTo>
                    <a:pt x="312" y="186"/>
                  </a:lnTo>
                  <a:lnTo>
                    <a:pt x="331" y="204"/>
                  </a:lnTo>
                  <a:lnTo>
                    <a:pt x="319" y="207"/>
                  </a:lnTo>
                  <a:lnTo>
                    <a:pt x="280" y="176"/>
                  </a:lnTo>
                  <a:lnTo>
                    <a:pt x="255" y="170"/>
                  </a:lnTo>
                  <a:lnTo>
                    <a:pt x="243" y="171"/>
                  </a:lnTo>
                  <a:lnTo>
                    <a:pt x="238" y="181"/>
                  </a:lnTo>
                  <a:lnTo>
                    <a:pt x="239" y="210"/>
                  </a:lnTo>
                  <a:lnTo>
                    <a:pt x="248" y="237"/>
                  </a:lnTo>
                  <a:lnTo>
                    <a:pt x="243" y="246"/>
                  </a:lnTo>
                  <a:lnTo>
                    <a:pt x="250" y="263"/>
                  </a:lnTo>
                  <a:lnTo>
                    <a:pt x="269" y="274"/>
                  </a:lnTo>
                  <a:lnTo>
                    <a:pt x="279" y="274"/>
                  </a:lnTo>
                  <a:lnTo>
                    <a:pt x="285" y="268"/>
                  </a:lnTo>
                  <a:lnTo>
                    <a:pt x="288" y="273"/>
                  </a:lnTo>
                  <a:lnTo>
                    <a:pt x="282" y="291"/>
                  </a:lnTo>
                  <a:lnTo>
                    <a:pt x="272" y="302"/>
                  </a:lnTo>
                  <a:lnTo>
                    <a:pt x="254" y="299"/>
                  </a:lnTo>
                  <a:lnTo>
                    <a:pt x="249" y="314"/>
                  </a:lnTo>
                  <a:lnTo>
                    <a:pt x="248" y="325"/>
                  </a:lnTo>
                  <a:lnTo>
                    <a:pt x="226" y="343"/>
                  </a:lnTo>
                  <a:lnTo>
                    <a:pt x="229" y="354"/>
                  </a:lnTo>
                  <a:lnTo>
                    <a:pt x="245" y="364"/>
                  </a:lnTo>
                  <a:lnTo>
                    <a:pt x="245" y="381"/>
                  </a:lnTo>
                  <a:lnTo>
                    <a:pt x="259" y="398"/>
                  </a:lnTo>
                  <a:lnTo>
                    <a:pt x="280" y="406"/>
                  </a:lnTo>
                  <a:lnTo>
                    <a:pt x="295" y="406"/>
                  </a:lnTo>
                  <a:lnTo>
                    <a:pt x="298" y="419"/>
                  </a:lnTo>
                  <a:lnTo>
                    <a:pt x="295" y="441"/>
                  </a:lnTo>
                  <a:lnTo>
                    <a:pt x="295" y="447"/>
                  </a:lnTo>
                  <a:lnTo>
                    <a:pt x="290" y="455"/>
                  </a:lnTo>
                  <a:lnTo>
                    <a:pt x="291" y="471"/>
                  </a:lnTo>
                  <a:lnTo>
                    <a:pt x="290" y="485"/>
                  </a:lnTo>
                  <a:lnTo>
                    <a:pt x="288" y="504"/>
                  </a:lnTo>
                  <a:lnTo>
                    <a:pt x="281" y="525"/>
                  </a:lnTo>
                  <a:lnTo>
                    <a:pt x="275" y="519"/>
                  </a:lnTo>
                  <a:lnTo>
                    <a:pt x="277" y="500"/>
                  </a:lnTo>
                  <a:lnTo>
                    <a:pt x="281" y="490"/>
                  </a:lnTo>
                  <a:lnTo>
                    <a:pt x="277" y="485"/>
                  </a:lnTo>
                  <a:lnTo>
                    <a:pt x="271" y="489"/>
                  </a:lnTo>
                  <a:lnTo>
                    <a:pt x="254" y="487"/>
                  </a:lnTo>
                  <a:lnTo>
                    <a:pt x="242" y="490"/>
                  </a:lnTo>
                  <a:lnTo>
                    <a:pt x="227" y="498"/>
                  </a:lnTo>
                  <a:lnTo>
                    <a:pt x="207" y="515"/>
                  </a:lnTo>
                  <a:lnTo>
                    <a:pt x="190" y="513"/>
                  </a:lnTo>
                  <a:lnTo>
                    <a:pt x="215" y="495"/>
                  </a:lnTo>
                  <a:lnTo>
                    <a:pt x="227" y="481"/>
                  </a:lnTo>
                  <a:lnTo>
                    <a:pt x="252" y="476"/>
                  </a:lnTo>
                  <a:lnTo>
                    <a:pt x="256" y="470"/>
                  </a:lnTo>
                  <a:lnTo>
                    <a:pt x="268" y="465"/>
                  </a:lnTo>
                  <a:lnTo>
                    <a:pt x="281" y="467"/>
                  </a:lnTo>
                  <a:lnTo>
                    <a:pt x="281" y="460"/>
                  </a:lnTo>
                  <a:lnTo>
                    <a:pt x="277" y="446"/>
                  </a:lnTo>
                  <a:lnTo>
                    <a:pt x="274" y="438"/>
                  </a:lnTo>
                  <a:lnTo>
                    <a:pt x="255" y="433"/>
                  </a:lnTo>
                  <a:lnTo>
                    <a:pt x="205" y="361"/>
                  </a:lnTo>
                  <a:lnTo>
                    <a:pt x="196" y="334"/>
                  </a:lnTo>
                  <a:lnTo>
                    <a:pt x="198" y="306"/>
                  </a:lnTo>
                  <a:lnTo>
                    <a:pt x="206" y="274"/>
                  </a:lnTo>
                  <a:lnTo>
                    <a:pt x="198" y="252"/>
                  </a:lnTo>
                  <a:lnTo>
                    <a:pt x="185" y="229"/>
                  </a:lnTo>
                  <a:lnTo>
                    <a:pt x="186" y="198"/>
                  </a:lnTo>
                  <a:lnTo>
                    <a:pt x="207" y="155"/>
                  </a:lnTo>
                  <a:lnTo>
                    <a:pt x="211" y="124"/>
                  </a:lnTo>
                  <a:lnTo>
                    <a:pt x="222" y="102"/>
                  </a:lnTo>
                  <a:lnTo>
                    <a:pt x="236" y="88"/>
                  </a:lnTo>
                  <a:lnTo>
                    <a:pt x="247" y="67"/>
                  </a:lnTo>
                  <a:lnTo>
                    <a:pt x="275" y="38"/>
                  </a:lnTo>
                  <a:lnTo>
                    <a:pt x="285" y="25"/>
                  </a:lnTo>
                  <a:lnTo>
                    <a:pt x="285" y="21"/>
                  </a:lnTo>
                  <a:lnTo>
                    <a:pt x="279" y="16"/>
                  </a:lnTo>
                  <a:lnTo>
                    <a:pt x="270" y="8"/>
                  </a:lnTo>
                  <a:lnTo>
                    <a:pt x="206" y="0"/>
                  </a:lnTo>
                  <a:lnTo>
                    <a:pt x="190" y="3"/>
                  </a:lnTo>
                  <a:lnTo>
                    <a:pt x="146" y="20"/>
                  </a:lnTo>
                  <a:lnTo>
                    <a:pt x="114" y="42"/>
                  </a:lnTo>
                  <a:lnTo>
                    <a:pt x="81" y="76"/>
                  </a:lnTo>
                  <a:lnTo>
                    <a:pt x="75" y="101"/>
                  </a:lnTo>
                  <a:lnTo>
                    <a:pt x="61" y="118"/>
                  </a:lnTo>
                  <a:lnTo>
                    <a:pt x="55" y="123"/>
                  </a:lnTo>
                  <a:lnTo>
                    <a:pt x="49" y="134"/>
                  </a:lnTo>
                  <a:lnTo>
                    <a:pt x="44" y="149"/>
                  </a:lnTo>
                  <a:lnTo>
                    <a:pt x="51" y="164"/>
                  </a:lnTo>
                  <a:lnTo>
                    <a:pt x="39" y="172"/>
                  </a:lnTo>
                  <a:lnTo>
                    <a:pt x="38" y="199"/>
                  </a:lnTo>
                  <a:lnTo>
                    <a:pt x="48" y="204"/>
                  </a:lnTo>
                  <a:lnTo>
                    <a:pt x="29" y="204"/>
                  </a:lnTo>
                  <a:lnTo>
                    <a:pt x="24" y="230"/>
                  </a:lnTo>
                  <a:lnTo>
                    <a:pt x="16" y="236"/>
                  </a:lnTo>
                  <a:lnTo>
                    <a:pt x="14" y="261"/>
                  </a:lnTo>
                  <a:lnTo>
                    <a:pt x="7" y="274"/>
                  </a:lnTo>
                  <a:lnTo>
                    <a:pt x="12" y="310"/>
                  </a:lnTo>
                  <a:lnTo>
                    <a:pt x="27" y="310"/>
                  </a:lnTo>
                  <a:lnTo>
                    <a:pt x="17" y="316"/>
                  </a:lnTo>
                  <a:lnTo>
                    <a:pt x="7" y="330"/>
                  </a:lnTo>
                  <a:lnTo>
                    <a:pt x="0" y="347"/>
                  </a:lnTo>
                  <a:lnTo>
                    <a:pt x="7" y="369"/>
                  </a:lnTo>
                  <a:lnTo>
                    <a:pt x="13" y="381"/>
                  </a:lnTo>
                  <a:lnTo>
                    <a:pt x="3" y="401"/>
                  </a:lnTo>
                  <a:lnTo>
                    <a:pt x="3" y="441"/>
                  </a:lnTo>
                  <a:lnTo>
                    <a:pt x="8" y="454"/>
                  </a:lnTo>
                  <a:lnTo>
                    <a:pt x="12" y="460"/>
                  </a:lnTo>
                  <a:lnTo>
                    <a:pt x="62" y="471"/>
                  </a:lnTo>
                  <a:lnTo>
                    <a:pt x="115" y="476"/>
                  </a:lnTo>
                  <a:lnTo>
                    <a:pt x="126" y="490"/>
                  </a:lnTo>
                  <a:lnTo>
                    <a:pt x="145" y="506"/>
                  </a:lnTo>
                  <a:lnTo>
                    <a:pt x="162" y="516"/>
                  </a:lnTo>
                  <a:lnTo>
                    <a:pt x="131" y="528"/>
                  </a:lnTo>
                  <a:lnTo>
                    <a:pt x="107" y="530"/>
                  </a:lnTo>
                  <a:lnTo>
                    <a:pt x="73" y="510"/>
                  </a:lnTo>
                  <a:lnTo>
                    <a:pt x="53" y="509"/>
                  </a:lnTo>
                  <a:lnTo>
                    <a:pt x="37" y="504"/>
                  </a:lnTo>
                  <a:lnTo>
                    <a:pt x="45" y="515"/>
                  </a:lnTo>
                  <a:lnTo>
                    <a:pt x="38" y="532"/>
                  </a:lnTo>
                  <a:lnTo>
                    <a:pt x="48" y="548"/>
                  </a:lnTo>
                  <a:lnTo>
                    <a:pt x="61" y="575"/>
                  </a:lnTo>
                  <a:lnTo>
                    <a:pt x="83" y="602"/>
                  </a:lnTo>
                  <a:lnTo>
                    <a:pt x="118" y="624"/>
                  </a:lnTo>
                  <a:lnTo>
                    <a:pt x="105" y="627"/>
                  </a:lnTo>
                  <a:lnTo>
                    <a:pt x="124" y="634"/>
                  </a:lnTo>
                  <a:lnTo>
                    <a:pt x="126" y="628"/>
                  </a:lnTo>
                  <a:lnTo>
                    <a:pt x="141" y="627"/>
                  </a:lnTo>
                  <a:lnTo>
                    <a:pt x="167" y="632"/>
                  </a:lnTo>
                  <a:lnTo>
                    <a:pt x="186" y="627"/>
                  </a:lnTo>
                  <a:lnTo>
                    <a:pt x="194" y="606"/>
                  </a:lnTo>
                  <a:lnTo>
                    <a:pt x="196" y="635"/>
                  </a:lnTo>
                  <a:lnTo>
                    <a:pt x="209" y="656"/>
                  </a:lnTo>
                  <a:lnTo>
                    <a:pt x="226" y="673"/>
                  </a:lnTo>
                  <a:lnTo>
                    <a:pt x="253" y="682"/>
                  </a:lnTo>
                  <a:lnTo>
                    <a:pt x="265" y="682"/>
                  </a:lnTo>
                  <a:lnTo>
                    <a:pt x="250" y="672"/>
                  </a:lnTo>
                  <a:lnTo>
                    <a:pt x="265" y="670"/>
                  </a:lnTo>
                  <a:lnTo>
                    <a:pt x="292" y="680"/>
                  </a:lnTo>
                  <a:lnTo>
                    <a:pt x="344" y="688"/>
                  </a:lnTo>
                  <a:lnTo>
                    <a:pt x="358" y="696"/>
                  </a:lnTo>
                  <a:lnTo>
                    <a:pt x="360" y="689"/>
                  </a:lnTo>
                  <a:lnTo>
                    <a:pt x="384" y="678"/>
                  </a:lnTo>
                  <a:lnTo>
                    <a:pt x="419" y="702"/>
                  </a:lnTo>
                  <a:lnTo>
                    <a:pt x="435" y="703"/>
                  </a:lnTo>
                  <a:lnTo>
                    <a:pt x="437" y="708"/>
                  </a:lnTo>
                  <a:lnTo>
                    <a:pt x="442" y="700"/>
                  </a:lnTo>
                  <a:lnTo>
                    <a:pt x="441" y="702"/>
                  </a:lnTo>
                  <a:lnTo>
                    <a:pt x="448" y="709"/>
                  </a:lnTo>
                  <a:lnTo>
                    <a:pt x="455" y="693"/>
                  </a:lnTo>
                  <a:lnTo>
                    <a:pt x="469" y="687"/>
                  </a:lnTo>
                  <a:lnTo>
                    <a:pt x="483" y="696"/>
                  </a:lnTo>
                  <a:lnTo>
                    <a:pt x="496" y="718"/>
                  </a:lnTo>
                  <a:lnTo>
                    <a:pt x="506" y="718"/>
                  </a:lnTo>
                  <a:lnTo>
                    <a:pt x="501" y="704"/>
                  </a:lnTo>
                  <a:lnTo>
                    <a:pt x="481" y="680"/>
                  </a:lnTo>
                  <a:lnTo>
                    <a:pt x="462" y="672"/>
                  </a:lnTo>
                  <a:lnTo>
                    <a:pt x="464" y="659"/>
                  </a:lnTo>
                  <a:lnTo>
                    <a:pt x="517" y="676"/>
                  </a:lnTo>
                  <a:lnTo>
                    <a:pt x="530" y="682"/>
                  </a:lnTo>
                  <a:lnTo>
                    <a:pt x="543" y="676"/>
                  </a:lnTo>
                  <a:lnTo>
                    <a:pt x="549" y="682"/>
                  </a:lnTo>
                  <a:lnTo>
                    <a:pt x="556" y="682"/>
                  </a:lnTo>
                  <a:lnTo>
                    <a:pt x="569" y="707"/>
                  </a:lnTo>
                  <a:lnTo>
                    <a:pt x="596" y="698"/>
                  </a:lnTo>
                  <a:lnTo>
                    <a:pt x="618" y="696"/>
                  </a:lnTo>
                  <a:lnTo>
                    <a:pt x="625" y="684"/>
                  </a:lnTo>
                  <a:lnTo>
                    <a:pt x="620" y="659"/>
                  </a:lnTo>
                  <a:lnTo>
                    <a:pt x="605" y="624"/>
                  </a:lnTo>
                  <a:lnTo>
                    <a:pt x="591" y="626"/>
                  </a:lnTo>
                  <a:lnTo>
                    <a:pt x="581" y="618"/>
                  </a:lnTo>
                  <a:lnTo>
                    <a:pt x="593" y="607"/>
                  </a:lnTo>
                  <a:lnTo>
                    <a:pt x="620" y="614"/>
                  </a:lnTo>
                  <a:lnTo>
                    <a:pt x="653" y="649"/>
                  </a:lnTo>
                  <a:lnTo>
                    <a:pt x="658" y="638"/>
                  </a:lnTo>
                  <a:lnTo>
                    <a:pt x="670" y="646"/>
                  </a:lnTo>
                  <a:lnTo>
                    <a:pt x="684" y="643"/>
                  </a:lnTo>
                  <a:lnTo>
                    <a:pt x="685" y="707"/>
                  </a:lnTo>
                  <a:lnTo>
                    <a:pt x="694" y="716"/>
                  </a:lnTo>
                  <a:lnTo>
                    <a:pt x="701" y="700"/>
                  </a:lnTo>
                  <a:lnTo>
                    <a:pt x="711" y="708"/>
                  </a:lnTo>
                  <a:lnTo>
                    <a:pt x="723" y="707"/>
                  </a:lnTo>
                  <a:lnTo>
                    <a:pt x="728" y="714"/>
                  </a:lnTo>
                  <a:lnTo>
                    <a:pt x="727" y="726"/>
                  </a:lnTo>
                  <a:lnTo>
                    <a:pt x="715" y="736"/>
                  </a:lnTo>
                  <a:lnTo>
                    <a:pt x="727" y="737"/>
                  </a:lnTo>
                  <a:lnTo>
                    <a:pt x="738" y="745"/>
                  </a:lnTo>
                  <a:lnTo>
                    <a:pt x="750" y="759"/>
                  </a:lnTo>
                  <a:lnTo>
                    <a:pt x="787" y="793"/>
                  </a:lnTo>
                  <a:lnTo>
                    <a:pt x="792" y="816"/>
                  </a:lnTo>
                  <a:lnTo>
                    <a:pt x="772" y="833"/>
                  </a:lnTo>
                  <a:lnTo>
                    <a:pt x="752" y="828"/>
                  </a:lnTo>
                  <a:lnTo>
                    <a:pt x="737" y="828"/>
                  </a:lnTo>
                  <a:lnTo>
                    <a:pt x="743" y="854"/>
                  </a:lnTo>
                  <a:lnTo>
                    <a:pt x="740" y="887"/>
                  </a:lnTo>
                  <a:lnTo>
                    <a:pt x="761" y="880"/>
                  </a:lnTo>
                  <a:lnTo>
                    <a:pt x="791" y="859"/>
                  </a:lnTo>
                  <a:lnTo>
                    <a:pt x="798" y="843"/>
                  </a:lnTo>
                  <a:lnTo>
                    <a:pt x="812" y="849"/>
                  </a:lnTo>
                  <a:lnTo>
                    <a:pt x="829" y="834"/>
                  </a:lnTo>
                  <a:lnTo>
                    <a:pt x="849" y="829"/>
                  </a:lnTo>
                  <a:lnTo>
                    <a:pt x="868" y="833"/>
                  </a:lnTo>
                  <a:lnTo>
                    <a:pt x="836" y="843"/>
                  </a:lnTo>
                  <a:lnTo>
                    <a:pt x="842" y="848"/>
                  </a:lnTo>
                  <a:lnTo>
                    <a:pt x="835" y="863"/>
                  </a:lnTo>
                  <a:lnTo>
                    <a:pt x="858" y="892"/>
                  </a:lnTo>
                  <a:lnTo>
                    <a:pt x="872" y="906"/>
                  </a:lnTo>
                  <a:lnTo>
                    <a:pt x="878" y="901"/>
                  </a:lnTo>
                  <a:lnTo>
                    <a:pt x="871" y="887"/>
                  </a:lnTo>
                  <a:lnTo>
                    <a:pt x="872" y="877"/>
                  </a:lnTo>
                  <a:lnTo>
                    <a:pt x="892" y="883"/>
                  </a:lnTo>
                  <a:lnTo>
                    <a:pt x="890" y="920"/>
                  </a:lnTo>
                  <a:lnTo>
                    <a:pt x="895" y="936"/>
                  </a:lnTo>
                  <a:lnTo>
                    <a:pt x="912" y="949"/>
                  </a:lnTo>
                  <a:lnTo>
                    <a:pt x="925" y="941"/>
                  </a:lnTo>
                  <a:lnTo>
                    <a:pt x="939" y="963"/>
                  </a:lnTo>
                  <a:lnTo>
                    <a:pt x="942" y="988"/>
                  </a:lnTo>
                  <a:lnTo>
                    <a:pt x="948" y="1004"/>
                  </a:lnTo>
                  <a:lnTo>
                    <a:pt x="955" y="1014"/>
                  </a:lnTo>
                  <a:lnTo>
                    <a:pt x="958" y="1037"/>
                  </a:lnTo>
                  <a:lnTo>
                    <a:pt x="965" y="1049"/>
                  </a:lnTo>
                  <a:lnTo>
                    <a:pt x="967" y="1069"/>
                  </a:lnTo>
                  <a:lnTo>
                    <a:pt x="970" y="1085"/>
                  </a:lnTo>
                  <a:lnTo>
                    <a:pt x="976" y="1089"/>
                  </a:lnTo>
                  <a:lnTo>
                    <a:pt x="971" y="1103"/>
                  </a:lnTo>
                  <a:lnTo>
                    <a:pt x="964" y="1114"/>
                  </a:lnTo>
                  <a:lnTo>
                    <a:pt x="951" y="1121"/>
                  </a:lnTo>
                  <a:lnTo>
                    <a:pt x="942" y="1130"/>
                  </a:lnTo>
                  <a:lnTo>
                    <a:pt x="941" y="1166"/>
                  </a:lnTo>
                  <a:lnTo>
                    <a:pt x="937" y="1170"/>
                  </a:lnTo>
                  <a:lnTo>
                    <a:pt x="924" y="1173"/>
                  </a:lnTo>
                  <a:lnTo>
                    <a:pt x="911" y="1191"/>
                  </a:lnTo>
                  <a:lnTo>
                    <a:pt x="895" y="1204"/>
                  </a:lnTo>
                  <a:lnTo>
                    <a:pt x="882" y="1224"/>
                  </a:lnTo>
                  <a:lnTo>
                    <a:pt x="861" y="1242"/>
                  </a:lnTo>
                  <a:lnTo>
                    <a:pt x="863" y="1254"/>
                  </a:lnTo>
                  <a:lnTo>
                    <a:pt x="877" y="1275"/>
                  </a:lnTo>
                  <a:lnTo>
                    <a:pt x="894" y="1292"/>
                  </a:lnTo>
                  <a:lnTo>
                    <a:pt x="898" y="1310"/>
                  </a:lnTo>
                  <a:lnTo>
                    <a:pt x="908" y="1313"/>
                  </a:lnTo>
                  <a:lnTo>
                    <a:pt x="908" y="1338"/>
                  </a:lnTo>
                  <a:lnTo>
                    <a:pt x="889" y="1328"/>
                  </a:lnTo>
                  <a:lnTo>
                    <a:pt x="888" y="1333"/>
                  </a:lnTo>
                  <a:lnTo>
                    <a:pt x="874" y="1327"/>
                  </a:lnTo>
                  <a:lnTo>
                    <a:pt x="871" y="1334"/>
                  </a:lnTo>
                  <a:lnTo>
                    <a:pt x="862" y="1337"/>
                  </a:lnTo>
                  <a:lnTo>
                    <a:pt x="846" y="1347"/>
                  </a:lnTo>
                  <a:lnTo>
                    <a:pt x="822" y="1347"/>
                  </a:lnTo>
                  <a:lnTo>
                    <a:pt x="820" y="1360"/>
                  </a:lnTo>
                  <a:lnTo>
                    <a:pt x="811" y="1364"/>
                  </a:lnTo>
                  <a:lnTo>
                    <a:pt x="793" y="1354"/>
                  </a:lnTo>
                  <a:lnTo>
                    <a:pt x="765" y="1358"/>
                  </a:lnTo>
                  <a:lnTo>
                    <a:pt x="743" y="1348"/>
                  </a:lnTo>
                  <a:lnTo>
                    <a:pt x="731" y="1348"/>
                  </a:lnTo>
                  <a:lnTo>
                    <a:pt x="718" y="1344"/>
                  </a:lnTo>
                  <a:lnTo>
                    <a:pt x="711" y="1338"/>
                  </a:lnTo>
                  <a:lnTo>
                    <a:pt x="700" y="1339"/>
                  </a:lnTo>
                  <a:lnTo>
                    <a:pt x="707" y="1350"/>
                  </a:lnTo>
                  <a:lnTo>
                    <a:pt x="697" y="1350"/>
                  </a:lnTo>
                  <a:lnTo>
                    <a:pt x="700" y="1374"/>
                  </a:lnTo>
                  <a:lnTo>
                    <a:pt x="688" y="1378"/>
                  </a:lnTo>
                  <a:lnTo>
                    <a:pt x="668" y="1393"/>
                  </a:lnTo>
                  <a:lnTo>
                    <a:pt x="661" y="1408"/>
                  </a:lnTo>
                  <a:lnTo>
                    <a:pt x="658" y="1425"/>
                  </a:lnTo>
                  <a:lnTo>
                    <a:pt x="659" y="1441"/>
                  </a:lnTo>
                  <a:lnTo>
                    <a:pt x="668" y="1462"/>
                  </a:lnTo>
                  <a:lnTo>
                    <a:pt x="680" y="1473"/>
                  </a:lnTo>
                  <a:lnTo>
                    <a:pt x="690" y="1473"/>
                  </a:lnTo>
                  <a:lnTo>
                    <a:pt x="702" y="1488"/>
                  </a:lnTo>
                  <a:lnTo>
                    <a:pt x="710" y="1485"/>
                  </a:lnTo>
                  <a:lnTo>
                    <a:pt x="731" y="1491"/>
                  </a:lnTo>
                  <a:lnTo>
                    <a:pt x="737" y="1496"/>
                  </a:lnTo>
                  <a:lnTo>
                    <a:pt x="739" y="1493"/>
                  </a:lnTo>
                  <a:lnTo>
                    <a:pt x="761" y="1487"/>
                  </a:lnTo>
                  <a:lnTo>
                    <a:pt x="759" y="1478"/>
                  </a:lnTo>
                  <a:lnTo>
                    <a:pt x="776" y="1477"/>
                  </a:lnTo>
                  <a:lnTo>
                    <a:pt x="783" y="1473"/>
                  </a:lnTo>
                  <a:lnTo>
                    <a:pt x="785" y="1463"/>
                  </a:lnTo>
                  <a:lnTo>
                    <a:pt x="780" y="1452"/>
                  </a:lnTo>
                  <a:lnTo>
                    <a:pt x="792" y="1447"/>
                  </a:lnTo>
                  <a:lnTo>
                    <a:pt x="807" y="1447"/>
                  </a:lnTo>
                  <a:lnTo>
                    <a:pt x="812" y="1457"/>
                  </a:lnTo>
                  <a:lnTo>
                    <a:pt x="814" y="1467"/>
                  </a:lnTo>
                  <a:lnTo>
                    <a:pt x="840" y="1468"/>
                  </a:lnTo>
                  <a:lnTo>
                    <a:pt x="849" y="1472"/>
                  </a:lnTo>
                  <a:lnTo>
                    <a:pt x="847" y="1461"/>
                  </a:lnTo>
                  <a:lnTo>
                    <a:pt x="855" y="1453"/>
                  </a:lnTo>
                  <a:lnTo>
                    <a:pt x="857" y="1460"/>
                  </a:lnTo>
                  <a:lnTo>
                    <a:pt x="847" y="1441"/>
                  </a:lnTo>
                  <a:lnTo>
                    <a:pt x="835" y="1436"/>
                  </a:lnTo>
                  <a:lnTo>
                    <a:pt x="834" y="1423"/>
                  </a:lnTo>
                  <a:lnTo>
                    <a:pt x="846" y="1419"/>
                  </a:lnTo>
                  <a:lnTo>
                    <a:pt x="851" y="1413"/>
                  </a:lnTo>
                  <a:lnTo>
                    <a:pt x="851" y="1425"/>
                  </a:lnTo>
                  <a:lnTo>
                    <a:pt x="852" y="1435"/>
                  </a:lnTo>
                  <a:lnTo>
                    <a:pt x="860" y="1426"/>
                  </a:lnTo>
                  <a:lnTo>
                    <a:pt x="862" y="1435"/>
                  </a:lnTo>
                  <a:lnTo>
                    <a:pt x="871" y="1444"/>
                  </a:lnTo>
                  <a:lnTo>
                    <a:pt x="876" y="1439"/>
                  </a:lnTo>
                  <a:lnTo>
                    <a:pt x="885" y="1435"/>
                  </a:lnTo>
                  <a:lnTo>
                    <a:pt x="889" y="1436"/>
                  </a:lnTo>
                  <a:lnTo>
                    <a:pt x="898" y="1450"/>
                  </a:lnTo>
                  <a:lnTo>
                    <a:pt x="906" y="1444"/>
                  </a:lnTo>
                  <a:lnTo>
                    <a:pt x="914" y="1446"/>
                  </a:lnTo>
                  <a:lnTo>
                    <a:pt x="919" y="1456"/>
                  </a:lnTo>
                  <a:lnTo>
                    <a:pt x="916" y="1462"/>
                  </a:lnTo>
                  <a:lnTo>
                    <a:pt x="917" y="1473"/>
                  </a:lnTo>
                  <a:lnTo>
                    <a:pt x="921" y="1485"/>
                  </a:lnTo>
                  <a:lnTo>
                    <a:pt x="927" y="1482"/>
                  </a:lnTo>
                  <a:lnTo>
                    <a:pt x="938" y="1498"/>
                  </a:lnTo>
                  <a:lnTo>
                    <a:pt x="941" y="1507"/>
                  </a:lnTo>
                  <a:lnTo>
                    <a:pt x="939" y="1515"/>
                  </a:lnTo>
                  <a:lnTo>
                    <a:pt x="942" y="1518"/>
                  </a:lnTo>
                  <a:lnTo>
                    <a:pt x="943" y="1528"/>
                  </a:lnTo>
                  <a:lnTo>
                    <a:pt x="951" y="1526"/>
                  </a:lnTo>
                  <a:lnTo>
                    <a:pt x="955" y="1528"/>
                  </a:lnTo>
                  <a:lnTo>
                    <a:pt x="963" y="1544"/>
                  </a:lnTo>
                  <a:lnTo>
                    <a:pt x="968" y="1547"/>
                  </a:lnTo>
                  <a:lnTo>
                    <a:pt x="975" y="1541"/>
                  </a:lnTo>
                  <a:lnTo>
                    <a:pt x="980" y="1543"/>
                  </a:lnTo>
                  <a:lnTo>
                    <a:pt x="980" y="1550"/>
                  </a:lnTo>
                  <a:lnTo>
                    <a:pt x="986" y="1560"/>
                  </a:lnTo>
                  <a:lnTo>
                    <a:pt x="994" y="1563"/>
                  </a:lnTo>
                  <a:lnTo>
                    <a:pt x="995" y="1554"/>
                  </a:lnTo>
                  <a:lnTo>
                    <a:pt x="1001" y="1542"/>
                  </a:lnTo>
                  <a:lnTo>
                    <a:pt x="1012" y="1559"/>
                  </a:lnTo>
                  <a:lnTo>
                    <a:pt x="1018" y="1563"/>
                  </a:lnTo>
                  <a:lnTo>
                    <a:pt x="1022" y="1571"/>
                  </a:lnTo>
                  <a:lnTo>
                    <a:pt x="1033" y="1571"/>
                  </a:lnTo>
                  <a:lnTo>
                    <a:pt x="1019" y="1587"/>
                  </a:lnTo>
                  <a:lnTo>
                    <a:pt x="1003" y="1593"/>
                  </a:lnTo>
                  <a:lnTo>
                    <a:pt x="992" y="1579"/>
                  </a:lnTo>
                  <a:lnTo>
                    <a:pt x="998" y="1595"/>
                  </a:lnTo>
                  <a:lnTo>
                    <a:pt x="1014" y="1628"/>
                  </a:lnTo>
                  <a:lnTo>
                    <a:pt x="1024" y="1630"/>
                  </a:lnTo>
                  <a:lnTo>
                    <a:pt x="1035" y="1643"/>
                  </a:lnTo>
                  <a:lnTo>
                    <a:pt x="1037" y="164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74" name="Freeform 299">
              <a:extLst>
                <a:ext uri="{FF2B5EF4-FFF2-40B4-BE49-F238E27FC236}">
                  <a16:creationId xmlns:a16="http://schemas.microsoft.com/office/drawing/2014/main" id="{4999C4A4-9849-519E-4DA1-EE08AFD25B4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643862" y="1062404"/>
              <a:ext cx="2499673" cy="1842780"/>
            </a:xfrm>
            <a:custGeom>
              <a:avLst/>
              <a:gdLst>
                <a:gd name="T0" fmla="*/ 2147483647 w 4686"/>
                <a:gd name="T1" fmla="*/ 2147483647 h 3236"/>
                <a:gd name="T2" fmla="*/ 2147483647 w 4686"/>
                <a:gd name="T3" fmla="*/ 2147483647 h 3236"/>
                <a:gd name="T4" fmla="*/ 2147483647 w 4686"/>
                <a:gd name="T5" fmla="*/ 2147483647 h 3236"/>
                <a:gd name="T6" fmla="*/ 2147483647 w 4686"/>
                <a:gd name="T7" fmla="*/ 2147483647 h 3236"/>
                <a:gd name="T8" fmla="*/ 2147483647 w 4686"/>
                <a:gd name="T9" fmla="*/ 2147483647 h 3236"/>
                <a:gd name="T10" fmla="*/ 2147483647 w 4686"/>
                <a:gd name="T11" fmla="*/ 2147483647 h 3236"/>
                <a:gd name="T12" fmla="*/ 2147483647 w 4686"/>
                <a:gd name="T13" fmla="*/ 2147483647 h 3236"/>
                <a:gd name="T14" fmla="*/ 2147483647 w 4686"/>
                <a:gd name="T15" fmla="*/ 2147483647 h 3236"/>
                <a:gd name="T16" fmla="*/ 2147483647 w 4686"/>
                <a:gd name="T17" fmla="*/ 2147483647 h 3236"/>
                <a:gd name="T18" fmla="*/ 2147483647 w 4686"/>
                <a:gd name="T19" fmla="*/ 2147483647 h 3236"/>
                <a:gd name="T20" fmla="*/ 2147483647 w 4686"/>
                <a:gd name="T21" fmla="*/ 2147483647 h 3236"/>
                <a:gd name="T22" fmla="*/ 2147483647 w 4686"/>
                <a:gd name="T23" fmla="*/ 2147483647 h 3236"/>
                <a:gd name="T24" fmla="*/ 2147483647 w 4686"/>
                <a:gd name="T25" fmla="*/ 2147483647 h 3236"/>
                <a:gd name="T26" fmla="*/ 2147483647 w 4686"/>
                <a:gd name="T27" fmla="*/ 2147483647 h 3236"/>
                <a:gd name="T28" fmla="*/ 2147483647 w 4686"/>
                <a:gd name="T29" fmla="*/ 2147483647 h 3236"/>
                <a:gd name="T30" fmla="*/ 2147483647 w 4686"/>
                <a:gd name="T31" fmla="*/ 2147483647 h 3236"/>
                <a:gd name="T32" fmla="*/ 2147483647 w 4686"/>
                <a:gd name="T33" fmla="*/ 2147483647 h 3236"/>
                <a:gd name="T34" fmla="*/ 0 w 4686"/>
                <a:gd name="T35" fmla="*/ 2147483647 h 3236"/>
                <a:gd name="T36" fmla="*/ 0 w 4686"/>
                <a:gd name="T37" fmla="*/ 2147483647 h 3236"/>
                <a:gd name="T38" fmla="*/ 0 w 4686"/>
                <a:gd name="T39" fmla="*/ 2147483647 h 3236"/>
                <a:gd name="T40" fmla="*/ 2147483647 w 4686"/>
                <a:gd name="T41" fmla="*/ 2147483647 h 3236"/>
                <a:gd name="T42" fmla="*/ 2147483647 w 4686"/>
                <a:gd name="T43" fmla="*/ 2147483647 h 3236"/>
                <a:gd name="T44" fmla="*/ 2147483647 w 4686"/>
                <a:gd name="T45" fmla="*/ 2147483647 h 3236"/>
                <a:gd name="T46" fmla="*/ 2147483647 w 4686"/>
                <a:gd name="T47" fmla="*/ 0 h 3236"/>
                <a:gd name="T48" fmla="*/ 2147483647 w 4686"/>
                <a:gd name="T49" fmla="*/ 2147483647 h 3236"/>
                <a:gd name="T50" fmla="*/ 2147483647 w 4686"/>
                <a:gd name="T51" fmla="*/ 2147483647 h 3236"/>
                <a:gd name="T52" fmla="*/ 2147483647 w 4686"/>
                <a:gd name="T53" fmla="*/ 2147483647 h 3236"/>
                <a:gd name="T54" fmla="*/ 2147483647 w 4686"/>
                <a:gd name="T55" fmla="*/ 2147483647 h 3236"/>
                <a:gd name="T56" fmla="*/ 2147483647 w 4686"/>
                <a:gd name="T57" fmla="*/ 2147483647 h 3236"/>
                <a:gd name="T58" fmla="*/ 2147483647 w 4686"/>
                <a:gd name="T59" fmla="*/ 2147483647 h 3236"/>
                <a:gd name="T60" fmla="*/ 2147483647 w 4686"/>
                <a:gd name="T61" fmla="*/ 2147483647 h 3236"/>
                <a:gd name="T62" fmla="*/ 2147483647 w 4686"/>
                <a:gd name="T63" fmla="*/ 2147483647 h 3236"/>
                <a:gd name="T64" fmla="*/ 2147483647 w 4686"/>
                <a:gd name="T65" fmla="*/ 2147483647 h 3236"/>
                <a:gd name="T66" fmla="*/ 2147483647 w 4686"/>
                <a:gd name="T67" fmla="*/ 2147483647 h 3236"/>
                <a:gd name="T68" fmla="*/ 2147483647 w 4686"/>
                <a:gd name="T69" fmla="*/ 2147483647 h 3236"/>
                <a:gd name="T70" fmla="*/ 2147483647 w 4686"/>
                <a:gd name="T71" fmla="*/ 0 h 3236"/>
                <a:gd name="T72" fmla="*/ 2147483647 w 4686"/>
                <a:gd name="T73" fmla="*/ 0 h 3236"/>
                <a:gd name="T74" fmla="*/ 2147483647 w 4686"/>
                <a:gd name="T75" fmla="*/ 2147483647 h 3236"/>
                <a:gd name="T76" fmla="*/ 2147483647 w 4686"/>
                <a:gd name="T77" fmla="*/ 2147483647 h 3236"/>
                <a:gd name="T78" fmla="*/ 2147483647 w 4686"/>
                <a:gd name="T79" fmla="*/ 2147483647 h 3236"/>
                <a:gd name="T80" fmla="*/ 2147483647 w 4686"/>
                <a:gd name="T81" fmla="*/ 2147483647 h 3236"/>
                <a:gd name="T82" fmla="*/ 2147483647 w 4686"/>
                <a:gd name="T83" fmla="*/ 2147483647 h 3236"/>
                <a:gd name="T84" fmla="*/ 2147483647 w 4686"/>
                <a:gd name="T85" fmla="*/ 2147483647 h 3236"/>
                <a:gd name="T86" fmla="*/ 2147483647 w 4686"/>
                <a:gd name="T87" fmla="*/ 2147483647 h 3236"/>
                <a:gd name="T88" fmla="*/ 2147483647 w 4686"/>
                <a:gd name="T89" fmla="*/ 2147483647 h 3236"/>
                <a:gd name="T90" fmla="*/ 2147483647 w 4686"/>
                <a:gd name="T91" fmla="*/ 2147483647 h 3236"/>
                <a:gd name="T92" fmla="*/ 2147483647 w 4686"/>
                <a:gd name="T93" fmla="*/ 2147483647 h 3236"/>
                <a:gd name="T94" fmla="*/ 2147483647 w 4686"/>
                <a:gd name="T95" fmla="*/ 2147483647 h 3236"/>
                <a:gd name="T96" fmla="*/ 2147483647 w 4686"/>
                <a:gd name="T97" fmla="*/ 2147483647 h 3236"/>
                <a:gd name="T98" fmla="*/ 2147483647 w 4686"/>
                <a:gd name="T99" fmla="*/ 2147483647 h 3236"/>
                <a:gd name="T100" fmla="*/ 2147483647 w 4686"/>
                <a:gd name="T101" fmla="*/ 2147483647 h 3236"/>
                <a:gd name="T102" fmla="*/ 2147483647 w 4686"/>
                <a:gd name="T103" fmla="*/ 2147483647 h 3236"/>
                <a:gd name="T104" fmla="*/ 2147483647 w 4686"/>
                <a:gd name="T105" fmla="*/ 2147483647 h 3236"/>
                <a:gd name="T106" fmla="*/ 2147483647 w 4686"/>
                <a:gd name="T107" fmla="*/ 2147483647 h 3236"/>
                <a:gd name="T108" fmla="*/ 2147483647 w 4686"/>
                <a:gd name="T109" fmla="*/ 2147483647 h 3236"/>
                <a:gd name="T110" fmla="*/ 2147483647 w 4686"/>
                <a:gd name="T111" fmla="*/ 2147483647 h 3236"/>
                <a:gd name="T112" fmla="*/ 2147483647 w 4686"/>
                <a:gd name="T113" fmla="*/ 2147483647 h 3236"/>
                <a:gd name="T114" fmla="*/ 2147483647 w 4686"/>
                <a:gd name="T115" fmla="*/ 2147483647 h 3236"/>
                <a:gd name="T116" fmla="*/ 2147483647 w 4686"/>
                <a:gd name="T117" fmla="*/ 2147483647 h 3236"/>
                <a:gd name="T118" fmla="*/ 2147483647 w 4686"/>
                <a:gd name="T119" fmla="*/ 2147483647 h 3236"/>
                <a:gd name="T120" fmla="*/ 2147483647 w 4686"/>
                <a:gd name="T121" fmla="*/ 2147483647 h 3236"/>
                <a:gd name="T122" fmla="*/ 2147483647 w 4686"/>
                <a:gd name="T123" fmla="*/ 2147483647 h 3236"/>
                <a:gd name="T124" fmla="*/ 2147483647 w 4686"/>
                <a:gd name="T125" fmla="*/ 2147483647 h 32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6"/>
                <a:gd name="T190" fmla="*/ 0 h 3236"/>
                <a:gd name="T191" fmla="*/ 4686 w 4686"/>
                <a:gd name="T192" fmla="*/ 3236 h 32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6" h="3236">
                  <a:moveTo>
                    <a:pt x="4668" y="2398"/>
                  </a:moveTo>
                  <a:lnTo>
                    <a:pt x="4678" y="2405"/>
                  </a:lnTo>
                  <a:lnTo>
                    <a:pt x="4684" y="2412"/>
                  </a:lnTo>
                  <a:lnTo>
                    <a:pt x="4675" y="2423"/>
                  </a:lnTo>
                  <a:lnTo>
                    <a:pt x="4664" y="2437"/>
                  </a:lnTo>
                  <a:lnTo>
                    <a:pt x="4646" y="2449"/>
                  </a:lnTo>
                  <a:lnTo>
                    <a:pt x="4630" y="2469"/>
                  </a:lnTo>
                  <a:lnTo>
                    <a:pt x="4619" y="2470"/>
                  </a:lnTo>
                  <a:lnTo>
                    <a:pt x="4616" y="2475"/>
                  </a:lnTo>
                  <a:lnTo>
                    <a:pt x="4601" y="2475"/>
                  </a:lnTo>
                  <a:lnTo>
                    <a:pt x="4578" y="2474"/>
                  </a:lnTo>
                  <a:lnTo>
                    <a:pt x="4564" y="2481"/>
                  </a:lnTo>
                  <a:lnTo>
                    <a:pt x="4533" y="2487"/>
                  </a:lnTo>
                  <a:lnTo>
                    <a:pt x="4521" y="2496"/>
                  </a:lnTo>
                  <a:lnTo>
                    <a:pt x="4510" y="2512"/>
                  </a:lnTo>
                  <a:lnTo>
                    <a:pt x="4505" y="2511"/>
                  </a:lnTo>
                  <a:lnTo>
                    <a:pt x="4493" y="2531"/>
                  </a:lnTo>
                  <a:lnTo>
                    <a:pt x="4476" y="2554"/>
                  </a:lnTo>
                  <a:lnTo>
                    <a:pt x="4465" y="2560"/>
                  </a:lnTo>
                  <a:lnTo>
                    <a:pt x="4453" y="2574"/>
                  </a:lnTo>
                  <a:lnTo>
                    <a:pt x="4444" y="2579"/>
                  </a:lnTo>
                  <a:lnTo>
                    <a:pt x="4438" y="2579"/>
                  </a:lnTo>
                  <a:lnTo>
                    <a:pt x="4433" y="2574"/>
                  </a:lnTo>
                  <a:lnTo>
                    <a:pt x="4438" y="2563"/>
                  </a:lnTo>
                  <a:lnTo>
                    <a:pt x="4431" y="2566"/>
                  </a:lnTo>
                  <a:lnTo>
                    <a:pt x="4425" y="2577"/>
                  </a:lnTo>
                  <a:lnTo>
                    <a:pt x="4385" y="2583"/>
                  </a:lnTo>
                  <a:lnTo>
                    <a:pt x="4359" y="2593"/>
                  </a:lnTo>
                  <a:lnTo>
                    <a:pt x="4353" y="2590"/>
                  </a:lnTo>
                  <a:lnTo>
                    <a:pt x="4352" y="2584"/>
                  </a:lnTo>
                  <a:lnTo>
                    <a:pt x="4343" y="2579"/>
                  </a:lnTo>
                  <a:lnTo>
                    <a:pt x="4325" y="2577"/>
                  </a:lnTo>
                  <a:lnTo>
                    <a:pt x="4280" y="2577"/>
                  </a:lnTo>
                  <a:lnTo>
                    <a:pt x="4264" y="2581"/>
                  </a:lnTo>
                  <a:lnTo>
                    <a:pt x="4232" y="2574"/>
                  </a:lnTo>
                  <a:lnTo>
                    <a:pt x="4225" y="2574"/>
                  </a:lnTo>
                  <a:lnTo>
                    <a:pt x="4200" y="2572"/>
                  </a:lnTo>
                  <a:lnTo>
                    <a:pt x="4173" y="2579"/>
                  </a:lnTo>
                  <a:lnTo>
                    <a:pt x="4164" y="2577"/>
                  </a:lnTo>
                  <a:lnTo>
                    <a:pt x="4151" y="2577"/>
                  </a:lnTo>
                  <a:lnTo>
                    <a:pt x="4134" y="2579"/>
                  </a:lnTo>
                  <a:lnTo>
                    <a:pt x="4121" y="2577"/>
                  </a:lnTo>
                  <a:lnTo>
                    <a:pt x="4113" y="2581"/>
                  </a:lnTo>
                  <a:lnTo>
                    <a:pt x="4100" y="2581"/>
                  </a:lnTo>
                  <a:lnTo>
                    <a:pt x="4095" y="2583"/>
                  </a:lnTo>
                  <a:lnTo>
                    <a:pt x="4094" y="2590"/>
                  </a:lnTo>
                  <a:lnTo>
                    <a:pt x="4084" y="2589"/>
                  </a:lnTo>
                  <a:lnTo>
                    <a:pt x="4080" y="2593"/>
                  </a:lnTo>
                  <a:lnTo>
                    <a:pt x="4074" y="2597"/>
                  </a:lnTo>
                  <a:lnTo>
                    <a:pt x="4068" y="2604"/>
                  </a:lnTo>
                  <a:lnTo>
                    <a:pt x="4058" y="2617"/>
                  </a:lnTo>
                  <a:lnTo>
                    <a:pt x="4053" y="2635"/>
                  </a:lnTo>
                  <a:lnTo>
                    <a:pt x="4044" y="2654"/>
                  </a:lnTo>
                  <a:lnTo>
                    <a:pt x="4042" y="2657"/>
                  </a:lnTo>
                  <a:lnTo>
                    <a:pt x="4004" y="2659"/>
                  </a:lnTo>
                  <a:lnTo>
                    <a:pt x="3993" y="2670"/>
                  </a:lnTo>
                  <a:lnTo>
                    <a:pt x="3987" y="2670"/>
                  </a:lnTo>
                  <a:lnTo>
                    <a:pt x="3987" y="2675"/>
                  </a:lnTo>
                  <a:lnTo>
                    <a:pt x="3968" y="2694"/>
                  </a:lnTo>
                  <a:lnTo>
                    <a:pt x="3958" y="2699"/>
                  </a:lnTo>
                  <a:lnTo>
                    <a:pt x="3930" y="2743"/>
                  </a:lnTo>
                  <a:lnTo>
                    <a:pt x="3919" y="2751"/>
                  </a:lnTo>
                  <a:lnTo>
                    <a:pt x="3908" y="2753"/>
                  </a:lnTo>
                  <a:lnTo>
                    <a:pt x="3909" y="2769"/>
                  </a:lnTo>
                  <a:lnTo>
                    <a:pt x="3887" y="2810"/>
                  </a:lnTo>
                  <a:lnTo>
                    <a:pt x="3882" y="2810"/>
                  </a:lnTo>
                  <a:lnTo>
                    <a:pt x="3860" y="2832"/>
                  </a:lnTo>
                  <a:lnTo>
                    <a:pt x="3834" y="2858"/>
                  </a:lnTo>
                  <a:lnTo>
                    <a:pt x="3834" y="2861"/>
                  </a:lnTo>
                  <a:lnTo>
                    <a:pt x="3848" y="2858"/>
                  </a:lnTo>
                  <a:lnTo>
                    <a:pt x="3859" y="2851"/>
                  </a:lnTo>
                  <a:lnTo>
                    <a:pt x="3859" y="2847"/>
                  </a:lnTo>
                  <a:lnTo>
                    <a:pt x="3864" y="2845"/>
                  </a:lnTo>
                  <a:lnTo>
                    <a:pt x="3879" y="2827"/>
                  </a:lnTo>
                  <a:lnTo>
                    <a:pt x="3888" y="2814"/>
                  </a:lnTo>
                  <a:lnTo>
                    <a:pt x="3898" y="2805"/>
                  </a:lnTo>
                  <a:lnTo>
                    <a:pt x="3908" y="2794"/>
                  </a:lnTo>
                  <a:lnTo>
                    <a:pt x="3920" y="2770"/>
                  </a:lnTo>
                  <a:lnTo>
                    <a:pt x="3930" y="2761"/>
                  </a:lnTo>
                  <a:lnTo>
                    <a:pt x="3952" y="2739"/>
                  </a:lnTo>
                  <a:lnTo>
                    <a:pt x="3958" y="2735"/>
                  </a:lnTo>
                  <a:lnTo>
                    <a:pt x="3968" y="2733"/>
                  </a:lnTo>
                  <a:lnTo>
                    <a:pt x="3974" y="2726"/>
                  </a:lnTo>
                  <a:lnTo>
                    <a:pt x="3985" y="2718"/>
                  </a:lnTo>
                  <a:lnTo>
                    <a:pt x="3998" y="2713"/>
                  </a:lnTo>
                  <a:lnTo>
                    <a:pt x="4030" y="2694"/>
                  </a:lnTo>
                  <a:lnTo>
                    <a:pt x="4084" y="2670"/>
                  </a:lnTo>
                  <a:lnTo>
                    <a:pt x="4114" y="2663"/>
                  </a:lnTo>
                  <a:lnTo>
                    <a:pt x="4128" y="2664"/>
                  </a:lnTo>
                  <a:lnTo>
                    <a:pt x="4139" y="2662"/>
                  </a:lnTo>
                  <a:lnTo>
                    <a:pt x="4167" y="2664"/>
                  </a:lnTo>
                  <a:lnTo>
                    <a:pt x="4194" y="2676"/>
                  </a:lnTo>
                  <a:lnTo>
                    <a:pt x="4207" y="2685"/>
                  </a:lnTo>
                  <a:lnTo>
                    <a:pt x="4214" y="2701"/>
                  </a:lnTo>
                  <a:lnTo>
                    <a:pt x="4207" y="2697"/>
                  </a:lnTo>
                  <a:lnTo>
                    <a:pt x="4205" y="2700"/>
                  </a:lnTo>
                  <a:lnTo>
                    <a:pt x="4211" y="2707"/>
                  </a:lnTo>
                  <a:lnTo>
                    <a:pt x="4211" y="2723"/>
                  </a:lnTo>
                  <a:lnTo>
                    <a:pt x="4200" y="2733"/>
                  </a:lnTo>
                  <a:lnTo>
                    <a:pt x="4176" y="2753"/>
                  </a:lnTo>
                  <a:lnTo>
                    <a:pt x="4160" y="2761"/>
                  </a:lnTo>
                  <a:lnTo>
                    <a:pt x="4141" y="2760"/>
                  </a:lnTo>
                  <a:lnTo>
                    <a:pt x="4126" y="2753"/>
                  </a:lnTo>
                  <a:lnTo>
                    <a:pt x="4105" y="2756"/>
                  </a:lnTo>
                  <a:lnTo>
                    <a:pt x="4089" y="2762"/>
                  </a:lnTo>
                  <a:lnTo>
                    <a:pt x="4085" y="2765"/>
                  </a:lnTo>
                  <a:lnTo>
                    <a:pt x="4100" y="2765"/>
                  </a:lnTo>
                  <a:lnTo>
                    <a:pt x="4127" y="2773"/>
                  </a:lnTo>
                  <a:lnTo>
                    <a:pt x="4132" y="2787"/>
                  </a:lnTo>
                  <a:lnTo>
                    <a:pt x="4137" y="2791"/>
                  </a:lnTo>
                  <a:lnTo>
                    <a:pt x="4166" y="2776"/>
                  </a:lnTo>
                  <a:lnTo>
                    <a:pt x="4170" y="2777"/>
                  </a:lnTo>
                  <a:lnTo>
                    <a:pt x="4168" y="2782"/>
                  </a:lnTo>
                  <a:lnTo>
                    <a:pt x="4177" y="2783"/>
                  </a:lnTo>
                  <a:lnTo>
                    <a:pt x="4183" y="2788"/>
                  </a:lnTo>
                  <a:lnTo>
                    <a:pt x="4182" y="2798"/>
                  </a:lnTo>
                  <a:lnTo>
                    <a:pt x="4173" y="2823"/>
                  </a:lnTo>
                  <a:lnTo>
                    <a:pt x="4157" y="2839"/>
                  </a:lnTo>
                  <a:lnTo>
                    <a:pt x="4157" y="2841"/>
                  </a:lnTo>
                  <a:lnTo>
                    <a:pt x="4165" y="2840"/>
                  </a:lnTo>
                  <a:lnTo>
                    <a:pt x="4180" y="2842"/>
                  </a:lnTo>
                  <a:lnTo>
                    <a:pt x="4178" y="2862"/>
                  </a:lnTo>
                  <a:lnTo>
                    <a:pt x="4180" y="2870"/>
                  </a:lnTo>
                  <a:lnTo>
                    <a:pt x="4184" y="2879"/>
                  </a:lnTo>
                  <a:lnTo>
                    <a:pt x="4188" y="2889"/>
                  </a:lnTo>
                  <a:lnTo>
                    <a:pt x="4193" y="2896"/>
                  </a:lnTo>
                  <a:lnTo>
                    <a:pt x="4199" y="2902"/>
                  </a:lnTo>
                  <a:lnTo>
                    <a:pt x="4198" y="2906"/>
                  </a:lnTo>
                  <a:lnTo>
                    <a:pt x="4215" y="2907"/>
                  </a:lnTo>
                  <a:lnTo>
                    <a:pt x="4236" y="2917"/>
                  </a:lnTo>
                  <a:lnTo>
                    <a:pt x="4240" y="2921"/>
                  </a:lnTo>
                  <a:lnTo>
                    <a:pt x="4231" y="2926"/>
                  </a:lnTo>
                  <a:lnTo>
                    <a:pt x="4230" y="2932"/>
                  </a:lnTo>
                  <a:lnTo>
                    <a:pt x="4239" y="2936"/>
                  </a:lnTo>
                  <a:lnTo>
                    <a:pt x="4250" y="2937"/>
                  </a:lnTo>
                  <a:lnTo>
                    <a:pt x="4266" y="2943"/>
                  </a:lnTo>
                  <a:lnTo>
                    <a:pt x="4294" y="2947"/>
                  </a:lnTo>
                  <a:lnTo>
                    <a:pt x="4297" y="2953"/>
                  </a:lnTo>
                  <a:lnTo>
                    <a:pt x="4320" y="2950"/>
                  </a:lnTo>
                  <a:lnTo>
                    <a:pt x="4339" y="2937"/>
                  </a:lnTo>
                  <a:lnTo>
                    <a:pt x="4344" y="2947"/>
                  </a:lnTo>
                  <a:lnTo>
                    <a:pt x="4342" y="2955"/>
                  </a:lnTo>
                  <a:lnTo>
                    <a:pt x="4348" y="2954"/>
                  </a:lnTo>
                  <a:lnTo>
                    <a:pt x="4358" y="2955"/>
                  </a:lnTo>
                  <a:lnTo>
                    <a:pt x="4368" y="2954"/>
                  </a:lnTo>
                  <a:lnTo>
                    <a:pt x="4375" y="2963"/>
                  </a:lnTo>
                  <a:lnTo>
                    <a:pt x="4379" y="2968"/>
                  </a:lnTo>
                  <a:lnTo>
                    <a:pt x="4372" y="2971"/>
                  </a:lnTo>
                  <a:lnTo>
                    <a:pt x="4371" y="2977"/>
                  </a:lnTo>
                  <a:lnTo>
                    <a:pt x="4387" y="2979"/>
                  </a:lnTo>
                  <a:lnTo>
                    <a:pt x="4391" y="2981"/>
                  </a:lnTo>
                  <a:lnTo>
                    <a:pt x="4385" y="2986"/>
                  </a:lnTo>
                  <a:lnTo>
                    <a:pt x="4375" y="2985"/>
                  </a:lnTo>
                  <a:lnTo>
                    <a:pt x="4366" y="2991"/>
                  </a:lnTo>
                  <a:lnTo>
                    <a:pt x="4359" y="2988"/>
                  </a:lnTo>
                  <a:lnTo>
                    <a:pt x="4345" y="2997"/>
                  </a:lnTo>
                  <a:lnTo>
                    <a:pt x="4325" y="3006"/>
                  </a:lnTo>
                  <a:lnTo>
                    <a:pt x="4316" y="3012"/>
                  </a:lnTo>
                  <a:lnTo>
                    <a:pt x="4311" y="3013"/>
                  </a:lnTo>
                  <a:lnTo>
                    <a:pt x="4309" y="3018"/>
                  </a:lnTo>
                  <a:lnTo>
                    <a:pt x="4300" y="3017"/>
                  </a:lnTo>
                  <a:lnTo>
                    <a:pt x="4289" y="3025"/>
                  </a:lnTo>
                  <a:lnTo>
                    <a:pt x="4279" y="3026"/>
                  </a:lnTo>
                  <a:lnTo>
                    <a:pt x="4277" y="3024"/>
                  </a:lnTo>
                  <a:lnTo>
                    <a:pt x="4269" y="3028"/>
                  </a:lnTo>
                  <a:lnTo>
                    <a:pt x="4262" y="3033"/>
                  </a:lnTo>
                  <a:lnTo>
                    <a:pt x="4250" y="3028"/>
                  </a:lnTo>
                  <a:lnTo>
                    <a:pt x="4252" y="3041"/>
                  </a:lnTo>
                  <a:lnTo>
                    <a:pt x="4251" y="3046"/>
                  </a:lnTo>
                  <a:lnTo>
                    <a:pt x="4239" y="3046"/>
                  </a:lnTo>
                  <a:lnTo>
                    <a:pt x="4232" y="3038"/>
                  </a:lnTo>
                  <a:lnTo>
                    <a:pt x="4232" y="3033"/>
                  </a:lnTo>
                  <a:lnTo>
                    <a:pt x="4224" y="3046"/>
                  </a:lnTo>
                  <a:lnTo>
                    <a:pt x="4220" y="3038"/>
                  </a:lnTo>
                  <a:lnTo>
                    <a:pt x="4215" y="3047"/>
                  </a:lnTo>
                  <a:lnTo>
                    <a:pt x="4213" y="3061"/>
                  </a:lnTo>
                  <a:lnTo>
                    <a:pt x="4203" y="3068"/>
                  </a:lnTo>
                  <a:lnTo>
                    <a:pt x="4189" y="3085"/>
                  </a:lnTo>
                  <a:lnTo>
                    <a:pt x="4187" y="3090"/>
                  </a:lnTo>
                  <a:lnTo>
                    <a:pt x="4176" y="3095"/>
                  </a:lnTo>
                  <a:lnTo>
                    <a:pt x="4170" y="3108"/>
                  </a:lnTo>
                  <a:lnTo>
                    <a:pt x="4162" y="3104"/>
                  </a:lnTo>
                  <a:lnTo>
                    <a:pt x="4156" y="3106"/>
                  </a:lnTo>
                  <a:lnTo>
                    <a:pt x="4155" y="3117"/>
                  </a:lnTo>
                  <a:lnTo>
                    <a:pt x="4149" y="3121"/>
                  </a:lnTo>
                  <a:lnTo>
                    <a:pt x="4145" y="3121"/>
                  </a:lnTo>
                  <a:lnTo>
                    <a:pt x="4134" y="3119"/>
                  </a:lnTo>
                  <a:lnTo>
                    <a:pt x="4129" y="3105"/>
                  </a:lnTo>
                  <a:lnTo>
                    <a:pt x="4124" y="3098"/>
                  </a:lnTo>
                  <a:lnTo>
                    <a:pt x="4116" y="3098"/>
                  </a:lnTo>
                  <a:lnTo>
                    <a:pt x="4111" y="3083"/>
                  </a:lnTo>
                  <a:lnTo>
                    <a:pt x="4110" y="3068"/>
                  </a:lnTo>
                  <a:lnTo>
                    <a:pt x="4112" y="3056"/>
                  </a:lnTo>
                  <a:lnTo>
                    <a:pt x="4124" y="3038"/>
                  </a:lnTo>
                  <a:lnTo>
                    <a:pt x="4119" y="3044"/>
                  </a:lnTo>
                  <a:lnTo>
                    <a:pt x="4108" y="3050"/>
                  </a:lnTo>
                  <a:lnTo>
                    <a:pt x="4111" y="3042"/>
                  </a:lnTo>
                  <a:lnTo>
                    <a:pt x="4127" y="3030"/>
                  </a:lnTo>
                  <a:lnTo>
                    <a:pt x="4133" y="3031"/>
                  </a:lnTo>
                  <a:lnTo>
                    <a:pt x="4143" y="3026"/>
                  </a:lnTo>
                  <a:lnTo>
                    <a:pt x="4143" y="3020"/>
                  </a:lnTo>
                  <a:lnTo>
                    <a:pt x="4166" y="3004"/>
                  </a:lnTo>
                  <a:lnTo>
                    <a:pt x="4189" y="2990"/>
                  </a:lnTo>
                  <a:lnTo>
                    <a:pt x="4203" y="2982"/>
                  </a:lnTo>
                  <a:lnTo>
                    <a:pt x="4207" y="2987"/>
                  </a:lnTo>
                  <a:lnTo>
                    <a:pt x="4209" y="2995"/>
                  </a:lnTo>
                  <a:lnTo>
                    <a:pt x="4218" y="2999"/>
                  </a:lnTo>
                  <a:lnTo>
                    <a:pt x="4227" y="2988"/>
                  </a:lnTo>
                  <a:lnTo>
                    <a:pt x="4237" y="2983"/>
                  </a:lnTo>
                  <a:lnTo>
                    <a:pt x="4261" y="2980"/>
                  </a:lnTo>
                  <a:lnTo>
                    <a:pt x="4262" y="2975"/>
                  </a:lnTo>
                  <a:lnTo>
                    <a:pt x="4247" y="2974"/>
                  </a:lnTo>
                  <a:lnTo>
                    <a:pt x="4232" y="2977"/>
                  </a:lnTo>
                  <a:lnTo>
                    <a:pt x="4207" y="2972"/>
                  </a:lnTo>
                  <a:lnTo>
                    <a:pt x="4194" y="2979"/>
                  </a:lnTo>
                  <a:lnTo>
                    <a:pt x="4183" y="2980"/>
                  </a:lnTo>
                  <a:lnTo>
                    <a:pt x="4182" y="2968"/>
                  </a:lnTo>
                  <a:lnTo>
                    <a:pt x="4196" y="2958"/>
                  </a:lnTo>
                  <a:lnTo>
                    <a:pt x="4207" y="2943"/>
                  </a:lnTo>
                  <a:lnTo>
                    <a:pt x="4199" y="2943"/>
                  </a:lnTo>
                  <a:lnTo>
                    <a:pt x="4197" y="2936"/>
                  </a:lnTo>
                  <a:lnTo>
                    <a:pt x="4187" y="2953"/>
                  </a:lnTo>
                  <a:lnTo>
                    <a:pt x="4176" y="2955"/>
                  </a:lnTo>
                  <a:lnTo>
                    <a:pt x="4144" y="2980"/>
                  </a:lnTo>
                  <a:lnTo>
                    <a:pt x="4134" y="2985"/>
                  </a:lnTo>
                  <a:lnTo>
                    <a:pt x="4124" y="2986"/>
                  </a:lnTo>
                  <a:lnTo>
                    <a:pt x="4116" y="2985"/>
                  </a:lnTo>
                  <a:lnTo>
                    <a:pt x="4110" y="2991"/>
                  </a:lnTo>
                  <a:lnTo>
                    <a:pt x="4101" y="2996"/>
                  </a:lnTo>
                  <a:lnTo>
                    <a:pt x="4079" y="2999"/>
                  </a:lnTo>
                  <a:lnTo>
                    <a:pt x="4074" y="2998"/>
                  </a:lnTo>
                  <a:lnTo>
                    <a:pt x="4068" y="2995"/>
                  </a:lnTo>
                  <a:lnTo>
                    <a:pt x="4058" y="2992"/>
                  </a:lnTo>
                  <a:lnTo>
                    <a:pt x="4057" y="2996"/>
                  </a:lnTo>
                  <a:lnTo>
                    <a:pt x="4052" y="2996"/>
                  </a:lnTo>
                  <a:lnTo>
                    <a:pt x="4043" y="2995"/>
                  </a:lnTo>
                  <a:lnTo>
                    <a:pt x="4035" y="2988"/>
                  </a:lnTo>
                  <a:lnTo>
                    <a:pt x="4032" y="2983"/>
                  </a:lnTo>
                  <a:lnTo>
                    <a:pt x="4031" y="2979"/>
                  </a:lnTo>
                  <a:lnTo>
                    <a:pt x="4031" y="2963"/>
                  </a:lnTo>
                  <a:lnTo>
                    <a:pt x="4016" y="2955"/>
                  </a:lnTo>
                  <a:lnTo>
                    <a:pt x="4016" y="2899"/>
                  </a:lnTo>
                  <a:lnTo>
                    <a:pt x="4016" y="2848"/>
                  </a:lnTo>
                  <a:lnTo>
                    <a:pt x="3990" y="2823"/>
                  </a:lnTo>
                  <a:lnTo>
                    <a:pt x="3983" y="2823"/>
                  </a:lnTo>
                  <a:lnTo>
                    <a:pt x="3976" y="2834"/>
                  </a:lnTo>
                  <a:lnTo>
                    <a:pt x="3958" y="2837"/>
                  </a:lnTo>
                  <a:lnTo>
                    <a:pt x="3946" y="2832"/>
                  </a:lnTo>
                  <a:lnTo>
                    <a:pt x="3944" y="2829"/>
                  </a:lnTo>
                  <a:lnTo>
                    <a:pt x="3941" y="2823"/>
                  </a:lnTo>
                  <a:lnTo>
                    <a:pt x="3934" y="2816"/>
                  </a:lnTo>
                  <a:lnTo>
                    <a:pt x="3928" y="2815"/>
                  </a:lnTo>
                  <a:lnTo>
                    <a:pt x="3922" y="2819"/>
                  </a:lnTo>
                  <a:lnTo>
                    <a:pt x="3895" y="2864"/>
                  </a:lnTo>
                  <a:lnTo>
                    <a:pt x="3891" y="2888"/>
                  </a:lnTo>
                  <a:lnTo>
                    <a:pt x="3885" y="2900"/>
                  </a:lnTo>
                  <a:lnTo>
                    <a:pt x="3884" y="2906"/>
                  </a:lnTo>
                  <a:lnTo>
                    <a:pt x="3879" y="2915"/>
                  </a:lnTo>
                  <a:lnTo>
                    <a:pt x="3876" y="2922"/>
                  </a:lnTo>
                  <a:lnTo>
                    <a:pt x="3872" y="2958"/>
                  </a:lnTo>
                  <a:lnTo>
                    <a:pt x="3871" y="2960"/>
                  </a:lnTo>
                  <a:lnTo>
                    <a:pt x="3864" y="2965"/>
                  </a:lnTo>
                  <a:lnTo>
                    <a:pt x="3861" y="2970"/>
                  </a:lnTo>
                  <a:lnTo>
                    <a:pt x="3860" y="2975"/>
                  </a:lnTo>
                  <a:lnTo>
                    <a:pt x="3861" y="2981"/>
                  </a:lnTo>
                  <a:lnTo>
                    <a:pt x="3861" y="2983"/>
                  </a:lnTo>
                  <a:lnTo>
                    <a:pt x="3854" y="2980"/>
                  </a:lnTo>
                  <a:lnTo>
                    <a:pt x="3853" y="2981"/>
                  </a:lnTo>
                  <a:lnTo>
                    <a:pt x="3853" y="2987"/>
                  </a:lnTo>
                  <a:lnTo>
                    <a:pt x="3842" y="2983"/>
                  </a:lnTo>
                  <a:lnTo>
                    <a:pt x="3833" y="2986"/>
                  </a:lnTo>
                  <a:lnTo>
                    <a:pt x="3831" y="2988"/>
                  </a:lnTo>
                  <a:lnTo>
                    <a:pt x="3818" y="2990"/>
                  </a:lnTo>
                  <a:lnTo>
                    <a:pt x="3815" y="2993"/>
                  </a:lnTo>
                  <a:lnTo>
                    <a:pt x="3809" y="3009"/>
                  </a:lnTo>
                  <a:lnTo>
                    <a:pt x="3807" y="3009"/>
                  </a:lnTo>
                  <a:lnTo>
                    <a:pt x="3709" y="3009"/>
                  </a:lnTo>
                  <a:lnTo>
                    <a:pt x="3634" y="3009"/>
                  </a:lnTo>
                  <a:lnTo>
                    <a:pt x="3619" y="3009"/>
                  </a:lnTo>
                  <a:lnTo>
                    <a:pt x="3603" y="3024"/>
                  </a:lnTo>
                  <a:lnTo>
                    <a:pt x="3584" y="3035"/>
                  </a:lnTo>
                  <a:lnTo>
                    <a:pt x="3581" y="3040"/>
                  </a:lnTo>
                  <a:lnTo>
                    <a:pt x="3580" y="3041"/>
                  </a:lnTo>
                  <a:lnTo>
                    <a:pt x="3567" y="3056"/>
                  </a:lnTo>
                  <a:lnTo>
                    <a:pt x="3554" y="3058"/>
                  </a:lnTo>
                  <a:lnTo>
                    <a:pt x="3524" y="3072"/>
                  </a:lnTo>
                  <a:lnTo>
                    <a:pt x="3514" y="3078"/>
                  </a:lnTo>
                  <a:lnTo>
                    <a:pt x="3511" y="3071"/>
                  </a:lnTo>
                  <a:lnTo>
                    <a:pt x="3508" y="3071"/>
                  </a:lnTo>
                  <a:lnTo>
                    <a:pt x="3499" y="3072"/>
                  </a:lnTo>
                  <a:lnTo>
                    <a:pt x="3498" y="3076"/>
                  </a:lnTo>
                  <a:lnTo>
                    <a:pt x="3503" y="3076"/>
                  </a:lnTo>
                  <a:lnTo>
                    <a:pt x="3509" y="3087"/>
                  </a:lnTo>
                  <a:lnTo>
                    <a:pt x="3510" y="3092"/>
                  </a:lnTo>
                  <a:lnTo>
                    <a:pt x="3501" y="3093"/>
                  </a:lnTo>
                  <a:lnTo>
                    <a:pt x="3497" y="3089"/>
                  </a:lnTo>
                  <a:lnTo>
                    <a:pt x="3485" y="3088"/>
                  </a:lnTo>
                  <a:lnTo>
                    <a:pt x="3479" y="3085"/>
                  </a:lnTo>
                  <a:lnTo>
                    <a:pt x="3466" y="3084"/>
                  </a:lnTo>
                  <a:lnTo>
                    <a:pt x="3449" y="3085"/>
                  </a:lnTo>
                  <a:lnTo>
                    <a:pt x="3392" y="3103"/>
                  </a:lnTo>
                  <a:lnTo>
                    <a:pt x="3377" y="3114"/>
                  </a:lnTo>
                  <a:lnTo>
                    <a:pt x="3371" y="3119"/>
                  </a:lnTo>
                  <a:lnTo>
                    <a:pt x="3369" y="3125"/>
                  </a:lnTo>
                  <a:lnTo>
                    <a:pt x="3358" y="3138"/>
                  </a:lnTo>
                  <a:lnTo>
                    <a:pt x="3380" y="3146"/>
                  </a:lnTo>
                  <a:lnTo>
                    <a:pt x="3388" y="3143"/>
                  </a:lnTo>
                  <a:lnTo>
                    <a:pt x="3398" y="3142"/>
                  </a:lnTo>
                  <a:lnTo>
                    <a:pt x="3401" y="3152"/>
                  </a:lnTo>
                  <a:lnTo>
                    <a:pt x="3406" y="3159"/>
                  </a:lnTo>
                  <a:lnTo>
                    <a:pt x="3408" y="3171"/>
                  </a:lnTo>
                  <a:lnTo>
                    <a:pt x="3386" y="3168"/>
                  </a:lnTo>
                  <a:lnTo>
                    <a:pt x="3379" y="3168"/>
                  </a:lnTo>
                  <a:lnTo>
                    <a:pt x="3368" y="3169"/>
                  </a:lnTo>
                  <a:lnTo>
                    <a:pt x="3363" y="3169"/>
                  </a:lnTo>
                  <a:lnTo>
                    <a:pt x="3344" y="3173"/>
                  </a:lnTo>
                  <a:lnTo>
                    <a:pt x="3332" y="3178"/>
                  </a:lnTo>
                  <a:lnTo>
                    <a:pt x="3317" y="3191"/>
                  </a:lnTo>
                  <a:lnTo>
                    <a:pt x="3305" y="3187"/>
                  </a:lnTo>
                  <a:lnTo>
                    <a:pt x="3285" y="3184"/>
                  </a:lnTo>
                  <a:lnTo>
                    <a:pt x="3266" y="3190"/>
                  </a:lnTo>
                  <a:lnTo>
                    <a:pt x="3261" y="3194"/>
                  </a:lnTo>
                  <a:lnTo>
                    <a:pt x="3256" y="3196"/>
                  </a:lnTo>
                  <a:lnTo>
                    <a:pt x="3248" y="3211"/>
                  </a:lnTo>
                  <a:lnTo>
                    <a:pt x="3246" y="3209"/>
                  </a:lnTo>
                  <a:lnTo>
                    <a:pt x="3234" y="3214"/>
                  </a:lnTo>
                  <a:lnTo>
                    <a:pt x="3228" y="3219"/>
                  </a:lnTo>
                  <a:lnTo>
                    <a:pt x="3218" y="3227"/>
                  </a:lnTo>
                  <a:lnTo>
                    <a:pt x="3213" y="3232"/>
                  </a:lnTo>
                  <a:lnTo>
                    <a:pt x="3212" y="3236"/>
                  </a:lnTo>
                  <a:lnTo>
                    <a:pt x="3197" y="3233"/>
                  </a:lnTo>
                  <a:lnTo>
                    <a:pt x="3191" y="3235"/>
                  </a:lnTo>
                  <a:lnTo>
                    <a:pt x="3175" y="3234"/>
                  </a:lnTo>
                  <a:lnTo>
                    <a:pt x="3175" y="3223"/>
                  </a:lnTo>
                  <a:lnTo>
                    <a:pt x="3180" y="3211"/>
                  </a:lnTo>
                  <a:lnTo>
                    <a:pt x="3186" y="3206"/>
                  </a:lnTo>
                  <a:lnTo>
                    <a:pt x="3187" y="3209"/>
                  </a:lnTo>
                  <a:lnTo>
                    <a:pt x="3198" y="3212"/>
                  </a:lnTo>
                  <a:lnTo>
                    <a:pt x="3207" y="3211"/>
                  </a:lnTo>
                  <a:lnTo>
                    <a:pt x="3210" y="3208"/>
                  </a:lnTo>
                  <a:lnTo>
                    <a:pt x="3212" y="3205"/>
                  </a:lnTo>
                  <a:lnTo>
                    <a:pt x="3213" y="3201"/>
                  </a:lnTo>
                  <a:lnTo>
                    <a:pt x="3212" y="3197"/>
                  </a:lnTo>
                  <a:lnTo>
                    <a:pt x="3207" y="3195"/>
                  </a:lnTo>
                  <a:lnTo>
                    <a:pt x="3205" y="3187"/>
                  </a:lnTo>
                  <a:lnTo>
                    <a:pt x="3213" y="3160"/>
                  </a:lnTo>
                  <a:lnTo>
                    <a:pt x="3213" y="3153"/>
                  </a:lnTo>
                  <a:lnTo>
                    <a:pt x="3223" y="3153"/>
                  </a:lnTo>
                  <a:lnTo>
                    <a:pt x="3228" y="3148"/>
                  </a:lnTo>
                  <a:lnTo>
                    <a:pt x="3230" y="3143"/>
                  </a:lnTo>
                  <a:lnTo>
                    <a:pt x="3239" y="3142"/>
                  </a:lnTo>
                  <a:lnTo>
                    <a:pt x="3247" y="3132"/>
                  </a:lnTo>
                  <a:lnTo>
                    <a:pt x="3251" y="3116"/>
                  </a:lnTo>
                  <a:lnTo>
                    <a:pt x="3250" y="3100"/>
                  </a:lnTo>
                  <a:lnTo>
                    <a:pt x="3248" y="3084"/>
                  </a:lnTo>
                  <a:lnTo>
                    <a:pt x="3248" y="3072"/>
                  </a:lnTo>
                  <a:lnTo>
                    <a:pt x="3266" y="3044"/>
                  </a:lnTo>
                  <a:lnTo>
                    <a:pt x="3269" y="3035"/>
                  </a:lnTo>
                  <a:lnTo>
                    <a:pt x="3271" y="3028"/>
                  </a:lnTo>
                  <a:lnTo>
                    <a:pt x="3271" y="3020"/>
                  </a:lnTo>
                  <a:lnTo>
                    <a:pt x="3267" y="3008"/>
                  </a:lnTo>
                  <a:lnTo>
                    <a:pt x="3261" y="2995"/>
                  </a:lnTo>
                  <a:lnTo>
                    <a:pt x="3257" y="2993"/>
                  </a:lnTo>
                  <a:lnTo>
                    <a:pt x="3255" y="2987"/>
                  </a:lnTo>
                  <a:lnTo>
                    <a:pt x="3257" y="2986"/>
                  </a:lnTo>
                  <a:lnTo>
                    <a:pt x="3273" y="2988"/>
                  </a:lnTo>
                  <a:lnTo>
                    <a:pt x="3275" y="3002"/>
                  </a:lnTo>
                  <a:lnTo>
                    <a:pt x="3282" y="3014"/>
                  </a:lnTo>
                  <a:lnTo>
                    <a:pt x="3284" y="3015"/>
                  </a:lnTo>
                  <a:lnTo>
                    <a:pt x="3286" y="3012"/>
                  </a:lnTo>
                  <a:lnTo>
                    <a:pt x="3290" y="3009"/>
                  </a:lnTo>
                  <a:lnTo>
                    <a:pt x="3288" y="3023"/>
                  </a:lnTo>
                  <a:lnTo>
                    <a:pt x="3293" y="3023"/>
                  </a:lnTo>
                  <a:lnTo>
                    <a:pt x="3294" y="3031"/>
                  </a:lnTo>
                  <a:lnTo>
                    <a:pt x="3294" y="3038"/>
                  </a:lnTo>
                  <a:lnTo>
                    <a:pt x="3302" y="3029"/>
                  </a:lnTo>
                  <a:lnTo>
                    <a:pt x="3305" y="3028"/>
                  </a:lnTo>
                  <a:lnTo>
                    <a:pt x="3310" y="3036"/>
                  </a:lnTo>
                  <a:lnTo>
                    <a:pt x="3315" y="3039"/>
                  </a:lnTo>
                  <a:lnTo>
                    <a:pt x="3327" y="3044"/>
                  </a:lnTo>
                  <a:lnTo>
                    <a:pt x="3342" y="3044"/>
                  </a:lnTo>
                  <a:lnTo>
                    <a:pt x="3345" y="3038"/>
                  </a:lnTo>
                  <a:lnTo>
                    <a:pt x="3345" y="3033"/>
                  </a:lnTo>
                  <a:lnTo>
                    <a:pt x="3341" y="3023"/>
                  </a:lnTo>
                  <a:lnTo>
                    <a:pt x="3342" y="3018"/>
                  </a:lnTo>
                  <a:lnTo>
                    <a:pt x="3344" y="3017"/>
                  </a:lnTo>
                  <a:lnTo>
                    <a:pt x="3350" y="3023"/>
                  </a:lnTo>
                  <a:lnTo>
                    <a:pt x="3359" y="3023"/>
                  </a:lnTo>
                  <a:lnTo>
                    <a:pt x="3363" y="3020"/>
                  </a:lnTo>
                  <a:lnTo>
                    <a:pt x="3363" y="3019"/>
                  </a:lnTo>
                  <a:lnTo>
                    <a:pt x="3361" y="3015"/>
                  </a:lnTo>
                  <a:lnTo>
                    <a:pt x="3360" y="3013"/>
                  </a:lnTo>
                  <a:lnTo>
                    <a:pt x="3350" y="3009"/>
                  </a:lnTo>
                  <a:lnTo>
                    <a:pt x="3343" y="2997"/>
                  </a:lnTo>
                  <a:lnTo>
                    <a:pt x="3345" y="2995"/>
                  </a:lnTo>
                  <a:lnTo>
                    <a:pt x="3343" y="2986"/>
                  </a:lnTo>
                  <a:lnTo>
                    <a:pt x="3343" y="2979"/>
                  </a:lnTo>
                  <a:lnTo>
                    <a:pt x="3337" y="2979"/>
                  </a:lnTo>
                  <a:lnTo>
                    <a:pt x="3331" y="2975"/>
                  </a:lnTo>
                  <a:lnTo>
                    <a:pt x="3326" y="2968"/>
                  </a:lnTo>
                  <a:lnTo>
                    <a:pt x="3316" y="2960"/>
                  </a:lnTo>
                  <a:lnTo>
                    <a:pt x="3311" y="2942"/>
                  </a:lnTo>
                  <a:lnTo>
                    <a:pt x="3301" y="2936"/>
                  </a:lnTo>
                  <a:lnTo>
                    <a:pt x="3291" y="2933"/>
                  </a:lnTo>
                  <a:lnTo>
                    <a:pt x="3272" y="2931"/>
                  </a:lnTo>
                  <a:lnTo>
                    <a:pt x="3259" y="2933"/>
                  </a:lnTo>
                  <a:lnTo>
                    <a:pt x="3258" y="2928"/>
                  </a:lnTo>
                  <a:lnTo>
                    <a:pt x="3258" y="2923"/>
                  </a:lnTo>
                  <a:lnTo>
                    <a:pt x="3246" y="2925"/>
                  </a:lnTo>
                  <a:lnTo>
                    <a:pt x="3231" y="2923"/>
                  </a:lnTo>
                  <a:lnTo>
                    <a:pt x="3214" y="2920"/>
                  </a:lnTo>
                  <a:lnTo>
                    <a:pt x="3209" y="2917"/>
                  </a:lnTo>
                  <a:lnTo>
                    <a:pt x="3205" y="2918"/>
                  </a:lnTo>
                  <a:lnTo>
                    <a:pt x="3198" y="2917"/>
                  </a:lnTo>
                  <a:lnTo>
                    <a:pt x="3193" y="2912"/>
                  </a:lnTo>
                  <a:lnTo>
                    <a:pt x="3181" y="2915"/>
                  </a:lnTo>
                  <a:lnTo>
                    <a:pt x="3177" y="2917"/>
                  </a:lnTo>
                  <a:lnTo>
                    <a:pt x="3171" y="2916"/>
                  </a:lnTo>
                  <a:lnTo>
                    <a:pt x="3138" y="2904"/>
                  </a:lnTo>
                  <a:lnTo>
                    <a:pt x="3126" y="2905"/>
                  </a:lnTo>
                  <a:lnTo>
                    <a:pt x="3119" y="2906"/>
                  </a:lnTo>
                  <a:lnTo>
                    <a:pt x="3119" y="2899"/>
                  </a:lnTo>
                  <a:lnTo>
                    <a:pt x="3111" y="2884"/>
                  </a:lnTo>
                  <a:lnTo>
                    <a:pt x="3108" y="2882"/>
                  </a:lnTo>
                  <a:lnTo>
                    <a:pt x="3107" y="2883"/>
                  </a:lnTo>
                  <a:lnTo>
                    <a:pt x="3106" y="2886"/>
                  </a:lnTo>
                  <a:lnTo>
                    <a:pt x="3106" y="2891"/>
                  </a:lnTo>
                  <a:lnTo>
                    <a:pt x="3099" y="2891"/>
                  </a:lnTo>
                  <a:lnTo>
                    <a:pt x="3101" y="2890"/>
                  </a:lnTo>
                  <a:lnTo>
                    <a:pt x="3101" y="2889"/>
                  </a:lnTo>
                  <a:lnTo>
                    <a:pt x="3099" y="2888"/>
                  </a:lnTo>
                  <a:lnTo>
                    <a:pt x="3096" y="2880"/>
                  </a:lnTo>
                  <a:lnTo>
                    <a:pt x="3100" y="2873"/>
                  </a:lnTo>
                  <a:lnTo>
                    <a:pt x="3097" y="2873"/>
                  </a:lnTo>
                  <a:lnTo>
                    <a:pt x="3096" y="2868"/>
                  </a:lnTo>
                  <a:lnTo>
                    <a:pt x="3102" y="2861"/>
                  </a:lnTo>
                  <a:lnTo>
                    <a:pt x="3089" y="2853"/>
                  </a:lnTo>
                  <a:lnTo>
                    <a:pt x="3085" y="2840"/>
                  </a:lnTo>
                  <a:lnTo>
                    <a:pt x="3090" y="2824"/>
                  </a:lnTo>
                  <a:lnTo>
                    <a:pt x="3075" y="2805"/>
                  </a:lnTo>
                  <a:lnTo>
                    <a:pt x="3072" y="2798"/>
                  </a:lnTo>
                  <a:lnTo>
                    <a:pt x="3074" y="2781"/>
                  </a:lnTo>
                  <a:lnTo>
                    <a:pt x="3076" y="2770"/>
                  </a:lnTo>
                  <a:lnTo>
                    <a:pt x="3053" y="2773"/>
                  </a:lnTo>
                  <a:lnTo>
                    <a:pt x="3031" y="2775"/>
                  </a:lnTo>
                  <a:lnTo>
                    <a:pt x="3020" y="2766"/>
                  </a:lnTo>
                  <a:lnTo>
                    <a:pt x="3005" y="2733"/>
                  </a:lnTo>
                  <a:lnTo>
                    <a:pt x="2999" y="2717"/>
                  </a:lnTo>
                  <a:lnTo>
                    <a:pt x="2994" y="2710"/>
                  </a:lnTo>
                  <a:lnTo>
                    <a:pt x="2986" y="2710"/>
                  </a:lnTo>
                  <a:lnTo>
                    <a:pt x="2972" y="2705"/>
                  </a:lnTo>
                  <a:lnTo>
                    <a:pt x="2957" y="2705"/>
                  </a:lnTo>
                  <a:lnTo>
                    <a:pt x="2957" y="2744"/>
                  </a:lnTo>
                  <a:lnTo>
                    <a:pt x="2938" y="2699"/>
                  </a:lnTo>
                  <a:lnTo>
                    <a:pt x="2903" y="2686"/>
                  </a:lnTo>
                  <a:lnTo>
                    <a:pt x="2898" y="2690"/>
                  </a:lnTo>
                  <a:lnTo>
                    <a:pt x="2897" y="2692"/>
                  </a:lnTo>
                  <a:lnTo>
                    <a:pt x="2898" y="2712"/>
                  </a:lnTo>
                  <a:lnTo>
                    <a:pt x="2897" y="2716"/>
                  </a:lnTo>
                  <a:lnTo>
                    <a:pt x="2888" y="2722"/>
                  </a:lnTo>
                  <a:lnTo>
                    <a:pt x="2884" y="2730"/>
                  </a:lnTo>
                  <a:lnTo>
                    <a:pt x="2880" y="2733"/>
                  </a:lnTo>
                  <a:lnTo>
                    <a:pt x="2877" y="2726"/>
                  </a:lnTo>
                  <a:lnTo>
                    <a:pt x="2882" y="2716"/>
                  </a:lnTo>
                  <a:lnTo>
                    <a:pt x="2885" y="2707"/>
                  </a:lnTo>
                  <a:lnTo>
                    <a:pt x="2884" y="2702"/>
                  </a:lnTo>
                  <a:lnTo>
                    <a:pt x="2879" y="2711"/>
                  </a:lnTo>
                  <a:lnTo>
                    <a:pt x="2869" y="2734"/>
                  </a:lnTo>
                  <a:lnTo>
                    <a:pt x="2866" y="2738"/>
                  </a:lnTo>
                  <a:lnTo>
                    <a:pt x="2860" y="2740"/>
                  </a:lnTo>
                  <a:lnTo>
                    <a:pt x="2858" y="2732"/>
                  </a:lnTo>
                  <a:lnTo>
                    <a:pt x="2859" y="2721"/>
                  </a:lnTo>
                  <a:lnTo>
                    <a:pt x="2845" y="2738"/>
                  </a:lnTo>
                  <a:lnTo>
                    <a:pt x="2839" y="2753"/>
                  </a:lnTo>
                  <a:lnTo>
                    <a:pt x="2834" y="2756"/>
                  </a:lnTo>
                  <a:lnTo>
                    <a:pt x="2833" y="2761"/>
                  </a:lnTo>
                  <a:lnTo>
                    <a:pt x="2812" y="2771"/>
                  </a:lnTo>
                  <a:lnTo>
                    <a:pt x="2807" y="2771"/>
                  </a:lnTo>
                  <a:lnTo>
                    <a:pt x="2793" y="2764"/>
                  </a:lnTo>
                  <a:lnTo>
                    <a:pt x="2767" y="2764"/>
                  </a:lnTo>
                  <a:lnTo>
                    <a:pt x="2750" y="2756"/>
                  </a:lnTo>
                  <a:lnTo>
                    <a:pt x="2741" y="2757"/>
                  </a:lnTo>
                  <a:lnTo>
                    <a:pt x="2728" y="2764"/>
                  </a:lnTo>
                  <a:lnTo>
                    <a:pt x="2721" y="2765"/>
                  </a:lnTo>
                  <a:lnTo>
                    <a:pt x="2709" y="2759"/>
                  </a:lnTo>
                  <a:lnTo>
                    <a:pt x="2702" y="2749"/>
                  </a:lnTo>
                  <a:lnTo>
                    <a:pt x="2689" y="2745"/>
                  </a:lnTo>
                  <a:lnTo>
                    <a:pt x="2682" y="2739"/>
                  </a:lnTo>
                  <a:lnTo>
                    <a:pt x="2673" y="2737"/>
                  </a:lnTo>
                  <a:lnTo>
                    <a:pt x="2669" y="2734"/>
                  </a:lnTo>
                  <a:lnTo>
                    <a:pt x="2662" y="2727"/>
                  </a:lnTo>
                  <a:lnTo>
                    <a:pt x="2654" y="2721"/>
                  </a:lnTo>
                  <a:lnTo>
                    <a:pt x="2644" y="2717"/>
                  </a:lnTo>
                  <a:lnTo>
                    <a:pt x="2618" y="2716"/>
                  </a:lnTo>
                  <a:lnTo>
                    <a:pt x="2610" y="2721"/>
                  </a:lnTo>
                  <a:lnTo>
                    <a:pt x="2599" y="2721"/>
                  </a:lnTo>
                  <a:lnTo>
                    <a:pt x="2592" y="2719"/>
                  </a:lnTo>
                  <a:lnTo>
                    <a:pt x="2592" y="2717"/>
                  </a:lnTo>
                  <a:lnTo>
                    <a:pt x="2590" y="2716"/>
                  </a:lnTo>
                  <a:lnTo>
                    <a:pt x="2576" y="2712"/>
                  </a:lnTo>
                  <a:lnTo>
                    <a:pt x="2572" y="2708"/>
                  </a:lnTo>
                  <a:lnTo>
                    <a:pt x="2562" y="2711"/>
                  </a:lnTo>
                  <a:lnTo>
                    <a:pt x="2558" y="2711"/>
                  </a:lnTo>
                  <a:lnTo>
                    <a:pt x="2557" y="2708"/>
                  </a:lnTo>
                  <a:lnTo>
                    <a:pt x="2548" y="2710"/>
                  </a:lnTo>
                  <a:lnTo>
                    <a:pt x="2540" y="2687"/>
                  </a:lnTo>
                  <a:lnTo>
                    <a:pt x="2537" y="2686"/>
                  </a:lnTo>
                  <a:lnTo>
                    <a:pt x="2526" y="2654"/>
                  </a:lnTo>
                  <a:lnTo>
                    <a:pt x="2519" y="2653"/>
                  </a:lnTo>
                  <a:lnTo>
                    <a:pt x="2514" y="2653"/>
                  </a:lnTo>
                  <a:lnTo>
                    <a:pt x="2514" y="2689"/>
                  </a:lnTo>
                  <a:lnTo>
                    <a:pt x="2455" y="2689"/>
                  </a:lnTo>
                  <a:lnTo>
                    <a:pt x="2400" y="2689"/>
                  </a:lnTo>
                  <a:lnTo>
                    <a:pt x="2388" y="2689"/>
                  </a:lnTo>
                  <a:lnTo>
                    <a:pt x="2342" y="2689"/>
                  </a:lnTo>
                  <a:lnTo>
                    <a:pt x="2294" y="2689"/>
                  </a:lnTo>
                  <a:lnTo>
                    <a:pt x="2241" y="2689"/>
                  </a:lnTo>
                  <a:lnTo>
                    <a:pt x="2191" y="2689"/>
                  </a:lnTo>
                  <a:lnTo>
                    <a:pt x="2174" y="2689"/>
                  </a:lnTo>
                  <a:lnTo>
                    <a:pt x="2027" y="2689"/>
                  </a:lnTo>
                  <a:lnTo>
                    <a:pt x="1983" y="2689"/>
                  </a:lnTo>
                  <a:lnTo>
                    <a:pt x="1929" y="2689"/>
                  </a:lnTo>
                  <a:lnTo>
                    <a:pt x="1880" y="2689"/>
                  </a:lnTo>
                  <a:lnTo>
                    <a:pt x="1833" y="2689"/>
                  </a:lnTo>
                  <a:lnTo>
                    <a:pt x="1785" y="2689"/>
                  </a:lnTo>
                  <a:lnTo>
                    <a:pt x="1731" y="2689"/>
                  </a:lnTo>
                  <a:lnTo>
                    <a:pt x="1699" y="2689"/>
                  </a:lnTo>
                  <a:lnTo>
                    <a:pt x="1650" y="2687"/>
                  </a:lnTo>
                  <a:lnTo>
                    <a:pt x="1596" y="2687"/>
                  </a:lnTo>
                  <a:lnTo>
                    <a:pt x="1546" y="2687"/>
                  </a:lnTo>
                  <a:lnTo>
                    <a:pt x="1477" y="2687"/>
                  </a:lnTo>
                  <a:lnTo>
                    <a:pt x="1368" y="2687"/>
                  </a:lnTo>
                  <a:lnTo>
                    <a:pt x="1315" y="2687"/>
                  </a:lnTo>
                  <a:lnTo>
                    <a:pt x="1262" y="2687"/>
                  </a:lnTo>
                  <a:lnTo>
                    <a:pt x="1217" y="2687"/>
                  </a:lnTo>
                  <a:lnTo>
                    <a:pt x="1167" y="2687"/>
                  </a:lnTo>
                  <a:lnTo>
                    <a:pt x="1115" y="2687"/>
                  </a:lnTo>
                  <a:lnTo>
                    <a:pt x="1064" y="2687"/>
                  </a:lnTo>
                  <a:lnTo>
                    <a:pt x="1002" y="2687"/>
                  </a:lnTo>
                  <a:lnTo>
                    <a:pt x="1000" y="2683"/>
                  </a:lnTo>
                  <a:lnTo>
                    <a:pt x="994" y="2679"/>
                  </a:lnTo>
                  <a:lnTo>
                    <a:pt x="989" y="2680"/>
                  </a:lnTo>
                  <a:lnTo>
                    <a:pt x="988" y="2678"/>
                  </a:lnTo>
                  <a:lnTo>
                    <a:pt x="989" y="2674"/>
                  </a:lnTo>
                  <a:lnTo>
                    <a:pt x="999" y="2670"/>
                  </a:lnTo>
                  <a:lnTo>
                    <a:pt x="1011" y="2671"/>
                  </a:lnTo>
                  <a:lnTo>
                    <a:pt x="1010" y="2665"/>
                  </a:lnTo>
                  <a:lnTo>
                    <a:pt x="1008" y="2665"/>
                  </a:lnTo>
                  <a:lnTo>
                    <a:pt x="1006" y="2663"/>
                  </a:lnTo>
                  <a:lnTo>
                    <a:pt x="1004" y="2662"/>
                  </a:lnTo>
                  <a:lnTo>
                    <a:pt x="992" y="2665"/>
                  </a:lnTo>
                  <a:lnTo>
                    <a:pt x="981" y="2664"/>
                  </a:lnTo>
                  <a:lnTo>
                    <a:pt x="979" y="2660"/>
                  </a:lnTo>
                  <a:lnTo>
                    <a:pt x="979" y="2659"/>
                  </a:lnTo>
                  <a:lnTo>
                    <a:pt x="977" y="2656"/>
                  </a:lnTo>
                  <a:lnTo>
                    <a:pt x="977" y="2652"/>
                  </a:lnTo>
                  <a:lnTo>
                    <a:pt x="979" y="2651"/>
                  </a:lnTo>
                  <a:lnTo>
                    <a:pt x="981" y="2626"/>
                  </a:lnTo>
                  <a:lnTo>
                    <a:pt x="976" y="2625"/>
                  </a:lnTo>
                  <a:lnTo>
                    <a:pt x="975" y="2630"/>
                  </a:lnTo>
                  <a:lnTo>
                    <a:pt x="966" y="2638"/>
                  </a:lnTo>
                  <a:lnTo>
                    <a:pt x="960" y="2649"/>
                  </a:lnTo>
                  <a:lnTo>
                    <a:pt x="955" y="2648"/>
                  </a:lnTo>
                  <a:lnTo>
                    <a:pt x="952" y="2641"/>
                  </a:lnTo>
                  <a:lnTo>
                    <a:pt x="952" y="2637"/>
                  </a:lnTo>
                  <a:lnTo>
                    <a:pt x="955" y="2626"/>
                  </a:lnTo>
                  <a:lnTo>
                    <a:pt x="949" y="2626"/>
                  </a:lnTo>
                  <a:lnTo>
                    <a:pt x="949" y="2621"/>
                  </a:lnTo>
                  <a:lnTo>
                    <a:pt x="946" y="2621"/>
                  </a:lnTo>
                  <a:lnTo>
                    <a:pt x="944" y="2616"/>
                  </a:lnTo>
                  <a:lnTo>
                    <a:pt x="944" y="2611"/>
                  </a:lnTo>
                  <a:lnTo>
                    <a:pt x="939" y="2606"/>
                  </a:lnTo>
                  <a:lnTo>
                    <a:pt x="936" y="2598"/>
                  </a:lnTo>
                  <a:lnTo>
                    <a:pt x="935" y="2600"/>
                  </a:lnTo>
                  <a:lnTo>
                    <a:pt x="938" y="2609"/>
                  </a:lnTo>
                  <a:lnTo>
                    <a:pt x="936" y="2614"/>
                  </a:lnTo>
                  <a:lnTo>
                    <a:pt x="930" y="2605"/>
                  </a:lnTo>
                  <a:lnTo>
                    <a:pt x="927" y="2615"/>
                  </a:lnTo>
                  <a:lnTo>
                    <a:pt x="923" y="2617"/>
                  </a:lnTo>
                  <a:lnTo>
                    <a:pt x="911" y="2617"/>
                  </a:lnTo>
                  <a:lnTo>
                    <a:pt x="902" y="2610"/>
                  </a:lnTo>
                  <a:lnTo>
                    <a:pt x="898" y="2605"/>
                  </a:lnTo>
                  <a:lnTo>
                    <a:pt x="892" y="2599"/>
                  </a:lnTo>
                  <a:lnTo>
                    <a:pt x="891" y="2594"/>
                  </a:lnTo>
                  <a:lnTo>
                    <a:pt x="898" y="2588"/>
                  </a:lnTo>
                  <a:lnTo>
                    <a:pt x="900" y="2584"/>
                  </a:lnTo>
                  <a:lnTo>
                    <a:pt x="900" y="2578"/>
                  </a:lnTo>
                  <a:lnTo>
                    <a:pt x="897" y="2573"/>
                  </a:lnTo>
                  <a:lnTo>
                    <a:pt x="900" y="2565"/>
                  </a:lnTo>
                  <a:lnTo>
                    <a:pt x="896" y="2563"/>
                  </a:lnTo>
                  <a:lnTo>
                    <a:pt x="890" y="2568"/>
                  </a:lnTo>
                  <a:lnTo>
                    <a:pt x="884" y="2570"/>
                  </a:lnTo>
                  <a:lnTo>
                    <a:pt x="880" y="2565"/>
                  </a:lnTo>
                  <a:lnTo>
                    <a:pt x="878" y="2555"/>
                  </a:lnTo>
                  <a:lnTo>
                    <a:pt x="875" y="2555"/>
                  </a:lnTo>
                  <a:lnTo>
                    <a:pt x="864" y="2561"/>
                  </a:lnTo>
                  <a:lnTo>
                    <a:pt x="853" y="2557"/>
                  </a:lnTo>
                  <a:lnTo>
                    <a:pt x="849" y="2560"/>
                  </a:lnTo>
                  <a:lnTo>
                    <a:pt x="842" y="2554"/>
                  </a:lnTo>
                  <a:lnTo>
                    <a:pt x="841" y="2558"/>
                  </a:lnTo>
                  <a:lnTo>
                    <a:pt x="837" y="2561"/>
                  </a:lnTo>
                  <a:lnTo>
                    <a:pt x="833" y="2557"/>
                  </a:lnTo>
                  <a:lnTo>
                    <a:pt x="803" y="2556"/>
                  </a:lnTo>
                  <a:lnTo>
                    <a:pt x="800" y="2552"/>
                  </a:lnTo>
                  <a:lnTo>
                    <a:pt x="826" y="2545"/>
                  </a:lnTo>
                  <a:lnTo>
                    <a:pt x="828" y="2541"/>
                  </a:lnTo>
                  <a:lnTo>
                    <a:pt x="816" y="2541"/>
                  </a:lnTo>
                  <a:lnTo>
                    <a:pt x="819" y="2531"/>
                  </a:lnTo>
                  <a:lnTo>
                    <a:pt x="809" y="2528"/>
                  </a:lnTo>
                  <a:lnTo>
                    <a:pt x="803" y="2527"/>
                  </a:lnTo>
                  <a:lnTo>
                    <a:pt x="803" y="2525"/>
                  </a:lnTo>
                  <a:lnTo>
                    <a:pt x="810" y="2525"/>
                  </a:lnTo>
                  <a:lnTo>
                    <a:pt x="815" y="2523"/>
                  </a:lnTo>
                  <a:lnTo>
                    <a:pt x="810" y="2517"/>
                  </a:lnTo>
                  <a:lnTo>
                    <a:pt x="794" y="2514"/>
                  </a:lnTo>
                  <a:lnTo>
                    <a:pt x="787" y="2522"/>
                  </a:lnTo>
                  <a:lnTo>
                    <a:pt x="783" y="2518"/>
                  </a:lnTo>
                  <a:lnTo>
                    <a:pt x="766" y="2517"/>
                  </a:lnTo>
                  <a:lnTo>
                    <a:pt x="764" y="2520"/>
                  </a:lnTo>
                  <a:lnTo>
                    <a:pt x="767" y="2524"/>
                  </a:lnTo>
                  <a:lnTo>
                    <a:pt x="762" y="2525"/>
                  </a:lnTo>
                  <a:lnTo>
                    <a:pt x="740" y="2514"/>
                  </a:lnTo>
                  <a:lnTo>
                    <a:pt x="731" y="2504"/>
                  </a:lnTo>
                  <a:lnTo>
                    <a:pt x="729" y="2498"/>
                  </a:lnTo>
                  <a:lnTo>
                    <a:pt x="729" y="2492"/>
                  </a:lnTo>
                  <a:lnTo>
                    <a:pt x="735" y="2490"/>
                  </a:lnTo>
                  <a:lnTo>
                    <a:pt x="741" y="2490"/>
                  </a:lnTo>
                  <a:lnTo>
                    <a:pt x="747" y="2487"/>
                  </a:lnTo>
                  <a:lnTo>
                    <a:pt x="745" y="2484"/>
                  </a:lnTo>
                  <a:lnTo>
                    <a:pt x="740" y="2481"/>
                  </a:lnTo>
                  <a:lnTo>
                    <a:pt x="729" y="2484"/>
                  </a:lnTo>
                  <a:lnTo>
                    <a:pt x="730" y="2479"/>
                  </a:lnTo>
                  <a:lnTo>
                    <a:pt x="741" y="2474"/>
                  </a:lnTo>
                  <a:lnTo>
                    <a:pt x="752" y="2475"/>
                  </a:lnTo>
                  <a:lnTo>
                    <a:pt x="756" y="2472"/>
                  </a:lnTo>
                  <a:lnTo>
                    <a:pt x="745" y="2469"/>
                  </a:lnTo>
                  <a:lnTo>
                    <a:pt x="742" y="2465"/>
                  </a:lnTo>
                  <a:lnTo>
                    <a:pt x="750" y="2457"/>
                  </a:lnTo>
                  <a:lnTo>
                    <a:pt x="742" y="2448"/>
                  </a:lnTo>
                  <a:lnTo>
                    <a:pt x="734" y="2461"/>
                  </a:lnTo>
                  <a:lnTo>
                    <a:pt x="728" y="2463"/>
                  </a:lnTo>
                  <a:lnTo>
                    <a:pt x="725" y="2461"/>
                  </a:lnTo>
                  <a:lnTo>
                    <a:pt x="723" y="2454"/>
                  </a:lnTo>
                  <a:lnTo>
                    <a:pt x="723" y="2443"/>
                  </a:lnTo>
                  <a:lnTo>
                    <a:pt x="725" y="2430"/>
                  </a:lnTo>
                  <a:lnTo>
                    <a:pt x="723" y="2428"/>
                  </a:lnTo>
                  <a:lnTo>
                    <a:pt x="722" y="2425"/>
                  </a:lnTo>
                  <a:lnTo>
                    <a:pt x="722" y="2420"/>
                  </a:lnTo>
                  <a:lnTo>
                    <a:pt x="724" y="2409"/>
                  </a:lnTo>
                  <a:lnTo>
                    <a:pt x="723" y="2402"/>
                  </a:lnTo>
                  <a:lnTo>
                    <a:pt x="719" y="2400"/>
                  </a:lnTo>
                  <a:lnTo>
                    <a:pt x="719" y="2393"/>
                  </a:lnTo>
                  <a:lnTo>
                    <a:pt x="718" y="2388"/>
                  </a:lnTo>
                  <a:lnTo>
                    <a:pt x="707" y="2394"/>
                  </a:lnTo>
                  <a:lnTo>
                    <a:pt x="698" y="2395"/>
                  </a:lnTo>
                  <a:lnTo>
                    <a:pt x="699" y="2390"/>
                  </a:lnTo>
                  <a:lnTo>
                    <a:pt x="702" y="2388"/>
                  </a:lnTo>
                  <a:lnTo>
                    <a:pt x="702" y="2383"/>
                  </a:lnTo>
                  <a:lnTo>
                    <a:pt x="699" y="2378"/>
                  </a:lnTo>
                  <a:lnTo>
                    <a:pt x="693" y="2378"/>
                  </a:lnTo>
                  <a:lnTo>
                    <a:pt x="683" y="2382"/>
                  </a:lnTo>
                  <a:lnTo>
                    <a:pt x="674" y="2380"/>
                  </a:lnTo>
                  <a:lnTo>
                    <a:pt x="671" y="2377"/>
                  </a:lnTo>
                  <a:lnTo>
                    <a:pt x="669" y="2363"/>
                  </a:lnTo>
                  <a:lnTo>
                    <a:pt x="663" y="2361"/>
                  </a:lnTo>
                  <a:lnTo>
                    <a:pt x="656" y="2350"/>
                  </a:lnTo>
                  <a:lnTo>
                    <a:pt x="655" y="2345"/>
                  </a:lnTo>
                  <a:lnTo>
                    <a:pt x="651" y="2337"/>
                  </a:lnTo>
                  <a:lnTo>
                    <a:pt x="654" y="2326"/>
                  </a:lnTo>
                  <a:lnTo>
                    <a:pt x="658" y="2321"/>
                  </a:lnTo>
                  <a:lnTo>
                    <a:pt x="658" y="2308"/>
                  </a:lnTo>
                  <a:lnTo>
                    <a:pt x="658" y="2298"/>
                  </a:lnTo>
                  <a:lnTo>
                    <a:pt x="656" y="2296"/>
                  </a:lnTo>
                  <a:lnTo>
                    <a:pt x="653" y="2292"/>
                  </a:lnTo>
                  <a:lnTo>
                    <a:pt x="647" y="2297"/>
                  </a:lnTo>
                  <a:lnTo>
                    <a:pt x="645" y="2299"/>
                  </a:lnTo>
                  <a:lnTo>
                    <a:pt x="643" y="2298"/>
                  </a:lnTo>
                  <a:lnTo>
                    <a:pt x="642" y="2296"/>
                  </a:lnTo>
                  <a:lnTo>
                    <a:pt x="640" y="2296"/>
                  </a:lnTo>
                  <a:lnTo>
                    <a:pt x="624" y="2278"/>
                  </a:lnTo>
                  <a:lnTo>
                    <a:pt x="621" y="2270"/>
                  </a:lnTo>
                  <a:lnTo>
                    <a:pt x="616" y="2264"/>
                  </a:lnTo>
                  <a:lnTo>
                    <a:pt x="600" y="2250"/>
                  </a:lnTo>
                  <a:lnTo>
                    <a:pt x="599" y="2246"/>
                  </a:lnTo>
                  <a:lnTo>
                    <a:pt x="600" y="2238"/>
                  </a:lnTo>
                  <a:lnTo>
                    <a:pt x="605" y="2233"/>
                  </a:lnTo>
                  <a:lnTo>
                    <a:pt x="610" y="2231"/>
                  </a:lnTo>
                  <a:lnTo>
                    <a:pt x="608" y="2226"/>
                  </a:lnTo>
                  <a:lnTo>
                    <a:pt x="595" y="2227"/>
                  </a:lnTo>
                  <a:lnTo>
                    <a:pt x="590" y="2224"/>
                  </a:lnTo>
                  <a:lnTo>
                    <a:pt x="583" y="2211"/>
                  </a:lnTo>
                  <a:lnTo>
                    <a:pt x="580" y="2208"/>
                  </a:lnTo>
                  <a:lnTo>
                    <a:pt x="580" y="2195"/>
                  </a:lnTo>
                  <a:lnTo>
                    <a:pt x="584" y="2189"/>
                  </a:lnTo>
                  <a:lnTo>
                    <a:pt x="586" y="2181"/>
                  </a:lnTo>
                  <a:lnTo>
                    <a:pt x="591" y="2179"/>
                  </a:lnTo>
                  <a:lnTo>
                    <a:pt x="599" y="2185"/>
                  </a:lnTo>
                  <a:lnTo>
                    <a:pt x="600" y="2181"/>
                  </a:lnTo>
                  <a:lnTo>
                    <a:pt x="596" y="2175"/>
                  </a:lnTo>
                  <a:lnTo>
                    <a:pt x="596" y="2170"/>
                  </a:lnTo>
                  <a:lnTo>
                    <a:pt x="599" y="2161"/>
                  </a:lnTo>
                  <a:lnTo>
                    <a:pt x="604" y="2157"/>
                  </a:lnTo>
                  <a:lnTo>
                    <a:pt x="604" y="2153"/>
                  </a:lnTo>
                  <a:lnTo>
                    <a:pt x="601" y="2147"/>
                  </a:lnTo>
                  <a:lnTo>
                    <a:pt x="599" y="2147"/>
                  </a:lnTo>
                  <a:lnTo>
                    <a:pt x="600" y="2140"/>
                  </a:lnTo>
                  <a:lnTo>
                    <a:pt x="602" y="2136"/>
                  </a:lnTo>
                  <a:lnTo>
                    <a:pt x="605" y="2130"/>
                  </a:lnTo>
                  <a:lnTo>
                    <a:pt x="605" y="2125"/>
                  </a:lnTo>
                  <a:lnTo>
                    <a:pt x="600" y="2109"/>
                  </a:lnTo>
                  <a:lnTo>
                    <a:pt x="600" y="2082"/>
                  </a:lnTo>
                  <a:lnTo>
                    <a:pt x="602" y="2067"/>
                  </a:lnTo>
                  <a:lnTo>
                    <a:pt x="605" y="2062"/>
                  </a:lnTo>
                  <a:lnTo>
                    <a:pt x="605" y="2060"/>
                  </a:lnTo>
                  <a:lnTo>
                    <a:pt x="601" y="2054"/>
                  </a:lnTo>
                  <a:lnTo>
                    <a:pt x="599" y="2050"/>
                  </a:lnTo>
                  <a:lnTo>
                    <a:pt x="580" y="2045"/>
                  </a:lnTo>
                  <a:lnTo>
                    <a:pt x="575" y="2039"/>
                  </a:lnTo>
                  <a:lnTo>
                    <a:pt x="550" y="2018"/>
                  </a:lnTo>
                  <a:lnTo>
                    <a:pt x="514" y="2008"/>
                  </a:lnTo>
                  <a:lnTo>
                    <a:pt x="502" y="2001"/>
                  </a:lnTo>
                  <a:lnTo>
                    <a:pt x="497" y="1995"/>
                  </a:lnTo>
                  <a:lnTo>
                    <a:pt x="492" y="1986"/>
                  </a:lnTo>
                  <a:lnTo>
                    <a:pt x="487" y="1969"/>
                  </a:lnTo>
                  <a:lnTo>
                    <a:pt x="487" y="1965"/>
                  </a:lnTo>
                  <a:lnTo>
                    <a:pt x="483" y="1958"/>
                  </a:lnTo>
                  <a:lnTo>
                    <a:pt x="473" y="1949"/>
                  </a:lnTo>
                  <a:lnTo>
                    <a:pt x="472" y="1944"/>
                  </a:lnTo>
                  <a:lnTo>
                    <a:pt x="475" y="1939"/>
                  </a:lnTo>
                  <a:lnTo>
                    <a:pt x="475" y="1936"/>
                  </a:lnTo>
                  <a:lnTo>
                    <a:pt x="471" y="1928"/>
                  </a:lnTo>
                  <a:lnTo>
                    <a:pt x="457" y="1911"/>
                  </a:lnTo>
                  <a:lnTo>
                    <a:pt x="452" y="1893"/>
                  </a:lnTo>
                  <a:lnTo>
                    <a:pt x="449" y="1893"/>
                  </a:lnTo>
                  <a:lnTo>
                    <a:pt x="448" y="1890"/>
                  </a:lnTo>
                  <a:lnTo>
                    <a:pt x="441" y="1872"/>
                  </a:lnTo>
                  <a:lnTo>
                    <a:pt x="413" y="1826"/>
                  </a:lnTo>
                  <a:lnTo>
                    <a:pt x="402" y="1807"/>
                  </a:lnTo>
                  <a:lnTo>
                    <a:pt x="395" y="1786"/>
                  </a:lnTo>
                  <a:lnTo>
                    <a:pt x="384" y="1775"/>
                  </a:lnTo>
                  <a:lnTo>
                    <a:pt x="363" y="1766"/>
                  </a:lnTo>
                  <a:lnTo>
                    <a:pt x="359" y="1759"/>
                  </a:lnTo>
                  <a:lnTo>
                    <a:pt x="359" y="1756"/>
                  </a:lnTo>
                  <a:lnTo>
                    <a:pt x="355" y="1740"/>
                  </a:lnTo>
                  <a:lnTo>
                    <a:pt x="343" y="1729"/>
                  </a:lnTo>
                  <a:lnTo>
                    <a:pt x="341" y="1721"/>
                  </a:lnTo>
                  <a:lnTo>
                    <a:pt x="332" y="1707"/>
                  </a:lnTo>
                  <a:lnTo>
                    <a:pt x="328" y="1695"/>
                  </a:lnTo>
                  <a:lnTo>
                    <a:pt x="323" y="1695"/>
                  </a:lnTo>
                  <a:lnTo>
                    <a:pt x="320" y="1691"/>
                  </a:lnTo>
                  <a:lnTo>
                    <a:pt x="311" y="1673"/>
                  </a:lnTo>
                  <a:lnTo>
                    <a:pt x="305" y="1667"/>
                  </a:lnTo>
                  <a:lnTo>
                    <a:pt x="300" y="1666"/>
                  </a:lnTo>
                  <a:lnTo>
                    <a:pt x="278" y="1683"/>
                  </a:lnTo>
                  <a:lnTo>
                    <a:pt x="257" y="1689"/>
                  </a:lnTo>
                  <a:lnTo>
                    <a:pt x="252" y="1695"/>
                  </a:lnTo>
                  <a:lnTo>
                    <a:pt x="251" y="1707"/>
                  </a:lnTo>
                  <a:lnTo>
                    <a:pt x="249" y="1710"/>
                  </a:lnTo>
                  <a:lnTo>
                    <a:pt x="242" y="1713"/>
                  </a:lnTo>
                  <a:lnTo>
                    <a:pt x="240" y="1717"/>
                  </a:lnTo>
                  <a:lnTo>
                    <a:pt x="240" y="1726"/>
                  </a:lnTo>
                  <a:lnTo>
                    <a:pt x="236" y="1734"/>
                  </a:lnTo>
                  <a:lnTo>
                    <a:pt x="220" y="1739"/>
                  </a:lnTo>
                  <a:lnTo>
                    <a:pt x="204" y="1753"/>
                  </a:lnTo>
                  <a:lnTo>
                    <a:pt x="191" y="1758"/>
                  </a:lnTo>
                  <a:lnTo>
                    <a:pt x="188" y="1756"/>
                  </a:lnTo>
                  <a:lnTo>
                    <a:pt x="188" y="1753"/>
                  </a:lnTo>
                  <a:lnTo>
                    <a:pt x="185" y="1747"/>
                  </a:lnTo>
                  <a:lnTo>
                    <a:pt x="175" y="1723"/>
                  </a:lnTo>
                  <a:lnTo>
                    <a:pt x="159" y="1710"/>
                  </a:lnTo>
                  <a:lnTo>
                    <a:pt x="176" y="1695"/>
                  </a:lnTo>
                  <a:lnTo>
                    <a:pt x="174" y="1691"/>
                  </a:lnTo>
                  <a:lnTo>
                    <a:pt x="158" y="1681"/>
                  </a:lnTo>
                  <a:lnTo>
                    <a:pt x="169" y="1693"/>
                  </a:lnTo>
                  <a:lnTo>
                    <a:pt x="166" y="1697"/>
                  </a:lnTo>
                  <a:lnTo>
                    <a:pt x="155" y="1695"/>
                  </a:lnTo>
                  <a:lnTo>
                    <a:pt x="152" y="1702"/>
                  </a:lnTo>
                  <a:lnTo>
                    <a:pt x="149" y="1699"/>
                  </a:lnTo>
                  <a:lnTo>
                    <a:pt x="122" y="1664"/>
                  </a:lnTo>
                  <a:lnTo>
                    <a:pt x="117" y="1653"/>
                  </a:lnTo>
                  <a:lnTo>
                    <a:pt x="104" y="1642"/>
                  </a:lnTo>
                  <a:lnTo>
                    <a:pt x="97" y="1636"/>
                  </a:lnTo>
                  <a:lnTo>
                    <a:pt x="101" y="1636"/>
                  </a:lnTo>
                  <a:lnTo>
                    <a:pt x="101" y="1630"/>
                  </a:lnTo>
                  <a:lnTo>
                    <a:pt x="101" y="1608"/>
                  </a:lnTo>
                  <a:lnTo>
                    <a:pt x="68" y="1609"/>
                  </a:lnTo>
                  <a:lnTo>
                    <a:pt x="56" y="1624"/>
                  </a:lnTo>
                  <a:lnTo>
                    <a:pt x="50" y="1621"/>
                  </a:lnTo>
                  <a:lnTo>
                    <a:pt x="35" y="1610"/>
                  </a:lnTo>
                  <a:lnTo>
                    <a:pt x="20" y="1621"/>
                  </a:lnTo>
                  <a:lnTo>
                    <a:pt x="0" y="1609"/>
                  </a:lnTo>
                  <a:lnTo>
                    <a:pt x="0" y="1573"/>
                  </a:lnTo>
                  <a:lnTo>
                    <a:pt x="0" y="1463"/>
                  </a:lnTo>
                  <a:lnTo>
                    <a:pt x="0" y="1356"/>
                  </a:lnTo>
                  <a:lnTo>
                    <a:pt x="0" y="1255"/>
                  </a:lnTo>
                  <a:lnTo>
                    <a:pt x="0" y="1146"/>
                  </a:lnTo>
                  <a:lnTo>
                    <a:pt x="0" y="1022"/>
                  </a:lnTo>
                  <a:lnTo>
                    <a:pt x="0" y="900"/>
                  </a:lnTo>
                  <a:lnTo>
                    <a:pt x="0" y="785"/>
                  </a:lnTo>
                  <a:lnTo>
                    <a:pt x="0" y="660"/>
                  </a:lnTo>
                  <a:lnTo>
                    <a:pt x="0" y="516"/>
                  </a:lnTo>
                  <a:lnTo>
                    <a:pt x="0" y="373"/>
                  </a:lnTo>
                  <a:lnTo>
                    <a:pt x="2" y="376"/>
                  </a:lnTo>
                  <a:lnTo>
                    <a:pt x="11" y="381"/>
                  </a:lnTo>
                  <a:lnTo>
                    <a:pt x="21" y="384"/>
                  </a:lnTo>
                  <a:lnTo>
                    <a:pt x="62" y="383"/>
                  </a:lnTo>
                  <a:lnTo>
                    <a:pt x="70" y="386"/>
                  </a:lnTo>
                  <a:lnTo>
                    <a:pt x="74" y="393"/>
                  </a:lnTo>
                  <a:lnTo>
                    <a:pt x="91" y="394"/>
                  </a:lnTo>
                  <a:lnTo>
                    <a:pt x="110" y="413"/>
                  </a:lnTo>
                  <a:lnTo>
                    <a:pt x="132" y="447"/>
                  </a:lnTo>
                  <a:lnTo>
                    <a:pt x="139" y="447"/>
                  </a:lnTo>
                  <a:lnTo>
                    <a:pt x="143" y="451"/>
                  </a:lnTo>
                  <a:lnTo>
                    <a:pt x="145" y="445"/>
                  </a:lnTo>
                  <a:lnTo>
                    <a:pt x="149" y="454"/>
                  </a:lnTo>
                  <a:lnTo>
                    <a:pt x="159" y="465"/>
                  </a:lnTo>
                  <a:lnTo>
                    <a:pt x="170" y="475"/>
                  </a:lnTo>
                  <a:lnTo>
                    <a:pt x="179" y="480"/>
                  </a:lnTo>
                  <a:lnTo>
                    <a:pt x="191" y="492"/>
                  </a:lnTo>
                  <a:lnTo>
                    <a:pt x="198" y="491"/>
                  </a:lnTo>
                  <a:lnTo>
                    <a:pt x="214" y="495"/>
                  </a:lnTo>
                  <a:lnTo>
                    <a:pt x="228" y="502"/>
                  </a:lnTo>
                  <a:lnTo>
                    <a:pt x="235" y="504"/>
                  </a:lnTo>
                  <a:lnTo>
                    <a:pt x="241" y="501"/>
                  </a:lnTo>
                  <a:lnTo>
                    <a:pt x="246" y="505"/>
                  </a:lnTo>
                  <a:lnTo>
                    <a:pt x="246" y="500"/>
                  </a:lnTo>
                  <a:lnTo>
                    <a:pt x="244" y="492"/>
                  </a:lnTo>
                  <a:lnTo>
                    <a:pt x="255" y="497"/>
                  </a:lnTo>
                  <a:lnTo>
                    <a:pt x="265" y="501"/>
                  </a:lnTo>
                  <a:lnTo>
                    <a:pt x="269" y="506"/>
                  </a:lnTo>
                  <a:lnTo>
                    <a:pt x="277" y="507"/>
                  </a:lnTo>
                  <a:lnTo>
                    <a:pt x="288" y="516"/>
                  </a:lnTo>
                  <a:lnTo>
                    <a:pt x="309" y="537"/>
                  </a:lnTo>
                  <a:lnTo>
                    <a:pt x="316" y="535"/>
                  </a:lnTo>
                  <a:lnTo>
                    <a:pt x="321" y="537"/>
                  </a:lnTo>
                  <a:lnTo>
                    <a:pt x="319" y="529"/>
                  </a:lnTo>
                  <a:lnTo>
                    <a:pt x="308" y="517"/>
                  </a:lnTo>
                  <a:lnTo>
                    <a:pt x="304" y="506"/>
                  </a:lnTo>
                  <a:lnTo>
                    <a:pt x="300" y="501"/>
                  </a:lnTo>
                  <a:lnTo>
                    <a:pt x="306" y="499"/>
                  </a:lnTo>
                  <a:lnTo>
                    <a:pt x="322" y="505"/>
                  </a:lnTo>
                  <a:lnTo>
                    <a:pt x="331" y="502"/>
                  </a:lnTo>
                  <a:lnTo>
                    <a:pt x="341" y="505"/>
                  </a:lnTo>
                  <a:lnTo>
                    <a:pt x="347" y="510"/>
                  </a:lnTo>
                  <a:lnTo>
                    <a:pt x="349" y="524"/>
                  </a:lnTo>
                  <a:lnTo>
                    <a:pt x="354" y="532"/>
                  </a:lnTo>
                  <a:lnTo>
                    <a:pt x="370" y="545"/>
                  </a:lnTo>
                  <a:lnTo>
                    <a:pt x="373" y="553"/>
                  </a:lnTo>
                  <a:lnTo>
                    <a:pt x="376" y="542"/>
                  </a:lnTo>
                  <a:lnTo>
                    <a:pt x="375" y="527"/>
                  </a:lnTo>
                  <a:lnTo>
                    <a:pt x="370" y="522"/>
                  </a:lnTo>
                  <a:lnTo>
                    <a:pt x="353" y="490"/>
                  </a:lnTo>
                  <a:lnTo>
                    <a:pt x="349" y="480"/>
                  </a:lnTo>
                  <a:lnTo>
                    <a:pt x="349" y="475"/>
                  </a:lnTo>
                  <a:lnTo>
                    <a:pt x="360" y="468"/>
                  </a:lnTo>
                  <a:lnTo>
                    <a:pt x="369" y="456"/>
                  </a:lnTo>
                  <a:lnTo>
                    <a:pt x="385" y="445"/>
                  </a:lnTo>
                  <a:lnTo>
                    <a:pt x="391" y="435"/>
                  </a:lnTo>
                  <a:lnTo>
                    <a:pt x="396" y="435"/>
                  </a:lnTo>
                  <a:lnTo>
                    <a:pt x="400" y="429"/>
                  </a:lnTo>
                  <a:lnTo>
                    <a:pt x="423" y="425"/>
                  </a:lnTo>
                  <a:lnTo>
                    <a:pt x="430" y="420"/>
                  </a:lnTo>
                  <a:lnTo>
                    <a:pt x="439" y="411"/>
                  </a:lnTo>
                  <a:lnTo>
                    <a:pt x="440" y="391"/>
                  </a:lnTo>
                  <a:lnTo>
                    <a:pt x="448" y="384"/>
                  </a:lnTo>
                  <a:lnTo>
                    <a:pt x="450" y="387"/>
                  </a:lnTo>
                  <a:lnTo>
                    <a:pt x="455" y="387"/>
                  </a:lnTo>
                  <a:lnTo>
                    <a:pt x="457" y="378"/>
                  </a:lnTo>
                  <a:lnTo>
                    <a:pt x="464" y="371"/>
                  </a:lnTo>
                  <a:lnTo>
                    <a:pt x="468" y="371"/>
                  </a:lnTo>
                  <a:lnTo>
                    <a:pt x="470" y="376"/>
                  </a:lnTo>
                  <a:lnTo>
                    <a:pt x="484" y="376"/>
                  </a:lnTo>
                  <a:lnTo>
                    <a:pt x="491" y="370"/>
                  </a:lnTo>
                  <a:lnTo>
                    <a:pt x="492" y="365"/>
                  </a:lnTo>
                  <a:lnTo>
                    <a:pt x="500" y="362"/>
                  </a:lnTo>
                  <a:lnTo>
                    <a:pt x="521" y="348"/>
                  </a:lnTo>
                  <a:lnTo>
                    <a:pt x="524" y="336"/>
                  </a:lnTo>
                  <a:lnTo>
                    <a:pt x="542" y="344"/>
                  </a:lnTo>
                  <a:lnTo>
                    <a:pt x="550" y="334"/>
                  </a:lnTo>
                  <a:lnTo>
                    <a:pt x="551" y="324"/>
                  </a:lnTo>
                  <a:lnTo>
                    <a:pt x="554" y="316"/>
                  </a:lnTo>
                  <a:lnTo>
                    <a:pt x="568" y="309"/>
                  </a:lnTo>
                  <a:lnTo>
                    <a:pt x="574" y="303"/>
                  </a:lnTo>
                  <a:lnTo>
                    <a:pt x="585" y="312"/>
                  </a:lnTo>
                  <a:lnTo>
                    <a:pt x="593" y="312"/>
                  </a:lnTo>
                  <a:lnTo>
                    <a:pt x="597" y="317"/>
                  </a:lnTo>
                  <a:lnTo>
                    <a:pt x="606" y="313"/>
                  </a:lnTo>
                  <a:lnTo>
                    <a:pt x="612" y="302"/>
                  </a:lnTo>
                  <a:lnTo>
                    <a:pt x="613" y="295"/>
                  </a:lnTo>
                  <a:lnTo>
                    <a:pt x="621" y="290"/>
                  </a:lnTo>
                  <a:lnTo>
                    <a:pt x="623" y="297"/>
                  </a:lnTo>
                  <a:lnTo>
                    <a:pt x="629" y="305"/>
                  </a:lnTo>
                  <a:lnTo>
                    <a:pt x="633" y="318"/>
                  </a:lnTo>
                  <a:lnTo>
                    <a:pt x="629" y="321"/>
                  </a:lnTo>
                  <a:lnTo>
                    <a:pt x="622" y="332"/>
                  </a:lnTo>
                  <a:lnTo>
                    <a:pt x="583" y="360"/>
                  </a:lnTo>
                  <a:lnTo>
                    <a:pt x="574" y="372"/>
                  </a:lnTo>
                  <a:lnTo>
                    <a:pt x="564" y="378"/>
                  </a:lnTo>
                  <a:lnTo>
                    <a:pt x="548" y="398"/>
                  </a:lnTo>
                  <a:lnTo>
                    <a:pt x="534" y="392"/>
                  </a:lnTo>
                  <a:lnTo>
                    <a:pt x="499" y="404"/>
                  </a:lnTo>
                  <a:lnTo>
                    <a:pt x="488" y="414"/>
                  </a:lnTo>
                  <a:lnTo>
                    <a:pt x="484" y="424"/>
                  </a:lnTo>
                  <a:lnTo>
                    <a:pt x="492" y="421"/>
                  </a:lnTo>
                  <a:lnTo>
                    <a:pt x="476" y="435"/>
                  </a:lnTo>
                  <a:lnTo>
                    <a:pt x="473" y="443"/>
                  </a:lnTo>
                  <a:lnTo>
                    <a:pt x="468" y="441"/>
                  </a:lnTo>
                  <a:lnTo>
                    <a:pt x="464" y="451"/>
                  </a:lnTo>
                  <a:lnTo>
                    <a:pt x="460" y="461"/>
                  </a:lnTo>
                  <a:lnTo>
                    <a:pt x="459" y="452"/>
                  </a:lnTo>
                  <a:lnTo>
                    <a:pt x="454" y="449"/>
                  </a:lnTo>
                  <a:lnTo>
                    <a:pt x="441" y="469"/>
                  </a:lnTo>
                  <a:lnTo>
                    <a:pt x="441" y="478"/>
                  </a:lnTo>
                  <a:lnTo>
                    <a:pt x="449" y="477"/>
                  </a:lnTo>
                  <a:lnTo>
                    <a:pt x="459" y="467"/>
                  </a:lnTo>
                  <a:lnTo>
                    <a:pt x="483" y="458"/>
                  </a:lnTo>
                  <a:lnTo>
                    <a:pt x="504" y="435"/>
                  </a:lnTo>
                  <a:lnTo>
                    <a:pt x="505" y="431"/>
                  </a:lnTo>
                  <a:lnTo>
                    <a:pt x="502" y="426"/>
                  </a:lnTo>
                  <a:lnTo>
                    <a:pt x="504" y="424"/>
                  </a:lnTo>
                  <a:lnTo>
                    <a:pt x="513" y="418"/>
                  </a:lnTo>
                  <a:lnTo>
                    <a:pt x="518" y="420"/>
                  </a:lnTo>
                  <a:lnTo>
                    <a:pt x="516" y="434"/>
                  </a:lnTo>
                  <a:lnTo>
                    <a:pt x="524" y="421"/>
                  </a:lnTo>
                  <a:lnTo>
                    <a:pt x="526" y="432"/>
                  </a:lnTo>
                  <a:lnTo>
                    <a:pt x="535" y="415"/>
                  </a:lnTo>
                  <a:lnTo>
                    <a:pt x="543" y="411"/>
                  </a:lnTo>
                  <a:lnTo>
                    <a:pt x="550" y="418"/>
                  </a:lnTo>
                  <a:lnTo>
                    <a:pt x="548" y="432"/>
                  </a:lnTo>
                  <a:lnTo>
                    <a:pt x="546" y="454"/>
                  </a:lnTo>
                  <a:lnTo>
                    <a:pt x="564" y="418"/>
                  </a:lnTo>
                  <a:lnTo>
                    <a:pt x="581" y="389"/>
                  </a:lnTo>
                  <a:lnTo>
                    <a:pt x="583" y="378"/>
                  </a:lnTo>
                  <a:lnTo>
                    <a:pt x="596" y="376"/>
                  </a:lnTo>
                  <a:lnTo>
                    <a:pt x="607" y="371"/>
                  </a:lnTo>
                  <a:lnTo>
                    <a:pt x="617" y="360"/>
                  </a:lnTo>
                  <a:lnTo>
                    <a:pt x="645" y="351"/>
                  </a:lnTo>
                  <a:lnTo>
                    <a:pt x="663" y="334"/>
                  </a:lnTo>
                  <a:lnTo>
                    <a:pt x="660" y="354"/>
                  </a:lnTo>
                  <a:lnTo>
                    <a:pt x="656" y="352"/>
                  </a:lnTo>
                  <a:lnTo>
                    <a:pt x="650" y="366"/>
                  </a:lnTo>
                  <a:lnTo>
                    <a:pt x="649" y="376"/>
                  </a:lnTo>
                  <a:lnTo>
                    <a:pt x="672" y="361"/>
                  </a:lnTo>
                  <a:lnTo>
                    <a:pt x="681" y="348"/>
                  </a:lnTo>
                  <a:lnTo>
                    <a:pt x="692" y="336"/>
                  </a:lnTo>
                  <a:lnTo>
                    <a:pt x="697" y="324"/>
                  </a:lnTo>
                  <a:lnTo>
                    <a:pt x="693" y="316"/>
                  </a:lnTo>
                  <a:lnTo>
                    <a:pt x="698" y="309"/>
                  </a:lnTo>
                  <a:lnTo>
                    <a:pt x="725" y="298"/>
                  </a:lnTo>
                  <a:lnTo>
                    <a:pt x="731" y="292"/>
                  </a:lnTo>
                  <a:lnTo>
                    <a:pt x="715" y="287"/>
                  </a:lnTo>
                  <a:lnTo>
                    <a:pt x="709" y="281"/>
                  </a:lnTo>
                  <a:lnTo>
                    <a:pt x="710" y="276"/>
                  </a:lnTo>
                  <a:lnTo>
                    <a:pt x="712" y="266"/>
                  </a:lnTo>
                  <a:lnTo>
                    <a:pt x="709" y="262"/>
                  </a:lnTo>
                  <a:lnTo>
                    <a:pt x="699" y="265"/>
                  </a:lnTo>
                  <a:lnTo>
                    <a:pt x="701" y="255"/>
                  </a:lnTo>
                  <a:lnTo>
                    <a:pt x="706" y="247"/>
                  </a:lnTo>
                  <a:lnTo>
                    <a:pt x="709" y="242"/>
                  </a:lnTo>
                  <a:lnTo>
                    <a:pt x="722" y="247"/>
                  </a:lnTo>
                  <a:lnTo>
                    <a:pt x="751" y="281"/>
                  </a:lnTo>
                  <a:lnTo>
                    <a:pt x="757" y="295"/>
                  </a:lnTo>
                  <a:lnTo>
                    <a:pt x="761" y="323"/>
                  </a:lnTo>
                  <a:lnTo>
                    <a:pt x="768" y="335"/>
                  </a:lnTo>
                  <a:lnTo>
                    <a:pt x="780" y="376"/>
                  </a:lnTo>
                  <a:lnTo>
                    <a:pt x="787" y="389"/>
                  </a:lnTo>
                  <a:lnTo>
                    <a:pt x="796" y="394"/>
                  </a:lnTo>
                  <a:lnTo>
                    <a:pt x="803" y="410"/>
                  </a:lnTo>
                  <a:lnTo>
                    <a:pt x="805" y="409"/>
                  </a:lnTo>
                  <a:lnTo>
                    <a:pt x="821" y="425"/>
                  </a:lnTo>
                  <a:lnTo>
                    <a:pt x="831" y="429"/>
                  </a:lnTo>
                  <a:lnTo>
                    <a:pt x="853" y="430"/>
                  </a:lnTo>
                  <a:lnTo>
                    <a:pt x="853" y="426"/>
                  </a:lnTo>
                  <a:lnTo>
                    <a:pt x="855" y="424"/>
                  </a:lnTo>
                  <a:lnTo>
                    <a:pt x="866" y="424"/>
                  </a:lnTo>
                  <a:lnTo>
                    <a:pt x="866" y="418"/>
                  </a:lnTo>
                  <a:lnTo>
                    <a:pt x="858" y="414"/>
                  </a:lnTo>
                  <a:lnTo>
                    <a:pt x="841" y="420"/>
                  </a:lnTo>
                  <a:lnTo>
                    <a:pt x="844" y="409"/>
                  </a:lnTo>
                  <a:lnTo>
                    <a:pt x="859" y="408"/>
                  </a:lnTo>
                  <a:lnTo>
                    <a:pt x="868" y="403"/>
                  </a:lnTo>
                  <a:lnTo>
                    <a:pt x="863" y="403"/>
                  </a:lnTo>
                  <a:lnTo>
                    <a:pt x="852" y="387"/>
                  </a:lnTo>
                  <a:lnTo>
                    <a:pt x="858" y="381"/>
                  </a:lnTo>
                  <a:lnTo>
                    <a:pt x="871" y="376"/>
                  </a:lnTo>
                  <a:lnTo>
                    <a:pt x="871" y="368"/>
                  </a:lnTo>
                  <a:lnTo>
                    <a:pt x="863" y="366"/>
                  </a:lnTo>
                  <a:lnTo>
                    <a:pt x="863" y="354"/>
                  </a:lnTo>
                  <a:lnTo>
                    <a:pt x="866" y="362"/>
                  </a:lnTo>
                  <a:lnTo>
                    <a:pt x="884" y="341"/>
                  </a:lnTo>
                  <a:lnTo>
                    <a:pt x="887" y="330"/>
                  </a:lnTo>
                  <a:lnTo>
                    <a:pt x="884" y="328"/>
                  </a:lnTo>
                  <a:lnTo>
                    <a:pt x="876" y="333"/>
                  </a:lnTo>
                  <a:lnTo>
                    <a:pt x="873" y="341"/>
                  </a:lnTo>
                  <a:lnTo>
                    <a:pt x="869" y="338"/>
                  </a:lnTo>
                  <a:lnTo>
                    <a:pt x="868" y="328"/>
                  </a:lnTo>
                  <a:lnTo>
                    <a:pt x="871" y="321"/>
                  </a:lnTo>
                  <a:lnTo>
                    <a:pt x="878" y="324"/>
                  </a:lnTo>
                  <a:lnTo>
                    <a:pt x="887" y="322"/>
                  </a:lnTo>
                  <a:lnTo>
                    <a:pt x="892" y="324"/>
                  </a:lnTo>
                  <a:lnTo>
                    <a:pt x="895" y="335"/>
                  </a:lnTo>
                  <a:lnTo>
                    <a:pt x="900" y="325"/>
                  </a:lnTo>
                  <a:lnTo>
                    <a:pt x="907" y="324"/>
                  </a:lnTo>
                  <a:lnTo>
                    <a:pt x="906" y="318"/>
                  </a:lnTo>
                  <a:lnTo>
                    <a:pt x="898" y="316"/>
                  </a:lnTo>
                  <a:lnTo>
                    <a:pt x="893" y="311"/>
                  </a:lnTo>
                  <a:lnTo>
                    <a:pt x="908" y="308"/>
                  </a:lnTo>
                  <a:lnTo>
                    <a:pt x="908" y="313"/>
                  </a:lnTo>
                  <a:lnTo>
                    <a:pt x="912" y="321"/>
                  </a:lnTo>
                  <a:lnTo>
                    <a:pt x="909" y="335"/>
                  </a:lnTo>
                  <a:lnTo>
                    <a:pt x="908" y="359"/>
                  </a:lnTo>
                  <a:lnTo>
                    <a:pt x="906" y="366"/>
                  </a:lnTo>
                  <a:lnTo>
                    <a:pt x="907" y="373"/>
                  </a:lnTo>
                  <a:lnTo>
                    <a:pt x="912" y="378"/>
                  </a:lnTo>
                  <a:lnTo>
                    <a:pt x="919" y="372"/>
                  </a:lnTo>
                  <a:lnTo>
                    <a:pt x="930" y="376"/>
                  </a:lnTo>
                  <a:lnTo>
                    <a:pt x="912" y="409"/>
                  </a:lnTo>
                  <a:lnTo>
                    <a:pt x="907" y="424"/>
                  </a:lnTo>
                  <a:lnTo>
                    <a:pt x="906" y="413"/>
                  </a:lnTo>
                  <a:lnTo>
                    <a:pt x="903" y="424"/>
                  </a:lnTo>
                  <a:lnTo>
                    <a:pt x="903" y="430"/>
                  </a:lnTo>
                  <a:lnTo>
                    <a:pt x="925" y="432"/>
                  </a:lnTo>
                  <a:lnTo>
                    <a:pt x="933" y="425"/>
                  </a:lnTo>
                  <a:lnTo>
                    <a:pt x="938" y="429"/>
                  </a:lnTo>
                  <a:lnTo>
                    <a:pt x="954" y="430"/>
                  </a:lnTo>
                  <a:lnTo>
                    <a:pt x="962" y="424"/>
                  </a:lnTo>
                  <a:lnTo>
                    <a:pt x="965" y="414"/>
                  </a:lnTo>
                  <a:lnTo>
                    <a:pt x="975" y="405"/>
                  </a:lnTo>
                  <a:lnTo>
                    <a:pt x="976" y="394"/>
                  </a:lnTo>
                  <a:lnTo>
                    <a:pt x="981" y="378"/>
                  </a:lnTo>
                  <a:lnTo>
                    <a:pt x="982" y="360"/>
                  </a:lnTo>
                  <a:lnTo>
                    <a:pt x="991" y="360"/>
                  </a:lnTo>
                  <a:lnTo>
                    <a:pt x="1005" y="354"/>
                  </a:lnTo>
                  <a:lnTo>
                    <a:pt x="1016" y="360"/>
                  </a:lnTo>
                  <a:lnTo>
                    <a:pt x="1025" y="359"/>
                  </a:lnTo>
                  <a:lnTo>
                    <a:pt x="1032" y="360"/>
                  </a:lnTo>
                  <a:lnTo>
                    <a:pt x="1032" y="362"/>
                  </a:lnTo>
                  <a:lnTo>
                    <a:pt x="1054" y="360"/>
                  </a:lnTo>
                  <a:lnTo>
                    <a:pt x="1077" y="367"/>
                  </a:lnTo>
                  <a:lnTo>
                    <a:pt x="1107" y="392"/>
                  </a:lnTo>
                  <a:lnTo>
                    <a:pt x="1127" y="418"/>
                  </a:lnTo>
                  <a:lnTo>
                    <a:pt x="1145" y="429"/>
                  </a:lnTo>
                  <a:lnTo>
                    <a:pt x="1166" y="431"/>
                  </a:lnTo>
                  <a:lnTo>
                    <a:pt x="1175" y="438"/>
                  </a:lnTo>
                  <a:lnTo>
                    <a:pt x="1187" y="438"/>
                  </a:lnTo>
                  <a:lnTo>
                    <a:pt x="1207" y="447"/>
                  </a:lnTo>
                  <a:lnTo>
                    <a:pt x="1214" y="446"/>
                  </a:lnTo>
                  <a:lnTo>
                    <a:pt x="1224" y="449"/>
                  </a:lnTo>
                  <a:lnTo>
                    <a:pt x="1229" y="461"/>
                  </a:lnTo>
                  <a:lnTo>
                    <a:pt x="1244" y="470"/>
                  </a:lnTo>
                  <a:lnTo>
                    <a:pt x="1256" y="475"/>
                  </a:lnTo>
                  <a:lnTo>
                    <a:pt x="1282" y="491"/>
                  </a:lnTo>
                  <a:lnTo>
                    <a:pt x="1300" y="492"/>
                  </a:lnTo>
                  <a:lnTo>
                    <a:pt x="1307" y="497"/>
                  </a:lnTo>
                  <a:lnTo>
                    <a:pt x="1319" y="500"/>
                  </a:lnTo>
                  <a:lnTo>
                    <a:pt x="1317" y="496"/>
                  </a:lnTo>
                  <a:lnTo>
                    <a:pt x="1348" y="501"/>
                  </a:lnTo>
                  <a:lnTo>
                    <a:pt x="1360" y="500"/>
                  </a:lnTo>
                  <a:lnTo>
                    <a:pt x="1371" y="513"/>
                  </a:lnTo>
                  <a:lnTo>
                    <a:pt x="1374" y="504"/>
                  </a:lnTo>
                  <a:lnTo>
                    <a:pt x="1357" y="488"/>
                  </a:lnTo>
                  <a:lnTo>
                    <a:pt x="1369" y="485"/>
                  </a:lnTo>
                  <a:lnTo>
                    <a:pt x="1375" y="490"/>
                  </a:lnTo>
                  <a:lnTo>
                    <a:pt x="1386" y="491"/>
                  </a:lnTo>
                  <a:lnTo>
                    <a:pt x="1386" y="485"/>
                  </a:lnTo>
                  <a:lnTo>
                    <a:pt x="1413" y="491"/>
                  </a:lnTo>
                  <a:lnTo>
                    <a:pt x="1407" y="496"/>
                  </a:lnTo>
                  <a:lnTo>
                    <a:pt x="1423" y="505"/>
                  </a:lnTo>
                  <a:lnTo>
                    <a:pt x="1424" y="513"/>
                  </a:lnTo>
                  <a:lnTo>
                    <a:pt x="1434" y="508"/>
                  </a:lnTo>
                  <a:lnTo>
                    <a:pt x="1434" y="517"/>
                  </a:lnTo>
                  <a:lnTo>
                    <a:pt x="1451" y="528"/>
                  </a:lnTo>
                  <a:lnTo>
                    <a:pt x="1463" y="547"/>
                  </a:lnTo>
                  <a:lnTo>
                    <a:pt x="1470" y="553"/>
                  </a:lnTo>
                  <a:lnTo>
                    <a:pt x="1470" y="575"/>
                  </a:lnTo>
                  <a:lnTo>
                    <a:pt x="1478" y="564"/>
                  </a:lnTo>
                  <a:lnTo>
                    <a:pt x="1478" y="576"/>
                  </a:lnTo>
                  <a:lnTo>
                    <a:pt x="1475" y="585"/>
                  </a:lnTo>
                  <a:lnTo>
                    <a:pt x="1479" y="591"/>
                  </a:lnTo>
                  <a:lnTo>
                    <a:pt x="1470" y="590"/>
                  </a:lnTo>
                  <a:lnTo>
                    <a:pt x="1467" y="597"/>
                  </a:lnTo>
                  <a:lnTo>
                    <a:pt x="1461" y="599"/>
                  </a:lnTo>
                  <a:lnTo>
                    <a:pt x="1456" y="590"/>
                  </a:lnTo>
                  <a:lnTo>
                    <a:pt x="1443" y="594"/>
                  </a:lnTo>
                  <a:lnTo>
                    <a:pt x="1424" y="591"/>
                  </a:lnTo>
                  <a:lnTo>
                    <a:pt x="1436" y="597"/>
                  </a:lnTo>
                  <a:lnTo>
                    <a:pt x="1429" y="607"/>
                  </a:lnTo>
                  <a:lnTo>
                    <a:pt x="1409" y="603"/>
                  </a:lnTo>
                  <a:lnTo>
                    <a:pt x="1413" y="609"/>
                  </a:lnTo>
                  <a:lnTo>
                    <a:pt x="1409" y="615"/>
                  </a:lnTo>
                  <a:lnTo>
                    <a:pt x="1409" y="630"/>
                  </a:lnTo>
                  <a:lnTo>
                    <a:pt x="1393" y="639"/>
                  </a:lnTo>
                  <a:lnTo>
                    <a:pt x="1400" y="645"/>
                  </a:lnTo>
                  <a:lnTo>
                    <a:pt x="1405" y="646"/>
                  </a:lnTo>
                  <a:lnTo>
                    <a:pt x="1412" y="644"/>
                  </a:lnTo>
                  <a:lnTo>
                    <a:pt x="1406" y="650"/>
                  </a:lnTo>
                  <a:lnTo>
                    <a:pt x="1420" y="655"/>
                  </a:lnTo>
                  <a:lnTo>
                    <a:pt x="1441" y="667"/>
                  </a:lnTo>
                  <a:lnTo>
                    <a:pt x="1445" y="658"/>
                  </a:lnTo>
                  <a:lnTo>
                    <a:pt x="1454" y="662"/>
                  </a:lnTo>
                  <a:lnTo>
                    <a:pt x="1459" y="668"/>
                  </a:lnTo>
                  <a:lnTo>
                    <a:pt x="1470" y="667"/>
                  </a:lnTo>
                  <a:lnTo>
                    <a:pt x="1482" y="671"/>
                  </a:lnTo>
                  <a:lnTo>
                    <a:pt x="1503" y="669"/>
                  </a:lnTo>
                  <a:lnTo>
                    <a:pt x="1516" y="674"/>
                  </a:lnTo>
                  <a:lnTo>
                    <a:pt x="1535" y="669"/>
                  </a:lnTo>
                  <a:lnTo>
                    <a:pt x="1533" y="673"/>
                  </a:lnTo>
                  <a:lnTo>
                    <a:pt x="1546" y="675"/>
                  </a:lnTo>
                  <a:lnTo>
                    <a:pt x="1570" y="674"/>
                  </a:lnTo>
                  <a:lnTo>
                    <a:pt x="1573" y="667"/>
                  </a:lnTo>
                  <a:lnTo>
                    <a:pt x="1591" y="667"/>
                  </a:lnTo>
                  <a:lnTo>
                    <a:pt x="1588" y="674"/>
                  </a:lnTo>
                  <a:lnTo>
                    <a:pt x="1599" y="674"/>
                  </a:lnTo>
                  <a:lnTo>
                    <a:pt x="1592" y="669"/>
                  </a:lnTo>
                  <a:lnTo>
                    <a:pt x="1601" y="662"/>
                  </a:lnTo>
                  <a:lnTo>
                    <a:pt x="1604" y="669"/>
                  </a:lnTo>
                  <a:lnTo>
                    <a:pt x="1615" y="671"/>
                  </a:lnTo>
                  <a:lnTo>
                    <a:pt x="1616" y="667"/>
                  </a:lnTo>
                  <a:lnTo>
                    <a:pt x="1623" y="668"/>
                  </a:lnTo>
                  <a:lnTo>
                    <a:pt x="1628" y="651"/>
                  </a:lnTo>
                  <a:lnTo>
                    <a:pt x="1639" y="648"/>
                  </a:lnTo>
                  <a:lnTo>
                    <a:pt x="1637" y="667"/>
                  </a:lnTo>
                  <a:lnTo>
                    <a:pt x="1648" y="667"/>
                  </a:lnTo>
                  <a:lnTo>
                    <a:pt x="1655" y="662"/>
                  </a:lnTo>
                  <a:lnTo>
                    <a:pt x="1667" y="644"/>
                  </a:lnTo>
                  <a:lnTo>
                    <a:pt x="1678" y="636"/>
                  </a:lnTo>
                  <a:lnTo>
                    <a:pt x="1691" y="636"/>
                  </a:lnTo>
                  <a:lnTo>
                    <a:pt x="1696" y="626"/>
                  </a:lnTo>
                  <a:lnTo>
                    <a:pt x="1703" y="639"/>
                  </a:lnTo>
                  <a:lnTo>
                    <a:pt x="1701" y="646"/>
                  </a:lnTo>
                  <a:lnTo>
                    <a:pt x="1707" y="650"/>
                  </a:lnTo>
                  <a:lnTo>
                    <a:pt x="1709" y="645"/>
                  </a:lnTo>
                  <a:lnTo>
                    <a:pt x="1713" y="655"/>
                  </a:lnTo>
                  <a:lnTo>
                    <a:pt x="1715" y="658"/>
                  </a:lnTo>
                  <a:lnTo>
                    <a:pt x="1715" y="667"/>
                  </a:lnTo>
                  <a:lnTo>
                    <a:pt x="1713" y="667"/>
                  </a:lnTo>
                  <a:lnTo>
                    <a:pt x="1730" y="673"/>
                  </a:lnTo>
                  <a:lnTo>
                    <a:pt x="1729" y="667"/>
                  </a:lnTo>
                  <a:lnTo>
                    <a:pt x="1757" y="667"/>
                  </a:lnTo>
                  <a:lnTo>
                    <a:pt x="1755" y="675"/>
                  </a:lnTo>
                  <a:lnTo>
                    <a:pt x="1757" y="682"/>
                  </a:lnTo>
                  <a:lnTo>
                    <a:pt x="1755" y="687"/>
                  </a:lnTo>
                  <a:lnTo>
                    <a:pt x="1760" y="695"/>
                  </a:lnTo>
                  <a:lnTo>
                    <a:pt x="1757" y="707"/>
                  </a:lnTo>
                  <a:lnTo>
                    <a:pt x="1763" y="715"/>
                  </a:lnTo>
                  <a:lnTo>
                    <a:pt x="1763" y="709"/>
                  </a:lnTo>
                  <a:lnTo>
                    <a:pt x="1764" y="714"/>
                  </a:lnTo>
                  <a:lnTo>
                    <a:pt x="1769" y="701"/>
                  </a:lnTo>
                  <a:lnTo>
                    <a:pt x="1771" y="683"/>
                  </a:lnTo>
                  <a:lnTo>
                    <a:pt x="1776" y="685"/>
                  </a:lnTo>
                  <a:lnTo>
                    <a:pt x="1776" y="695"/>
                  </a:lnTo>
                  <a:lnTo>
                    <a:pt x="1779" y="695"/>
                  </a:lnTo>
                  <a:lnTo>
                    <a:pt x="1777" y="705"/>
                  </a:lnTo>
                  <a:lnTo>
                    <a:pt x="1777" y="715"/>
                  </a:lnTo>
                  <a:lnTo>
                    <a:pt x="1784" y="718"/>
                  </a:lnTo>
                  <a:lnTo>
                    <a:pt x="1789" y="711"/>
                  </a:lnTo>
                  <a:lnTo>
                    <a:pt x="1796" y="727"/>
                  </a:lnTo>
                  <a:lnTo>
                    <a:pt x="1806" y="727"/>
                  </a:lnTo>
                  <a:lnTo>
                    <a:pt x="1810" y="737"/>
                  </a:lnTo>
                  <a:lnTo>
                    <a:pt x="1817" y="755"/>
                  </a:lnTo>
                  <a:lnTo>
                    <a:pt x="1809" y="764"/>
                  </a:lnTo>
                  <a:lnTo>
                    <a:pt x="1801" y="761"/>
                  </a:lnTo>
                  <a:lnTo>
                    <a:pt x="1791" y="768"/>
                  </a:lnTo>
                  <a:lnTo>
                    <a:pt x="1788" y="764"/>
                  </a:lnTo>
                  <a:lnTo>
                    <a:pt x="1790" y="774"/>
                  </a:lnTo>
                  <a:lnTo>
                    <a:pt x="1801" y="790"/>
                  </a:lnTo>
                  <a:lnTo>
                    <a:pt x="1812" y="804"/>
                  </a:lnTo>
                  <a:lnTo>
                    <a:pt x="1820" y="808"/>
                  </a:lnTo>
                  <a:lnTo>
                    <a:pt x="1821" y="788"/>
                  </a:lnTo>
                  <a:lnTo>
                    <a:pt x="1826" y="787"/>
                  </a:lnTo>
                  <a:lnTo>
                    <a:pt x="1834" y="793"/>
                  </a:lnTo>
                  <a:lnTo>
                    <a:pt x="1843" y="782"/>
                  </a:lnTo>
                  <a:lnTo>
                    <a:pt x="1852" y="785"/>
                  </a:lnTo>
                  <a:lnTo>
                    <a:pt x="1841" y="765"/>
                  </a:lnTo>
                  <a:lnTo>
                    <a:pt x="1850" y="758"/>
                  </a:lnTo>
                  <a:lnTo>
                    <a:pt x="1849" y="755"/>
                  </a:lnTo>
                  <a:lnTo>
                    <a:pt x="1841" y="755"/>
                  </a:lnTo>
                  <a:lnTo>
                    <a:pt x="1834" y="743"/>
                  </a:lnTo>
                  <a:lnTo>
                    <a:pt x="1831" y="727"/>
                  </a:lnTo>
                  <a:lnTo>
                    <a:pt x="1822" y="716"/>
                  </a:lnTo>
                  <a:lnTo>
                    <a:pt x="1827" y="712"/>
                  </a:lnTo>
                  <a:lnTo>
                    <a:pt x="1827" y="695"/>
                  </a:lnTo>
                  <a:lnTo>
                    <a:pt x="1822" y="690"/>
                  </a:lnTo>
                  <a:lnTo>
                    <a:pt x="1822" y="683"/>
                  </a:lnTo>
                  <a:lnTo>
                    <a:pt x="1809" y="675"/>
                  </a:lnTo>
                  <a:lnTo>
                    <a:pt x="1804" y="667"/>
                  </a:lnTo>
                  <a:lnTo>
                    <a:pt x="1812" y="650"/>
                  </a:lnTo>
                  <a:lnTo>
                    <a:pt x="1818" y="651"/>
                  </a:lnTo>
                  <a:lnTo>
                    <a:pt x="1821" y="644"/>
                  </a:lnTo>
                  <a:lnTo>
                    <a:pt x="1827" y="640"/>
                  </a:lnTo>
                  <a:lnTo>
                    <a:pt x="1820" y="637"/>
                  </a:lnTo>
                  <a:lnTo>
                    <a:pt x="1826" y="623"/>
                  </a:lnTo>
                  <a:lnTo>
                    <a:pt x="1839" y="623"/>
                  </a:lnTo>
                  <a:lnTo>
                    <a:pt x="1852" y="614"/>
                  </a:lnTo>
                  <a:lnTo>
                    <a:pt x="1853" y="609"/>
                  </a:lnTo>
                  <a:lnTo>
                    <a:pt x="1853" y="615"/>
                  </a:lnTo>
                  <a:lnTo>
                    <a:pt x="1876" y="613"/>
                  </a:lnTo>
                  <a:lnTo>
                    <a:pt x="1875" y="601"/>
                  </a:lnTo>
                  <a:lnTo>
                    <a:pt x="1884" y="597"/>
                  </a:lnTo>
                  <a:lnTo>
                    <a:pt x="1895" y="599"/>
                  </a:lnTo>
                  <a:lnTo>
                    <a:pt x="1893" y="582"/>
                  </a:lnTo>
                  <a:lnTo>
                    <a:pt x="1897" y="578"/>
                  </a:lnTo>
                  <a:lnTo>
                    <a:pt x="1901" y="591"/>
                  </a:lnTo>
                  <a:lnTo>
                    <a:pt x="1907" y="575"/>
                  </a:lnTo>
                  <a:lnTo>
                    <a:pt x="1912" y="569"/>
                  </a:lnTo>
                  <a:lnTo>
                    <a:pt x="1909" y="559"/>
                  </a:lnTo>
                  <a:lnTo>
                    <a:pt x="1924" y="553"/>
                  </a:lnTo>
                  <a:lnTo>
                    <a:pt x="1918" y="550"/>
                  </a:lnTo>
                  <a:lnTo>
                    <a:pt x="1925" y="542"/>
                  </a:lnTo>
                  <a:lnTo>
                    <a:pt x="1925" y="533"/>
                  </a:lnTo>
                  <a:lnTo>
                    <a:pt x="1918" y="537"/>
                  </a:lnTo>
                  <a:lnTo>
                    <a:pt x="1916" y="533"/>
                  </a:lnTo>
                  <a:lnTo>
                    <a:pt x="1884" y="545"/>
                  </a:lnTo>
                  <a:lnTo>
                    <a:pt x="1891" y="555"/>
                  </a:lnTo>
                  <a:lnTo>
                    <a:pt x="1875" y="558"/>
                  </a:lnTo>
                  <a:lnTo>
                    <a:pt x="1882" y="575"/>
                  </a:lnTo>
                  <a:lnTo>
                    <a:pt x="1884" y="566"/>
                  </a:lnTo>
                  <a:lnTo>
                    <a:pt x="1884" y="585"/>
                  </a:lnTo>
                  <a:lnTo>
                    <a:pt x="1881" y="590"/>
                  </a:lnTo>
                  <a:lnTo>
                    <a:pt x="1877" y="583"/>
                  </a:lnTo>
                  <a:lnTo>
                    <a:pt x="1880" y="578"/>
                  </a:lnTo>
                  <a:lnTo>
                    <a:pt x="1875" y="581"/>
                  </a:lnTo>
                  <a:lnTo>
                    <a:pt x="1874" y="575"/>
                  </a:lnTo>
                  <a:lnTo>
                    <a:pt x="1863" y="575"/>
                  </a:lnTo>
                  <a:lnTo>
                    <a:pt x="1858" y="577"/>
                  </a:lnTo>
                  <a:lnTo>
                    <a:pt x="1852" y="588"/>
                  </a:lnTo>
                  <a:lnTo>
                    <a:pt x="1849" y="582"/>
                  </a:lnTo>
                  <a:lnTo>
                    <a:pt x="1834" y="581"/>
                  </a:lnTo>
                  <a:lnTo>
                    <a:pt x="1832" y="576"/>
                  </a:lnTo>
                  <a:lnTo>
                    <a:pt x="1818" y="581"/>
                  </a:lnTo>
                  <a:lnTo>
                    <a:pt x="1812" y="587"/>
                  </a:lnTo>
                  <a:lnTo>
                    <a:pt x="1815" y="594"/>
                  </a:lnTo>
                  <a:lnTo>
                    <a:pt x="1822" y="596"/>
                  </a:lnTo>
                  <a:lnTo>
                    <a:pt x="1822" y="601"/>
                  </a:lnTo>
                  <a:lnTo>
                    <a:pt x="1827" y="603"/>
                  </a:lnTo>
                  <a:lnTo>
                    <a:pt x="1817" y="605"/>
                  </a:lnTo>
                  <a:lnTo>
                    <a:pt x="1809" y="612"/>
                  </a:lnTo>
                  <a:lnTo>
                    <a:pt x="1804" y="609"/>
                  </a:lnTo>
                  <a:lnTo>
                    <a:pt x="1810" y="605"/>
                  </a:lnTo>
                  <a:lnTo>
                    <a:pt x="1791" y="608"/>
                  </a:lnTo>
                  <a:lnTo>
                    <a:pt x="1791" y="602"/>
                  </a:lnTo>
                  <a:lnTo>
                    <a:pt x="1783" y="605"/>
                  </a:lnTo>
                  <a:lnTo>
                    <a:pt x="1785" y="597"/>
                  </a:lnTo>
                  <a:lnTo>
                    <a:pt x="1777" y="597"/>
                  </a:lnTo>
                  <a:lnTo>
                    <a:pt x="1779" y="590"/>
                  </a:lnTo>
                  <a:lnTo>
                    <a:pt x="1766" y="594"/>
                  </a:lnTo>
                  <a:lnTo>
                    <a:pt x="1763" y="590"/>
                  </a:lnTo>
                  <a:lnTo>
                    <a:pt x="1764" y="578"/>
                  </a:lnTo>
                  <a:lnTo>
                    <a:pt x="1776" y="564"/>
                  </a:lnTo>
                  <a:lnTo>
                    <a:pt x="1776" y="558"/>
                  </a:lnTo>
                  <a:lnTo>
                    <a:pt x="1783" y="542"/>
                  </a:lnTo>
                  <a:lnTo>
                    <a:pt x="1790" y="537"/>
                  </a:lnTo>
                  <a:lnTo>
                    <a:pt x="1822" y="533"/>
                  </a:lnTo>
                  <a:lnTo>
                    <a:pt x="1846" y="521"/>
                  </a:lnTo>
                  <a:lnTo>
                    <a:pt x="1861" y="516"/>
                  </a:lnTo>
                  <a:lnTo>
                    <a:pt x="1868" y="506"/>
                  </a:lnTo>
                  <a:lnTo>
                    <a:pt x="1882" y="501"/>
                  </a:lnTo>
                  <a:lnTo>
                    <a:pt x="1884" y="492"/>
                  </a:lnTo>
                  <a:lnTo>
                    <a:pt x="1897" y="496"/>
                  </a:lnTo>
                  <a:lnTo>
                    <a:pt x="1907" y="486"/>
                  </a:lnTo>
                  <a:lnTo>
                    <a:pt x="1916" y="492"/>
                  </a:lnTo>
                  <a:lnTo>
                    <a:pt x="1919" y="497"/>
                  </a:lnTo>
                  <a:lnTo>
                    <a:pt x="1927" y="499"/>
                  </a:lnTo>
                  <a:lnTo>
                    <a:pt x="1929" y="513"/>
                  </a:lnTo>
                  <a:lnTo>
                    <a:pt x="1944" y="522"/>
                  </a:lnTo>
                  <a:lnTo>
                    <a:pt x="1936" y="528"/>
                  </a:lnTo>
                  <a:lnTo>
                    <a:pt x="1944" y="537"/>
                  </a:lnTo>
                  <a:lnTo>
                    <a:pt x="1945" y="547"/>
                  </a:lnTo>
                  <a:lnTo>
                    <a:pt x="1954" y="551"/>
                  </a:lnTo>
                  <a:lnTo>
                    <a:pt x="1954" y="558"/>
                  </a:lnTo>
                  <a:lnTo>
                    <a:pt x="1945" y="558"/>
                  </a:lnTo>
                  <a:lnTo>
                    <a:pt x="1939" y="560"/>
                  </a:lnTo>
                  <a:lnTo>
                    <a:pt x="1939" y="565"/>
                  </a:lnTo>
                  <a:lnTo>
                    <a:pt x="1945" y="564"/>
                  </a:lnTo>
                  <a:lnTo>
                    <a:pt x="1954" y="575"/>
                  </a:lnTo>
                  <a:lnTo>
                    <a:pt x="1960" y="577"/>
                  </a:lnTo>
                  <a:lnTo>
                    <a:pt x="1962" y="582"/>
                  </a:lnTo>
                  <a:lnTo>
                    <a:pt x="1971" y="593"/>
                  </a:lnTo>
                  <a:lnTo>
                    <a:pt x="1989" y="597"/>
                  </a:lnTo>
                  <a:lnTo>
                    <a:pt x="1988" y="599"/>
                  </a:lnTo>
                  <a:lnTo>
                    <a:pt x="1989" y="608"/>
                  </a:lnTo>
                  <a:lnTo>
                    <a:pt x="1989" y="618"/>
                  </a:lnTo>
                  <a:lnTo>
                    <a:pt x="1999" y="625"/>
                  </a:lnTo>
                  <a:lnTo>
                    <a:pt x="2006" y="624"/>
                  </a:lnTo>
                  <a:lnTo>
                    <a:pt x="2020" y="630"/>
                  </a:lnTo>
                  <a:lnTo>
                    <a:pt x="2030" y="624"/>
                  </a:lnTo>
                  <a:lnTo>
                    <a:pt x="2038" y="628"/>
                  </a:lnTo>
                  <a:lnTo>
                    <a:pt x="2038" y="619"/>
                  </a:lnTo>
                  <a:lnTo>
                    <a:pt x="2046" y="624"/>
                  </a:lnTo>
                  <a:lnTo>
                    <a:pt x="2051" y="615"/>
                  </a:lnTo>
                  <a:lnTo>
                    <a:pt x="2051" y="605"/>
                  </a:lnTo>
                  <a:lnTo>
                    <a:pt x="2068" y="613"/>
                  </a:lnTo>
                  <a:lnTo>
                    <a:pt x="2068" y="630"/>
                  </a:lnTo>
                  <a:lnTo>
                    <a:pt x="2083" y="645"/>
                  </a:lnTo>
                  <a:lnTo>
                    <a:pt x="2090" y="650"/>
                  </a:lnTo>
                  <a:lnTo>
                    <a:pt x="2099" y="667"/>
                  </a:lnTo>
                  <a:lnTo>
                    <a:pt x="2106" y="667"/>
                  </a:lnTo>
                  <a:lnTo>
                    <a:pt x="2121" y="678"/>
                  </a:lnTo>
                  <a:lnTo>
                    <a:pt x="2129" y="677"/>
                  </a:lnTo>
                  <a:lnTo>
                    <a:pt x="2129" y="668"/>
                  </a:lnTo>
                  <a:lnTo>
                    <a:pt x="2137" y="669"/>
                  </a:lnTo>
                  <a:lnTo>
                    <a:pt x="2139" y="667"/>
                  </a:lnTo>
                  <a:lnTo>
                    <a:pt x="2148" y="673"/>
                  </a:lnTo>
                  <a:lnTo>
                    <a:pt x="2150" y="669"/>
                  </a:lnTo>
                  <a:lnTo>
                    <a:pt x="2164" y="677"/>
                  </a:lnTo>
                  <a:lnTo>
                    <a:pt x="2182" y="667"/>
                  </a:lnTo>
                  <a:lnTo>
                    <a:pt x="2204" y="673"/>
                  </a:lnTo>
                  <a:lnTo>
                    <a:pt x="2221" y="667"/>
                  </a:lnTo>
                  <a:lnTo>
                    <a:pt x="2230" y="655"/>
                  </a:lnTo>
                  <a:lnTo>
                    <a:pt x="2267" y="660"/>
                  </a:lnTo>
                  <a:lnTo>
                    <a:pt x="2275" y="657"/>
                  </a:lnTo>
                  <a:lnTo>
                    <a:pt x="2290" y="671"/>
                  </a:lnTo>
                  <a:lnTo>
                    <a:pt x="2293" y="668"/>
                  </a:lnTo>
                  <a:lnTo>
                    <a:pt x="2300" y="667"/>
                  </a:lnTo>
                  <a:lnTo>
                    <a:pt x="2300" y="673"/>
                  </a:lnTo>
                  <a:lnTo>
                    <a:pt x="2322" y="667"/>
                  </a:lnTo>
                  <a:lnTo>
                    <a:pt x="2337" y="667"/>
                  </a:lnTo>
                  <a:lnTo>
                    <a:pt x="2328" y="655"/>
                  </a:lnTo>
                  <a:lnTo>
                    <a:pt x="2328" y="650"/>
                  </a:lnTo>
                  <a:lnTo>
                    <a:pt x="2321" y="640"/>
                  </a:lnTo>
                  <a:lnTo>
                    <a:pt x="2317" y="630"/>
                  </a:lnTo>
                  <a:lnTo>
                    <a:pt x="2322" y="623"/>
                  </a:lnTo>
                  <a:lnTo>
                    <a:pt x="2328" y="623"/>
                  </a:lnTo>
                  <a:lnTo>
                    <a:pt x="2331" y="625"/>
                  </a:lnTo>
                  <a:lnTo>
                    <a:pt x="2336" y="636"/>
                  </a:lnTo>
                  <a:lnTo>
                    <a:pt x="2342" y="641"/>
                  </a:lnTo>
                  <a:lnTo>
                    <a:pt x="2342" y="655"/>
                  </a:lnTo>
                  <a:lnTo>
                    <a:pt x="2349" y="667"/>
                  </a:lnTo>
                  <a:lnTo>
                    <a:pt x="2359" y="669"/>
                  </a:lnTo>
                  <a:lnTo>
                    <a:pt x="2364" y="678"/>
                  </a:lnTo>
                  <a:lnTo>
                    <a:pt x="2377" y="683"/>
                  </a:lnTo>
                  <a:lnTo>
                    <a:pt x="2384" y="689"/>
                  </a:lnTo>
                  <a:lnTo>
                    <a:pt x="2396" y="688"/>
                  </a:lnTo>
                  <a:lnTo>
                    <a:pt x="2404" y="677"/>
                  </a:lnTo>
                  <a:lnTo>
                    <a:pt x="2403" y="641"/>
                  </a:lnTo>
                  <a:lnTo>
                    <a:pt x="2398" y="641"/>
                  </a:lnTo>
                  <a:lnTo>
                    <a:pt x="2397" y="650"/>
                  </a:lnTo>
                  <a:lnTo>
                    <a:pt x="2390" y="650"/>
                  </a:lnTo>
                  <a:lnTo>
                    <a:pt x="2390" y="641"/>
                  </a:lnTo>
                  <a:lnTo>
                    <a:pt x="2385" y="636"/>
                  </a:lnTo>
                  <a:lnTo>
                    <a:pt x="2364" y="637"/>
                  </a:lnTo>
                  <a:lnTo>
                    <a:pt x="2359" y="646"/>
                  </a:lnTo>
                  <a:lnTo>
                    <a:pt x="2360" y="650"/>
                  </a:lnTo>
                  <a:lnTo>
                    <a:pt x="2361" y="658"/>
                  </a:lnTo>
                  <a:lnTo>
                    <a:pt x="2354" y="656"/>
                  </a:lnTo>
                  <a:lnTo>
                    <a:pt x="2348" y="636"/>
                  </a:lnTo>
                  <a:lnTo>
                    <a:pt x="2339" y="624"/>
                  </a:lnTo>
                  <a:lnTo>
                    <a:pt x="2334" y="614"/>
                  </a:lnTo>
                  <a:lnTo>
                    <a:pt x="2342" y="619"/>
                  </a:lnTo>
                  <a:lnTo>
                    <a:pt x="2342" y="605"/>
                  </a:lnTo>
                  <a:lnTo>
                    <a:pt x="2331" y="596"/>
                  </a:lnTo>
                  <a:lnTo>
                    <a:pt x="2331" y="590"/>
                  </a:lnTo>
                  <a:lnTo>
                    <a:pt x="2321" y="575"/>
                  </a:lnTo>
                  <a:lnTo>
                    <a:pt x="2328" y="575"/>
                  </a:lnTo>
                  <a:lnTo>
                    <a:pt x="2334" y="583"/>
                  </a:lnTo>
                  <a:lnTo>
                    <a:pt x="2339" y="578"/>
                  </a:lnTo>
                  <a:lnTo>
                    <a:pt x="2339" y="575"/>
                  </a:lnTo>
                  <a:lnTo>
                    <a:pt x="2349" y="575"/>
                  </a:lnTo>
                  <a:lnTo>
                    <a:pt x="2353" y="581"/>
                  </a:lnTo>
                  <a:lnTo>
                    <a:pt x="2374" y="577"/>
                  </a:lnTo>
                  <a:lnTo>
                    <a:pt x="2374" y="575"/>
                  </a:lnTo>
                  <a:lnTo>
                    <a:pt x="2358" y="554"/>
                  </a:lnTo>
                  <a:lnTo>
                    <a:pt x="2365" y="551"/>
                  </a:lnTo>
                  <a:lnTo>
                    <a:pt x="2377" y="554"/>
                  </a:lnTo>
                  <a:lnTo>
                    <a:pt x="2379" y="562"/>
                  </a:lnTo>
                  <a:lnTo>
                    <a:pt x="2390" y="575"/>
                  </a:lnTo>
                  <a:lnTo>
                    <a:pt x="2385" y="559"/>
                  </a:lnTo>
                  <a:lnTo>
                    <a:pt x="2398" y="560"/>
                  </a:lnTo>
                  <a:lnTo>
                    <a:pt x="2404" y="575"/>
                  </a:lnTo>
                  <a:lnTo>
                    <a:pt x="2420" y="582"/>
                  </a:lnTo>
                  <a:lnTo>
                    <a:pt x="2414" y="590"/>
                  </a:lnTo>
                  <a:lnTo>
                    <a:pt x="2422" y="594"/>
                  </a:lnTo>
                  <a:lnTo>
                    <a:pt x="2439" y="587"/>
                  </a:lnTo>
                  <a:lnTo>
                    <a:pt x="2439" y="594"/>
                  </a:lnTo>
                  <a:lnTo>
                    <a:pt x="2434" y="605"/>
                  </a:lnTo>
                  <a:lnTo>
                    <a:pt x="2433" y="615"/>
                  </a:lnTo>
                  <a:lnTo>
                    <a:pt x="2427" y="623"/>
                  </a:lnTo>
                  <a:lnTo>
                    <a:pt x="2431" y="628"/>
                  </a:lnTo>
                  <a:lnTo>
                    <a:pt x="2439" y="624"/>
                  </a:lnTo>
                  <a:lnTo>
                    <a:pt x="2443" y="631"/>
                  </a:lnTo>
                  <a:lnTo>
                    <a:pt x="2443" y="612"/>
                  </a:lnTo>
                  <a:lnTo>
                    <a:pt x="2466" y="596"/>
                  </a:lnTo>
                  <a:lnTo>
                    <a:pt x="2467" y="597"/>
                  </a:lnTo>
                  <a:lnTo>
                    <a:pt x="2466" y="607"/>
                  </a:lnTo>
                  <a:lnTo>
                    <a:pt x="2467" y="619"/>
                  </a:lnTo>
                  <a:lnTo>
                    <a:pt x="2466" y="636"/>
                  </a:lnTo>
                  <a:lnTo>
                    <a:pt x="2460" y="650"/>
                  </a:lnTo>
                  <a:lnTo>
                    <a:pt x="2459" y="668"/>
                  </a:lnTo>
                  <a:lnTo>
                    <a:pt x="2466" y="683"/>
                  </a:lnTo>
                  <a:lnTo>
                    <a:pt x="2446" y="695"/>
                  </a:lnTo>
                  <a:lnTo>
                    <a:pt x="2451" y="712"/>
                  </a:lnTo>
                  <a:lnTo>
                    <a:pt x="2466" y="711"/>
                  </a:lnTo>
                  <a:lnTo>
                    <a:pt x="2466" y="736"/>
                  </a:lnTo>
                  <a:lnTo>
                    <a:pt x="2482" y="720"/>
                  </a:lnTo>
                  <a:lnTo>
                    <a:pt x="2486" y="727"/>
                  </a:lnTo>
                  <a:lnTo>
                    <a:pt x="2495" y="718"/>
                  </a:lnTo>
                  <a:lnTo>
                    <a:pt x="2495" y="727"/>
                  </a:lnTo>
                  <a:lnTo>
                    <a:pt x="2489" y="733"/>
                  </a:lnTo>
                  <a:lnTo>
                    <a:pt x="2494" y="743"/>
                  </a:lnTo>
                  <a:lnTo>
                    <a:pt x="2504" y="744"/>
                  </a:lnTo>
                  <a:lnTo>
                    <a:pt x="2509" y="727"/>
                  </a:lnTo>
                  <a:lnTo>
                    <a:pt x="2504" y="711"/>
                  </a:lnTo>
                  <a:lnTo>
                    <a:pt x="2506" y="695"/>
                  </a:lnTo>
                  <a:lnTo>
                    <a:pt x="2502" y="682"/>
                  </a:lnTo>
                  <a:lnTo>
                    <a:pt x="2488" y="673"/>
                  </a:lnTo>
                  <a:lnTo>
                    <a:pt x="2488" y="667"/>
                  </a:lnTo>
                  <a:lnTo>
                    <a:pt x="2495" y="636"/>
                  </a:lnTo>
                  <a:lnTo>
                    <a:pt x="2492" y="631"/>
                  </a:lnTo>
                  <a:lnTo>
                    <a:pt x="2489" y="620"/>
                  </a:lnTo>
                  <a:lnTo>
                    <a:pt x="2495" y="620"/>
                  </a:lnTo>
                  <a:lnTo>
                    <a:pt x="2500" y="618"/>
                  </a:lnTo>
                  <a:lnTo>
                    <a:pt x="2504" y="620"/>
                  </a:lnTo>
                  <a:lnTo>
                    <a:pt x="2506" y="625"/>
                  </a:lnTo>
                  <a:lnTo>
                    <a:pt x="2510" y="623"/>
                  </a:lnTo>
                  <a:lnTo>
                    <a:pt x="2521" y="621"/>
                  </a:lnTo>
                  <a:lnTo>
                    <a:pt x="2533" y="628"/>
                  </a:lnTo>
                  <a:lnTo>
                    <a:pt x="2540" y="625"/>
                  </a:lnTo>
                  <a:lnTo>
                    <a:pt x="2545" y="613"/>
                  </a:lnTo>
                  <a:lnTo>
                    <a:pt x="2549" y="607"/>
                  </a:lnTo>
                  <a:lnTo>
                    <a:pt x="2563" y="599"/>
                  </a:lnTo>
                  <a:lnTo>
                    <a:pt x="2563" y="590"/>
                  </a:lnTo>
                  <a:lnTo>
                    <a:pt x="2569" y="574"/>
                  </a:lnTo>
                  <a:lnTo>
                    <a:pt x="2595" y="555"/>
                  </a:lnTo>
                  <a:lnTo>
                    <a:pt x="2602" y="544"/>
                  </a:lnTo>
                  <a:lnTo>
                    <a:pt x="2591" y="542"/>
                  </a:lnTo>
                  <a:lnTo>
                    <a:pt x="2594" y="520"/>
                  </a:lnTo>
                  <a:lnTo>
                    <a:pt x="2592" y="506"/>
                  </a:lnTo>
                  <a:lnTo>
                    <a:pt x="2589" y="491"/>
                  </a:lnTo>
                  <a:lnTo>
                    <a:pt x="2576" y="483"/>
                  </a:lnTo>
                  <a:lnTo>
                    <a:pt x="2575" y="491"/>
                  </a:lnTo>
                  <a:lnTo>
                    <a:pt x="2573" y="499"/>
                  </a:lnTo>
                  <a:lnTo>
                    <a:pt x="2572" y="508"/>
                  </a:lnTo>
                  <a:lnTo>
                    <a:pt x="2579" y="505"/>
                  </a:lnTo>
                  <a:lnTo>
                    <a:pt x="2583" y="497"/>
                  </a:lnTo>
                  <a:lnTo>
                    <a:pt x="2570" y="522"/>
                  </a:lnTo>
                  <a:lnTo>
                    <a:pt x="2551" y="528"/>
                  </a:lnTo>
                  <a:lnTo>
                    <a:pt x="2538" y="526"/>
                  </a:lnTo>
                  <a:lnTo>
                    <a:pt x="2542" y="516"/>
                  </a:lnTo>
                  <a:lnTo>
                    <a:pt x="2543" y="494"/>
                  </a:lnTo>
                  <a:lnTo>
                    <a:pt x="2547" y="491"/>
                  </a:lnTo>
                  <a:lnTo>
                    <a:pt x="2554" y="492"/>
                  </a:lnTo>
                  <a:lnTo>
                    <a:pt x="2563" y="472"/>
                  </a:lnTo>
                  <a:lnTo>
                    <a:pt x="2563" y="462"/>
                  </a:lnTo>
                  <a:lnTo>
                    <a:pt x="2557" y="465"/>
                  </a:lnTo>
                  <a:lnTo>
                    <a:pt x="2557" y="463"/>
                  </a:lnTo>
                  <a:lnTo>
                    <a:pt x="2558" y="449"/>
                  </a:lnTo>
                  <a:lnTo>
                    <a:pt x="2567" y="432"/>
                  </a:lnTo>
                  <a:lnTo>
                    <a:pt x="2586" y="425"/>
                  </a:lnTo>
                  <a:lnTo>
                    <a:pt x="2589" y="421"/>
                  </a:lnTo>
                  <a:lnTo>
                    <a:pt x="2581" y="436"/>
                  </a:lnTo>
                  <a:lnTo>
                    <a:pt x="2581" y="451"/>
                  </a:lnTo>
                  <a:lnTo>
                    <a:pt x="2585" y="458"/>
                  </a:lnTo>
                  <a:lnTo>
                    <a:pt x="2595" y="445"/>
                  </a:lnTo>
                  <a:lnTo>
                    <a:pt x="2599" y="427"/>
                  </a:lnTo>
                  <a:lnTo>
                    <a:pt x="2594" y="408"/>
                  </a:lnTo>
                  <a:lnTo>
                    <a:pt x="2583" y="408"/>
                  </a:lnTo>
                  <a:lnTo>
                    <a:pt x="2569" y="420"/>
                  </a:lnTo>
                  <a:lnTo>
                    <a:pt x="2556" y="418"/>
                  </a:lnTo>
                  <a:lnTo>
                    <a:pt x="2542" y="391"/>
                  </a:lnTo>
                  <a:lnTo>
                    <a:pt x="2536" y="386"/>
                  </a:lnTo>
                  <a:lnTo>
                    <a:pt x="2537" y="394"/>
                  </a:lnTo>
                  <a:lnTo>
                    <a:pt x="2532" y="399"/>
                  </a:lnTo>
                  <a:lnTo>
                    <a:pt x="2524" y="392"/>
                  </a:lnTo>
                  <a:lnTo>
                    <a:pt x="2524" y="387"/>
                  </a:lnTo>
                  <a:lnTo>
                    <a:pt x="2508" y="379"/>
                  </a:lnTo>
                  <a:lnTo>
                    <a:pt x="2505" y="372"/>
                  </a:lnTo>
                  <a:lnTo>
                    <a:pt x="2505" y="367"/>
                  </a:lnTo>
                  <a:lnTo>
                    <a:pt x="2479" y="370"/>
                  </a:lnTo>
                  <a:lnTo>
                    <a:pt x="2465" y="360"/>
                  </a:lnTo>
                  <a:lnTo>
                    <a:pt x="2461" y="352"/>
                  </a:lnTo>
                  <a:lnTo>
                    <a:pt x="2465" y="345"/>
                  </a:lnTo>
                  <a:lnTo>
                    <a:pt x="2447" y="336"/>
                  </a:lnTo>
                  <a:lnTo>
                    <a:pt x="2445" y="328"/>
                  </a:lnTo>
                  <a:lnTo>
                    <a:pt x="2436" y="318"/>
                  </a:lnTo>
                  <a:lnTo>
                    <a:pt x="2434" y="290"/>
                  </a:lnTo>
                  <a:lnTo>
                    <a:pt x="2434" y="275"/>
                  </a:lnTo>
                  <a:lnTo>
                    <a:pt x="2435" y="266"/>
                  </a:lnTo>
                  <a:lnTo>
                    <a:pt x="2441" y="262"/>
                  </a:lnTo>
                  <a:lnTo>
                    <a:pt x="2445" y="262"/>
                  </a:lnTo>
                  <a:lnTo>
                    <a:pt x="2456" y="236"/>
                  </a:lnTo>
                  <a:lnTo>
                    <a:pt x="2459" y="236"/>
                  </a:lnTo>
                  <a:lnTo>
                    <a:pt x="2461" y="242"/>
                  </a:lnTo>
                  <a:lnTo>
                    <a:pt x="2465" y="237"/>
                  </a:lnTo>
                  <a:lnTo>
                    <a:pt x="2466" y="222"/>
                  </a:lnTo>
                  <a:lnTo>
                    <a:pt x="2461" y="227"/>
                  </a:lnTo>
                  <a:lnTo>
                    <a:pt x="2452" y="204"/>
                  </a:lnTo>
                  <a:lnTo>
                    <a:pt x="2444" y="194"/>
                  </a:lnTo>
                  <a:lnTo>
                    <a:pt x="2444" y="184"/>
                  </a:lnTo>
                  <a:lnTo>
                    <a:pt x="2445" y="171"/>
                  </a:lnTo>
                  <a:lnTo>
                    <a:pt x="2452" y="156"/>
                  </a:lnTo>
                  <a:lnTo>
                    <a:pt x="2449" y="156"/>
                  </a:lnTo>
                  <a:lnTo>
                    <a:pt x="2450" y="145"/>
                  </a:lnTo>
                  <a:lnTo>
                    <a:pt x="2451" y="137"/>
                  </a:lnTo>
                  <a:lnTo>
                    <a:pt x="2451" y="122"/>
                  </a:lnTo>
                  <a:lnTo>
                    <a:pt x="2455" y="117"/>
                  </a:lnTo>
                  <a:lnTo>
                    <a:pt x="2460" y="118"/>
                  </a:lnTo>
                  <a:lnTo>
                    <a:pt x="2461" y="114"/>
                  </a:lnTo>
                  <a:lnTo>
                    <a:pt x="2462" y="106"/>
                  </a:lnTo>
                  <a:lnTo>
                    <a:pt x="2470" y="101"/>
                  </a:lnTo>
                  <a:lnTo>
                    <a:pt x="2488" y="124"/>
                  </a:lnTo>
                  <a:lnTo>
                    <a:pt x="2492" y="123"/>
                  </a:lnTo>
                  <a:lnTo>
                    <a:pt x="2495" y="107"/>
                  </a:lnTo>
                  <a:lnTo>
                    <a:pt x="2493" y="86"/>
                  </a:lnTo>
                  <a:lnTo>
                    <a:pt x="2487" y="85"/>
                  </a:lnTo>
                  <a:lnTo>
                    <a:pt x="2481" y="79"/>
                  </a:lnTo>
                  <a:lnTo>
                    <a:pt x="2479" y="67"/>
                  </a:lnTo>
                  <a:lnTo>
                    <a:pt x="2488" y="52"/>
                  </a:lnTo>
                  <a:lnTo>
                    <a:pt x="2502" y="36"/>
                  </a:lnTo>
                  <a:lnTo>
                    <a:pt x="2505" y="26"/>
                  </a:lnTo>
                  <a:lnTo>
                    <a:pt x="2506" y="16"/>
                  </a:lnTo>
                  <a:lnTo>
                    <a:pt x="2513" y="2"/>
                  </a:lnTo>
                  <a:lnTo>
                    <a:pt x="2522" y="0"/>
                  </a:lnTo>
                  <a:lnTo>
                    <a:pt x="2531" y="2"/>
                  </a:lnTo>
                  <a:lnTo>
                    <a:pt x="2541" y="0"/>
                  </a:lnTo>
                  <a:lnTo>
                    <a:pt x="2551" y="10"/>
                  </a:lnTo>
                  <a:lnTo>
                    <a:pt x="2549" y="18"/>
                  </a:lnTo>
                  <a:lnTo>
                    <a:pt x="2546" y="22"/>
                  </a:lnTo>
                  <a:lnTo>
                    <a:pt x="2545" y="32"/>
                  </a:lnTo>
                  <a:lnTo>
                    <a:pt x="2546" y="38"/>
                  </a:lnTo>
                  <a:lnTo>
                    <a:pt x="2554" y="32"/>
                  </a:lnTo>
                  <a:lnTo>
                    <a:pt x="2554" y="49"/>
                  </a:lnTo>
                  <a:lnTo>
                    <a:pt x="2564" y="40"/>
                  </a:lnTo>
                  <a:lnTo>
                    <a:pt x="2567" y="32"/>
                  </a:lnTo>
                  <a:lnTo>
                    <a:pt x="2576" y="44"/>
                  </a:lnTo>
                  <a:lnTo>
                    <a:pt x="2594" y="37"/>
                  </a:lnTo>
                  <a:lnTo>
                    <a:pt x="2594" y="47"/>
                  </a:lnTo>
                  <a:lnTo>
                    <a:pt x="2590" y="63"/>
                  </a:lnTo>
                  <a:lnTo>
                    <a:pt x="2595" y="75"/>
                  </a:lnTo>
                  <a:lnTo>
                    <a:pt x="2605" y="76"/>
                  </a:lnTo>
                  <a:lnTo>
                    <a:pt x="2632" y="115"/>
                  </a:lnTo>
                  <a:lnTo>
                    <a:pt x="2637" y="147"/>
                  </a:lnTo>
                  <a:lnTo>
                    <a:pt x="2638" y="167"/>
                  </a:lnTo>
                  <a:lnTo>
                    <a:pt x="2637" y="190"/>
                  </a:lnTo>
                  <a:lnTo>
                    <a:pt x="2633" y="189"/>
                  </a:lnTo>
                  <a:lnTo>
                    <a:pt x="2634" y="198"/>
                  </a:lnTo>
                  <a:lnTo>
                    <a:pt x="2645" y="201"/>
                  </a:lnTo>
                  <a:lnTo>
                    <a:pt x="2648" y="221"/>
                  </a:lnTo>
                  <a:lnTo>
                    <a:pt x="2662" y="220"/>
                  </a:lnTo>
                  <a:lnTo>
                    <a:pt x="2671" y="230"/>
                  </a:lnTo>
                  <a:lnTo>
                    <a:pt x="2671" y="244"/>
                  </a:lnTo>
                  <a:lnTo>
                    <a:pt x="2672" y="251"/>
                  </a:lnTo>
                  <a:lnTo>
                    <a:pt x="2681" y="264"/>
                  </a:lnTo>
                  <a:lnTo>
                    <a:pt x="2683" y="274"/>
                  </a:lnTo>
                  <a:lnTo>
                    <a:pt x="2685" y="284"/>
                  </a:lnTo>
                  <a:lnTo>
                    <a:pt x="2688" y="284"/>
                  </a:lnTo>
                  <a:lnTo>
                    <a:pt x="2692" y="279"/>
                  </a:lnTo>
                  <a:lnTo>
                    <a:pt x="2693" y="274"/>
                  </a:lnTo>
                  <a:lnTo>
                    <a:pt x="2701" y="280"/>
                  </a:lnTo>
                  <a:lnTo>
                    <a:pt x="2703" y="297"/>
                  </a:lnTo>
                  <a:lnTo>
                    <a:pt x="2709" y="301"/>
                  </a:lnTo>
                  <a:lnTo>
                    <a:pt x="2713" y="308"/>
                  </a:lnTo>
                  <a:lnTo>
                    <a:pt x="2694" y="312"/>
                  </a:lnTo>
                  <a:lnTo>
                    <a:pt x="2671" y="301"/>
                  </a:lnTo>
                  <a:lnTo>
                    <a:pt x="2664" y="302"/>
                  </a:lnTo>
                  <a:lnTo>
                    <a:pt x="2665" y="306"/>
                  </a:lnTo>
                  <a:lnTo>
                    <a:pt x="2665" y="312"/>
                  </a:lnTo>
                  <a:lnTo>
                    <a:pt x="2661" y="316"/>
                  </a:lnTo>
                  <a:lnTo>
                    <a:pt x="2661" y="318"/>
                  </a:lnTo>
                  <a:lnTo>
                    <a:pt x="2680" y="321"/>
                  </a:lnTo>
                  <a:lnTo>
                    <a:pt x="2688" y="334"/>
                  </a:lnTo>
                  <a:lnTo>
                    <a:pt x="2683" y="343"/>
                  </a:lnTo>
                  <a:lnTo>
                    <a:pt x="2676" y="352"/>
                  </a:lnTo>
                  <a:lnTo>
                    <a:pt x="2670" y="352"/>
                  </a:lnTo>
                  <a:lnTo>
                    <a:pt x="2664" y="357"/>
                  </a:lnTo>
                  <a:lnTo>
                    <a:pt x="2658" y="357"/>
                  </a:lnTo>
                  <a:lnTo>
                    <a:pt x="2656" y="364"/>
                  </a:lnTo>
                  <a:lnTo>
                    <a:pt x="2648" y="371"/>
                  </a:lnTo>
                  <a:lnTo>
                    <a:pt x="2650" y="378"/>
                  </a:lnTo>
                  <a:lnTo>
                    <a:pt x="2649" y="381"/>
                  </a:lnTo>
                  <a:lnTo>
                    <a:pt x="2669" y="381"/>
                  </a:lnTo>
                  <a:lnTo>
                    <a:pt x="2673" y="388"/>
                  </a:lnTo>
                  <a:lnTo>
                    <a:pt x="2678" y="402"/>
                  </a:lnTo>
                  <a:lnTo>
                    <a:pt x="2692" y="408"/>
                  </a:lnTo>
                  <a:lnTo>
                    <a:pt x="2705" y="405"/>
                  </a:lnTo>
                  <a:lnTo>
                    <a:pt x="2715" y="391"/>
                  </a:lnTo>
                  <a:lnTo>
                    <a:pt x="2723" y="389"/>
                  </a:lnTo>
                  <a:lnTo>
                    <a:pt x="2724" y="395"/>
                  </a:lnTo>
                  <a:lnTo>
                    <a:pt x="2718" y="404"/>
                  </a:lnTo>
                  <a:lnTo>
                    <a:pt x="2725" y="402"/>
                  </a:lnTo>
                  <a:lnTo>
                    <a:pt x="2731" y="413"/>
                  </a:lnTo>
                  <a:lnTo>
                    <a:pt x="2735" y="409"/>
                  </a:lnTo>
                  <a:lnTo>
                    <a:pt x="2745" y="415"/>
                  </a:lnTo>
                  <a:lnTo>
                    <a:pt x="2748" y="406"/>
                  </a:lnTo>
                  <a:lnTo>
                    <a:pt x="2751" y="421"/>
                  </a:lnTo>
                  <a:lnTo>
                    <a:pt x="2748" y="432"/>
                  </a:lnTo>
                  <a:lnTo>
                    <a:pt x="2744" y="440"/>
                  </a:lnTo>
                  <a:lnTo>
                    <a:pt x="2735" y="430"/>
                  </a:lnTo>
                  <a:lnTo>
                    <a:pt x="2729" y="434"/>
                  </a:lnTo>
                  <a:lnTo>
                    <a:pt x="2720" y="431"/>
                  </a:lnTo>
                  <a:lnTo>
                    <a:pt x="2745" y="465"/>
                  </a:lnTo>
                  <a:lnTo>
                    <a:pt x="2755" y="469"/>
                  </a:lnTo>
                  <a:lnTo>
                    <a:pt x="2756" y="479"/>
                  </a:lnTo>
                  <a:lnTo>
                    <a:pt x="2764" y="494"/>
                  </a:lnTo>
                  <a:lnTo>
                    <a:pt x="2763" y="499"/>
                  </a:lnTo>
                  <a:lnTo>
                    <a:pt x="2773" y="515"/>
                  </a:lnTo>
                  <a:lnTo>
                    <a:pt x="2768" y="531"/>
                  </a:lnTo>
                  <a:lnTo>
                    <a:pt x="2768" y="549"/>
                  </a:lnTo>
                  <a:lnTo>
                    <a:pt x="2766" y="558"/>
                  </a:lnTo>
                  <a:lnTo>
                    <a:pt x="2771" y="574"/>
                  </a:lnTo>
                  <a:lnTo>
                    <a:pt x="2775" y="581"/>
                  </a:lnTo>
                  <a:lnTo>
                    <a:pt x="2779" y="591"/>
                  </a:lnTo>
                  <a:lnTo>
                    <a:pt x="2787" y="581"/>
                  </a:lnTo>
                  <a:lnTo>
                    <a:pt x="2798" y="559"/>
                  </a:lnTo>
                  <a:lnTo>
                    <a:pt x="2798" y="540"/>
                  </a:lnTo>
                  <a:lnTo>
                    <a:pt x="2799" y="535"/>
                  </a:lnTo>
                  <a:lnTo>
                    <a:pt x="2800" y="532"/>
                  </a:lnTo>
                  <a:lnTo>
                    <a:pt x="2806" y="532"/>
                  </a:lnTo>
                  <a:lnTo>
                    <a:pt x="2807" y="513"/>
                  </a:lnTo>
                  <a:lnTo>
                    <a:pt x="2806" y="495"/>
                  </a:lnTo>
                  <a:lnTo>
                    <a:pt x="2806" y="480"/>
                  </a:lnTo>
                  <a:lnTo>
                    <a:pt x="2818" y="465"/>
                  </a:lnTo>
                  <a:lnTo>
                    <a:pt x="2826" y="447"/>
                  </a:lnTo>
                  <a:lnTo>
                    <a:pt x="2837" y="442"/>
                  </a:lnTo>
                  <a:lnTo>
                    <a:pt x="2850" y="443"/>
                  </a:lnTo>
                  <a:lnTo>
                    <a:pt x="2855" y="462"/>
                  </a:lnTo>
                  <a:lnTo>
                    <a:pt x="2866" y="480"/>
                  </a:lnTo>
                  <a:lnTo>
                    <a:pt x="2896" y="505"/>
                  </a:lnTo>
                  <a:lnTo>
                    <a:pt x="2901" y="517"/>
                  </a:lnTo>
                  <a:lnTo>
                    <a:pt x="2907" y="554"/>
                  </a:lnTo>
                  <a:lnTo>
                    <a:pt x="2913" y="575"/>
                  </a:lnTo>
                  <a:lnTo>
                    <a:pt x="2914" y="592"/>
                  </a:lnTo>
                  <a:lnTo>
                    <a:pt x="2906" y="599"/>
                  </a:lnTo>
                  <a:lnTo>
                    <a:pt x="2897" y="597"/>
                  </a:lnTo>
                  <a:lnTo>
                    <a:pt x="2893" y="592"/>
                  </a:lnTo>
                  <a:lnTo>
                    <a:pt x="2893" y="575"/>
                  </a:lnTo>
                  <a:lnTo>
                    <a:pt x="2884" y="598"/>
                  </a:lnTo>
                  <a:lnTo>
                    <a:pt x="2887" y="615"/>
                  </a:lnTo>
                  <a:lnTo>
                    <a:pt x="2884" y="631"/>
                  </a:lnTo>
                  <a:lnTo>
                    <a:pt x="2884" y="641"/>
                  </a:lnTo>
                  <a:lnTo>
                    <a:pt x="2895" y="663"/>
                  </a:lnTo>
                  <a:lnTo>
                    <a:pt x="2900" y="677"/>
                  </a:lnTo>
                  <a:lnTo>
                    <a:pt x="2908" y="689"/>
                  </a:lnTo>
                  <a:lnTo>
                    <a:pt x="2930" y="732"/>
                  </a:lnTo>
                  <a:lnTo>
                    <a:pt x="2936" y="737"/>
                  </a:lnTo>
                  <a:lnTo>
                    <a:pt x="2944" y="746"/>
                  </a:lnTo>
                  <a:lnTo>
                    <a:pt x="2954" y="741"/>
                  </a:lnTo>
                  <a:lnTo>
                    <a:pt x="2955" y="732"/>
                  </a:lnTo>
                  <a:lnTo>
                    <a:pt x="2957" y="721"/>
                  </a:lnTo>
                  <a:lnTo>
                    <a:pt x="2966" y="716"/>
                  </a:lnTo>
                  <a:lnTo>
                    <a:pt x="2971" y="721"/>
                  </a:lnTo>
                  <a:lnTo>
                    <a:pt x="2974" y="715"/>
                  </a:lnTo>
                  <a:lnTo>
                    <a:pt x="2977" y="720"/>
                  </a:lnTo>
                  <a:lnTo>
                    <a:pt x="2983" y="721"/>
                  </a:lnTo>
                  <a:lnTo>
                    <a:pt x="2987" y="699"/>
                  </a:lnTo>
                  <a:lnTo>
                    <a:pt x="2987" y="679"/>
                  </a:lnTo>
                  <a:lnTo>
                    <a:pt x="2988" y="673"/>
                  </a:lnTo>
                  <a:lnTo>
                    <a:pt x="2997" y="653"/>
                  </a:lnTo>
                  <a:lnTo>
                    <a:pt x="3009" y="640"/>
                  </a:lnTo>
                  <a:lnTo>
                    <a:pt x="3020" y="607"/>
                  </a:lnTo>
                  <a:lnTo>
                    <a:pt x="3021" y="592"/>
                  </a:lnTo>
                  <a:lnTo>
                    <a:pt x="3027" y="586"/>
                  </a:lnTo>
                  <a:lnTo>
                    <a:pt x="3030" y="545"/>
                  </a:lnTo>
                  <a:lnTo>
                    <a:pt x="3029" y="538"/>
                  </a:lnTo>
                  <a:lnTo>
                    <a:pt x="3035" y="531"/>
                  </a:lnTo>
                  <a:lnTo>
                    <a:pt x="3047" y="529"/>
                  </a:lnTo>
                  <a:lnTo>
                    <a:pt x="3049" y="523"/>
                  </a:lnTo>
                  <a:lnTo>
                    <a:pt x="3054" y="524"/>
                  </a:lnTo>
                  <a:lnTo>
                    <a:pt x="3064" y="520"/>
                  </a:lnTo>
                  <a:lnTo>
                    <a:pt x="3076" y="524"/>
                  </a:lnTo>
                  <a:lnTo>
                    <a:pt x="3087" y="522"/>
                  </a:lnTo>
                  <a:lnTo>
                    <a:pt x="3083" y="517"/>
                  </a:lnTo>
                  <a:lnTo>
                    <a:pt x="3069" y="515"/>
                  </a:lnTo>
                  <a:lnTo>
                    <a:pt x="3064" y="507"/>
                  </a:lnTo>
                  <a:lnTo>
                    <a:pt x="3068" y="501"/>
                  </a:lnTo>
                  <a:lnTo>
                    <a:pt x="3065" y="496"/>
                  </a:lnTo>
                  <a:lnTo>
                    <a:pt x="3075" y="496"/>
                  </a:lnTo>
                  <a:lnTo>
                    <a:pt x="3074" y="488"/>
                  </a:lnTo>
                  <a:lnTo>
                    <a:pt x="3079" y="485"/>
                  </a:lnTo>
                  <a:lnTo>
                    <a:pt x="3090" y="489"/>
                  </a:lnTo>
                  <a:lnTo>
                    <a:pt x="3087" y="479"/>
                  </a:lnTo>
                  <a:lnTo>
                    <a:pt x="3080" y="479"/>
                  </a:lnTo>
                  <a:lnTo>
                    <a:pt x="3073" y="469"/>
                  </a:lnTo>
                  <a:lnTo>
                    <a:pt x="3059" y="465"/>
                  </a:lnTo>
                  <a:lnTo>
                    <a:pt x="3052" y="456"/>
                  </a:lnTo>
                  <a:lnTo>
                    <a:pt x="3047" y="442"/>
                  </a:lnTo>
                  <a:lnTo>
                    <a:pt x="3048" y="431"/>
                  </a:lnTo>
                  <a:lnTo>
                    <a:pt x="3049" y="426"/>
                  </a:lnTo>
                  <a:lnTo>
                    <a:pt x="3046" y="410"/>
                  </a:lnTo>
                  <a:lnTo>
                    <a:pt x="3048" y="400"/>
                  </a:lnTo>
                  <a:lnTo>
                    <a:pt x="3044" y="386"/>
                  </a:lnTo>
                  <a:lnTo>
                    <a:pt x="3046" y="381"/>
                  </a:lnTo>
                  <a:lnTo>
                    <a:pt x="3048" y="371"/>
                  </a:lnTo>
                  <a:lnTo>
                    <a:pt x="3048" y="360"/>
                  </a:lnTo>
                  <a:lnTo>
                    <a:pt x="3067" y="365"/>
                  </a:lnTo>
                  <a:lnTo>
                    <a:pt x="3075" y="356"/>
                  </a:lnTo>
                  <a:lnTo>
                    <a:pt x="3097" y="355"/>
                  </a:lnTo>
                  <a:lnTo>
                    <a:pt x="3116" y="360"/>
                  </a:lnTo>
                  <a:lnTo>
                    <a:pt x="3126" y="371"/>
                  </a:lnTo>
                  <a:lnTo>
                    <a:pt x="3150" y="384"/>
                  </a:lnTo>
                  <a:lnTo>
                    <a:pt x="3173" y="381"/>
                  </a:lnTo>
                  <a:lnTo>
                    <a:pt x="3181" y="386"/>
                  </a:lnTo>
                  <a:lnTo>
                    <a:pt x="3192" y="383"/>
                  </a:lnTo>
                  <a:lnTo>
                    <a:pt x="3200" y="378"/>
                  </a:lnTo>
                  <a:lnTo>
                    <a:pt x="3205" y="386"/>
                  </a:lnTo>
                  <a:lnTo>
                    <a:pt x="3205" y="403"/>
                  </a:lnTo>
                  <a:lnTo>
                    <a:pt x="3207" y="411"/>
                  </a:lnTo>
                  <a:lnTo>
                    <a:pt x="3198" y="415"/>
                  </a:lnTo>
                  <a:lnTo>
                    <a:pt x="3205" y="415"/>
                  </a:lnTo>
                  <a:lnTo>
                    <a:pt x="3216" y="431"/>
                  </a:lnTo>
                  <a:lnTo>
                    <a:pt x="3224" y="445"/>
                  </a:lnTo>
                  <a:lnTo>
                    <a:pt x="3220" y="451"/>
                  </a:lnTo>
                  <a:lnTo>
                    <a:pt x="3223" y="453"/>
                  </a:lnTo>
                  <a:lnTo>
                    <a:pt x="3251" y="451"/>
                  </a:lnTo>
                  <a:lnTo>
                    <a:pt x="3259" y="458"/>
                  </a:lnTo>
                  <a:lnTo>
                    <a:pt x="3269" y="461"/>
                  </a:lnTo>
                  <a:lnTo>
                    <a:pt x="3272" y="470"/>
                  </a:lnTo>
                  <a:lnTo>
                    <a:pt x="3262" y="484"/>
                  </a:lnTo>
                  <a:lnTo>
                    <a:pt x="3246" y="496"/>
                  </a:lnTo>
                  <a:lnTo>
                    <a:pt x="3240" y="508"/>
                  </a:lnTo>
                  <a:lnTo>
                    <a:pt x="3272" y="513"/>
                  </a:lnTo>
                  <a:lnTo>
                    <a:pt x="3277" y="526"/>
                  </a:lnTo>
                  <a:lnTo>
                    <a:pt x="3275" y="542"/>
                  </a:lnTo>
                  <a:lnTo>
                    <a:pt x="3271" y="549"/>
                  </a:lnTo>
                  <a:lnTo>
                    <a:pt x="3258" y="558"/>
                  </a:lnTo>
                  <a:lnTo>
                    <a:pt x="3252" y="559"/>
                  </a:lnTo>
                  <a:lnTo>
                    <a:pt x="3246" y="570"/>
                  </a:lnTo>
                  <a:lnTo>
                    <a:pt x="3242" y="577"/>
                  </a:lnTo>
                  <a:lnTo>
                    <a:pt x="3236" y="571"/>
                  </a:lnTo>
                  <a:lnTo>
                    <a:pt x="3232" y="556"/>
                  </a:lnTo>
                  <a:lnTo>
                    <a:pt x="3225" y="559"/>
                  </a:lnTo>
                  <a:lnTo>
                    <a:pt x="3223" y="566"/>
                  </a:lnTo>
                  <a:lnTo>
                    <a:pt x="3208" y="559"/>
                  </a:lnTo>
                  <a:lnTo>
                    <a:pt x="3207" y="569"/>
                  </a:lnTo>
                  <a:lnTo>
                    <a:pt x="3220" y="588"/>
                  </a:lnTo>
                  <a:lnTo>
                    <a:pt x="3215" y="592"/>
                  </a:lnTo>
                  <a:lnTo>
                    <a:pt x="3215" y="596"/>
                  </a:lnTo>
                  <a:lnTo>
                    <a:pt x="3221" y="597"/>
                  </a:lnTo>
                  <a:lnTo>
                    <a:pt x="3221" y="605"/>
                  </a:lnTo>
                  <a:lnTo>
                    <a:pt x="3220" y="613"/>
                  </a:lnTo>
                  <a:lnTo>
                    <a:pt x="3239" y="604"/>
                  </a:lnTo>
                  <a:lnTo>
                    <a:pt x="3232" y="620"/>
                  </a:lnTo>
                  <a:lnTo>
                    <a:pt x="3230" y="637"/>
                  </a:lnTo>
                  <a:lnTo>
                    <a:pt x="3231" y="651"/>
                  </a:lnTo>
                  <a:lnTo>
                    <a:pt x="3257" y="688"/>
                  </a:lnTo>
                  <a:lnTo>
                    <a:pt x="3268" y="699"/>
                  </a:lnTo>
                  <a:lnTo>
                    <a:pt x="3275" y="711"/>
                  </a:lnTo>
                  <a:lnTo>
                    <a:pt x="3275" y="717"/>
                  </a:lnTo>
                  <a:lnTo>
                    <a:pt x="3271" y="723"/>
                  </a:lnTo>
                  <a:lnTo>
                    <a:pt x="3271" y="738"/>
                  </a:lnTo>
                  <a:lnTo>
                    <a:pt x="3274" y="748"/>
                  </a:lnTo>
                  <a:lnTo>
                    <a:pt x="3268" y="755"/>
                  </a:lnTo>
                  <a:lnTo>
                    <a:pt x="3268" y="764"/>
                  </a:lnTo>
                  <a:lnTo>
                    <a:pt x="3255" y="770"/>
                  </a:lnTo>
                  <a:lnTo>
                    <a:pt x="3248" y="776"/>
                  </a:lnTo>
                  <a:lnTo>
                    <a:pt x="3236" y="790"/>
                  </a:lnTo>
                  <a:lnTo>
                    <a:pt x="3235" y="798"/>
                  </a:lnTo>
                  <a:lnTo>
                    <a:pt x="3230" y="807"/>
                  </a:lnTo>
                  <a:lnTo>
                    <a:pt x="3202" y="835"/>
                  </a:lnTo>
                  <a:lnTo>
                    <a:pt x="3183" y="840"/>
                  </a:lnTo>
                  <a:lnTo>
                    <a:pt x="3180" y="851"/>
                  </a:lnTo>
                  <a:lnTo>
                    <a:pt x="3170" y="863"/>
                  </a:lnTo>
                  <a:lnTo>
                    <a:pt x="3162" y="863"/>
                  </a:lnTo>
                  <a:lnTo>
                    <a:pt x="3157" y="859"/>
                  </a:lnTo>
                  <a:lnTo>
                    <a:pt x="3155" y="851"/>
                  </a:lnTo>
                  <a:lnTo>
                    <a:pt x="3134" y="831"/>
                  </a:lnTo>
                  <a:lnTo>
                    <a:pt x="3126" y="819"/>
                  </a:lnTo>
                  <a:lnTo>
                    <a:pt x="3119" y="827"/>
                  </a:lnTo>
                  <a:lnTo>
                    <a:pt x="3121" y="836"/>
                  </a:lnTo>
                  <a:lnTo>
                    <a:pt x="3133" y="855"/>
                  </a:lnTo>
                  <a:lnTo>
                    <a:pt x="3134" y="868"/>
                  </a:lnTo>
                  <a:lnTo>
                    <a:pt x="3140" y="886"/>
                  </a:lnTo>
                  <a:lnTo>
                    <a:pt x="3140" y="892"/>
                  </a:lnTo>
                  <a:lnTo>
                    <a:pt x="3139" y="886"/>
                  </a:lnTo>
                  <a:lnTo>
                    <a:pt x="3128" y="884"/>
                  </a:lnTo>
                  <a:lnTo>
                    <a:pt x="3114" y="870"/>
                  </a:lnTo>
                  <a:lnTo>
                    <a:pt x="3106" y="866"/>
                  </a:lnTo>
                  <a:lnTo>
                    <a:pt x="3103" y="863"/>
                  </a:lnTo>
                  <a:lnTo>
                    <a:pt x="3100" y="863"/>
                  </a:lnTo>
                  <a:lnTo>
                    <a:pt x="3100" y="887"/>
                  </a:lnTo>
                  <a:lnTo>
                    <a:pt x="3084" y="881"/>
                  </a:lnTo>
                  <a:lnTo>
                    <a:pt x="3076" y="882"/>
                  </a:lnTo>
                  <a:lnTo>
                    <a:pt x="3065" y="874"/>
                  </a:lnTo>
                  <a:lnTo>
                    <a:pt x="3063" y="879"/>
                  </a:lnTo>
                  <a:lnTo>
                    <a:pt x="3053" y="836"/>
                  </a:lnTo>
                  <a:lnTo>
                    <a:pt x="3044" y="835"/>
                  </a:lnTo>
                  <a:lnTo>
                    <a:pt x="3026" y="849"/>
                  </a:lnTo>
                  <a:lnTo>
                    <a:pt x="3025" y="846"/>
                  </a:lnTo>
                  <a:lnTo>
                    <a:pt x="3017" y="847"/>
                  </a:lnTo>
                  <a:lnTo>
                    <a:pt x="2990" y="838"/>
                  </a:lnTo>
                  <a:lnTo>
                    <a:pt x="2979" y="847"/>
                  </a:lnTo>
                  <a:lnTo>
                    <a:pt x="2981" y="854"/>
                  </a:lnTo>
                  <a:lnTo>
                    <a:pt x="2977" y="856"/>
                  </a:lnTo>
                  <a:lnTo>
                    <a:pt x="2979" y="865"/>
                  </a:lnTo>
                  <a:lnTo>
                    <a:pt x="3003" y="877"/>
                  </a:lnTo>
                  <a:lnTo>
                    <a:pt x="3011" y="878"/>
                  </a:lnTo>
                  <a:lnTo>
                    <a:pt x="3017" y="887"/>
                  </a:lnTo>
                  <a:lnTo>
                    <a:pt x="3015" y="895"/>
                  </a:lnTo>
                  <a:lnTo>
                    <a:pt x="3015" y="905"/>
                  </a:lnTo>
                  <a:lnTo>
                    <a:pt x="3011" y="909"/>
                  </a:lnTo>
                  <a:lnTo>
                    <a:pt x="3011" y="915"/>
                  </a:lnTo>
                  <a:lnTo>
                    <a:pt x="3009" y="921"/>
                  </a:lnTo>
                  <a:lnTo>
                    <a:pt x="3001" y="927"/>
                  </a:lnTo>
                  <a:lnTo>
                    <a:pt x="2994" y="944"/>
                  </a:lnTo>
                  <a:lnTo>
                    <a:pt x="2988" y="953"/>
                  </a:lnTo>
                  <a:lnTo>
                    <a:pt x="2981" y="960"/>
                  </a:lnTo>
                  <a:lnTo>
                    <a:pt x="2978" y="968"/>
                  </a:lnTo>
                  <a:lnTo>
                    <a:pt x="2967" y="973"/>
                  </a:lnTo>
                  <a:lnTo>
                    <a:pt x="2960" y="991"/>
                  </a:lnTo>
                  <a:lnTo>
                    <a:pt x="2956" y="996"/>
                  </a:lnTo>
                  <a:lnTo>
                    <a:pt x="2946" y="999"/>
                  </a:lnTo>
                  <a:lnTo>
                    <a:pt x="2909" y="1002"/>
                  </a:lnTo>
                  <a:lnTo>
                    <a:pt x="2906" y="994"/>
                  </a:lnTo>
                  <a:lnTo>
                    <a:pt x="2900" y="984"/>
                  </a:lnTo>
                  <a:lnTo>
                    <a:pt x="2869" y="958"/>
                  </a:lnTo>
                  <a:lnTo>
                    <a:pt x="2869" y="956"/>
                  </a:lnTo>
                  <a:lnTo>
                    <a:pt x="2847" y="947"/>
                  </a:lnTo>
                  <a:lnTo>
                    <a:pt x="2826" y="930"/>
                  </a:lnTo>
                  <a:lnTo>
                    <a:pt x="2818" y="929"/>
                  </a:lnTo>
                  <a:lnTo>
                    <a:pt x="2810" y="932"/>
                  </a:lnTo>
                  <a:lnTo>
                    <a:pt x="2794" y="927"/>
                  </a:lnTo>
                  <a:lnTo>
                    <a:pt x="2789" y="940"/>
                  </a:lnTo>
                  <a:lnTo>
                    <a:pt x="2807" y="951"/>
                  </a:lnTo>
                  <a:lnTo>
                    <a:pt x="2822" y="967"/>
                  </a:lnTo>
                  <a:lnTo>
                    <a:pt x="2833" y="986"/>
                  </a:lnTo>
                  <a:lnTo>
                    <a:pt x="2850" y="1002"/>
                  </a:lnTo>
                  <a:lnTo>
                    <a:pt x="2879" y="1006"/>
                  </a:lnTo>
                  <a:lnTo>
                    <a:pt x="2903" y="1016"/>
                  </a:lnTo>
                  <a:lnTo>
                    <a:pt x="2912" y="1011"/>
                  </a:lnTo>
                  <a:lnTo>
                    <a:pt x="2936" y="1012"/>
                  </a:lnTo>
                  <a:lnTo>
                    <a:pt x="2961" y="1016"/>
                  </a:lnTo>
                  <a:lnTo>
                    <a:pt x="2962" y="1021"/>
                  </a:lnTo>
                  <a:lnTo>
                    <a:pt x="2968" y="1019"/>
                  </a:lnTo>
                  <a:lnTo>
                    <a:pt x="2965" y="1032"/>
                  </a:lnTo>
                  <a:lnTo>
                    <a:pt x="2960" y="1040"/>
                  </a:lnTo>
                  <a:lnTo>
                    <a:pt x="2960" y="1050"/>
                  </a:lnTo>
                  <a:lnTo>
                    <a:pt x="2950" y="1062"/>
                  </a:lnTo>
                  <a:lnTo>
                    <a:pt x="2946" y="1081"/>
                  </a:lnTo>
                  <a:lnTo>
                    <a:pt x="2939" y="1085"/>
                  </a:lnTo>
                  <a:lnTo>
                    <a:pt x="2931" y="1104"/>
                  </a:lnTo>
                  <a:lnTo>
                    <a:pt x="2918" y="1110"/>
                  </a:lnTo>
                  <a:lnTo>
                    <a:pt x="2918" y="1125"/>
                  </a:lnTo>
                  <a:lnTo>
                    <a:pt x="2913" y="1131"/>
                  </a:lnTo>
                  <a:lnTo>
                    <a:pt x="2903" y="1153"/>
                  </a:lnTo>
                  <a:lnTo>
                    <a:pt x="2900" y="1151"/>
                  </a:lnTo>
                  <a:lnTo>
                    <a:pt x="2888" y="1164"/>
                  </a:lnTo>
                  <a:lnTo>
                    <a:pt x="2871" y="1174"/>
                  </a:lnTo>
                  <a:lnTo>
                    <a:pt x="2850" y="1169"/>
                  </a:lnTo>
                  <a:lnTo>
                    <a:pt x="2847" y="1177"/>
                  </a:lnTo>
                  <a:lnTo>
                    <a:pt x="2827" y="1162"/>
                  </a:lnTo>
                  <a:lnTo>
                    <a:pt x="2826" y="1166"/>
                  </a:lnTo>
                  <a:lnTo>
                    <a:pt x="2826" y="1170"/>
                  </a:lnTo>
                  <a:lnTo>
                    <a:pt x="2820" y="1159"/>
                  </a:lnTo>
                  <a:lnTo>
                    <a:pt x="2816" y="1162"/>
                  </a:lnTo>
                  <a:lnTo>
                    <a:pt x="2809" y="1156"/>
                  </a:lnTo>
                  <a:lnTo>
                    <a:pt x="2804" y="1155"/>
                  </a:lnTo>
                  <a:lnTo>
                    <a:pt x="2806" y="1162"/>
                  </a:lnTo>
                  <a:lnTo>
                    <a:pt x="2806" y="1170"/>
                  </a:lnTo>
                  <a:lnTo>
                    <a:pt x="2809" y="1180"/>
                  </a:lnTo>
                  <a:lnTo>
                    <a:pt x="2809" y="1182"/>
                  </a:lnTo>
                  <a:lnTo>
                    <a:pt x="2804" y="1182"/>
                  </a:lnTo>
                  <a:lnTo>
                    <a:pt x="2796" y="1178"/>
                  </a:lnTo>
                  <a:lnTo>
                    <a:pt x="2795" y="1189"/>
                  </a:lnTo>
                  <a:lnTo>
                    <a:pt x="2800" y="1196"/>
                  </a:lnTo>
                  <a:lnTo>
                    <a:pt x="2796" y="1201"/>
                  </a:lnTo>
                  <a:lnTo>
                    <a:pt x="2793" y="1215"/>
                  </a:lnTo>
                  <a:lnTo>
                    <a:pt x="2788" y="1222"/>
                  </a:lnTo>
                  <a:lnTo>
                    <a:pt x="2780" y="1222"/>
                  </a:lnTo>
                  <a:lnTo>
                    <a:pt x="2778" y="1229"/>
                  </a:lnTo>
                  <a:lnTo>
                    <a:pt x="2773" y="1231"/>
                  </a:lnTo>
                  <a:lnTo>
                    <a:pt x="2767" y="1228"/>
                  </a:lnTo>
                  <a:lnTo>
                    <a:pt x="2763" y="1237"/>
                  </a:lnTo>
                  <a:lnTo>
                    <a:pt x="2758" y="1229"/>
                  </a:lnTo>
                  <a:lnTo>
                    <a:pt x="2752" y="1227"/>
                  </a:lnTo>
                  <a:lnTo>
                    <a:pt x="2746" y="1221"/>
                  </a:lnTo>
                  <a:lnTo>
                    <a:pt x="2734" y="1216"/>
                  </a:lnTo>
                  <a:lnTo>
                    <a:pt x="2721" y="1205"/>
                  </a:lnTo>
                  <a:lnTo>
                    <a:pt x="2716" y="1209"/>
                  </a:lnTo>
                  <a:lnTo>
                    <a:pt x="2714" y="1195"/>
                  </a:lnTo>
                  <a:lnTo>
                    <a:pt x="2707" y="1204"/>
                  </a:lnTo>
                  <a:lnTo>
                    <a:pt x="2697" y="1205"/>
                  </a:lnTo>
                  <a:lnTo>
                    <a:pt x="2692" y="1200"/>
                  </a:lnTo>
                  <a:lnTo>
                    <a:pt x="2688" y="1204"/>
                  </a:lnTo>
                  <a:lnTo>
                    <a:pt x="2678" y="1204"/>
                  </a:lnTo>
                  <a:lnTo>
                    <a:pt x="2658" y="1195"/>
                  </a:lnTo>
                  <a:lnTo>
                    <a:pt x="2654" y="1189"/>
                  </a:lnTo>
                  <a:lnTo>
                    <a:pt x="2608" y="1167"/>
                  </a:lnTo>
                  <a:lnTo>
                    <a:pt x="2606" y="1170"/>
                  </a:lnTo>
                  <a:lnTo>
                    <a:pt x="2600" y="1182"/>
                  </a:lnTo>
                  <a:lnTo>
                    <a:pt x="2602" y="1189"/>
                  </a:lnTo>
                  <a:lnTo>
                    <a:pt x="2611" y="1195"/>
                  </a:lnTo>
                  <a:lnTo>
                    <a:pt x="2618" y="1191"/>
                  </a:lnTo>
                  <a:lnTo>
                    <a:pt x="2617" y="1186"/>
                  </a:lnTo>
                  <a:lnTo>
                    <a:pt x="2617" y="1180"/>
                  </a:lnTo>
                  <a:lnTo>
                    <a:pt x="2626" y="1189"/>
                  </a:lnTo>
                  <a:lnTo>
                    <a:pt x="2642" y="1194"/>
                  </a:lnTo>
                  <a:lnTo>
                    <a:pt x="2654" y="1200"/>
                  </a:lnTo>
                  <a:lnTo>
                    <a:pt x="2656" y="1205"/>
                  </a:lnTo>
                  <a:lnTo>
                    <a:pt x="2656" y="1211"/>
                  </a:lnTo>
                  <a:lnTo>
                    <a:pt x="2662" y="1202"/>
                  </a:lnTo>
                  <a:lnTo>
                    <a:pt x="2682" y="1209"/>
                  </a:lnTo>
                  <a:lnTo>
                    <a:pt x="2683" y="1215"/>
                  </a:lnTo>
                  <a:lnTo>
                    <a:pt x="2676" y="1220"/>
                  </a:lnTo>
                  <a:lnTo>
                    <a:pt x="2672" y="1227"/>
                  </a:lnTo>
                  <a:lnTo>
                    <a:pt x="2678" y="1228"/>
                  </a:lnTo>
                  <a:lnTo>
                    <a:pt x="2682" y="1220"/>
                  </a:lnTo>
                  <a:lnTo>
                    <a:pt x="2689" y="1213"/>
                  </a:lnTo>
                  <a:lnTo>
                    <a:pt x="2701" y="1211"/>
                  </a:lnTo>
                  <a:lnTo>
                    <a:pt x="2709" y="1215"/>
                  </a:lnTo>
                  <a:lnTo>
                    <a:pt x="2712" y="1222"/>
                  </a:lnTo>
                  <a:lnTo>
                    <a:pt x="2724" y="1233"/>
                  </a:lnTo>
                  <a:lnTo>
                    <a:pt x="2737" y="1237"/>
                  </a:lnTo>
                  <a:lnTo>
                    <a:pt x="2740" y="1242"/>
                  </a:lnTo>
                  <a:lnTo>
                    <a:pt x="2748" y="1238"/>
                  </a:lnTo>
                  <a:lnTo>
                    <a:pt x="2751" y="1243"/>
                  </a:lnTo>
                  <a:lnTo>
                    <a:pt x="2750" y="1248"/>
                  </a:lnTo>
                  <a:lnTo>
                    <a:pt x="2758" y="1258"/>
                  </a:lnTo>
                  <a:lnTo>
                    <a:pt x="2759" y="1264"/>
                  </a:lnTo>
                  <a:lnTo>
                    <a:pt x="2764" y="1287"/>
                  </a:lnTo>
                  <a:lnTo>
                    <a:pt x="2763" y="1298"/>
                  </a:lnTo>
                  <a:lnTo>
                    <a:pt x="2761" y="1304"/>
                  </a:lnTo>
                  <a:lnTo>
                    <a:pt x="2756" y="1311"/>
                  </a:lnTo>
                  <a:lnTo>
                    <a:pt x="2734" y="1311"/>
                  </a:lnTo>
                  <a:lnTo>
                    <a:pt x="2726" y="1318"/>
                  </a:lnTo>
                  <a:lnTo>
                    <a:pt x="2719" y="1322"/>
                  </a:lnTo>
                  <a:lnTo>
                    <a:pt x="2708" y="1323"/>
                  </a:lnTo>
                  <a:lnTo>
                    <a:pt x="2685" y="1320"/>
                  </a:lnTo>
                  <a:lnTo>
                    <a:pt x="2676" y="1323"/>
                  </a:lnTo>
                  <a:lnTo>
                    <a:pt x="2665" y="1319"/>
                  </a:lnTo>
                  <a:lnTo>
                    <a:pt x="2661" y="1326"/>
                  </a:lnTo>
                  <a:lnTo>
                    <a:pt x="2670" y="1341"/>
                  </a:lnTo>
                  <a:lnTo>
                    <a:pt x="2686" y="1340"/>
                  </a:lnTo>
                  <a:lnTo>
                    <a:pt x="2688" y="1347"/>
                  </a:lnTo>
                  <a:lnTo>
                    <a:pt x="2676" y="1351"/>
                  </a:lnTo>
                  <a:lnTo>
                    <a:pt x="2667" y="1347"/>
                  </a:lnTo>
                  <a:lnTo>
                    <a:pt x="2655" y="1349"/>
                  </a:lnTo>
                  <a:lnTo>
                    <a:pt x="2651" y="1368"/>
                  </a:lnTo>
                  <a:lnTo>
                    <a:pt x="2651" y="1379"/>
                  </a:lnTo>
                  <a:lnTo>
                    <a:pt x="2656" y="1410"/>
                  </a:lnTo>
                  <a:lnTo>
                    <a:pt x="2639" y="1390"/>
                  </a:lnTo>
                  <a:lnTo>
                    <a:pt x="2633" y="1393"/>
                  </a:lnTo>
                  <a:lnTo>
                    <a:pt x="2634" y="1400"/>
                  </a:lnTo>
                  <a:lnTo>
                    <a:pt x="2626" y="1406"/>
                  </a:lnTo>
                  <a:lnTo>
                    <a:pt x="2626" y="1414"/>
                  </a:lnTo>
                  <a:lnTo>
                    <a:pt x="2622" y="1421"/>
                  </a:lnTo>
                  <a:lnTo>
                    <a:pt x="2621" y="1426"/>
                  </a:lnTo>
                  <a:lnTo>
                    <a:pt x="2605" y="1426"/>
                  </a:lnTo>
                  <a:lnTo>
                    <a:pt x="2608" y="1437"/>
                  </a:lnTo>
                  <a:lnTo>
                    <a:pt x="2613" y="1441"/>
                  </a:lnTo>
                  <a:lnTo>
                    <a:pt x="2603" y="1459"/>
                  </a:lnTo>
                  <a:lnTo>
                    <a:pt x="2581" y="1475"/>
                  </a:lnTo>
                  <a:lnTo>
                    <a:pt x="2575" y="1482"/>
                  </a:lnTo>
                  <a:lnTo>
                    <a:pt x="2551" y="1484"/>
                  </a:lnTo>
                  <a:lnTo>
                    <a:pt x="2546" y="1489"/>
                  </a:lnTo>
                  <a:lnTo>
                    <a:pt x="2568" y="1506"/>
                  </a:lnTo>
                  <a:lnTo>
                    <a:pt x="2568" y="1512"/>
                  </a:lnTo>
                  <a:lnTo>
                    <a:pt x="2565" y="1524"/>
                  </a:lnTo>
                  <a:lnTo>
                    <a:pt x="2563" y="1538"/>
                  </a:lnTo>
                  <a:lnTo>
                    <a:pt x="2560" y="1544"/>
                  </a:lnTo>
                  <a:lnTo>
                    <a:pt x="2549" y="1548"/>
                  </a:lnTo>
                  <a:lnTo>
                    <a:pt x="2551" y="1573"/>
                  </a:lnTo>
                  <a:lnTo>
                    <a:pt x="2547" y="1583"/>
                  </a:lnTo>
                  <a:lnTo>
                    <a:pt x="2540" y="1584"/>
                  </a:lnTo>
                  <a:lnTo>
                    <a:pt x="2537" y="1589"/>
                  </a:lnTo>
                  <a:lnTo>
                    <a:pt x="2541" y="1605"/>
                  </a:lnTo>
                  <a:lnTo>
                    <a:pt x="2538" y="1632"/>
                  </a:lnTo>
                  <a:lnTo>
                    <a:pt x="2537" y="1642"/>
                  </a:lnTo>
                  <a:lnTo>
                    <a:pt x="2533" y="1675"/>
                  </a:lnTo>
                  <a:lnTo>
                    <a:pt x="2533" y="1702"/>
                  </a:lnTo>
                  <a:lnTo>
                    <a:pt x="2535" y="1718"/>
                  </a:lnTo>
                  <a:lnTo>
                    <a:pt x="2535" y="1729"/>
                  </a:lnTo>
                  <a:lnTo>
                    <a:pt x="2525" y="1747"/>
                  </a:lnTo>
                  <a:lnTo>
                    <a:pt x="2533" y="1749"/>
                  </a:lnTo>
                  <a:lnTo>
                    <a:pt x="2537" y="1758"/>
                  </a:lnTo>
                  <a:lnTo>
                    <a:pt x="2545" y="1770"/>
                  </a:lnTo>
                  <a:lnTo>
                    <a:pt x="2551" y="1776"/>
                  </a:lnTo>
                  <a:lnTo>
                    <a:pt x="2552" y="1776"/>
                  </a:lnTo>
                  <a:lnTo>
                    <a:pt x="2558" y="1772"/>
                  </a:lnTo>
                  <a:lnTo>
                    <a:pt x="2559" y="1779"/>
                  </a:lnTo>
                  <a:lnTo>
                    <a:pt x="2560" y="1802"/>
                  </a:lnTo>
                  <a:lnTo>
                    <a:pt x="2564" y="1797"/>
                  </a:lnTo>
                  <a:lnTo>
                    <a:pt x="2564" y="1775"/>
                  </a:lnTo>
                  <a:lnTo>
                    <a:pt x="2568" y="1772"/>
                  </a:lnTo>
                  <a:lnTo>
                    <a:pt x="2596" y="1772"/>
                  </a:lnTo>
                  <a:lnTo>
                    <a:pt x="2601" y="1776"/>
                  </a:lnTo>
                  <a:lnTo>
                    <a:pt x="2608" y="1776"/>
                  </a:lnTo>
                  <a:lnTo>
                    <a:pt x="2613" y="1774"/>
                  </a:lnTo>
                  <a:lnTo>
                    <a:pt x="2622" y="1779"/>
                  </a:lnTo>
                  <a:lnTo>
                    <a:pt x="2624" y="1785"/>
                  </a:lnTo>
                  <a:lnTo>
                    <a:pt x="2628" y="1812"/>
                  </a:lnTo>
                  <a:lnTo>
                    <a:pt x="2646" y="1856"/>
                  </a:lnTo>
                  <a:lnTo>
                    <a:pt x="2646" y="1876"/>
                  </a:lnTo>
                  <a:lnTo>
                    <a:pt x="2648" y="1890"/>
                  </a:lnTo>
                  <a:lnTo>
                    <a:pt x="2660" y="1909"/>
                  </a:lnTo>
                  <a:lnTo>
                    <a:pt x="2662" y="1936"/>
                  </a:lnTo>
                  <a:lnTo>
                    <a:pt x="2661" y="1944"/>
                  </a:lnTo>
                  <a:lnTo>
                    <a:pt x="2658" y="1953"/>
                  </a:lnTo>
                  <a:lnTo>
                    <a:pt x="2650" y="1959"/>
                  </a:lnTo>
                  <a:lnTo>
                    <a:pt x="2644" y="1964"/>
                  </a:lnTo>
                  <a:lnTo>
                    <a:pt x="2645" y="1966"/>
                  </a:lnTo>
                  <a:lnTo>
                    <a:pt x="2666" y="1955"/>
                  </a:lnTo>
                  <a:lnTo>
                    <a:pt x="2666" y="1964"/>
                  </a:lnTo>
                  <a:lnTo>
                    <a:pt x="2670" y="1964"/>
                  </a:lnTo>
                  <a:lnTo>
                    <a:pt x="2686" y="1952"/>
                  </a:lnTo>
                  <a:lnTo>
                    <a:pt x="2734" y="1930"/>
                  </a:lnTo>
                  <a:lnTo>
                    <a:pt x="2756" y="1936"/>
                  </a:lnTo>
                  <a:lnTo>
                    <a:pt x="2762" y="1942"/>
                  </a:lnTo>
                  <a:lnTo>
                    <a:pt x="2774" y="1948"/>
                  </a:lnTo>
                  <a:lnTo>
                    <a:pt x="2779" y="1957"/>
                  </a:lnTo>
                  <a:lnTo>
                    <a:pt x="2796" y="1964"/>
                  </a:lnTo>
                  <a:lnTo>
                    <a:pt x="2821" y="1976"/>
                  </a:lnTo>
                  <a:lnTo>
                    <a:pt x="2842" y="1977"/>
                  </a:lnTo>
                  <a:lnTo>
                    <a:pt x="2847" y="1980"/>
                  </a:lnTo>
                  <a:lnTo>
                    <a:pt x="2885" y="2006"/>
                  </a:lnTo>
                  <a:lnTo>
                    <a:pt x="2900" y="2012"/>
                  </a:lnTo>
                  <a:lnTo>
                    <a:pt x="2920" y="2043"/>
                  </a:lnTo>
                  <a:lnTo>
                    <a:pt x="2924" y="2049"/>
                  </a:lnTo>
                  <a:lnTo>
                    <a:pt x="2923" y="2056"/>
                  </a:lnTo>
                  <a:lnTo>
                    <a:pt x="2929" y="2061"/>
                  </a:lnTo>
                  <a:lnTo>
                    <a:pt x="2934" y="2057"/>
                  </a:lnTo>
                  <a:lnTo>
                    <a:pt x="2939" y="2060"/>
                  </a:lnTo>
                  <a:lnTo>
                    <a:pt x="2943" y="2065"/>
                  </a:lnTo>
                  <a:lnTo>
                    <a:pt x="2950" y="2066"/>
                  </a:lnTo>
                  <a:lnTo>
                    <a:pt x="2958" y="2065"/>
                  </a:lnTo>
                  <a:lnTo>
                    <a:pt x="2966" y="2066"/>
                  </a:lnTo>
                  <a:lnTo>
                    <a:pt x="2978" y="2076"/>
                  </a:lnTo>
                  <a:lnTo>
                    <a:pt x="3020" y="2089"/>
                  </a:lnTo>
                  <a:lnTo>
                    <a:pt x="3032" y="2099"/>
                  </a:lnTo>
                  <a:lnTo>
                    <a:pt x="3035" y="2106"/>
                  </a:lnTo>
                  <a:lnTo>
                    <a:pt x="3051" y="2116"/>
                  </a:lnTo>
                  <a:lnTo>
                    <a:pt x="3052" y="2122"/>
                  </a:lnTo>
                  <a:lnTo>
                    <a:pt x="3046" y="2137"/>
                  </a:lnTo>
                  <a:lnTo>
                    <a:pt x="3042" y="2149"/>
                  </a:lnTo>
                  <a:lnTo>
                    <a:pt x="3033" y="2169"/>
                  </a:lnTo>
                  <a:lnTo>
                    <a:pt x="3046" y="2148"/>
                  </a:lnTo>
                  <a:lnTo>
                    <a:pt x="3051" y="2136"/>
                  </a:lnTo>
                  <a:lnTo>
                    <a:pt x="3056" y="2127"/>
                  </a:lnTo>
                  <a:lnTo>
                    <a:pt x="3112" y="2126"/>
                  </a:lnTo>
                  <a:lnTo>
                    <a:pt x="3139" y="2132"/>
                  </a:lnTo>
                  <a:lnTo>
                    <a:pt x="3160" y="2130"/>
                  </a:lnTo>
                  <a:lnTo>
                    <a:pt x="3166" y="2131"/>
                  </a:lnTo>
                  <a:lnTo>
                    <a:pt x="3171" y="2127"/>
                  </a:lnTo>
                  <a:lnTo>
                    <a:pt x="3182" y="2130"/>
                  </a:lnTo>
                  <a:lnTo>
                    <a:pt x="3185" y="2137"/>
                  </a:lnTo>
                  <a:lnTo>
                    <a:pt x="3193" y="2136"/>
                  </a:lnTo>
                  <a:lnTo>
                    <a:pt x="3203" y="2140"/>
                  </a:lnTo>
                  <a:lnTo>
                    <a:pt x="3210" y="2145"/>
                  </a:lnTo>
                  <a:lnTo>
                    <a:pt x="3216" y="2141"/>
                  </a:lnTo>
                  <a:lnTo>
                    <a:pt x="3221" y="2165"/>
                  </a:lnTo>
                  <a:lnTo>
                    <a:pt x="3219" y="2199"/>
                  </a:lnTo>
                  <a:lnTo>
                    <a:pt x="3214" y="2217"/>
                  </a:lnTo>
                  <a:lnTo>
                    <a:pt x="3213" y="2235"/>
                  </a:lnTo>
                  <a:lnTo>
                    <a:pt x="3219" y="2246"/>
                  </a:lnTo>
                  <a:lnTo>
                    <a:pt x="3221" y="2258"/>
                  </a:lnTo>
                  <a:lnTo>
                    <a:pt x="3221" y="2281"/>
                  </a:lnTo>
                  <a:lnTo>
                    <a:pt x="3225" y="2314"/>
                  </a:lnTo>
                  <a:lnTo>
                    <a:pt x="3219" y="2321"/>
                  </a:lnTo>
                  <a:lnTo>
                    <a:pt x="3219" y="2341"/>
                  </a:lnTo>
                  <a:lnTo>
                    <a:pt x="3223" y="2348"/>
                  </a:lnTo>
                  <a:lnTo>
                    <a:pt x="3228" y="2352"/>
                  </a:lnTo>
                  <a:lnTo>
                    <a:pt x="3230" y="2358"/>
                  </a:lnTo>
                  <a:lnTo>
                    <a:pt x="3239" y="2369"/>
                  </a:lnTo>
                  <a:lnTo>
                    <a:pt x="3247" y="2373"/>
                  </a:lnTo>
                  <a:lnTo>
                    <a:pt x="3255" y="2382"/>
                  </a:lnTo>
                  <a:lnTo>
                    <a:pt x="3259" y="2393"/>
                  </a:lnTo>
                  <a:lnTo>
                    <a:pt x="3267" y="2402"/>
                  </a:lnTo>
                  <a:lnTo>
                    <a:pt x="3267" y="2405"/>
                  </a:lnTo>
                  <a:lnTo>
                    <a:pt x="3253" y="2406"/>
                  </a:lnTo>
                  <a:lnTo>
                    <a:pt x="3234" y="2418"/>
                  </a:lnTo>
                  <a:lnTo>
                    <a:pt x="3229" y="2423"/>
                  </a:lnTo>
                  <a:lnTo>
                    <a:pt x="3229" y="2425"/>
                  </a:lnTo>
                  <a:lnTo>
                    <a:pt x="3262" y="2416"/>
                  </a:lnTo>
                  <a:lnTo>
                    <a:pt x="3272" y="2417"/>
                  </a:lnTo>
                  <a:lnTo>
                    <a:pt x="3279" y="2421"/>
                  </a:lnTo>
                  <a:lnTo>
                    <a:pt x="3307" y="2450"/>
                  </a:lnTo>
                  <a:lnTo>
                    <a:pt x="3312" y="2459"/>
                  </a:lnTo>
                  <a:lnTo>
                    <a:pt x="3317" y="2477"/>
                  </a:lnTo>
                  <a:lnTo>
                    <a:pt x="3314" y="2486"/>
                  </a:lnTo>
                  <a:lnTo>
                    <a:pt x="3289" y="2514"/>
                  </a:lnTo>
                  <a:lnTo>
                    <a:pt x="3314" y="2495"/>
                  </a:lnTo>
                  <a:lnTo>
                    <a:pt x="3318" y="2488"/>
                  </a:lnTo>
                  <a:lnTo>
                    <a:pt x="3323" y="2488"/>
                  </a:lnTo>
                  <a:lnTo>
                    <a:pt x="3337" y="2500"/>
                  </a:lnTo>
                  <a:lnTo>
                    <a:pt x="3344" y="2501"/>
                  </a:lnTo>
                  <a:lnTo>
                    <a:pt x="3359" y="2512"/>
                  </a:lnTo>
                  <a:lnTo>
                    <a:pt x="3363" y="2509"/>
                  </a:lnTo>
                  <a:lnTo>
                    <a:pt x="3360" y="2482"/>
                  </a:lnTo>
                  <a:lnTo>
                    <a:pt x="3363" y="2476"/>
                  </a:lnTo>
                  <a:lnTo>
                    <a:pt x="3370" y="2476"/>
                  </a:lnTo>
                  <a:lnTo>
                    <a:pt x="3370" y="2470"/>
                  </a:lnTo>
                  <a:lnTo>
                    <a:pt x="3371" y="2464"/>
                  </a:lnTo>
                  <a:lnTo>
                    <a:pt x="3379" y="2461"/>
                  </a:lnTo>
                  <a:lnTo>
                    <a:pt x="3386" y="2461"/>
                  </a:lnTo>
                  <a:lnTo>
                    <a:pt x="3386" y="2466"/>
                  </a:lnTo>
                  <a:lnTo>
                    <a:pt x="3399" y="2475"/>
                  </a:lnTo>
                  <a:lnTo>
                    <a:pt x="3402" y="2495"/>
                  </a:lnTo>
                  <a:lnTo>
                    <a:pt x="3408" y="2493"/>
                  </a:lnTo>
                  <a:lnTo>
                    <a:pt x="3415" y="2487"/>
                  </a:lnTo>
                  <a:lnTo>
                    <a:pt x="3415" y="2481"/>
                  </a:lnTo>
                  <a:lnTo>
                    <a:pt x="3419" y="2477"/>
                  </a:lnTo>
                  <a:lnTo>
                    <a:pt x="3420" y="2470"/>
                  </a:lnTo>
                  <a:lnTo>
                    <a:pt x="3412" y="2468"/>
                  </a:lnTo>
                  <a:lnTo>
                    <a:pt x="3401" y="2450"/>
                  </a:lnTo>
                  <a:lnTo>
                    <a:pt x="3399" y="2443"/>
                  </a:lnTo>
                  <a:lnTo>
                    <a:pt x="3412" y="2442"/>
                  </a:lnTo>
                  <a:lnTo>
                    <a:pt x="3412" y="2437"/>
                  </a:lnTo>
                  <a:lnTo>
                    <a:pt x="3420" y="2432"/>
                  </a:lnTo>
                  <a:lnTo>
                    <a:pt x="3424" y="2421"/>
                  </a:lnTo>
                  <a:lnTo>
                    <a:pt x="3429" y="2415"/>
                  </a:lnTo>
                  <a:lnTo>
                    <a:pt x="3435" y="2410"/>
                  </a:lnTo>
                  <a:lnTo>
                    <a:pt x="3454" y="2411"/>
                  </a:lnTo>
                  <a:lnTo>
                    <a:pt x="3460" y="2407"/>
                  </a:lnTo>
                  <a:lnTo>
                    <a:pt x="3460" y="2405"/>
                  </a:lnTo>
                  <a:lnTo>
                    <a:pt x="3444" y="2407"/>
                  </a:lnTo>
                  <a:lnTo>
                    <a:pt x="3436" y="2406"/>
                  </a:lnTo>
                  <a:lnTo>
                    <a:pt x="3429" y="2400"/>
                  </a:lnTo>
                  <a:lnTo>
                    <a:pt x="3427" y="2391"/>
                  </a:lnTo>
                  <a:lnTo>
                    <a:pt x="3424" y="2387"/>
                  </a:lnTo>
                  <a:lnTo>
                    <a:pt x="3417" y="2383"/>
                  </a:lnTo>
                  <a:lnTo>
                    <a:pt x="3411" y="2364"/>
                  </a:lnTo>
                  <a:lnTo>
                    <a:pt x="3414" y="2361"/>
                  </a:lnTo>
                  <a:lnTo>
                    <a:pt x="3415" y="2356"/>
                  </a:lnTo>
                  <a:lnTo>
                    <a:pt x="3411" y="2353"/>
                  </a:lnTo>
                  <a:lnTo>
                    <a:pt x="3407" y="2309"/>
                  </a:lnTo>
                  <a:lnTo>
                    <a:pt x="3404" y="2299"/>
                  </a:lnTo>
                  <a:lnTo>
                    <a:pt x="3403" y="2274"/>
                  </a:lnTo>
                  <a:lnTo>
                    <a:pt x="3404" y="2264"/>
                  </a:lnTo>
                  <a:lnTo>
                    <a:pt x="3402" y="2251"/>
                  </a:lnTo>
                  <a:lnTo>
                    <a:pt x="3399" y="2242"/>
                  </a:lnTo>
                  <a:lnTo>
                    <a:pt x="3391" y="2232"/>
                  </a:lnTo>
                  <a:lnTo>
                    <a:pt x="3379" y="2206"/>
                  </a:lnTo>
                  <a:lnTo>
                    <a:pt x="3374" y="2200"/>
                  </a:lnTo>
                  <a:lnTo>
                    <a:pt x="3366" y="2197"/>
                  </a:lnTo>
                  <a:lnTo>
                    <a:pt x="3361" y="2195"/>
                  </a:lnTo>
                  <a:lnTo>
                    <a:pt x="3380" y="2186"/>
                  </a:lnTo>
                  <a:lnTo>
                    <a:pt x="3407" y="2169"/>
                  </a:lnTo>
                  <a:lnTo>
                    <a:pt x="3422" y="2162"/>
                  </a:lnTo>
                  <a:lnTo>
                    <a:pt x="3449" y="2140"/>
                  </a:lnTo>
                  <a:lnTo>
                    <a:pt x="3461" y="2132"/>
                  </a:lnTo>
                  <a:lnTo>
                    <a:pt x="3476" y="2119"/>
                  </a:lnTo>
                  <a:lnTo>
                    <a:pt x="3489" y="2104"/>
                  </a:lnTo>
                  <a:lnTo>
                    <a:pt x="3476" y="2114"/>
                  </a:lnTo>
                  <a:lnTo>
                    <a:pt x="3492" y="2092"/>
                  </a:lnTo>
                  <a:lnTo>
                    <a:pt x="3513" y="2055"/>
                  </a:lnTo>
                  <a:lnTo>
                    <a:pt x="3519" y="2041"/>
                  </a:lnTo>
                  <a:lnTo>
                    <a:pt x="3524" y="2036"/>
                  </a:lnTo>
                  <a:lnTo>
                    <a:pt x="3532" y="2038"/>
                  </a:lnTo>
                  <a:lnTo>
                    <a:pt x="3541" y="2045"/>
                  </a:lnTo>
                  <a:lnTo>
                    <a:pt x="3551" y="2040"/>
                  </a:lnTo>
                  <a:lnTo>
                    <a:pt x="3554" y="2032"/>
                  </a:lnTo>
                  <a:lnTo>
                    <a:pt x="3548" y="2030"/>
                  </a:lnTo>
                  <a:lnTo>
                    <a:pt x="3543" y="2007"/>
                  </a:lnTo>
                  <a:lnTo>
                    <a:pt x="3540" y="2001"/>
                  </a:lnTo>
                  <a:lnTo>
                    <a:pt x="3531" y="2022"/>
                  </a:lnTo>
                  <a:lnTo>
                    <a:pt x="3527" y="2030"/>
                  </a:lnTo>
                  <a:lnTo>
                    <a:pt x="3525" y="2027"/>
                  </a:lnTo>
                  <a:lnTo>
                    <a:pt x="3524" y="2005"/>
                  </a:lnTo>
                  <a:lnTo>
                    <a:pt x="3521" y="1980"/>
                  </a:lnTo>
                  <a:lnTo>
                    <a:pt x="3517" y="1959"/>
                  </a:lnTo>
                  <a:lnTo>
                    <a:pt x="3514" y="1953"/>
                  </a:lnTo>
                  <a:lnTo>
                    <a:pt x="3511" y="1947"/>
                  </a:lnTo>
                  <a:lnTo>
                    <a:pt x="3510" y="1927"/>
                  </a:lnTo>
                  <a:lnTo>
                    <a:pt x="3500" y="1892"/>
                  </a:lnTo>
                  <a:lnTo>
                    <a:pt x="3492" y="1861"/>
                  </a:lnTo>
                  <a:lnTo>
                    <a:pt x="3490" y="1849"/>
                  </a:lnTo>
                  <a:lnTo>
                    <a:pt x="3483" y="1835"/>
                  </a:lnTo>
                  <a:lnTo>
                    <a:pt x="3483" y="1829"/>
                  </a:lnTo>
                  <a:lnTo>
                    <a:pt x="3482" y="1825"/>
                  </a:lnTo>
                  <a:lnTo>
                    <a:pt x="3472" y="1826"/>
                  </a:lnTo>
                  <a:lnTo>
                    <a:pt x="3454" y="1815"/>
                  </a:lnTo>
                  <a:lnTo>
                    <a:pt x="3449" y="1809"/>
                  </a:lnTo>
                  <a:lnTo>
                    <a:pt x="3428" y="1793"/>
                  </a:lnTo>
                  <a:lnTo>
                    <a:pt x="3413" y="1777"/>
                  </a:lnTo>
                  <a:lnTo>
                    <a:pt x="3411" y="1771"/>
                  </a:lnTo>
                  <a:lnTo>
                    <a:pt x="3414" y="1767"/>
                  </a:lnTo>
                  <a:lnTo>
                    <a:pt x="3412" y="1760"/>
                  </a:lnTo>
                  <a:lnTo>
                    <a:pt x="3411" y="1749"/>
                  </a:lnTo>
                  <a:lnTo>
                    <a:pt x="3413" y="1740"/>
                  </a:lnTo>
                  <a:lnTo>
                    <a:pt x="3419" y="1739"/>
                  </a:lnTo>
                  <a:lnTo>
                    <a:pt x="3433" y="1729"/>
                  </a:lnTo>
                  <a:lnTo>
                    <a:pt x="3451" y="1729"/>
                  </a:lnTo>
                  <a:lnTo>
                    <a:pt x="3455" y="1723"/>
                  </a:lnTo>
                  <a:lnTo>
                    <a:pt x="3471" y="1722"/>
                  </a:lnTo>
                  <a:lnTo>
                    <a:pt x="3471" y="1708"/>
                  </a:lnTo>
                  <a:lnTo>
                    <a:pt x="3465" y="1705"/>
                  </a:lnTo>
                  <a:lnTo>
                    <a:pt x="3465" y="1695"/>
                  </a:lnTo>
                  <a:lnTo>
                    <a:pt x="3470" y="1683"/>
                  </a:lnTo>
                  <a:lnTo>
                    <a:pt x="3483" y="1688"/>
                  </a:lnTo>
                  <a:lnTo>
                    <a:pt x="3487" y="1691"/>
                  </a:lnTo>
                  <a:lnTo>
                    <a:pt x="3508" y="1686"/>
                  </a:lnTo>
                  <a:lnTo>
                    <a:pt x="3492" y="1681"/>
                  </a:lnTo>
                  <a:lnTo>
                    <a:pt x="3487" y="1675"/>
                  </a:lnTo>
                  <a:lnTo>
                    <a:pt x="3487" y="1664"/>
                  </a:lnTo>
                  <a:lnTo>
                    <a:pt x="3489" y="1658"/>
                  </a:lnTo>
                  <a:lnTo>
                    <a:pt x="3493" y="1658"/>
                  </a:lnTo>
                  <a:lnTo>
                    <a:pt x="3500" y="1643"/>
                  </a:lnTo>
                  <a:lnTo>
                    <a:pt x="3493" y="1648"/>
                  </a:lnTo>
                  <a:lnTo>
                    <a:pt x="3471" y="1645"/>
                  </a:lnTo>
                  <a:lnTo>
                    <a:pt x="3471" y="1635"/>
                  </a:lnTo>
                  <a:lnTo>
                    <a:pt x="3476" y="1637"/>
                  </a:lnTo>
                  <a:lnTo>
                    <a:pt x="3482" y="1634"/>
                  </a:lnTo>
                  <a:lnTo>
                    <a:pt x="3483" y="1625"/>
                  </a:lnTo>
                  <a:lnTo>
                    <a:pt x="3477" y="1616"/>
                  </a:lnTo>
                  <a:lnTo>
                    <a:pt x="3476" y="1615"/>
                  </a:lnTo>
                  <a:lnTo>
                    <a:pt x="3467" y="1597"/>
                  </a:lnTo>
                  <a:lnTo>
                    <a:pt x="3472" y="1578"/>
                  </a:lnTo>
                  <a:lnTo>
                    <a:pt x="3466" y="1576"/>
                  </a:lnTo>
                  <a:lnTo>
                    <a:pt x="3465" y="1568"/>
                  </a:lnTo>
                  <a:lnTo>
                    <a:pt x="3483" y="1562"/>
                  </a:lnTo>
                  <a:lnTo>
                    <a:pt x="3483" y="1561"/>
                  </a:lnTo>
                  <a:lnTo>
                    <a:pt x="3473" y="1561"/>
                  </a:lnTo>
                  <a:lnTo>
                    <a:pt x="3468" y="1556"/>
                  </a:lnTo>
                  <a:lnTo>
                    <a:pt x="3460" y="1561"/>
                  </a:lnTo>
                  <a:lnTo>
                    <a:pt x="3452" y="1559"/>
                  </a:lnTo>
                  <a:lnTo>
                    <a:pt x="3445" y="1550"/>
                  </a:lnTo>
                  <a:lnTo>
                    <a:pt x="3445" y="1539"/>
                  </a:lnTo>
                  <a:lnTo>
                    <a:pt x="3456" y="1523"/>
                  </a:lnTo>
                  <a:lnTo>
                    <a:pt x="3461" y="1505"/>
                  </a:lnTo>
                  <a:lnTo>
                    <a:pt x="3467" y="1500"/>
                  </a:lnTo>
                  <a:lnTo>
                    <a:pt x="3467" y="1486"/>
                  </a:lnTo>
                  <a:lnTo>
                    <a:pt x="3471" y="1485"/>
                  </a:lnTo>
                  <a:lnTo>
                    <a:pt x="3476" y="1478"/>
                  </a:lnTo>
                  <a:lnTo>
                    <a:pt x="3476" y="1468"/>
                  </a:lnTo>
                  <a:lnTo>
                    <a:pt x="3483" y="1465"/>
                  </a:lnTo>
                  <a:lnTo>
                    <a:pt x="3485" y="1447"/>
                  </a:lnTo>
                  <a:lnTo>
                    <a:pt x="3481" y="1454"/>
                  </a:lnTo>
                  <a:lnTo>
                    <a:pt x="3472" y="1457"/>
                  </a:lnTo>
                  <a:lnTo>
                    <a:pt x="3466" y="1452"/>
                  </a:lnTo>
                  <a:lnTo>
                    <a:pt x="3458" y="1449"/>
                  </a:lnTo>
                  <a:lnTo>
                    <a:pt x="3449" y="1441"/>
                  </a:lnTo>
                  <a:lnTo>
                    <a:pt x="3447" y="1428"/>
                  </a:lnTo>
                  <a:lnTo>
                    <a:pt x="3442" y="1419"/>
                  </a:lnTo>
                  <a:lnTo>
                    <a:pt x="3441" y="1404"/>
                  </a:lnTo>
                  <a:lnTo>
                    <a:pt x="3441" y="1392"/>
                  </a:lnTo>
                  <a:lnTo>
                    <a:pt x="3442" y="1387"/>
                  </a:lnTo>
                  <a:lnTo>
                    <a:pt x="3454" y="1379"/>
                  </a:lnTo>
                  <a:lnTo>
                    <a:pt x="3466" y="1360"/>
                  </a:lnTo>
                  <a:lnTo>
                    <a:pt x="3474" y="1350"/>
                  </a:lnTo>
                  <a:lnTo>
                    <a:pt x="3481" y="1347"/>
                  </a:lnTo>
                  <a:lnTo>
                    <a:pt x="3481" y="1355"/>
                  </a:lnTo>
                  <a:lnTo>
                    <a:pt x="3490" y="1354"/>
                  </a:lnTo>
                  <a:lnTo>
                    <a:pt x="3516" y="1355"/>
                  </a:lnTo>
                  <a:lnTo>
                    <a:pt x="3547" y="1362"/>
                  </a:lnTo>
                  <a:lnTo>
                    <a:pt x="3552" y="1367"/>
                  </a:lnTo>
                  <a:lnTo>
                    <a:pt x="3553" y="1369"/>
                  </a:lnTo>
                  <a:lnTo>
                    <a:pt x="3562" y="1374"/>
                  </a:lnTo>
                  <a:lnTo>
                    <a:pt x="3579" y="1377"/>
                  </a:lnTo>
                  <a:lnTo>
                    <a:pt x="3586" y="1379"/>
                  </a:lnTo>
                  <a:lnTo>
                    <a:pt x="3583" y="1388"/>
                  </a:lnTo>
                  <a:lnTo>
                    <a:pt x="3585" y="1390"/>
                  </a:lnTo>
                  <a:lnTo>
                    <a:pt x="3596" y="1383"/>
                  </a:lnTo>
                  <a:lnTo>
                    <a:pt x="3612" y="1383"/>
                  </a:lnTo>
                  <a:lnTo>
                    <a:pt x="3616" y="1389"/>
                  </a:lnTo>
                  <a:lnTo>
                    <a:pt x="3613" y="1397"/>
                  </a:lnTo>
                  <a:lnTo>
                    <a:pt x="3633" y="1395"/>
                  </a:lnTo>
                  <a:lnTo>
                    <a:pt x="3630" y="1390"/>
                  </a:lnTo>
                  <a:lnTo>
                    <a:pt x="3637" y="1384"/>
                  </a:lnTo>
                  <a:lnTo>
                    <a:pt x="3670" y="1373"/>
                  </a:lnTo>
                  <a:lnTo>
                    <a:pt x="3682" y="1361"/>
                  </a:lnTo>
                  <a:lnTo>
                    <a:pt x="3715" y="1378"/>
                  </a:lnTo>
                  <a:lnTo>
                    <a:pt x="3724" y="1390"/>
                  </a:lnTo>
                  <a:lnTo>
                    <a:pt x="3739" y="1397"/>
                  </a:lnTo>
                  <a:lnTo>
                    <a:pt x="3748" y="1398"/>
                  </a:lnTo>
                  <a:lnTo>
                    <a:pt x="3751" y="1403"/>
                  </a:lnTo>
                  <a:lnTo>
                    <a:pt x="3752" y="1411"/>
                  </a:lnTo>
                  <a:lnTo>
                    <a:pt x="3740" y="1438"/>
                  </a:lnTo>
                  <a:lnTo>
                    <a:pt x="3743" y="1435"/>
                  </a:lnTo>
                  <a:lnTo>
                    <a:pt x="3751" y="1437"/>
                  </a:lnTo>
                  <a:lnTo>
                    <a:pt x="3753" y="1433"/>
                  </a:lnTo>
                  <a:lnTo>
                    <a:pt x="3753" y="1422"/>
                  </a:lnTo>
                  <a:lnTo>
                    <a:pt x="3759" y="1421"/>
                  </a:lnTo>
                  <a:lnTo>
                    <a:pt x="3769" y="1425"/>
                  </a:lnTo>
                  <a:lnTo>
                    <a:pt x="3769" y="1441"/>
                  </a:lnTo>
                  <a:lnTo>
                    <a:pt x="3775" y="1448"/>
                  </a:lnTo>
                  <a:lnTo>
                    <a:pt x="3778" y="1455"/>
                  </a:lnTo>
                  <a:lnTo>
                    <a:pt x="3770" y="1460"/>
                  </a:lnTo>
                  <a:lnTo>
                    <a:pt x="3772" y="1469"/>
                  </a:lnTo>
                  <a:lnTo>
                    <a:pt x="3782" y="1465"/>
                  </a:lnTo>
                  <a:lnTo>
                    <a:pt x="3784" y="1458"/>
                  </a:lnTo>
                  <a:lnTo>
                    <a:pt x="3793" y="1455"/>
                  </a:lnTo>
                  <a:lnTo>
                    <a:pt x="3801" y="1458"/>
                  </a:lnTo>
                  <a:lnTo>
                    <a:pt x="3807" y="1464"/>
                  </a:lnTo>
                  <a:lnTo>
                    <a:pt x="3802" y="1471"/>
                  </a:lnTo>
                  <a:lnTo>
                    <a:pt x="3798" y="1474"/>
                  </a:lnTo>
                  <a:lnTo>
                    <a:pt x="3791" y="1479"/>
                  </a:lnTo>
                  <a:lnTo>
                    <a:pt x="3791" y="1489"/>
                  </a:lnTo>
                  <a:lnTo>
                    <a:pt x="3794" y="1495"/>
                  </a:lnTo>
                  <a:lnTo>
                    <a:pt x="3799" y="1501"/>
                  </a:lnTo>
                  <a:lnTo>
                    <a:pt x="3807" y="1503"/>
                  </a:lnTo>
                  <a:lnTo>
                    <a:pt x="3805" y="1511"/>
                  </a:lnTo>
                  <a:lnTo>
                    <a:pt x="3806" y="1514"/>
                  </a:lnTo>
                  <a:lnTo>
                    <a:pt x="3823" y="1511"/>
                  </a:lnTo>
                  <a:lnTo>
                    <a:pt x="3834" y="1513"/>
                  </a:lnTo>
                  <a:lnTo>
                    <a:pt x="3837" y="1523"/>
                  </a:lnTo>
                  <a:lnTo>
                    <a:pt x="3843" y="1532"/>
                  </a:lnTo>
                  <a:lnTo>
                    <a:pt x="3849" y="1524"/>
                  </a:lnTo>
                  <a:lnTo>
                    <a:pt x="3864" y="1529"/>
                  </a:lnTo>
                  <a:lnTo>
                    <a:pt x="3877" y="1523"/>
                  </a:lnTo>
                  <a:lnTo>
                    <a:pt x="3882" y="1529"/>
                  </a:lnTo>
                  <a:lnTo>
                    <a:pt x="3884" y="1537"/>
                  </a:lnTo>
                  <a:lnTo>
                    <a:pt x="3884" y="1544"/>
                  </a:lnTo>
                  <a:lnTo>
                    <a:pt x="3888" y="1545"/>
                  </a:lnTo>
                  <a:lnTo>
                    <a:pt x="3908" y="1535"/>
                  </a:lnTo>
                  <a:lnTo>
                    <a:pt x="3907" y="1528"/>
                  </a:lnTo>
                  <a:lnTo>
                    <a:pt x="3914" y="1524"/>
                  </a:lnTo>
                  <a:lnTo>
                    <a:pt x="3925" y="1541"/>
                  </a:lnTo>
                  <a:lnTo>
                    <a:pt x="3926" y="1548"/>
                  </a:lnTo>
                  <a:lnTo>
                    <a:pt x="3925" y="1553"/>
                  </a:lnTo>
                  <a:lnTo>
                    <a:pt x="3920" y="1560"/>
                  </a:lnTo>
                  <a:lnTo>
                    <a:pt x="3912" y="1566"/>
                  </a:lnTo>
                  <a:lnTo>
                    <a:pt x="3912" y="1575"/>
                  </a:lnTo>
                  <a:lnTo>
                    <a:pt x="3909" y="1584"/>
                  </a:lnTo>
                  <a:lnTo>
                    <a:pt x="3912" y="1592"/>
                  </a:lnTo>
                  <a:lnTo>
                    <a:pt x="3911" y="1598"/>
                  </a:lnTo>
                  <a:lnTo>
                    <a:pt x="3915" y="1599"/>
                  </a:lnTo>
                  <a:lnTo>
                    <a:pt x="3918" y="1615"/>
                  </a:lnTo>
                  <a:lnTo>
                    <a:pt x="3926" y="1632"/>
                  </a:lnTo>
                  <a:lnTo>
                    <a:pt x="3913" y="1634"/>
                  </a:lnTo>
                  <a:lnTo>
                    <a:pt x="3912" y="1638"/>
                  </a:lnTo>
                  <a:lnTo>
                    <a:pt x="3908" y="1642"/>
                  </a:lnTo>
                  <a:lnTo>
                    <a:pt x="3896" y="1642"/>
                  </a:lnTo>
                  <a:lnTo>
                    <a:pt x="3887" y="1640"/>
                  </a:lnTo>
                  <a:lnTo>
                    <a:pt x="3869" y="1641"/>
                  </a:lnTo>
                  <a:lnTo>
                    <a:pt x="3853" y="1638"/>
                  </a:lnTo>
                  <a:lnTo>
                    <a:pt x="3842" y="1631"/>
                  </a:lnTo>
                  <a:lnTo>
                    <a:pt x="3831" y="1632"/>
                  </a:lnTo>
                  <a:lnTo>
                    <a:pt x="3826" y="1636"/>
                  </a:lnTo>
                  <a:lnTo>
                    <a:pt x="3845" y="1638"/>
                  </a:lnTo>
                  <a:lnTo>
                    <a:pt x="3863" y="1650"/>
                  </a:lnTo>
                  <a:lnTo>
                    <a:pt x="3899" y="1648"/>
                  </a:lnTo>
                  <a:lnTo>
                    <a:pt x="3912" y="1653"/>
                  </a:lnTo>
                  <a:lnTo>
                    <a:pt x="3924" y="1664"/>
                  </a:lnTo>
                  <a:lnTo>
                    <a:pt x="3926" y="1674"/>
                  </a:lnTo>
                  <a:lnTo>
                    <a:pt x="3924" y="1677"/>
                  </a:lnTo>
                  <a:lnTo>
                    <a:pt x="3926" y="1683"/>
                  </a:lnTo>
                  <a:lnTo>
                    <a:pt x="3913" y="1713"/>
                  </a:lnTo>
                  <a:lnTo>
                    <a:pt x="3915" y="1717"/>
                  </a:lnTo>
                  <a:lnTo>
                    <a:pt x="3931" y="1712"/>
                  </a:lnTo>
                  <a:lnTo>
                    <a:pt x="3938" y="1717"/>
                  </a:lnTo>
                  <a:lnTo>
                    <a:pt x="3935" y="1722"/>
                  </a:lnTo>
                  <a:lnTo>
                    <a:pt x="3923" y="1731"/>
                  </a:lnTo>
                  <a:lnTo>
                    <a:pt x="3924" y="1736"/>
                  </a:lnTo>
                  <a:lnTo>
                    <a:pt x="3934" y="1736"/>
                  </a:lnTo>
                  <a:lnTo>
                    <a:pt x="3938" y="1743"/>
                  </a:lnTo>
                  <a:lnTo>
                    <a:pt x="3938" y="1748"/>
                  </a:lnTo>
                  <a:lnTo>
                    <a:pt x="3935" y="1751"/>
                  </a:lnTo>
                  <a:lnTo>
                    <a:pt x="3931" y="1750"/>
                  </a:lnTo>
                  <a:lnTo>
                    <a:pt x="3930" y="1748"/>
                  </a:lnTo>
                  <a:lnTo>
                    <a:pt x="3924" y="1755"/>
                  </a:lnTo>
                  <a:lnTo>
                    <a:pt x="3912" y="1766"/>
                  </a:lnTo>
                  <a:lnTo>
                    <a:pt x="3909" y="1755"/>
                  </a:lnTo>
                  <a:lnTo>
                    <a:pt x="3903" y="1749"/>
                  </a:lnTo>
                  <a:lnTo>
                    <a:pt x="3893" y="1750"/>
                  </a:lnTo>
                  <a:lnTo>
                    <a:pt x="3899" y="1764"/>
                  </a:lnTo>
                  <a:lnTo>
                    <a:pt x="3899" y="1770"/>
                  </a:lnTo>
                  <a:lnTo>
                    <a:pt x="3879" y="1774"/>
                  </a:lnTo>
                  <a:lnTo>
                    <a:pt x="3885" y="1779"/>
                  </a:lnTo>
                  <a:lnTo>
                    <a:pt x="3895" y="1779"/>
                  </a:lnTo>
                  <a:lnTo>
                    <a:pt x="3901" y="1780"/>
                  </a:lnTo>
                  <a:lnTo>
                    <a:pt x="3907" y="1787"/>
                  </a:lnTo>
                  <a:lnTo>
                    <a:pt x="3924" y="1770"/>
                  </a:lnTo>
                  <a:lnTo>
                    <a:pt x="3931" y="1765"/>
                  </a:lnTo>
                  <a:lnTo>
                    <a:pt x="3945" y="1765"/>
                  </a:lnTo>
                  <a:lnTo>
                    <a:pt x="3956" y="1761"/>
                  </a:lnTo>
                  <a:lnTo>
                    <a:pt x="3969" y="1760"/>
                  </a:lnTo>
                  <a:lnTo>
                    <a:pt x="3979" y="1764"/>
                  </a:lnTo>
                  <a:lnTo>
                    <a:pt x="3985" y="1788"/>
                  </a:lnTo>
                  <a:lnTo>
                    <a:pt x="3990" y="1793"/>
                  </a:lnTo>
                  <a:lnTo>
                    <a:pt x="3992" y="1808"/>
                  </a:lnTo>
                  <a:lnTo>
                    <a:pt x="3987" y="1839"/>
                  </a:lnTo>
                  <a:lnTo>
                    <a:pt x="3972" y="1851"/>
                  </a:lnTo>
                  <a:lnTo>
                    <a:pt x="3934" y="1872"/>
                  </a:lnTo>
                  <a:lnTo>
                    <a:pt x="3966" y="1860"/>
                  </a:lnTo>
                  <a:lnTo>
                    <a:pt x="3987" y="1844"/>
                  </a:lnTo>
                  <a:lnTo>
                    <a:pt x="3994" y="1829"/>
                  </a:lnTo>
                  <a:lnTo>
                    <a:pt x="4000" y="1802"/>
                  </a:lnTo>
                  <a:lnTo>
                    <a:pt x="4008" y="1791"/>
                  </a:lnTo>
                  <a:lnTo>
                    <a:pt x="4008" y="1812"/>
                  </a:lnTo>
                  <a:lnTo>
                    <a:pt x="4005" y="1818"/>
                  </a:lnTo>
                  <a:lnTo>
                    <a:pt x="4015" y="1807"/>
                  </a:lnTo>
                  <a:lnTo>
                    <a:pt x="4017" y="1817"/>
                  </a:lnTo>
                  <a:lnTo>
                    <a:pt x="4015" y="1825"/>
                  </a:lnTo>
                  <a:lnTo>
                    <a:pt x="4016" y="1840"/>
                  </a:lnTo>
                  <a:lnTo>
                    <a:pt x="4019" y="1844"/>
                  </a:lnTo>
                  <a:lnTo>
                    <a:pt x="4026" y="1828"/>
                  </a:lnTo>
                  <a:lnTo>
                    <a:pt x="4055" y="1808"/>
                  </a:lnTo>
                  <a:lnTo>
                    <a:pt x="4078" y="1802"/>
                  </a:lnTo>
                  <a:lnTo>
                    <a:pt x="4079" y="1788"/>
                  </a:lnTo>
                  <a:lnTo>
                    <a:pt x="4085" y="1775"/>
                  </a:lnTo>
                  <a:lnTo>
                    <a:pt x="4091" y="1766"/>
                  </a:lnTo>
                  <a:lnTo>
                    <a:pt x="4100" y="1775"/>
                  </a:lnTo>
                  <a:lnTo>
                    <a:pt x="4112" y="1781"/>
                  </a:lnTo>
                  <a:lnTo>
                    <a:pt x="4116" y="1791"/>
                  </a:lnTo>
                  <a:lnTo>
                    <a:pt x="4111" y="1809"/>
                  </a:lnTo>
                  <a:lnTo>
                    <a:pt x="4114" y="1803"/>
                  </a:lnTo>
                  <a:lnTo>
                    <a:pt x="4123" y="1782"/>
                  </a:lnTo>
                  <a:lnTo>
                    <a:pt x="4116" y="1772"/>
                  </a:lnTo>
                  <a:lnTo>
                    <a:pt x="4110" y="1766"/>
                  </a:lnTo>
                  <a:lnTo>
                    <a:pt x="4106" y="1758"/>
                  </a:lnTo>
                  <a:lnTo>
                    <a:pt x="4116" y="1766"/>
                  </a:lnTo>
                  <a:lnTo>
                    <a:pt x="4122" y="1764"/>
                  </a:lnTo>
                  <a:lnTo>
                    <a:pt x="4127" y="1758"/>
                  </a:lnTo>
                  <a:lnTo>
                    <a:pt x="4123" y="1755"/>
                  </a:lnTo>
                  <a:lnTo>
                    <a:pt x="4124" y="1745"/>
                  </a:lnTo>
                  <a:lnTo>
                    <a:pt x="4133" y="1747"/>
                  </a:lnTo>
                  <a:lnTo>
                    <a:pt x="4135" y="1732"/>
                  </a:lnTo>
                  <a:lnTo>
                    <a:pt x="4130" y="1718"/>
                  </a:lnTo>
                  <a:lnTo>
                    <a:pt x="4137" y="1726"/>
                  </a:lnTo>
                  <a:lnTo>
                    <a:pt x="4141" y="1717"/>
                  </a:lnTo>
                  <a:lnTo>
                    <a:pt x="4149" y="1712"/>
                  </a:lnTo>
                  <a:lnTo>
                    <a:pt x="4149" y="1704"/>
                  </a:lnTo>
                  <a:lnTo>
                    <a:pt x="4157" y="1699"/>
                  </a:lnTo>
                  <a:lnTo>
                    <a:pt x="4150" y="1686"/>
                  </a:lnTo>
                  <a:lnTo>
                    <a:pt x="4143" y="1679"/>
                  </a:lnTo>
                  <a:lnTo>
                    <a:pt x="4138" y="1669"/>
                  </a:lnTo>
                  <a:lnTo>
                    <a:pt x="4143" y="1658"/>
                  </a:lnTo>
                  <a:lnTo>
                    <a:pt x="4157" y="1635"/>
                  </a:lnTo>
                  <a:lnTo>
                    <a:pt x="4165" y="1630"/>
                  </a:lnTo>
                  <a:lnTo>
                    <a:pt x="4172" y="1621"/>
                  </a:lnTo>
                  <a:lnTo>
                    <a:pt x="4172" y="1619"/>
                  </a:lnTo>
                  <a:lnTo>
                    <a:pt x="4177" y="1609"/>
                  </a:lnTo>
                  <a:lnTo>
                    <a:pt x="4186" y="1608"/>
                  </a:lnTo>
                  <a:lnTo>
                    <a:pt x="4196" y="1609"/>
                  </a:lnTo>
                  <a:lnTo>
                    <a:pt x="4198" y="1615"/>
                  </a:lnTo>
                  <a:lnTo>
                    <a:pt x="4194" y="1621"/>
                  </a:lnTo>
                  <a:lnTo>
                    <a:pt x="4202" y="1623"/>
                  </a:lnTo>
                  <a:lnTo>
                    <a:pt x="4200" y="1631"/>
                  </a:lnTo>
                  <a:lnTo>
                    <a:pt x="4203" y="1638"/>
                  </a:lnTo>
                  <a:lnTo>
                    <a:pt x="4203" y="1650"/>
                  </a:lnTo>
                  <a:lnTo>
                    <a:pt x="4198" y="1656"/>
                  </a:lnTo>
                  <a:lnTo>
                    <a:pt x="4207" y="1651"/>
                  </a:lnTo>
                  <a:lnTo>
                    <a:pt x="4211" y="1656"/>
                  </a:lnTo>
                  <a:lnTo>
                    <a:pt x="4211" y="1679"/>
                  </a:lnTo>
                  <a:lnTo>
                    <a:pt x="4223" y="1680"/>
                  </a:lnTo>
                  <a:lnTo>
                    <a:pt x="4218" y="1683"/>
                  </a:lnTo>
                  <a:lnTo>
                    <a:pt x="4219" y="1690"/>
                  </a:lnTo>
                  <a:lnTo>
                    <a:pt x="4229" y="1688"/>
                  </a:lnTo>
                  <a:lnTo>
                    <a:pt x="4239" y="1693"/>
                  </a:lnTo>
                  <a:lnTo>
                    <a:pt x="4234" y="1700"/>
                  </a:lnTo>
                  <a:lnTo>
                    <a:pt x="4226" y="1708"/>
                  </a:lnTo>
                  <a:lnTo>
                    <a:pt x="4237" y="1710"/>
                  </a:lnTo>
                  <a:lnTo>
                    <a:pt x="4240" y="1718"/>
                  </a:lnTo>
                  <a:lnTo>
                    <a:pt x="4243" y="1710"/>
                  </a:lnTo>
                  <a:lnTo>
                    <a:pt x="4248" y="1712"/>
                  </a:lnTo>
                  <a:lnTo>
                    <a:pt x="4248" y="1724"/>
                  </a:lnTo>
                  <a:lnTo>
                    <a:pt x="4254" y="1721"/>
                  </a:lnTo>
                  <a:lnTo>
                    <a:pt x="4259" y="1724"/>
                  </a:lnTo>
                  <a:lnTo>
                    <a:pt x="4258" y="1734"/>
                  </a:lnTo>
                  <a:lnTo>
                    <a:pt x="4247" y="1740"/>
                  </a:lnTo>
                  <a:lnTo>
                    <a:pt x="4226" y="1740"/>
                  </a:lnTo>
                  <a:lnTo>
                    <a:pt x="4214" y="1747"/>
                  </a:lnTo>
                  <a:lnTo>
                    <a:pt x="4211" y="1753"/>
                  </a:lnTo>
                  <a:lnTo>
                    <a:pt x="4221" y="1745"/>
                  </a:lnTo>
                  <a:lnTo>
                    <a:pt x="4226" y="1749"/>
                  </a:lnTo>
                  <a:lnTo>
                    <a:pt x="4234" y="1747"/>
                  </a:lnTo>
                  <a:lnTo>
                    <a:pt x="4250" y="1747"/>
                  </a:lnTo>
                  <a:lnTo>
                    <a:pt x="4266" y="1742"/>
                  </a:lnTo>
                  <a:lnTo>
                    <a:pt x="4269" y="1743"/>
                  </a:lnTo>
                  <a:lnTo>
                    <a:pt x="4266" y="1754"/>
                  </a:lnTo>
                  <a:lnTo>
                    <a:pt x="4268" y="1755"/>
                  </a:lnTo>
                  <a:lnTo>
                    <a:pt x="4268" y="1764"/>
                  </a:lnTo>
                  <a:lnTo>
                    <a:pt x="4266" y="1771"/>
                  </a:lnTo>
                  <a:lnTo>
                    <a:pt x="4270" y="1769"/>
                  </a:lnTo>
                  <a:lnTo>
                    <a:pt x="4283" y="1770"/>
                  </a:lnTo>
                  <a:lnTo>
                    <a:pt x="4280" y="1781"/>
                  </a:lnTo>
                  <a:lnTo>
                    <a:pt x="4282" y="1785"/>
                  </a:lnTo>
                  <a:lnTo>
                    <a:pt x="4289" y="1787"/>
                  </a:lnTo>
                  <a:lnTo>
                    <a:pt x="4286" y="1792"/>
                  </a:lnTo>
                  <a:lnTo>
                    <a:pt x="4278" y="1796"/>
                  </a:lnTo>
                  <a:lnTo>
                    <a:pt x="4264" y="1798"/>
                  </a:lnTo>
                  <a:lnTo>
                    <a:pt x="4257" y="1794"/>
                  </a:lnTo>
                  <a:lnTo>
                    <a:pt x="4251" y="1797"/>
                  </a:lnTo>
                  <a:lnTo>
                    <a:pt x="4251" y="1802"/>
                  </a:lnTo>
                  <a:lnTo>
                    <a:pt x="4256" y="1806"/>
                  </a:lnTo>
                  <a:lnTo>
                    <a:pt x="4266" y="1803"/>
                  </a:lnTo>
                  <a:lnTo>
                    <a:pt x="4284" y="1804"/>
                  </a:lnTo>
                  <a:lnTo>
                    <a:pt x="4301" y="1803"/>
                  </a:lnTo>
                  <a:lnTo>
                    <a:pt x="4304" y="1814"/>
                  </a:lnTo>
                  <a:lnTo>
                    <a:pt x="4297" y="1819"/>
                  </a:lnTo>
                  <a:lnTo>
                    <a:pt x="4294" y="1825"/>
                  </a:lnTo>
                  <a:lnTo>
                    <a:pt x="4299" y="1828"/>
                  </a:lnTo>
                  <a:lnTo>
                    <a:pt x="4293" y="1833"/>
                  </a:lnTo>
                  <a:lnTo>
                    <a:pt x="4280" y="1836"/>
                  </a:lnTo>
                  <a:lnTo>
                    <a:pt x="4269" y="1851"/>
                  </a:lnTo>
                  <a:lnTo>
                    <a:pt x="4278" y="1850"/>
                  </a:lnTo>
                  <a:lnTo>
                    <a:pt x="4286" y="1842"/>
                  </a:lnTo>
                  <a:lnTo>
                    <a:pt x="4296" y="1841"/>
                  </a:lnTo>
                  <a:lnTo>
                    <a:pt x="4305" y="1837"/>
                  </a:lnTo>
                  <a:lnTo>
                    <a:pt x="4315" y="1852"/>
                  </a:lnTo>
                  <a:lnTo>
                    <a:pt x="4310" y="1853"/>
                  </a:lnTo>
                  <a:lnTo>
                    <a:pt x="4304" y="1860"/>
                  </a:lnTo>
                  <a:lnTo>
                    <a:pt x="4304" y="1866"/>
                  </a:lnTo>
                  <a:lnTo>
                    <a:pt x="4315" y="1861"/>
                  </a:lnTo>
                  <a:lnTo>
                    <a:pt x="4322" y="1864"/>
                  </a:lnTo>
                  <a:lnTo>
                    <a:pt x="4322" y="1867"/>
                  </a:lnTo>
                  <a:lnTo>
                    <a:pt x="4331" y="1878"/>
                  </a:lnTo>
                  <a:lnTo>
                    <a:pt x="4339" y="1884"/>
                  </a:lnTo>
                  <a:lnTo>
                    <a:pt x="4342" y="1893"/>
                  </a:lnTo>
                  <a:lnTo>
                    <a:pt x="4323" y="1907"/>
                  </a:lnTo>
                  <a:lnTo>
                    <a:pt x="4312" y="1907"/>
                  </a:lnTo>
                  <a:lnTo>
                    <a:pt x="4312" y="1914"/>
                  </a:lnTo>
                  <a:lnTo>
                    <a:pt x="4339" y="1912"/>
                  </a:lnTo>
                  <a:lnTo>
                    <a:pt x="4347" y="1922"/>
                  </a:lnTo>
                  <a:lnTo>
                    <a:pt x="4342" y="1932"/>
                  </a:lnTo>
                  <a:lnTo>
                    <a:pt x="4364" y="1939"/>
                  </a:lnTo>
                  <a:lnTo>
                    <a:pt x="4368" y="1953"/>
                  </a:lnTo>
                  <a:lnTo>
                    <a:pt x="4358" y="1963"/>
                  </a:lnTo>
                  <a:lnTo>
                    <a:pt x="4347" y="1974"/>
                  </a:lnTo>
                  <a:lnTo>
                    <a:pt x="4350" y="1987"/>
                  </a:lnTo>
                  <a:lnTo>
                    <a:pt x="4343" y="1989"/>
                  </a:lnTo>
                  <a:lnTo>
                    <a:pt x="4315" y="1973"/>
                  </a:lnTo>
                  <a:lnTo>
                    <a:pt x="4312" y="1979"/>
                  </a:lnTo>
                  <a:lnTo>
                    <a:pt x="4326" y="1984"/>
                  </a:lnTo>
                  <a:lnTo>
                    <a:pt x="4326" y="1986"/>
                  </a:lnTo>
                  <a:lnTo>
                    <a:pt x="4295" y="1990"/>
                  </a:lnTo>
                  <a:lnTo>
                    <a:pt x="4286" y="1992"/>
                  </a:lnTo>
                  <a:lnTo>
                    <a:pt x="4302" y="1996"/>
                  </a:lnTo>
                  <a:lnTo>
                    <a:pt x="4334" y="1995"/>
                  </a:lnTo>
                  <a:lnTo>
                    <a:pt x="4348" y="1997"/>
                  </a:lnTo>
                  <a:lnTo>
                    <a:pt x="4350" y="2002"/>
                  </a:lnTo>
                  <a:lnTo>
                    <a:pt x="4342" y="2003"/>
                  </a:lnTo>
                  <a:lnTo>
                    <a:pt x="4334" y="2009"/>
                  </a:lnTo>
                  <a:lnTo>
                    <a:pt x="4336" y="2013"/>
                  </a:lnTo>
                  <a:lnTo>
                    <a:pt x="4350" y="2022"/>
                  </a:lnTo>
                  <a:lnTo>
                    <a:pt x="4352" y="2028"/>
                  </a:lnTo>
                  <a:lnTo>
                    <a:pt x="4342" y="2027"/>
                  </a:lnTo>
                  <a:lnTo>
                    <a:pt x="4338" y="2036"/>
                  </a:lnTo>
                  <a:lnTo>
                    <a:pt x="4371" y="2034"/>
                  </a:lnTo>
                  <a:lnTo>
                    <a:pt x="4375" y="2055"/>
                  </a:lnTo>
                  <a:lnTo>
                    <a:pt x="4379" y="2060"/>
                  </a:lnTo>
                  <a:lnTo>
                    <a:pt x="4374" y="2065"/>
                  </a:lnTo>
                  <a:lnTo>
                    <a:pt x="4403" y="2068"/>
                  </a:lnTo>
                  <a:lnTo>
                    <a:pt x="4411" y="2073"/>
                  </a:lnTo>
                  <a:lnTo>
                    <a:pt x="4412" y="2084"/>
                  </a:lnTo>
                  <a:lnTo>
                    <a:pt x="4418" y="2079"/>
                  </a:lnTo>
                  <a:lnTo>
                    <a:pt x="4428" y="2079"/>
                  </a:lnTo>
                  <a:lnTo>
                    <a:pt x="4428" y="2089"/>
                  </a:lnTo>
                  <a:lnTo>
                    <a:pt x="4424" y="2097"/>
                  </a:lnTo>
                  <a:lnTo>
                    <a:pt x="4429" y="2102"/>
                  </a:lnTo>
                  <a:lnTo>
                    <a:pt x="4431" y="2110"/>
                  </a:lnTo>
                  <a:lnTo>
                    <a:pt x="4420" y="2122"/>
                  </a:lnTo>
                  <a:lnTo>
                    <a:pt x="4420" y="2126"/>
                  </a:lnTo>
                  <a:lnTo>
                    <a:pt x="4433" y="2119"/>
                  </a:lnTo>
                  <a:lnTo>
                    <a:pt x="4447" y="2130"/>
                  </a:lnTo>
                  <a:lnTo>
                    <a:pt x="4452" y="2125"/>
                  </a:lnTo>
                  <a:lnTo>
                    <a:pt x="4462" y="2120"/>
                  </a:lnTo>
                  <a:lnTo>
                    <a:pt x="4463" y="2129"/>
                  </a:lnTo>
                  <a:lnTo>
                    <a:pt x="4473" y="2132"/>
                  </a:lnTo>
                  <a:lnTo>
                    <a:pt x="4461" y="2162"/>
                  </a:lnTo>
                  <a:lnTo>
                    <a:pt x="4469" y="2154"/>
                  </a:lnTo>
                  <a:lnTo>
                    <a:pt x="4481" y="2138"/>
                  </a:lnTo>
                  <a:lnTo>
                    <a:pt x="4490" y="2131"/>
                  </a:lnTo>
                  <a:lnTo>
                    <a:pt x="4489" y="2145"/>
                  </a:lnTo>
                  <a:lnTo>
                    <a:pt x="4493" y="2145"/>
                  </a:lnTo>
                  <a:lnTo>
                    <a:pt x="4499" y="2137"/>
                  </a:lnTo>
                  <a:lnTo>
                    <a:pt x="4501" y="2149"/>
                  </a:lnTo>
                  <a:lnTo>
                    <a:pt x="4504" y="2158"/>
                  </a:lnTo>
                  <a:lnTo>
                    <a:pt x="4510" y="2164"/>
                  </a:lnTo>
                  <a:lnTo>
                    <a:pt x="4522" y="2167"/>
                  </a:lnTo>
                  <a:lnTo>
                    <a:pt x="4536" y="2174"/>
                  </a:lnTo>
                  <a:lnTo>
                    <a:pt x="4543" y="2170"/>
                  </a:lnTo>
                  <a:lnTo>
                    <a:pt x="4542" y="2163"/>
                  </a:lnTo>
                  <a:lnTo>
                    <a:pt x="4552" y="2156"/>
                  </a:lnTo>
                  <a:lnTo>
                    <a:pt x="4559" y="2165"/>
                  </a:lnTo>
                  <a:lnTo>
                    <a:pt x="4557" y="2174"/>
                  </a:lnTo>
                  <a:lnTo>
                    <a:pt x="4568" y="2176"/>
                  </a:lnTo>
                  <a:lnTo>
                    <a:pt x="4575" y="2181"/>
                  </a:lnTo>
                  <a:lnTo>
                    <a:pt x="4581" y="2183"/>
                  </a:lnTo>
                  <a:lnTo>
                    <a:pt x="4586" y="2192"/>
                  </a:lnTo>
                  <a:lnTo>
                    <a:pt x="4581" y="2199"/>
                  </a:lnTo>
                  <a:lnTo>
                    <a:pt x="4581" y="2203"/>
                  </a:lnTo>
                  <a:lnTo>
                    <a:pt x="4580" y="2206"/>
                  </a:lnTo>
                  <a:lnTo>
                    <a:pt x="4571" y="2208"/>
                  </a:lnTo>
                  <a:lnTo>
                    <a:pt x="4565" y="2206"/>
                  </a:lnTo>
                  <a:lnTo>
                    <a:pt x="4558" y="2207"/>
                  </a:lnTo>
                  <a:lnTo>
                    <a:pt x="4544" y="2213"/>
                  </a:lnTo>
                  <a:lnTo>
                    <a:pt x="4539" y="2216"/>
                  </a:lnTo>
                  <a:lnTo>
                    <a:pt x="4539" y="2218"/>
                  </a:lnTo>
                  <a:lnTo>
                    <a:pt x="4524" y="2228"/>
                  </a:lnTo>
                  <a:lnTo>
                    <a:pt x="4494" y="2232"/>
                  </a:lnTo>
                  <a:lnTo>
                    <a:pt x="4477" y="2238"/>
                  </a:lnTo>
                  <a:lnTo>
                    <a:pt x="4469" y="2246"/>
                  </a:lnTo>
                  <a:lnTo>
                    <a:pt x="4482" y="2246"/>
                  </a:lnTo>
                  <a:lnTo>
                    <a:pt x="4495" y="2242"/>
                  </a:lnTo>
                  <a:lnTo>
                    <a:pt x="4510" y="2233"/>
                  </a:lnTo>
                  <a:lnTo>
                    <a:pt x="4515" y="2235"/>
                  </a:lnTo>
                  <a:lnTo>
                    <a:pt x="4482" y="2251"/>
                  </a:lnTo>
                  <a:lnTo>
                    <a:pt x="4467" y="2256"/>
                  </a:lnTo>
                  <a:lnTo>
                    <a:pt x="4452" y="2256"/>
                  </a:lnTo>
                  <a:lnTo>
                    <a:pt x="4436" y="2280"/>
                  </a:lnTo>
                  <a:lnTo>
                    <a:pt x="4424" y="2276"/>
                  </a:lnTo>
                  <a:lnTo>
                    <a:pt x="4413" y="2267"/>
                  </a:lnTo>
                  <a:lnTo>
                    <a:pt x="4399" y="2264"/>
                  </a:lnTo>
                  <a:lnTo>
                    <a:pt x="4386" y="2265"/>
                  </a:lnTo>
                  <a:lnTo>
                    <a:pt x="4387" y="2274"/>
                  </a:lnTo>
                  <a:lnTo>
                    <a:pt x="4404" y="2276"/>
                  </a:lnTo>
                  <a:lnTo>
                    <a:pt x="4419" y="2282"/>
                  </a:lnTo>
                  <a:lnTo>
                    <a:pt x="4430" y="2289"/>
                  </a:lnTo>
                  <a:lnTo>
                    <a:pt x="4426" y="2314"/>
                  </a:lnTo>
                  <a:lnTo>
                    <a:pt x="4438" y="2308"/>
                  </a:lnTo>
                  <a:lnTo>
                    <a:pt x="4451" y="2298"/>
                  </a:lnTo>
                  <a:lnTo>
                    <a:pt x="4456" y="2291"/>
                  </a:lnTo>
                  <a:lnTo>
                    <a:pt x="4468" y="2283"/>
                  </a:lnTo>
                  <a:lnTo>
                    <a:pt x="4479" y="2272"/>
                  </a:lnTo>
                  <a:lnTo>
                    <a:pt x="4496" y="2265"/>
                  </a:lnTo>
                  <a:lnTo>
                    <a:pt x="4506" y="2251"/>
                  </a:lnTo>
                  <a:lnTo>
                    <a:pt x="4519" y="2244"/>
                  </a:lnTo>
                  <a:lnTo>
                    <a:pt x="4547" y="2237"/>
                  </a:lnTo>
                  <a:lnTo>
                    <a:pt x="4563" y="2240"/>
                  </a:lnTo>
                  <a:lnTo>
                    <a:pt x="4569" y="2238"/>
                  </a:lnTo>
                  <a:lnTo>
                    <a:pt x="4560" y="2234"/>
                  </a:lnTo>
                  <a:lnTo>
                    <a:pt x="4546" y="2231"/>
                  </a:lnTo>
                  <a:lnTo>
                    <a:pt x="4530" y="2234"/>
                  </a:lnTo>
                  <a:lnTo>
                    <a:pt x="4538" y="2229"/>
                  </a:lnTo>
                  <a:lnTo>
                    <a:pt x="4555" y="2226"/>
                  </a:lnTo>
                  <a:lnTo>
                    <a:pt x="4582" y="2228"/>
                  </a:lnTo>
                  <a:lnTo>
                    <a:pt x="4594" y="2228"/>
                  </a:lnTo>
                  <a:lnTo>
                    <a:pt x="4596" y="2233"/>
                  </a:lnTo>
                  <a:lnTo>
                    <a:pt x="4595" y="2243"/>
                  </a:lnTo>
                  <a:lnTo>
                    <a:pt x="4597" y="2253"/>
                  </a:lnTo>
                  <a:lnTo>
                    <a:pt x="4598" y="2265"/>
                  </a:lnTo>
                  <a:lnTo>
                    <a:pt x="4591" y="2275"/>
                  </a:lnTo>
                  <a:lnTo>
                    <a:pt x="4590" y="2285"/>
                  </a:lnTo>
                  <a:lnTo>
                    <a:pt x="4592" y="2301"/>
                  </a:lnTo>
                  <a:lnTo>
                    <a:pt x="4595" y="2301"/>
                  </a:lnTo>
                  <a:lnTo>
                    <a:pt x="4607" y="2274"/>
                  </a:lnTo>
                  <a:lnTo>
                    <a:pt x="4616" y="2267"/>
                  </a:lnTo>
                  <a:lnTo>
                    <a:pt x="4629" y="2266"/>
                  </a:lnTo>
                  <a:lnTo>
                    <a:pt x="4637" y="2269"/>
                  </a:lnTo>
                  <a:lnTo>
                    <a:pt x="4633" y="2274"/>
                  </a:lnTo>
                  <a:lnTo>
                    <a:pt x="4667" y="2286"/>
                  </a:lnTo>
                  <a:lnTo>
                    <a:pt x="4668" y="2289"/>
                  </a:lnTo>
                  <a:lnTo>
                    <a:pt x="4662" y="2293"/>
                  </a:lnTo>
                  <a:lnTo>
                    <a:pt x="4668" y="2303"/>
                  </a:lnTo>
                  <a:lnTo>
                    <a:pt x="4675" y="2307"/>
                  </a:lnTo>
                  <a:lnTo>
                    <a:pt x="4676" y="2313"/>
                  </a:lnTo>
                  <a:lnTo>
                    <a:pt x="4680" y="2315"/>
                  </a:lnTo>
                  <a:lnTo>
                    <a:pt x="4680" y="2323"/>
                  </a:lnTo>
                  <a:lnTo>
                    <a:pt x="4675" y="2325"/>
                  </a:lnTo>
                  <a:lnTo>
                    <a:pt x="4670" y="2330"/>
                  </a:lnTo>
                  <a:lnTo>
                    <a:pt x="4648" y="2321"/>
                  </a:lnTo>
                  <a:lnTo>
                    <a:pt x="4655" y="2334"/>
                  </a:lnTo>
                  <a:lnTo>
                    <a:pt x="4660" y="2336"/>
                  </a:lnTo>
                  <a:lnTo>
                    <a:pt x="4668" y="2336"/>
                  </a:lnTo>
                  <a:lnTo>
                    <a:pt x="4672" y="2350"/>
                  </a:lnTo>
                  <a:lnTo>
                    <a:pt x="4668" y="2353"/>
                  </a:lnTo>
                  <a:lnTo>
                    <a:pt x="4668" y="2357"/>
                  </a:lnTo>
                  <a:lnTo>
                    <a:pt x="4677" y="2371"/>
                  </a:lnTo>
                  <a:lnTo>
                    <a:pt x="4677" y="2373"/>
                  </a:lnTo>
                  <a:lnTo>
                    <a:pt x="4667" y="2372"/>
                  </a:lnTo>
                  <a:lnTo>
                    <a:pt x="4664" y="2378"/>
                  </a:lnTo>
                  <a:lnTo>
                    <a:pt x="4681" y="2383"/>
                  </a:lnTo>
                  <a:lnTo>
                    <a:pt x="4686" y="2395"/>
                  </a:lnTo>
                  <a:lnTo>
                    <a:pt x="4671" y="2394"/>
                  </a:lnTo>
                  <a:lnTo>
                    <a:pt x="4664" y="2391"/>
                  </a:lnTo>
                  <a:lnTo>
                    <a:pt x="4668" y="239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75" name="Freeform 300">
              <a:extLst>
                <a:ext uri="{FF2B5EF4-FFF2-40B4-BE49-F238E27FC236}">
                  <a16:creationId xmlns:a16="http://schemas.microsoft.com/office/drawing/2014/main" id="{DDF43095-5281-C744-E2BB-9FB6CEDF97F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891460" y="184453"/>
              <a:ext cx="105957" cy="179858"/>
            </a:xfrm>
            <a:custGeom>
              <a:avLst/>
              <a:gdLst>
                <a:gd name="T0" fmla="*/ 0 w 197"/>
                <a:gd name="T1" fmla="*/ 0 h 316"/>
                <a:gd name="T2" fmla="*/ 0 w 197"/>
                <a:gd name="T3" fmla="*/ 0 h 316"/>
                <a:gd name="T4" fmla="*/ 0 w 197"/>
                <a:gd name="T5" fmla="*/ 0 h 316"/>
                <a:gd name="T6" fmla="*/ 0 w 197"/>
                <a:gd name="T7" fmla="*/ 0 h 316"/>
                <a:gd name="T8" fmla="*/ 0 w 197"/>
                <a:gd name="T9" fmla="*/ 0 h 316"/>
                <a:gd name="T10" fmla="*/ 0 w 197"/>
                <a:gd name="T11" fmla="*/ 0 h 316"/>
                <a:gd name="T12" fmla="*/ 0 w 197"/>
                <a:gd name="T13" fmla="*/ 0 h 316"/>
                <a:gd name="T14" fmla="*/ 0 w 197"/>
                <a:gd name="T15" fmla="*/ 0 h 316"/>
                <a:gd name="T16" fmla="*/ 0 w 197"/>
                <a:gd name="T17" fmla="*/ 0 h 316"/>
                <a:gd name="T18" fmla="*/ 0 w 197"/>
                <a:gd name="T19" fmla="*/ 0 h 316"/>
                <a:gd name="T20" fmla="*/ 0 w 197"/>
                <a:gd name="T21" fmla="*/ 0 h 316"/>
                <a:gd name="T22" fmla="*/ 0 w 197"/>
                <a:gd name="T23" fmla="*/ 0 h 316"/>
                <a:gd name="T24" fmla="*/ 0 w 197"/>
                <a:gd name="T25" fmla="*/ 0 h 316"/>
                <a:gd name="T26" fmla="*/ 0 w 197"/>
                <a:gd name="T27" fmla="*/ 0 h 316"/>
                <a:gd name="T28" fmla="*/ 0 w 197"/>
                <a:gd name="T29" fmla="*/ 0 h 316"/>
                <a:gd name="T30" fmla="*/ 0 w 197"/>
                <a:gd name="T31" fmla="*/ 0 h 316"/>
                <a:gd name="T32" fmla="*/ 0 w 197"/>
                <a:gd name="T33" fmla="*/ 0 h 316"/>
                <a:gd name="T34" fmla="*/ 0 w 197"/>
                <a:gd name="T35" fmla="*/ 0 h 316"/>
                <a:gd name="T36" fmla="*/ 0 w 197"/>
                <a:gd name="T37" fmla="*/ 0 h 316"/>
                <a:gd name="T38" fmla="*/ 0 w 197"/>
                <a:gd name="T39" fmla="*/ 0 h 316"/>
                <a:gd name="T40" fmla="*/ 0 w 197"/>
                <a:gd name="T41" fmla="*/ 0 h 316"/>
                <a:gd name="T42" fmla="*/ 0 w 197"/>
                <a:gd name="T43" fmla="*/ 0 h 316"/>
                <a:gd name="T44" fmla="*/ 0 w 197"/>
                <a:gd name="T45" fmla="*/ 2147483647 h 316"/>
                <a:gd name="T46" fmla="*/ 0 w 197"/>
                <a:gd name="T47" fmla="*/ 0 h 316"/>
                <a:gd name="T48" fmla="*/ 0 w 197"/>
                <a:gd name="T49" fmla="*/ 0 h 316"/>
                <a:gd name="T50" fmla="*/ 0 w 197"/>
                <a:gd name="T51" fmla="*/ 0 h 316"/>
                <a:gd name="T52" fmla="*/ 0 w 197"/>
                <a:gd name="T53" fmla="*/ 0 h 316"/>
                <a:gd name="T54" fmla="*/ 0 w 197"/>
                <a:gd name="T55" fmla="*/ 0 h 316"/>
                <a:gd name="T56" fmla="*/ 0 w 197"/>
                <a:gd name="T57" fmla="*/ 0 h 316"/>
                <a:gd name="T58" fmla="*/ 0 w 197"/>
                <a:gd name="T59" fmla="*/ 0 h 316"/>
                <a:gd name="T60" fmla="*/ 0 w 197"/>
                <a:gd name="T61" fmla="*/ 0 h 316"/>
                <a:gd name="T62" fmla="*/ 0 w 197"/>
                <a:gd name="T63" fmla="*/ 0 h 316"/>
                <a:gd name="T64" fmla="*/ 0 w 197"/>
                <a:gd name="T65" fmla="*/ 0 h 31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97"/>
                <a:gd name="T100" fmla="*/ 0 h 316"/>
                <a:gd name="T101" fmla="*/ 197 w 197"/>
                <a:gd name="T102" fmla="*/ 316 h 31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97" h="316">
                  <a:moveTo>
                    <a:pt x="197" y="163"/>
                  </a:moveTo>
                  <a:lnTo>
                    <a:pt x="197" y="156"/>
                  </a:lnTo>
                  <a:lnTo>
                    <a:pt x="196" y="149"/>
                  </a:lnTo>
                  <a:lnTo>
                    <a:pt x="180" y="119"/>
                  </a:lnTo>
                  <a:lnTo>
                    <a:pt x="156" y="102"/>
                  </a:lnTo>
                  <a:lnTo>
                    <a:pt x="140" y="109"/>
                  </a:lnTo>
                  <a:lnTo>
                    <a:pt x="127" y="107"/>
                  </a:lnTo>
                  <a:lnTo>
                    <a:pt x="128" y="97"/>
                  </a:lnTo>
                  <a:lnTo>
                    <a:pt x="128" y="86"/>
                  </a:lnTo>
                  <a:lnTo>
                    <a:pt x="132" y="73"/>
                  </a:lnTo>
                  <a:lnTo>
                    <a:pt x="127" y="65"/>
                  </a:lnTo>
                  <a:lnTo>
                    <a:pt x="121" y="63"/>
                  </a:lnTo>
                  <a:lnTo>
                    <a:pt x="106" y="47"/>
                  </a:lnTo>
                  <a:lnTo>
                    <a:pt x="95" y="44"/>
                  </a:lnTo>
                  <a:lnTo>
                    <a:pt x="53" y="7"/>
                  </a:lnTo>
                  <a:lnTo>
                    <a:pt x="22" y="0"/>
                  </a:lnTo>
                  <a:lnTo>
                    <a:pt x="5" y="16"/>
                  </a:lnTo>
                  <a:lnTo>
                    <a:pt x="6" y="25"/>
                  </a:lnTo>
                  <a:lnTo>
                    <a:pt x="4" y="27"/>
                  </a:lnTo>
                  <a:lnTo>
                    <a:pt x="4" y="44"/>
                  </a:lnTo>
                  <a:lnTo>
                    <a:pt x="5" y="52"/>
                  </a:lnTo>
                  <a:lnTo>
                    <a:pt x="9" y="65"/>
                  </a:lnTo>
                  <a:lnTo>
                    <a:pt x="15" y="70"/>
                  </a:lnTo>
                  <a:lnTo>
                    <a:pt x="18" y="82"/>
                  </a:lnTo>
                  <a:lnTo>
                    <a:pt x="14" y="90"/>
                  </a:lnTo>
                  <a:lnTo>
                    <a:pt x="0" y="98"/>
                  </a:lnTo>
                  <a:lnTo>
                    <a:pt x="13" y="124"/>
                  </a:lnTo>
                  <a:lnTo>
                    <a:pt x="20" y="127"/>
                  </a:lnTo>
                  <a:lnTo>
                    <a:pt x="18" y="139"/>
                  </a:lnTo>
                  <a:lnTo>
                    <a:pt x="21" y="161"/>
                  </a:lnTo>
                  <a:lnTo>
                    <a:pt x="31" y="163"/>
                  </a:lnTo>
                  <a:lnTo>
                    <a:pt x="34" y="173"/>
                  </a:lnTo>
                  <a:lnTo>
                    <a:pt x="24" y="177"/>
                  </a:lnTo>
                  <a:lnTo>
                    <a:pt x="27" y="184"/>
                  </a:lnTo>
                  <a:lnTo>
                    <a:pt x="46" y="190"/>
                  </a:lnTo>
                  <a:lnTo>
                    <a:pt x="54" y="187"/>
                  </a:lnTo>
                  <a:lnTo>
                    <a:pt x="85" y="203"/>
                  </a:lnTo>
                  <a:lnTo>
                    <a:pt x="83" y="215"/>
                  </a:lnTo>
                  <a:lnTo>
                    <a:pt x="89" y="216"/>
                  </a:lnTo>
                  <a:lnTo>
                    <a:pt x="79" y="226"/>
                  </a:lnTo>
                  <a:lnTo>
                    <a:pt x="38" y="224"/>
                  </a:lnTo>
                  <a:lnTo>
                    <a:pt x="35" y="236"/>
                  </a:lnTo>
                  <a:lnTo>
                    <a:pt x="72" y="279"/>
                  </a:lnTo>
                  <a:lnTo>
                    <a:pt x="63" y="300"/>
                  </a:lnTo>
                  <a:lnTo>
                    <a:pt x="65" y="307"/>
                  </a:lnTo>
                  <a:lnTo>
                    <a:pt x="86" y="316"/>
                  </a:lnTo>
                  <a:lnTo>
                    <a:pt x="97" y="300"/>
                  </a:lnTo>
                  <a:lnTo>
                    <a:pt x="97" y="295"/>
                  </a:lnTo>
                  <a:lnTo>
                    <a:pt x="94" y="290"/>
                  </a:lnTo>
                  <a:lnTo>
                    <a:pt x="91" y="292"/>
                  </a:lnTo>
                  <a:lnTo>
                    <a:pt x="106" y="275"/>
                  </a:lnTo>
                  <a:lnTo>
                    <a:pt x="120" y="290"/>
                  </a:lnTo>
                  <a:lnTo>
                    <a:pt x="133" y="287"/>
                  </a:lnTo>
                  <a:lnTo>
                    <a:pt x="170" y="268"/>
                  </a:lnTo>
                  <a:lnTo>
                    <a:pt x="181" y="270"/>
                  </a:lnTo>
                  <a:lnTo>
                    <a:pt x="185" y="275"/>
                  </a:lnTo>
                  <a:lnTo>
                    <a:pt x="188" y="271"/>
                  </a:lnTo>
                  <a:lnTo>
                    <a:pt x="190" y="264"/>
                  </a:lnTo>
                  <a:lnTo>
                    <a:pt x="196" y="249"/>
                  </a:lnTo>
                  <a:lnTo>
                    <a:pt x="197" y="233"/>
                  </a:lnTo>
                  <a:lnTo>
                    <a:pt x="193" y="227"/>
                  </a:lnTo>
                  <a:lnTo>
                    <a:pt x="186" y="221"/>
                  </a:lnTo>
                  <a:lnTo>
                    <a:pt x="186" y="225"/>
                  </a:lnTo>
                  <a:lnTo>
                    <a:pt x="185" y="219"/>
                  </a:lnTo>
                  <a:lnTo>
                    <a:pt x="185" y="174"/>
                  </a:lnTo>
                  <a:lnTo>
                    <a:pt x="197" y="16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76" name="Freeform 301">
              <a:extLst>
                <a:ext uri="{FF2B5EF4-FFF2-40B4-BE49-F238E27FC236}">
                  <a16:creationId xmlns:a16="http://schemas.microsoft.com/office/drawing/2014/main" id="{0E108A0A-668C-E33D-9A3F-E577A6E78AB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676563" y="114340"/>
              <a:ext cx="198482" cy="243875"/>
            </a:xfrm>
            <a:custGeom>
              <a:avLst/>
              <a:gdLst>
                <a:gd name="T0" fmla="*/ 2147483647 w 368"/>
                <a:gd name="T1" fmla="*/ 0 h 430"/>
                <a:gd name="T2" fmla="*/ 2147483647 w 368"/>
                <a:gd name="T3" fmla="*/ 0 h 430"/>
                <a:gd name="T4" fmla="*/ 2147483647 w 368"/>
                <a:gd name="T5" fmla="*/ 0 h 430"/>
                <a:gd name="T6" fmla="*/ 2147483647 w 368"/>
                <a:gd name="T7" fmla="*/ 0 h 430"/>
                <a:gd name="T8" fmla="*/ 0 w 368"/>
                <a:gd name="T9" fmla="*/ 0 h 430"/>
                <a:gd name="T10" fmla="*/ 0 w 368"/>
                <a:gd name="T11" fmla="*/ 0 h 430"/>
                <a:gd name="T12" fmla="*/ 0 w 368"/>
                <a:gd name="T13" fmla="*/ 0 h 430"/>
                <a:gd name="T14" fmla="*/ 0 w 368"/>
                <a:gd name="T15" fmla="*/ 0 h 430"/>
                <a:gd name="T16" fmla="*/ 0 w 368"/>
                <a:gd name="T17" fmla="*/ 0 h 430"/>
                <a:gd name="T18" fmla="*/ 0 w 368"/>
                <a:gd name="T19" fmla="*/ 0 h 430"/>
                <a:gd name="T20" fmla="*/ 0 w 368"/>
                <a:gd name="T21" fmla="*/ 0 h 430"/>
                <a:gd name="T22" fmla="*/ 0 w 368"/>
                <a:gd name="T23" fmla="*/ 0 h 430"/>
                <a:gd name="T24" fmla="*/ 0 w 368"/>
                <a:gd name="T25" fmla="*/ 0 h 430"/>
                <a:gd name="T26" fmla="*/ 0 w 368"/>
                <a:gd name="T27" fmla="*/ 0 h 430"/>
                <a:gd name="T28" fmla="*/ 0 w 368"/>
                <a:gd name="T29" fmla="*/ 0 h 430"/>
                <a:gd name="T30" fmla="*/ 0 w 368"/>
                <a:gd name="T31" fmla="*/ 0 h 430"/>
                <a:gd name="T32" fmla="*/ 0 w 368"/>
                <a:gd name="T33" fmla="*/ 0 h 430"/>
                <a:gd name="T34" fmla="*/ 0 w 368"/>
                <a:gd name="T35" fmla="*/ 0 h 430"/>
                <a:gd name="T36" fmla="*/ 0 w 368"/>
                <a:gd name="T37" fmla="*/ 0 h 430"/>
                <a:gd name="T38" fmla="*/ 0 w 368"/>
                <a:gd name="T39" fmla="*/ 0 h 430"/>
                <a:gd name="T40" fmla="*/ 0 w 368"/>
                <a:gd name="T41" fmla="*/ 0 h 430"/>
                <a:gd name="T42" fmla="*/ 0 w 368"/>
                <a:gd name="T43" fmla="*/ 0 h 430"/>
                <a:gd name="T44" fmla="*/ 0 w 368"/>
                <a:gd name="T45" fmla="*/ 0 h 430"/>
                <a:gd name="T46" fmla="*/ 0 w 368"/>
                <a:gd name="T47" fmla="*/ 0 h 430"/>
                <a:gd name="T48" fmla="*/ 0 w 368"/>
                <a:gd name="T49" fmla="*/ 0 h 430"/>
                <a:gd name="T50" fmla="*/ 0 w 368"/>
                <a:gd name="T51" fmla="*/ 0 h 430"/>
                <a:gd name="T52" fmla="*/ 0 w 368"/>
                <a:gd name="T53" fmla="*/ 0 h 430"/>
                <a:gd name="T54" fmla="*/ 0 w 368"/>
                <a:gd name="T55" fmla="*/ 0 h 430"/>
                <a:gd name="T56" fmla="*/ 0 w 368"/>
                <a:gd name="T57" fmla="*/ 0 h 430"/>
                <a:gd name="T58" fmla="*/ 0 w 368"/>
                <a:gd name="T59" fmla="*/ 0 h 430"/>
                <a:gd name="T60" fmla="*/ 0 w 368"/>
                <a:gd name="T61" fmla="*/ 0 h 430"/>
                <a:gd name="T62" fmla="*/ 0 w 368"/>
                <a:gd name="T63" fmla="*/ 0 h 430"/>
                <a:gd name="T64" fmla="*/ 0 w 368"/>
                <a:gd name="T65" fmla="*/ 0 h 430"/>
                <a:gd name="T66" fmla="*/ 0 w 368"/>
                <a:gd name="T67" fmla="*/ 0 h 430"/>
                <a:gd name="T68" fmla="*/ 0 w 368"/>
                <a:gd name="T69" fmla="*/ 0 h 430"/>
                <a:gd name="T70" fmla="*/ 0 w 368"/>
                <a:gd name="T71" fmla="*/ 0 h 430"/>
                <a:gd name="T72" fmla="*/ 0 w 368"/>
                <a:gd name="T73" fmla="*/ 2147483647 h 430"/>
                <a:gd name="T74" fmla="*/ 0 w 368"/>
                <a:gd name="T75" fmla="*/ 2147483647 h 430"/>
                <a:gd name="T76" fmla="*/ 0 w 368"/>
                <a:gd name="T77" fmla="*/ 2147483647 h 430"/>
                <a:gd name="T78" fmla="*/ 0 w 368"/>
                <a:gd name="T79" fmla="*/ 2147483647 h 430"/>
                <a:gd name="T80" fmla="*/ 2147483647 w 368"/>
                <a:gd name="T81" fmla="*/ 2147483647 h 430"/>
                <a:gd name="T82" fmla="*/ 2147483647 w 368"/>
                <a:gd name="T83" fmla="*/ 2147483647 h 430"/>
                <a:gd name="T84" fmla="*/ 2147483647 w 368"/>
                <a:gd name="T85" fmla="*/ 0 h 43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68"/>
                <a:gd name="T130" fmla="*/ 0 h 430"/>
                <a:gd name="T131" fmla="*/ 368 w 368"/>
                <a:gd name="T132" fmla="*/ 430 h 43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68" h="430">
                  <a:moveTo>
                    <a:pt x="337" y="301"/>
                  </a:moveTo>
                  <a:lnTo>
                    <a:pt x="333" y="284"/>
                  </a:lnTo>
                  <a:lnTo>
                    <a:pt x="318" y="278"/>
                  </a:lnTo>
                  <a:lnTo>
                    <a:pt x="320" y="260"/>
                  </a:lnTo>
                  <a:lnTo>
                    <a:pt x="316" y="243"/>
                  </a:lnTo>
                  <a:lnTo>
                    <a:pt x="327" y="224"/>
                  </a:lnTo>
                  <a:lnTo>
                    <a:pt x="328" y="211"/>
                  </a:lnTo>
                  <a:lnTo>
                    <a:pt x="332" y="204"/>
                  </a:lnTo>
                  <a:lnTo>
                    <a:pt x="332" y="197"/>
                  </a:lnTo>
                  <a:lnTo>
                    <a:pt x="327" y="190"/>
                  </a:lnTo>
                  <a:lnTo>
                    <a:pt x="323" y="187"/>
                  </a:lnTo>
                  <a:lnTo>
                    <a:pt x="321" y="194"/>
                  </a:lnTo>
                  <a:lnTo>
                    <a:pt x="311" y="177"/>
                  </a:lnTo>
                  <a:lnTo>
                    <a:pt x="312" y="177"/>
                  </a:lnTo>
                  <a:lnTo>
                    <a:pt x="300" y="176"/>
                  </a:lnTo>
                  <a:lnTo>
                    <a:pt x="299" y="171"/>
                  </a:lnTo>
                  <a:lnTo>
                    <a:pt x="304" y="158"/>
                  </a:lnTo>
                  <a:lnTo>
                    <a:pt x="297" y="141"/>
                  </a:lnTo>
                  <a:lnTo>
                    <a:pt x="266" y="118"/>
                  </a:lnTo>
                  <a:lnTo>
                    <a:pt x="261" y="125"/>
                  </a:lnTo>
                  <a:lnTo>
                    <a:pt x="245" y="131"/>
                  </a:lnTo>
                  <a:lnTo>
                    <a:pt x="237" y="141"/>
                  </a:lnTo>
                  <a:lnTo>
                    <a:pt x="235" y="139"/>
                  </a:lnTo>
                  <a:lnTo>
                    <a:pt x="236" y="133"/>
                  </a:lnTo>
                  <a:lnTo>
                    <a:pt x="227" y="128"/>
                  </a:lnTo>
                  <a:lnTo>
                    <a:pt x="227" y="119"/>
                  </a:lnTo>
                  <a:lnTo>
                    <a:pt x="232" y="101"/>
                  </a:lnTo>
                  <a:lnTo>
                    <a:pt x="231" y="85"/>
                  </a:lnTo>
                  <a:lnTo>
                    <a:pt x="223" y="75"/>
                  </a:lnTo>
                  <a:lnTo>
                    <a:pt x="220" y="85"/>
                  </a:lnTo>
                  <a:lnTo>
                    <a:pt x="211" y="90"/>
                  </a:lnTo>
                  <a:lnTo>
                    <a:pt x="211" y="85"/>
                  </a:lnTo>
                  <a:lnTo>
                    <a:pt x="210" y="76"/>
                  </a:lnTo>
                  <a:lnTo>
                    <a:pt x="200" y="69"/>
                  </a:lnTo>
                  <a:lnTo>
                    <a:pt x="193" y="53"/>
                  </a:lnTo>
                  <a:lnTo>
                    <a:pt x="176" y="44"/>
                  </a:lnTo>
                  <a:lnTo>
                    <a:pt x="166" y="44"/>
                  </a:lnTo>
                  <a:lnTo>
                    <a:pt x="151" y="65"/>
                  </a:lnTo>
                  <a:lnTo>
                    <a:pt x="148" y="76"/>
                  </a:lnTo>
                  <a:lnTo>
                    <a:pt x="148" y="93"/>
                  </a:lnTo>
                  <a:lnTo>
                    <a:pt x="146" y="104"/>
                  </a:lnTo>
                  <a:lnTo>
                    <a:pt x="143" y="114"/>
                  </a:lnTo>
                  <a:lnTo>
                    <a:pt x="129" y="96"/>
                  </a:lnTo>
                  <a:lnTo>
                    <a:pt x="134" y="33"/>
                  </a:lnTo>
                  <a:lnTo>
                    <a:pt x="130" y="22"/>
                  </a:lnTo>
                  <a:lnTo>
                    <a:pt x="116" y="21"/>
                  </a:lnTo>
                  <a:lnTo>
                    <a:pt x="103" y="27"/>
                  </a:lnTo>
                  <a:lnTo>
                    <a:pt x="108" y="16"/>
                  </a:lnTo>
                  <a:lnTo>
                    <a:pt x="106" y="11"/>
                  </a:lnTo>
                  <a:lnTo>
                    <a:pt x="95" y="4"/>
                  </a:lnTo>
                  <a:lnTo>
                    <a:pt x="84" y="0"/>
                  </a:lnTo>
                  <a:lnTo>
                    <a:pt x="62" y="13"/>
                  </a:lnTo>
                  <a:lnTo>
                    <a:pt x="22" y="22"/>
                  </a:lnTo>
                  <a:lnTo>
                    <a:pt x="11" y="16"/>
                  </a:lnTo>
                  <a:lnTo>
                    <a:pt x="9" y="21"/>
                  </a:lnTo>
                  <a:lnTo>
                    <a:pt x="0" y="56"/>
                  </a:lnTo>
                  <a:lnTo>
                    <a:pt x="5" y="101"/>
                  </a:lnTo>
                  <a:lnTo>
                    <a:pt x="6" y="104"/>
                  </a:lnTo>
                  <a:lnTo>
                    <a:pt x="17" y="107"/>
                  </a:lnTo>
                  <a:lnTo>
                    <a:pt x="40" y="96"/>
                  </a:lnTo>
                  <a:lnTo>
                    <a:pt x="52" y="98"/>
                  </a:lnTo>
                  <a:lnTo>
                    <a:pt x="52" y="114"/>
                  </a:lnTo>
                  <a:lnTo>
                    <a:pt x="42" y="145"/>
                  </a:lnTo>
                  <a:lnTo>
                    <a:pt x="36" y="150"/>
                  </a:lnTo>
                  <a:lnTo>
                    <a:pt x="41" y="161"/>
                  </a:lnTo>
                  <a:lnTo>
                    <a:pt x="55" y="155"/>
                  </a:lnTo>
                  <a:lnTo>
                    <a:pt x="67" y="120"/>
                  </a:lnTo>
                  <a:lnTo>
                    <a:pt x="75" y="117"/>
                  </a:lnTo>
                  <a:lnTo>
                    <a:pt x="80" y="109"/>
                  </a:lnTo>
                  <a:lnTo>
                    <a:pt x="87" y="111"/>
                  </a:lnTo>
                  <a:lnTo>
                    <a:pt x="92" y="117"/>
                  </a:lnTo>
                  <a:lnTo>
                    <a:pt x="95" y="130"/>
                  </a:lnTo>
                  <a:lnTo>
                    <a:pt x="92" y="139"/>
                  </a:lnTo>
                  <a:lnTo>
                    <a:pt x="89" y="146"/>
                  </a:lnTo>
                  <a:lnTo>
                    <a:pt x="81" y="155"/>
                  </a:lnTo>
                  <a:lnTo>
                    <a:pt x="83" y="171"/>
                  </a:lnTo>
                  <a:lnTo>
                    <a:pt x="92" y="174"/>
                  </a:lnTo>
                  <a:lnTo>
                    <a:pt x="97" y="162"/>
                  </a:lnTo>
                  <a:lnTo>
                    <a:pt x="102" y="165"/>
                  </a:lnTo>
                  <a:lnTo>
                    <a:pt x="103" y="176"/>
                  </a:lnTo>
                  <a:lnTo>
                    <a:pt x="123" y="168"/>
                  </a:lnTo>
                  <a:lnTo>
                    <a:pt x="122" y="181"/>
                  </a:lnTo>
                  <a:lnTo>
                    <a:pt x="117" y="190"/>
                  </a:lnTo>
                  <a:lnTo>
                    <a:pt x="96" y="201"/>
                  </a:lnTo>
                  <a:lnTo>
                    <a:pt x="94" y="210"/>
                  </a:lnTo>
                  <a:lnTo>
                    <a:pt x="127" y="216"/>
                  </a:lnTo>
                  <a:lnTo>
                    <a:pt x="121" y="228"/>
                  </a:lnTo>
                  <a:lnTo>
                    <a:pt x="118" y="242"/>
                  </a:lnTo>
                  <a:lnTo>
                    <a:pt x="92" y="240"/>
                  </a:lnTo>
                  <a:lnTo>
                    <a:pt x="65" y="225"/>
                  </a:lnTo>
                  <a:lnTo>
                    <a:pt x="47" y="228"/>
                  </a:lnTo>
                  <a:lnTo>
                    <a:pt x="41" y="236"/>
                  </a:lnTo>
                  <a:lnTo>
                    <a:pt x="42" y="253"/>
                  </a:lnTo>
                  <a:lnTo>
                    <a:pt x="43" y="268"/>
                  </a:lnTo>
                  <a:lnTo>
                    <a:pt x="57" y="290"/>
                  </a:lnTo>
                  <a:lnTo>
                    <a:pt x="79" y="307"/>
                  </a:lnTo>
                  <a:lnTo>
                    <a:pt x="103" y="310"/>
                  </a:lnTo>
                  <a:lnTo>
                    <a:pt x="111" y="303"/>
                  </a:lnTo>
                  <a:lnTo>
                    <a:pt x="118" y="290"/>
                  </a:lnTo>
                  <a:lnTo>
                    <a:pt x="127" y="290"/>
                  </a:lnTo>
                  <a:lnTo>
                    <a:pt x="159" y="274"/>
                  </a:lnTo>
                  <a:lnTo>
                    <a:pt x="157" y="282"/>
                  </a:lnTo>
                  <a:lnTo>
                    <a:pt x="159" y="295"/>
                  </a:lnTo>
                  <a:lnTo>
                    <a:pt x="170" y="305"/>
                  </a:lnTo>
                  <a:lnTo>
                    <a:pt x="180" y="305"/>
                  </a:lnTo>
                  <a:lnTo>
                    <a:pt x="191" y="297"/>
                  </a:lnTo>
                  <a:lnTo>
                    <a:pt x="203" y="297"/>
                  </a:lnTo>
                  <a:lnTo>
                    <a:pt x="230" y="305"/>
                  </a:lnTo>
                  <a:lnTo>
                    <a:pt x="234" y="312"/>
                  </a:lnTo>
                  <a:lnTo>
                    <a:pt x="234" y="321"/>
                  </a:lnTo>
                  <a:lnTo>
                    <a:pt x="250" y="322"/>
                  </a:lnTo>
                  <a:lnTo>
                    <a:pt x="253" y="316"/>
                  </a:lnTo>
                  <a:lnTo>
                    <a:pt x="256" y="318"/>
                  </a:lnTo>
                  <a:lnTo>
                    <a:pt x="257" y="328"/>
                  </a:lnTo>
                  <a:lnTo>
                    <a:pt x="268" y="343"/>
                  </a:lnTo>
                  <a:lnTo>
                    <a:pt x="268" y="366"/>
                  </a:lnTo>
                  <a:lnTo>
                    <a:pt x="277" y="388"/>
                  </a:lnTo>
                  <a:lnTo>
                    <a:pt x="278" y="399"/>
                  </a:lnTo>
                  <a:lnTo>
                    <a:pt x="294" y="418"/>
                  </a:lnTo>
                  <a:lnTo>
                    <a:pt x="301" y="416"/>
                  </a:lnTo>
                  <a:lnTo>
                    <a:pt x="313" y="430"/>
                  </a:lnTo>
                  <a:lnTo>
                    <a:pt x="318" y="420"/>
                  </a:lnTo>
                  <a:lnTo>
                    <a:pt x="326" y="415"/>
                  </a:lnTo>
                  <a:lnTo>
                    <a:pt x="339" y="416"/>
                  </a:lnTo>
                  <a:lnTo>
                    <a:pt x="355" y="410"/>
                  </a:lnTo>
                  <a:lnTo>
                    <a:pt x="360" y="395"/>
                  </a:lnTo>
                  <a:lnTo>
                    <a:pt x="359" y="382"/>
                  </a:lnTo>
                  <a:lnTo>
                    <a:pt x="368" y="357"/>
                  </a:lnTo>
                  <a:lnTo>
                    <a:pt x="337" y="30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77" name="Freeform 302">
              <a:extLst>
                <a:ext uri="{FF2B5EF4-FFF2-40B4-BE49-F238E27FC236}">
                  <a16:creationId xmlns:a16="http://schemas.microsoft.com/office/drawing/2014/main" id="{713B436F-68CE-095B-9D94-400D6DC839A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958616" y="24"/>
              <a:ext cx="323838" cy="317037"/>
            </a:xfrm>
            <a:custGeom>
              <a:avLst/>
              <a:gdLst>
                <a:gd name="T0" fmla="*/ 0 w 603"/>
                <a:gd name="T1" fmla="*/ 0 h 558"/>
                <a:gd name="T2" fmla="*/ 0 w 603"/>
                <a:gd name="T3" fmla="*/ 0 h 558"/>
                <a:gd name="T4" fmla="*/ 0 w 603"/>
                <a:gd name="T5" fmla="*/ 0 h 558"/>
                <a:gd name="T6" fmla="*/ 0 w 603"/>
                <a:gd name="T7" fmla="*/ 0 h 558"/>
                <a:gd name="T8" fmla="*/ 0 w 603"/>
                <a:gd name="T9" fmla="*/ 0 h 558"/>
                <a:gd name="T10" fmla="*/ 0 w 603"/>
                <a:gd name="T11" fmla="*/ 0 h 558"/>
                <a:gd name="T12" fmla="*/ 0 w 603"/>
                <a:gd name="T13" fmla="*/ 0 h 558"/>
                <a:gd name="T14" fmla="*/ 0 w 603"/>
                <a:gd name="T15" fmla="*/ 0 h 558"/>
                <a:gd name="T16" fmla="*/ 0 w 603"/>
                <a:gd name="T17" fmla="*/ 0 h 558"/>
                <a:gd name="T18" fmla="*/ 0 w 603"/>
                <a:gd name="T19" fmla="*/ 0 h 558"/>
                <a:gd name="T20" fmla="*/ 0 w 603"/>
                <a:gd name="T21" fmla="*/ 0 h 558"/>
                <a:gd name="T22" fmla="*/ 0 w 603"/>
                <a:gd name="T23" fmla="*/ 0 h 558"/>
                <a:gd name="T24" fmla="*/ 0 w 603"/>
                <a:gd name="T25" fmla="*/ 0 h 558"/>
                <a:gd name="T26" fmla="*/ 0 w 603"/>
                <a:gd name="T27" fmla="*/ 0 h 558"/>
                <a:gd name="T28" fmla="*/ 0 w 603"/>
                <a:gd name="T29" fmla="*/ 0 h 558"/>
                <a:gd name="T30" fmla="*/ 0 w 603"/>
                <a:gd name="T31" fmla="*/ 0 h 558"/>
                <a:gd name="T32" fmla="*/ 0 w 603"/>
                <a:gd name="T33" fmla="*/ 0 h 558"/>
                <a:gd name="T34" fmla="*/ 0 w 603"/>
                <a:gd name="T35" fmla="*/ 0 h 558"/>
                <a:gd name="T36" fmla="*/ 2147483647 w 603"/>
                <a:gd name="T37" fmla="*/ 0 h 558"/>
                <a:gd name="T38" fmla="*/ 0 w 603"/>
                <a:gd name="T39" fmla="*/ 0 h 558"/>
                <a:gd name="T40" fmla="*/ 0 w 603"/>
                <a:gd name="T41" fmla="*/ 2147483647 h 558"/>
                <a:gd name="T42" fmla="*/ 0 w 603"/>
                <a:gd name="T43" fmla="*/ 2147483647 h 558"/>
                <a:gd name="T44" fmla="*/ 0 w 603"/>
                <a:gd name="T45" fmla="*/ 2147483647 h 558"/>
                <a:gd name="T46" fmla="*/ 0 w 603"/>
                <a:gd name="T47" fmla="*/ 2147483647 h 558"/>
                <a:gd name="T48" fmla="*/ 0 w 603"/>
                <a:gd name="T49" fmla="*/ 2147483647 h 558"/>
                <a:gd name="T50" fmla="*/ 0 w 603"/>
                <a:gd name="T51" fmla="*/ 2147483647 h 558"/>
                <a:gd name="T52" fmla="*/ 0 w 603"/>
                <a:gd name="T53" fmla="*/ 2147483647 h 558"/>
                <a:gd name="T54" fmla="*/ 0 w 603"/>
                <a:gd name="T55" fmla="*/ 2147483647 h 558"/>
                <a:gd name="T56" fmla="*/ 0 w 603"/>
                <a:gd name="T57" fmla="*/ 2147483647 h 558"/>
                <a:gd name="T58" fmla="*/ 2147483647 w 603"/>
                <a:gd name="T59" fmla="*/ 2147483647 h 558"/>
                <a:gd name="T60" fmla="*/ 2147483647 w 603"/>
                <a:gd name="T61" fmla="*/ 2147483647 h 558"/>
                <a:gd name="T62" fmla="*/ 2147483647 w 603"/>
                <a:gd name="T63" fmla="*/ 2147483647 h 558"/>
                <a:gd name="T64" fmla="*/ 2147483647 w 603"/>
                <a:gd name="T65" fmla="*/ 2147483647 h 558"/>
                <a:gd name="T66" fmla="*/ 2147483647 w 603"/>
                <a:gd name="T67" fmla="*/ 2147483647 h 558"/>
                <a:gd name="T68" fmla="*/ 2147483647 w 603"/>
                <a:gd name="T69" fmla="*/ 2147483647 h 558"/>
                <a:gd name="T70" fmla="*/ 2147483647 w 603"/>
                <a:gd name="T71" fmla="*/ 2147483647 h 558"/>
                <a:gd name="T72" fmla="*/ 2147483647 w 603"/>
                <a:gd name="T73" fmla="*/ 2147483647 h 558"/>
                <a:gd name="T74" fmla="*/ 2147483647 w 603"/>
                <a:gd name="T75" fmla="*/ 2147483647 h 558"/>
                <a:gd name="T76" fmla="*/ 2147483647 w 603"/>
                <a:gd name="T77" fmla="*/ 2147483647 h 558"/>
                <a:gd name="T78" fmla="*/ 2147483647 w 603"/>
                <a:gd name="T79" fmla="*/ 2147483647 h 558"/>
                <a:gd name="T80" fmla="*/ 2147483647 w 603"/>
                <a:gd name="T81" fmla="*/ 0 h 558"/>
                <a:gd name="T82" fmla="*/ 2147483647 w 603"/>
                <a:gd name="T83" fmla="*/ 2147483647 h 558"/>
                <a:gd name="T84" fmla="*/ 2147483647 w 603"/>
                <a:gd name="T85" fmla="*/ 2147483647 h 558"/>
                <a:gd name="T86" fmla="*/ 2147483647 w 603"/>
                <a:gd name="T87" fmla="*/ 0 h 558"/>
                <a:gd name="T88" fmla="*/ 2147483647 w 603"/>
                <a:gd name="T89" fmla="*/ 0 h 558"/>
                <a:gd name="T90" fmla="*/ 2147483647 w 603"/>
                <a:gd name="T91" fmla="*/ 0 h 558"/>
                <a:gd name="T92" fmla="*/ 2147483647 w 603"/>
                <a:gd name="T93" fmla="*/ 0 h 558"/>
                <a:gd name="T94" fmla="*/ 2147483647 w 603"/>
                <a:gd name="T95" fmla="*/ 0 h 558"/>
                <a:gd name="T96" fmla="*/ 2147483647 w 603"/>
                <a:gd name="T97" fmla="*/ 0 h 558"/>
                <a:gd name="T98" fmla="*/ 2147483647 w 603"/>
                <a:gd name="T99" fmla="*/ 0 h 558"/>
                <a:gd name="T100" fmla="*/ 2147483647 w 603"/>
                <a:gd name="T101" fmla="*/ 0 h 558"/>
                <a:gd name="T102" fmla="*/ 2147483647 w 603"/>
                <a:gd name="T103" fmla="*/ 0 h 558"/>
                <a:gd name="T104" fmla="*/ 2147483647 w 603"/>
                <a:gd name="T105" fmla="*/ 0 h 558"/>
                <a:gd name="T106" fmla="*/ 2147483647 w 603"/>
                <a:gd name="T107" fmla="*/ 0 h 558"/>
                <a:gd name="T108" fmla="*/ 0 w 603"/>
                <a:gd name="T109" fmla="*/ 0 h 558"/>
                <a:gd name="T110" fmla="*/ 0 w 603"/>
                <a:gd name="T111" fmla="*/ 0 h 558"/>
                <a:gd name="T112" fmla="*/ 0 w 603"/>
                <a:gd name="T113" fmla="*/ 0 h 55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603"/>
                <a:gd name="T172" fmla="*/ 0 h 558"/>
                <a:gd name="T173" fmla="*/ 603 w 603"/>
                <a:gd name="T174" fmla="*/ 558 h 55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603" h="558">
                  <a:moveTo>
                    <a:pt x="3" y="21"/>
                  </a:moveTo>
                  <a:lnTo>
                    <a:pt x="23" y="26"/>
                  </a:lnTo>
                  <a:lnTo>
                    <a:pt x="25" y="32"/>
                  </a:lnTo>
                  <a:lnTo>
                    <a:pt x="22" y="39"/>
                  </a:lnTo>
                  <a:lnTo>
                    <a:pt x="1" y="42"/>
                  </a:lnTo>
                  <a:lnTo>
                    <a:pt x="12" y="52"/>
                  </a:lnTo>
                  <a:lnTo>
                    <a:pt x="9" y="57"/>
                  </a:lnTo>
                  <a:lnTo>
                    <a:pt x="18" y="69"/>
                  </a:lnTo>
                  <a:lnTo>
                    <a:pt x="34" y="103"/>
                  </a:lnTo>
                  <a:lnTo>
                    <a:pt x="55" y="117"/>
                  </a:lnTo>
                  <a:lnTo>
                    <a:pt x="59" y="124"/>
                  </a:lnTo>
                  <a:lnTo>
                    <a:pt x="88" y="118"/>
                  </a:lnTo>
                  <a:lnTo>
                    <a:pt x="105" y="128"/>
                  </a:lnTo>
                  <a:lnTo>
                    <a:pt x="126" y="104"/>
                  </a:lnTo>
                  <a:lnTo>
                    <a:pt x="120" y="129"/>
                  </a:lnTo>
                  <a:lnTo>
                    <a:pt x="103" y="142"/>
                  </a:lnTo>
                  <a:lnTo>
                    <a:pt x="81" y="144"/>
                  </a:lnTo>
                  <a:lnTo>
                    <a:pt x="80" y="149"/>
                  </a:lnTo>
                  <a:lnTo>
                    <a:pt x="64" y="155"/>
                  </a:lnTo>
                  <a:lnTo>
                    <a:pt x="45" y="146"/>
                  </a:lnTo>
                  <a:lnTo>
                    <a:pt x="39" y="152"/>
                  </a:lnTo>
                  <a:lnTo>
                    <a:pt x="38" y="161"/>
                  </a:lnTo>
                  <a:lnTo>
                    <a:pt x="40" y="168"/>
                  </a:lnTo>
                  <a:lnTo>
                    <a:pt x="39" y="178"/>
                  </a:lnTo>
                  <a:lnTo>
                    <a:pt x="48" y="189"/>
                  </a:lnTo>
                  <a:lnTo>
                    <a:pt x="56" y="188"/>
                  </a:lnTo>
                  <a:lnTo>
                    <a:pt x="60" y="195"/>
                  </a:lnTo>
                  <a:lnTo>
                    <a:pt x="70" y="189"/>
                  </a:lnTo>
                  <a:lnTo>
                    <a:pt x="72" y="200"/>
                  </a:lnTo>
                  <a:lnTo>
                    <a:pt x="77" y="209"/>
                  </a:lnTo>
                  <a:lnTo>
                    <a:pt x="76" y="212"/>
                  </a:lnTo>
                  <a:lnTo>
                    <a:pt x="83" y="233"/>
                  </a:lnTo>
                  <a:lnTo>
                    <a:pt x="88" y="224"/>
                  </a:lnTo>
                  <a:lnTo>
                    <a:pt x="98" y="212"/>
                  </a:lnTo>
                  <a:lnTo>
                    <a:pt x="108" y="209"/>
                  </a:lnTo>
                  <a:lnTo>
                    <a:pt x="110" y="200"/>
                  </a:lnTo>
                  <a:lnTo>
                    <a:pt x="109" y="193"/>
                  </a:lnTo>
                  <a:lnTo>
                    <a:pt x="116" y="183"/>
                  </a:lnTo>
                  <a:lnTo>
                    <a:pt x="135" y="193"/>
                  </a:lnTo>
                  <a:lnTo>
                    <a:pt x="143" y="192"/>
                  </a:lnTo>
                  <a:lnTo>
                    <a:pt x="132" y="203"/>
                  </a:lnTo>
                  <a:lnTo>
                    <a:pt x="130" y="209"/>
                  </a:lnTo>
                  <a:lnTo>
                    <a:pt x="129" y="225"/>
                  </a:lnTo>
                  <a:lnTo>
                    <a:pt x="132" y="225"/>
                  </a:lnTo>
                  <a:lnTo>
                    <a:pt x="138" y="236"/>
                  </a:lnTo>
                  <a:lnTo>
                    <a:pt x="146" y="233"/>
                  </a:lnTo>
                  <a:lnTo>
                    <a:pt x="156" y="221"/>
                  </a:lnTo>
                  <a:lnTo>
                    <a:pt x="158" y="204"/>
                  </a:lnTo>
                  <a:lnTo>
                    <a:pt x="168" y="197"/>
                  </a:lnTo>
                  <a:lnTo>
                    <a:pt x="170" y="181"/>
                  </a:lnTo>
                  <a:lnTo>
                    <a:pt x="175" y="172"/>
                  </a:lnTo>
                  <a:lnTo>
                    <a:pt x="177" y="181"/>
                  </a:lnTo>
                  <a:lnTo>
                    <a:pt x="170" y="208"/>
                  </a:lnTo>
                  <a:lnTo>
                    <a:pt x="174" y="211"/>
                  </a:lnTo>
                  <a:lnTo>
                    <a:pt x="191" y="205"/>
                  </a:lnTo>
                  <a:lnTo>
                    <a:pt x="193" y="192"/>
                  </a:lnTo>
                  <a:lnTo>
                    <a:pt x="194" y="189"/>
                  </a:lnTo>
                  <a:lnTo>
                    <a:pt x="218" y="183"/>
                  </a:lnTo>
                  <a:lnTo>
                    <a:pt x="215" y="200"/>
                  </a:lnTo>
                  <a:lnTo>
                    <a:pt x="229" y="209"/>
                  </a:lnTo>
                  <a:lnTo>
                    <a:pt x="276" y="203"/>
                  </a:lnTo>
                  <a:lnTo>
                    <a:pt x="277" y="206"/>
                  </a:lnTo>
                  <a:lnTo>
                    <a:pt x="272" y="211"/>
                  </a:lnTo>
                  <a:lnTo>
                    <a:pt x="260" y="216"/>
                  </a:lnTo>
                  <a:lnTo>
                    <a:pt x="222" y="216"/>
                  </a:lnTo>
                  <a:lnTo>
                    <a:pt x="220" y="224"/>
                  </a:lnTo>
                  <a:lnTo>
                    <a:pt x="208" y="224"/>
                  </a:lnTo>
                  <a:lnTo>
                    <a:pt x="208" y="232"/>
                  </a:lnTo>
                  <a:lnTo>
                    <a:pt x="213" y="237"/>
                  </a:lnTo>
                  <a:lnTo>
                    <a:pt x="227" y="244"/>
                  </a:lnTo>
                  <a:lnTo>
                    <a:pt x="259" y="243"/>
                  </a:lnTo>
                  <a:lnTo>
                    <a:pt x="266" y="236"/>
                  </a:lnTo>
                  <a:lnTo>
                    <a:pt x="312" y="231"/>
                  </a:lnTo>
                  <a:lnTo>
                    <a:pt x="324" y="222"/>
                  </a:lnTo>
                  <a:lnTo>
                    <a:pt x="315" y="241"/>
                  </a:lnTo>
                  <a:lnTo>
                    <a:pt x="313" y="243"/>
                  </a:lnTo>
                  <a:lnTo>
                    <a:pt x="275" y="247"/>
                  </a:lnTo>
                  <a:lnTo>
                    <a:pt x="242" y="258"/>
                  </a:lnTo>
                  <a:lnTo>
                    <a:pt x="173" y="265"/>
                  </a:lnTo>
                  <a:lnTo>
                    <a:pt x="154" y="292"/>
                  </a:lnTo>
                  <a:lnTo>
                    <a:pt x="138" y="298"/>
                  </a:lnTo>
                  <a:lnTo>
                    <a:pt x="127" y="313"/>
                  </a:lnTo>
                  <a:lnTo>
                    <a:pt x="130" y="325"/>
                  </a:lnTo>
                  <a:lnTo>
                    <a:pt x="138" y="340"/>
                  </a:lnTo>
                  <a:lnTo>
                    <a:pt x="145" y="359"/>
                  </a:lnTo>
                  <a:lnTo>
                    <a:pt x="163" y="356"/>
                  </a:lnTo>
                  <a:lnTo>
                    <a:pt x="183" y="371"/>
                  </a:lnTo>
                  <a:lnTo>
                    <a:pt x="185" y="382"/>
                  </a:lnTo>
                  <a:lnTo>
                    <a:pt x="163" y="380"/>
                  </a:lnTo>
                  <a:lnTo>
                    <a:pt x="156" y="373"/>
                  </a:lnTo>
                  <a:lnTo>
                    <a:pt x="151" y="377"/>
                  </a:lnTo>
                  <a:lnTo>
                    <a:pt x="153" y="392"/>
                  </a:lnTo>
                  <a:lnTo>
                    <a:pt x="158" y="404"/>
                  </a:lnTo>
                  <a:lnTo>
                    <a:pt x="165" y="404"/>
                  </a:lnTo>
                  <a:lnTo>
                    <a:pt x="163" y="410"/>
                  </a:lnTo>
                  <a:lnTo>
                    <a:pt x="164" y="416"/>
                  </a:lnTo>
                  <a:lnTo>
                    <a:pt x="170" y="426"/>
                  </a:lnTo>
                  <a:lnTo>
                    <a:pt x="193" y="420"/>
                  </a:lnTo>
                  <a:lnTo>
                    <a:pt x="201" y="427"/>
                  </a:lnTo>
                  <a:lnTo>
                    <a:pt x="243" y="442"/>
                  </a:lnTo>
                  <a:lnTo>
                    <a:pt x="238" y="448"/>
                  </a:lnTo>
                  <a:lnTo>
                    <a:pt x="178" y="457"/>
                  </a:lnTo>
                  <a:lnTo>
                    <a:pt x="178" y="472"/>
                  </a:lnTo>
                  <a:lnTo>
                    <a:pt x="184" y="486"/>
                  </a:lnTo>
                  <a:lnTo>
                    <a:pt x="193" y="491"/>
                  </a:lnTo>
                  <a:lnTo>
                    <a:pt x="199" y="505"/>
                  </a:lnTo>
                  <a:lnTo>
                    <a:pt x="205" y="509"/>
                  </a:lnTo>
                  <a:lnTo>
                    <a:pt x="211" y="506"/>
                  </a:lnTo>
                  <a:lnTo>
                    <a:pt x="212" y="497"/>
                  </a:lnTo>
                  <a:lnTo>
                    <a:pt x="216" y="500"/>
                  </a:lnTo>
                  <a:lnTo>
                    <a:pt x="216" y="506"/>
                  </a:lnTo>
                  <a:lnTo>
                    <a:pt x="210" y="513"/>
                  </a:lnTo>
                  <a:lnTo>
                    <a:pt x="218" y="523"/>
                  </a:lnTo>
                  <a:lnTo>
                    <a:pt x="223" y="537"/>
                  </a:lnTo>
                  <a:lnTo>
                    <a:pt x="242" y="537"/>
                  </a:lnTo>
                  <a:lnTo>
                    <a:pt x="250" y="547"/>
                  </a:lnTo>
                  <a:lnTo>
                    <a:pt x="269" y="549"/>
                  </a:lnTo>
                  <a:lnTo>
                    <a:pt x="290" y="558"/>
                  </a:lnTo>
                  <a:lnTo>
                    <a:pt x="324" y="558"/>
                  </a:lnTo>
                  <a:lnTo>
                    <a:pt x="326" y="549"/>
                  </a:lnTo>
                  <a:lnTo>
                    <a:pt x="323" y="532"/>
                  </a:lnTo>
                  <a:lnTo>
                    <a:pt x="307" y="523"/>
                  </a:lnTo>
                  <a:lnTo>
                    <a:pt x="299" y="511"/>
                  </a:lnTo>
                  <a:lnTo>
                    <a:pt x="326" y="511"/>
                  </a:lnTo>
                  <a:lnTo>
                    <a:pt x="339" y="515"/>
                  </a:lnTo>
                  <a:lnTo>
                    <a:pt x="347" y="532"/>
                  </a:lnTo>
                  <a:lnTo>
                    <a:pt x="360" y="539"/>
                  </a:lnTo>
                  <a:lnTo>
                    <a:pt x="365" y="552"/>
                  </a:lnTo>
                  <a:lnTo>
                    <a:pt x="367" y="545"/>
                  </a:lnTo>
                  <a:lnTo>
                    <a:pt x="350" y="501"/>
                  </a:lnTo>
                  <a:lnTo>
                    <a:pt x="339" y="486"/>
                  </a:lnTo>
                  <a:lnTo>
                    <a:pt x="335" y="475"/>
                  </a:lnTo>
                  <a:lnTo>
                    <a:pt x="322" y="447"/>
                  </a:lnTo>
                  <a:lnTo>
                    <a:pt x="323" y="426"/>
                  </a:lnTo>
                  <a:lnTo>
                    <a:pt x="328" y="424"/>
                  </a:lnTo>
                  <a:lnTo>
                    <a:pt x="330" y="430"/>
                  </a:lnTo>
                  <a:lnTo>
                    <a:pt x="339" y="457"/>
                  </a:lnTo>
                  <a:lnTo>
                    <a:pt x="346" y="469"/>
                  </a:lnTo>
                  <a:lnTo>
                    <a:pt x="367" y="486"/>
                  </a:lnTo>
                  <a:lnTo>
                    <a:pt x="368" y="497"/>
                  </a:lnTo>
                  <a:lnTo>
                    <a:pt x="384" y="532"/>
                  </a:lnTo>
                  <a:lnTo>
                    <a:pt x="394" y="544"/>
                  </a:lnTo>
                  <a:lnTo>
                    <a:pt x="401" y="545"/>
                  </a:lnTo>
                  <a:lnTo>
                    <a:pt x="405" y="533"/>
                  </a:lnTo>
                  <a:lnTo>
                    <a:pt x="412" y="483"/>
                  </a:lnTo>
                  <a:lnTo>
                    <a:pt x="395" y="451"/>
                  </a:lnTo>
                  <a:lnTo>
                    <a:pt x="394" y="436"/>
                  </a:lnTo>
                  <a:lnTo>
                    <a:pt x="398" y="415"/>
                  </a:lnTo>
                  <a:lnTo>
                    <a:pt x="401" y="416"/>
                  </a:lnTo>
                  <a:lnTo>
                    <a:pt x="403" y="426"/>
                  </a:lnTo>
                  <a:lnTo>
                    <a:pt x="417" y="447"/>
                  </a:lnTo>
                  <a:lnTo>
                    <a:pt x="421" y="461"/>
                  </a:lnTo>
                  <a:lnTo>
                    <a:pt x="436" y="461"/>
                  </a:lnTo>
                  <a:lnTo>
                    <a:pt x="436" y="451"/>
                  </a:lnTo>
                  <a:lnTo>
                    <a:pt x="438" y="434"/>
                  </a:lnTo>
                  <a:lnTo>
                    <a:pt x="435" y="416"/>
                  </a:lnTo>
                  <a:lnTo>
                    <a:pt x="423" y="407"/>
                  </a:lnTo>
                  <a:lnTo>
                    <a:pt x="425" y="396"/>
                  </a:lnTo>
                  <a:lnTo>
                    <a:pt x="420" y="376"/>
                  </a:lnTo>
                  <a:lnTo>
                    <a:pt x="420" y="360"/>
                  </a:lnTo>
                  <a:lnTo>
                    <a:pt x="421" y="348"/>
                  </a:lnTo>
                  <a:lnTo>
                    <a:pt x="421" y="329"/>
                  </a:lnTo>
                  <a:lnTo>
                    <a:pt x="427" y="312"/>
                  </a:lnTo>
                  <a:lnTo>
                    <a:pt x="432" y="284"/>
                  </a:lnTo>
                  <a:lnTo>
                    <a:pt x="436" y="280"/>
                  </a:lnTo>
                  <a:lnTo>
                    <a:pt x="436" y="287"/>
                  </a:lnTo>
                  <a:lnTo>
                    <a:pt x="433" y="298"/>
                  </a:lnTo>
                  <a:lnTo>
                    <a:pt x="431" y="321"/>
                  </a:lnTo>
                  <a:lnTo>
                    <a:pt x="436" y="334"/>
                  </a:lnTo>
                  <a:lnTo>
                    <a:pt x="436" y="361"/>
                  </a:lnTo>
                  <a:lnTo>
                    <a:pt x="438" y="380"/>
                  </a:lnTo>
                  <a:lnTo>
                    <a:pt x="455" y="407"/>
                  </a:lnTo>
                  <a:lnTo>
                    <a:pt x="460" y="404"/>
                  </a:lnTo>
                  <a:lnTo>
                    <a:pt x="475" y="367"/>
                  </a:lnTo>
                  <a:lnTo>
                    <a:pt x="489" y="345"/>
                  </a:lnTo>
                  <a:lnTo>
                    <a:pt x="486" y="303"/>
                  </a:lnTo>
                  <a:lnTo>
                    <a:pt x="486" y="291"/>
                  </a:lnTo>
                  <a:lnTo>
                    <a:pt x="496" y="300"/>
                  </a:lnTo>
                  <a:lnTo>
                    <a:pt x="498" y="329"/>
                  </a:lnTo>
                  <a:lnTo>
                    <a:pt x="513" y="310"/>
                  </a:lnTo>
                  <a:lnTo>
                    <a:pt x="511" y="307"/>
                  </a:lnTo>
                  <a:lnTo>
                    <a:pt x="512" y="292"/>
                  </a:lnTo>
                  <a:lnTo>
                    <a:pt x="565" y="267"/>
                  </a:lnTo>
                  <a:lnTo>
                    <a:pt x="602" y="231"/>
                  </a:lnTo>
                  <a:lnTo>
                    <a:pt x="603" y="204"/>
                  </a:lnTo>
                  <a:lnTo>
                    <a:pt x="600" y="195"/>
                  </a:lnTo>
                  <a:lnTo>
                    <a:pt x="592" y="184"/>
                  </a:lnTo>
                  <a:lnTo>
                    <a:pt x="588" y="170"/>
                  </a:lnTo>
                  <a:lnTo>
                    <a:pt x="571" y="146"/>
                  </a:lnTo>
                  <a:lnTo>
                    <a:pt x="560" y="123"/>
                  </a:lnTo>
                  <a:lnTo>
                    <a:pt x="552" y="128"/>
                  </a:lnTo>
                  <a:lnTo>
                    <a:pt x="551" y="135"/>
                  </a:lnTo>
                  <a:lnTo>
                    <a:pt x="549" y="145"/>
                  </a:lnTo>
                  <a:lnTo>
                    <a:pt x="549" y="156"/>
                  </a:lnTo>
                  <a:lnTo>
                    <a:pt x="545" y="165"/>
                  </a:lnTo>
                  <a:lnTo>
                    <a:pt x="535" y="176"/>
                  </a:lnTo>
                  <a:lnTo>
                    <a:pt x="534" y="168"/>
                  </a:lnTo>
                  <a:lnTo>
                    <a:pt x="540" y="162"/>
                  </a:lnTo>
                  <a:lnTo>
                    <a:pt x="538" y="150"/>
                  </a:lnTo>
                  <a:lnTo>
                    <a:pt x="539" y="141"/>
                  </a:lnTo>
                  <a:lnTo>
                    <a:pt x="538" y="130"/>
                  </a:lnTo>
                  <a:lnTo>
                    <a:pt x="529" y="123"/>
                  </a:lnTo>
                  <a:lnTo>
                    <a:pt x="519" y="103"/>
                  </a:lnTo>
                  <a:lnTo>
                    <a:pt x="507" y="93"/>
                  </a:lnTo>
                  <a:lnTo>
                    <a:pt x="502" y="92"/>
                  </a:lnTo>
                  <a:lnTo>
                    <a:pt x="489" y="107"/>
                  </a:lnTo>
                  <a:lnTo>
                    <a:pt x="479" y="107"/>
                  </a:lnTo>
                  <a:lnTo>
                    <a:pt x="468" y="127"/>
                  </a:lnTo>
                  <a:lnTo>
                    <a:pt x="464" y="128"/>
                  </a:lnTo>
                  <a:lnTo>
                    <a:pt x="464" y="115"/>
                  </a:lnTo>
                  <a:lnTo>
                    <a:pt x="470" y="102"/>
                  </a:lnTo>
                  <a:lnTo>
                    <a:pt x="481" y="96"/>
                  </a:lnTo>
                  <a:lnTo>
                    <a:pt x="487" y="60"/>
                  </a:lnTo>
                  <a:lnTo>
                    <a:pt x="496" y="32"/>
                  </a:lnTo>
                  <a:lnTo>
                    <a:pt x="496" y="27"/>
                  </a:lnTo>
                  <a:lnTo>
                    <a:pt x="481" y="33"/>
                  </a:lnTo>
                  <a:lnTo>
                    <a:pt x="481" y="28"/>
                  </a:lnTo>
                  <a:lnTo>
                    <a:pt x="491" y="17"/>
                  </a:lnTo>
                  <a:lnTo>
                    <a:pt x="487" y="0"/>
                  </a:lnTo>
                  <a:lnTo>
                    <a:pt x="104" y="0"/>
                  </a:lnTo>
                  <a:lnTo>
                    <a:pt x="110" y="9"/>
                  </a:lnTo>
                  <a:lnTo>
                    <a:pt x="111" y="15"/>
                  </a:lnTo>
                  <a:lnTo>
                    <a:pt x="102" y="1"/>
                  </a:lnTo>
                  <a:lnTo>
                    <a:pt x="99" y="0"/>
                  </a:lnTo>
                  <a:lnTo>
                    <a:pt x="78" y="0"/>
                  </a:lnTo>
                  <a:lnTo>
                    <a:pt x="75" y="2"/>
                  </a:lnTo>
                  <a:lnTo>
                    <a:pt x="72" y="0"/>
                  </a:lnTo>
                  <a:lnTo>
                    <a:pt x="2" y="0"/>
                  </a:lnTo>
                  <a:lnTo>
                    <a:pt x="0" y="7"/>
                  </a:lnTo>
                  <a:lnTo>
                    <a:pt x="3" y="2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78" name="Freeform 303">
              <a:extLst>
                <a:ext uri="{FF2B5EF4-FFF2-40B4-BE49-F238E27FC236}">
                  <a16:creationId xmlns:a16="http://schemas.microsoft.com/office/drawing/2014/main" id="{331D543A-6E28-2FA1-E465-8F44D69DDB4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145158" y="24"/>
              <a:ext cx="550675" cy="588349"/>
            </a:xfrm>
            <a:custGeom>
              <a:avLst/>
              <a:gdLst>
                <a:gd name="T0" fmla="*/ 0 w 1028"/>
                <a:gd name="T1" fmla="*/ 0 h 1037"/>
                <a:gd name="T2" fmla="*/ 0 w 1028"/>
                <a:gd name="T3" fmla="*/ 0 h 1037"/>
                <a:gd name="T4" fmla="*/ 2147483647 w 1028"/>
                <a:gd name="T5" fmla="*/ 0 h 1037"/>
                <a:gd name="T6" fmla="*/ 0 w 1028"/>
                <a:gd name="T7" fmla="*/ 0 h 1037"/>
                <a:gd name="T8" fmla="*/ 2147483647 w 1028"/>
                <a:gd name="T9" fmla="*/ 2147483647 h 1037"/>
                <a:gd name="T10" fmla="*/ 2147483647 w 1028"/>
                <a:gd name="T11" fmla="*/ 2147483647 h 1037"/>
                <a:gd name="T12" fmla="*/ 2147483647 w 1028"/>
                <a:gd name="T13" fmla="*/ 2147483647 h 1037"/>
                <a:gd name="T14" fmla="*/ 0 w 1028"/>
                <a:gd name="T15" fmla="*/ 2147483647 h 1037"/>
                <a:gd name="T16" fmla="*/ 0 w 1028"/>
                <a:gd name="T17" fmla="*/ 2147483647 h 1037"/>
                <a:gd name="T18" fmla="*/ 0 w 1028"/>
                <a:gd name="T19" fmla="*/ 2147483647 h 1037"/>
                <a:gd name="T20" fmla="*/ 0 w 1028"/>
                <a:gd name="T21" fmla="*/ 2147483647 h 1037"/>
                <a:gd name="T22" fmla="*/ 0 w 1028"/>
                <a:gd name="T23" fmla="*/ 2147483647 h 1037"/>
                <a:gd name="T24" fmla="*/ 0 w 1028"/>
                <a:gd name="T25" fmla="*/ 2147483647 h 1037"/>
                <a:gd name="T26" fmla="*/ 0 w 1028"/>
                <a:gd name="T27" fmla="*/ 2147483647 h 1037"/>
                <a:gd name="T28" fmla="*/ 0 w 1028"/>
                <a:gd name="T29" fmla="*/ 2147483647 h 1037"/>
                <a:gd name="T30" fmla="*/ 0 w 1028"/>
                <a:gd name="T31" fmla="*/ 2147483647 h 1037"/>
                <a:gd name="T32" fmla="*/ 0 w 1028"/>
                <a:gd name="T33" fmla="*/ 2147483647 h 1037"/>
                <a:gd name="T34" fmla="*/ 0 w 1028"/>
                <a:gd name="T35" fmla="*/ 2147483647 h 1037"/>
                <a:gd name="T36" fmla="*/ 2147483647 w 1028"/>
                <a:gd name="T37" fmla="*/ 2147483647 h 1037"/>
                <a:gd name="T38" fmla="*/ 2147483647 w 1028"/>
                <a:gd name="T39" fmla="*/ 2147483647 h 1037"/>
                <a:gd name="T40" fmla="*/ 2147483647 w 1028"/>
                <a:gd name="T41" fmla="*/ 2147483647 h 1037"/>
                <a:gd name="T42" fmla="*/ 0 w 1028"/>
                <a:gd name="T43" fmla="*/ 2147483647 h 1037"/>
                <a:gd name="T44" fmla="*/ 0 w 1028"/>
                <a:gd name="T45" fmla="*/ 2147483647 h 1037"/>
                <a:gd name="T46" fmla="*/ 0 w 1028"/>
                <a:gd name="T47" fmla="*/ 2147483647 h 1037"/>
                <a:gd name="T48" fmla="*/ 0 w 1028"/>
                <a:gd name="T49" fmla="*/ 2147483647 h 1037"/>
                <a:gd name="T50" fmla="*/ 0 w 1028"/>
                <a:gd name="T51" fmla="*/ 2147483647 h 1037"/>
                <a:gd name="T52" fmla="*/ 0 w 1028"/>
                <a:gd name="T53" fmla="*/ 2147483647 h 1037"/>
                <a:gd name="T54" fmla="*/ 0 w 1028"/>
                <a:gd name="T55" fmla="*/ 2147483647 h 1037"/>
                <a:gd name="T56" fmla="*/ 0 w 1028"/>
                <a:gd name="T57" fmla="*/ 2147483647 h 1037"/>
                <a:gd name="T58" fmla="*/ 0 w 1028"/>
                <a:gd name="T59" fmla="*/ 2147483647 h 1037"/>
                <a:gd name="T60" fmla="*/ 0 w 1028"/>
                <a:gd name="T61" fmla="*/ 2147483647 h 1037"/>
                <a:gd name="T62" fmla="*/ 0 w 1028"/>
                <a:gd name="T63" fmla="*/ 2147483647 h 1037"/>
                <a:gd name="T64" fmla="*/ 2147483647 w 1028"/>
                <a:gd name="T65" fmla="*/ 2147483647 h 1037"/>
                <a:gd name="T66" fmla="*/ 2147483647 w 1028"/>
                <a:gd name="T67" fmla="*/ 2147483647 h 1037"/>
                <a:gd name="T68" fmla="*/ 2147483647 w 1028"/>
                <a:gd name="T69" fmla="*/ 2147483647 h 1037"/>
                <a:gd name="T70" fmla="*/ 2147483647 w 1028"/>
                <a:gd name="T71" fmla="*/ 2147483647 h 1037"/>
                <a:gd name="T72" fmla="*/ 2147483647 w 1028"/>
                <a:gd name="T73" fmla="*/ 2147483647 h 1037"/>
                <a:gd name="T74" fmla="*/ 2147483647 w 1028"/>
                <a:gd name="T75" fmla="*/ 2147483647 h 1037"/>
                <a:gd name="T76" fmla="*/ 2147483647 w 1028"/>
                <a:gd name="T77" fmla="*/ 2147483647 h 1037"/>
                <a:gd name="T78" fmla="*/ 2147483647 w 1028"/>
                <a:gd name="T79" fmla="*/ 2147483647 h 1037"/>
                <a:gd name="T80" fmla="*/ 2147483647 w 1028"/>
                <a:gd name="T81" fmla="*/ 2147483647 h 1037"/>
                <a:gd name="T82" fmla="*/ 2147483647 w 1028"/>
                <a:gd name="T83" fmla="*/ 2147483647 h 1037"/>
                <a:gd name="T84" fmla="*/ 2147483647 w 1028"/>
                <a:gd name="T85" fmla="*/ 2147483647 h 1037"/>
                <a:gd name="T86" fmla="*/ 2147483647 w 1028"/>
                <a:gd name="T87" fmla="*/ 2147483647 h 1037"/>
                <a:gd name="T88" fmla="*/ 2147483647 w 1028"/>
                <a:gd name="T89" fmla="*/ 2147483647 h 1037"/>
                <a:gd name="T90" fmla="*/ 2147483647 w 1028"/>
                <a:gd name="T91" fmla="*/ 0 h 1037"/>
                <a:gd name="T92" fmla="*/ 2147483647 w 1028"/>
                <a:gd name="T93" fmla="*/ 0 h 1037"/>
                <a:gd name="T94" fmla="*/ 2147483647 w 1028"/>
                <a:gd name="T95" fmla="*/ 0 h 1037"/>
                <a:gd name="T96" fmla="*/ 2147483647 w 1028"/>
                <a:gd name="T97" fmla="*/ 0 h 1037"/>
                <a:gd name="T98" fmla="*/ 2147483647 w 1028"/>
                <a:gd name="T99" fmla="*/ 0 h 1037"/>
                <a:gd name="T100" fmla="*/ 2147483647 w 1028"/>
                <a:gd name="T101" fmla="*/ 0 h 1037"/>
                <a:gd name="T102" fmla="*/ 2147483647 w 1028"/>
                <a:gd name="T103" fmla="*/ 0 h 1037"/>
                <a:gd name="T104" fmla="*/ 2147483647 w 1028"/>
                <a:gd name="T105" fmla="*/ 0 h 1037"/>
                <a:gd name="T106" fmla="*/ 2147483647 w 1028"/>
                <a:gd name="T107" fmla="*/ 0 h 1037"/>
                <a:gd name="T108" fmla="*/ 2147483647 w 1028"/>
                <a:gd name="T109" fmla="*/ 0 h 1037"/>
                <a:gd name="T110" fmla="*/ 2147483647 w 1028"/>
                <a:gd name="T111" fmla="*/ 0 h 1037"/>
                <a:gd name="T112" fmla="*/ 2147483647 w 1028"/>
                <a:gd name="T113" fmla="*/ 0 h 1037"/>
                <a:gd name="T114" fmla="*/ 0 w 1028"/>
                <a:gd name="T115" fmla="*/ 0 h 103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28"/>
                <a:gd name="T175" fmla="*/ 0 h 1037"/>
                <a:gd name="T176" fmla="*/ 1028 w 1028"/>
                <a:gd name="T177" fmla="*/ 1037 h 103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28" h="1037">
                  <a:moveTo>
                    <a:pt x="231" y="23"/>
                  </a:moveTo>
                  <a:lnTo>
                    <a:pt x="231" y="28"/>
                  </a:lnTo>
                  <a:lnTo>
                    <a:pt x="228" y="33"/>
                  </a:lnTo>
                  <a:lnTo>
                    <a:pt x="193" y="18"/>
                  </a:lnTo>
                  <a:lnTo>
                    <a:pt x="184" y="9"/>
                  </a:lnTo>
                  <a:lnTo>
                    <a:pt x="174" y="7"/>
                  </a:lnTo>
                  <a:lnTo>
                    <a:pt x="168" y="11"/>
                  </a:lnTo>
                  <a:lnTo>
                    <a:pt x="168" y="49"/>
                  </a:lnTo>
                  <a:lnTo>
                    <a:pt x="170" y="57"/>
                  </a:lnTo>
                  <a:lnTo>
                    <a:pt x="181" y="70"/>
                  </a:lnTo>
                  <a:lnTo>
                    <a:pt x="204" y="86"/>
                  </a:lnTo>
                  <a:lnTo>
                    <a:pt x="217" y="87"/>
                  </a:lnTo>
                  <a:lnTo>
                    <a:pt x="243" y="111"/>
                  </a:lnTo>
                  <a:lnTo>
                    <a:pt x="247" y="120"/>
                  </a:lnTo>
                  <a:lnTo>
                    <a:pt x="251" y="141"/>
                  </a:lnTo>
                  <a:lnTo>
                    <a:pt x="256" y="151"/>
                  </a:lnTo>
                  <a:lnTo>
                    <a:pt x="279" y="182"/>
                  </a:lnTo>
                  <a:lnTo>
                    <a:pt x="281" y="192"/>
                  </a:lnTo>
                  <a:lnTo>
                    <a:pt x="280" y="204"/>
                  </a:lnTo>
                  <a:lnTo>
                    <a:pt x="284" y="215"/>
                  </a:lnTo>
                  <a:lnTo>
                    <a:pt x="284" y="225"/>
                  </a:lnTo>
                  <a:lnTo>
                    <a:pt x="283" y="228"/>
                  </a:lnTo>
                  <a:lnTo>
                    <a:pt x="286" y="237"/>
                  </a:lnTo>
                  <a:lnTo>
                    <a:pt x="289" y="253"/>
                  </a:lnTo>
                  <a:lnTo>
                    <a:pt x="303" y="249"/>
                  </a:lnTo>
                  <a:lnTo>
                    <a:pt x="310" y="240"/>
                  </a:lnTo>
                  <a:lnTo>
                    <a:pt x="308" y="251"/>
                  </a:lnTo>
                  <a:lnTo>
                    <a:pt x="303" y="259"/>
                  </a:lnTo>
                  <a:lnTo>
                    <a:pt x="314" y="278"/>
                  </a:lnTo>
                  <a:lnTo>
                    <a:pt x="322" y="275"/>
                  </a:lnTo>
                  <a:lnTo>
                    <a:pt x="324" y="290"/>
                  </a:lnTo>
                  <a:lnTo>
                    <a:pt x="330" y="298"/>
                  </a:lnTo>
                  <a:lnTo>
                    <a:pt x="344" y="296"/>
                  </a:lnTo>
                  <a:lnTo>
                    <a:pt x="337" y="307"/>
                  </a:lnTo>
                  <a:lnTo>
                    <a:pt x="318" y="306"/>
                  </a:lnTo>
                  <a:lnTo>
                    <a:pt x="307" y="301"/>
                  </a:lnTo>
                  <a:lnTo>
                    <a:pt x="295" y="280"/>
                  </a:lnTo>
                  <a:lnTo>
                    <a:pt x="283" y="279"/>
                  </a:lnTo>
                  <a:lnTo>
                    <a:pt x="276" y="269"/>
                  </a:lnTo>
                  <a:lnTo>
                    <a:pt x="270" y="271"/>
                  </a:lnTo>
                  <a:lnTo>
                    <a:pt x="262" y="286"/>
                  </a:lnTo>
                  <a:lnTo>
                    <a:pt x="265" y="302"/>
                  </a:lnTo>
                  <a:lnTo>
                    <a:pt x="278" y="307"/>
                  </a:lnTo>
                  <a:lnTo>
                    <a:pt x="295" y="327"/>
                  </a:lnTo>
                  <a:lnTo>
                    <a:pt x="354" y="333"/>
                  </a:lnTo>
                  <a:lnTo>
                    <a:pt x="377" y="346"/>
                  </a:lnTo>
                  <a:lnTo>
                    <a:pt x="407" y="345"/>
                  </a:lnTo>
                  <a:lnTo>
                    <a:pt x="410" y="343"/>
                  </a:lnTo>
                  <a:lnTo>
                    <a:pt x="413" y="335"/>
                  </a:lnTo>
                  <a:lnTo>
                    <a:pt x="419" y="334"/>
                  </a:lnTo>
                  <a:lnTo>
                    <a:pt x="434" y="316"/>
                  </a:lnTo>
                  <a:lnTo>
                    <a:pt x="442" y="313"/>
                  </a:lnTo>
                  <a:lnTo>
                    <a:pt x="442" y="316"/>
                  </a:lnTo>
                  <a:lnTo>
                    <a:pt x="434" y="332"/>
                  </a:lnTo>
                  <a:lnTo>
                    <a:pt x="431" y="349"/>
                  </a:lnTo>
                  <a:lnTo>
                    <a:pt x="434" y="353"/>
                  </a:lnTo>
                  <a:lnTo>
                    <a:pt x="427" y="361"/>
                  </a:lnTo>
                  <a:lnTo>
                    <a:pt x="424" y="360"/>
                  </a:lnTo>
                  <a:lnTo>
                    <a:pt x="421" y="367"/>
                  </a:lnTo>
                  <a:lnTo>
                    <a:pt x="416" y="370"/>
                  </a:lnTo>
                  <a:lnTo>
                    <a:pt x="408" y="357"/>
                  </a:lnTo>
                  <a:lnTo>
                    <a:pt x="398" y="364"/>
                  </a:lnTo>
                  <a:lnTo>
                    <a:pt x="355" y="357"/>
                  </a:lnTo>
                  <a:lnTo>
                    <a:pt x="348" y="366"/>
                  </a:lnTo>
                  <a:lnTo>
                    <a:pt x="351" y="375"/>
                  </a:lnTo>
                  <a:lnTo>
                    <a:pt x="364" y="384"/>
                  </a:lnTo>
                  <a:lnTo>
                    <a:pt x="373" y="386"/>
                  </a:lnTo>
                  <a:lnTo>
                    <a:pt x="377" y="393"/>
                  </a:lnTo>
                  <a:lnTo>
                    <a:pt x="405" y="394"/>
                  </a:lnTo>
                  <a:lnTo>
                    <a:pt x="402" y="402"/>
                  </a:lnTo>
                  <a:lnTo>
                    <a:pt x="388" y="402"/>
                  </a:lnTo>
                  <a:lnTo>
                    <a:pt x="402" y="431"/>
                  </a:lnTo>
                  <a:lnTo>
                    <a:pt x="399" y="437"/>
                  </a:lnTo>
                  <a:lnTo>
                    <a:pt x="380" y="426"/>
                  </a:lnTo>
                  <a:lnTo>
                    <a:pt x="377" y="418"/>
                  </a:lnTo>
                  <a:lnTo>
                    <a:pt x="367" y="400"/>
                  </a:lnTo>
                  <a:lnTo>
                    <a:pt x="356" y="399"/>
                  </a:lnTo>
                  <a:lnTo>
                    <a:pt x="313" y="353"/>
                  </a:lnTo>
                  <a:lnTo>
                    <a:pt x="270" y="345"/>
                  </a:lnTo>
                  <a:lnTo>
                    <a:pt x="243" y="332"/>
                  </a:lnTo>
                  <a:lnTo>
                    <a:pt x="233" y="333"/>
                  </a:lnTo>
                  <a:lnTo>
                    <a:pt x="232" y="341"/>
                  </a:lnTo>
                  <a:lnTo>
                    <a:pt x="225" y="354"/>
                  </a:lnTo>
                  <a:lnTo>
                    <a:pt x="157" y="367"/>
                  </a:lnTo>
                  <a:lnTo>
                    <a:pt x="152" y="371"/>
                  </a:lnTo>
                  <a:lnTo>
                    <a:pt x="146" y="382"/>
                  </a:lnTo>
                  <a:lnTo>
                    <a:pt x="140" y="404"/>
                  </a:lnTo>
                  <a:lnTo>
                    <a:pt x="136" y="426"/>
                  </a:lnTo>
                  <a:lnTo>
                    <a:pt x="147" y="430"/>
                  </a:lnTo>
                  <a:lnTo>
                    <a:pt x="144" y="436"/>
                  </a:lnTo>
                  <a:lnTo>
                    <a:pt x="125" y="442"/>
                  </a:lnTo>
                  <a:lnTo>
                    <a:pt x="118" y="452"/>
                  </a:lnTo>
                  <a:lnTo>
                    <a:pt x="108" y="474"/>
                  </a:lnTo>
                  <a:lnTo>
                    <a:pt x="114" y="488"/>
                  </a:lnTo>
                  <a:lnTo>
                    <a:pt x="115" y="502"/>
                  </a:lnTo>
                  <a:lnTo>
                    <a:pt x="117" y="507"/>
                  </a:lnTo>
                  <a:lnTo>
                    <a:pt x="115" y="523"/>
                  </a:lnTo>
                  <a:lnTo>
                    <a:pt x="117" y="529"/>
                  </a:lnTo>
                  <a:lnTo>
                    <a:pt x="125" y="524"/>
                  </a:lnTo>
                  <a:lnTo>
                    <a:pt x="140" y="531"/>
                  </a:lnTo>
                  <a:lnTo>
                    <a:pt x="127" y="534"/>
                  </a:lnTo>
                  <a:lnTo>
                    <a:pt x="119" y="542"/>
                  </a:lnTo>
                  <a:lnTo>
                    <a:pt x="117" y="549"/>
                  </a:lnTo>
                  <a:lnTo>
                    <a:pt x="118" y="552"/>
                  </a:lnTo>
                  <a:lnTo>
                    <a:pt x="144" y="558"/>
                  </a:lnTo>
                  <a:lnTo>
                    <a:pt x="170" y="545"/>
                  </a:lnTo>
                  <a:lnTo>
                    <a:pt x="176" y="526"/>
                  </a:lnTo>
                  <a:lnTo>
                    <a:pt x="184" y="528"/>
                  </a:lnTo>
                  <a:lnTo>
                    <a:pt x="188" y="523"/>
                  </a:lnTo>
                  <a:lnTo>
                    <a:pt x="192" y="511"/>
                  </a:lnTo>
                  <a:lnTo>
                    <a:pt x="193" y="500"/>
                  </a:lnTo>
                  <a:lnTo>
                    <a:pt x="205" y="486"/>
                  </a:lnTo>
                  <a:lnTo>
                    <a:pt x="205" y="493"/>
                  </a:lnTo>
                  <a:lnTo>
                    <a:pt x="199" y="515"/>
                  </a:lnTo>
                  <a:lnTo>
                    <a:pt x="185" y="542"/>
                  </a:lnTo>
                  <a:lnTo>
                    <a:pt x="187" y="547"/>
                  </a:lnTo>
                  <a:lnTo>
                    <a:pt x="187" y="554"/>
                  </a:lnTo>
                  <a:lnTo>
                    <a:pt x="188" y="561"/>
                  </a:lnTo>
                  <a:lnTo>
                    <a:pt x="194" y="566"/>
                  </a:lnTo>
                  <a:lnTo>
                    <a:pt x="221" y="553"/>
                  </a:lnTo>
                  <a:lnTo>
                    <a:pt x="226" y="558"/>
                  </a:lnTo>
                  <a:lnTo>
                    <a:pt x="233" y="550"/>
                  </a:lnTo>
                  <a:lnTo>
                    <a:pt x="247" y="523"/>
                  </a:lnTo>
                  <a:lnTo>
                    <a:pt x="249" y="510"/>
                  </a:lnTo>
                  <a:lnTo>
                    <a:pt x="254" y="499"/>
                  </a:lnTo>
                  <a:lnTo>
                    <a:pt x="258" y="472"/>
                  </a:lnTo>
                  <a:lnTo>
                    <a:pt x="263" y="458"/>
                  </a:lnTo>
                  <a:lnTo>
                    <a:pt x="263" y="447"/>
                  </a:lnTo>
                  <a:lnTo>
                    <a:pt x="273" y="425"/>
                  </a:lnTo>
                  <a:lnTo>
                    <a:pt x="264" y="454"/>
                  </a:lnTo>
                  <a:lnTo>
                    <a:pt x="263" y="483"/>
                  </a:lnTo>
                  <a:lnTo>
                    <a:pt x="265" y="490"/>
                  </a:lnTo>
                  <a:lnTo>
                    <a:pt x="270" y="491"/>
                  </a:lnTo>
                  <a:lnTo>
                    <a:pt x="276" y="486"/>
                  </a:lnTo>
                  <a:lnTo>
                    <a:pt x="274" y="494"/>
                  </a:lnTo>
                  <a:lnTo>
                    <a:pt x="263" y="505"/>
                  </a:lnTo>
                  <a:lnTo>
                    <a:pt x="259" y="513"/>
                  </a:lnTo>
                  <a:lnTo>
                    <a:pt x="259" y="531"/>
                  </a:lnTo>
                  <a:lnTo>
                    <a:pt x="260" y="536"/>
                  </a:lnTo>
                  <a:lnTo>
                    <a:pt x="278" y="529"/>
                  </a:lnTo>
                  <a:lnTo>
                    <a:pt x="286" y="532"/>
                  </a:lnTo>
                  <a:lnTo>
                    <a:pt x="294" y="536"/>
                  </a:lnTo>
                  <a:lnTo>
                    <a:pt x="296" y="542"/>
                  </a:lnTo>
                  <a:lnTo>
                    <a:pt x="303" y="538"/>
                  </a:lnTo>
                  <a:lnTo>
                    <a:pt x="303" y="545"/>
                  </a:lnTo>
                  <a:lnTo>
                    <a:pt x="298" y="552"/>
                  </a:lnTo>
                  <a:lnTo>
                    <a:pt x="275" y="542"/>
                  </a:lnTo>
                  <a:lnTo>
                    <a:pt x="252" y="547"/>
                  </a:lnTo>
                  <a:lnTo>
                    <a:pt x="246" y="555"/>
                  </a:lnTo>
                  <a:lnTo>
                    <a:pt x="246" y="561"/>
                  </a:lnTo>
                  <a:lnTo>
                    <a:pt x="243" y="570"/>
                  </a:lnTo>
                  <a:lnTo>
                    <a:pt x="257" y="576"/>
                  </a:lnTo>
                  <a:lnTo>
                    <a:pt x="247" y="581"/>
                  </a:lnTo>
                  <a:lnTo>
                    <a:pt x="232" y="576"/>
                  </a:lnTo>
                  <a:lnTo>
                    <a:pt x="226" y="580"/>
                  </a:lnTo>
                  <a:lnTo>
                    <a:pt x="208" y="602"/>
                  </a:lnTo>
                  <a:lnTo>
                    <a:pt x="209" y="607"/>
                  </a:lnTo>
                  <a:lnTo>
                    <a:pt x="214" y="608"/>
                  </a:lnTo>
                  <a:lnTo>
                    <a:pt x="219" y="618"/>
                  </a:lnTo>
                  <a:lnTo>
                    <a:pt x="230" y="609"/>
                  </a:lnTo>
                  <a:lnTo>
                    <a:pt x="253" y="608"/>
                  </a:lnTo>
                  <a:lnTo>
                    <a:pt x="259" y="602"/>
                  </a:lnTo>
                  <a:lnTo>
                    <a:pt x="264" y="604"/>
                  </a:lnTo>
                  <a:lnTo>
                    <a:pt x="265" y="609"/>
                  </a:lnTo>
                  <a:lnTo>
                    <a:pt x="259" y="610"/>
                  </a:lnTo>
                  <a:lnTo>
                    <a:pt x="249" y="620"/>
                  </a:lnTo>
                  <a:lnTo>
                    <a:pt x="251" y="617"/>
                  </a:lnTo>
                  <a:lnTo>
                    <a:pt x="247" y="615"/>
                  </a:lnTo>
                  <a:lnTo>
                    <a:pt x="230" y="618"/>
                  </a:lnTo>
                  <a:lnTo>
                    <a:pt x="227" y="620"/>
                  </a:lnTo>
                  <a:lnTo>
                    <a:pt x="226" y="626"/>
                  </a:lnTo>
                  <a:lnTo>
                    <a:pt x="227" y="631"/>
                  </a:lnTo>
                  <a:lnTo>
                    <a:pt x="247" y="626"/>
                  </a:lnTo>
                  <a:lnTo>
                    <a:pt x="238" y="637"/>
                  </a:lnTo>
                  <a:lnTo>
                    <a:pt x="235" y="651"/>
                  </a:lnTo>
                  <a:lnTo>
                    <a:pt x="235" y="655"/>
                  </a:lnTo>
                  <a:lnTo>
                    <a:pt x="238" y="669"/>
                  </a:lnTo>
                  <a:lnTo>
                    <a:pt x="254" y="682"/>
                  </a:lnTo>
                  <a:lnTo>
                    <a:pt x="265" y="663"/>
                  </a:lnTo>
                  <a:lnTo>
                    <a:pt x="267" y="650"/>
                  </a:lnTo>
                  <a:lnTo>
                    <a:pt x="269" y="645"/>
                  </a:lnTo>
                  <a:lnTo>
                    <a:pt x="271" y="660"/>
                  </a:lnTo>
                  <a:lnTo>
                    <a:pt x="260" y="687"/>
                  </a:lnTo>
                  <a:lnTo>
                    <a:pt x="263" y="701"/>
                  </a:lnTo>
                  <a:lnTo>
                    <a:pt x="278" y="704"/>
                  </a:lnTo>
                  <a:lnTo>
                    <a:pt x="292" y="700"/>
                  </a:lnTo>
                  <a:lnTo>
                    <a:pt x="314" y="708"/>
                  </a:lnTo>
                  <a:lnTo>
                    <a:pt x="333" y="698"/>
                  </a:lnTo>
                  <a:lnTo>
                    <a:pt x="343" y="684"/>
                  </a:lnTo>
                  <a:lnTo>
                    <a:pt x="351" y="657"/>
                  </a:lnTo>
                  <a:lnTo>
                    <a:pt x="359" y="639"/>
                  </a:lnTo>
                  <a:lnTo>
                    <a:pt x="366" y="628"/>
                  </a:lnTo>
                  <a:lnTo>
                    <a:pt x="373" y="599"/>
                  </a:lnTo>
                  <a:lnTo>
                    <a:pt x="373" y="587"/>
                  </a:lnTo>
                  <a:lnTo>
                    <a:pt x="377" y="579"/>
                  </a:lnTo>
                  <a:lnTo>
                    <a:pt x="383" y="571"/>
                  </a:lnTo>
                  <a:lnTo>
                    <a:pt x="396" y="572"/>
                  </a:lnTo>
                  <a:lnTo>
                    <a:pt x="383" y="587"/>
                  </a:lnTo>
                  <a:lnTo>
                    <a:pt x="383" y="602"/>
                  </a:lnTo>
                  <a:lnTo>
                    <a:pt x="378" y="623"/>
                  </a:lnTo>
                  <a:lnTo>
                    <a:pt x="366" y="649"/>
                  </a:lnTo>
                  <a:lnTo>
                    <a:pt x="365" y="657"/>
                  </a:lnTo>
                  <a:lnTo>
                    <a:pt x="360" y="668"/>
                  </a:lnTo>
                  <a:lnTo>
                    <a:pt x="341" y="696"/>
                  </a:lnTo>
                  <a:lnTo>
                    <a:pt x="340" y="701"/>
                  </a:lnTo>
                  <a:lnTo>
                    <a:pt x="323" y="719"/>
                  </a:lnTo>
                  <a:lnTo>
                    <a:pt x="323" y="726"/>
                  </a:lnTo>
                  <a:lnTo>
                    <a:pt x="326" y="730"/>
                  </a:lnTo>
                  <a:lnTo>
                    <a:pt x="335" y="732"/>
                  </a:lnTo>
                  <a:lnTo>
                    <a:pt x="335" y="739"/>
                  </a:lnTo>
                  <a:lnTo>
                    <a:pt x="329" y="742"/>
                  </a:lnTo>
                  <a:lnTo>
                    <a:pt x="313" y="736"/>
                  </a:lnTo>
                  <a:lnTo>
                    <a:pt x="306" y="728"/>
                  </a:lnTo>
                  <a:lnTo>
                    <a:pt x="278" y="733"/>
                  </a:lnTo>
                  <a:lnTo>
                    <a:pt x="284" y="746"/>
                  </a:lnTo>
                  <a:lnTo>
                    <a:pt x="285" y="750"/>
                  </a:lnTo>
                  <a:lnTo>
                    <a:pt x="284" y="757"/>
                  </a:lnTo>
                  <a:lnTo>
                    <a:pt x="276" y="758"/>
                  </a:lnTo>
                  <a:lnTo>
                    <a:pt x="256" y="738"/>
                  </a:lnTo>
                  <a:lnTo>
                    <a:pt x="233" y="736"/>
                  </a:lnTo>
                  <a:lnTo>
                    <a:pt x="215" y="723"/>
                  </a:lnTo>
                  <a:lnTo>
                    <a:pt x="211" y="726"/>
                  </a:lnTo>
                  <a:lnTo>
                    <a:pt x="213" y="716"/>
                  </a:lnTo>
                  <a:lnTo>
                    <a:pt x="209" y="711"/>
                  </a:lnTo>
                  <a:lnTo>
                    <a:pt x="205" y="689"/>
                  </a:lnTo>
                  <a:lnTo>
                    <a:pt x="199" y="678"/>
                  </a:lnTo>
                  <a:lnTo>
                    <a:pt x="194" y="665"/>
                  </a:lnTo>
                  <a:lnTo>
                    <a:pt x="188" y="656"/>
                  </a:lnTo>
                  <a:lnTo>
                    <a:pt x="187" y="646"/>
                  </a:lnTo>
                  <a:lnTo>
                    <a:pt x="168" y="622"/>
                  </a:lnTo>
                  <a:lnTo>
                    <a:pt x="119" y="612"/>
                  </a:lnTo>
                  <a:lnTo>
                    <a:pt x="88" y="628"/>
                  </a:lnTo>
                  <a:lnTo>
                    <a:pt x="82" y="626"/>
                  </a:lnTo>
                  <a:lnTo>
                    <a:pt x="75" y="636"/>
                  </a:lnTo>
                  <a:lnTo>
                    <a:pt x="69" y="636"/>
                  </a:lnTo>
                  <a:lnTo>
                    <a:pt x="70" y="647"/>
                  </a:lnTo>
                  <a:lnTo>
                    <a:pt x="69" y="650"/>
                  </a:lnTo>
                  <a:lnTo>
                    <a:pt x="72" y="655"/>
                  </a:lnTo>
                  <a:lnTo>
                    <a:pt x="70" y="679"/>
                  </a:lnTo>
                  <a:lnTo>
                    <a:pt x="88" y="693"/>
                  </a:lnTo>
                  <a:lnTo>
                    <a:pt x="88" y="699"/>
                  </a:lnTo>
                  <a:lnTo>
                    <a:pt x="99" y="714"/>
                  </a:lnTo>
                  <a:lnTo>
                    <a:pt x="101" y="716"/>
                  </a:lnTo>
                  <a:lnTo>
                    <a:pt x="98" y="735"/>
                  </a:lnTo>
                  <a:lnTo>
                    <a:pt x="102" y="743"/>
                  </a:lnTo>
                  <a:lnTo>
                    <a:pt x="103" y="750"/>
                  </a:lnTo>
                  <a:lnTo>
                    <a:pt x="120" y="757"/>
                  </a:lnTo>
                  <a:lnTo>
                    <a:pt x="131" y="748"/>
                  </a:lnTo>
                  <a:lnTo>
                    <a:pt x="144" y="748"/>
                  </a:lnTo>
                  <a:lnTo>
                    <a:pt x="145" y="753"/>
                  </a:lnTo>
                  <a:lnTo>
                    <a:pt x="127" y="768"/>
                  </a:lnTo>
                  <a:lnTo>
                    <a:pt x="128" y="770"/>
                  </a:lnTo>
                  <a:lnTo>
                    <a:pt x="139" y="773"/>
                  </a:lnTo>
                  <a:lnTo>
                    <a:pt x="139" y="776"/>
                  </a:lnTo>
                  <a:lnTo>
                    <a:pt x="129" y="781"/>
                  </a:lnTo>
                  <a:lnTo>
                    <a:pt x="129" y="790"/>
                  </a:lnTo>
                  <a:lnTo>
                    <a:pt x="130" y="793"/>
                  </a:lnTo>
                  <a:lnTo>
                    <a:pt x="134" y="790"/>
                  </a:lnTo>
                  <a:lnTo>
                    <a:pt x="152" y="796"/>
                  </a:lnTo>
                  <a:lnTo>
                    <a:pt x="147" y="801"/>
                  </a:lnTo>
                  <a:lnTo>
                    <a:pt x="146" y="807"/>
                  </a:lnTo>
                  <a:lnTo>
                    <a:pt x="135" y="801"/>
                  </a:lnTo>
                  <a:lnTo>
                    <a:pt x="134" y="795"/>
                  </a:lnTo>
                  <a:lnTo>
                    <a:pt x="118" y="800"/>
                  </a:lnTo>
                  <a:lnTo>
                    <a:pt x="113" y="807"/>
                  </a:lnTo>
                  <a:lnTo>
                    <a:pt x="118" y="814"/>
                  </a:lnTo>
                  <a:lnTo>
                    <a:pt x="104" y="817"/>
                  </a:lnTo>
                  <a:lnTo>
                    <a:pt x="103" y="811"/>
                  </a:lnTo>
                  <a:lnTo>
                    <a:pt x="101" y="811"/>
                  </a:lnTo>
                  <a:lnTo>
                    <a:pt x="92" y="819"/>
                  </a:lnTo>
                  <a:lnTo>
                    <a:pt x="85" y="813"/>
                  </a:lnTo>
                  <a:lnTo>
                    <a:pt x="72" y="811"/>
                  </a:lnTo>
                  <a:lnTo>
                    <a:pt x="69" y="813"/>
                  </a:lnTo>
                  <a:lnTo>
                    <a:pt x="68" y="824"/>
                  </a:lnTo>
                  <a:lnTo>
                    <a:pt x="56" y="829"/>
                  </a:lnTo>
                  <a:lnTo>
                    <a:pt x="49" y="835"/>
                  </a:lnTo>
                  <a:lnTo>
                    <a:pt x="45" y="845"/>
                  </a:lnTo>
                  <a:lnTo>
                    <a:pt x="10" y="871"/>
                  </a:lnTo>
                  <a:lnTo>
                    <a:pt x="4" y="892"/>
                  </a:lnTo>
                  <a:lnTo>
                    <a:pt x="6" y="903"/>
                  </a:lnTo>
                  <a:lnTo>
                    <a:pt x="5" y="919"/>
                  </a:lnTo>
                  <a:lnTo>
                    <a:pt x="2" y="932"/>
                  </a:lnTo>
                  <a:lnTo>
                    <a:pt x="0" y="941"/>
                  </a:lnTo>
                  <a:lnTo>
                    <a:pt x="18" y="974"/>
                  </a:lnTo>
                  <a:lnTo>
                    <a:pt x="26" y="975"/>
                  </a:lnTo>
                  <a:lnTo>
                    <a:pt x="39" y="958"/>
                  </a:lnTo>
                  <a:lnTo>
                    <a:pt x="42" y="941"/>
                  </a:lnTo>
                  <a:lnTo>
                    <a:pt x="47" y="970"/>
                  </a:lnTo>
                  <a:lnTo>
                    <a:pt x="53" y="946"/>
                  </a:lnTo>
                  <a:lnTo>
                    <a:pt x="45" y="897"/>
                  </a:lnTo>
                  <a:lnTo>
                    <a:pt x="53" y="886"/>
                  </a:lnTo>
                  <a:lnTo>
                    <a:pt x="55" y="904"/>
                  </a:lnTo>
                  <a:lnTo>
                    <a:pt x="55" y="937"/>
                  </a:lnTo>
                  <a:lnTo>
                    <a:pt x="59" y="976"/>
                  </a:lnTo>
                  <a:lnTo>
                    <a:pt x="79" y="979"/>
                  </a:lnTo>
                  <a:lnTo>
                    <a:pt x="84" y="990"/>
                  </a:lnTo>
                  <a:lnTo>
                    <a:pt x="99" y="985"/>
                  </a:lnTo>
                  <a:lnTo>
                    <a:pt x="104" y="967"/>
                  </a:lnTo>
                  <a:lnTo>
                    <a:pt x="102" y="945"/>
                  </a:lnTo>
                  <a:lnTo>
                    <a:pt x="108" y="964"/>
                  </a:lnTo>
                  <a:lnTo>
                    <a:pt x="124" y="975"/>
                  </a:lnTo>
                  <a:lnTo>
                    <a:pt x="129" y="985"/>
                  </a:lnTo>
                  <a:lnTo>
                    <a:pt x="142" y="989"/>
                  </a:lnTo>
                  <a:lnTo>
                    <a:pt x="146" y="970"/>
                  </a:lnTo>
                  <a:lnTo>
                    <a:pt x="158" y="958"/>
                  </a:lnTo>
                  <a:lnTo>
                    <a:pt x="158" y="934"/>
                  </a:lnTo>
                  <a:lnTo>
                    <a:pt x="163" y="945"/>
                  </a:lnTo>
                  <a:lnTo>
                    <a:pt x="165" y="961"/>
                  </a:lnTo>
                  <a:lnTo>
                    <a:pt x="163" y="965"/>
                  </a:lnTo>
                  <a:lnTo>
                    <a:pt x="190" y="995"/>
                  </a:lnTo>
                  <a:lnTo>
                    <a:pt x="200" y="1004"/>
                  </a:lnTo>
                  <a:lnTo>
                    <a:pt x="225" y="1006"/>
                  </a:lnTo>
                  <a:lnTo>
                    <a:pt x="227" y="1016"/>
                  </a:lnTo>
                  <a:lnTo>
                    <a:pt x="274" y="1008"/>
                  </a:lnTo>
                  <a:lnTo>
                    <a:pt x="243" y="964"/>
                  </a:lnTo>
                  <a:lnTo>
                    <a:pt x="242" y="943"/>
                  </a:lnTo>
                  <a:lnTo>
                    <a:pt x="256" y="973"/>
                  </a:lnTo>
                  <a:lnTo>
                    <a:pt x="269" y="974"/>
                  </a:lnTo>
                  <a:lnTo>
                    <a:pt x="286" y="957"/>
                  </a:lnTo>
                  <a:lnTo>
                    <a:pt x="286" y="925"/>
                  </a:lnTo>
                  <a:lnTo>
                    <a:pt x="310" y="964"/>
                  </a:lnTo>
                  <a:lnTo>
                    <a:pt x="330" y="976"/>
                  </a:lnTo>
                  <a:lnTo>
                    <a:pt x="344" y="968"/>
                  </a:lnTo>
                  <a:lnTo>
                    <a:pt x="345" y="942"/>
                  </a:lnTo>
                  <a:lnTo>
                    <a:pt x="333" y="906"/>
                  </a:lnTo>
                  <a:lnTo>
                    <a:pt x="332" y="897"/>
                  </a:lnTo>
                  <a:lnTo>
                    <a:pt x="339" y="909"/>
                  </a:lnTo>
                  <a:lnTo>
                    <a:pt x="357" y="974"/>
                  </a:lnTo>
                  <a:lnTo>
                    <a:pt x="372" y="985"/>
                  </a:lnTo>
                  <a:lnTo>
                    <a:pt x="399" y="979"/>
                  </a:lnTo>
                  <a:lnTo>
                    <a:pt x="407" y="953"/>
                  </a:lnTo>
                  <a:lnTo>
                    <a:pt x="398" y="935"/>
                  </a:lnTo>
                  <a:lnTo>
                    <a:pt x="384" y="913"/>
                  </a:lnTo>
                  <a:lnTo>
                    <a:pt x="394" y="922"/>
                  </a:lnTo>
                  <a:lnTo>
                    <a:pt x="412" y="925"/>
                  </a:lnTo>
                  <a:lnTo>
                    <a:pt x="413" y="932"/>
                  </a:lnTo>
                  <a:lnTo>
                    <a:pt x="413" y="949"/>
                  </a:lnTo>
                  <a:lnTo>
                    <a:pt x="419" y="961"/>
                  </a:lnTo>
                  <a:lnTo>
                    <a:pt x="440" y="965"/>
                  </a:lnTo>
                  <a:lnTo>
                    <a:pt x="456" y="958"/>
                  </a:lnTo>
                  <a:lnTo>
                    <a:pt x="466" y="961"/>
                  </a:lnTo>
                  <a:lnTo>
                    <a:pt x="474" y="974"/>
                  </a:lnTo>
                  <a:lnTo>
                    <a:pt x="475" y="989"/>
                  </a:lnTo>
                  <a:lnTo>
                    <a:pt x="469" y="1012"/>
                  </a:lnTo>
                  <a:lnTo>
                    <a:pt x="463" y="1023"/>
                  </a:lnTo>
                  <a:lnTo>
                    <a:pt x="469" y="1037"/>
                  </a:lnTo>
                  <a:lnTo>
                    <a:pt x="513" y="1013"/>
                  </a:lnTo>
                  <a:lnTo>
                    <a:pt x="541" y="1005"/>
                  </a:lnTo>
                  <a:lnTo>
                    <a:pt x="559" y="985"/>
                  </a:lnTo>
                  <a:lnTo>
                    <a:pt x="581" y="943"/>
                  </a:lnTo>
                  <a:lnTo>
                    <a:pt x="586" y="973"/>
                  </a:lnTo>
                  <a:lnTo>
                    <a:pt x="608" y="957"/>
                  </a:lnTo>
                  <a:lnTo>
                    <a:pt x="612" y="941"/>
                  </a:lnTo>
                  <a:lnTo>
                    <a:pt x="633" y="934"/>
                  </a:lnTo>
                  <a:lnTo>
                    <a:pt x="635" y="919"/>
                  </a:lnTo>
                  <a:lnTo>
                    <a:pt x="638" y="892"/>
                  </a:lnTo>
                  <a:lnTo>
                    <a:pt x="634" y="863"/>
                  </a:lnTo>
                  <a:lnTo>
                    <a:pt x="625" y="844"/>
                  </a:lnTo>
                  <a:lnTo>
                    <a:pt x="606" y="850"/>
                  </a:lnTo>
                  <a:lnTo>
                    <a:pt x="595" y="865"/>
                  </a:lnTo>
                  <a:lnTo>
                    <a:pt x="586" y="879"/>
                  </a:lnTo>
                  <a:lnTo>
                    <a:pt x="575" y="877"/>
                  </a:lnTo>
                  <a:lnTo>
                    <a:pt x="576" y="861"/>
                  </a:lnTo>
                  <a:lnTo>
                    <a:pt x="555" y="849"/>
                  </a:lnTo>
                  <a:lnTo>
                    <a:pt x="558" y="843"/>
                  </a:lnTo>
                  <a:lnTo>
                    <a:pt x="565" y="836"/>
                  </a:lnTo>
                  <a:lnTo>
                    <a:pt x="576" y="829"/>
                  </a:lnTo>
                  <a:lnTo>
                    <a:pt x="581" y="816"/>
                  </a:lnTo>
                  <a:lnTo>
                    <a:pt x="579" y="807"/>
                  </a:lnTo>
                  <a:lnTo>
                    <a:pt x="570" y="792"/>
                  </a:lnTo>
                  <a:lnTo>
                    <a:pt x="556" y="789"/>
                  </a:lnTo>
                  <a:lnTo>
                    <a:pt x="539" y="790"/>
                  </a:lnTo>
                  <a:lnTo>
                    <a:pt x="512" y="821"/>
                  </a:lnTo>
                  <a:lnTo>
                    <a:pt x="506" y="819"/>
                  </a:lnTo>
                  <a:lnTo>
                    <a:pt x="518" y="801"/>
                  </a:lnTo>
                  <a:lnTo>
                    <a:pt x="517" y="789"/>
                  </a:lnTo>
                  <a:lnTo>
                    <a:pt x="473" y="781"/>
                  </a:lnTo>
                  <a:lnTo>
                    <a:pt x="452" y="785"/>
                  </a:lnTo>
                  <a:lnTo>
                    <a:pt x="426" y="818"/>
                  </a:lnTo>
                  <a:lnTo>
                    <a:pt x="423" y="805"/>
                  </a:lnTo>
                  <a:lnTo>
                    <a:pt x="420" y="786"/>
                  </a:lnTo>
                  <a:lnTo>
                    <a:pt x="414" y="776"/>
                  </a:lnTo>
                  <a:lnTo>
                    <a:pt x="429" y="779"/>
                  </a:lnTo>
                  <a:lnTo>
                    <a:pt x="458" y="766"/>
                  </a:lnTo>
                  <a:lnTo>
                    <a:pt x="458" y="760"/>
                  </a:lnTo>
                  <a:lnTo>
                    <a:pt x="441" y="748"/>
                  </a:lnTo>
                  <a:lnTo>
                    <a:pt x="437" y="732"/>
                  </a:lnTo>
                  <a:lnTo>
                    <a:pt x="439" y="722"/>
                  </a:lnTo>
                  <a:lnTo>
                    <a:pt x="467" y="754"/>
                  </a:lnTo>
                  <a:lnTo>
                    <a:pt x="498" y="773"/>
                  </a:lnTo>
                  <a:lnTo>
                    <a:pt x="577" y="770"/>
                  </a:lnTo>
                  <a:lnTo>
                    <a:pt x="585" y="758"/>
                  </a:lnTo>
                  <a:lnTo>
                    <a:pt x="593" y="762"/>
                  </a:lnTo>
                  <a:lnTo>
                    <a:pt x="592" y="768"/>
                  </a:lnTo>
                  <a:lnTo>
                    <a:pt x="592" y="770"/>
                  </a:lnTo>
                  <a:lnTo>
                    <a:pt x="622" y="753"/>
                  </a:lnTo>
                  <a:lnTo>
                    <a:pt x="635" y="725"/>
                  </a:lnTo>
                  <a:lnTo>
                    <a:pt x="638" y="709"/>
                  </a:lnTo>
                  <a:lnTo>
                    <a:pt x="636" y="701"/>
                  </a:lnTo>
                  <a:lnTo>
                    <a:pt x="652" y="694"/>
                  </a:lnTo>
                  <a:lnTo>
                    <a:pt x="654" y="687"/>
                  </a:lnTo>
                  <a:lnTo>
                    <a:pt x="634" y="668"/>
                  </a:lnTo>
                  <a:lnTo>
                    <a:pt x="634" y="658"/>
                  </a:lnTo>
                  <a:lnTo>
                    <a:pt x="636" y="650"/>
                  </a:lnTo>
                  <a:lnTo>
                    <a:pt x="630" y="633"/>
                  </a:lnTo>
                  <a:lnTo>
                    <a:pt x="623" y="628"/>
                  </a:lnTo>
                  <a:lnTo>
                    <a:pt x="624" y="625"/>
                  </a:lnTo>
                  <a:lnTo>
                    <a:pt x="624" y="614"/>
                  </a:lnTo>
                  <a:lnTo>
                    <a:pt x="622" y="603"/>
                  </a:lnTo>
                  <a:lnTo>
                    <a:pt x="622" y="596"/>
                  </a:lnTo>
                  <a:lnTo>
                    <a:pt x="634" y="603"/>
                  </a:lnTo>
                  <a:lnTo>
                    <a:pt x="679" y="604"/>
                  </a:lnTo>
                  <a:lnTo>
                    <a:pt x="687" y="613"/>
                  </a:lnTo>
                  <a:lnTo>
                    <a:pt x="706" y="607"/>
                  </a:lnTo>
                  <a:lnTo>
                    <a:pt x="727" y="583"/>
                  </a:lnTo>
                  <a:lnTo>
                    <a:pt x="743" y="591"/>
                  </a:lnTo>
                  <a:lnTo>
                    <a:pt x="746" y="599"/>
                  </a:lnTo>
                  <a:lnTo>
                    <a:pt x="760" y="574"/>
                  </a:lnTo>
                  <a:lnTo>
                    <a:pt x="760" y="570"/>
                  </a:lnTo>
                  <a:lnTo>
                    <a:pt x="768" y="555"/>
                  </a:lnTo>
                  <a:lnTo>
                    <a:pt x="714" y="545"/>
                  </a:lnTo>
                  <a:lnTo>
                    <a:pt x="690" y="537"/>
                  </a:lnTo>
                  <a:lnTo>
                    <a:pt x="709" y="522"/>
                  </a:lnTo>
                  <a:lnTo>
                    <a:pt x="728" y="523"/>
                  </a:lnTo>
                  <a:lnTo>
                    <a:pt x="764" y="539"/>
                  </a:lnTo>
                  <a:lnTo>
                    <a:pt x="776" y="511"/>
                  </a:lnTo>
                  <a:lnTo>
                    <a:pt x="795" y="501"/>
                  </a:lnTo>
                  <a:lnTo>
                    <a:pt x="797" y="493"/>
                  </a:lnTo>
                  <a:lnTo>
                    <a:pt x="787" y="477"/>
                  </a:lnTo>
                  <a:lnTo>
                    <a:pt x="775" y="468"/>
                  </a:lnTo>
                  <a:lnTo>
                    <a:pt x="751" y="463"/>
                  </a:lnTo>
                  <a:lnTo>
                    <a:pt x="738" y="453"/>
                  </a:lnTo>
                  <a:lnTo>
                    <a:pt x="725" y="450"/>
                  </a:lnTo>
                  <a:lnTo>
                    <a:pt x="733" y="445"/>
                  </a:lnTo>
                  <a:lnTo>
                    <a:pt x="749" y="447"/>
                  </a:lnTo>
                  <a:lnTo>
                    <a:pt x="786" y="443"/>
                  </a:lnTo>
                  <a:lnTo>
                    <a:pt x="798" y="439"/>
                  </a:lnTo>
                  <a:lnTo>
                    <a:pt x="805" y="430"/>
                  </a:lnTo>
                  <a:lnTo>
                    <a:pt x="819" y="420"/>
                  </a:lnTo>
                  <a:lnTo>
                    <a:pt x="813" y="411"/>
                  </a:lnTo>
                  <a:lnTo>
                    <a:pt x="813" y="402"/>
                  </a:lnTo>
                  <a:lnTo>
                    <a:pt x="817" y="392"/>
                  </a:lnTo>
                  <a:lnTo>
                    <a:pt x="816" y="375"/>
                  </a:lnTo>
                  <a:lnTo>
                    <a:pt x="813" y="354"/>
                  </a:lnTo>
                  <a:lnTo>
                    <a:pt x="802" y="344"/>
                  </a:lnTo>
                  <a:lnTo>
                    <a:pt x="774" y="334"/>
                  </a:lnTo>
                  <a:lnTo>
                    <a:pt x="733" y="340"/>
                  </a:lnTo>
                  <a:lnTo>
                    <a:pt x="733" y="332"/>
                  </a:lnTo>
                  <a:lnTo>
                    <a:pt x="748" y="327"/>
                  </a:lnTo>
                  <a:lnTo>
                    <a:pt x="757" y="319"/>
                  </a:lnTo>
                  <a:lnTo>
                    <a:pt x="757" y="313"/>
                  </a:lnTo>
                  <a:lnTo>
                    <a:pt x="749" y="303"/>
                  </a:lnTo>
                  <a:lnTo>
                    <a:pt x="678" y="310"/>
                  </a:lnTo>
                  <a:lnTo>
                    <a:pt x="665" y="316"/>
                  </a:lnTo>
                  <a:lnTo>
                    <a:pt x="655" y="329"/>
                  </a:lnTo>
                  <a:lnTo>
                    <a:pt x="647" y="330"/>
                  </a:lnTo>
                  <a:lnTo>
                    <a:pt x="656" y="314"/>
                  </a:lnTo>
                  <a:lnTo>
                    <a:pt x="658" y="302"/>
                  </a:lnTo>
                  <a:lnTo>
                    <a:pt x="647" y="300"/>
                  </a:lnTo>
                  <a:lnTo>
                    <a:pt x="645" y="291"/>
                  </a:lnTo>
                  <a:lnTo>
                    <a:pt x="669" y="298"/>
                  </a:lnTo>
                  <a:lnTo>
                    <a:pt x="712" y="284"/>
                  </a:lnTo>
                  <a:lnTo>
                    <a:pt x="740" y="287"/>
                  </a:lnTo>
                  <a:lnTo>
                    <a:pt x="740" y="279"/>
                  </a:lnTo>
                  <a:lnTo>
                    <a:pt x="716" y="269"/>
                  </a:lnTo>
                  <a:lnTo>
                    <a:pt x="652" y="267"/>
                  </a:lnTo>
                  <a:lnTo>
                    <a:pt x="644" y="260"/>
                  </a:lnTo>
                  <a:lnTo>
                    <a:pt x="658" y="255"/>
                  </a:lnTo>
                  <a:lnTo>
                    <a:pt x="704" y="255"/>
                  </a:lnTo>
                  <a:lnTo>
                    <a:pt x="715" y="247"/>
                  </a:lnTo>
                  <a:lnTo>
                    <a:pt x="732" y="249"/>
                  </a:lnTo>
                  <a:lnTo>
                    <a:pt x="748" y="255"/>
                  </a:lnTo>
                  <a:lnTo>
                    <a:pt x="754" y="263"/>
                  </a:lnTo>
                  <a:lnTo>
                    <a:pt x="753" y="276"/>
                  </a:lnTo>
                  <a:lnTo>
                    <a:pt x="758" y="289"/>
                  </a:lnTo>
                  <a:lnTo>
                    <a:pt x="769" y="295"/>
                  </a:lnTo>
                  <a:lnTo>
                    <a:pt x="819" y="302"/>
                  </a:lnTo>
                  <a:lnTo>
                    <a:pt x="827" y="298"/>
                  </a:lnTo>
                  <a:lnTo>
                    <a:pt x="829" y="287"/>
                  </a:lnTo>
                  <a:lnTo>
                    <a:pt x="828" y="274"/>
                  </a:lnTo>
                  <a:lnTo>
                    <a:pt x="814" y="257"/>
                  </a:lnTo>
                  <a:lnTo>
                    <a:pt x="825" y="240"/>
                  </a:lnTo>
                  <a:lnTo>
                    <a:pt x="818" y="232"/>
                  </a:lnTo>
                  <a:lnTo>
                    <a:pt x="752" y="236"/>
                  </a:lnTo>
                  <a:lnTo>
                    <a:pt x="746" y="228"/>
                  </a:lnTo>
                  <a:lnTo>
                    <a:pt x="687" y="236"/>
                  </a:lnTo>
                  <a:lnTo>
                    <a:pt x="661" y="243"/>
                  </a:lnTo>
                  <a:lnTo>
                    <a:pt x="671" y="236"/>
                  </a:lnTo>
                  <a:lnTo>
                    <a:pt x="672" y="228"/>
                  </a:lnTo>
                  <a:lnTo>
                    <a:pt x="650" y="222"/>
                  </a:lnTo>
                  <a:lnTo>
                    <a:pt x="641" y="214"/>
                  </a:lnTo>
                  <a:lnTo>
                    <a:pt x="657" y="209"/>
                  </a:lnTo>
                  <a:lnTo>
                    <a:pt x="683" y="212"/>
                  </a:lnTo>
                  <a:lnTo>
                    <a:pt x="677" y="187"/>
                  </a:lnTo>
                  <a:lnTo>
                    <a:pt x="672" y="181"/>
                  </a:lnTo>
                  <a:lnTo>
                    <a:pt x="679" y="178"/>
                  </a:lnTo>
                  <a:lnTo>
                    <a:pt x="684" y="184"/>
                  </a:lnTo>
                  <a:lnTo>
                    <a:pt x="689" y="198"/>
                  </a:lnTo>
                  <a:lnTo>
                    <a:pt x="698" y="204"/>
                  </a:lnTo>
                  <a:lnTo>
                    <a:pt x="746" y="209"/>
                  </a:lnTo>
                  <a:lnTo>
                    <a:pt x="749" y="200"/>
                  </a:lnTo>
                  <a:lnTo>
                    <a:pt x="740" y="188"/>
                  </a:lnTo>
                  <a:lnTo>
                    <a:pt x="737" y="181"/>
                  </a:lnTo>
                  <a:lnTo>
                    <a:pt x="687" y="171"/>
                  </a:lnTo>
                  <a:lnTo>
                    <a:pt x="679" y="158"/>
                  </a:lnTo>
                  <a:lnTo>
                    <a:pt x="687" y="156"/>
                  </a:lnTo>
                  <a:lnTo>
                    <a:pt x="722" y="162"/>
                  </a:lnTo>
                  <a:lnTo>
                    <a:pt x="764" y="189"/>
                  </a:lnTo>
                  <a:lnTo>
                    <a:pt x="794" y="194"/>
                  </a:lnTo>
                  <a:lnTo>
                    <a:pt x="801" y="185"/>
                  </a:lnTo>
                  <a:lnTo>
                    <a:pt x="797" y="170"/>
                  </a:lnTo>
                  <a:lnTo>
                    <a:pt x="810" y="176"/>
                  </a:lnTo>
                  <a:lnTo>
                    <a:pt x="838" y="178"/>
                  </a:lnTo>
                  <a:lnTo>
                    <a:pt x="846" y="165"/>
                  </a:lnTo>
                  <a:lnTo>
                    <a:pt x="845" y="155"/>
                  </a:lnTo>
                  <a:lnTo>
                    <a:pt x="850" y="157"/>
                  </a:lnTo>
                  <a:lnTo>
                    <a:pt x="855" y="146"/>
                  </a:lnTo>
                  <a:lnTo>
                    <a:pt x="861" y="160"/>
                  </a:lnTo>
                  <a:lnTo>
                    <a:pt x="876" y="156"/>
                  </a:lnTo>
                  <a:lnTo>
                    <a:pt x="881" y="140"/>
                  </a:lnTo>
                  <a:lnTo>
                    <a:pt x="880" y="125"/>
                  </a:lnTo>
                  <a:lnTo>
                    <a:pt x="873" y="106"/>
                  </a:lnTo>
                  <a:lnTo>
                    <a:pt x="871" y="91"/>
                  </a:lnTo>
                  <a:lnTo>
                    <a:pt x="813" y="80"/>
                  </a:lnTo>
                  <a:lnTo>
                    <a:pt x="817" y="66"/>
                  </a:lnTo>
                  <a:lnTo>
                    <a:pt x="834" y="61"/>
                  </a:lnTo>
                  <a:lnTo>
                    <a:pt x="856" y="74"/>
                  </a:lnTo>
                  <a:lnTo>
                    <a:pt x="884" y="79"/>
                  </a:lnTo>
                  <a:lnTo>
                    <a:pt x="882" y="91"/>
                  </a:lnTo>
                  <a:lnTo>
                    <a:pt x="884" y="103"/>
                  </a:lnTo>
                  <a:lnTo>
                    <a:pt x="899" y="112"/>
                  </a:lnTo>
                  <a:lnTo>
                    <a:pt x="914" y="111"/>
                  </a:lnTo>
                  <a:lnTo>
                    <a:pt x="914" y="115"/>
                  </a:lnTo>
                  <a:lnTo>
                    <a:pt x="937" y="108"/>
                  </a:lnTo>
                  <a:lnTo>
                    <a:pt x="961" y="109"/>
                  </a:lnTo>
                  <a:lnTo>
                    <a:pt x="969" y="101"/>
                  </a:lnTo>
                  <a:lnTo>
                    <a:pt x="982" y="98"/>
                  </a:lnTo>
                  <a:lnTo>
                    <a:pt x="1004" y="59"/>
                  </a:lnTo>
                  <a:lnTo>
                    <a:pt x="995" y="54"/>
                  </a:lnTo>
                  <a:lnTo>
                    <a:pt x="978" y="58"/>
                  </a:lnTo>
                  <a:lnTo>
                    <a:pt x="980" y="44"/>
                  </a:lnTo>
                  <a:lnTo>
                    <a:pt x="990" y="29"/>
                  </a:lnTo>
                  <a:lnTo>
                    <a:pt x="1011" y="21"/>
                  </a:lnTo>
                  <a:lnTo>
                    <a:pt x="1015" y="12"/>
                  </a:lnTo>
                  <a:lnTo>
                    <a:pt x="1028" y="0"/>
                  </a:lnTo>
                  <a:lnTo>
                    <a:pt x="393" y="0"/>
                  </a:lnTo>
                  <a:lnTo>
                    <a:pt x="394" y="1"/>
                  </a:lnTo>
                  <a:lnTo>
                    <a:pt x="440" y="28"/>
                  </a:lnTo>
                  <a:lnTo>
                    <a:pt x="439" y="33"/>
                  </a:lnTo>
                  <a:lnTo>
                    <a:pt x="426" y="41"/>
                  </a:lnTo>
                  <a:lnTo>
                    <a:pt x="430" y="48"/>
                  </a:lnTo>
                  <a:lnTo>
                    <a:pt x="432" y="72"/>
                  </a:lnTo>
                  <a:lnTo>
                    <a:pt x="432" y="87"/>
                  </a:lnTo>
                  <a:lnTo>
                    <a:pt x="437" y="87"/>
                  </a:lnTo>
                  <a:lnTo>
                    <a:pt x="437" y="92"/>
                  </a:lnTo>
                  <a:lnTo>
                    <a:pt x="441" y="102"/>
                  </a:lnTo>
                  <a:lnTo>
                    <a:pt x="462" y="108"/>
                  </a:lnTo>
                  <a:lnTo>
                    <a:pt x="479" y="123"/>
                  </a:lnTo>
                  <a:lnTo>
                    <a:pt x="515" y="107"/>
                  </a:lnTo>
                  <a:lnTo>
                    <a:pt x="526" y="107"/>
                  </a:lnTo>
                  <a:lnTo>
                    <a:pt x="527" y="113"/>
                  </a:lnTo>
                  <a:lnTo>
                    <a:pt x="525" y="120"/>
                  </a:lnTo>
                  <a:lnTo>
                    <a:pt x="513" y="120"/>
                  </a:lnTo>
                  <a:lnTo>
                    <a:pt x="482" y="136"/>
                  </a:lnTo>
                  <a:lnTo>
                    <a:pt x="478" y="142"/>
                  </a:lnTo>
                  <a:lnTo>
                    <a:pt x="478" y="149"/>
                  </a:lnTo>
                  <a:lnTo>
                    <a:pt x="480" y="154"/>
                  </a:lnTo>
                  <a:lnTo>
                    <a:pt x="479" y="155"/>
                  </a:lnTo>
                  <a:lnTo>
                    <a:pt x="445" y="130"/>
                  </a:lnTo>
                  <a:lnTo>
                    <a:pt x="432" y="129"/>
                  </a:lnTo>
                  <a:lnTo>
                    <a:pt x="423" y="139"/>
                  </a:lnTo>
                  <a:lnTo>
                    <a:pt x="421" y="111"/>
                  </a:lnTo>
                  <a:lnTo>
                    <a:pt x="415" y="111"/>
                  </a:lnTo>
                  <a:lnTo>
                    <a:pt x="412" y="102"/>
                  </a:lnTo>
                  <a:lnTo>
                    <a:pt x="410" y="87"/>
                  </a:lnTo>
                  <a:lnTo>
                    <a:pt x="405" y="82"/>
                  </a:lnTo>
                  <a:lnTo>
                    <a:pt x="405" y="68"/>
                  </a:lnTo>
                  <a:lnTo>
                    <a:pt x="357" y="0"/>
                  </a:lnTo>
                  <a:lnTo>
                    <a:pt x="183" y="0"/>
                  </a:lnTo>
                  <a:lnTo>
                    <a:pt x="220" y="14"/>
                  </a:lnTo>
                  <a:lnTo>
                    <a:pt x="231" y="2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79" name="Freeform 304">
              <a:extLst>
                <a:ext uri="{FF2B5EF4-FFF2-40B4-BE49-F238E27FC236}">
                  <a16:creationId xmlns:a16="http://schemas.microsoft.com/office/drawing/2014/main" id="{20365DB9-3B13-7966-2D6F-DBD57B8032C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231714" y="547218"/>
              <a:ext cx="14923" cy="18291"/>
            </a:xfrm>
            <a:custGeom>
              <a:avLst/>
              <a:gdLst>
                <a:gd name="T0" fmla="*/ 0 w 30"/>
                <a:gd name="T1" fmla="*/ 0 h 30"/>
                <a:gd name="T2" fmla="*/ 0 w 30"/>
                <a:gd name="T3" fmla="*/ 0 h 30"/>
                <a:gd name="T4" fmla="*/ 0 w 30"/>
                <a:gd name="T5" fmla="*/ 0 h 30"/>
                <a:gd name="T6" fmla="*/ 0 w 30"/>
                <a:gd name="T7" fmla="*/ 0 h 30"/>
                <a:gd name="T8" fmla="*/ 0 w 30"/>
                <a:gd name="T9" fmla="*/ 0 h 3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0"/>
                <a:gd name="T16" fmla="*/ 0 h 30"/>
                <a:gd name="T17" fmla="*/ 30 w 30"/>
                <a:gd name="T18" fmla="*/ 30 h 3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0" h="30">
                  <a:moveTo>
                    <a:pt x="0" y="16"/>
                  </a:moveTo>
                  <a:lnTo>
                    <a:pt x="0" y="21"/>
                  </a:lnTo>
                  <a:lnTo>
                    <a:pt x="30" y="30"/>
                  </a:lnTo>
                  <a:lnTo>
                    <a:pt x="3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80" name="Freeform 305">
              <a:extLst>
                <a:ext uri="{FF2B5EF4-FFF2-40B4-BE49-F238E27FC236}">
                  <a16:creationId xmlns:a16="http://schemas.microsoft.com/office/drawing/2014/main" id="{05BEBAE0-71F9-677E-1C8E-B06BAD05287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231714" y="531975"/>
              <a:ext cx="2985" cy="15242"/>
            </a:xfrm>
            <a:custGeom>
              <a:avLst/>
              <a:gdLst>
                <a:gd name="T0" fmla="*/ 0 w 7"/>
                <a:gd name="T1" fmla="*/ 0 h 31"/>
                <a:gd name="T2" fmla="*/ 0 w 7"/>
                <a:gd name="T3" fmla="*/ 0 h 31"/>
                <a:gd name="T4" fmla="*/ 0 w 7"/>
                <a:gd name="T5" fmla="*/ 0 h 31"/>
                <a:gd name="T6" fmla="*/ 0 w 7"/>
                <a:gd name="T7" fmla="*/ 0 h 31"/>
                <a:gd name="T8" fmla="*/ 0 w 7"/>
                <a:gd name="T9" fmla="*/ 0 h 31"/>
                <a:gd name="T10" fmla="*/ 0 w 7"/>
                <a:gd name="T11" fmla="*/ 0 h 3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1"/>
                <a:gd name="T20" fmla="*/ 7 w 7"/>
                <a:gd name="T21" fmla="*/ 31 h 3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1">
                  <a:moveTo>
                    <a:pt x="5" y="11"/>
                  </a:moveTo>
                  <a:lnTo>
                    <a:pt x="0" y="0"/>
                  </a:lnTo>
                  <a:lnTo>
                    <a:pt x="0" y="24"/>
                  </a:lnTo>
                  <a:lnTo>
                    <a:pt x="5" y="31"/>
                  </a:lnTo>
                  <a:lnTo>
                    <a:pt x="7" y="27"/>
                  </a:lnTo>
                  <a:lnTo>
                    <a:pt x="5" y="1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81" name="Freeform 306">
              <a:extLst>
                <a:ext uri="{FF2B5EF4-FFF2-40B4-BE49-F238E27FC236}">
                  <a16:creationId xmlns:a16="http://schemas.microsoft.com/office/drawing/2014/main" id="{42C87AF5-D08A-7763-8675-9729D243B55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809513" y="1272746"/>
              <a:ext cx="44770" cy="67066"/>
            </a:xfrm>
            <a:custGeom>
              <a:avLst/>
              <a:gdLst>
                <a:gd name="T0" fmla="*/ 0 w 81"/>
                <a:gd name="T1" fmla="*/ 0 h 113"/>
                <a:gd name="T2" fmla="*/ 0 w 81"/>
                <a:gd name="T3" fmla="*/ 0 h 113"/>
                <a:gd name="T4" fmla="*/ 0 w 81"/>
                <a:gd name="T5" fmla="*/ 0 h 113"/>
                <a:gd name="T6" fmla="*/ 0 w 81"/>
                <a:gd name="T7" fmla="*/ 0 h 113"/>
                <a:gd name="T8" fmla="*/ 0 w 81"/>
                <a:gd name="T9" fmla="*/ 0 h 113"/>
                <a:gd name="T10" fmla="*/ 0 w 81"/>
                <a:gd name="T11" fmla="*/ 0 h 113"/>
                <a:gd name="T12" fmla="*/ 0 w 81"/>
                <a:gd name="T13" fmla="*/ 0 h 113"/>
                <a:gd name="T14" fmla="*/ 0 w 81"/>
                <a:gd name="T15" fmla="*/ 0 h 113"/>
                <a:gd name="T16" fmla="*/ 0 w 81"/>
                <a:gd name="T17" fmla="*/ 0 h 113"/>
                <a:gd name="T18" fmla="*/ 0 w 81"/>
                <a:gd name="T19" fmla="*/ 0 h 113"/>
                <a:gd name="T20" fmla="*/ 0 w 81"/>
                <a:gd name="T21" fmla="*/ 0 h 113"/>
                <a:gd name="T22" fmla="*/ 0 w 81"/>
                <a:gd name="T23" fmla="*/ 0 h 113"/>
                <a:gd name="T24" fmla="*/ 0 w 81"/>
                <a:gd name="T25" fmla="*/ 0 h 113"/>
                <a:gd name="T26" fmla="*/ 0 w 81"/>
                <a:gd name="T27" fmla="*/ 0 h 113"/>
                <a:gd name="T28" fmla="*/ 0 w 81"/>
                <a:gd name="T29" fmla="*/ 0 h 113"/>
                <a:gd name="T30" fmla="*/ 0 w 81"/>
                <a:gd name="T31" fmla="*/ 0 h 113"/>
                <a:gd name="T32" fmla="*/ 0 w 81"/>
                <a:gd name="T33" fmla="*/ 0 h 113"/>
                <a:gd name="T34" fmla="*/ 0 w 81"/>
                <a:gd name="T35" fmla="*/ 0 h 113"/>
                <a:gd name="T36" fmla="*/ 0 w 81"/>
                <a:gd name="T37" fmla="*/ 0 h 113"/>
                <a:gd name="T38" fmla="*/ 0 w 81"/>
                <a:gd name="T39" fmla="*/ 0 h 113"/>
                <a:gd name="T40" fmla="*/ 0 w 81"/>
                <a:gd name="T41" fmla="*/ 0 h 113"/>
                <a:gd name="T42" fmla="*/ 0 w 81"/>
                <a:gd name="T43" fmla="*/ 0 h 113"/>
                <a:gd name="T44" fmla="*/ 0 w 81"/>
                <a:gd name="T45" fmla="*/ 0 h 113"/>
                <a:gd name="T46" fmla="*/ 0 w 81"/>
                <a:gd name="T47" fmla="*/ 0 h 113"/>
                <a:gd name="T48" fmla="*/ 0 w 81"/>
                <a:gd name="T49" fmla="*/ 0 h 113"/>
                <a:gd name="T50" fmla="*/ 0 w 81"/>
                <a:gd name="T51" fmla="*/ 0 h 113"/>
                <a:gd name="T52" fmla="*/ 0 w 81"/>
                <a:gd name="T53" fmla="*/ 0 h 113"/>
                <a:gd name="T54" fmla="*/ 0 w 81"/>
                <a:gd name="T55" fmla="*/ 0 h 113"/>
                <a:gd name="T56" fmla="*/ 0 w 81"/>
                <a:gd name="T57" fmla="*/ 0 h 113"/>
                <a:gd name="T58" fmla="*/ 0 w 81"/>
                <a:gd name="T59" fmla="*/ 0 h 113"/>
                <a:gd name="T60" fmla="*/ 0 w 81"/>
                <a:gd name="T61" fmla="*/ 0 h 113"/>
                <a:gd name="T62" fmla="*/ 0 w 81"/>
                <a:gd name="T63" fmla="*/ 0 h 113"/>
                <a:gd name="T64" fmla="*/ 0 w 81"/>
                <a:gd name="T65" fmla="*/ 0 h 113"/>
                <a:gd name="T66" fmla="*/ 0 w 81"/>
                <a:gd name="T67" fmla="*/ 0 h 113"/>
                <a:gd name="T68" fmla="*/ 0 w 81"/>
                <a:gd name="T69" fmla="*/ 0 h 113"/>
                <a:gd name="T70" fmla="*/ 0 w 81"/>
                <a:gd name="T71" fmla="*/ 0 h 113"/>
                <a:gd name="T72" fmla="*/ 0 w 81"/>
                <a:gd name="T73" fmla="*/ 0 h 113"/>
                <a:gd name="T74" fmla="*/ 0 w 81"/>
                <a:gd name="T75" fmla="*/ 0 h 113"/>
                <a:gd name="T76" fmla="*/ 0 w 81"/>
                <a:gd name="T77" fmla="*/ 0 h 113"/>
                <a:gd name="T78" fmla="*/ 0 w 81"/>
                <a:gd name="T79" fmla="*/ 0 h 113"/>
                <a:gd name="T80" fmla="*/ 0 w 81"/>
                <a:gd name="T81" fmla="*/ 0 h 113"/>
                <a:gd name="T82" fmla="*/ 0 w 81"/>
                <a:gd name="T83" fmla="*/ 0 h 113"/>
                <a:gd name="T84" fmla="*/ 0 w 81"/>
                <a:gd name="T85" fmla="*/ 0 h 113"/>
                <a:gd name="T86" fmla="*/ 0 w 81"/>
                <a:gd name="T87" fmla="*/ 0 h 113"/>
                <a:gd name="T88" fmla="*/ 0 w 81"/>
                <a:gd name="T89" fmla="*/ 0 h 113"/>
                <a:gd name="T90" fmla="*/ 0 w 81"/>
                <a:gd name="T91" fmla="*/ 0 h 11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81"/>
                <a:gd name="T139" fmla="*/ 0 h 113"/>
                <a:gd name="T140" fmla="*/ 81 w 81"/>
                <a:gd name="T141" fmla="*/ 113 h 11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81" h="113">
                  <a:moveTo>
                    <a:pt x="16" y="58"/>
                  </a:moveTo>
                  <a:lnTo>
                    <a:pt x="22" y="61"/>
                  </a:lnTo>
                  <a:lnTo>
                    <a:pt x="25" y="56"/>
                  </a:lnTo>
                  <a:lnTo>
                    <a:pt x="19" y="46"/>
                  </a:lnTo>
                  <a:lnTo>
                    <a:pt x="24" y="46"/>
                  </a:lnTo>
                  <a:lnTo>
                    <a:pt x="30" y="52"/>
                  </a:lnTo>
                  <a:lnTo>
                    <a:pt x="35" y="47"/>
                  </a:lnTo>
                  <a:lnTo>
                    <a:pt x="38" y="52"/>
                  </a:lnTo>
                  <a:lnTo>
                    <a:pt x="46" y="46"/>
                  </a:lnTo>
                  <a:lnTo>
                    <a:pt x="47" y="37"/>
                  </a:lnTo>
                  <a:lnTo>
                    <a:pt x="43" y="41"/>
                  </a:lnTo>
                  <a:lnTo>
                    <a:pt x="38" y="37"/>
                  </a:lnTo>
                  <a:lnTo>
                    <a:pt x="43" y="32"/>
                  </a:lnTo>
                  <a:lnTo>
                    <a:pt x="48" y="19"/>
                  </a:lnTo>
                  <a:lnTo>
                    <a:pt x="44" y="11"/>
                  </a:lnTo>
                  <a:lnTo>
                    <a:pt x="43" y="3"/>
                  </a:lnTo>
                  <a:lnTo>
                    <a:pt x="47" y="0"/>
                  </a:lnTo>
                  <a:lnTo>
                    <a:pt x="47" y="10"/>
                  </a:lnTo>
                  <a:lnTo>
                    <a:pt x="58" y="18"/>
                  </a:lnTo>
                  <a:lnTo>
                    <a:pt x="57" y="26"/>
                  </a:lnTo>
                  <a:lnTo>
                    <a:pt x="60" y="32"/>
                  </a:lnTo>
                  <a:lnTo>
                    <a:pt x="67" y="35"/>
                  </a:lnTo>
                  <a:lnTo>
                    <a:pt x="76" y="24"/>
                  </a:lnTo>
                  <a:lnTo>
                    <a:pt x="81" y="30"/>
                  </a:lnTo>
                  <a:lnTo>
                    <a:pt x="81" y="41"/>
                  </a:lnTo>
                  <a:lnTo>
                    <a:pt x="79" y="50"/>
                  </a:lnTo>
                  <a:lnTo>
                    <a:pt x="70" y="58"/>
                  </a:lnTo>
                  <a:lnTo>
                    <a:pt x="49" y="94"/>
                  </a:lnTo>
                  <a:lnTo>
                    <a:pt x="35" y="110"/>
                  </a:lnTo>
                  <a:lnTo>
                    <a:pt x="24" y="106"/>
                  </a:lnTo>
                  <a:lnTo>
                    <a:pt x="22" y="110"/>
                  </a:lnTo>
                  <a:lnTo>
                    <a:pt x="22" y="113"/>
                  </a:lnTo>
                  <a:lnTo>
                    <a:pt x="16" y="106"/>
                  </a:lnTo>
                  <a:lnTo>
                    <a:pt x="17" y="101"/>
                  </a:lnTo>
                  <a:lnTo>
                    <a:pt x="27" y="104"/>
                  </a:lnTo>
                  <a:lnTo>
                    <a:pt x="33" y="96"/>
                  </a:lnTo>
                  <a:lnTo>
                    <a:pt x="38" y="85"/>
                  </a:lnTo>
                  <a:lnTo>
                    <a:pt x="26" y="96"/>
                  </a:lnTo>
                  <a:lnTo>
                    <a:pt x="12" y="86"/>
                  </a:lnTo>
                  <a:lnTo>
                    <a:pt x="8" y="73"/>
                  </a:lnTo>
                  <a:lnTo>
                    <a:pt x="6" y="61"/>
                  </a:lnTo>
                  <a:lnTo>
                    <a:pt x="1" y="57"/>
                  </a:lnTo>
                  <a:lnTo>
                    <a:pt x="0" y="52"/>
                  </a:lnTo>
                  <a:lnTo>
                    <a:pt x="3" y="46"/>
                  </a:lnTo>
                  <a:lnTo>
                    <a:pt x="6" y="46"/>
                  </a:lnTo>
                  <a:lnTo>
                    <a:pt x="16" y="5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82" name="Freeform 307">
              <a:extLst>
                <a:ext uri="{FF2B5EF4-FFF2-40B4-BE49-F238E27FC236}">
                  <a16:creationId xmlns:a16="http://schemas.microsoft.com/office/drawing/2014/main" id="{89C8D7F8-9B60-D80B-5A0A-75AB4A1D618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790112" y="1315423"/>
              <a:ext cx="29847" cy="32009"/>
            </a:xfrm>
            <a:custGeom>
              <a:avLst/>
              <a:gdLst>
                <a:gd name="T0" fmla="*/ 0 w 54"/>
                <a:gd name="T1" fmla="*/ 0 h 58"/>
                <a:gd name="T2" fmla="*/ 0 w 54"/>
                <a:gd name="T3" fmla="*/ 0 h 58"/>
                <a:gd name="T4" fmla="*/ 0 w 54"/>
                <a:gd name="T5" fmla="*/ 0 h 58"/>
                <a:gd name="T6" fmla="*/ 0 w 54"/>
                <a:gd name="T7" fmla="*/ 0 h 58"/>
                <a:gd name="T8" fmla="*/ 0 w 54"/>
                <a:gd name="T9" fmla="*/ 0 h 58"/>
                <a:gd name="T10" fmla="*/ 0 w 54"/>
                <a:gd name="T11" fmla="*/ 0 h 58"/>
                <a:gd name="T12" fmla="*/ 0 w 54"/>
                <a:gd name="T13" fmla="*/ 0 h 58"/>
                <a:gd name="T14" fmla="*/ 0 w 54"/>
                <a:gd name="T15" fmla="*/ 0 h 58"/>
                <a:gd name="T16" fmla="*/ 0 w 54"/>
                <a:gd name="T17" fmla="*/ 0 h 58"/>
                <a:gd name="T18" fmla="*/ 0 w 54"/>
                <a:gd name="T19" fmla="*/ 0 h 58"/>
                <a:gd name="T20" fmla="*/ 0 w 54"/>
                <a:gd name="T21" fmla="*/ 0 h 58"/>
                <a:gd name="T22" fmla="*/ 0 w 54"/>
                <a:gd name="T23" fmla="*/ 0 h 58"/>
                <a:gd name="T24" fmla="*/ 0 w 54"/>
                <a:gd name="T25" fmla="*/ 0 h 58"/>
                <a:gd name="T26" fmla="*/ 0 w 54"/>
                <a:gd name="T27" fmla="*/ 0 h 58"/>
                <a:gd name="T28" fmla="*/ 0 w 54"/>
                <a:gd name="T29" fmla="*/ 0 h 58"/>
                <a:gd name="T30" fmla="*/ 0 w 54"/>
                <a:gd name="T31" fmla="*/ 0 h 58"/>
                <a:gd name="T32" fmla="*/ 0 w 54"/>
                <a:gd name="T33" fmla="*/ 0 h 58"/>
                <a:gd name="T34" fmla="*/ 0 w 54"/>
                <a:gd name="T35" fmla="*/ 0 h 58"/>
                <a:gd name="T36" fmla="*/ 0 w 54"/>
                <a:gd name="T37" fmla="*/ 0 h 58"/>
                <a:gd name="T38" fmla="*/ 0 w 54"/>
                <a:gd name="T39" fmla="*/ 0 h 58"/>
                <a:gd name="T40" fmla="*/ 0 w 54"/>
                <a:gd name="T41" fmla="*/ 0 h 5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4"/>
                <a:gd name="T64" fmla="*/ 0 h 58"/>
                <a:gd name="T65" fmla="*/ 54 w 54"/>
                <a:gd name="T66" fmla="*/ 58 h 58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4" h="58">
                  <a:moveTo>
                    <a:pt x="2" y="4"/>
                  </a:moveTo>
                  <a:lnTo>
                    <a:pt x="1" y="4"/>
                  </a:lnTo>
                  <a:lnTo>
                    <a:pt x="0" y="8"/>
                  </a:lnTo>
                  <a:lnTo>
                    <a:pt x="1" y="22"/>
                  </a:lnTo>
                  <a:lnTo>
                    <a:pt x="9" y="28"/>
                  </a:lnTo>
                  <a:lnTo>
                    <a:pt x="12" y="38"/>
                  </a:lnTo>
                  <a:lnTo>
                    <a:pt x="23" y="39"/>
                  </a:lnTo>
                  <a:lnTo>
                    <a:pt x="32" y="49"/>
                  </a:lnTo>
                  <a:lnTo>
                    <a:pt x="41" y="50"/>
                  </a:lnTo>
                  <a:lnTo>
                    <a:pt x="44" y="55"/>
                  </a:lnTo>
                  <a:lnTo>
                    <a:pt x="47" y="58"/>
                  </a:lnTo>
                  <a:lnTo>
                    <a:pt x="52" y="56"/>
                  </a:lnTo>
                  <a:lnTo>
                    <a:pt x="54" y="50"/>
                  </a:lnTo>
                  <a:lnTo>
                    <a:pt x="45" y="39"/>
                  </a:lnTo>
                  <a:lnTo>
                    <a:pt x="30" y="28"/>
                  </a:lnTo>
                  <a:lnTo>
                    <a:pt x="33" y="22"/>
                  </a:lnTo>
                  <a:lnTo>
                    <a:pt x="19" y="15"/>
                  </a:lnTo>
                  <a:lnTo>
                    <a:pt x="14" y="4"/>
                  </a:lnTo>
                  <a:lnTo>
                    <a:pt x="12" y="0"/>
                  </a:lnTo>
                  <a:lnTo>
                    <a:pt x="6" y="0"/>
                  </a:lnTo>
                  <a:lnTo>
                    <a:pt x="2" y="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83" name="Freeform 308">
              <a:extLst>
                <a:ext uri="{FF2B5EF4-FFF2-40B4-BE49-F238E27FC236}">
                  <a16:creationId xmlns:a16="http://schemas.microsoft.com/office/drawing/2014/main" id="{9BADF487-01A6-62C6-14A7-A068945E349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485412" y="3434087"/>
              <a:ext cx="20893" cy="10670"/>
            </a:xfrm>
            <a:custGeom>
              <a:avLst/>
              <a:gdLst>
                <a:gd name="T0" fmla="*/ 0 w 336"/>
                <a:gd name="T1" fmla="*/ 0 h 96"/>
                <a:gd name="T2" fmla="*/ 0 w 336"/>
                <a:gd name="T3" fmla="*/ 0 h 96"/>
                <a:gd name="T4" fmla="*/ 0 w 336"/>
                <a:gd name="T5" fmla="*/ 0 h 96"/>
                <a:gd name="T6" fmla="*/ 0 w 336"/>
                <a:gd name="T7" fmla="*/ 0 h 96"/>
                <a:gd name="T8" fmla="*/ 0 w 336"/>
                <a:gd name="T9" fmla="*/ 0 h 96"/>
                <a:gd name="T10" fmla="*/ 0 w 336"/>
                <a:gd name="T11" fmla="*/ 0 h 96"/>
                <a:gd name="T12" fmla="*/ 0 w 336"/>
                <a:gd name="T13" fmla="*/ 0 h 96"/>
                <a:gd name="T14" fmla="*/ 0 w 336"/>
                <a:gd name="T15" fmla="*/ 0 h 96"/>
                <a:gd name="T16" fmla="*/ 0 w 336"/>
                <a:gd name="T17" fmla="*/ 0 h 96"/>
                <a:gd name="T18" fmla="*/ 0 w 336"/>
                <a:gd name="T19" fmla="*/ 0 h 96"/>
                <a:gd name="T20" fmla="*/ 0 w 336"/>
                <a:gd name="T21" fmla="*/ 0 h 96"/>
                <a:gd name="T22" fmla="*/ 0 w 336"/>
                <a:gd name="T23" fmla="*/ 0 h 96"/>
                <a:gd name="T24" fmla="*/ 0 w 336"/>
                <a:gd name="T25" fmla="*/ 0 h 96"/>
                <a:gd name="T26" fmla="*/ 0 w 336"/>
                <a:gd name="T27" fmla="*/ 0 h 96"/>
                <a:gd name="T28" fmla="*/ 0 w 336"/>
                <a:gd name="T29" fmla="*/ 0 h 96"/>
                <a:gd name="T30" fmla="*/ 0 w 336"/>
                <a:gd name="T31" fmla="*/ 0 h 9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36"/>
                <a:gd name="T49" fmla="*/ 0 h 96"/>
                <a:gd name="T50" fmla="*/ 336 w 336"/>
                <a:gd name="T51" fmla="*/ 96 h 9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36" h="96">
                  <a:moveTo>
                    <a:pt x="291" y="10"/>
                  </a:moveTo>
                  <a:lnTo>
                    <a:pt x="281" y="6"/>
                  </a:lnTo>
                  <a:lnTo>
                    <a:pt x="289" y="25"/>
                  </a:lnTo>
                  <a:lnTo>
                    <a:pt x="298" y="25"/>
                  </a:lnTo>
                  <a:lnTo>
                    <a:pt x="326" y="50"/>
                  </a:lnTo>
                  <a:lnTo>
                    <a:pt x="336" y="96"/>
                  </a:lnTo>
                  <a:lnTo>
                    <a:pt x="312" y="69"/>
                  </a:lnTo>
                  <a:lnTo>
                    <a:pt x="274" y="50"/>
                  </a:lnTo>
                  <a:lnTo>
                    <a:pt x="230" y="52"/>
                  </a:lnTo>
                  <a:lnTo>
                    <a:pt x="98" y="96"/>
                  </a:lnTo>
                  <a:lnTo>
                    <a:pt x="21" y="93"/>
                  </a:lnTo>
                  <a:lnTo>
                    <a:pt x="0" y="52"/>
                  </a:lnTo>
                  <a:lnTo>
                    <a:pt x="87" y="45"/>
                  </a:lnTo>
                  <a:lnTo>
                    <a:pt x="208" y="0"/>
                  </a:lnTo>
                  <a:lnTo>
                    <a:pt x="257" y="0"/>
                  </a:lnTo>
                  <a:lnTo>
                    <a:pt x="291" y="1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84" name="Freeform 309">
              <a:extLst>
                <a:ext uri="{FF2B5EF4-FFF2-40B4-BE49-F238E27FC236}">
                  <a16:creationId xmlns:a16="http://schemas.microsoft.com/office/drawing/2014/main" id="{C1D194A9-AE32-D4CB-FC73-D6A23BEBB37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519737" y="3437134"/>
              <a:ext cx="1492" cy="28960"/>
            </a:xfrm>
            <a:custGeom>
              <a:avLst/>
              <a:gdLst>
                <a:gd name="T0" fmla="*/ 0 w 86"/>
                <a:gd name="T1" fmla="*/ 0 h 232"/>
                <a:gd name="T2" fmla="*/ 0 w 86"/>
                <a:gd name="T3" fmla="*/ 0 h 232"/>
                <a:gd name="T4" fmla="*/ 0 w 86"/>
                <a:gd name="T5" fmla="*/ 0 h 232"/>
                <a:gd name="T6" fmla="*/ 0 w 86"/>
                <a:gd name="T7" fmla="*/ 0 h 232"/>
                <a:gd name="T8" fmla="*/ 0 w 86"/>
                <a:gd name="T9" fmla="*/ 0 h 232"/>
                <a:gd name="T10" fmla="*/ 0 w 86"/>
                <a:gd name="T11" fmla="*/ 0 h 232"/>
                <a:gd name="T12" fmla="*/ 0 w 86"/>
                <a:gd name="T13" fmla="*/ 0 h 232"/>
                <a:gd name="T14" fmla="*/ 0 w 86"/>
                <a:gd name="T15" fmla="*/ 0 h 232"/>
                <a:gd name="T16" fmla="*/ 0 w 86"/>
                <a:gd name="T17" fmla="*/ 0 h 232"/>
                <a:gd name="T18" fmla="*/ 0 w 86"/>
                <a:gd name="T19" fmla="*/ 0 h 232"/>
                <a:gd name="T20" fmla="*/ 0 w 86"/>
                <a:gd name="T21" fmla="*/ 0 h 232"/>
                <a:gd name="T22" fmla="*/ 0 w 86"/>
                <a:gd name="T23" fmla="*/ 0 h 232"/>
                <a:gd name="T24" fmla="*/ 0 w 86"/>
                <a:gd name="T25" fmla="*/ 0 h 23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6"/>
                <a:gd name="T40" fmla="*/ 0 h 232"/>
                <a:gd name="T41" fmla="*/ 86 w 86"/>
                <a:gd name="T42" fmla="*/ 232 h 23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6" h="232">
                  <a:moveTo>
                    <a:pt x="76" y="83"/>
                  </a:moveTo>
                  <a:lnTo>
                    <a:pt x="86" y="6"/>
                  </a:lnTo>
                  <a:lnTo>
                    <a:pt x="86" y="62"/>
                  </a:lnTo>
                  <a:lnTo>
                    <a:pt x="53" y="146"/>
                  </a:lnTo>
                  <a:lnTo>
                    <a:pt x="39" y="232"/>
                  </a:lnTo>
                  <a:lnTo>
                    <a:pt x="0" y="173"/>
                  </a:lnTo>
                  <a:lnTo>
                    <a:pt x="14" y="159"/>
                  </a:lnTo>
                  <a:lnTo>
                    <a:pt x="21" y="135"/>
                  </a:lnTo>
                  <a:lnTo>
                    <a:pt x="18" y="95"/>
                  </a:lnTo>
                  <a:lnTo>
                    <a:pt x="42" y="6"/>
                  </a:lnTo>
                  <a:lnTo>
                    <a:pt x="53" y="0"/>
                  </a:lnTo>
                  <a:lnTo>
                    <a:pt x="72" y="41"/>
                  </a:lnTo>
                  <a:lnTo>
                    <a:pt x="76" y="8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85" name="Freeform 310">
              <a:extLst>
                <a:ext uri="{FF2B5EF4-FFF2-40B4-BE49-F238E27FC236}">
                  <a16:creationId xmlns:a16="http://schemas.microsoft.com/office/drawing/2014/main" id="{E51A9ECC-7370-4B54-58CA-ECC2017F75D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519737" y="3502676"/>
              <a:ext cx="5969" cy="1524"/>
            </a:xfrm>
            <a:custGeom>
              <a:avLst/>
              <a:gdLst>
                <a:gd name="T0" fmla="*/ 0 w 73"/>
                <a:gd name="T1" fmla="*/ 0 h 28"/>
                <a:gd name="T2" fmla="*/ 0 w 73"/>
                <a:gd name="T3" fmla="*/ 0 h 28"/>
                <a:gd name="T4" fmla="*/ 0 w 73"/>
                <a:gd name="T5" fmla="*/ 0 h 28"/>
                <a:gd name="T6" fmla="*/ 0 w 73"/>
                <a:gd name="T7" fmla="*/ 0 h 28"/>
                <a:gd name="T8" fmla="*/ 0 w 73"/>
                <a:gd name="T9" fmla="*/ 0 h 28"/>
                <a:gd name="T10" fmla="*/ 0 w 73"/>
                <a:gd name="T11" fmla="*/ 0 h 28"/>
                <a:gd name="T12" fmla="*/ 0 w 73"/>
                <a:gd name="T13" fmla="*/ 0 h 2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3"/>
                <a:gd name="T22" fmla="*/ 0 h 28"/>
                <a:gd name="T23" fmla="*/ 73 w 73"/>
                <a:gd name="T24" fmla="*/ 28 h 2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3" h="28">
                  <a:moveTo>
                    <a:pt x="55" y="25"/>
                  </a:moveTo>
                  <a:lnTo>
                    <a:pt x="73" y="7"/>
                  </a:lnTo>
                  <a:lnTo>
                    <a:pt x="73" y="0"/>
                  </a:lnTo>
                  <a:lnTo>
                    <a:pt x="48" y="0"/>
                  </a:lnTo>
                  <a:lnTo>
                    <a:pt x="8" y="4"/>
                  </a:lnTo>
                  <a:lnTo>
                    <a:pt x="0" y="28"/>
                  </a:lnTo>
                  <a:lnTo>
                    <a:pt x="55" y="2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86" name="Freeform 311">
              <a:extLst>
                <a:ext uri="{FF2B5EF4-FFF2-40B4-BE49-F238E27FC236}">
                  <a16:creationId xmlns:a16="http://schemas.microsoft.com/office/drawing/2014/main" id="{849CCC17-32A3-A148-156D-D590C4C5DE6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506305" y="3501152"/>
              <a:ext cx="10447" cy="35058"/>
            </a:xfrm>
            <a:custGeom>
              <a:avLst/>
              <a:gdLst>
                <a:gd name="T0" fmla="*/ 0 w 175"/>
                <a:gd name="T1" fmla="*/ 0 h 291"/>
                <a:gd name="T2" fmla="*/ 0 w 175"/>
                <a:gd name="T3" fmla="*/ 0 h 291"/>
                <a:gd name="T4" fmla="*/ 0 w 175"/>
                <a:gd name="T5" fmla="*/ 0 h 291"/>
                <a:gd name="T6" fmla="*/ 0 w 175"/>
                <a:gd name="T7" fmla="*/ 0 h 291"/>
                <a:gd name="T8" fmla="*/ 0 w 175"/>
                <a:gd name="T9" fmla="*/ 0 h 291"/>
                <a:gd name="T10" fmla="*/ 0 w 175"/>
                <a:gd name="T11" fmla="*/ 0 h 291"/>
                <a:gd name="T12" fmla="*/ 0 w 175"/>
                <a:gd name="T13" fmla="*/ 0 h 291"/>
                <a:gd name="T14" fmla="*/ 0 w 175"/>
                <a:gd name="T15" fmla="*/ 0 h 291"/>
                <a:gd name="T16" fmla="*/ 0 w 175"/>
                <a:gd name="T17" fmla="*/ 0 h 291"/>
                <a:gd name="T18" fmla="*/ 0 w 175"/>
                <a:gd name="T19" fmla="*/ 0 h 291"/>
                <a:gd name="T20" fmla="*/ 0 w 175"/>
                <a:gd name="T21" fmla="*/ 0 h 291"/>
                <a:gd name="T22" fmla="*/ 0 w 175"/>
                <a:gd name="T23" fmla="*/ 0 h 291"/>
                <a:gd name="T24" fmla="*/ 0 w 175"/>
                <a:gd name="T25" fmla="*/ 0 h 291"/>
                <a:gd name="T26" fmla="*/ 0 w 175"/>
                <a:gd name="T27" fmla="*/ 0 h 291"/>
                <a:gd name="T28" fmla="*/ 0 w 175"/>
                <a:gd name="T29" fmla="*/ 0 h 291"/>
                <a:gd name="T30" fmla="*/ 0 w 175"/>
                <a:gd name="T31" fmla="*/ 0 h 29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75"/>
                <a:gd name="T49" fmla="*/ 0 h 291"/>
                <a:gd name="T50" fmla="*/ 175 w 175"/>
                <a:gd name="T51" fmla="*/ 291 h 29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75" h="291">
                  <a:moveTo>
                    <a:pt x="93" y="46"/>
                  </a:moveTo>
                  <a:lnTo>
                    <a:pt x="107" y="50"/>
                  </a:lnTo>
                  <a:lnTo>
                    <a:pt x="114" y="81"/>
                  </a:lnTo>
                  <a:lnTo>
                    <a:pt x="175" y="163"/>
                  </a:lnTo>
                  <a:lnTo>
                    <a:pt x="175" y="244"/>
                  </a:lnTo>
                  <a:lnTo>
                    <a:pt x="168" y="268"/>
                  </a:lnTo>
                  <a:lnTo>
                    <a:pt x="141" y="288"/>
                  </a:lnTo>
                  <a:lnTo>
                    <a:pt x="101" y="291"/>
                  </a:lnTo>
                  <a:lnTo>
                    <a:pt x="59" y="244"/>
                  </a:lnTo>
                  <a:lnTo>
                    <a:pt x="10" y="212"/>
                  </a:lnTo>
                  <a:lnTo>
                    <a:pt x="0" y="167"/>
                  </a:lnTo>
                  <a:lnTo>
                    <a:pt x="28" y="84"/>
                  </a:lnTo>
                  <a:lnTo>
                    <a:pt x="35" y="39"/>
                  </a:lnTo>
                  <a:lnTo>
                    <a:pt x="30" y="8"/>
                  </a:lnTo>
                  <a:lnTo>
                    <a:pt x="79" y="0"/>
                  </a:lnTo>
                  <a:lnTo>
                    <a:pt x="93" y="4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87" name="Freeform 312">
              <a:extLst>
                <a:ext uri="{FF2B5EF4-FFF2-40B4-BE49-F238E27FC236}">
                  <a16:creationId xmlns:a16="http://schemas.microsoft.com/office/drawing/2014/main" id="{6C8933F2-24AE-41AC-E255-5AAC6C8F4F1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519737" y="3539258"/>
              <a:ext cx="1492" cy="16766"/>
            </a:xfrm>
            <a:custGeom>
              <a:avLst/>
              <a:gdLst>
                <a:gd name="T0" fmla="*/ 0 w 69"/>
                <a:gd name="T1" fmla="*/ 0 h 144"/>
                <a:gd name="T2" fmla="*/ 0 w 69"/>
                <a:gd name="T3" fmla="*/ 0 h 144"/>
                <a:gd name="T4" fmla="*/ 0 w 69"/>
                <a:gd name="T5" fmla="*/ 0 h 144"/>
                <a:gd name="T6" fmla="*/ 0 w 69"/>
                <a:gd name="T7" fmla="*/ 0 h 144"/>
                <a:gd name="T8" fmla="*/ 0 w 69"/>
                <a:gd name="T9" fmla="*/ 0 h 144"/>
                <a:gd name="T10" fmla="*/ 0 w 69"/>
                <a:gd name="T11" fmla="*/ 0 h 1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9"/>
                <a:gd name="T19" fmla="*/ 0 h 144"/>
                <a:gd name="T20" fmla="*/ 69 w 69"/>
                <a:gd name="T21" fmla="*/ 144 h 14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9" h="144">
                  <a:moveTo>
                    <a:pt x="0" y="70"/>
                  </a:moveTo>
                  <a:lnTo>
                    <a:pt x="47" y="0"/>
                  </a:lnTo>
                  <a:lnTo>
                    <a:pt x="69" y="118"/>
                  </a:lnTo>
                  <a:lnTo>
                    <a:pt x="59" y="144"/>
                  </a:lnTo>
                  <a:lnTo>
                    <a:pt x="17" y="128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88" name="Freeform 313">
              <a:extLst>
                <a:ext uri="{FF2B5EF4-FFF2-40B4-BE49-F238E27FC236}">
                  <a16:creationId xmlns:a16="http://schemas.microsoft.com/office/drawing/2014/main" id="{0DC93192-CE0F-753A-920D-834135EAFEF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543614" y="3493531"/>
              <a:ext cx="2985" cy="21339"/>
            </a:xfrm>
            <a:custGeom>
              <a:avLst/>
              <a:gdLst>
                <a:gd name="T0" fmla="*/ 0 w 52"/>
                <a:gd name="T1" fmla="*/ 0 h 192"/>
                <a:gd name="T2" fmla="*/ 0 w 52"/>
                <a:gd name="T3" fmla="*/ 0 h 192"/>
                <a:gd name="T4" fmla="*/ 0 w 52"/>
                <a:gd name="T5" fmla="*/ 0 h 192"/>
                <a:gd name="T6" fmla="*/ 0 w 52"/>
                <a:gd name="T7" fmla="*/ 0 h 192"/>
                <a:gd name="T8" fmla="*/ 0 w 52"/>
                <a:gd name="T9" fmla="*/ 0 h 192"/>
                <a:gd name="T10" fmla="*/ 0 w 52"/>
                <a:gd name="T11" fmla="*/ 0 h 192"/>
                <a:gd name="T12" fmla="*/ 0 w 52"/>
                <a:gd name="T13" fmla="*/ 0 h 192"/>
                <a:gd name="T14" fmla="*/ 0 w 52"/>
                <a:gd name="T15" fmla="*/ 0 h 19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2"/>
                <a:gd name="T25" fmla="*/ 0 h 192"/>
                <a:gd name="T26" fmla="*/ 52 w 52"/>
                <a:gd name="T27" fmla="*/ 192 h 19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2" h="192">
                  <a:moveTo>
                    <a:pt x="37" y="20"/>
                  </a:moveTo>
                  <a:lnTo>
                    <a:pt x="37" y="0"/>
                  </a:lnTo>
                  <a:lnTo>
                    <a:pt x="52" y="45"/>
                  </a:lnTo>
                  <a:lnTo>
                    <a:pt x="47" y="192"/>
                  </a:lnTo>
                  <a:lnTo>
                    <a:pt x="10" y="160"/>
                  </a:lnTo>
                  <a:lnTo>
                    <a:pt x="0" y="120"/>
                  </a:lnTo>
                  <a:lnTo>
                    <a:pt x="20" y="99"/>
                  </a:lnTo>
                  <a:lnTo>
                    <a:pt x="37" y="2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89" name="Freeform 314">
              <a:extLst>
                <a:ext uri="{FF2B5EF4-FFF2-40B4-BE49-F238E27FC236}">
                  <a16:creationId xmlns:a16="http://schemas.microsoft.com/office/drawing/2014/main" id="{9733437B-3198-D5D6-630C-F2C39552635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557045" y="3511822"/>
              <a:ext cx="7462" cy="25911"/>
            </a:xfrm>
            <a:custGeom>
              <a:avLst/>
              <a:gdLst>
                <a:gd name="T0" fmla="*/ 0 w 146"/>
                <a:gd name="T1" fmla="*/ 0 h 212"/>
                <a:gd name="T2" fmla="*/ 0 w 146"/>
                <a:gd name="T3" fmla="*/ 0 h 212"/>
                <a:gd name="T4" fmla="*/ 0 w 146"/>
                <a:gd name="T5" fmla="*/ 0 h 212"/>
                <a:gd name="T6" fmla="*/ 0 w 146"/>
                <a:gd name="T7" fmla="*/ 0 h 212"/>
                <a:gd name="T8" fmla="*/ 0 w 146"/>
                <a:gd name="T9" fmla="*/ 0 h 212"/>
                <a:gd name="T10" fmla="*/ 0 w 146"/>
                <a:gd name="T11" fmla="*/ 0 h 212"/>
                <a:gd name="T12" fmla="*/ 0 w 146"/>
                <a:gd name="T13" fmla="*/ 0 h 212"/>
                <a:gd name="T14" fmla="*/ 0 w 146"/>
                <a:gd name="T15" fmla="*/ 0 h 212"/>
                <a:gd name="T16" fmla="*/ 0 w 146"/>
                <a:gd name="T17" fmla="*/ 0 h 212"/>
                <a:gd name="T18" fmla="*/ 0 w 146"/>
                <a:gd name="T19" fmla="*/ 0 h 212"/>
                <a:gd name="T20" fmla="*/ 0 w 146"/>
                <a:gd name="T21" fmla="*/ 0 h 2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46"/>
                <a:gd name="T34" fmla="*/ 0 h 212"/>
                <a:gd name="T35" fmla="*/ 146 w 146"/>
                <a:gd name="T36" fmla="*/ 212 h 2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46" h="212">
                  <a:moveTo>
                    <a:pt x="115" y="147"/>
                  </a:moveTo>
                  <a:lnTo>
                    <a:pt x="132" y="142"/>
                  </a:lnTo>
                  <a:lnTo>
                    <a:pt x="146" y="205"/>
                  </a:lnTo>
                  <a:lnTo>
                    <a:pt x="121" y="212"/>
                  </a:lnTo>
                  <a:lnTo>
                    <a:pt x="87" y="202"/>
                  </a:lnTo>
                  <a:lnTo>
                    <a:pt x="101" y="157"/>
                  </a:lnTo>
                  <a:lnTo>
                    <a:pt x="56" y="76"/>
                  </a:lnTo>
                  <a:lnTo>
                    <a:pt x="0" y="0"/>
                  </a:lnTo>
                  <a:lnTo>
                    <a:pt x="24" y="4"/>
                  </a:lnTo>
                  <a:lnTo>
                    <a:pt x="52" y="35"/>
                  </a:lnTo>
                  <a:lnTo>
                    <a:pt x="115" y="14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90" name="Freeform 315">
              <a:extLst>
                <a:ext uri="{FF2B5EF4-FFF2-40B4-BE49-F238E27FC236}">
                  <a16:creationId xmlns:a16="http://schemas.microsoft.com/office/drawing/2014/main" id="{7DC4A340-0472-86CF-6280-8AF67B66AA6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580922" y="3531637"/>
              <a:ext cx="5969" cy="6097"/>
            </a:xfrm>
            <a:custGeom>
              <a:avLst/>
              <a:gdLst>
                <a:gd name="T0" fmla="*/ 0 w 52"/>
                <a:gd name="T1" fmla="*/ 0 h 55"/>
                <a:gd name="T2" fmla="*/ 0 w 52"/>
                <a:gd name="T3" fmla="*/ 0 h 55"/>
                <a:gd name="T4" fmla="*/ 0 w 52"/>
                <a:gd name="T5" fmla="*/ 0 h 55"/>
                <a:gd name="T6" fmla="*/ 0 w 52"/>
                <a:gd name="T7" fmla="*/ 0 h 55"/>
                <a:gd name="T8" fmla="*/ 0 w 52"/>
                <a:gd name="T9" fmla="*/ 0 h 55"/>
                <a:gd name="T10" fmla="*/ 0 w 52"/>
                <a:gd name="T11" fmla="*/ 0 h 5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"/>
                <a:gd name="T19" fmla="*/ 0 h 55"/>
                <a:gd name="T20" fmla="*/ 52 w 52"/>
                <a:gd name="T21" fmla="*/ 55 h 5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" h="55">
                  <a:moveTo>
                    <a:pt x="20" y="0"/>
                  </a:moveTo>
                  <a:lnTo>
                    <a:pt x="3" y="28"/>
                  </a:lnTo>
                  <a:lnTo>
                    <a:pt x="0" y="55"/>
                  </a:lnTo>
                  <a:lnTo>
                    <a:pt x="35" y="52"/>
                  </a:lnTo>
                  <a:lnTo>
                    <a:pt x="52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91" name="Freeform 316">
              <a:extLst>
                <a:ext uri="{FF2B5EF4-FFF2-40B4-BE49-F238E27FC236}">
                  <a16:creationId xmlns:a16="http://schemas.microsoft.com/office/drawing/2014/main" id="{F4E1CD3B-FEDF-FF3D-5AFD-7641F0A33B6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570476" y="3556023"/>
              <a:ext cx="7461" cy="30484"/>
            </a:xfrm>
            <a:custGeom>
              <a:avLst/>
              <a:gdLst>
                <a:gd name="T0" fmla="*/ 0 w 117"/>
                <a:gd name="T1" fmla="*/ 0 h 232"/>
                <a:gd name="T2" fmla="*/ 0 w 117"/>
                <a:gd name="T3" fmla="*/ 0 h 232"/>
                <a:gd name="T4" fmla="*/ 0 w 117"/>
                <a:gd name="T5" fmla="*/ 0 h 232"/>
                <a:gd name="T6" fmla="*/ 0 w 117"/>
                <a:gd name="T7" fmla="*/ 0 h 232"/>
                <a:gd name="T8" fmla="*/ 0 w 117"/>
                <a:gd name="T9" fmla="*/ 0 h 232"/>
                <a:gd name="T10" fmla="*/ 0 w 117"/>
                <a:gd name="T11" fmla="*/ 0 h 232"/>
                <a:gd name="T12" fmla="*/ 0 w 117"/>
                <a:gd name="T13" fmla="*/ 0 h 232"/>
                <a:gd name="T14" fmla="*/ 0 w 117"/>
                <a:gd name="T15" fmla="*/ 0 h 232"/>
                <a:gd name="T16" fmla="*/ 0 w 117"/>
                <a:gd name="T17" fmla="*/ 0 h 232"/>
                <a:gd name="T18" fmla="*/ 0 w 117"/>
                <a:gd name="T19" fmla="*/ 0 h 232"/>
                <a:gd name="T20" fmla="*/ 0 w 117"/>
                <a:gd name="T21" fmla="*/ 0 h 232"/>
                <a:gd name="T22" fmla="*/ 0 w 117"/>
                <a:gd name="T23" fmla="*/ 0 h 23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17"/>
                <a:gd name="T37" fmla="*/ 0 h 232"/>
                <a:gd name="T38" fmla="*/ 117 w 117"/>
                <a:gd name="T39" fmla="*/ 232 h 23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17" h="232">
                  <a:moveTo>
                    <a:pt x="0" y="0"/>
                  </a:moveTo>
                  <a:lnTo>
                    <a:pt x="10" y="17"/>
                  </a:lnTo>
                  <a:lnTo>
                    <a:pt x="37" y="105"/>
                  </a:lnTo>
                  <a:lnTo>
                    <a:pt x="55" y="135"/>
                  </a:lnTo>
                  <a:lnTo>
                    <a:pt x="93" y="149"/>
                  </a:lnTo>
                  <a:lnTo>
                    <a:pt x="117" y="204"/>
                  </a:lnTo>
                  <a:lnTo>
                    <a:pt x="117" y="232"/>
                  </a:lnTo>
                  <a:lnTo>
                    <a:pt x="96" y="191"/>
                  </a:lnTo>
                  <a:lnTo>
                    <a:pt x="52" y="162"/>
                  </a:lnTo>
                  <a:lnTo>
                    <a:pt x="35" y="118"/>
                  </a:lnTo>
                  <a:lnTo>
                    <a:pt x="24" y="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92" name="Freeform 317">
              <a:extLst>
                <a:ext uri="{FF2B5EF4-FFF2-40B4-BE49-F238E27FC236}">
                  <a16:creationId xmlns:a16="http://schemas.microsoft.com/office/drawing/2014/main" id="{30AB456A-F42D-FD75-3673-4A71F772AD4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594354" y="3581936"/>
              <a:ext cx="7461" cy="24388"/>
            </a:xfrm>
            <a:custGeom>
              <a:avLst/>
              <a:gdLst>
                <a:gd name="T0" fmla="*/ 0 w 149"/>
                <a:gd name="T1" fmla="*/ 0 h 218"/>
                <a:gd name="T2" fmla="*/ 0 w 149"/>
                <a:gd name="T3" fmla="*/ 0 h 218"/>
                <a:gd name="T4" fmla="*/ 0 w 149"/>
                <a:gd name="T5" fmla="*/ 0 h 218"/>
                <a:gd name="T6" fmla="*/ 0 w 149"/>
                <a:gd name="T7" fmla="*/ 0 h 218"/>
                <a:gd name="T8" fmla="*/ 0 w 149"/>
                <a:gd name="T9" fmla="*/ 0 h 218"/>
                <a:gd name="T10" fmla="*/ 0 w 149"/>
                <a:gd name="T11" fmla="*/ 0 h 218"/>
                <a:gd name="T12" fmla="*/ 0 w 149"/>
                <a:gd name="T13" fmla="*/ 0 h 218"/>
                <a:gd name="T14" fmla="*/ 0 w 149"/>
                <a:gd name="T15" fmla="*/ 0 h 218"/>
                <a:gd name="T16" fmla="*/ 0 w 149"/>
                <a:gd name="T17" fmla="*/ 0 h 218"/>
                <a:gd name="T18" fmla="*/ 0 w 149"/>
                <a:gd name="T19" fmla="*/ 0 h 218"/>
                <a:gd name="T20" fmla="*/ 0 w 149"/>
                <a:gd name="T21" fmla="*/ 0 h 218"/>
                <a:gd name="T22" fmla="*/ 0 w 149"/>
                <a:gd name="T23" fmla="*/ 0 h 218"/>
                <a:gd name="T24" fmla="*/ 0 w 149"/>
                <a:gd name="T25" fmla="*/ 0 h 218"/>
                <a:gd name="T26" fmla="*/ 0 w 149"/>
                <a:gd name="T27" fmla="*/ 0 h 218"/>
                <a:gd name="T28" fmla="*/ 0 w 149"/>
                <a:gd name="T29" fmla="*/ 0 h 218"/>
                <a:gd name="T30" fmla="*/ 0 w 149"/>
                <a:gd name="T31" fmla="*/ 0 h 218"/>
                <a:gd name="T32" fmla="*/ 0 w 149"/>
                <a:gd name="T33" fmla="*/ 0 h 218"/>
                <a:gd name="T34" fmla="*/ 0 w 149"/>
                <a:gd name="T35" fmla="*/ 0 h 21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49"/>
                <a:gd name="T55" fmla="*/ 0 h 218"/>
                <a:gd name="T56" fmla="*/ 149 w 149"/>
                <a:gd name="T57" fmla="*/ 218 h 21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49" h="218">
                  <a:moveTo>
                    <a:pt x="101" y="73"/>
                  </a:moveTo>
                  <a:lnTo>
                    <a:pt x="101" y="48"/>
                  </a:lnTo>
                  <a:lnTo>
                    <a:pt x="101" y="56"/>
                  </a:lnTo>
                  <a:lnTo>
                    <a:pt x="90" y="48"/>
                  </a:lnTo>
                  <a:lnTo>
                    <a:pt x="31" y="48"/>
                  </a:lnTo>
                  <a:lnTo>
                    <a:pt x="4" y="27"/>
                  </a:lnTo>
                  <a:lnTo>
                    <a:pt x="0" y="14"/>
                  </a:lnTo>
                  <a:lnTo>
                    <a:pt x="11" y="0"/>
                  </a:lnTo>
                  <a:lnTo>
                    <a:pt x="46" y="14"/>
                  </a:lnTo>
                  <a:lnTo>
                    <a:pt x="83" y="41"/>
                  </a:lnTo>
                  <a:lnTo>
                    <a:pt x="125" y="41"/>
                  </a:lnTo>
                  <a:lnTo>
                    <a:pt x="145" y="61"/>
                  </a:lnTo>
                  <a:lnTo>
                    <a:pt x="149" y="113"/>
                  </a:lnTo>
                  <a:lnTo>
                    <a:pt x="103" y="172"/>
                  </a:lnTo>
                  <a:lnTo>
                    <a:pt x="49" y="218"/>
                  </a:lnTo>
                  <a:lnTo>
                    <a:pt x="35" y="182"/>
                  </a:lnTo>
                  <a:lnTo>
                    <a:pt x="111" y="100"/>
                  </a:lnTo>
                  <a:lnTo>
                    <a:pt x="101" y="7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93" name="Freeform 318">
              <a:extLst>
                <a:ext uri="{FF2B5EF4-FFF2-40B4-BE49-F238E27FC236}">
                  <a16:creationId xmlns:a16="http://schemas.microsoft.com/office/drawing/2014/main" id="{9C2FD4B0-51A8-50A8-DA3C-9D5E16A82C3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615246" y="3598702"/>
              <a:ext cx="7461" cy="4573"/>
            </a:xfrm>
            <a:custGeom>
              <a:avLst/>
              <a:gdLst>
                <a:gd name="T0" fmla="*/ 0 w 118"/>
                <a:gd name="T1" fmla="*/ 0 h 34"/>
                <a:gd name="T2" fmla="*/ 0 w 118"/>
                <a:gd name="T3" fmla="*/ 0 h 34"/>
                <a:gd name="T4" fmla="*/ 0 w 118"/>
                <a:gd name="T5" fmla="*/ 0 h 34"/>
                <a:gd name="T6" fmla="*/ 0 w 118"/>
                <a:gd name="T7" fmla="*/ 0 h 34"/>
                <a:gd name="T8" fmla="*/ 0 w 118"/>
                <a:gd name="T9" fmla="*/ 0 h 34"/>
                <a:gd name="T10" fmla="*/ 0 w 118"/>
                <a:gd name="T11" fmla="*/ 0 h 34"/>
                <a:gd name="T12" fmla="*/ 0 w 118"/>
                <a:gd name="T13" fmla="*/ 0 h 3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8"/>
                <a:gd name="T22" fmla="*/ 0 h 34"/>
                <a:gd name="T23" fmla="*/ 118 w 118"/>
                <a:gd name="T24" fmla="*/ 34 h 3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8" h="34">
                  <a:moveTo>
                    <a:pt x="118" y="34"/>
                  </a:moveTo>
                  <a:lnTo>
                    <a:pt x="100" y="3"/>
                  </a:lnTo>
                  <a:lnTo>
                    <a:pt x="56" y="0"/>
                  </a:lnTo>
                  <a:lnTo>
                    <a:pt x="0" y="24"/>
                  </a:lnTo>
                  <a:lnTo>
                    <a:pt x="52" y="17"/>
                  </a:lnTo>
                  <a:lnTo>
                    <a:pt x="90" y="34"/>
                  </a:lnTo>
                  <a:lnTo>
                    <a:pt x="118" y="3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94" name="Freeform 319">
              <a:extLst>
                <a:ext uri="{FF2B5EF4-FFF2-40B4-BE49-F238E27FC236}">
                  <a16:creationId xmlns:a16="http://schemas.microsoft.com/office/drawing/2014/main" id="{EA0BE7D1-FC37-A4CD-D74D-F9114BE1E572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633155" y="3610896"/>
              <a:ext cx="17908" cy="12193"/>
            </a:xfrm>
            <a:custGeom>
              <a:avLst/>
              <a:gdLst>
                <a:gd name="T0" fmla="*/ 0 w 248"/>
                <a:gd name="T1" fmla="*/ 0 h 103"/>
                <a:gd name="T2" fmla="*/ 0 w 248"/>
                <a:gd name="T3" fmla="*/ 0 h 103"/>
                <a:gd name="T4" fmla="*/ 0 w 248"/>
                <a:gd name="T5" fmla="*/ 0 h 103"/>
                <a:gd name="T6" fmla="*/ 0 w 248"/>
                <a:gd name="T7" fmla="*/ 0 h 103"/>
                <a:gd name="T8" fmla="*/ 0 w 248"/>
                <a:gd name="T9" fmla="*/ 0 h 103"/>
                <a:gd name="T10" fmla="*/ 0 w 248"/>
                <a:gd name="T11" fmla="*/ 0 h 103"/>
                <a:gd name="T12" fmla="*/ 0 w 248"/>
                <a:gd name="T13" fmla="*/ 0 h 103"/>
                <a:gd name="T14" fmla="*/ 0 w 248"/>
                <a:gd name="T15" fmla="*/ 0 h 103"/>
                <a:gd name="T16" fmla="*/ 0 w 248"/>
                <a:gd name="T17" fmla="*/ 0 h 103"/>
                <a:gd name="T18" fmla="*/ 0 w 248"/>
                <a:gd name="T19" fmla="*/ 0 h 103"/>
                <a:gd name="T20" fmla="*/ 0 w 248"/>
                <a:gd name="T21" fmla="*/ 0 h 103"/>
                <a:gd name="T22" fmla="*/ 0 w 248"/>
                <a:gd name="T23" fmla="*/ 0 h 103"/>
                <a:gd name="T24" fmla="*/ 0 w 248"/>
                <a:gd name="T25" fmla="*/ 0 h 10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48"/>
                <a:gd name="T40" fmla="*/ 0 h 103"/>
                <a:gd name="T41" fmla="*/ 248 w 248"/>
                <a:gd name="T42" fmla="*/ 103 h 10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48" h="103">
                  <a:moveTo>
                    <a:pt x="48" y="19"/>
                  </a:moveTo>
                  <a:lnTo>
                    <a:pt x="86" y="0"/>
                  </a:lnTo>
                  <a:lnTo>
                    <a:pt x="114" y="25"/>
                  </a:lnTo>
                  <a:lnTo>
                    <a:pt x="192" y="61"/>
                  </a:lnTo>
                  <a:lnTo>
                    <a:pt x="241" y="92"/>
                  </a:lnTo>
                  <a:lnTo>
                    <a:pt x="248" y="103"/>
                  </a:lnTo>
                  <a:lnTo>
                    <a:pt x="210" y="98"/>
                  </a:lnTo>
                  <a:lnTo>
                    <a:pt x="148" y="52"/>
                  </a:lnTo>
                  <a:lnTo>
                    <a:pt x="100" y="34"/>
                  </a:lnTo>
                  <a:lnTo>
                    <a:pt x="41" y="73"/>
                  </a:lnTo>
                  <a:lnTo>
                    <a:pt x="0" y="76"/>
                  </a:lnTo>
                  <a:lnTo>
                    <a:pt x="13" y="48"/>
                  </a:lnTo>
                  <a:lnTo>
                    <a:pt x="48" y="1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95" name="Freeform 320">
              <a:extLst>
                <a:ext uri="{FF2B5EF4-FFF2-40B4-BE49-F238E27FC236}">
                  <a16:creationId xmlns:a16="http://schemas.microsoft.com/office/drawing/2014/main" id="{74995F0B-8CF0-E8AE-87BE-FE53B18736A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612262" y="3641380"/>
              <a:ext cx="10446" cy="18291"/>
            </a:xfrm>
            <a:custGeom>
              <a:avLst/>
              <a:gdLst>
                <a:gd name="T0" fmla="*/ 0 w 192"/>
                <a:gd name="T1" fmla="*/ 0 h 146"/>
                <a:gd name="T2" fmla="*/ 0 w 192"/>
                <a:gd name="T3" fmla="*/ 0 h 146"/>
                <a:gd name="T4" fmla="*/ 0 w 192"/>
                <a:gd name="T5" fmla="*/ 0 h 146"/>
                <a:gd name="T6" fmla="*/ 0 w 192"/>
                <a:gd name="T7" fmla="*/ 0 h 146"/>
                <a:gd name="T8" fmla="*/ 0 w 192"/>
                <a:gd name="T9" fmla="*/ 0 h 146"/>
                <a:gd name="T10" fmla="*/ 0 w 192"/>
                <a:gd name="T11" fmla="*/ 0 h 146"/>
                <a:gd name="T12" fmla="*/ 0 w 192"/>
                <a:gd name="T13" fmla="*/ 0 h 146"/>
                <a:gd name="T14" fmla="*/ 0 w 192"/>
                <a:gd name="T15" fmla="*/ 0 h 146"/>
                <a:gd name="T16" fmla="*/ 0 w 192"/>
                <a:gd name="T17" fmla="*/ 0 h 146"/>
                <a:gd name="T18" fmla="*/ 0 w 192"/>
                <a:gd name="T19" fmla="*/ 0 h 14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2"/>
                <a:gd name="T31" fmla="*/ 0 h 146"/>
                <a:gd name="T32" fmla="*/ 192 w 192"/>
                <a:gd name="T33" fmla="*/ 146 h 14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2" h="146">
                  <a:moveTo>
                    <a:pt x="192" y="0"/>
                  </a:moveTo>
                  <a:lnTo>
                    <a:pt x="184" y="0"/>
                  </a:lnTo>
                  <a:lnTo>
                    <a:pt x="184" y="56"/>
                  </a:lnTo>
                  <a:lnTo>
                    <a:pt x="175" y="104"/>
                  </a:lnTo>
                  <a:lnTo>
                    <a:pt x="132" y="132"/>
                  </a:lnTo>
                  <a:lnTo>
                    <a:pt x="0" y="146"/>
                  </a:lnTo>
                  <a:lnTo>
                    <a:pt x="4" y="76"/>
                  </a:lnTo>
                  <a:lnTo>
                    <a:pt x="62" y="49"/>
                  </a:lnTo>
                  <a:lnTo>
                    <a:pt x="114" y="67"/>
                  </a:lnTo>
                  <a:lnTo>
                    <a:pt x="192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96" name="Freeform 321">
              <a:extLst>
                <a:ext uri="{FF2B5EF4-FFF2-40B4-BE49-F238E27FC236}">
                  <a16:creationId xmlns:a16="http://schemas.microsoft.com/office/drawing/2014/main" id="{CD01F70A-A2BC-9A6D-CD07-A45AB60967E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516752" y="3537733"/>
              <a:ext cx="4477" cy="7622"/>
            </a:xfrm>
            <a:custGeom>
              <a:avLst/>
              <a:gdLst>
                <a:gd name="T0" fmla="*/ 0 w 70"/>
                <a:gd name="T1" fmla="*/ 0 h 80"/>
                <a:gd name="T2" fmla="*/ 0 w 70"/>
                <a:gd name="T3" fmla="*/ 0 h 80"/>
                <a:gd name="T4" fmla="*/ 0 w 70"/>
                <a:gd name="T5" fmla="*/ 0 h 80"/>
                <a:gd name="T6" fmla="*/ 0 w 70"/>
                <a:gd name="T7" fmla="*/ 0 h 80"/>
                <a:gd name="T8" fmla="*/ 0 w 70"/>
                <a:gd name="T9" fmla="*/ 0 h 80"/>
                <a:gd name="T10" fmla="*/ 0 w 70"/>
                <a:gd name="T11" fmla="*/ 0 h 8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0"/>
                <a:gd name="T19" fmla="*/ 0 h 80"/>
                <a:gd name="T20" fmla="*/ 70 w 70"/>
                <a:gd name="T21" fmla="*/ 80 h 8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0" h="80">
                  <a:moveTo>
                    <a:pt x="42" y="0"/>
                  </a:moveTo>
                  <a:lnTo>
                    <a:pt x="0" y="55"/>
                  </a:lnTo>
                  <a:lnTo>
                    <a:pt x="4" y="80"/>
                  </a:lnTo>
                  <a:lnTo>
                    <a:pt x="42" y="57"/>
                  </a:lnTo>
                  <a:lnTo>
                    <a:pt x="70" y="9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97" name="Freeform 322">
              <a:extLst>
                <a:ext uri="{FF2B5EF4-FFF2-40B4-BE49-F238E27FC236}">
                  <a16:creationId xmlns:a16="http://schemas.microsoft.com/office/drawing/2014/main" id="{7EB9B275-6A47-A77A-8A44-6C2A440C08F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463028" y="3510297"/>
              <a:ext cx="2985" cy="9145"/>
            </a:xfrm>
            <a:custGeom>
              <a:avLst/>
              <a:gdLst>
                <a:gd name="T0" fmla="*/ 0 w 72"/>
                <a:gd name="T1" fmla="*/ 0 h 93"/>
                <a:gd name="T2" fmla="*/ 0 w 72"/>
                <a:gd name="T3" fmla="*/ 0 h 93"/>
                <a:gd name="T4" fmla="*/ 0 w 72"/>
                <a:gd name="T5" fmla="*/ 0 h 93"/>
                <a:gd name="T6" fmla="*/ 0 w 72"/>
                <a:gd name="T7" fmla="*/ 0 h 93"/>
                <a:gd name="T8" fmla="*/ 0 w 72"/>
                <a:gd name="T9" fmla="*/ 0 h 9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2"/>
                <a:gd name="T16" fmla="*/ 0 h 93"/>
                <a:gd name="T17" fmla="*/ 72 w 72"/>
                <a:gd name="T18" fmla="*/ 93 h 9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2" h="93">
                  <a:moveTo>
                    <a:pt x="72" y="7"/>
                  </a:moveTo>
                  <a:lnTo>
                    <a:pt x="57" y="0"/>
                  </a:lnTo>
                  <a:lnTo>
                    <a:pt x="0" y="79"/>
                  </a:lnTo>
                  <a:lnTo>
                    <a:pt x="7" y="93"/>
                  </a:lnTo>
                  <a:lnTo>
                    <a:pt x="72" y="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98" name="Freeform 323">
              <a:extLst>
                <a:ext uri="{FF2B5EF4-FFF2-40B4-BE49-F238E27FC236}">
                  <a16:creationId xmlns:a16="http://schemas.microsoft.com/office/drawing/2014/main" id="{D62ACC89-D60C-8E1E-DB30-0D1B2789350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458550" y="3522491"/>
              <a:ext cx="4477" cy="4573"/>
            </a:xfrm>
            <a:custGeom>
              <a:avLst/>
              <a:gdLst>
                <a:gd name="T0" fmla="*/ 0 w 56"/>
                <a:gd name="T1" fmla="*/ 0 h 36"/>
                <a:gd name="T2" fmla="*/ 0 w 56"/>
                <a:gd name="T3" fmla="*/ 0 h 36"/>
                <a:gd name="T4" fmla="*/ 0 w 56"/>
                <a:gd name="T5" fmla="*/ 0 h 36"/>
                <a:gd name="T6" fmla="*/ 0 w 56"/>
                <a:gd name="T7" fmla="*/ 0 h 36"/>
                <a:gd name="T8" fmla="*/ 0 w 56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6"/>
                <a:gd name="T16" fmla="*/ 0 h 36"/>
                <a:gd name="T17" fmla="*/ 56 w 56"/>
                <a:gd name="T18" fmla="*/ 36 h 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6" h="36">
                  <a:moveTo>
                    <a:pt x="56" y="0"/>
                  </a:moveTo>
                  <a:lnTo>
                    <a:pt x="0" y="26"/>
                  </a:lnTo>
                  <a:lnTo>
                    <a:pt x="4" y="36"/>
                  </a:lnTo>
                  <a:lnTo>
                    <a:pt x="53" y="18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99" name="Freeform 324">
              <a:extLst>
                <a:ext uri="{FF2B5EF4-FFF2-40B4-BE49-F238E27FC236}">
                  <a16:creationId xmlns:a16="http://schemas.microsoft.com/office/drawing/2014/main" id="{B79B579E-C5B3-6FB1-DA33-B5DF6265087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442135" y="3527064"/>
              <a:ext cx="10446" cy="12193"/>
            </a:xfrm>
            <a:custGeom>
              <a:avLst/>
              <a:gdLst>
                <a:gd name="T0" fmla="*/ 0 w 155"/>
                <a:gd name="T1" fmla="*/ 0 h 70"/>
                <a:gd name="T2" fmla="*/ 0 w 155"/>
                <a:gd name="T3" fmla="*/ 0 h 70"/>
                <a:gd name="T4" fmla="*/ 0 w 155"/>
                <a:gd name="T5" fmla="*/ 0 h 70"/>
                <a:gd name="T6" fmla="*/ 0 w 155"/>
                <a:gd name="T7" fmla="*/ 0 h 70"/>
                <a:gd name="T8" fmla="*/ 0 w 155"/>
                <a:gd name="T9" fmla="*/ 0 h 70"/>
                <a:gd name="T10" fmla="*/ 0 w 155"/>
                <a:gd name="T11" fmla="*/ 0 h 70"/>
                <a:gd name="T12" fmla="*/ 0 w 155"/>
                <a:gd name="T13" fmla="*/ 0 h 70"/>
                <a:gd name="T14" fmla="*/ 0 w 155"/>
                <a:gd name="T15" fmla="*/ 0 h 70"/>
                <a:gd name="T16" fmla="*/ 0 w 155"/>
                <a:gd name="T17" fmla="*/ 0 h 7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5"/>
                <a:gd name="T28" fmla="*/ 0 h 70"/>
                <a:gd name="T29" fmla="*/ 155 w 155"/>
                <a:gd name="T30" fmla="*/ 70 h 7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5" h="70">
                  <a:moveTo>
                    <a:pt x="152" y="40"/>
                  </a:moveTo>
                  <a:lnTo>
                    <a:pt x="109" y="36"/>
                  </a:lnTo>
                  <a:lnTo>
                    <a:pt x="44" y="67"/>
                  </a:lnTo>
                  <a:lnTo>
                    <a:pt x="0" y="70"/>
                  </a:lnTo>
                  <a:lnTo>
                    <a:pt x="9" y="50"/>
                  </a:lnTo>
                  <a:lnTo>
                    <a:pt x="59" y="36"/>
                  </a:lnTo>
                  <a:lnTo>
                    <a:pt x="119" y="0"/>
                  </a:lnTo>
                  <a:lnTo>
                    <a:pt x="155" y="9"/>
                  </a:lnTo>
                  <a:lnTo>
                    <a:pt x="152" y="4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00" name="Freeform 325">
              <a:extLst>
                <a:ext uri="{FF2B5EF4-FFF2-40B4-BE49-F238E27FC236}">
                  <a16:creationId xmlns:a16="http://schemas.microsoft.com/office/drawing/2014/main" id="{F92FAEAD-D07C-A14E-B2E3-27FA6CA5131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513767" y="3773987"/>
              <a:ext cx="40293" cy="30484"/>
            </a:xfrm>
            <a:custGeom>
              <a:avLst/>
              <a:gdLst>
                <a:gd name="T0" fmla="*/ 0 w 642"/>
                <a:gd name="T1" fmla="*/ 0 h 260"/>
                <a:gd name="T2" fmla="*/ 0 w 642"/>
                <a:gd name="T3" fmla="*/ 0 h 260"/>
                <a:gd name="T4" fmla="*/ 0 w 642"/>
                <a:gd name="T5" fmla="*/ 0 h 260"/>
                <a:gd name="T6" fmla="*/ 0 w 642"/>
                <a:gd name="T7" fmla="*/ 0 h 260"/>
                <a:gd name="T8" fmla="*/ 0 w 642"/>
                <a:gd name="T9" fmla="*/ 0 h 260"/>
                <a:gd name="T10" fmla="*/ 0 w 642"/>
                <a:gd name="T11" fmla="*/ 0 h 260"/>
                <a:gd name="T12" fmla="*/ 0 w 642"/>
                <a:gd name="T13" fmla="*/ 0 h 260"/>
                <a:gd name="T14" fmla="*/ 0 w 642"/>
                <a:gd name="T15" fmla="*/ 0 h 260"/>
                <a:gd name="T16" fmla="*/ 0 w 642"/>
                <a:gd name="T17" fmla="*/ 0 h 260"/>
                <a:gd name="T18" fmla="*/ 0 w 642"/>
                <a:gd name="T19" fmla="*/ 0 h 260"/>
                <a:gd name="T20" fmla="*/ 0 w 642"/>
                <a:gd name="T21" fmla="*/ 0 h 260"/>
                <a:gd name="T22" fmla="*/ 0 w 642"/>
                <a:gd name="T23" fmla="*/ 0 h 260"/>
                <a:gd name="T24" fmla="*/ 0 w 642"/>
                <a:gd name="T25" fmla="*/ 0 h 260"/>
                <a:gd name="T26" fmla="*/ 0 w 642"/>
                <a:gd name="T27" fmla="*/ 0 h 260"/>
                <a:gd name="T28" fmla="*/ 0 w 642"/>
                <a:gd name="T29" fmla="*/ 0 h 260"/>
                <a:gd name="T30" fmla="*/ 0 w 642"/>
                <a:gd name="T31" fmla="*/ 0 h 260"/>
                <a:gd name="T32" fmla="*/ 0 w 642"/>
                <a:gd name="T33" fmla="*/ 0 h 260"/>
                <a:gd name="T34" fmla="*/ 0 w 642"/>
                <a:gd name="T35" fmla="*/ 0 h 260"/>
                <a:gd name="T36" fmla="*/ 0 w 642"/>
                <a:gd name="T37" fmla="*/ 0 h 260"/>
                <a:gd name="T38" fmla="*/ 0 w 642"/>
                <a:gd name="T39" fmla="*/ 0 h 260"/>
                <a:gd name="T40" fmla="*/ 0 w 642"/>
                <a:gd name="T41" fmla="*/ 0 h 260"/>
                <a:gd name="T42" fmla="*/ 0 w 642"/>
                <a:gd name="T43" fmla="*/ 0 h 26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642"/>
                <a:gd name="T67" fmla="*/ 0 h 260"/>
                <a:gd name="T68" fmla="*/ 642 w 642"/>
                <a:gd name="T69" fmla="*/ 260 h 26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642" h="260">
                  <a:moveTo>
                    <a:pt x="373" y="31"/>
                  </a:moveTo>
                  <a:lnTo>
                    <a:pt x="397" y="35"/>
                  </a:lnTo>
                  <a:lnTo>
                    <a:pt x="450" y="63"/>
                  </a:lnTo>
                  <a:lnTo>
                    <a:pt x="483" y="101"/>
                  </a:lnTo>
                  <a:lnTo>
                    <a:pt x="600" y="104"/>
                  </a:lnTo>
                  <a:lnTo>
                    <a:pt x="642" y="212"/>
                  </a:lnTo>
                  <a:lnTo>
                    <a:pt x="588" y="222"/>
                  </a:lnTo>
                  <a:lnTo>
                    <a:pt x="504" y="197"/>
                  </a:lnTo>
                  <a:lnTo>
                    <a:pt x="442" y="222"/>
                  </a:lnTo>
                  <a:lnTo>
                    <a:pt x="390" y="222"/>
                  </a:lnTo>
                  <a:lnTo>
                    <a:pt x="369" y="260"/>
                  </a:lnTo>
                  <a:lnTo>
                    <a:pt x="304" y="256"/>
                  </a:lnTo>
                  <a:lnTo>
                    <a:pt x="273" y="228"/>
                  </a:lnTo>
                  <a:lnTo>
                    <a:pt x="194" y="222"/>
                  </a:lnTo>
                  <a:lnTo>
                    <a:pt x="101" y="135"/>
                  </a:lnTo>
                  <a:lnTo>
                    <a:pt x="39" y="115"/>
                  </a:lnTo>
                  <a:lnTo>
                    <a:pt x="0" y="73"/>
                  </a:lnTo>
                  <a:lnTo>
                    <a:pt x="10" y="44"/>
                  </a:lnTo>
                  <a:lnTo>
                    <a:pt x="138" y="0"/>
                  </a:lnTo>
                  <a:lnTo>
                    <a:pt x="194" y="4"/>
                  </a:lnTo>
                  <a:lnTo>
                    <a:pt x="279" y="21"/>
                  </a:lnTo>
                  <a:lnTo>
                    <a:pt x="373" y="3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01" name="Freeform 326">
              <a:extLst>
                <a:ext uri="{FF2B5EF4-FFF2-40B4-BE49-F238E27FC236}">
                  <a16:creationId xmlns:a16="http://schemas.microsoft.com/office/drawing/2014/main" id="{BCA9D672-FAB0-70BA-DB47-5F9FA0979C5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622708" y="3670340"/>
              <a:ext cx="64171" cy="96025"/>
            </a:xfrm>
            <a:custGeom>
              <a:avLst/>
              <a:gdLst>
                <a:gd name="T0" fmla="*/ 0 w 1080"/>
                <a:gd name="T1" fmla="*/ 0 h 745"/>
                <a:gd name="T2" fmla="*/ 0 w 1080"/>
                <a:gd name="T3" fmla="*/ 0 h 745"/>
                <a:gd name="T4" fmla="*/ 0 w 1080"/>
                <a:gd name="T5" fmla="*/ 0 h 745"/>
                <a:gd name="T6" fmla="*/ 0 w 1080"/>
                <a:gd name="T7" fmla="*/ 0 h 745"/>
                <a:gd name="T8" fmla="*/ 0 w 1080"/>
                <a:gd name="T9" fmla="*/ 0 h 745"/>
                <a:gd name="T10" fmla="*/ 0 w 1080"/>
                <a:gd name="T11" fmla="*/ 0 h 745"/>
                <a:gd name="T12" fmla="*/ 0 w 1080"/>
                <a:gd name="T13" fmla="*/ 0 h 745"/>
                <a:gd name="T14" fmla="*/ 0 w 1080"/>
                <a:gd name="T15" fmla="*/ 0 h 745"/>
                <a:gd name="T16" fmla="*/ 0 w 1080"/>
                <a:gd name="T17" fmla="*/ 0 h 745"/>
                <a:gd name="T18" fmla="*/ 0 w 1080"/>
                <a:gd name="T19" fmla="*/ 0 h 745"/>
                <a:gd name="T20" fmla="*/ 0 w 1080"/>
                <a:gd name="T21" fmla="*/ 0 h 745"/>
                <a:gd name="T22" fmla="*/ 0 w 1080"/>
                <a:gd name="T23" fmla="*/ 0 h 745"/>
                <a:gd name="T24" fmla="*/ 0 w 1080"/>
                <a:gd name="T25" fmla="*/ 0 h 745"/>
                <a:gd name="T26" fmla="*/ 0 w 1080"/>
                <a:gd name="T27" fmla="*/ 0 h 745"/>
                <a:gd name="T28" fmla="*/ 0 w 1080"/>
                <a:gd name="T29" fmla="*/ 0 h 745"/>
                <a:gd name="T30" fmla="*/ 0 w 1080"/>
                <a:gd name="T31" fmla="*/ 0 h 745"/>
                <a:gd name="T32" fmla="*/ 0 w 1080"/>
                <a:gd name="T33" fmla="*/ 0 h 745"/>
                <a:gd name="T34" fmla="*/ 0 w 1080"/>
                <a:gd name="T35" fmla="*/ 0 h 745"/>
                <a:gd name="T36" fmla="*/ 0 w 1080"/>
                <a:gd name="T37" fmla="*/ 0 h 745"/>
                <a:gd name="T38" fmla="*/ 0 w 1080"/>
                <a:gd name="T39" fmla="*/ 0 h 745"/>
                <a:gd name="T40" fmla="*/ 0 w 1080"/>
                <a:gd name="T41" fmla="*/ 0 h 745"/>
                <a:gd name="T42" fmla="*/ 0 w 1080"/>
                <a:gd name="T43" fmla="*/ 0 h 745"/>
                <a:gd name="T44" fmla="*/ 0 w 1080"/>
                <a:gd name="T45" fmla="*/ 0 h 745"/>
                <a:gd name="T46" fmla="*/ 0 w 1080"/>
                <a:gd name="T47" fmla="*/ 0 h 745"/>
                <a:gd name="T48" fmla="*/ 0 w 1080"/>
                <a:gd name="T49" fmla="*/ 0 h 745"/>
                <a:gd name="T50" fmla="*/ 0 w 1080"/>
                <a:gd name="T51" fmla="*/ 0 h 745"/>
                <a:gd name="T52" fmla="*/ 0 w 1080"/>
                <a:gd name="T53" fmla="*/ 0 h 745"/>
                <a:gd name="T54" fmla="*/ 0 w 1080"/>
                <a:gd name="T55" fmla="*/ 0 h 745"/>
                <a:gd name="T56" fmla="*/ 0 w 1080"/>
                <a:gd name="T57" fmla="*/ 0 h 745"/>
                <a:gd name="T58" fmla="*/ 0 w 1080"/>
                <a:gd name="T59" fmla="*/ 0 h 745"/>
                <a:gd name="T60" fmla="*/ 0 w 1080"/>
                <a:gd name="T61" fmla="*/ 0 h 745"/>
                <a:gd name="T62" fmla="*/ 0 w 1080"/>
                <a:gd name="T63" fmla="*/ 0 h 745"/>
                <a:gd name="T64" fmla="*/ 0 w 1080"/>
                <a:gd name="T65" fmla="*/ 0 h 745"/>
                <a:gd name="T66" fmla="*/ 0 w 1080"/>
                <a:gd name="T67" fmla="*/ 0 h 74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080"/>
                <a:gd name="T103" fmla="*/ 0 h 745"/>
                <a:gd name="T104" fmla="*/ 1080 w 1080"/>
                <a:gd name="T105" fmla="*/ 745 h 74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080" h="745">
                  <a:moveTo>
                    <a:pt x="17" y="29"/>
                  </a:moveTo>
                  <a:lnTo>
                    <a:pt x="25" y="17"/>
                  </a:lnTo>
                  <a:lnTo>
                    <a:pt x="51" y="0"/>
                  </a:lnTo>
                  <a:lnTo>
                    <a:pt x="119" y="0"/>
                  </a:lnTo>
                  <a:lnTo>
                    <a:pt x="183" y="9"/>
                  </a:lnTo>
                  <a:lnTo>
                    <a:pt x="338" y="4"/>
                  </a:lnTo>
                  <a:lnTo>
                    <a:pt x="423" y="29"/>
                  </a:lnTo>
                  <a:lnTo>
                    <a:pt x="512" y="76"/>
                  </a:lnTo>
                  <a:lnTo>
                    <a:pt x="589" y="84"/>
                  </a:lnTo>
                  <a:lnTo>
                    <a:pt x="614" y="110"/>
                  </a:lnTo>
                  <a:lnTo>
                    <a:pt x="632" y="169"/>
                  </a:lnTo>
                  <a:lnTo>
                    <a:pt x="643" y="181"/>
                  </a:lnTo>
                  <a:lnTo>
                    <a:pt x="699" y="193"/>
                  </a:lnTo>
                  <a:lnTo>
                    <a:pt x="805" y="193"/>
                  </a:lnTo>
                  <a:lnTo>
                    <a:pt x="822" y="203"/>
                  </a:lnTo>
                  <a:lnTo>
                    <a:pt x="825" y="227"/>
                  </a:lnTo>
                  <a:lnTo>
                    <a:pt x="779" y="244"/>
                  </a:lnTo>
                  <a:lnTo>
                    <a:pt x="728" y="244"/>
                  </a:lnTo>
                  <a:lnTo>
                    <a:pt x="723" y="269"/>
                  </a:lnTo>
                  <a:lnTo>
                    <a:pt x="796" y="294"/>
                  </a:lnTo>
                  <a:lnTo>
                    <a:pt x="944" y="298"/>
                  </a:lnTo>
                  <a:lnTo>
                    <a:pt x="977" y="336"/>
                  </a:lnTo>
                  <a:lnTo>
                    <a:pt x="1038" y="387"/>
                  </a:lnTo>
                  <a:lnTo>
                    <a:pt x="1076" y="404"/>
                  </a:lnTo>
                  <a:lnTo>
                    <a:pt x="1080" y="417"/>
                  </a:lnTo>
                  <a:lnTo>
                    <a:pt x="1080" y="462"/>
                  </a:lnTo>
                  <a:lnTo>
                    <a:pt x="1055" y="509"/>
                  </a:lnTo>
                  <a:lnTo>
                    <a:pt x="1012" y="547"/>
                  </a:lnTo>
                  <a:lnTo>
                    <a:pt x="969" y="547"/>
                  </a:lnTo>
                  <a:lnTo>
                    <a:pt x="940" y="522"/>
                  </a:lnTo>
                  <a:lnTo>
                    <a:pt x="872" y="496"/>
                  </a:lnTo>
                  <a:lnTo>
                    <a:pt x="706" y="483"/>
                  </a:lnTo>
                  <a:lnTo>
                    <a:pt x="589" y="500"/>
                  </a:lnTo>
                  <a:lnTo>
                    <a:pt x="551" y="522"/>
                  </a:lnTo>
                  <a:lnTo>
                    <a:pt x="538" y="547"/>
                  </a:lnTo>
                  <a:lnTo>
                    <a:pt x="525" y="556"/>
                  </a:lnTo>
                  <a:lnTo>
                    <a:pt x="474" y="576"/>
                  </a:lnTo>
                  <a:lnTo>
                    <a:pt x="406" y="589"/>
                  </a:lnTo>
                  <a:lnTo>
                    <a:pt x="369" y="522"/>
                  </a:lnTo>
                  <a:lnTo>
                    <a:pt x="369" y="509"/>
                  </a:lnTo>
                  <a:lnTo>
                    <a:pt x="322" y="504"/>
                  </a:lnTo>
                  <a:lnTo>
                    <a:pt x="292" y="517"/>
                  </a:lnTo>
                  <a:lnTo>
                    <a:pt x="271" y="534"/>
                  </a:lnTo>
                  <a:lnTo>
                    <a:pt x="233" y="584"/>
                  </a:lnTo>
                  <a:lnTo>
                    <a:pt x="191" y="656"/>
                  </a:lnTo>
                  <a:lnTo>
                    <a:pt x="174" y="673"/>
                  </a:lnTo>
                  <a:lnTo>
                    <a:pt x="170" y="690"/>
                  </a:lnTo>
                  <a:lnTo>
                    <a:pt x="110" y="745"/>
                  </a:lnTo>
                  <a:lnTo>
                    <a:pt x="88" y="745"/>
                  </a:lnTo>
                  <a:lnTo>
                    <a:pt x="85" y="733"/>
                  </a:lnTo>
                  <a:lnTo>
                    <a:pt x="46" y="702"/>
                  </a:lnTo>
                  <a:lnTo>
                    <a:pt x="42" y="694"/>
                  </a:lnTo>
                  <a:lnTo>
                    <a:pt x="42" y="640"/>
                  </a:lnTo>
                  <a:lnTo>
                    <a:pt x="25" y="619"/>
                  </a:lnTo>
                  <a:lnTo>
                    <a:pt x="34" y="606"/>
                  </a:lnTo>
                  <a:lnTo>
                    <a:pt x="42" y="531"/>
                  </a:lnTo>
                  <a:lnTo>
                    <a:pt x="34" y="496"/>
                  </a:lnTo>
                  <a:lnTo>
                    <a:pt x="0" y="458"/>
                  </a:lnTo>
                  <a:lnTo>
                    <a:pt x="0" y="434"/>
                  </a:lnTo>
                  <a:lnTo>
                    <a:pt x="8" y="417"/>
                  </a:lnTo>
                  <a:lnTo>
                    <a:pt x="51" y="384"/>
                  </a:lnTo>
                  <a:lnTo>
                    <a:pt x="46" y="290"/>
                  </a:lnTo>
                  <a:lnTo>
                    <a:pt x="68" y="269"/>
                  </a:lnTo>
                  <a:lnTo>
                    <a:pt x="77" y="235"/>
                  </a:lnTo>
                  <a:lnTo>
                    <a:pt x="51" y="206"/>
                  </a:lnTo>
                  <a:lnTo>
                    <a:pt x="59" y="127"/>
                  </a:lnTo>
                  <a:lnTo>
                    <a:pt x="46" y="80"/>
                  </a:lnTo>
                  <a:lnTo>
                    <a:pt x="12" y="38"/>
                  </a:lnTo>
                  <a:lnTo>
                    <a:pt x="17" y="2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02" name="Freeform 327">
              <a:extLst>
                <a:ext uri="{FF2B5EF4-FFF2-40B4-BE49-F238E27FC236}">
                  <a16:creationId xmlns:a16="http://schemas.microsoft.com/office/drawing/2014/main" id="{CB6F4A21-43CD-1705-CEC9-4561221E8C7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815220" y="3726736"/>
              <a:ext cx="2985" cy="4573"/>
            </a:xfrm>
            <a:custGeom>
              <a:avLst/>
              <a:gdLst>
                <a:gd name="T0" fmla="*/ 0 w 56"/>
                <a:gd name="T1" fmla="*/ 0 h 53"/>
                <a:gd name="T2" fmla="*/ 0 w 56"/>
                <a:gd name="T3" fmla="*/ 0 h 53"/>
                <a:gd name="T4" fmla="*/ 0 w 56"/>
                <a:gd name="T5" fmla="*/ 0 h 53"/>
                <a:gd name="T6" fmla="*/ 0 w 56"/>
                <a:gd name="T7" fmla="*/ 0 h 53"/>
                <a:gd name="T8" fmla="*/ 0 w 56"/>
                <a:gd name="T9" fmla="*/ 0 h 53"/>
                <a:gd name="T10" fmla="*/ 0 w 56"/>
                <a:gd name="T11" fmla="*/ 0 h 53"/>
                <a:gd name="T12" fmla="*/ 0 w 56"/>
                <a:gd name="T13" fmla="*/ 0 h 53"/>
                <a:gd name="T14" fmla="*/ 0 w 56"/>
                <a:gd name="T15" fmla="*/ 0 h 5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6"/>
                <a:gd name="T25" fmla="*/ 0 h 53"/>
                <a:gd name="T26" fmla="*/ 56 w 56"/>
                <a:gd name="T27" fmla="*/ 53 h 5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6" h="53">
                  <a:moveTo>
                    <a:pt x="18" y="0"/>
                  </a:moveTo>
                  <a:lnTo>
                    <a:pt x="11" y="4"/>
                  </a:lnTo>
                  <a:lnTo>
                    <a:pt x="0" y="28"/>
                  </a:lnTo>
                  <a:lnTo>
                    <a:pt x="4" y="48"/>
                  </a:lnTo>
                  <a:lnTo>
                    <a:pt x="24" y="53"/>
                  </a:lnTo>
                  <a:lnTo>
                    <a:pt x="52" y="34"/>
                  </a:lnTo>
                  <a:lnTo>
                    <a:pt x="56" y="22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03" name="Freeform 328">
              <a:extLst>
                <a:ext uri="{FF2B5EF4-FFF2-40B4-BE49-F238E27FC236}">
                  <a16:creationId xmlns:a16="http://schemas.microsoft.com/office/drawing/2014/main" id="{780A9D84-2B67-CC59-F846-B5155145196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854021" y="3804471"/>
              <a:ext cx="4477" cy="21339"/>
            </a:xfrm>
            <a:custGeom>
              <a:avLst/>
              <a:gdLst>
                <a:gd name="T0" fmla="*/ 0 w 111"/>
                <a:gd name="T1" fmla="*/ 0 h 152"/>
                <a:gd name="T2" fmla="*/ 0 w 111"/>
                <a:gd name="T3" fmla="*/ 0 h 152"/>
                <a:gd name="T4" fmla="*/ 0 w 111"/>
                <a:gd name="T5" fmla="*/ 0 h 152"/>
                <a:gd name="T6" fmla="*/ 0 w 111"/>
                <a:gd name="T7" fmla="*/ 0 h 152"/>
                <a:gd name="T8" fmla="*/ 0 w 111"/>
                <a:gd name="T9" fmla="*/ 0 h 152"/>
                <a:gd name="T10" fmla="*/ 0 w 111"/>
                <a:gd name="T11" fmla="*/ 0 h 152"/>
                <a:gd name="T12" fmla="*/ 0 w 111"/>
                <a:gd name="T13" fmla="*/ 0 h 152"/>
                <a:gd name="T14" fmla="*/ 0 w 111"/>
                <a:gd name="T15" fmla="*/ 0 h 152"/>
                <a:gd name="T16" fmla="*/ 0 w 111"/>
                <a:gd name="T17" fmla="*/ 0 h 152"/>
                <a:gd name="T18" fmla="*/ 0 w 111"/>
                <a:gd name="T19" fmla="*/ 0 h 15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1"/>
                <a:gd name="T31" fmla="*/ 0 h 152"/>
                <a:gd name="T32" fmla="*/ 111 w 111"/>
                <a:gd name="T33" fmla="*/ 152 h 15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1" h="152">
                  <a:moveTo>
                    <a:pt x="4" y="0"/>
                  </a:moveTo>
                  <a:lnTo>
                    <a:pt x="32" y="7"/>
                  </a:lnTo>
                  <a:lnTo>
                    <a:pt x="66" y="41"/>
                  </a:lnTo>
                  <a:lnTo>
                    <a:pt x="111" y="138"/>
                  </a:lnTo>
                  <a:lnTo>
                    <a:pt x="105" y="145"/>
                  </a:lnTo>
                  <a:lnTo>
                    <a:pt x="66" y="152"/>
                  </a:lnTo>
                  <a:lnTo>
                    <a:pt x="49" y="138"/>
                  </a:lnTo>
                  <a:lnTo>
                    <a:pt x="7" y="47"/>
                  </a:lnTo>
                  <a:lnTo>
                    <a:pt x="0" y="23"/>
                  </a:lnTo>
                  <a:lnTo>
                    <a:pt x="4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04" name="Freeform 329">
              <a:extLst>
                <a:ext uri="{FF2B5EF4-FFF2-40B4-BE49-F238E27FC236}">
                  <a16:creationId xmlns:a16="http://schemas.microsoft.com/office/drawing/2014/main" id="{E067F7CC-7529-0811-7FD4-761452FD242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892822" y="3941651"/>
              <a:ext cx="4477" cy="9145"/>
            </a:xfrm>
            <a:custGeom>
              <a:avLst/>
              <a:gdLst>
                <a:gd name="T0" fmla="*/ 0 w 86"/>
                <a:gd name="T1" fmla="*/ 0 h 63"/>
                <a:gd name="T2" fmla="*/ 0 w 86"/>
                <a:gd name="T3" fmla="*/ 0 h 63"/>
                <a:gd name="T4" fmla="*/ 0 w 86"/>
                <a:gd name="T5" fmla="*/ 0 h 63"/>
                <a:gd name="T6" fmla="*/ 0 w 86"/>
                <a:gd name="T7" fmla="*/ 0 h 63"/>
                <a:gd name="T8" fmla="*/ 0 w 86"/>
                <a:gd name="T9" fmla="*/ 0 h 63"/>
                <a:gd name="T10" fmla="*/ 0 w 86"/>
                <a:gd name="T11" fmla="*/ 0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6"/>
                <a:gd name="T19" fmla="*/ 0 h 63"/>
                <a:gd name="T20" fmla="*/ 86 w 86"/>
                <a:gd name="T21" fmla="*/ 63 h 6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6" h="63">
                  <a:moveTo>
                    <a:pt x="86" y="0"/>
                  </a:moveTo>
                  <a:lnTo>
                    <a:pt x="51" y="11"/>
                  </a:lnTo>
                  <a:lnTo>
                    <a:pt x="0" y="52"/>
                  </a:lnTo>
                  <a:lnTo>
                    <a:pt x="14" y="63"/>
                  </a:lnTo>
                  <a:lnTo>
                    <a:pt x="62" y="31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05" name="Freeform 330">
              <a:extLst>
                <a:ext uri="{FF2B5EF4-FFF2-40B4-BE49-F238E27FC236}">
                  <a16:creationId xmlns:a16="http://schemas.microsoft.com/office/drawing/2014/main" id="{1E23573D-1B1C-88DD-4057-FE55DB9D816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882375" y="3969087"/>
              <a:ext cx="14923" cy="28959"/>
            </a:xfrm>
            <a:custGeom>
              <a:avLst/>
              <a:gdLst>
                <a:gd name="T0" fmla="*/ 0 w 287"/>
                <a:gd name="T1" fmla="*/ 0 h 245"/>
                <a:gd name="T2" fmla="*/ 0 w 287"/>
                <a:gd name="T3" fmla="*/ 0 h 245"/>
                <a:gd name="T4" fmla="*/ 0 w 287"/>
                <a:gd name="T5" fmla="*/ 0 h 245"/>
                <a:gd name="T6" fmla="*/ 0 w 287"/>
                <a:gd name="T7" fmla="*/ 0 h 245"/>
                <a:gd name="T8" fmla="*/ 0 w 287"/>
                <a:gd name="T9" fmla="*/ 0 h 245"/>
                <a:gd name="T10" fmla="*/ 0 w 287"/>
                <a:gd name="T11" fmla="*/ 0 h 245"/>
                <a:gd name="T12" fmla="*/ 0 w 287"/>
                <a:gd name="T13" fmla="*/ 0 h 245"/>
                <a:gd name="T14" fmla="*/ 0 w 287"/>
                <a:gd name="T15" fmla="*/ 0 h 245"/>
                <a:gd name="T16" fmla="*/ 0 w 287"/>
                <a:gd name="T17" fmla="*/ 0 h 245"/>
                <a:gd name="T18" fmla="*/ 0 w 287"/>
                <a:gd name="T19" fmla="*/ 0 h 245"/>
                <a:gd name="T20" fmla="*/ 0 w 287"/>
                <a:gd name="T21" fmla="*/ 0 h 245"/>
                <a:gd name="T22" fmla="*/ 0 w 287"/>
                <a:gd name="T23" fmla="*/ 0 h 245"/>
                <a:gd name="T24" fmla="*/ 0 w 287"/>
                <a:gd name="T25" fmla="*/ 0 h 245"/>
                <a:gd name="T26" fmla="*/ 0 w 287"/>
                <a:gd name="T27" fmla="*/ 0 h 245"/>
                <a:gd name="T28" fmla="*/ 0 w 287"/>
                <a:gd name="T29" fmla="*/ 0 h 245"/>
                <a:gd name="T30" fmla="*/ 0 w 287"/>
                <a:gd name="T31" fmla="*/ 0 h 245"/>
                <a:gd name="T32" fmla="*/ 0 w 287"/>
                <a:gd name="T33" fmla="*/ 0 h 245"/>
                <a:gd name="T34" fmla="*/ 0 w 287"/>
                <a:gd name="T35" fmla="*/ 0 h 245"/>
                <a:gd name="T36" fmla="*/ 0 w 287"/>
                <a:gd name="T37" fmla="*/ 0 h 245"/>
                <a:gd name="T38" fmla="*/ 0 w 287"/>
                <a:gd name="T39" fmla="*/ 0 h 245"/>
                <a:gd name="T40" fmla="*/ 0 w 287"/>
                <a:gd name="T41" fmla="*/ 0 h 245"/>
                <a:gd name="T42" fmla="*/ 0 w 287"/>
                <a:gd name="T43" fmla="*/ 0 h 245"/>
                <a:gd name="T44" fmla="*/ 0 w 287"/>
                <a:gd name="T45" fmla="*/ 0 h 2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87"/>
                <a:gd name="T70" fmla="*/ 0 h 245"/>
                <a:gd name="T71" fmla="*/ 287 w 287"/>
                <a:gd name="T72" fmla="*/ 245 h 245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87" h="245">
                  <a:moveTo>
                    <a:pt x="287" y="26"/>
                  </a:moveTo>
                  <a:lnTo>
                    <a:pt x="267" y="48"/>
                  </a:lnTo>
                  <a:lnTo>
                    <a:pt x="259" y="106"/>
                  </a:lnTo>
                  <a:lnTo>
                    <a:pt x="267" y="144"/>
                  </a:lnTo>
                  <a:lnTo>
                    <a:pt x="276" y="153"/>
                  </a:lnTo>
                  <a:lnTo>
                    <a:pt x="270" y="204"/>
                  </a:lnTo>
                  <a:lnTo>
                    <a:pt x="233" y="232"/>
                  </a:lnTo>
                  <a:lnTo>
                    <a:pt x="173" y="245"/>
                  </a:lnTo>
                  <a:lnTo>
                    <a:pt x="3" y="245"/>
                  </a:lnTo>
                  <a:lnTo>
                    <a:pt x="0" y="232"/>
                  </a:lnTo>
                  <a:lnTo>
                    <a:pt x="102" y="194"/>
                  </a:lnTo>
                  <a:lnTo>
                    <a:pt x="118" y="156"/>
                  </a:lnTo>
                  <a:lnTo>
                    <a:pt x="128" y="85"/>
                  </a:lnTo>
                  <a:lnTo>
                    <a:pt x="123" y="72"/>
                  </a:lnTo>
                  <a:lnTo>
                    <a:pt x="111" y="65"/>
                  </a:lnTo>
                  <a:lnTo>
                    <a:pt x="77" y="60"/>
                  </a:lnTo>
                  <a:lnTo>
                    <a:pt x="72" y="34"/>
                  </a:lnTo>
                  <a:lnTo>
                    <a:pt x="85" y="34"/>
                  </a:lnTo>
                  <a:lnTo>
                    <a:pt x="111" y="23"/>
                  </a:lnTo>
                  <a:lnTo>
                    <a:pt x="207" y="18"/>
                  </a:lnTo>
                  <a:lnTo>
                    <a:pt x="276" y="0"/>
                  </a:lnTo>
                  <a:lnTo>
                    <a:pt x="287" y="0"/>
                  </a:lnTo>
                  <a:lnTo>
                    <a:pt x="287" y="2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06" name="Freeform 331">
              <a:extLst>
                <a:ext uri="{FF2B5EF4-FFF2-40B4-BE49-F238E27FC236}">
                  <a16:creationId xmlns:a16="http://schemas.microsoft.com/office/drawing/2014/main" id="{220115D5-4462-1FDE-BA8C-94B6F427EBD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591369" y="3682535"/>
              <a:ext cx="2985" cy="6097"/>
            </a:xfrm>
            <a:custGeom>
              <a:avLst/>
              <a:gdLst>
                <a:gd name="T0" fmla="*/ 0 w 68"/>
                <a:gd name="T1" fmla="*/ 0 h 42"/>
                <a:gd name="T2" fmla="*/ 0 w 68"/>
                <a:gd name="T3" fmla="*/ 0 h 42"/>
                <a:gd name="T4" fmla="*/ 0 w 68"/>
                <a:gd name="T5" fmla="*/ 0 h 42"/>
                <a:gd name="T6" fmla="*/ 0 w 68"/>
                <a:gd name="T7" fmla="*/ 0 h 42"/>
                <a:gd name="T8" fmla="*/ 0 w 68"/>
                <a:gd name="T9" fmla="*/ 0 h 42"/>
                <a:gd name="T10" fmla="*/ 0 w 68"/>
                <a:gd name="T11" fmla="*/ 0 h 42"/>
                <a:gd name="T12" fmla="*/ 0 w 68"/>
                <a:gd name="T13" fmla="*/ 0 h 42"/>
                <a:gd name="T14" fmla="*/ 0 w 68"/>
                <a:gd name="T15" fmla="*/ 0 h 42"/>
                <a:gd name="T16" fmla="*/ 0 w 68"/>
                <a:gd name="T17" fmla="*/ 0 h 42"/>
                <a:gd name="T18" fmla="*/ 0 w 68"/>
                <a:gd name="T19" fmla="*/ 0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8"/>
                <a:gd name="T31" fmla="*/ 0 h 42"/>
                <a:gd name="T32" fmla="*/ 68 w 68"/>
                <a:gd name="T33" fmla="*/ 42 h 4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8" h="42">
                  <a:moveTo>
                    <a:pt x="26" y="0"/>
                  </a:moveTo>
                  <a:lnTo>
                    <a:pt x="39" y="0"/>
                  </a:lnTo>
                  <a:lnTo>
                    <a:pt x="68" y="20"/>
                  </a:lnTo>
                  <a:lnTo>
                    <a:pt x="63" y="42"/>
                  </a:lnTo>
                  <a:lnTo>
                    <a:pt x="14" y="42"/>
                  </a:lnTo>
                  <a:lnTo>
                    <a:pt x="5" y="34"/>
                  </a:lnTo>
                  <a:lnTo>
                    <a:pt x="0" y="20"/>
                  </a:lnTo>
                  <a:lnTo>
                    <a:pt x="5" y="9"/>
                  </a:lnTo>
                  <a:lnTo>
                    <a:pt x="17" y="9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07" name="Freeform 333">
              <a:extLst>
                <a:ext uri="{FF2B5EF4-FFF2-40B4-BE49-F238E27FC236}">
                  <a16:creationId xmlns:a16="http://schemas.microsoft.com/office/drawing/2014/main" id="{3CEE21F2-729C-1CE5-4377-FB07E788220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597338" y="3725212"/>
              <a:ext cx="7461" cy="12193"/>
            </a:xfrm>
            <a:custGeom>
              <a:avLst/>
              <a:gdLst>
                <a:gd name="T0" fmla="*/ 0 w 147"/>
                <a:gd name="T1" fmla="*/ 0 h 83"/>
                <a:gd name="T2" fmla="*/ 0 w 147"/>
                <a:gd name="T3" fmla="*/ 0 h 83"/>
                <a:gd name="T4" fmla="*/ 0 w 147"/>
                <a:gd name="T5" fmla="*/ 0 h 83"/>
                <a:gd name="T6" fmla="*/ 0 w 147"/>
                <a:gd name="T7" fmla="*/ 0 h 83"/>
                <a:gd name="T8" fmla="*/ 0 w 147"/>
                <a:gd name="T9" fmla="*/ 0 h 83"/>
                <a:gd name="T10" fmla="*/ 0 w 147"/>
                <a:gd name="T11" fmla="*/ 0 h 83"/>
                <a:gd name="T12" fmla="*/ 0 w 147"/>
                <a:gd name="T13" fmla="*/ 0 h 83"/>
                <a:gd name="T14" fmla="*/ 0 w 147"/>
                <a:gd name="T15" fmla="*/ 0 h 8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7"/>
                <a:gd name="T25" fmla="*/ 0 h 83"/>
                <a:gd name="T26" fmla="*/ 147 w 147"/>
                <a:gd name="T27" fmla="*/ 83 h 8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7" h="83">
                  <a:moveTo>
                    <a:pt x="89" y="8"/>
                  </a:moveTo>
                  <a:lnTo>
                    <a:pt x="138" y="32"/>
                  </a:lnTo>
                  <a:lnTo>
                    <a:pt x="147" y="83"/>
                  </a:lnTo>
                  <a:lnTo>
                    <a:pt x="105" y="62"/>
                  </a:lnTo>
                  <a:lnTo>
                    <a:pt x="29" y="56"/>
                  </a:lnTo>
                  <a:lnTo>
                    <a:pt x="0" y="14"/>
                  </a:lnTo>
                  <a:lnTo>
                    <a:pt x="32" y="0"/>
                  </a:lnTo>
                  <a:lnTo>
                    <a:pt x="89" y="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08" name="Freeform 334">
              <a:extLst>
                <a:ext uri="{FF2B5EF4-FFF2-40B4-BE49-F238E27FC236}">
                  <a16:creationId xmlns:a16="http://schemas.microsoft.com/office/drawing/2014/main" id="{D40F0379-3C97-D761-9727-E33E48BD3B2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577937" y="3688631"/>
              <a:ext cx="47755" cy="79259"/>
            </a:xfrm>
            <a:custGeom>
              <a:avLst/>
              <a:gdLst>
                <a:gd name="T0" fmla="*/ 0 w 877"/>
                <a:gd name="T1" fmla="*/ 0 h 627"/>
                <a:gd name="T2" fmla="*/ 0 w 877"/>
                <a:gd name="T3" fmla="*/ 0 h 627"/>
                <a:gd name="T4" fmla="*/ 0 w 877"/>
                <a:gd name="T5" fmla="*/ 0 h 627"/>
                <a:gd name="T6" fmla="*/ 0 w 877"/>
                <a:gd name="T7" fmla="*/ 0 h 627"/>
                <a:gd name="T8" fmla="*/ 0 w 877"/>
                <a:gd name="T9" fmla="*/ 0 h 627"/>
                <a:gd name="T10" fmla="*/ 0 w 877"/>
                <a:gd name="T11" fmla="*/ 0 h 627"/>
                <a:gd name="T12" fmla="*/ 0 w 877"/>
                <a:gd name="T13" fmla="*/ 0 h 627"/>
                <a:gd name="T14" fmla="*/ 0 w 877"/>
                <a:gd name="T15" fmla="*/ 0 h 627"/>
                <a:gd name="T16" fmla="*/ 0 w 877"/>
                <a:gd name="T17" fmla="*/ 0 h 627"/>
                <a:gd name="T18" fmla="*/ 0 w 877"/>
                <a:gd name="T19" fmla="*/ 0 h 627"/>
                <a:gd name="T20" fmla="*/ 0 w 877"/>
                <a:gd name="T21" fmla="*/ 0 h 627"/>
                <a:gd name="T22" fmla="*/ 0 w 877"/>
                <a:gd name="T23" fmla="*/ 0 h 627"/>
                <a:gd name="T24" fmla="*/ 0 w 877"/>
                <a:gd name="T25" fmla="*/ 0 h 627"/>
                <a:gd name="T26" fmla="*/ 0 w 877"/>
                <a:gd name="T27" fmla="*/ 0 h 627"/>
                <a:gd name="T28" fmla="*/ 0 w 877"/>
                <a:gd name="T29" fmla="*/ 0 h 627"/>
                <a:gd name="T30" fmla="*/ 0 w 877"/>
                <a:gd name="T31" fmla="*/ 0 h 627"/>
                <a:gd name="T32" fmla="*/ 0 w 877"/>
                <a:gd name="T33" fmla="*/ 0 h 627"/>
                <a:gd name="T34" fmla="*/ 0 w 877"/>
                <a:gd name="T35" fmla="*/ 0 h 627"/>
                <a:gd name="T36" fmla="*/ 0 w 877"/>
                <a:gd name="T37" fmla="*/ 0 h 627"/>
                <a:gd name="T38" fmla="*/ 0 w 877"/>
                <a:gd name="T39" fmla="*/ 0 h 627"/>
                <a:gd name="T40" fmla="*/ 0 w 877"/>
                <a:gd name="T41" fmla="*/ 0 h 627"/>
                <a:gd name="T42" fmla="*/ 0 w 877"/>
                <a:gd name="T43" fmla="*/ 0 h 627"/>
                <a:gd name="T44" fmla="*/ 0 w 877"/>
                <a:gd name="T45" fmla="*/ 0 h 627"/>
                <a:gd name="T46" fmla="*/ 0 w 877"/>
                <a:gd name="T47" fmla="*/ 0 h 627"/>
                <a:gd name="T48" fmla="*/ 0 w 877"/>
                <a:gd name="T49" fmla="*/ 0 h 627"/>
                <a:gd name="T50" fmla="*/ 0 w 877"/>
                <a:gd name="T51" fmla="*/ 0 h 627"/>
                <a:gd name="T52" fmla="*/ 0 w 877"/>
                <a:gd name="T53" fmla="*/ 0 h 627"/>
                <a:gd name="T54" fmla="*/ 0 w 877"/>
                <a:gd name="T55" fmla="*/ 0 h 627"/>
                <a:gd name="T56" fmla="*/ 0 w 877"/>
                <a:gd name="T57" fmla="*/ 0 h 627"/>
                <a:gd name="T58" fmla="*/ 0 w 877"/>
                <a:gd name="T59" fmla="*/ 0 h 627"/>
                <a:gd name="T60" fmla="*/ 0 w 877"/>
                <a:gd name="T61" fmla="*/ 0 h 627"/>
                <a:gd name="T62" fmla="*/ 0 w 877"/>
                <a:gd name="T63" fmla="*/ 0 h 627"/>
                <a:gd name="T64" fmla="*/ 0 w 877"/>
                <a:gd name="T65" fmla="*/ 0 h 627"/>
                <a:gd name="T66" fmla="*/ 0 w 877"/>
                <a:gd name="T67" fmla="*/ 0 h 627"/>
                <a:gd name="T68" fmla="*/ 0 w 877"/>
                <a:gd name="T69" fmla="*/ 0 h 627"/>
                <a:gd name="T70" fmla="*/ 0 w 877"/>
                <a:gd name="T71" fmla="*/ 0 h 627"/>
                <a:gd name="T72" fmla="*/ 0 w 877"/>
                <a:gd name="T73" fmla="*/ 0 h 627"/>
                <a:gd name="T74" fmla="*/ 0 w 877"/>
                <a:gd name="T75" fmla="*/ 0 h 627"/>
                <a:gd name="T76" fmla="*/ 0 w 877"/>
                <a:gd name="T77" fmla="*/ 0 h 627"/>
                <a:gd name="T78" fmla="*/ 0 w 877"/>
                <a:gd name="T79" fmla="*/ 0 h 627"/>
                <a:gd name="T80" fmla="*/ 0 w 877"/>
                <a:gd name="T81" fmla="*/ 0 h 627"/>
                <a:gd name="T82" fmla="*/ 0 w 877"/>
                <a:gd name="T83" fmla="*/ 0 h 627"/>
                <a:gd name="T84" fmla="*/ 0 w 877"/>
                <a:gd name="T85" fmla="*/ 0 h 627"/>
                <a:gd name="T86" fmla="*/ 0 w 877"/>
                <a:gd name="T87" fmla="*/ 0 h 627"/>
                <a:gd name="T88" fmla="*/ 0 w 877"/>
                <a:gd name="T89" fmla="*/ 0 h 627"/>
                <a:gd name="T90" fmla="*/ 0 w 877"/>
                <a:gd name="T91" fmla="*/ 0 h 627"/>
                <a:gd name="T92" fmla="*/ 0 w 877"/>
                <a:gd name="T93" fmla="*/ 0 h 627"/>
                <a:gd name="T94" fmla="*/ 0 w 877"/>
                <a:gd name="T95" fmla="*/ 0 h 627"/>
                <a:gd name="T96" fmla="*/ 0 w 877"/>
                <a:gd name="T97" fmla="*/ 0 h 627"/>
                <a:gd name="T98" fmla="*/ 0 w 877"/>
                <a:gd name="T99" fmla="*/ 0 h 627"/>
                <a:gd name="T100" fmla="*/ 0 w 877"/>
                <a:gd name="T101" fmla="*/ 0 h 627"/>
                <a:gd name="T102" fmla="*/ 0 w 877"/>
                <a:gd name="T103" fmla="*/ 0 h 627"/>
                <a:gd name="T104" fmla="*/ 0 w 877"/>
                <a:gd name="T105" fmla="*/ 0 h 627"/>
                <a:gd name="T106" fmla="*/ 0 w 877"/>
                <a:gd name="T107" fmla="*/ 0 h 627"/>
                <a:gd name="T108" fmla="*/ 0 w 877"/>
                <a:gd name="T109" fmla="*/ 0 h 627"/>
                <a:gd name="T110" fmla="*/ 0 w 877"/>
                <a:gd name="T111" fmla="*/ 0 h 627"/>
                <a:gd name="T112" fmla="*/ 0 w 877"/>
                <a:gd name="T113" fmla="*/ 0 h 627"/>
                <a:gd name="T114" fmla="*/ 0 w 877"/>
                <a:gd name="T115" fmla="*/ 0 h 627"/>
                <a:gd name="T116" fmla="*/ 0 w 877"/>
                <a:gd name="T117" fmla="*/ 0 h 627"/>
                <a:gd name="T118" fmla="*/ 0 w 877"/>
                <a:gd name="T119" fmla="*/ 0 h 627"/>
                <a:gd name="T120" fmla="*/ 0 w 877"/>
                <a:gd name="T121" fmla="*/ 0 h 627"/>
                <a:gd name="T122" fmla="*/ 0 w 877"/>
                <a:gd name="T123" fmla="*/ 0 h 627"/>
                <a:gd name="T124" fmla="*/ 0 w 877"/>
                <a:gd name="T125" fmla="*/ 0 h 627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877"/>
                <a:gd name="T190" fmla="*/ 0 h 627"/>
                <a:gd name="T191" fmla="*/ 877 w 877"/>
                <a:gd name="T192" fmla="*/ 627 h 627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877" h="627">
                  <a:moveTo>
                    <a:pt x="826" y="627"/>
                  </a:moveTo>
                  <a:lnTo>
                    <a:pt x="835" y="614"/>
                  </a:lnTo>
                  <a:lnTo>
                    <a:pt x="843" y="539"/>
                  </a:lnTo>
                  <a:lnTo>
                    <a:pt x="835" y="504"/>
                  </a:lnTo>
                  <a:lnTo>
                    <a:pt x="801" y="466"/>
                  </a:lnTo>
                  <a:lnTo>
                    <a:pt x="801" y="442"/>
                  </a:lnTo>
                  <a:lnTo>
                    <a:pt x="809" y="425"/>
                  </a:lnTo>
                  <a:lnTo>
                    <a:pt x="852" y="392"/>
                  </a:lnTo>
                  <a:lnTo>
                    <a:pt x="847" y="298"/>
                  </a:lnTo>
                  <a:lnTo>
                    <a:pt x="868" y="277"/>
                  </a:lnTo>
                  <a:lnTo>
                    <a:pt x="877" y="243"/>
                  </a:lnTo>
                  <a:lnTo>
                    <a:pt x="852" y="214"/>
                  </a:lnTo>
                  <a:lnTo>
                    <a:pt x="860" y="135"/>
                  </a:lnTo>
                  <a:lnTo>
                    <a:pt x="847" y="88"/>
                  </a:lnTo>
                  <a:lnTo>
                    <a:pt x="813" y="46"/>
                  </a:lnTo>
                  <a:lnTo>
                    <a:pt x="818" y="37"/>
                  </a:lnTo>
                  <a:lnTo>
                    <a:pt x="809" y="37"/>
                  </a:lnTo>
                  <a:lnTo>
                    <a:pt x="775" y="63"/>
                  </a:lnTo>
                  <a:lnTo>
                    <a:pt x="639" y="67"/>
                  </a:lnTo>
                  <a:lnTo>
                    <a:pt x="606" y="59"/>
                  </a:lnTo>
                  <a:lnTo>
                    <a:pt x="564" y="29"/>
                  </a:lnTo>
                  <a:lnTo>
                    <a:pt x="513" y="8"/>
                  </a:lnTo>
                  <a:lnTo>
                    <a:pt x="445" y="0"/>
                  </a:lnTo>
                  <a:lnTo>
                    <a:pt x="356" y="17"/>
                  </a:lnTo>
                  <a:lnTo>
                    <a:pt x="317" y="37"/>
                  </a:lnTo>
                  <a:lnTo>
                    <a:pt x="300" y="63"/>
                  </a:lnTo>
                  <a:lnTo>
                    <a:pt x="305" y="101"/>
                  </a:lnTo>
                  <a:lnTo>
                    <a:pt x="326" y="109"/>
                  </a:lnTo>
                  <a:lnTo>
                    <a:pt x="445" y="109"/>
                  </a:lnTo>
                  <a:lnTo>
                    <a:pt x="492" y="135"/>
                  </a:lnTo>
                  <a:lnTo>
                    <a:pt x="504" y="172"/>
                  </a:lnTo>
                  <a:lnTo>
                    <a:pt x="504" y="298"/>
                  </a:lnTo>
                  <a:lnTo>
                    <a:pt x="513" y="327"/>
                  </a:lnTo>
                  <a:lnTo>
                    <a:pt x="584" y="387"/>
                  </a:lnTo>
                  <a:lnTo>
                    <a:pt x="631" y="412"/>
                  </a:lnTo>
                  <a:lnTo>
                    <a:pt x="635" y="442"/>
                  </a:lnTo>
                  <a:lnTo>
                    <a:pt x="618" y="459"/>
                  </a:lnTo>
                  <a:lnTo>
                    <a:pt x="581" y="459"/>
                  </a:lnTo>
                  <a:lnTo>
                    <a:pt x="516" y="476"/>
                  </a:lnTo>
                  <a:lnTo>
                    <a:pt x="377" y="479"/>
                  </a:lnTo>
                  <a:lnTo>
                    <a:pt x="262" y="466"/>
                  </a:lnTo>
                  <a:lnTo>
                    <a:pt x="186" y="445"/>
                  </a:lnTo>
                  <a:lnTo>
                    <a:pt x="8" y="445"/>
                  </a:lnTo>
                  <a:lnTo>
                    <a:pt x="0" y="459"/>
                  </a:lnTo>
                  <a:lnTo>
                    <a:pt x="0" y="491"/>
                  </a:lnTo>
                  <a:lnTo>
                    <a:pt x="42" y="550"/>
                  </a:lnTo>
                  <a:lnTo>
                    <a:pt x="131" y="589"/>
                  </a:lnTo>
                  <a:lnTo>
                    <a:pt x="164" y="623"/>
                  </a:lnTo>
                  <a:lnTo>
                    <a:pt x="186" y="614"/>
                  </a:lnTo>
                  <a:lnTo>
                    <a:pt x="181" y="584"/>
                  </a:lnTo>
                  <a:lnTo>
                    <a:pt x="198" y="567"/>
                  </a:lnTo>
                  <a:lnTo>
                    <a:pt x="224" y="555"/>
                  </a:lnTo>
                  <a:lnTo>
                    <a:pt x="249" y="555"/>
                  </a:lnTo>
                  <a:lnTo>
                    <a:pt x="339" y="559"/>
                  </a:lnTo>
                  <a:lnTo>
                    <a:pt x="504" y="601"/>
                  </a:lnTo>
                  <a:lnTo>
                    <a:pt x="547" y="597"/>
                  </a:lnTo>
                  <a:lnTo>
                    <a:pt x="648" y="567"/>
                  </a:lnTo>
                  <a:lnTo>
                    <a:pt x="690" y="567"/>
                  </a:lnTo>
                  <a:lnTo>
                    <a:pt x="729" y="575"/>
                  </a:lnTo>
                  <a:lnTo>
                    <a:pt x="758" y="592"/>
                  </a:lnTo>
                  <a:lnTo>
                    <a:pt x="787" y="601"/>
                  </a:lnTo>
                  <a:lnTo>
                    <a:pt x="821" y="617"/>
                  </a:lnTo>
                  <a:lnTo>
                    <a:pt x="826" y="62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09" name="Freeform 335">
              <a:extLst>
                <a:ext uri="{FF2B5EF4-FFF2-40B4-BE49-F238E27FC236}">
                  <a16:creationId xmlns:a16="http://schemas.microsoft.com/office/drawing/2014/main" id="{D418DC0E-EFEE-725E-182F-D51817746A62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709264" y="3705397"/>
              <a:ext cx="25370" cy="21339"/>
            </a:xfrm>
            <a:custGeom>
              <a:avLst/>
              <a:gdLst>
                <a:gd name="T0" fmla="*/ 0 w 471"/>
                <a:gd name="T1" fmla="*/ 0 h 180"/>
                <a:gd name="T2" fmla="*/ 0 w 471"/>
                <a:gd name="T3" fmla="*/ 0 h 180"/>
                <a:gd name="T4" fmla="*/ 0 w 471"/>
                <a:gd name="T5" fmla="*/ 0 h 180"/>
                <a:gd name="T6" fmla="*/ 0 w 471"/>
                <a:gd name="T7" fmla="*/ 0 h 180"/>
                <a:gd name="T8" fmla="*/ 0 w 471"/>
                <a:gd name="T9" fmla="*/ 0 h 180"/>
                <a:gd name="T10" fmla="*/ 0 w 471"/>
                <a:gd name="T11" fmla="*/ 0 h 180"/>
                <a:gd name="T12" fmla="*/ 0 w 471"/>
                <a:gd name="T13" fmla="*/ 0 h 180"/>
                <a:gd name="T14" fmla="*/ 0 w 471"/>
                <a:gd name="T15" fmla="*/ 0 h 180"/>
                <a:gd name="T16" fmla="*/ 0 w 471"/>
                <a:gd name="T17" fmla="*/ 0 h 180"/>
                <a:gd name="T18" fmla="*/ 0 w 471"/>
                <a:gd name="T19" fmla="*/ 0 h 180"/>
                <a:gd name="T20" fmla="*/ 0 w 471"/>
                <a:gd name="T21" fmla="*/ 0 h 180"/>
                <a:gd name="T22" fmla="*/ 0 w 471"/>
                <a:gd name="T23" fmla="*/ 0 h 180"/>
                <a:gd name="T24" fmla="*/ 0 w 471"/>
                <a:gd name="T25" fmla="*/ 0 h 180"/>
                <a:gd name="T26" fmla="*/ 0 w 471"/>
                <a:gd name="T27" fmla="*/ 0 h 180"/>
                <a:gd name="T28" fmla="*/ 0 w 471"/>
                <a:gd name="T29" fmla="*/ 0 h 180"/>
                <a:gd name="T30" fmla="*/ 0 w 471"/>
                <a:gd name="T31" fmla="*/ 0 h 180"/>
                <a:gd name="T32" fmla="*/ 0 w 471"/>
                <a:gd name="T33" fmla="*/ 0 h 180"/>
                <a:gd name="T34" fmla="*/ 0 w 471"/>
                <a:gd name="T35" fmla="*/ 0 h 18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71"/>
                <a:gd name="T55" fmla="*/ 0 h 180"/>
                <a:gd name="T56" fmla="*/ 471 w 471"/>
                <a:gd name="T57" fmla="*/ 180 h 18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71" h="180">
                  <a:moveTo>
                    <a:pt x="442" y="20"/>
                  </a:moveTo>
                  <a:lnTo>
                    <a:pt x="462" y="54"/>
                  </a:lnTo>
                  <a:lnTo>
                    <a:pt x="471" y="99"/>
                  </a:lnTo>
                  <a:lnTo>
                    <a:pt x="425" y="141"/>
                  </a:lnTo>
                  <a:lnTo>
                    <a:pt x="393" y="159"/>
                  </a:lnTo>
                  <a:lnTo>
                    <a:pt x="292" y="180"/>
                  </a:lnTo>
                  <a:lnTo>
                    <a:pt x="224" y="180"/>
                  </a:lnTo>
                  <a:lnTo>
                    <a:pt x="156" y="172"/>
                  </a:lnTo>
                  <a:lnTo>
                    <a:pt x="51" y="176"/>
                  </a:lnTo>
                  <a:lnTo>
                    <a:pt x="42" y="172"/>
                  </a:lnTo>
                  <a:lnTo>
                    <a:pt x="30" y="113"/>
                  </a:lnTo>
                  <a:lnTo>
                    <a:pt x="0" y="66"/>
                  </a:lnTo>
                  <a:lnTo>
                    <a:pt x="0" y="23"/>
                  </a:lnTo>
                  <a:lnTo>
                    <a:pt x="30" y="0"/>
                  </a:lnTo>
                  <a:lnTo>
                    <a:pt x="385" y="0"/>
                  </a:lnTo>
                  <a:lnTo>
                    <a:pt x="416" y="3"/>
                  </a:lnTo>
                  <a:lnTo>
                    <a:pt x="437" y="11"/>
                  </a:lnTo>
                  <a:lnTo>
                    <a:pt x="442" y="2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10" name="Freeform 336">
              <a:extLst>
                <a:ext uri="{FF2B5EF4-FFF2-40B4-BE49-F238E27FC236}">
                  <a16:creationId xmlns:a16="http://schemas.microsoft.com/office/drawing/2014/main" id="{71752832-FDC6-3B92-11BD-AD5252BD609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871929" y="3870012"/>
              <a:ext cx="0" cy="7622"/>
            </a:xfrm>
            <a:custGeom>
              <a:avLst/>
              <a:gdLst>
                <a:gd name="T0" fmla="*/ 0 w 14"/>
                <a:gd name="T1" fmla="*/ 0 h 76"/>
                <a:gd name="T2" fmla="*/ 0 w 14"/>
                <a:gd name="T3" fmla="*/ 0 h 76"/>
                <a:gd name="T4" fmla="*/ 0 w 14"/>
                <a:gd name="T5" fmla="*/ 0 h 76"/>
                <a:gd name="T6" fmla="*/ 0 w 14"/>
                <a:gd name="T7" fmla="*/ 0 h 76"/>
                <a:gd name="T8" fmla="*/ 0 w 14"/>
                <a:gd name="T9" fmla="*/ 0 h 7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76"/>
                <a:gd name="T17" fmla="*/ 0 w 14"/>
                <a:gd name="T18" fmla="*/ 76 h 7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76">
                  <a:moveTo>
                    <a:pt x="14" y="0"/>
                  </a:moveTo>
                  <a:lnTo>
                    <a:pt x="0" y="7"/>
                  </a:lnTo>
                  <a:lnTo>
                    <a:pt x="0" y="76"/>
                  </a:lnTo>
                  <a:lnTo>
                    <a:pt x="14" y="59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11" name="Freeform 337">
              <a:extLst>
                <a:ext uri="{FF2B5EF4-FFF2-40B4-BE49-F238E27FC236}">
                  <a16:creationId xmlns:a16="http://schemas.microsoft.com/office/drawing/2014/main" id="{7DB25277-FA6B-BDBF-2FF3-EECB0EE83A3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825666" y="3749600"/>
              <a:ext cx="8954" cy="19815"/>
            </a:xfrm>
            <a:custGeom>
              <a:avLst/>
              <a:gdLst>
                <a:gd name="T0" fmla="*/ 0 w 173"/>
                <a:gd name="T1" fmla="*/ 0 h 163"/>
                <a:gd name="T2" fmla="*/ 0 w 173"/>
                <a:gd name="T3" fmla="*/ 0 h 163"/>
                <a:gd name="T4" fmla="*/ 0 w 173"/>
                <a:gd name="T5" fmla="*/ 0 h 163"/>
                <a:gd name="T6" fmla="*/ 0 w 173"/>
                <a:gd name="T7" fmla="*/ 0 h 163"/>
                <a:gd name="T8" fmla="*/ 0 w 173"/>
                <a:gd name="T9" fmla="*/ 0 h 163"/>
                <a:gd name="T10" fmla="*/ 0 w 173"/>
                <a:gd name="T11" fmla="*/ 0 h 163"/>
                <a:gd name="T12" fmla="*/ 0 w 173"/>
                <a:gd name="T13" fmla="*/ 0 h 163"/>
                <a:gd name="T14" fmla="*/ 0 w 173"/>
                <a:gd name="T15" fmla="*/ 0 h 163"/>
                <a:gd name="T16" fmla="*/ 0 w 173"/>
                <a:gd name="T17" fmla="*/ 0 h 163"/>
                <a:gd name="T18" fmla="*/ 0 w 173"/>
                <a:gd name="T19" fmla="*/ 0 h 163"/>
                <a:gd name="T20" fmla="*/ 0 w 173"/>
                <a:gd name="T21" fmla="*/ 0 h 163"/>
                <a:gd name="T22" fmla="*/ 0 w 173"/>
                <a:gd name="T23" fmla="*/ 0 h 163"/>
                <a:gd name="T24" fmla="*/ 0 w 173"/>
                <a:gd name="T25" fmla="*/ 0 h 163"/>
                <a:gd name="T26" fmla="*/ 0 w 173"/>
                <a:gd name="T27" fmla="*/ 0 h 16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73"/>
                <a:gd name="T43" fmla="*/ 0 h 163"/>
                <a:gd name="T44" fmla="*/ 173 w 173"/>
                <a:gd name="T45" fmla="*/ 163 h 16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73" h="163">
                  <a:moveTo>
                    <a:pt x="122" y="0"/>
                  </a:moveTo>
                  <a:lnTo>
                    <a:pt x="98" y="4"/>
                  </a:lnTo>
                  <a:lnTo>
                    <a:pt x="81" y="52"/>
                  </a:lnTo>
                  <a:lnTo>
                    <a:pt x="17" y="45"/>
                  </a:lnTo>
                  <a:lnTo>
                    <a:pt x="0" y="104"/>
                  </a:lnTo>
                  <a:lnTo>
                    <a:pt x="8" y="160"/>
                  </a:lnTo>
                  <a:lnTo>
                    <a:pt x="53" y="163"/>
                  </a:lnTo>
                  <a:lnTo>
                    <a:pt x="70" y="104"/>
                  </a:lnTo>
                  <a:lnTo>
                    <a:pt x="83" y="93"/>
                  </a:lnTo>
                  <a:lnTo>
                    <a:pt x="132" y="91"/>
                  </a:lnTo>
                  <a:lnTo>
                    <a:pt x="173" y="74"/>
                  </a:lnTo>
                  <a:lnTo>
                    <a:pt x="166" y="52"/>
                  </a:lnTo>
                  <a:lnTo>
                    <a:pt x="135" y="38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12" name="Freeform 338">
              <a:extLst>
                <a:ext uri="{FF2B5EF4-FFF2-40B4-BE49-F238E27FC236}">
                  <a16:creationId xmlns:a16="http://schemas.microsoft.com/office/drawing/2014/main" id="{021B3F1E-34CD-59FD-2684-C34417B0483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749557" y="3699301"/>
              <a:ext cx="0" cy="3049"/>
            </a:xfrm>
            <a:custGeom>
              <a:avLst/>
              <a:gdLst>
                <a:gd name="T0" fmla="*/ 0 w 28"/>
                <a:gd name="T1" fmla="*/ 0 h 39"/>
                <a:gd name="T2" fmla="*/ 0 w 28"/>
                <a:gd name="T3" fmla="*/ 0 h 39"/>
                <a:gd name="T4" fmla="*/ 0 w 28"/>
                <a:gd name="T5" fmla="*/ 0 h 39"/>
                <a:gd name="T6" fmla="*/ 0 w 28"/>
                <a:gd name="T7" fmla="*/ 0 h 39"/>
                <a:gd name="T8" fmla="*/ 0 w 28"/>
                <a:gd name="T9" fmla="*/ 0 h 3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8"/>
                <a:gd name="T16" fmla="*/ 0 h 39"/>
                <a:gd name="T17" fmla="*/ 0 w 28"/>
                <a:gd name="T18" fmla="*/ 39 h 3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8" h="39">
                  <a:moveTo>
                    <a:pt x="28" y="0"/>
                  </a:moveTo>
                  <a:lnTo>
                    <a:pt x="0" y="21"/>
                  </a:lnTo>
                  <a:lnTo>
                    <a:pt x="3" y="39"/>
                  </a:lnTo>
                  <a:lnTo>
                    <a:pt x="28" y="32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13" name="Freeform 339">
              <a:extLst>
                <a:ext uri="{FF2B5EF4-FFF2-40B4-BE49-F238E27FC236}">
                  <a16:creationId xmlns:a16="http://schemas.microsoft.com/office/drawing/2014/main" id="{20F93EF1-09D8-1B56-1035-724C68AF3B3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754034" y="3723688"/>
              <a:ext cx="2985" cy="3049"/>
            </a:xfrm>
            <a:custGeom>
              <a:avLst/>
              <a:gdLst>
                <a:gd name="T0" fmla="*/ 0 w 42"/>
                <a:gd name="T1" fmla="*/ 0 h 34"/>
                <a:gd name="T2" fmla="*/ 0 w 42"/>
                <a:gd name="T3" fmla="*/ 0 h 34"/>
                <a:gd name="T4" fmla="*/ 0 w 42"/>
                <a:gd name="T5" fmla="*/ 0 h 34"/>
                <a:gd name="T6" fmla="*/ 0 w 42"/>
                <a:gd name="T7" fmla="*/ 0 h 34"/>
                <a:gd name="T8" fmla="*/ 0 w 42"/>
                <a:gd name="T9" fmla="*/ 0 h 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2"/>
                <a:gd name="T16" fmla="*/ 0 h 34"/>
                <a:gd name="T17" fmla="*/ 42 w 42"/>
                <a:gd name="T18" fmla="*/ 34 h 3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2" h="34">
                  <a:moveTo>
                    <a:pt x="6" y="8"/>
                  </a:moveTo>
                  <a:lnTo>
                    <a:pt x="0" y="17"/>
                  </a:lnTo>
                  <a:lnTo>
                    <a:pt x="6" y="34"/>
                  </a:lnTo>
                  <a:lnTo>
                    <a:pt x="42" y="0"/>
                  </a:lnTo>
                  <a:lnTo>
                    <a:pt x="6" y="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14" name="Freeform 340">
              <a:extLst>
                <a:ext uri="{FF2B5EF4-FFF2-40B4-BE49-F238E27FC236}">
                  <a16:creationId xmlns:a16="http://schemas.microsoft.com/office/drawing/2014/main" id="{BA2022D9-DE39-10C3-9CE2-16DB26EEAAC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839098" y="3783133"/>
              <a:ext cx="5969" cy="12193"/>
            </a:xfrm>
            <a:custGeom>
              <a:avLst/>
              <a:gdLst>
                <a:gd name="T0" fmla="*/ 0 w 52"/>
                <a:gd name="T1" fmla="*/ 0 h 124"/>
                <a:gd name="T2" fmla="*/ 0 w 52"/>
                <a:gd name="T3" fmla="*/ 0 h 124"/>
                <a:gd name="T4" fmla="*/ 0 w 52"/>
                <a:gd name="T5" fmla="*/ 0 h 124"/>
                <a:gd name="T6" fmla="*/ 0 w 52"/>
                <a:gd name="T7" fmla="*/ 0 h 124"/>
                <a:gd name="T8" fmla="*/ 0 w 52"/>
                <a:gd name="T9" fmla="*/ 0 h 124"/>
                <a:gd name="T10" fmla="*/ 0 w 52"/>
                <a:gd name="T11" fmla="*/ 0 h 124"/>
                <a:gd name="T12" fmla="*/ 0 w 52"/>
                <a:gd name="T13" fmla="*/ 0 h 124"/>
                <a:gd name="T14" fmla="*/ 0 w 52"/>
                <a:gd name="T15" fmla="*/ 0 h 12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2"/>
                <a:gd name="T25" fmla="*/ 0 h 124"/>
                <a:gd name="T26" fmla="*/ 52 w 52"/>
                <a:gd name="T27" fmla="*/ 124 h 12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2" h="124">
                  <a:moveTo>
                    <a:pt x="18" y="0"/>
                  </a:moveTo>
                  <a:lnTo>
                    <a:pt x="0" y="0"/>
                  </a:lnTo>
                  <a:lnTo>
                    <a:pt x="0" y="86"/>
                  </a:lnTo>
                  <a:lnTo>
                    <a:pt x="14" y="124"/>
                  </a:lnTo>
                  <a:lnTo>
                    <a:pt x="42" y="124"/>
                  </a:lnTo>
                  <a:lnTo>
                    <a:pt x="52" y="90"/>
                  </a:lnTo>
                  <a:lnTo>
                    <a:pt x="49" y="2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15" name="Freeform 341">
              <a:extLst>
                <a:ext uri="{FF2B5EF4-FFF2-40B4-BE49-F238E27FC236}">
                  <a16:creationId xmlns:a16="http://schemas.microsoft.com/office/drawing/2014/main" id="{4C0CCB47-ACA5-5095-8B39-BD641D073CE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871929" y="3914216"/>
              <a:ext cx="2985" cy="10669"/>
            </a:xfrm>
            <a:custGeom>
              <a:avLst/>
              <a:gdLst>
                <a:gd name="T0" fmla="*/ 0 w 49"/>
                <a:gd name="T1" fmla="*/ 0 h 62"/>
                <a:gd name="T2" fmla="*/ 0 w 49"/>
                <a:gd name="T3" fmla="*/ 0 h 62"/>
                <a:gd name="T4" fmla="*/ 0 w 49"/>
                <a:gd name="T5" fmla="*/ 0 h 62"/>
                <a:gd name="T6" fmla="*/ 0 w 49"/>
                <a:gd name="T7" fmla="*/ 0 h 62"/>
                <a:gd name="T8" fmla="*/ 0 w 49"/>
                <a:gd name="T9" fmla="*/ 0 h 6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9"/>
                <a:gd name="T16" fmla="*/ 0 h 62"/>
                <a:gd name="T17" fmla="*/ 49 w 49"/>
                <a:gd name="T18" fmla="*/ 62 h 6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9" h="62">
                  <a:moveTo>
                    <a:pt x="49" y="0"/>
                  </a:moveTo>
                  <a:lnTo>
                    <a:pt x="17" y="14"/>
                  </a:lnTo>
                  <a:lnTo>
                    <a:pt x="0" y="62"/>
                  </a:lnTo>
                  <a:lnTo>
                    <a:pt x="38" y="41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16" name="Freeform 342">
              <a:extLst>
                <a:ext uri="{FF2B5EF4-FFF2-40B4-BE49-F238E27FC236}">
                  <a16:creationId xmlns:a16="http://schemas.microsoft.com/office/drawing/2014/main" id="{D3AB7557-9450-1D82-D5BC-71FED6BBA73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358564" y="3603275"/>
              <a:ext cx="198481" cy="138704"/>
            </a:xfrm>
            <a:custGeom>
              <a:avLst/>
              <a:gdLst>
                <a:gd name="T0" fmla="*/ 0 w 3347"/>
                <a:gd name="T1" fmla="*/ 0 h 1123"/>
                <a:gd name="T2" fmla="*/ 0 w 3347"/>
                <a:gd name="T3" fmla="*/ 0 h 1123"/>
                <a:gd name="T4" fmla="*/ 0 w 3347"/>
                <a:gd name="T5" fmla="*/ 0 h 1123"/>
                <a:gd name="T6" fmla="*/ 0 w 3347"/>
                <a:gd name="T7" fmla="*/ 0 h 1123"/>
                <a:gd name="T8" fmla="*/ 0 w 3347"/>
                <a:gd name="T9" fmla="*/ 0 h 1123"/>
                <a:gd name="T10" fmla="*/ 0 w 3347"/>
                <a:gd name="T11" fmla="*/ 0 h 1123"/>
                <a:gd name="T12" fmla="*/ 0 w 3347"/>
                <a:gd name="T13" fmla="*/ 0 h 1123"/>
                <a:gd name="T14" fmla="*/ 0 w 3347"/>
                <a:gd name="T15" fmla="*/ 0 h 1123"/>
                <a:gd name="T16" fmla="*/ 0 w 3347"/>
                <a:gd name="T17" fmla="*/ 0 h 1123"/>
                <a:gd name="T18" fmla="*/ 0 w 3347"/>
                <a:gd name="T19" fmla="*/ 0 h 1123"/>
                <a:gd name="T20" fmla="*/ 0 w 3347"/>
                <a:gd name="T21" fmla="*/ 0 h 1123"/>
                <a:gd name="T22" fmla="*/ 0 w 3347"/>
                <a:gd name="T23" fmla="*/ 0 h 1123"/>
                <a:gd name="T24" fmla="*/ 0 w 3347"/>
                <a:gd name="T25" fmla="*/ 0 h 1123"/>
                <a:gd name="T26" fmla="*/ 0 w 3347"/>
                <a:gd name="T27" fmla="*/ 0 h 1123"/>
                <a:gd name="T28" fmla="*/ 0 w 3347"/>
                <a:gd name="T29" fmla="*/ 0 h 1123"/>
                <a:gd name="T30" fmla="*/ 0 w 3347"/>
                <a:gd name="T31" fmla="*/ 0 h 1123"/>
                <a:gd name="T32" fmla="*/ 0 w 3347"/>
                <a:gd name="T33" fmla="*/ 0 h 1123"/>
                <a:gd name="T34" fmla="*/ 0 w 3347"/>
                <a:gd name="T35" fmla="*/ 0 h 1123"/>
                <a:gd name="T36" fmla="*/ 0 w 3347"/>
                <a:gd name="T37" fmla="*/ 0 h 1123"/>
                <a:gd name="T38" fmla="*/ 0 w 3347"/>
                <a:gd name="T39" fmla="*/ 0 h 1123"/>
                <a:gd name="T40" fmla="*/ 0 w 3347"/>
                <a:gd name="T41" fmla="*/ 0 h 1123"/>
                <a:gd name="T42" fmla="*/ 0 w 3347"/>
                <a:gd name="T43" fmla="*/ 0 h 1123"/>
                <a:gd name="T44" fmla="*/ 0 w 3347"/>
                <a:gd name="T45" fmla="*/ 0 h 1123"/>
                <a:gd name="T46" fmla="*/ 0 w 3347"/>
                <a:gd name="T47" fmla="*/ 0 h 1123"/>
                <a:gd name="T48" fmla="*/ 0 w 3347"/>
                <a:gd name="T49" fmla="*/ 0 h 1123"/>
                <a:gd name="T50" fmla="*/ 0 w 3347"/>
                <a:gd name="T51" fmla="*/ 0 h 1123"/>
                <a:gd name="T52" fmla="*/ 0 w 3347"/>
                <a:gd name="T53" fmla="*/ 0 h 1123"/>
                <a:gd name="T54" fmla="*/ 0 w 3347"/>
                <a:gd name="T55" fmla="*/ 0 h 1123"/>
                <a:gd name="T56" fmla="*/ 0 w 3347"/>
                <a:gd name="T57" fmla="*/ 0 h 1123"/>
                <a:gd name="T58" fmla="*/ 0 w 3347"/>
                <a:gd name="T59" fmla="*/ 0 h 1123"/>
                <a:gd name="T60" fmla="*/ 0 w 3347"/>
                <a:gd name="T61" fmla="*/ 0 h 1123"/>
                <a:gd name="T62" fmla="*/ 0 w 3347"/>
                <a:gd name="T63" fmla="*/ 0 h 1123"/>
                <a:gd name="T64" fmla="*/ 0 w 3347"/>
                <a:gd name="T65" fmla="*/ 0 h 1123"/>
                <a:gd name="T66" fmla="*/ 0 w 3347"/>
                <a:gd name="T67" fmla="*/ 0 h 1123"/>
                <a:gd name="T68" fmla="*/ 0 w 3347"/>
                <a:gd name="T69" fmla="*/ 0 h 1123"/>
                <a:gd name="T70" fmla="*/ 0 w 3347"/>
                <a:gd name="T71" fmla="*/ 0 h 1123"/>
                <a:gd name="T72" fmla="*/ 0 w 3347"/>
                <a:gd name="T73" fmla="*/ 0 h 1123"/>
                <a:gd name="T74" fmla="*/ 0 w 3347"/>
                <a:gd name="T75" fmla="*/ 0 h 1123"/>
                <a:gd name="T76" fmla="*/ 0 w 3347"/>
                <a:gd name="T77" fmla="*/ 0 h 1123"/>
                <a:gd name="T78" fmla="*/ 0 w 3347"/>
                <a:gd name="T79" fmla="*/ 0 h 1123"/>
                <a:gd name="T80" fmla="*/ 0 w 3347"/>
                <a:gd name="T81" fmla="*/ 0 h 1123"/>
                <a:gd name="T82" fmla="*/ 0 w 3347"/>
                <a:gd name="T83" fmla="*/ 0 h 1123"/>
                <a:gd name="T84" fmla="*/ 0 w 3347"/>
                <a:gd name="T85" fmla="*/ 0 h 1123"/>
                <a:gd name="T86" fmla="*/ 0 w 3347"/>
                <a:gd name="T87" fmla="*/ 0 h 1123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347"/>
                <a:gd name="T133" fmla="*/ 0 h 1123"/>
                <a:gd name="T134" fmla="*/ 3347 w 3347"/>
                <a:gd name="T135" fmla="*/ 1123 h 1123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347" h="1123">
                  <a:moveTo>
                    <a:pt x="2394" y="508"/>
                  </a:moveTo>
                  <a:lnTo>
                    <a:pt x="2399" y="517"/>
                  </a:lnTo>
                  <a:lnTo>
                    <a:pt x="2488" y="571"/>
                  </a:lnTo>
                  <a:lnTo>
                    <a:pt x="2559" y="627"/>
                  </a:lnTo>
                  <a:lnTo>
                    <a:pt x="2605" y="644"/>
                  </a:lnTo>
                  <a:lnTo>
                    <a:pt x="2639" y="644"/>
                  </a:lnTo>
                  <a:lnTo>
                    <a:pt x="2665" y="652"/>
                  </a:lnTo>
                  <a:lnTo>
                    <a:pt x="2687" y="669"/>
                  </a:lnTo>
                  <a:lnTo>
                    <a:pt x="2750" y="689"/>
                  </a:lnTo>
                  <a:lnTo>
                    <a:pt x="2793" y="689"/>
                  </a:lnTo>
                  <a:lnTo>
                    <a:pt x="2835" y="680"/>
                  </a:lnTo>
                  <a:lnTo>
                    <a:pt x="2869" y="689"/>
                  </a:lnTo>
                  <a:lnTo>
                    <a:pt x="2886" y="719"/>
                  </a:lnTo>
                  <a:lnTo>
                    <a:pt x="2886" y="744"/>
                  </a:lnTo>
                  <a:lnTo>
                    <a:pt x="2865" y="787"/>
                  </a:lnTo>
                  <a:lnTo>
                    <a:pt x="2865" y="803"/>
                  </a:lnTo>
                  <a:lnTo>
                    <a:pt x="2874" y="811"/>
                  </a:lnTo>
                  <a:lnTo>
                    <a:pt x="2916" y="820"/>
                  </a:lnTo>
                  <a:lnTo>
                    <a:pt x="3094" y="816"/>
                  </a:lnTo>
                  <a:lnTo>
                    <a:pt x="3128" y="828"/>
                  </a:lnTo>
                  <a:lnTo>
                    <a:pt x="3170" y="871"/>
                  </a:lnTo>
                  <a:lnTo>
                    <a:pt x="3182" y="891"/>
                  </a:lnTo>
                  <a:lnTo>
                    <a:pt x="3259" y="947"/>
                  </a:lnTo>
                  <a:lnTo>
                    <a:pt x="3309" y="951"/>
                  </a:lnTo>
                  <a:lnTo>
                    <a:pt x="3343" y="964"/>
                  </a:lnTo>
                  <a:lnTo>
                    <a:pt x="3347" y="1002"/>
                  </a:lnTo>
                  <a:lnTo>
                    <a:pt x="3137" y="1073"/>
                  </a:lnTo>
                  <a:lnTo>
                    <a:pt x="3072" y="1103"/>
                  </a:lnTo>
                  <a:lnTo>
                    <a:pt x="2996" y="1115"/>
                  </a:lnTo>
                  <a:lnTo>
                    <a:pt x="2908" y="1111"/>
                  </a:lnTo>
                  <a:lnTo>
                    <a:pt x="2852" y="1094"/>
                  </a:lnTo>
                  <a:lnTo>
                    <a:pt x="2793" y="1090"/>
                  </a:lnTo>
                  <a:lnTo>
                    <a:pt x="2531" y="1086"/>
                  </a:lnTo>
                  <a:lnTo>
                    <a:pt x="2394" y="1103"/>
                  </a:lnTo>
                  <a:lnTo>
                    <a:pt x="2314" y="1123"/>
                  </a:lnTo>
                  <a:lnTo>
                    <a:pt x="2269" y="1123"/>
                  </a:lnTo>
                  <a:lnTo>
                    <a:pt x="2243" y="1115"/>
                  </a:lnTo>
                  <a:lnTo>
                    <a:pt x="2235" y="1094"/>
                  </a:lnTo>
                  <a:lnTo>
                    <a:pt x="2255" y="1069"/>
                  </a:lnTo>
                  <a:lnTo>
                    <a:pt x="2314" y="1019"/>
                  </a:lnTo>
                  <a:lnTo>
                    <a:pt x="2373" y="985"/>
                  </a:lnTo>
                  <a:lnTo>
                    <a:pt x="2449" y="951"/>
                  </a:lnTo>
                  <a:lnTo>
                    <a:pt x="2457" y="917"/>
                  </a:lnTo>
                  <a:lnTo>
                    <a:pt x="2454" y="900"/>
                  </a:lnTo>
                  <a:lnTo>
                    <a:pt x="2416" y="880"/>
                  </a:lnTo>
                  <a:lnTo>
                    <a:pt x="2319" y="849"/>
                  </a:lnTo>
                  <a:lnTo>
                    <a:pt x="2141" y="837"/>
                  </a:lnTo>
                  <a:lnTo>
                    <a:pt x="2107" y="803"/>
                  </a:lnTo>
                  <a:lnTo>
                    <a:pt x="2056" y="770"/>
                  </a:lnTo>
                  <a:lnTo>
                    <a:pt x="2019" y="727"/>
                  </a:lnTo>
                  <a:lnTo>
                    <a:pt x="1989" y="660"/>
                  </a:lnTo>
                  <a:lnTo>
                    <a:pt x="1977" y="606"/>
                  </a:lnTo>
                  <a:lnTo>
                    <a:pt x="1938" y="560"/>
                  </a:lnTo>
                  <a:lnTo>
                    <a:pt x="1832" y="547"/>
                  </a:lnTo>
                  <a:lnTo>
                    <a:pt x="1734" y="551"/>
                  </a:lnTo>
                  <a:lnTo>
                    <a:pt x="1700" y="547"/>
                  </a:lnTo>
                  <a:lnTo>
                    <a:pt x="1675" y="534"/>
                  </a:lnTo>
                  <a:lnTo>
                    <a:pt x="1564" y="513"/>
                  </a:lnTo>
                  <a:lnTo>
                    <a:pt x="1473" y="472"/>
                  </a:lnTo>
                  <a:lnTo>
                    <a:pt x="1405" y="412"/>
                  </a:lnTo>
                  <a:lnTo>
                    <a:pt x="1354" y="387"/>
                  </a:lnTo>
                  <a:lnTo>
                    <a:pt x="1222" y="383"/>
                  </a:lnTo>
                  <a:lnTo>
                    <a:pt x="1184" y="366"/>
                  </a:lnTo>
                  <a:lnTo>
                    <a:pt x="1159" y="366"/>
                  </a:lnTo>
                  <a:lnTo>
                    <a:pt x="1129" y="378"/>
                  </a:lnTo>
                  <a:lnTo>
                    <a:pt x="1091" y="383"/>
                  </a:lnTo>
                  <a:lnTo>
                    <a:pt x="1049" y="370"/>
                  </a:lnTo>
                  <a:lnTo>
                    <a:pt x="1037" y="358"/>
                  </a:lnTo>
                  <a:lnTo>
                    <a:pt x="955" y="353"/>
                  </a:lnTo>
                  <a:lnTo>
                    <a:pt x="904" y="341"/>
                  </a:lnTo>
                  <a:lnTo>
                    <a:pt x="887" y="327"/>
                  </a:lnTo>
                  <a:lnTo>
                    <a:pt x="870" y="293"/>
                  </a:lnTo>
                  <a:lnTo>
                    <a:pt x="870" y="276"/>
                  </a:lnTo>
                  <a:lnTo>
                    <a:pt x="972" y="251"/>
                  </a:lnTo>
                  <a:lnTo>
                    <a:pt x="990" y="231"/>
                  </a:lnTo>
                  <a:lnTo>
                    <a:pt x="981" y="209"/>
                  </a:lnTo>
                  <a:lnTo>
                    <a:pt x="943" y="201"/>
                  </a:lnTo>
                  <a:lnTo>
                    <a:pt x="929" y="189"/>
                  </a:lnTo>
                  <a:lnTo>
                    <a:pt x="718" y="167"/>
                  </a:lnTo>
                  <a:lnTo>
                    <a:pt x="658" y="172"/>
                  </a:lnTo>
                  <a:lnTo>
                    <a:pt x="604" y="205"/>
                  </a:lnTo>
                  <a:lnTo>
                    <a:pt x="557" y="251"/>
                  </a:lnTo>
                  <a:lnTo>
                    <a:pt x="519" y="302"/>
                  </a:lnTo>
                  <a:lnTo>
                    <a:pt x="451" y="325"/>
                  </a:lnTo>
                  <a:lnTo>
                    <a:pt x="370" y="332"/>
                  </a:lnTo>
                  <a:lnTo>
                    <a:pt x="323" y="349"/>
                  </a:lnTo>
                  <a:lnTo>
                    <a:pt x="281" y="403"/>
                  </a:lnTo>
                  <a:lnTo>
                    <a:pt x="230" y="412"/>
                  </a:lnTo>
                  <a:lnTo>
                    <a:pt x="213" y="420"/>
                  </a:lnTo>
                  <a:lnTo>
                    <a:pt x="129" y="482"/>
                  </a:lnTo>
                  <a:lnTo>
                    <a:pt x="120" y="482"/>
                  </a:lnTo>
                  <a:lnTo>
                    <a:pt x="117" y="466"/>
                  </a:lnTo>
                  <a:lnTo>
                    <a:pt x="99" y="449"/>
                  </a:lnTo>
                  <a:lnTo>
                    <a:pt x="0" y="455"/>
                  </a:lnTo>
                  <a:lnTo>
                    <a:pt x="0" y="441"/>
                  </a:lnTo>
                  <a:lnTo>
                    <a:pt x="78" y="396"/>
                  </a:lnTo>
                  <a:lnTo>
                    <a:pt x="133" y="390"/>
                  </a:lnTo>
                  <a:lnTo>
                    <a:pt x="141" y="383"/>
                  </a:lnTo>
                  <a:lnTo>
                    <a:pt x="147" y="366"/>
                  </a:lnTo>
                  <a:lnTo>
                    <a:pt x="147" y="257"/>
                  </a:lnTo>
                  <a:lnTo>
                    <a:pt x="163" y="226"/>
                  </a:lnTo>
                  <a:lnTo>
                    <a:pt x="238" y="176"/>
                  </a:lnTo>
                  <a:lnTo>
                    <a:pt x="337" y="130"/>
                  </a:lnTo>
                  <a:lnTo>
                    <a:pt x="358" y="125"/>
                  </a:lnTo>
                  <a:lnTo>
                    <a:pt x="454" y="79"/>
                  </a:lnTo>
                  <a:lnTo>
                    <a:pt x="675" y="29"/>
                  </a:lnTo>
                  <a:lnTo>
                    <a:pt x="752" y="3"/>
                  </a:lnTo>
                  <a:lnTo>
                    <a:pt x="1003" y="0"/>
                  </a:lnTo>
                  <a:lnTo>
                    <a:pt x="1112" y="20"/>
                  </a:lnTo>
                  <a:lnTo>
                    <a:pt x="1227" y="25"/>
                  </a:lnTo>
                  <a:lnTo>
                    <a:pt x="1295" y="20"/>
                  </a:lnTo>
                  <a:lnTo>
                    <a:pt x="1336" y="54"/>
                  </a:lnTo>
                  <a:lnTo>
                    <a:pt x="1366" y="67"/>
                  </a:lnTo>
                  <a:lnTo>
                    <a:pt x="1490" y="62"/>
                  </a:lnTo>
                  <a:lnTo>
                    <a:pt x="1524" y="79"/>
                  </a:lnTo>
                  <a:lnTo>
                    <a:pt x="1612" y="150"/>
                  </a:lnTo>
                  <a:lnTo>
                    <a:pt x="1637" y="189"/>
                  </a:lnTo>
                  <a:lnTo>
                    <a:pt x="1700" y="240"/>
                  </a:lnTo>
                  <a:lnTo>
                    <a:pt x="1751" y="257"/>
                  </a:lnTo>
                  <a:lnTo>
                    <a:pt x="1879" y="251"/>
                  </a:lnTo>
                  <a:lnTo>
                    <a:pt x="1913" y="273"/>
                  </a:lnTo>
                  <a:lnTo>
                    <a:pt x="1968" y="273"/>
                  </a:lnTo>
                  <a:lnTo>
                    <a:pt x="1985" y="293"/>
                  </a:lnTo>
                  <a:lnTo>
                    <a:pt x="1968" y="293"/>
                  </a:lnTo>
                  <a:lnTo>
                    <a:pt x="1964" y="311"/>
                  </a:lnTo>
                  <a:lnTo>
                    <a:pt x="1989" y="325"/>
                  </a:lnTo>
                  <a:lnTo>
                    <a:pt x="2056" y="335"/>
                  </a:lnTo>
                  <a:lnTo>
                    <a:pt x="2099" y="358"/>
                  </a:lnTo>
                  <a:lnTo>
                    <a:pt x="2167" y="429"/>
                  </a:lnTo>
                  <a:lnTo>
                    <a:pt x="2269" y="458"/>
                  </a:lnTo>
                  <a:lnTo>
                    <a:pt x="2344" y="496"/>
                  </a:lnTo>
                  <a:lnTo>
                    <a:pt x="2394" y="50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17" name="Freeform 343">
              <a:extLst>
                <a:ext uri="{FF2B5EF4-FFF2-40B4-BE49-F238E27FC236}">
                  <a16:creationId xmlns:a16="http://schemas.microsoft.com/office/drawing/2014/main" id="{612029D8-340F-5446-E36D-D319B7C5155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391395" y="3676437"/>
              <a:ext cx="7461" cy="15242"/>
            </a:xfrm>
            <a:custGeom>
              <a:avLst/>
              <a:gdLst>
                <a:gd name="T0" fmla="*/ 0 w 165"/>
                <a:gd name="T1" fmla="*/ 0 h 156"/>
                <a:gd name="T2" fmla="*/ 0 w 165"/>
                <a:gd name="T3" fmla="*/ 0 h 156"/>
                <a:gd name="T4" fmla="*/ 0 w 165"/>
                <a:gd name="T5" fmla="*/ 0 h 156"/>
                <a:gd name="T6" fmla="*/ 0 w 165"/>
                <a:gd name="T7" fmla="*/ 0 h 156"/>
                <a:gd name="T8" fmla="*/ 0 w 165"/>
                <a:gd name="T9" fmla="*/ 0 h 156"/>
                <a:gd name="T10" fmla="*/ 0 w 165"/>
                <a:gd name="T11" fmla="*/ 0 h 156"/>
                <a:gd name="T12" fmla="*/ 0 w 165"/>
                <a:gd name="T13" fmla="*/ 0 h 156"/>
                <a:gd name="T14" fmla="*/ 0 w 165"/>
                <a:gd name="T15" fmla="*/ 0 h 156"/>
                <a:gd name="T16" fmla="*/ 0 w 165"/>
                <a:gd name="T17" fmla="*/ 0 h 156"/>
                <a:gd name="T18" fmla="*/ 0 w 165"/>
                <a:gd name="T19" fmla="*/ 0 h 156"/>
                <a:gd name="T20" fmla="*/ 0 w 165"/>
                <a:gd name="T21" fmla="*/ 0 h 156"/>
                <a:gd name="T22" fmla="*/ 0 w 165"/>
                <a:gd name="T23" fmla="*/ 0 h 156"/>
                <a:gd name="T24" fmla="*/ 0 w 165"/>
                <a:gd name="T25" fmla="*/ 0 h 156"/>
                <a:gd name="T26" fmla="*/ 0 w 165"/>
                <a:gd name="T27" fmla="*/ 0 h 156"/>
                <a:gd name="T28" fmla="*/ 0 w 165"/>
                <a:gd name="T29" fmla="*/ 0 h 156"/>
                <a:gd name="T30" fmla="*/ 0 w 165"/>
                <a:gd name="T31" fmla="*/ 0 h 156"/>
                <a:gd name="T32" fmla="*/ 0 w 165"/>
                <a:gd name="T33" fmla="*/ 0 h 156"/>
                <a:gd name="T34" fmla="*/ 0 w 165"/>
                <a:gd name="T35" fmla="*/ 0 h 15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65"/>
                <a:gd name="T55" fmla="*/ 0 h 156"/>
                <a:gd name="T56" fmla="*/ 165 w 165"/>
                <a:gd name="T57" fmla="*/ 156 h 15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65" h="156">
                  <a:moveTo>
                    <a:pt x="128" y="5"/>
                  </a:moveTo>
                  <a:lnTo>
                    <a:pt x="136" y="42"/>
                  </a:lnTo>
                  <a:lnTo>
                    <a:pt x="153" y="64"/>
                  </a:lnTo>
                  <a:lnTo>
                    <a:pt x="165" y="128"/>
                  </a:lnTo>
                  <a:lnTo>
                    <a:pt x="77" y="156"/>
                  </a:lnTo>
                  <a:lnTo>
                    <a:pt x="38" y="156"/>
                  </a:lnTo>
                  <a:lnTo>
                    <a:pt x="22" y="144"/>
                  </a:lnTo>
                  <a:lnTo>
                    <a:pt x="8" y="131"/>
                  </a:lnTo>
                  <a:lnTo>
                    <a:pt x="0" y="98"/>
                  </a:lnTo>
                  <a:lnTo>
                    <a:pt x="51" y="123"/>
                  </a:lnTo>
                  <a:lnTo>
                    <a:pt x="63" y="89"/>
                  </a:lnTo>
                  <a:lnTo>
                    <a:pt x="51" y="68"/>
                  </a:lnTo>
                  <a:lnTo>
                    <a:pt x="47" y="42"/>
                  </a:lnTo>
                  <a:lnTo>
                    <a:pt x="51" y="9"/>
                  </a:lnTo>
                  <a:lnTo>
                    <a:pt x="89" y="0"/>
                  </a:lnTo>
                  <a:lnTo>
                    <a:pt x="114" y="5"/>
                  </a:lnTo>
                  <a:lnTo>
                    <a:pt x="128" y="14"/>
                  </a:lnTo>
                  <a:lnTo>
                    <a:pt x="128" y="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18" name="Freeform 344">
              <a:extLst>
                <a:ext uri="{FF2B5EF4-FFF2-40B4-BE49-F238E27FC236}">
                  <a16:creationId xmlns:a16="http://schemas.microsoft.com/office/drawing/2014/main" id="{143462B3-4086-D4AC-C1C4-23D1937682A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463028" y="3620041"/>
              <a:ext cx="17908" cy="25912"/>
            </a:xfrm>
            <a:custGeom>
              <a:avLst/>
              <a:gdLst>
                <a:gd name="T0" fmla="*/ 0 w 317"/>
                <a:gd name="T1" fmla="*/ 0 h 201"/>
                <a:gd name="T2" fmla="*/ 0 w 317"/>
                <a:gd name="T3" fmla="*/ 0 h 201"/>
                <a:gd name="T4" fmla="*/ 0 w 317"/>
                <a:gd name="T5" fmla="*/ 0 h 201"/>
                <a:gd name="T6" fmla="*/ 0 w 317"/>
                <a:gd name="T7" fmla="*/ 0 h 201"/>
                <a:gd name="T8" fmla="*/ 0 w 317"/>
                <a:gd name="T9" fmla="*/ 0 h 201"/>
                <a:gd name="T10" fmla="*/ 0 w 317"/>
                <a:gd name="T11" fmla="*/ 0 h 201"/>
                <a:gd name="T12" fmla="*/ 0 w 317"/>
                <a:gd name="T13" fmla="*/ 0 h 201"/>
                <a:gd name="T14" fmla="*/ 0 w 317"/>
                <a:gd name="T15" fmla="*/ 0 h 201"/>
                <a:gd name="T16" fmla="*/ 0 w 317"/>
                <a:gd name="T17" fmla="*/ 0 h 201"/>
                <a:gd name="T18" fmla="*/ 0 w 317"/>
                <a:gd name="T19" fmla="*/ 0 h 201"/>
                <a:gd name="T20" fmla="*/ 0 w 317"/>
                <a:gd name="T21" fmla="*/ 0 h 201"/>
                <a:gd name="T22" fmla="*/ 0 w 317"/>
                <a:gd name="T23" fmla="*/ 0 h 201"/>
                <a:gd name="T24" fmla="*/ 0 w 317"/>
                <a:gd name="T25" fmla="*/ 0 h 201"/>
                <a:gd name="T26" fmla="*/ 0 w 317"/>
                <a:gd name="T27" fmla="*/ 0 h 201"/>
                <a:gd name="T28" fmla="*/ 0 w 317"/>
                <a:gd name="T29" fmla="*/ 0 h 20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17"/>
                <a:gd name="T46" fmla="*/ 0 h 201"/>
                <a:gd name="T47" fmla="*/ 317 w 317"/>
                <a:gd name="T48" fmla="*/ 201 h 20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17" h="201">
                  <a:moveTo>
                    <a:pt x="211" y="85"/>
                  </a:moveTo>
                  <a:lnTo>
                    <a:pt x="283" y="127"/>
                  </a:lnTo>
                  <a:lnTo>
                    <a:pt x="308" y="156"/>
                  </a:lnTo>
                  <a:lnTo>
                    <a:pt x="317" y="201"/>
                  </a:lnTo>
                  <a:lnTo>
                    <a:pt x="266" y="198"/>
                  </a:lnTo>
                  <a:lnTo>
                    <a:pt x="208" y="156"/>
                  </a:lnTo>
                  <a:lnTo>
                    <a:pt x="169" y="97"/>
                  </a:lnTo>
                  <a:lnTo>
                    <a:pt x="135" y="68"/>
                  </a:lnTo>
                  <a:lnTo>
                    <a:pt x="59" y="59"/>
                  </a:lnTo>
                  <a:lnTo>
                    <a:pt x="38" y="50"/>
                  </a:lnTo>
                  <a:lnTo>
                    <a:pt x="8" y="29"/>
                  </a:lnTo>
                  <a:lnTo>
                    <a:pt x="0" y="17"/>
                  </a:lnTo>
                  <a:lnTo>
                    <a:pt x="0" y="0"/>
                  </a:lnTo>
                  <a:lnTo>
                    <a:pt x="85" y="4"/>
                  </a:lnTo>
                  <a:lnTo>
                    <a:pt x="211" y="8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19" name="Freeform 345">
              <a:extLst>
                <a:ext uri="{FF2B5EF4-FFF2-40B4-BE49-F238E27FC236}">
                  <a16:creationId xmlns:a16="http://schemas.microsoft.com/office/drawing/2014/main" id="{428F9684-476B-03E8-8310-45190D48DBB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797312" y="3723688"/>
              <a:ext cx="0" cy="7622"/>
            </a:xfrm>
            <a:custGeom>
              <a:avLst/>
              <a:gdLst>
                <a:gd name="T0" fmla="*/ 0 w 46"/>
                <a:gd name="T1" fmla="*/ 0 h 47"/>
                <a:gd name="T2" fmla="*/ 0 w 46"/>
                <a:gd name="T3" fmla="*/ 0 h 47"/>
                <a:gd name="T4" fmla="*/ 0 w 46"/>
                <a:gd name="T5" fmla="*/ 0 h 47"/>
                <a:gd name="T6" fmla="*/ 0 w 46"/>
                <a:gd name="T7" fmla="*/ 0 h 47"/>
                <a:gd name="T8" fmla="*/ 0 w 46"/>
                <a:gd name="T9" fmla="*/ 0 h 47"/>
                <a:gd name="T10" fmla="*/ 0 w 46"/>
                <a:gd name="T11" fmla="*/ 0 h 47"/>
                <a:gd name="T12" fmla="*/ 0 w 46"/>
                <a:gd name="T13" fmla="*/ 0 h 4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6"/>
                <a:gd name="T22" fmla="*/ 0 h 47"/>
                <a:gd name="T23" fmla="*/ 0 w 46"/>
                <a:gd name="T24" fmla="*/ 47 h 4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6" h="47">
                  <a:moveTo>
                    <a:pt x="34" y="2"/>
                  </a:moveTo>
                  <a:lnTo>
                    <a:pt x="0" y="0"/>
                  </a:lnTo>
                  <a:lnTo>
                    <a:pt x="11" y="30"/>
                  </a:lnTo>
                  <a:lnTo>
                    <a:pt x="31" y="47"/>
                  </a:lnTo>
                  <a:lnTo>
                    <a:pt x="46" y="42"/>
                  </a:lnTo>
                  <a:lnTo>
                    <a:pt x="46" y="10"/>
                  </a:lnTo>
                  <a:lnTo>
                    <a:pt x="34" y="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20" name="Freeform 346">
              <a:extLst>
                <a:ext uri="{FF2B5EF4-FFF2-40B4-BE49-F238E27FC236}">
                  <a16:creationId xmlns:a16="http://schemas.microsoft.com/office/drawing/2014/main" id="{95267F77-EA3F-0337-D88C-06A2C2216D4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865960" y="3842577"/>
              <a:ext cx="2985" cy="10670"/>
            </a:xfrm>
            <a:custGeom>
              <a:avLst/>
              <a:gdLst>
                <a:gd name="T0" fmla="*/ 0 w 45"/>
                <a:gd name="T1" fmla="*/ 0 h 103"/>
                <a:gd name="T2" fmla="*/ 0 w 45"/>
                <a:gd name="T3" fmla="*/ 0 h 103"/>
                <a:gd name="T4" fmla="*/ 0 w 45"/>
                <a:gd name="T5" fmla="*/ 0 h 103"/>
                <a:gd name="T6" fmla="*/ 0 w 45"/>
                <a:gd name="T7" fmla="*/ 0 h 103"/>
                <a:gd name="T8" fmla="*/ 0 w 45"/>
                <a:gd name="T9" fmla="*/ 0 h 103"/>
                <a:gd name="T10" fmla="*/ 0 w 45"/>
                <a:gd name="T11" fmla="*/ 0 h 103"/>
                <a:gd name="T12" fmla="*/ 0 w 45"/>
                <a:gd name="T13" fmla="*/ 0 h 10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5"/>
                <a:gd name="T22" fmla="*/ 0 h 103"/>
                <a:gd name="T23" fmla="*/ 45 w 45"/>
                <a:gd name="T24" fmla="*/ 103 h 10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5" h="103">
                  <a:moveTo>
                    <a:pt x="25" y="0"/>
                  </a:moveTo>
                  <a:lnTo>
                    <a:pt x="0" y="97"/>
                  </a:lnTo>
                  <a:lnTo>
                    <a:pt x="25" y="103"/>
                  </a:lnTo>
                  <a:lnTo>
                    <a:pt x="45" y="94"/>
                  </a:lnTo>
                  <a:lnTo>
                    <a:pt x="45" y="62"/>
                  </a:lnTo>
                  <a:lnTo>
                    <a:pt x="39" y="20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21" name="Freeform 54">
              <a:extLst>
                <a:ext uri="{FF2B5EF4-FFF2-40B4-BE49-F238E27FC236}">
                  <a16:creationId xmlns:a16="http://schemas.microsoft.com/office/drawing/2014/main" id="{AA32B0FB-FE5F-6EAE-80BA-877968CF1C4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081694" y="4674800"/>
              <a:ext cx="1183428" cy="984645"/>
            </a:xfrm>
            <a:custGeom>
              <a:avLst/>
              <a:gdLst>
                <a:gd name="T0" fmla="*/ 2147483647 w 2217"/>
                <a:gd name="T1" fmla="*/ 2147483647 h 1736"/>
                <a:gd name="T2" fmla="*/ 2147483647 w 2217"/>
                <a:gd name="T3" fmla="*/ 2147483647 h 1736"/>
                <a:gd name="T4" fmla="*/ 2147483647 w 2217"/>
                <a:gd name="T5" fmla="*/ 2147483647 h 1736"/>
                <a:gd name="T6" fmla="*/ 2147483647 w 2217"/>
                <a:gd name="T7" fmla="*/ 2147483647 h 1736"/>
                <a:gd name="T8" fmla="*/ 2147483647 w 2217"/>
                <a:gd name="T9" fmla="*/ 2147483647 h 1736"/>
                <a:gd name="T10" fmla="*/ 2147483647 w 2217"/>
                <a:gd name="T11" fmla="*/ 2147483647 h 1736"/>
                <a:gd name="T12" fmla="*/ 2147483647 w 2217"/>
                <a:gd name="T13" fmla="*/ 2147483647 h 1736"/>
                <a:gd name="T14" fmla="*/ 2147483647 w 2217"/>
                <a:gd name="T15" fmla="*/ 2147483647 h 1736"/>
                <a:gd name="T16" fmla="*/ 2147483647 w 2217"/>
                <a:gd name="T17" fmla="*/ 2147483647 h 1736"/>
                <a:gd name="T18" fmla="*/ 2147483647 w 2217"/>
                <a:gd name="T19" fmla="*/ 2147483647 h 1736"/>
                <a:gd name="T20" fmla="*/ 2147483647 w 2217"/>
                <a:gd name="T21" fmla="*/ 2147483647 h 1736"/>
                <a:gd name="T22" fmla="*/ 2147483647 w 2217"/>
                <a:gd name="T23" fmla="*/ 2147483647 h 1736"/>
                <a:gd name="T24" fmla="*/ 2147483647 w 2217"/>
                <a:gd name="T25" fmla="*/ 2147483647 h 1736"/>
                <a:gd name="T26" fmla="*/ 2147483647 w 2217"/>
                <a:gd name="T27" fmla="*/ 0 h 1736"/>
                <a:gd name="T28" fmla="*/ 2147483647 w 2217"/>
                <a:gd name="T29" fmla="*/ 0 h 1736"/>
                <a:gd name="T30" fmla="*/ 2147483647 w 2217"/>
                <a:gd name="T31" fmla="*/ 0 h 1736"/>
                <a:gd name="T32" fmla="*/ 2147483647 w 2217"/>
                <a:gd name="T33" fmla="*/ 2147483647 h 1736"/>
                <a:gd name="T34" fmla="*/ 2147483647 w 2217"/>
                <a:gd name="T35" fmla="*/ 2147483647 h 1736"/>
                <a:gd name="T36" fmla="*/ 2147483647 w 2217"/>
                <a:gd name="T37" fmla="*/ 2147483647 h 1736"/>
                <a:gd name="T38" fmla="*/ 2147483647 w 2217"/>
                <a:gd name="T39" fmla="*/ 2147483647 h 1736"/>
                <a:gd name="T40" fmla="*/ 2147483647 w 2217"/>
                <a:gd name="T41" fmla="*/ 2147483647 h 1736"/>
                <a:gd name="T42" fmla="*/ 2147483647 w 2217"/>
                <a:gd name="T43" fmla="*/ 2147483647 h 1736"/>
                <a:gd name="T44" fmla="*/ 2147483647 w 2217"/>
                <a:gd name="T45" fmla="*/ 2147483647 h 1736"/>
                <a:gd name="T46" fmla="*/ 2147483647 w 2217"/>
                <a:gd name="T47" fmla="*/ 0 h 1736"/>
                <a:gd name="T48" fmla="*/ 2147483647 w 2217"/>
                <a:gd name="T49" fmla="*/ 0 h 1736"/>
                <a:gd name="T50" fmla="*/ 2147483647 w 2217"/>
                <a:gd name="T51" fmla="*/ 2147483647 h 1736"/>
                <a:gd name="T52" fmla="*/ 2147483647 w 2217"/>
                <a:gd name="T53" fmla="*/ 2147483647 h 1736"/>
                <a:gd name="T54" fmla="*/ 2147483647 w 2217"/>
                <a:gd name="T55" fmla="*/ 2147483647 h 1736"/>
                <a:gd name="T56" fmla="*/ 2147483647 w 2217"/>
                <a:gd name="T57" fmla="*/ 2147483647 h 1736"/>
                <a:gd name="T58" fmla="*/ 2147483647 w 2217"/>
                <a:gd name="T59" fmla="*/ 2147483647 h 1736"/>
                <a:gd name="T60" fmla="*/ 2147483647 w 2217"/>
                <a:gd name="T61" fmla="*/ 2147483647 h 1736"/>
                <a:gd name="T62" fmla="*/ 2147483647 w 2217"/>
                <a:gd name="T63" fmla="*/ 2147483647 h 1736"/>
                <a:gd name="T64" fmla="*/ 2147483647 w 2217"/>
                <a:gd name="T65" fmla="*/ 2147483647 h 1736"/>
                <a:gd name="T66" fmla="*/ 2147483647 w 2217"/>
                <a:gd name="T67" fmla="*/ 2147483647 h 1736"/>
                <a:gd name="T68" fmla="*/ 2147483647 w 2217"/>
                <a:gd name="T69" fmla="*/ 2147483647 h 1736"/>
                <a:gd name="T70" fmla="*/ 2147483647 w 2217"/>
                <a:gd name="T71" fmla="*/ 2147483647 h 1736"/>
                <a:gd name="T72" fmla="*/ 2147483647 w 2217"/>
                <a:gd name="T73" fmla="*/ 2147483647 h 1736"/>
                <a:gd name="T74" fmla="*/ 2147483647 w 2217"/>
                <a:gd name="T75" fmla="*/ 2147483647 h 1736"/>
                <a:gd name="T76" fmla="*/ 2147483647 w 2217"/>
                <a:gd name="T77" fmla="*/ 2147483647 h 1736"/>
                <a:gd name="T78" fmla="*/ 2147483647 w 2217"/>
                <a:gd name="T79" fmla="*/ 2147483647 h 1736"/>
                <a:gd name="T80" fmla="*/ 2147483647 w 2217"/>
                <a:gd name="T81" fmla="*/ 2147483647 h 1736"/>
                <a:gd name="T82" fmla="*/ 2147483647 w 2217"/>
                <a:gd name="T83" fmla="*/ 2147483647 h 1736"/>
                <a:gd name="T84" fmla="*/ 2147483647 w 2217"/>
                <a:gd name="T85" fmla="*/ 2147483647 h 1736"/>
                <a:gd name="T86" fmla="*/ 2147483647 w 2217"/>
                <a:gd name="T87" fmla="*/ 2147483647 h 1736"/>
                <a:gd name="T88" fmla="*/ 2147483647 w 2217"/>
                <a:gd name="T89" fmla="*/ 2147483647 h 1736"/>
                <a:gd name="T90" fmla="*/ 2147483647 w 2217"/>
                <a:gd name="T91" fmla="*/ 2147483647 h 1736"/>
                <a:gd name="T92" fmla="*/ 2147483647 w 2217"/>
                <a:gd name="T93" fmla="*/ 2147483647 h 1736"/>
                <a:gd name="T94" fmla="*/ 2147483647 w 2217"/>
                <a:gd name="T95" fmla="*/ 2147483647 h 1736"/>
                <a:gd name="T96" fmla="*/ 2147483647 w 2217"/>
                <a:gd name="T97" fmla="*/ 2147483647 h 1736"/>
                <a:gd name="T98" fmla="*/ 2147483647 w 2217"/>
                <a:gd name="T99" fmla="*/ 2147483647 h 1736"/>
                <a:gd name="T100" fmla="*/ 2147483647 w 2217"/>
                <a:gd name="T101" fmla="*/ 2147483647 h 1736"/>
                <a:gd name="T102" fmla="*/ 2147483647 w 2217"/>
                <a:gd name="T103" fmla="*/ 2147483647 h 1736"/>
                <a:gd name="T104" fmla="*/ 2147483647 w 2217"/>
                <a:gd name="T105" fmla="*/ 2147483647 h 1736"/>
                <a:gd name="T106" fmla="*/ 2147483647 w 2217"/>
                <a:gd name="T107" fmla="*/ 2147483647 h 1736"/>
                <a:gd name="T108" fmla="*/ 2147483647 w 2217"/>
                <a:gd name="T109" fmla="*/ 2147483647 h 1736"/>
                <a:gd name="T110" fmla="*/ 2147483647 w 2217"/>
                <a:gd name="T111" fmla="*/ 2147483647 h 1736"/>
                <a:gd name="T112" fmla="*/ 2147483647 w 2217"/>
                <a:gd name="T113" fmla="*/ 2147483647 h 1736"/>
                <a:gd name="T114" fmla="*/ 2147483647 w 2217"/>
                <a:gd name="T115" fmla="*/ 2147483647 h 1736"/>
                <a:gd name="T116" fmla="*/ 0 w 2217"/>
                <a:gd name="T117" fmla="*/ 2147483647 h 1736"/>
                <a:gd name="T118" fmla="*/ 0 w 2217"/>
                <a:gd name="T119" fmla="*/ 2147483647 h 1736"/>
                <a:gd name="T120" fmla="*/ 0 w 2217"/>
                <a:gd name="T121" fmla="*/ 2147483647 h 17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217"/>
                <a:gd name="T184" fmla="*/ 0 h 1736"/>
                <a:gd name="T185" fmla="*/ 2217 w 2217"/>
                <a:gd name="T186" fmla="*/ 1736 h 17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217" h="1736">
                  <a:moveTo>
                    <a:pt x="43" y="634"/>
                  </a:moveTo>
                  <a:lnTo>
                    <a:pt x="49" y="629"/>
                  </a:lnTo>
                  <a:lnTo>
                    <a:pt x="48" y="645"/>
                  </a:lnTo>
                  <a:lnTo>
                    <a:pt x="48" y="647"/>
                  </a:lnTo>
                  <a:lnTo>
                    <a:pt x="45" y="651"/>
                  </a:lnTo>
                  <a:lnTo>
                    <a:pt x="44" y="656"/>
                  </a:lnTo>
                  <a:lnTo>
                    <a:pt x="48" y="658"/>
                  </a:lnTo>
                  <a:lnTo>
                    <a:pt x="46" y="666"/>
                  </a:lnTo>
                  <a:lnTo>
                    <a:pt x="45" y="671"/>
                  </a:lnTo>
                  <a:lnTo>
                    <a:pt x="50" y="673"/>
                  </a:lnTo>
                  <a:lnTo>
                    <a:pt x="59" y="666"/>
                  </a:lnTo>
                  <a:lnTo>
                    <a:pt x="62" y="652"/>
                  </a:lnTo>
                  <a:lnTo>
                    <a:pt x="72" y="636"/>
                  </a:lnTo>
                  <a:lnTo>
                    <a:pt x="80" y="633"/>
                  </a:lnTo>
                  <a:lnTo>
                    <a:pt x="87" y="628"/>
                  </a:lnTo>
                  <a:lnTo>
                    <a:pt x="94" y="626"/>
                  </a:lnTo>
                  <a:lnTo>
                    <a:pt x="102" y="620"/>
                  </a:lnTo>
                  <a:lnTo>
                    <a:pt x="120" y="617"/>
                  </a:lnTo>
                  <a:lnTo>
                    <a:pt x="125" y="608"/>
                  </a:lnTo>
                  <a:lnTo>
                    <a:pt x="132" y="601"/>
                  </a:lnTo>
                  <a:lnTo>
                    <a:pt x="140" y="596"/>
                  </a:lnTo>
                  <a:lnTo>
                    <a:pt x="146" y="586"/>
                  </a:lnTo>
                  <a:lnTo>
                    <a:pt x="161" y="580"/>
                  </a:lnTo>
                  <a:lnTo>
                    <a:pt x="167" y="575"/>
                  </a:lnTo>
                  <a:lnTo>
                    <a:pt x="174" y="571"/>
                  </a:lnTo>
                  <a:lnTo>
                    <a:pt x="191" y="559"/>
                  </a:lnTo>
                  <a:lnTo>
                    <a:pt x="195" y="558"/>
                  </a:lnTo>
                  <a:lnTo>
                    <a:pt x="198" y="560"/>
                  </a:lnTo>
                  <a:lnTo>
                    <a:pt x="214" y="561"/>
                  </a:lnTo>
                  <a:lnTo>
                    <a:pt x="222" y="564"/>
                  </a:lnTo>
                  <a:lnTo>
                    <a:pt x="232" y="565"/>
                  </a:lnTo>
                  <a:lnTo>
                    <a:pt x="241" y="564"/>
                  </a:lnTo>
                  <a:lnTo>
                    <a:pt x="249" y="561"/>
                  </a:lnTo>
                  <a:lnTo>
                    <a:pt x="260" y="553"/>
                  </a:lnTo>
                  <a:lnTo>
                    <a:pt x="270" y="547"/>
                  </a:lnTo>
                  <a:lnTo>
                    <a:pt x="280" y="544"/>
                  </a:lnTo>
                  <a:lnTo>
                    <a:pt x="291" y="544"/>
                  </a:lnTo>
                  <a:lnTo>
                    <a:pt x="301" y="542"/>
                  </a:lnTo>
                  <a:lnTo>
                    <a:pt x="322" y="522"/>
                  </a:lnTo>
                  <a:lnTo>
                    <a:pt x="335" y="522"/>
                  </a:lnTo>
                  <a:lnTo>
                    <a:pt x="345" y="527"/>
                  </a:lnTo>
                  <a:lnTo>
                    <a:pt x="357" y="522"/>
                  </a:lnTo>
                  <a:lnTo>
                    <a:pt x="370" y="522"/>
                  </a:lnTo>
                  <a:lnTo>
                    <a:pt x="378" y="520"/>
                  </a:lnTo>
                  <a:lnTo>
                    <a:pt x="388" y="515"/>
                  </a:lnTo>
                  <a:lnTo>
                    <a:pt x="413" y="510"/>
                  </a:lnTo>
                  <a:lnTo>
                    <a:pt x="424" y="504"/>
                  </a:lnTo>
                  <a:lnTo>
                    <a:pt x="432" y="499"/>
                  </a:lnTo>
                  <a:lnTo>
                    <a:pt x="454" y="478"/>
                  </a:lnTo>
                  <a:lnTo>
                    <a:pt x="458" y="470"/>
                  </a:lnTo>
                  <a:lnTo>
                    <a:pt x="459" y="461"/>
                  </a:lnTo>
                  <a:lnTo>
                    <a:pt x="467" y="450"/>
                  </a:lnTo>
                  <a:lnTo>
                    <a:pt x="469" y="445"/>
                  </a:lnTo>
                  <a:lnTo>
                    <a:pt x="469" y="439"/>
                  </a:lnTo>
                  <a:lnTo>
                    <a:pt x="476" y="440"/>
                  </a:lnTo>
                  <a:lnTo>
                    <a:pt x="497" y="418"/>
                  </a:lnTo>
                  <a:lnTo>
                    <a:pt x="500" y="413"/>
                  </a:lnTo>
                  <a:lnTo>
                    <a:pt x="497" y="410"/>
                  </a:lnTo>
                  <a:lnTo>
                    <a:pt x="490" y="381"/>
                  </a:lnTo>
                  <a:lnTo>
                    <a:pt x="491" y="369"/>
                  </a:lnTo>
                  <a:lnTo>
                    <a:pt x="499" y="355"/>
                  </a:lnTo>
                  <a:lnTo>
                    <a:pt x="502" y="353"/>
                  </a:lnTo>
                  <a:lnTo>
                    <a:pt x="508" y="353"/>
                  </a:lnTo>
                  <a:lnTo>
                    <a:pt x="512" y="345"/>
                  </a:lnTo>
                  <a:lnTo>
                    <a:pt x="521" y="338"/>
                  </a:lnTo>
                  <a:lnTo>
                    <a:pt x="524" y="338"/>
                  </a:lnTo>
                  <a:lnTo>
                    <a:pt x="523" y="333"/>
                  </a:lnTo>
                  <a:lnTo>
                    <a:pt x="528" y="322"/>
                  </a:lnTo>
                  <a:lnTo>
                    <a:pt x="530" y="321"/>
                  </a:lnTo>
                  <a:lnTo>
                    <a:pt x="533" y="330"/>
                  </a:lnTo>
                  <a:lnTo>
                    <a:pt x="537" y="337"/>
                  </a:lnTo>
                  <a:lnTo>
                    <a:pt x="543" y="353"/>
                  </a:lnTo>
                  <a:lnTo>
                    <a:pt x="549" y="365"/>
                  </a:lnTo>
                  <a:lnTo>
                    <a:pt x="555" y="372"/>
                  </a:lnTo>
                  <a:lnTo>
                    <a:pt x="560" y="381"/>
                  </a:lnTo>
                  <a:lnTo>
                    <a:pt x="564" y="386"/>
                  </a:lnTo>
                  <a:lnTo>
                    <a:pt x="569" y="375"/>
                  </a:lnTo>
                  <a:lnTo>
                    <a:pt x="569" y="360"/>
                  </a:lnTo>
                  <a:lnTo>
                    <a:pt x="571" y="360"/>
                  </a:lnTo>
                  <a:lnTo>
                    <a:pt x="578" y="359"/>
                  </a:lnTo>
                  <a:lnTo>
                    <a:pt x="576" y="346"/>
                  </a:lnTo>
                  <a:lnTo>
                    <a:pt x="570" y="335"/>
                  </a:lnTo>
                  <a:lnTo>
                    <a:pt x="564" y="330"/>
                  </a:lnTo>
                  <a:lnTo>
                    <a:pt x="566" y="326"/>
                  </a:lnTo>
                  <a:lnTo>
                    <a:pt x="565" y="310"/>
                  </a:lnTo>
                  <a:lnTo>
                    <a:pt x="570" y="305"/>
                  </a:lnTo>
                  <a:lnTo>
                    <a:pt x="580" y="310"/>
                  </a:lnTo>
                  <a:lnTo>
                    <a:pt x="588" y="308"/>
                  </a:lnTo>
                  <a:lnTo>
                    <a:pt x="601" y="324"/>
                  </a:lnTo>
                  <a:lnTo>
                    <a:pt x="618" y="327"/>
                  </a:lnTo>
                  <a:lnTo>
                    <a:pt x="619" y="319"/>
                  </a:lnTo>
                  <a:lnTo>
                    <a:pt x="610" y="316"/>
                  </a:lnTo>
                  <a:lnTo>
                    <a:pt x="613" y="303"/>
                  </a:lnTo>
                  <a:lnTo>
                    <a:pt x="623" y="294"/>
                  </a:lnTo>
                  <a:lnTo>
                    <a:pt x="625" y="287"/>
                  </a:lnTo>
                  <a:lnTo>
                    <a:pt x="620" y="270"/>
                  </a:lnTo>
                  <a:lnTo>
                    <a:pt x="625" y="264"/>
                  </a:lnTo>
                  <a:lnTo>
                    <a:pt x="634" y="262"/>
                  </a:lnTo>
                  <a:lnTo>
                    <a:pt x="645" y="268"/>
                  </a:lnTo>
                  <a:lnTo>
                    <a:pt x="647" y="265"/>
                  </a:lnTo>
                  <a:lnTo>
                    <a:pt x="641" y="253"/>
                  </a:lnTo>
                  <a:lnTo>
                    <a:pt x="642" y="247"/>
                  </a:lnTo>
                  <a:lnTo>
                    <a:pt x="646" y="242"/>
                  </a:lnTo>
                  <a:lnTo>
                    <a:pt x="663" y="248"/>
                  </a:lnTo>
                  <a:lnTo>
                    <a:pt x="663" y="243"/>
                  </a:lnTo>
                  <a:lnTo>
                    <a:pt x="657" y="233"/>
                  </a:lnTo>
                  <a:lnTo>
                    <a:pt x="657" y="221"/>
                  </a:lnTo>
                  <a:lnTo>
                    <a:pt x="666" y="217"/>
                  </a:lnTo>
                  <a:lnTo>
                    <a:pt x="671" y="217"/>
                  </a:lnTo>
                  <a:lnTo>
                    <a:pt x="677" y="215"/>
                  </a:lnTo>
                  <a:lnTo>
                    <a:pt x="687" y="214"/>
                  </a:lnTo>
                  <a:lnTo>
                    <a:pt x="688" y="222"/>
                  </a:lnTo>
                  <a:lnTo>
                    <a:pt x="693" y="220"/>
                  </a:lnTo>
                  <a:lnTo>
                    <a:pt x="700" y="214"/>
                  </a:lnTo>
                  <a:lnTo>
                    <a:pt x="705" y="201"/>
                  </a:lnTo>
                  <a:lnTo>
                    <a:pt x="705" y="197"/>
                  </a:lnTo>
                  <a:lnTo>
                    <a:pt x="699" y="189"/>
                  </a:lnTo>
                  <a:lnTo>
                    <a:pt x="702" y="183"/>
                  </a:lnTo>
                  <a:lnTo>
                    <a:pt x="707" y="189"/>
                  </a:lnTo>
                  <a:lnTo>
                    <a:pt x="709" y="198"/>
                  </a:lnTo>
                  <a:lnTo>
                    <a:pt x="715" y="194"/>
                  </a:lnTo>
                  <a:lnTo>
                    <a:pt x="718" y="188"/>
                  </a:lnTo>
                  <a:lnTo>
                    <a:pt x="721" y="189"/>
                  </a:lnTo>
                  <a:lnTo>
                    <a:pt x="722" y="194"/>
                  </a:lnTo>
                  <a:lnTo>
                    <a:pt x="728" y="193"/>
                  </a:lnTo>
                  <a:lnTo>
                    <a:pt x="739" y="187"/>
                  </a:lnTo>
                  <a:lnTo>
                    <a:pt x="743" y="183"/>
                  </a:lnTo>
                  <a:lnTo>
                    <a:pt x="741" y="176"/>
                  </a:lnTo>
                  <a:lnTo>
                    <a:pt x="749" y="174"/>
                  </a:lnTo>
                  <a:lnTo>
                    <a:pt x="753" y="177"/>
                  </a:lnTo>
                  <a:lnTo>
                    <a:pt x="761" y="181"/>
                  </a:lnTo>
                  <a:lnTo>
                    <a:pt x="770" y="181"/>
                  </a:lnTo>
                  <a:lnTo>
                    <a:pt x="780" y="187"/>
                  </a:lnTo>
                  <a:lnTo>
                    <a:pt x="788" y="193"/>
                  </a:lnTo>
                  <a:lnTo>
                    <a:pt x="804" y="215"/>
                  </a:lnTo>
                  <a:lnTo>
                    <a:pt x="818" y="226"/>
                  </a:lnTo>
                  <a:lnTo>
                    <a:pt x="814" y="242"/>
                  </a:lnTo>
                  <a:lnTo>
                    <a:pt x="814" y="253"/>
                  </a:lnTo>
                  <a:lnTo>
                    <a:pt x="815" y="255"/>
                  </a:lnTo>
                  <a:lnTo>
                    <a:pt x="818" y="257"/>
                  </a:lnTo>
                  <a:lnTo>
                    <a:pt x="819" y="254"/>
                  </a:lnTo>
                  <a:lnTo>
                    <a:pt x="822" y="247"/>
                  </a:lnTo>
                  <a:lnTo>
                    <a:pt x="820" y="243"/>
                  </a:lnTo>
                  <a:lnTo>
                    <a:pt x="825" y="238"/>
                  </a:lnTo>
                  <a:lnTo>
                    <a:pt x="829" y="240"/>
                  </a:lnTo>
                  <a:lnTo>
                    <a:pt x="830" y="237"/>
                  </a:lnTo>
                  <a:lnTo>
                    <a:pt x="836" y="240"/>
                  </a:lnTo>
                  <a:lnTo>
                    <a:pt x="836" y="232"/>
                  </a:lnTo>
                  <a:lnTo>
                    <a:pt x="839" y="231"/>
                  </a:lnTo>
                  <a:lnTo>
                    <a:pt x="849" y="233"/>
                  </a:lnTo>
                  <a:lnTo>
                    <a:pt x="862" y="233"/>
                  </a:lnTo>
                  <a:lnTo>
                    <a:pt x="873" y="232"/>
                  </a:lnTo>
                  <a:lnTo>
                    <a:pt x="881" y="236"/>
                  </a:lnTo>
                  <a:lnTo>
                    <a:pt x="898" y="254"/>
                  </a:lnTo>
                  <a:lnTo>
                    <a:pt x="903" y="253"/>
                  </a:lnTo>
                  <a:lnTo>
                    <a:pt x="903" y="249"/>
                  </a:lnTo>
                  <a:lnTo>
                    <a:pt x="899" y="237"/>
                  </a:lnTo>
                  <a:lnTo>
                    <a:pt x="906" y="233"/>
                  </a:lnTo>
                  <a:lnTo>
                    <a:pt x="908" y="232"/>
                  </a:lnTo>
                  <a:lnTo>
                    <a:pt x="894" y="217"/>
                  </a:lnTo>
                  <a:lnTo>
                    <a:pt x="886" y="205"/>
                  </a:lnTo>
                  <a:lnTo>
                    <a:pt x="890" y="189"/>
                  </a:lnTo>
                  <a:lnTo>
                    <a:pt x="893" y="192"/>
                  </a:lnTo>
                  <a:lnTo>
                    <a:pt x="898" y="189"/>
                  </a:lnTo>
                  <a:lnTo>
                    <a:pt x="909" y="172"/>
                  </a:lnTo>
                  <a:lnTo>
                    <a:pt x="909" y="165"/>
                  </a:lnTo>
                  <a:lnTo>
                    <a:pt x="914" y="158"/>
                  </a:lnTo>
                  <a:lnTo>
                    <a:pt x="921" y="160"/>
                  </a:lnTo>
                  <a:lnTo>
                    <a:pt x="931" y="160"/>
                  </a:lnTo>
                  <a:lnTo>
                    <a:pt x="937" y="154"/>
                  </a:lnTo>
                  <a:lnTo>
                    <a:pt x="936" y="141"/>
                  </a:lnTo>
                  <a:lnTo>
                    <a:pt x="929" y="141"/>
                  </a:lnTo>
                  <a:lnTo>
                    <a:pt x="930" y="135"/>
                  </a:lnTo>
                  <a:lnTo>
                    <a:pt x="931" y="125"/>
                  </a:lnTo>
                  <a:lnTo>
                    <a:pt x="935" y="115"/>
                  </a:lnTo>
                  <a:lnTo>
                    <a:pt x="944" y="113"/>
                  </a:lnTo>
                  <a:lnTo>
                    <a:pt x="953" y="109"/>
                  </a:lnTo>
                  <a:lnTo>
                    <a:pt x="954" y="102"/>
                  </a:lnTo>
                  <a:lnTo>
                    <a:pt x="962" y="103"/>
                  </a:lnTo>
                  <a:lnTo>
                    <a:pt x="969" y="108"/>
                  </a:lnTo>
                  <a:lnTo>
                    <a:pt x="973" y="115"/>
                  </a:lnTo>
                  <a:lnTo>
                    <a:pt x="974" y="108"/>
                  </a:lnTo>
                  <a:lnTo>
                    <a:pt x="968" y="98"/>
                  </a:lnTo>
                  <a:lnTo>
                    <a:pt x="971" y="96"/>
                  </a:lnTo>
                  <a:lnTo>
                    <a:pt x="978" y="88"/>
                  </a:lnTo>
                  <a:lnTo>
                    <a:pt x="991" y="92"/>
                  </a:lnTo>
                  <a:lnTo>
                    <a:pt x="992" y="87"/>
                  </a:lnTo>
                  <a:lnTo>
                    <a:pt x="1003" y="90"/>
                  </a:lnTo>
                  <a:lnTo>
                    <a:pt x="1016" y="88"/>
                  </a:lnTo>
                  <a:lnTo>
                    <a:pt x="1026" y="91"/>
                  </a:lnTo>
                  <a:lnTo>
                    <a:pt x="1034" y="91"/>
                  </a:lnTo>
                  <a:lnTo>
                    <a:pt x="1054" y="85"/>
                  </a:lnTo>
                  <a:lnTo>
                    <a:pt x="1062" y="79"/>
                  </a:lnTo>
                  <a:lnTo>
                    <a:pt x="1062" y="55"/>
                  </a:lnTo>
                  <a:lnTo>
                    <a:pt x="1056" y="49"/>
                  </a:lnTo>
                  <a:lnTo>
                    <a:pt x="1045" y="48"/>
                  </a:lnTo>
                  <a:lnTo>
                    <a:pt x="1038" y="49"/>
                  </a:lnTo>
                  <a:lnTo>
                    <a:pt x="1030" y="44"/>
                  </a:lnTo>
                  <a:lnTo>
                    <a:pt x="1026" y="38"/>
                  </a:lnTo>
                  <a:lnTo>
                    <a:pt x="1017" y="34"/>
                  </a:lnTo>
                  <a:lnTo>
                    <a:pt x="1017" y="33"/>
                  </a:lnTo>
                  <a:lnTo>
                    <a:pt x="1021" y="32"/>
                  </a:lnTo>
                  <a:lnTo>
                    <a:pt x="1024" y="34"/>
                  </a:lnTo>
                  <a:lnTo>
                    <a:pt x="1027" y="29"/>
                  </a:lnTo>
                  <a:lnTo>
                    <a:pt x="1029" y="27"/>
                  </a:lnTo>
                  <a:lnTo>
                    <a:pt x="1032" y="31"/>
                  </a:lnTo>
                  <a:lnTo>
                    <a:pt x="1035" y="45"/>
                  </a:lnTo>
                  <a:lnTo>
                    <a:pt x="1039" y="38"/>
                  </a:lnTo>
                  <a:lnTo>
                    <a:pt x="1039" y="29"/>
                  </a:lnTo>
                  <a:lnTo>
                    <a:pt x="1044" y="29"/>
                  </a:lnTo>
                  <a:lnTo>
                    <a:pt x="1046" y="33"/>
                  </a:lnTo>
                  <a:lnTo>
                    <a:pt x="1051" y="32"/>
                  </a:lnTo>
                  <a:lnTo>
                    <a:pt x="1055" y="38"/>
                  </a:lnTo>
                  <a:lnTo>
                    <a:pt x="1059" y="43"/>
                  </a:lnTo>
                  <a:lnTo>
                    <a:pt x="1067" y="49"/>
                  </a:lnTo>
                  <a:lnTo>
                    <a:pt x="1070" y="42"/>
                  </a:lnTo>
                  <a:lnTo>
                    <a:pt x="1075" y="41"/>
                  </a:lnTo>
                  <a:lnTo>
                    <a:pt x="1080" y="44"/>
                  </a:lnTo>
                  <a:lnTo>
                    <a:pt x="1082" y="50"/>
                  </a:lnTo>
                  <a:lnTo>
                    <a:pt x="1089" y="58"/>
                  </a:lnTo>
                  <a:lnTo>
                    <a:pt x="1104" y="61"/>
                  </a:lnTo>
                  <a:lnTo>
                    <a:pt x="1108" y="61"/>
                  </a:lnTo>
                  <a:lnTo>
                    <a:pt x="1113" y="63"/>
                  </a:lnTo>
                  <a:lnTo>
                    <a:pt x="1116" y="65"/>
                  </a:lnTo>
                  <a:lnTo>
                    <a:pt x="1123" y="60"/>
                  </a:lnTo>
                  <a:lnTo>
                    <a:pt x="1126" y="59"/>
                  </a:lnTo>
                  <a:lnTo>
                    <a:pt x="1126" y="66"/>
                  </a:lnTo>
                  <a:lnTo>
                    <a:pt x="1131" y="69"/>
                  </a:lnTo>
                  <a:lnTo>
                    <a:pt x="1141" y="69"/>
                  </a:lnTo>
                  <a:lnTo>
                    <a:pt x="1151" y="76"/>
                  </a:lnTo>
                  <a:lnTo>
                    <a:pt x="1159" y="75"/>
                  </a:lnTo>
                  <a:lnTo>
                    <a:pt x="1167" y="79"/>
                  </a:lnTo>
                  <a:lnTo>
                    <a:pt x="1177" y="74"/>
                  </a:lnTo>
                  <a:lnTo>
                    <a:pt x="1179" y="74"/>
                  </a:lnTo>
                  <a:lnTo>
                    <a:pt x="1184" y="81"/>
                  </a:lnTo>
                  <a:lnTo>
                    <a:pt x="1195" y="81"/>
                  </a:lnTo>
                  <a:lnTo>
                    <a:pt x="1200" y="84"/>
                  </a:lnTo>
                  <a:lnTo>
                    <a:pt x="1205" y="90"/>
                  </a:lnTo>
                  <a:lnTo>
                    <a:pt x="1216" y="79"/>
                  </a:lnTo>
                  <a:lnTo>
                    <a:pt x="1221" y="76"/>
                  </a:lnTo>
                  <a:lnTo>
                    <a:pt x="1225" y="75"/>
                  </a:lnTo>
                  <a:lnTo>
                    <a:pt x="1234" y="76"/>
                  </a:lnTo>
                  <a:lnTo>
                    <a:pt x="1244" y="71"/>
                  </a:lnTo>
                  <a:lnTo>
                    <a:pt x="1238" y="82"/>
                  </a:lnTo>
                  <a:lnTo>
                    <a:pt x="1241" y="85"/>
                  </a:lnTo>
                  <a:lnTo>
                    <a:pt x="1243" y="86"/>
                  </a:lnTo>
                  <a:lnTo>
                    <a:pt x="1248" y="81"/>
                  </a:lnTo>
                  <a:lnTo>
                    <a:pt x="1249" y="85"/>
                  </a:lnTo>
                  <a:lnTo>
                    <a:pt x="1248" y="101"/>
                  </a:lnTo>
                  <a:lnTo>
                    <a:pt x="1249" y="104"/>
                  </a:lnTo>
                  <a:lnTo>
                    <a:pt x="1259" y="101"/>
                  </a:lnTo>
                  <a:lnTo>
                    <a:pt x="1264" y="90"/>
                  </a:lnTo>
                  <a:lnTo>
                    <a:pt x="1263" y="88"/>
                  </a:lnTo>
                  <a:lnTo>
                    <a:pt x="1264" y="79"/>
                  </a:lnTo>
                  <a:lnTo>
                    <a:pt x="1274" y="70"/>
                  </a:lnTo>
                  <a:lnTo>
                    <a:pt x="1276" y="72"/>
                  </a:lnTo>
                  <a:lnTo>
                    <a:pt x="1279" y="77"/>
                  </a:lnTo>
                  <a:lnTo>
                    <a:pt x="1280" y="92"/>
                  </a:lnTo>
                  <a:lnTo>
                    <a:pt x="1288" y="87"/>
                  </a:lnTo>
                  <a:lnTo>
                    <a:pt x="1295" y="87"/>
                  </a:lnTo>
                  <a:lnTo>
                    <a:pt x="1299" y="91"/>
                  </a:lnTo>
                  <a:lnTo>
                    <a:pt x="1297" y="96"/>
                  </a:lnTo>
                  <a:lnTo>
                    <a:pt x="1293" y="106"/>
                  </a:lnTo>
                  <a:lnTo>
                    <a:pt x="1287" y="115"/>
                  </a:lnTo>
                  <a:lnTo>
                    <a:pt x="1284" y="119"/>
                  </a:lnTo>
                  <a:lnTo>
                    <a:pt x="1279" y="118"/>
                  </a:lnTo>
                  <a:lnTo>
                    <a:pt x="1277" y="122"/>
                  </a:lnTo>
                  <a:lnTo>
                    <a:pt x="1284" y="130"/>
                  </a:lnTo>
                  <a:lnTo>
                    <a:pt x="1276" y="141"/>
                  </a:lnTo>
                  <a:lnTo>
                    <a:pt x="1272" y="144"/>
                  </a:lnTo>
                  <a:lnTo>
                    <a:pt x="1264" y="141"/>
                  </a:lnTo>
                  <a:lnTo>
                    <a:pt x="1263" y="136"/>
                  </a:lnTo>
                  <a:lnTo>
                    <a:pt x="1258" y="142"/>
                  </a:lnTo>
                  <a:lnTo>
                    <a:pt x="1259" y="151"/>
                  </a:lnTo>
                  <a:lnTo>
                    <a:pt x="1261" y="156"/>
                  </a:lnTo>
                  <a:lnTo>
                    <a:pt x="1258" y="152"/>
                  </a:lnTo>
                  <a:lnTo>
                    <a:pt x="1253" y="145"/>
                  </a:lnTo>
                  <a:lnTo>
                    <a:pt x="1248" y="144"/>
                  </a:lnTo>
                  <a:lnTo>
                    <a:pt x="1247" y="156"/>
                  </a:lnTo>
                  <a:lnTo>
                    <a:pt x="1243" y="165"/>
                  </a:lnTo>
                  <a:lnTo>
                    <a:pt x="1243" y="171"/>
                  </a:lnTo>
                  <a:lnTo>
                    <a:pt x="1253" y="168"/>
                  </a:lnTo>
                  <a:lnTo>
                    <a:pt x="1248" y="187"/>
                  </a:lnTo>
                  <a:lnTo>
                    <a:pt x="1248" y="190"/>
                  </a:lnTo>
                  <a:lnTo>
                    <a:pt x="1238" y="210"/>
                  </a:lnTo>
                  <a:lnTo>
                    <a:pt x="1234" y="221"/>
                  </a:lnTo>
                  <a:lnTo>
                    <a:pt x="1232" y="225"/>
                  </a:lnTo>
                  <a:lnTo>
                    <a:pt x="1228" y="231"/>
                  </a:lnTo>
                  <a:lnTo>
                    <a:pt x="1228" y="242"/>
                  </a:lnTo>
                  <a:lnTo>
                    <a:pt x="1234" y="246"/>
                  </a:lnTo>
                  <a:lnTo>
                    <a:pt x="1238" y="252"/>
                  </a:lnTo>
                  <a:lnTo>
                    <a:pt x="1245" y="251"/>
                  </a:lnTo>
                  <a:lnTo>
                    <a:pt x="1254" y="258"/>
                  </a:lnTo>
                  <a:lnTo>
                    <a:pt x="1269" y="264"/>
                  </a:lnTo>
                  <a:lnTo>
                    <a:pt x="1271" y="274"/>
                  </a:lnTo>
                  <a:lnTo>
                    <a:pt x="1275" y="283"/>
                  </a:lnTo>
                  <a:lnTo>
                    <a:pt x="1275" y="297"/>
                  </a:lnTo>
                  <a:lnTo>
                    <a:pt x="1285" y="290"/>
                  </a:lnTo>
                  <a:lnTo>
                    <a:pt x="1307" y="296"/>
                  </a:lnTo>
                  <a:lnTo>
                    <a:pt x="1320" y="295"/>
                  </a:lnTo>
                  <a:lnTo>
                    <a:pt x="1324" y="302"/>
                  </a:lnTo>
                  <a:lnTo>
                    <a:pt x="1335" y="308"/>
                  </a:lnTo>
                  <a:lnTo>
                    <a:pt x="1345" y="313"/>
                  </a:lnTo>
                  <a:lnTo>
                    <a:pt x="1355" y="319"/>
                  </a:lnTo>
                  <a:lnTo>
                    <a:pt x="1361" y="327"/>
                  </a:lnTo>
                  <a:lnTo>
                    <a:pt x="1370" y="334"/>
                  </a:lnTo>
                  <a:lnTo>
                    <a:pt x="1377" y="335"/>
                  </a:lnTo>
                  <a:lnTo>
                    <a:pt x="1384" y="339"/>
                  </a:lnTo>
                  <a:lnTo>
                    <a:pt x="1411" y="346"/>
                  </a:lnTo>
                  <a:lnTo>
                    <a:pt x="1421" y="354"/>
                  </a:lnTo>
                  <a:lnTo>
                    <a:pt x="1425" y="365"/>
                  </a:lnTo>
                  <a:lnTo>
                    <a:pt x="1430" y="371"/>
                  </a:lnTo>
                  <a:lnTo>
                    <a:pt x="1460" y="392"/>
                  </a:lnTo>
                  <a:lnTo>
                    <a:pt x="1475" y="398"/>
                  </a:lnTo>
                  <a:lnTo>
                    <a:pt x="1487" y="394"/>
                  </a:lnTo>
                  <a:lnTo>
                    <a:pt x="1498" y="389"/>
                  </a:lnTo>
                  <a:lnTo>
                    <a:pt x="1516" y="384"/>
                  </a:lnTo>
                  <a:lnTo>
                    <a:pt x="1521" y="377"/>
                  </a:lnTo>
                  <a:lnTo>
                    <a:pt x="1524" y="356"/>
                  </a:lnTo>
                  <a:lnTo>
                    <a:pt x="1537" y="333"/>
                  </a:lnTo>
                  <a:lnTo>
                    <a:pt x="1548" y="287"/>
                  </a:lnTo>
                  <a:lnTo>
                    <a:pt x="1553" y="270"/>
                  </a:lnTo>
                  <a:lnTo>
                    <a:pt x="1557" y="258"/>
                  </a:lnTo>
                  <a:lnTo>
                    <a:pt x="1560" y="246"/>
                  </a:lnTo>
                  <a:lnTo>
                    <a:pt x="1559" y="231"/>
                  </a:lnTo>
                  <a:lnTo>
                    <a:pt x="1553" y="213"/>
                  </a:lnTo>
                  <a:lnTo>
                    <a:pt x="1555" y="197"/>
                  </a:lnTo>
                  <a:lnTo>
                    <a:pt x="1553" y="165"/>
                  </a:lnTo>
                  <a:lnTo>
                    <a:pt x="1561" y="145"/>
                  </a:lnTo>
                  <a:lnTo>
                    <a:pt x="1560" y="128"/>
                  </a:lnTo>
                  <a:lnTo>
                    <a:pt x="1565" y="118"/>
                  </a:lnTo>
                  <a:lnTo>
                    <a:pt x="1566" y="108"/>
                  </a:lnTo>
                  <a:lnTo>
                    <a:pt x="1559" y="106"/>
                  </a:lnTo>
                  <a:lnTo>
                    <a:pt x="1560" y="95"/>
                  </a:lnTo>
                  <a:lnTo>
                    <a:pt x="1564" y="76"/>
                  </a:lnTo>
                  <a:lnTo>
                    <a:pt x="1575" y="72"/>
                  </a:lnTo>
                  <a:lnTo>
                    <a:pt x="1578" y="64"/>
                  </a:lnTo>
                  <a:lnTo>
                    <a:pt x="1583" y="45"/>
                  </a:lnTo>
                  <a:lnTo>
                    <a:pt x="1596" y="29"/>
                  </a:lnTo>
                  <a:lnTo>
                    <a:pt x="1596" y="16"/>
                  </a:lnTo>
                  <a:lnTo>
                    <a:pt x="1596" y="15"/>
                  </a:lnTo>
                  <a:lnTo>
                    <a:pt x="1599" y="11"/>
                  </a:lnTo>
                  <a:lnTo>
                    <a:pt x="1604" y="10"/>
                  </a:lnTo>
                  <a:lnTo>
                    <a:pt x="1613" y="5"/>
                  </a:lnTo>
                  <a:lnTo>
                    <a:pt x="1616" y="0"/>
                  </a:lnTo>
                  <a:lnTo>
                    <a:pt x="1623" y="2"/>
                  </a:lnTo>
                  <a:lnTo>
                    <a:pt x="1623" y="7"/>
                  </a:lnTo>
                  <a:lnTo>
                    <a:pt x="1624" y="16"/>
                  </a:lnTo>
                  <a:lnTo>
                    <a:pt x="1623" y="16"/>
                  </a:lnTo>
                  <a:lnTo>
                    <a:pt x="1623" y="17"/>
                  </a:lnTo>
                  <a:lnTo>
                    <a:pt x="1625" y="31"/>
                  </a:lnTo>
                  <a:lnTo>
                    <a:pt x="1625" y="58"/>
                  </a:lnTo>
                  <a:lnTo>
                    <a:pt x="1629" y="68"/>
                  </a:lnTo>
                  <a:lnTo>
                    <a:pt x="1639" y="68"/>
                  </a:lnTo>
                  <a:lnTo>
                    <a:pt x="1641" y="74"/>
                  </a:lnTo>
                  <a:lnTo>
                    <a:pt x="1640" y="88"/>
                  </a:lnTo>
                  <a:lnTo>
                    <a:pt x="1646" y="93"/>
                  </a:lnTo>
                  <a:lnTo>
                    <a:pt x="1650" y="103"/>
                  </a:lnTo>
                  <a:lnTo>
                    <a:pt x="1655" y="107"/>
                  </a:lnTo>
                  <a:lnTo>
                    <a:pt x="1656" y="122"/>
                  </a:lnTo>
                  <a:lnTo>
                    <a:pt x="1661" y="124"/>
                  </a:lnTo>
                  <a:lnTo>
                    <a:pt x="1663" y="139"/>
                  </a:lnTo>
                  <a:lnTo>
                    <a:pt x="1667" y="151"/>
                  </a:lnTo>
                  <a:lnTo>
                    <a:pt x="1667" y="171"/>
                  </a:lnTo>
                  <a:lnTo>
                    <a:pt x="1670" y="179"/>
                  </a:lnTo>
                  <a:lnTo>
                    <a:pt x="1672" y="189"/>
                  </a:lnTo>
                  <a:lnTo>
                    <a:pt x="1677" y="199"/>
                  </a:lnTo>
                  <a:lnTo>
                    <a:pt x="1684" y="208"/>
                  </a:lnTo>
                  <a:lnTo>
                    <a:pt x="1693" y="211"/>
                  </a:lnTo>
                  <a:lnTo>
                    <a:pt x="1705" y="200"/>
                  </a:lnTo>
                  <a:lnTo>
                    <a:pt x="1715" y="198"/>
                  </a:lnTo>
                  <a:lnTo>
                    <a:pt x="1723" y="199"/>
                  </a:lnTo>
                  <a:lnTo>
                    <a:pt x="1729" y="215"/>
                  </a:lnTo>
                  <a:lnTo>
                    <a:pt x="1739" y="219"/>
                  </a:lnTo>
                  <a:lnTo>
                    <a:pt x="1747" y="228"/>
                  </a:lnTo>
                  <a:lnTo>
                    <a:pt x="1755" y="232"/>
                  </a:lnTo>
                  <a:lnTo>
                    <a:pt x="1764" y="242"/>
                  </a:lnTo>
                  <a:lnTo>
                    <a:pt x="1761" y="252"/>
                  </a:lnTo>
                  <a:lnTo>
                    <a:pt x="1764" y="258"/>
                  </a:lnTo>
                  <a:lnTo>
                    <a:pt x="1763" y="276"/>
                  </a:lnTo>
                  <a:lnTo>
                    <a:pt x="1766" y="286"/>
                  </a:lnTo>
                  <a:lnTo>
                    <a:pt x="1766" y="295"/>
                  </a:lnTo>
                  <a:lnTo>
                    <a:pt x="1771" y="303"/>
                  </a:lnTo>
                  <a:lnTo>
                    <a:pt x="1771" y="319"/>
                  </a:lnTo>
                  <a:lnTo>
                    <a:pt x="1775" y="332"/>
                  </a:lnTo>
                  <a:lnTo>
                    <a:pt x="1787" y="349"/>
                  </a:lnTo>
                  <a:lnTo>
                    <a:pt x="1796" y="349"/>
                  </a:lnTo>
                  <a:lnTo>
                    <a:pt x="1797" y="361"/>
                  </a:lnTo>
                  <a:lnTo>
                    <a:pt x="1804" y="381"/>
                  </a:lnTo>
                  <a:lnTo>
                    <a:pt x="1807" y="393"/>
                  </a:lnTo>
                  <a:lnTo>
                    <a:pt x="1808" y="409"/>
                  </a:lnTo>
                  <a:lnTo>
                    <a:pt x="1806" y="416"/>
                  </a:lnTo>
                  <a:lnTo>
                    <a:pt x="1806" y="426"/>
                  </a:lnTo>
                  <a:lnTo>
                    <a:pt x="1808" y="437"/>
                  </a:lnTo>
                  <a:lnTo>
                    <a:pt x="1814" y="443"/>
                  </a:lnTo>
                  <a:lnTo>
                    <a:pt x="1819" y="445"/>
                  </a:lnTo>
                  <a:lnTo>
                    <a:pt x="1818" y="448"/>
                  </a:lnTo>
                  <a:lnTo>
                    <a:pt x="1822" y="445"/>
                  </a:lnTo>
                  <a:lnTo>
                    <a:pt x="1822" y="447"/>
                  </a:lnTo>
                  <a:lnTo>
                    <a:pt x="1819" y="452"/>
                  </a:lnTo>
                  <a:lnTo>
                    <a:pt x="1820" y="454"/>
                  </a:lnTo>
                  <a:lnTo>
                    <a:pt x="1820" y="461"/>
                  </a:lnTo>
                  <a:lnTo>
                    <a:pt x="1824" y="470"/>
                  </a:lnTo>
                  <a:lnTo>
                    <a:pt x="1838" y="475"/>
                  </a:lnTo>
                  <a:lnTo>
                    <a:pt x="1841" y="480"/>
                  </a:lnTo>
                  <a:lnTo>
                    <a:pt x="1851" y="485"/>
                  </a:lnTo>
                  <a:lnTo>
                    <a:pt x="1871" y="490"/>
                  </a:lnTo>
                  <a:lnTo>
                    <a:pt x="1874" y="489"/>
                  </a:lnTo>
                  <a:lnTo>
                    <a:pt x="1881" y="485"/>
                  </a:lnTo>
                  <a:lnTo>
                    <a:pt x="1884" y="502"/>
                  </a:lnTo>
                  <a:lnTo>
                    <a:pt x="1888" y="511"/>
                  </a:lnTo>
                  <a:lnTo>
                    <a:pt x="1893" y="515"/>
                  </a:lnTo>
                  <a:lnTo>
                    <a:pt x="1903" y="512"/>
                  </a:lnTo>
                  <a:lnTo>
                    <a:pt x="1911" y="517"/>
                  </a:lnTo>
                  <a:lnTo>
                    <a:pt x="1920" y="518"/>
                  </a:lnTo>
                  <a:lnTo>
                    <a:pt x="1925" y="527"/>
                  </a:lnTo>
                  <a:lnTo>
                    <a:pt x="1931" y="533"/>
                  </a:lnTo>
                  <a:lnTo>
                    <a:pt x="1937" y="529"/>
                  </a:lnTo>
                  <a:lnTo>
                    <a:pt x="1942" y="533"/>
                  </a:lnTo>
                  <a:lnTo>
                    <a:pt x="1954" y="540"/>
                  </a:lnTo>
                  <a:lnTo>
                    <a:pt x="1958" y="545"/>
                  </a:lnTo>
                  <a:lnTo>
                    <a:pt x="1960" y="556"/>
                  </a:lnTo>
                  <a:lnTo>
                    <a:pt x="1953" y="554"/>
                  </a:lnTo>
                  <a:lnTo>
                    <a:pt x="1952" y="566"/>
                  </a:lnTo>
                  <a:lnTo>
                    <a:pt x="1958" y="572"/>
                  </a:lnTo>
                  <a:lnTo>
                    <a:pt x="1968" y="574"/>
                  </a:lnTo>
                  <a:lnTo>
                    <a:pt x="1970" y="580"/>
                  </a:lnTo>
                  <a:lnTo>
                    <a:pt x="1978" y="588"/>
                  </a:lnTo>
                  <a:lnTo>
                    <a:pt x="1980" y="597"/>
                  </a:lnTo>
                  <a:lnTo>
                    <a:pt x="1983" y="603"/>
                  </a:lnTo>
                  <a:lnTo>
                    <a:pt x="1985" y="610"/>
                  </a:lnTo>
                  <a:lnTo>
                    <a:pt x="1992" y="612"/>
                  </a:lnTo>
                  <a:lnTo>
                    <a:pt x="1994" y="619"/>
                  </a:lnTo>
                  <a:lnTo>
                    <a:pt x="1994" y="645"/>
                  </a:lnTo>
                  <a:lnTo>
                    <a:pt x="1996" y="651"/>
                  </a:lnTo>
                  <a:lnTo>
                    <a:pt x="1997" y="658"/>
                  </a:lnTo>
                  <a:lnTo>
                    <a:pt x="2002" y="662"/>
                  </a:lnTo>
                  <a:lnTo>
                    <a:pt x="2005" y="671"/>
                  </a:lnTo>
                  <a:lnTo>
                    <a:pt x="2007" y="672"/>
                  </a:lnTo>
                  <a:lnTo>
                    <a:pt x="2011" y="669"/>
                  </a:lnTo>
                  <a:lnTo>
                    <a:pt x="2017" y="669"/>
                  </a:lnTo>
                  <a:lnTo>
                    <a:pt x="2017" y="655"/>
                  </a:lnTo>
                  <a:lnTo>
                    <a:pt x="2023" y="650"/>
                  </a:lnTo>
                  <a:lnTo>
                    <a:pt x="2027" y="660"/>
                  </a:lnTo>
                  <a:lnTo>
                    <a:pt x="2032" y="665"/>
                  </a:lnTo>
                  <a:lnTo>
                    <a:pt x="2043" y="669"/>
                  </a:lnTo>
                  <a:lnTo>
                    <a:pt x="2051" y="676"/>
                  </a:lnTo>
                  <a:lnTo>
                    <a:pt x="2054" y="661"/>
                  </a:lnTo>
                  <a:lnTo>
                    <a:pt x="2057" y="665"/>
                  </a:lnTo>
                  <a:lnTo>
                    <a:pt x="2059" y="671"/>
                  </a:lnTo>
                  <a:lnTo>
                    <a:pt x="2061" y="674"/>
                  </a:lnTo>
                  <a:lnTo>
                    <a:pt x="2065" y="690"/>
                  </a:lnTo>
                  <a:lnTo>
                    <a:pt x="2065" y="720"/>
                  </a:lnTo>
                  <a:lnTo>
                    <a:pt x="2068" y="733"/>
                  </a:lnTo>
                  <a:lnTo>
                    <a:pt x="2077" y="739"/>
                  </a:lnTo>
                  <a:lnTo>
                    <a:pt x="2083" y="748"/>
                  </a:lnTo>
                  <a:lnTo>
                    <a:pt x="2098" y="760"/>
                  </a:lnTo>
                  <a:lnTo>
                    <a:pt x="2110" y="760"/>
                  </a:lnTo>
                  <a:lnTo>
                    <a:pt x="2118" y="766"/>
                  </a:lnTo>
                  <a:lnTo>
                    <a:pt x="2124" y="774"/>
                  </a:lnTo>
                  <a:lnTo>
                    <a:pt x="2130" y="785"/>
                  </a:lnTo>
                  <a:lnTo>
                    <a:pt x="2132" y="791"/>
                  </a:lnTo>
                  <a:lnTo>
                    <a:pt x="2141" y="800"/>
                  </a:lnTo>
                  <a:lnTo>
                    <a:pt x="2151" y="802"/>
                  </a:lnTo>
                  <a:lnTo>
                    <a:pt x="2151" y="806"/>
                  </a:lnTo>
                  <a:lnTo>
                    <a:pt x="2163" y="824"/>
                  </a:lnTo>
                  <a:lnTo>
                    <a:pt x="2162" y="830"/>
                  </a:lnTo>
                  <a:lnTo>
                    <a:pt x="2173" y="835"/>
                  </a:lnTo>
                  <a:lnTo>
                    <a:pt x="2177" y="844"/>
                  </a:lnTo>
                  <a:lnTo>
                    <a:pt x="2178" y="862"/>
                  </a:lnTo>
                  <a:lnTo>
                    <a:pt x="2184" y="872"/>
                  </a:lnTo>
                  <a:lnTo>
                    <a:pt x="2186" y="876"/>
                  </a:lnTo>
                  <a:lnTo>
                    <a:pt x="2190" y="871"/>
                  </a:lnTo>
                  <a:lnTo>
                    <a:pt x="2191" y="886"/>
                  </a:lnTo>
                  <a:lnTo>
                    <a:pt x="2189" y="900"/>
                  </a:lnTo>
                  <a:lnTo>
                    <a:pt x="2191" y="911"/>
                  </a:lnTo>
                  <a:lnTo>
                    <a:pt x="2194" y="938"/>
                  </a:lnTo>
                  <a:lnTo>
                    <a:pt x="2197" y="948"/>
                  </a:lnTo>
                  <a:lnTo>
                    <a:pt x="2193" y="945"/>
                  </a:lnTo>
                  <a:lnTo>
                    <a:pt x="2191" y="952"/>
                  </a:lnTo>
                  <a:lnTo>
                    <a:pt x="2193" y="956"/>
                  </a:lnTo>
                  <a:lnTo>
                    <a:pt x="2194" y="963"/>
                  </a:lnTo>
                  <a:lnTo>
                    <a:pt x="2197" y="967"/>
                  </a:lnTo>
                  <a:lnTo>
                    <a:pt x="2200" y="979"/>
                  </a:lnTo>
                  <a:lnTo>
                    <a:pt x="2207" y="995"/>
                  </a:lnTo>
                  <a:lnTo>
                    <a:pt x="2216" y="1023"/>
                  </a:lnTo>
                  <a:lnTo>
                    <a:pt x="2217" y="1050"/>
                  </a:lnTo>
                  <a:lnTo>
                    <a:pt x="2215" y="1066"/>
                  </a:lnTo>
                  <a:lnTo>
                    <a:pt x="2211" y="1074"/>
                  </a:lnTo>
                  <a:lnTo>
                    <a:pt x="2206" y="1090"/>
                  </a:lnTo>
                  <a:lnTo>
                    <a:pt x="2204" y="1110"/>
                  </a:lnTo>
                  <a:lnTo>
                    <a:pt x="2199" y="1142"/>
                  </a:lnTo>
                  <a:lnTo>
                    <a:pt x="2196" y="1145"/>
                  </a:lnTo>
                  <a:lnTo>
                    <a:pt x="2189" y="1164"/>
                  </a:lnTo>
                  <a:lnTo>
                    <a:pt x="2188" y="1182"/>
                  </a:lnTo>
                  <a:lnTo>
                    <a:pt x="2190" y="1201"/>
                  </a:lnTo>
                  <a:lnTo>
                    <a:pt x="2186" y="1207"/>
                  </a:lnTo>
                  <a:lnTo>
                    <a:pt x="2186" y="1214"/>
                  </a:lnTo>
                  <a:lnTo>
                    <a:pt x="2172" y="1252"/>
                  </a:lnTo>
                  <a:lnTo>
                    <a:pt x="2167" y="1258"/>
                  </a:lnTo>
                  <a:lnTo>
                    <a:pt x="2162" y="1266"/>
                  </a:lnTo>
                  <a:lnTo>
                    <a:pt x="2156" y="1273"/>
                  </a:lnTo>
                  <a:lnTo>
                    <a:pt x="2156" y="1280"/>
                  </a:lnTo>
                  <a:lnTo>
                    <a:pt x="2158" y="1285"/>
                  </a:lnTo>
                  <a:lnTo>
                    <a:pt x="2153" y="1291"/>
                  </a:lnTo>
                  <a:lnTo>
                    <a:pt x="2145" y="1302"/>
                  </a:lnTo>
                  <a:lnTo>
                    <a:pt x="2137" y="1302"/>
                  </a:lnTo>
                  <a:lnTo>
                    <a:pt x="2135" y="1306"/>
                  </a:lnTo>
                  <a:lnTo>
                    <a:pt x="2141" y="1308"/>
                  </a:lnTo>
                  <a:lnTo>
                    <a:pt x="2130" y="1312"/>
                  </a:lnTo>
                  <a:lnTo>
                    <a:pt x="2123" y="1316"/>
                  </a:lnTo>
                  <a:lnTo>
                    <a:pt x="2120" y="1323"/>
                  </a:lnTo>
                  <a:lnTo>
                    <a:pt x="2114" y="1331"/>
                  </a:lnTo>
                  <a:lnTo>
                    <a:pt x="2108" y="1346"/>
                  </a:lnTo>
                  <a:lnTo>
                    <a:pt x="2100" y="1357"/>
                  </a:lnTo>
                  <a:lnTo>
                    <a:pt x="2094" y="1359"/>
                  </a:lnTo>
                  <a:lnTo>
                    <a:pt x="2091" y="1360"/>
                  </a:lnTo>
                  <a:lnTo>
                    <a:pt x="2089" y="1365"/>
                  </a:lnTo>
                  <a:lnTo>
                    <a:pt x="2097" y="1367"/>
                  </a:lnTo>
                  <a:lnTo>
                    <a:pt x="2096" y="1379"/>
                  </a:lnTo>
                  <a:lnTo>
                    <a:pt x="2091" y="1392"/>
                  </a:lnTo>
                  <a:lnTo>
                    <a:pt x="2088" y="1392"/>
                  </a:lnTo>
                  <a:lnTo>
                    <a:pt x="2087" y="1400"/>
                  </a:lnTo>
                  <a:lnTo>
                    <a:pt x="2078" y="1411"/>
                  </a:lnTo>
                  <a:lnTo>
                    <a:pt x="2065" y="1458"/>
                  </a:lnTo>
                  <a:lnTo>
                    <a:pt x="2065" y="1468"/>
                  </a:lnTo>
                  <a:lnTo>
                    <a:pt x="2056" y="1462"/>
                  </a:lnTo>
                  <a:lnTo>
                    <a:pt x="2049" y="1481"/>
                  </a:lnTo>
                  <a:lnTo>
                    <a:pt x="2044" y="1487"/>
                  </a:lnTo>
                  <a:lnTo>
                    <a:pt x="2041" y="1497"/>
                  </a:lnTo>
                  <a:lnTo>
                    <a:pt x="2038" y="1500"/>
                  </a:lnTo>
                  <a:lnTo>
                    <a:pt x="2034" y="1506"/>
                  </a:lnTo>
                  <a:lnTo>
                    <a:pt x="2033" y="1521"/>
                  </a:lnTo>
                  <a:lnTo>
                    <a:pt x="2029" y="1538"/>
                  </a:lnTo>
                  <a:lnTo>
                    <a:pt x="2033" y="1546"/>
                  </a:lnTo>
                  <a:lnTo>
                    <a:pt x="2030" y="1550"/>
                  </a:lnTo>
                  <a:lnTo>
                    <a:pt x="2029" y="1562"/>
                  </a:lnTo>
                  <a:lnTo>
                    <a:pt x="2023" y="1577"/>
                  </a:lnTo>
                  <a:lnTo>
                    <a:pt x="2021" y="1587"/>
                  </a:lnTo>
                  <a:lnTo>
                    <a:pt x="2021" y="1593"/>
                  </a:lnTo>
                  <a:lnTo>
                    <a:pt x="2024" y="1603"/>
                  </a:lnTo>
                  <a:lnTo>
                    <a:pt x="2024" y="1613"/>
                  </a:lnTo>
                  <a:lnTo>
                    <a:pt x="2023" y="1621"/>
                  </a:lnTo>
                  <a:lnTo>
                    <a:pt x="2021" y="1629"/>
                  </a:lnTo>
                  <a:lnTo>
                    <a:pt x="2012" y="1624"/>
                  </a:lnTo>
                  <a:lnTo>
                    <a:pt x="2008" y="1625"/>
                  </a:lnTo>
                  <a:lnTo>
                    <a:pt x="2007" y="1637"/>
                  </a:lnTo>
                  <a:lnTo>
                    <a:pt x="1987" y="1643"/>
                  </a:lnTo>
                  <a:lnTo>
                    <a:pt x="1932" y="1645"/>
                  </a:lnTo>
                  <a:lnTo>
                    <a:pt x="1920" y="1648"/>
                  </a:lnTo>
                  <a:lnTo>
                    <a:pt x="1898" y="1661"/>
                  </a:lnTo>
                  <a:lnTo>
                    <a:pt x="1888" y="1669"/>
                  </a:lnTo>
                  <a:lnTo>
                    <a:pt x="1874" y="1678"/>
                  </a:lnTo>
                  <a:lnTo>
                    <a:pt x="1868" y="1685"/>
                  </a:lnTo>
                  <a:lnTo>
                    <a:pt x="1866" y="1691"/>
                  </a:lnTo>
                  <a:lnTo>
                    <a:pt x="1854" y="1699"/>
                  </a:lnTo>
                  <a:lnTo>
                    <a:pt x="1847" y="1705"/>
                  </a:lnTo>
                  <a:lnTo>
                    <a:pt x="1844" y="1701"/>
                  </a:lnTo>
                  <a:lnTo>
                    <a:pt x="1830" y="1705"/>
                  </a:lnTo>
                  <a:lnTo>
                    <a:pt x="1823" y="1705"/>
                  </a:lnTo>
                  <a:lnTo>
                    <a:pt x="1819" y="1706"/>
                  </a:lnTo>
                  <a:lnTo>
                    <a:pt x="1818" y="1715"/>
                  </a:lnTo>
                  <a:lnTo>
                    <a:pt x="1822" y="1720"/>
                  </a:lnTo>
                  <a:lnTo>
                    <a:pt x="1825" y="1713"/>
                  </a:lnTo>
                  <a:lnTo>
                    <a:pt x="1831" y="1709"/>
                  </a:lnTo>
                  <a:lnTo>
                    <a:pt x="1836" y="1709"/>
                  </a:lnTo>
                  <a:lnTo>
                    <a:pt x="1833" y="1720"/>
                  </a:lnTo>
                  <a:lnTo>
                    <a:pt x="1831" y="1729"/>
                  </a:lnTo>
                  <a:lnTo>
                    <a:pt x="1826" y="1736"/>
                  </a:lnTo>
                  <a:lnTo>
                    <a:pt x="1813" y="1717"/>
                  </a:lnTo>
                  <a:lnTo>
                    <a:pt x="1808" y="1717"/>
                  </a:lnTo>
                  <a:lnTo>
                    <a:pt x="1799" y="1713"/>
                  </a:lnTo>
                  <a:lnTo>
                    <a:pt x="1796" y="1704"/>
                  </a:lnTo>
                  <a:lnTo>
                    <a:pt x="1785" y="1704"/>
                  </a:lnTo>
                  <a:lnTo>
                    <a:pt x="1777" y="1696"/>
                  </a:lnTo>
                  <a:lnTo>
                    <a:pt x="1776" y="1690"/>
                  </a:lnTo>
                  <a:lnTo>
                    <a:pt x="1779" y="1679"/>
                  </a:lnTo>
                  <a:lnTo>
                    <a:pt x="1772" y="1673"/>
                  </a:lnTo>
                  <a:lnTo>
                    <a:pt x="1760" y="1682"/>
                  </a:lnTo>
                  <a:lnTo>
                    <a:pt x="1750" y="1685"/>
                  </a:lnTo>
                  <a:lnTo>
                    <a:pt x="1739" y="1682"/>
                  </a:lnTo>
                  <a:lnTo>
                    <a:pt x="1736" y="1675"/>
                  </a:lnTo>
                  <a:lnTo>
                    <a:pt x="1749" y="1675"/>
                  </a:lnTo>
                  <a:lnTo>
                    <a:pt x="1752" y="1666"/>
                  </a:lnTo>
                  <a:lnTo>
                    <a:pt x="1750" y="1652"/>
                  </a:lnTo>
                  <a:lnTo>
                    <a:pt x="1741" y="1647"/>
                  </a:lnTo>
                  <a:lnTo>
                    <a:pt x="1725" y="1659"/>
                  </a:lnTo>
                  <a:lnTo>
                    <a:pt x="1715" y="1661"/>
                  </a:lnTo>
                  <a:lnTo>
                    <a:pt x="1728" y="1669"/>
                  </a:lnTo>
                  <a:lnTo>
                    <a:pt x="1729" y="1672"/>
                  </a:lnTo>
                  <a:lnTo>
                    <a:pt x="1721" y="1673"/>
                  </a:lnTo>
                  <a:lnTo>
                    <a:pt x="1710" y="1678"/>
                  </a:lnTo>
                  <a:lnTo>
                    <a:pt x="1699" y="1686"/>
                  </a:lnTo>
                  <a:lnTo>
                    <a:pt x="1690" y="1701"/>
                  </a:lnTo>
                  <a:lnTo>
                    <a:pt x="1672" y="1710"/>
                  </a:lnTo>
                  <a:lnTo>
                    <a:pt x="1658" y="1713"/>
                  </a:lnTo>
                  <a:lnTo>
                    <a:pt x="1655" y="1709"/>
                  </a:lnTo>
                  <a:lnTo>
                    <a:pt x="1635" y="1699"/>
                  </a:lnTo>
                  <a:lnTo>
                    <a:pt x="1616" y="1686"/>
                  </a:lnTo>
                  <a:lnTo>
                    <a:pt x="1607" y="1683"/>
                  </a:lnTo>
                  <a:lnTo>
                    <a:pt x="1593" y="1682"/>
                  </a:lnTo>
                  <a:lnTo>
                    <a:pt x="1572" y="1674"/>
                  </a:lnTo>
                  <a:lnTo>
                    <a:pt x="1564" y="1675"/>
                  </a:lnTo>
                  <a:lnTo>
                    <a:pt x="1555" y="1682"/>
                  </a:lnTo>
                  <a:lnTo>
                    <a:pt x="1548" y="1671"/>
                  </a:lnTo>
                  <a:lnTo>
                    <a:pt x="1529" y="1659"/>
                  </a:lnTo>
                  <a:lnTo>
                    <a:pt x="1511" y="1658"/>
                  </a:lnTo>
                  <a:lnTo>
                    <a:pt x="1496" y="1650"/>
                  </a:lnTo>
                  <a:lnTo>
                    <a:pt x="1486" y="1639"/>
                  </a:lnTo>
                  <a:lnTo>
                    <a:pt x="1481" y="1625"/>
                  </a:lnTo>
                  <a:lnTo>
                    <a:pt x="1470" y="1618"/>
                  </a:lnTo>
                  <a:lnTo>
                    <a:pt x="1458" y="1588"/>
                  </a:lnTo>
                  <a:lnTo>
                    <a:pt x="1457" y="1582"/>
                  </a:lnTo>
                  <a:lnTo>
                    <a:pt x="1462" y="1572"/>
                  </a:lnTo>
                  <a:lnTo>
                    <a:pt x="1463" y="1559"/>
                  </a:lnTo>
                  <a:lnTo>
                    <a:pt x="1453" y="1530"/>
                  </a:lnTo>
                  <a:lnTo>
                    <a:pt x="1430" y="1500"/>
                  </a:lnTo>
                  <a:lnTo>
                    <a:pt x="1437" y="1483"/>
                  </a:lnTo>
                  <a:lnTo>
                    <a:pt x="1436" y="1480"/>
                  </a:lnTo>
                  <a:lnTo>
                    <a:pt x="1421" y="1481"/>
                  </a:lnTo>
                  <a:lnTo>
                    <a:pt x="1406" y="1490"/>
                  </a:lnTo>
                  <a:lnTo>
                    <a:pt x="1389" y="1496"/>
                  </a:lnTo>
                  <a:lnTo>
                    <a:pt x="1379" y="1497"/>
                  </a:lnTo>
                  <a:lnTo>
                    <a:pt x="1372" y="1495"/>
                  </a:lnTo>
                  <a:lnTo>
                    <a:pt x="1379" y="1484"/>
                  </a:lnTo>
                  <a:lnTo>
                    <a:pt x="1387" y="1468"/>
                  </a:lnTo>
                  <a:lnTo>
                    <a:pt x="1390" y="1453"/>
                  </a:lnTo>
                  <a:lnTo>
                    <a:pt x="1390" y="1436"/>
                  </a:lnTo>
                  <a:lnTo>
                    <a:pt x="1384" y="1419"/>
                  </a:lnTo>
                  <a:lnTo>
                    <a:pt x="1376" y="1406"/>
                  </a:lnTo>
                  <a:lnTo>
                    <a:pt x="1368" y="1400"/>
                  </a:lnTo>
                  <a:lnTo>
                    <a:pt x="1356" y="1424"/>
                  </a:lnTo>
                  <a:lnTo>
                    <a:pt x="1356" y="1436"/>
                  </a:lnTo>
                  <a:lnTo>
                    <a:pt x="1352" y="1448"/>
                  </a:lnTo>
                  <a:lnTo>
                    <a:pt x="1350" y="1460"/>
                  </a:lnTo>
                  <a:lnTo>
                    <a:pt x="1349" y="1463"/>
                  </a:lnTo>
                  <a:lnTo>
                    <a:pt x="1340" y="1462"/>
                  </a:lnTo>
                  <a:lnTo>
                    <a:pt x="1329" y="1467"/>
                  </a:lnTo>
                  <a:lnTo>
                    <a:pt x="1317" y="1467"/>
                  </a:lnTo>
                  <a:lnTo>
                    <a:pt x="1307" y="1473"/>
                  </a:lnTo>
                  <a:lnTo>
                    <a:pt x="1301" y="1467"/>
                  </a:lnTo>
                  <a:lnTo>
                    <a:pt x="1306" y="1448"/>
                  </a:lnTo>
                  <a:lnTo>
                    <a:pt x="1319" y="1449"/>
                  </a:lnTo>
                  <a:lnTo>
                    <a:pt x="1330" y="1443"/>
                  </a:lnTo>
                  <a:lnTo>
                    <a:pt x="1334" y="1429"/>
                  </a:lnTo>
                  <a:lnTo>
                    <a:pt x="1335" y="1417"/>
                  </a:lnTo>
                  <a:lnTo>
                    <a:pt x="1333" y="1415"/>
                  </a:lnTo>
                  <a:lnTo>
                    <a:pt x="1333" y="1411"/>
                  </a:lnTo>
                  <a:lnTo>
                    <a:pt x="1334" y="1405"/>
                  </a:lnTo>
                  <a:lnTo>
                    <a:pt x="1334" y="1397"/>
                  </a:lnTo>
                  <a:lnTo>
                    <a:pt x="1339" y="1384"/>
                  </a:lnTo>
                  <a:lnTo>
                    <a:pt x="1345" y="1368"/>
                  </a:lnTo>
                  <a:lnTo>
                    <a:pt x="1351" y="1365"/>
                  </a:lnTo>
                  <a:lnTo>
                    <a:pt x="1357" y="1355"/>
                  </a:lnTo>
                  <a:lnTo>
                    <a:pt x="1357" y="1330"/>
                  </a:lnTo>
                  <a:lnTo>
                    <a:pt x="1363" y="1331"/>
                  </a:lnTo>
                  <a:lnTo>
                    <a:pt x="1362" y="1324"/>
                  </a:lnTo>
                  <a:lnTo>
                    <a:pt x="1358" y="1317"/>
                  </a:lnTo>
                  <a:lnTo>
                    <a:pt x="1358" y="1307"/>
                  </a:lnTo>
                  <a:lnTo>
                    <a:pt x="1355" y="1304"/>
                  </a:lnTo>
                  <a:lnTo>
                    <a:pt x="1355" y="1293"/>
                  </a:lnTo>
                  <a:lnTo>
                    <a:pt x="1350" y="1288"/>
                  </a:lnTo>
                  <a:lnTo>
                    <a:pt x="1347" y="1297"/>
                  </a:lnTo>
                  <a:lnTo>
                    <a:pt x="1347" y="1317"/>
                  </a:lnTo>
                  <a:lnTo>
                    <a:pt x="1342" y="1318"/>
                  </a:lnTo>
                  <a:lnTo>
                    <a:pt x="1335" y="1330"/>
                  </a:lnTo>
                  <a:lnTo>
                    <a:pt x="1330" y="1341"/>
                  </a:lnTo>
                  <a:lnTo>
                    <a:pt x="1324" y="1354"/>
                  </a:lnTo>
                  <a:lnTo>
                    <a:pt x="1323" y="1360"/>
                  </a:lnTo>
                  <a:lnTo>
                    <a:pt x="1318" y="1368"/>
                  </a:lnTo>
                  <a:lnTo>
                    <a:pt x="1307" y="1367"/>
                  </a:lnTo>
                  <a:lnTo>
                    <a:pt x="1302" y="1370"/>
                  </a:lnTo>
                  <a:lnTo>
                    <a:pt x="1301" y="1374"/>
                  </a:lnTo>
                  <a:lnTo>
                    <a:pt x="1287" y="1382"/>
                  </a:lnTo>
                  <a:lnTo>
                    <a:pt x="1282" y="1388"/>
                  </a:lnTo>
                  <a:lnTo>
                    <a:pt x="1275" y="1390"/>
                  </a:lnTo>
                  <a:lnTo>
                    <a:pt x="1269" y="1405"/>
                  </a:lnTo>
                  <a:lnTo>
                    <a:pt x="1259" y="1417"/>
                  </a:lnTo>
                  <a:lnTo>
                    <a:pt x="1249" y="1425"/>
                  </a:lnTo>
                  <a:lnTo>
                    <a:pt x="1245" y="1437"/>
                  </a:lnTo>
                  <a:lnTo>
                    <a:pt x="1252" y="1437"/>
                  </a:lnTo>
                  <a:lnTo>
                    <a:pt x="1252" y="1454"/>
                  </a:lnTo>
                  <a:lnTo>
                    <a:pt x="1245" y="1449"/>
                  </a:lnTo>
                  <a:lnTo>
                    <a:pt x="1238" y="1452"/>
                  </a:lnTo>
                  <a:lnTo>
                    <a:pt x="1229" y="1440"/>
                  </a:lnTo>
                  <a:lnTo>
                    <a:pt x="1220" y="1433"/>
                  </a:lnTo>
                  <a:lnTo>
                    <a:pt x="1214" y="1427"/>
                  </a:lnTo>
                  <a:lnTo>
                    <a:pt x="1205" y="1426"/>
                  </a:lnTo>
                  <a:lnTo>
                    <a:pt x="1205" y="1416"/>
                  </a:lnTo>
                  <a:lnTo>
                    <a:pt x="1221" y="1427"/>
                  </a:lnTo>
                  <a:lnTo>
                    <a:pt x="1222" y="1419"/>
                  </a:lnTo>
                  <a:lnTo>
                    <a:pt x="1220" y="1405"/>
                  </a:lnTo>
                  <a:lnTo>
                    <a:pt x="1214" y="1398"/>
                  </a:lnTo>
                  <a:lnTo>
                    <a:pt x="1211" y="1383"/>
                  </a:lnTo>
                  <a:lnTo>
                    <a:pt x="1204" y="1372"/>
                  </a:lnTo>
                  <a:lnTo>
                    <a:pt x="1195" y="1365"/>
                  </a:lnTo>
                  <a:lnTo>
                    <a:pt x="1190" y="1347"/>
                  </a:lnTo>
                  <a:lnTo>
                    <a:pt x="1186" y="1343"/>
                  </a:lnTo>
                  <a:lnTo>
                    <a:pt x="1183" y="1334"/>
                  </a:lnTo>
                  <a:lnTo>
                    <a:pt x="1177" y="1335"/>
                  </a:lnTo>
                  <a:lnTo>
                    <a:pt x="1166" y="1330"/>
                  </a:lnTo>
                  <a:lnTo>
                    <a:pt x="1156" y="1324"/>
                  </a:lnTo>
                  <a:lnTo>
                    <a:pt x="1150" y="1316"/>
                  </a:lnTo>
                  <a:lnTo>
                    <a:pt x="1150" y="1306"/>
                  </a:lnTo>
                  <a:lnTo>
                    <a:pt x="1155" y="1306"/>
                  </a:lnTo>
                  <a:lnTo>
                    <a:pt x="1156" y="1292"/>
                  </a:lnTo>
                  <a:lnTo>
                    <a:pt x="1135" y="1286"/>
                  </a:lnTo>
                  <a:lnTo>
                    <a:pt x="1114" y="1265"/>
                  </a:lnTo>
                  <a:lnTo>
                    <a:pt x="1108" y="1263"/>
                  </a:lnTo>
                  <a:lnTo>
                    <a:pt x="1110" y="1270"/>
                  </a:lnTo>
                  <a:lnTo>
                    <a:pt x="1100" y="1269"/>
                  </a:lnTo>
                  <a:lnTo>
                    <a:pt x="1091" y="1263"/>
                  </a:lnTo>
                  <a:lnTo>
                    <a:pt x="1069" y="1252"/>
                  </a:lnTo>
                  <a:lnTo>
                    <a:pt x="1062" y="1253"/>
                  </a:lnTo>
                  <a:lnTo>
                    <a:pt x="1054" y="1259"/>
                  </a:lnTo>
                  <a:lnTo>
                    <a:pt x="1051" y="1258"/>
                  </a:lnTo>
                  <a:lnTo>
                    <a:pt x="1045" y="1255"/>
                  </a:lnTo>
                  <a:lnTo>
                    <a:pt x="1017" y="1231"/>
                  </a:lnTo>
                  <a:lnTo>
                    <a:pt x="1006" y="1227"/>
                  </a:lnTo>
                  <a:lnTo>
                    <a:pt x="995" y="1226"/>
                  </a:lnTo>
                  <a:lnTo>
                    <a:pt x="974" y="1225"/>
                  </a:lnTo>
                  <a:lnTo>
                    <a:pt x="941" y="1230"/>
                  </a:lnTo>
                  <a:lnTo>
                    <a:pt x="899" y="1228"/>
                  </a:lnTo>
                  <a:lnTo>
                    <a:pt x="881" y="1228"/>
                  </a:lnTo>
                  <a:lnTo>
                    <a:pt x="840" y="1248"/>
                  </a:lnTo>
                  <a:lnTo>
                    <a:pt x="820" y="1261"/>
                  </a:lnTo>
                  <a:lnTo>
                    <a:pt x="795" y="1263"/>
                  </a:lnTo>
                  <a:lnTo>
                    <a:pt x="779" y="1270"/>
                  </a:lnTo>
                  <a:lnTo>
                    <a:pt x="758" y="1274"/>
                  </a:lnTo>
                  <a:lnTo>
                    <a:pt x="722" y="1273"/>
                  </a:lnTo>
                  <a:lnTo>
                    <a:pt x="710" y="1270"/>
                  </a:lnTo>
                  <a:lnTo>
                    <a:pt x="695" y="1274"/>
                  </a:lnTo>
                  <a:lnTo>
                    <a:pt x="685" y="1282"/>
                  </a:lnTo>
                  <a:lnTo>
                    <a:pt x="658" y="1297"/>
                  </a:lnTo>
                  <a:lnTo>
                    <a:pt x="642" y="1302"/>
                  </a:lnTo>
                  <a:lnTo>
                    <a:pt x="634" y="1309"/>
                  </a:lnTo>
                  <a:lnTo>
                    <a:pt x="625" y="1313"/>
                  </a:lnTo>
                  <a:lnTo>
                    <a:pt x="614" y="1314"/>
                  </a:lnTo>
                  <a:lnTo>
                    <a:pt x="602" y="1320"/>
                  </a:lnTo>
                  <a:lnTo>
                    <a:pt x="596" y="1333"/>
                  </a:lnTo>
                  <a:lnTo>
                    <a:pt x="592" y="1349"/>
                  </a:lnTo>
                  <a:lnTo>
                    <a:pt x="587" y="1354"/>
                  </a:lnTo>
                  <a:lnTo>
                    <a:pt x="581" y="1363"/>
                  </a:lnTo>
                  <a:lnTo>
                    <a:pt x="577" y="1372"/>
                  </a:lnTo>
                  <a:lnTo>
                    <a:pt x="558" y="1377"/>
                  </a:lnTo>
                  <a:lnTo>
                    <a:pt x="549" y="1377"/>
                  </a:lnTo>
                  <a:lnTo>
                    <a:pt x="539" y="1373"/>
                  </a:lnTo>
                  <a:lnTo>
                    <a:pt x="518" y="1376"/>
                  </a:lnTo>
                  <a:lnTo>
                    <a:pt x="496" y="1382"/>
                  </a:lnTo>
                  <a:lnTo>
                    <a:pt x="491" y="1374"/>
                  </a:lnTo>
                  <a:lnTo>
                    <a:pt x="486" y="1372"/>
                  </a:lnTo>
                  <a:lnTo>
                    <a:pt x="480" y="1374"/>
                  </a:lnTo>
                  <a:lnTo>
                    <a:pt x="464" y="1376"/>
                  </a:lnTo>
                  <a:lnTo>
                    <a:pt x="447" y="1372"/>
                  </a:lnTo>
                  <a:lnTo>
                    <a:pt x="435" y="1372"/>
                  </a:lnTo>
                  <a:lnTo>
                    <a:pt x="419" y="1379"/>
                  </a:lnTo>
                  <a:lnTo>
                    <a:pt x="376" y="1378"/>
                  </a:lnTo>
                  <a:lnTo>
                    <a:pt x="365" y="1383"/>
                  </a:lnTo>
                  <a:lnTo>
                    <a:pt x="355" y="1392"/>
                  </a:lnTo>
                  <a:lnTo>
                    <a:pt x="350" y="1399"/>
                  </a:lnTo>
                  <a:lnTo>
                    <a:pt x="352" y="1404"/>
                  </a:lnTo>
                  <a:lnTo>
                    <a:pt x="350" y="1405"/>
                  </a:lnTo>
                  <a:lnTo>
                    <a:pt x="344" y="1411"/>
                  </a:lnTo>
                  <a:lnTo>
                    <a:pt x="333" y="1414"/>
                  </a:lnTo>
                  <a:lnTo>
                    <a:pt x="316" y="1416"/>
                  </a:lnTo>
                  <a:lnTo>
                    <a:pt x="301" y="1426"/>
                  </a:lnTo>
                  <a:lnTo>
                    <a:pt x="292" y="1436"/>
                  </a:lnTo>
                  <a:lnTo>
                    <a:pt x="287" y="1443"/>
                  </a:lnTo>
                  <a:lnTo>
                    <a:pt x="280" y="1449"/>
                  </a:lnTo>
                  <a:lnTo>
                    <a:pt x="271" y="1452"/>
                  </a:lnTo>
                  <a:lnTo>
                    <a:pt x="261" y="1447"/>
                  </a:lnTo>
                  <a:lnTo>
                    <a:pt x="260" y="1458"/>
                  </a:lnTo>
                  <a:lnTo>
                    <a:pt x="253" y="1454"/>
                  </a:lnTo>
                  <a:lnTo>
                    <a:pt x="244" y="1458"/>
                  </a:lnTo>
                  <a:lnTo>
                    <a:pt x="238" y="1451"/>
                  </a:lnTo>
                  <a:lnTo>
                    <a:pt x="205" y="1453"/>
                  </a:lnTo>
                  <a:lnTo>
                    <a:pt x="190" y="1451"/>
                  </a:lnTo>
                  <a:lnTo>
                    <a:pt x="183" y="1443"/>
                  </a:lnTo>
                  <a:lnTo>
                    <a:pt x="174" y="1440"/>
                  </a:lnTo>
                  <a:lnTo>
                    <a:pt x="174" y="1441"/>
                  </a:lnTo>
                  <a:lnTo>
                    <a:pt x="163" y="1440"/>
                  </a:lnTo>
                  <a:lnTo>
                    <a:pt x="148" y="1424"/>
                  </a:lnTo>
                  <a:lnTo>
                    <a:pt x="141" y="1415"/>
                  </a:lnTo>
                  <a:lnTo>
                    <a:pt x="130" y="1405"/>
                  </a:lnTo>
                  <a:lnTo>
                    <a:pt x="120" y="1402"/>
                  </a:lnTo>
                  <a:lnTo>
                    <a:pt x="108" y="1399"/>
                  </a:lnTo>
                  <a:lnTo>
                    <a:pt x="105" y="1370"/>
                  </a:lnTo>
                  <a:lnTo>
                    <a:pt x="107" y="1357"/>
                  </a:lnTo>
                  <a:lnTo>
                    <a:pt x="107" y="1356"/>
                  </a:lnTo>
                  <a:lnTo>
                    <a:pt x="117" y="1360"/>
                  </a:lnTo>
                  <a:lnTo>
                    <a:pt x="125" y="1359"/>
                  </a:lnTo>
                  <a:lnTo>
                    <a:pt x="136" y="1343"/>
                  </a:lnTo>
                  <a:lnTo>
                    <a:pt x="142" y="1328"/>
                  </a:lnTo>
                  <a:lnTo>
                    <a:pt x="142" y="1318"/>
                  </a:lnTo>
                  <a:lnTo>
                    <a:pt x="137" y="1306"/>
                  </a:lnTo>
                  <a:lnTo>
                    <a:pt x="137" y="1291"/>
                  </a:lnTo>
                  <a:lnTo>
                    <a:pt x="139" y="1297"/>
                  </a:lnTo>
                  <a:lnTo>
                    <a:pt x="142" y="1286"/>
                  </a:lnTo>
                  <a:lnTo>
                    <a:pt x="141" y="1265"/>
                  </a:lnTo>
                  <a:lnTo>
                    <a:pt x="144" y="1248"/>
                  </a:lnTo>
                  <a:lnTo>
                    <a:pt x="141" y="1234"/>
                  </a:lnTo>
                  <a:lnTo>
                    <a:pt x="124" y="1196"/>
                  </a:lnTo>
                  <a:lnTo>
                    <a:pt x="121" y="1185"/>
                  </a:lnTo>
                  <a:lnTo>
                    <a:pt x="117" y="1178"/>
                  </a:lnTo>
                  <a:lnTo>
                    <a:pt x="109" y="1168"/>
                  </a:lnTo>
                  <a:lnTo>
                    <a:pt x="103" y="1150"/>
                  </a:lnTo>
                  <a:lnTo>
                    <a:pt x="98" y="1124"/>
                  </a:lnTo>
                  <a:lnTo>
                    <a:pt x="98" y="1092"/>
                  </a:lnTo>
                  <a:lnTo>
                    <a:pt x="94" y="1081"/>
                  </a:lnTo>
                  <a:lnTo>
                    <a:pt x="78" y="1053"/>
                  </a:lnTo>
                  <a:lnTo>
                    <a:pt x="76" y="1039"/>
                  </a:lnTo>
                  <a:lnTo>
                    <a:pt x="66" y="1024"/>
                  </a:lnTo>
                  <a:lnTo>
                    <a:pt x="54" y="1004"/>
                  </a:lnTo>
                  <a:lnTo>
                    <a:pt x="54" y="983"/>
                  </a:lnTo>
                  <a:lnTo>
                    <a:pt x="46" y="965"/>
                  </a:lnTo>
                  <a:lnTo>
                    <a:pt x="40" y="945"/>
                  </a:lnTo>
                  <a:lnTo>
                    <a:pt x="29" y="938"/>
                  </a:lnTo>
                  <a:lnTo>
                    <a:pt x="19" y="927"/>
                  </a:lnTo>
                  <a:lnTo>
                    <a:pt x="13" y="919"/>
                  </a:lnTo>
                  <a:lnTo>
                    <a:pt x="11" y="909"/>
                  </a:lnTo>
                  <a:lnTo>
                    <a:pt x="5" y="905"/>
                  </a:lnTo>
                  <a:lnTo>
                    <a:pt x="0" y="895"/>
                  </a:lnTo>
                  <a:lnTo>
                    <a:pt x="1" y="889"/>
                  </a:lnTo>
                  <a:lnTo>
                    <a:pt x="3" y="894"/>
                  </a:lnTo>
                  <a:lnTo>
                    <a:pt x="8" y="895"/>
                  </a:lnTo>
                  <a:lnTo>
                    <a:pt x="12" y="897"/>
                  </a:lnTo>
                  <a:lnTo>
                    <a:pt x="15" y="904"/>
                  </a:lnTo>
                  <a:lnTo>
                    <a:pt x="16" y="914"/>
                  </a:lnTo>
                  <a:lnTo>
                    <a:pt x="21" y="911"/>
                  </a:lnTo>
                  <a:lnTo>
                    <a:pt x="23" y="918"/>
                  </a:lnTo>
                  <a:lnTo>
                    <a:pt x="31" y="919"/>
                  </a:lnTo>
                  <a:lnTo>
                    <a:pt x="35" y="913"/>
                  </a:lnTo>
                  <a:lnTo>
                    <a:pt x="34" y="904"/>
                  </a:lnTo>
                  <a:lnTo>
                    <a:pt x="26" y="895"/>
                  </a:lnTo>
                  <a:lnTo>
                    <a:pt x="13" y="866"/>
                  </a:lnTo>
                  <a:lnTo>
                    <a:pt x="13" y="856"/>
                  </a:lnTo>
                  <a:lnTo>
                    <a:pt x="17" y="860"/>
                  </a:lnTo>
                  <a:lnTo>
                    <a:pt x="22" y="871"/>
                  </a:lnTo>
                  <a:lnTo>
                    <a:pt x="27" y="894"/>
                  </a:lnTo>
                  <a:lnTo>
                    <a:pt x="35" y="884"/>
                  </a:lnTo>
                  <a:lnTo>
                    <a:pt x="38" y="893"/>
                  </a:lnTo>
                  <a:lnTo>
                    <a:pt x="39" y="904"/>
                  </a:lnTo>
                  <a:lnTo>
                    <a:pt x="46" y="905"/>
                  </a:lnTo>
                  <a:lnTo>
                    <a:pt x="51" y="898"/>
                  </a:lnTo>
                  <a:lnTo>
                    <a:pt x="54" y="886"/>
                  </a:lnTo>
                  <a:lnTo>
                    <a:pt x="53" y="867"/>
                  </a:lnTo>
                  <a:lnTo>
                    <a:pt x="45" y="860"/>
                  </a:lnTo>
                  <a:lnTo>
                    <a:pt x="39" y="848"/>
                  </a:lnTo>
                  <a:lnTo>
                    <a:pt x="37" y="851"/>
                  </a:lnTo>
                  <a:lnTo>
                    <a:pt x="38" y="844"/>
                  </a:lnTo>
                  <a:lnTo>
                    <a:pt x="31" y="832"/>
                  </a:lnTo>
                  <a:lnTo>
                    <a:pt x="23" y="814"/>
                  </a:lnTo>
                  <a:lnTo>
                    <a:pt x="8" y="787"/>
                  </a:lnTo>
                  <a:lnTo>
                    <a:pt x="8" y="758"/>
                  </a:lnTo>
                  <a:lnTo>
                    <a:pt x="13" y="748"/>
                  </a:lnTo>
                  <a:lnTo>
                    <a:pt x="28" y="733"/>
                  </a:lnTo>
                  <a:lnTo>
                    <a:pt x="29" y="725"/>
                  </a:lnTo>
                  <a:lnTo>
                    <a:pt x="28" y="716"/>
                  </a:lnTo>
                  <a:lnTo>
                    <a:pt x="29" y="695"/>
                  </a:lnTo>
                  <a:lnTo>
                    <a:pt x="22" y="683"/>
                  </a:lnTo>
                  <a:lnTo>
                    <a:pt x="27" y="661"/>
                  </a:lnTo>
                  <a:lnTo>
                    <a:pt x="33" y="652"/>
                  </a:lnTo>
                  <a:lnTo>
                    <a:pt x="39" y="637"/>
                  </a:lnTo>
                  <a:lnTo>
                    <a:pt x="43" y="63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cxnSp>
          <p:nvCxnSpPr>
            <p:cNvPr id="322" name="AutoShape 6">
              <a:extLst>
                <a:ext uri="{FF2B5EF4-FFF2-40B4-BE49-F238E27FC236}">
                  <a16:creationId xmlns:a16="http://schemas.microsoft.com/office/drawing/2014/main" id="{99003408-2D1E-5EAC-E36E-85214C080ACB}"/>
                </a:ext>
              </a:extLst>
            </p:cNvPr>
            <p:cNvCxnSpPr>
              <a:cxnSpLocks noChangeShapeType="1"/>
            </p:cNvCxnSpPr>
            <p:nvPr userDrawn="1"/>
          </p:nvCxnSpPr>
          <p:spPr bwMode="auto">
            <a:xfrm flipH="1">
              <a:off x="5861221" y="2339698"/>
              <a:ext cx="217882" cy="100598"/>
            </a:xfrm>
            <a:prstGeom prst="straightConnector1">
              <a:avLst/>
            </a:prstGeom>
            <a:solidFill>
              <a:schemeClr val="bg1">
                <a:lumMod val="50000"/>
              </a:schemeClr>
            </a:solidFill>
            <a:ln w="19080">
              <a:solidFill>
                <a:srgbClr val="FFFFFF"/>
              </a:solidFill>
              <a:round/>
              <a:headEnd type="triangle" w="med" len="med"/>
              <a:tailEnd/>
            </a:ln>
          </p:spPr>
        </p:cxn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54968733-400C-5979-E644-B56A408FA4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2D4DD51-735A-7535-A95D-705BC060EA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799F83DB-AA7E-BB5E-7B33-972A27C7753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DBDD38F8-B076-4153-93C6-90795F887522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1359ABA9-E719-0B1D-942C-C6EA5B5666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C05DBC64-9732-7E1D-33A5-8C08DBE34CE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EECC099-23FB-6B9B-8617-EE5036B15E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03875" y="88565"/>
            <a:ext cx="984250" cy="250052"/>
          </a:xfrm>
          <a:prstGeom prst="rect">
            <a:avLst/>
          </a:prstGeom>
        </p:spPr>
      </p:pic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B678A9A4-7FD7-E1B9-4BE5-7A16BDAEA394}"/>
              </a:ext>
            </a:extLst>
          </p:cNvPr>
          <p:cNvCxnSpPr>
            <a:cxnSpLocks/>
          </p:cNvCxnSpPr>
          <p:nvPr userDrawn="1"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" name="Straight Connector 323">
            <a:extLst>
              <a:ext uri="{FF2B5EF4-FFF2-40B4-BE49-F238E27FC236}">
                <a16:creationId xmlns:a16="http://schemas.microsoft.com/office/drawing/2014/main" id="{B1BDC16D-757D-CCF4-10B9-A6593882277F}"/>
              </a:ext>
            </a:extLst>
          </p:cNvPr>
          <p:cNvCxnSpPr>
            <a:cxnSpLocks/>
          </p:cNvCxnSpPr>
          <p:nvPr userDrawn="1"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10683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Ligh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0C8FFF-896B-C00B-0DB5-47AE19F7A2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4968733-400C-5979-E644-B56A408FA4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2D4DD51-735A-7535-A95D-705BC060EA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799F83DB-AA7E-BB5E-7B33-972A27C7753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3BBCB4A-96EC-42F1-B069-CFD71CA20D1D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2" name="Footer Placeholder 13">
            <a:extLst>
              <a:ext uri="{FF2B5EF4-FFF2-40B4-BE49-F238E27FC236}">
                <a16:creationId xmlns:a16="http://schemas.microsoft.com/office/drawing/2014/main" id="{1359ABA9-E719-0B1D-942C-C6EA5B5666D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5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5" name="Slide Number Placeholder 14">
            <a:extLst>
              <a:ext uri="{FF2B5EF4-FFF2-40B4-BE49-F238E27FC236}">
                <a16:creationId xmlns:a16="http://schemas.microsoft.com/office/drawing/2014/main" id="{C05DBC64-9732-7E1D-33A5-8C08DBE34CE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6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1386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 -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0C8FFF-896B-C00B-0DB5-47AE19F7A2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4968733-400C-5979-E644-B56A408FA4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2D4DD51-735A-7535-A95D-705BC060EA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802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799F83DB-AA7E-BB5E-7B33-972A27C7753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0236555" y="13802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8C57FC58-AF68-4D48-A6BA-854FC596FD33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1359ABA9-E719-0B1D-942C-C6EA5B5666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09600" y="656608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C05DBC64-9732-7E1D-33A5-8C08DBE34CE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8008" y="656608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33F4F06-5D7C-327A-7908-6DE931CA6E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03876" y="88565"/>
            <a:ext cx="995110" cy="252812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E5B9F64-B66D-E6EB-C8EC-A9824DAB4E8D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44C0331-4583-5CCE-84B1-9859951C2CDF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54509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- Ligh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644F2F-8058-0037-6983-DD53BBDAE6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E6CDED-3690-C823-89B5-50C27CBFD3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985037-0DF6-C09A-FF7F-5A35AE79B3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8015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8FE771C-AF3B-746F-8A25-2C5C4A4812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CED7064-E79D-96CC-BCD5-91C093F5AB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12" name="Date Placeholder 12">
            <a:extLst>
              <a:ext uri="{FF2B5EF4-FFF2-40B4-BE49-F238E27FC236}">
                <a16:creationId xmlns:a16="http://schemas.microsoft.com/office/drawing/2014/main" id="{59D8E57A-19A4-8130-A78B-E7988B8DA91F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78FAA32-B910-4033-ACC0-2DF9C585C3FB}" type="datetime4">
              <a:rPr lang="en-US" smtClean="0"/>
              <a:t>October 23, 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9130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644F2F-8058-0037-6983-DD53BBDAE6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985037-0DF6-C09A-FF7F-5A35AE79B3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80152"/>
            <a:ext cx="6705600" cy="30777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8FE771C-AF3B-746F-8A25-2C5C4A4812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6705600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CED7064-E79D-96CC-BCD5-91C093F5AB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2" name="Date Placeholder 12">
            <a:extLst>
              <a:ext uri="{FF2B5EF4-FFF2-40B4-BE49-F238E27FC236}">
                <a16:creationId xmlns:a16="http://schemas.microsoft.com/office/drawing/2014/main" id="{3BB0FB85-B250-7191-C62E-FCBF4D35D49F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0A4C574-FC99-4BD6-93EA-66C88A52739F}" type="datetime4">
              <a:rPr lang="en-US" smtClean="0"/>
              <a:t>October 23, 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74353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1 -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aphic 11">
            <a:extLst>
              <a:ext uri="{FF2B5EF4-FFF2-40B4-BE49-F238E27FC236}">
                <a16:creationId xmlns:a16="http://schemas.microsoft.com/office/drawing/2014/main" id="{248DABC0-B10B-ADFA-8C8B-A0111C99B2DE}"/>
              </a:ext>
            </a:extLst>
          </p:cNvPr>
          <p:cNvGrpSpPr/>
          <p:nvPr userDrawn="1"/>
        </p:nvGrpSpPr>
        <p:grpSpPr>
          <a:xfrm>
            <a:off x="714011" y="455159"/>
            <a:ext cx="2071862" cy="524230"/>
            <a:chOff x="609600" y="1268899"/>
            <a:chExt cx="2071862" cy="524230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B3C4B9F6-530D-7134-4B8B-AC949109E499}"/>
                </a:ext>
              </a:extLst>
            </p:cNvPr>
            <p:cNvSpPr/>
            <p:nvPr/>
          </p:nvSpPr>
          <p:spPr>
            <a:xfrm>
              <a:off x="1053119" y="1450023"/>
              <a:ext cx="1628343" cy="220192"/>
            </a:xfrm>
            <a:custGeom>
              <a:avLst/>
              <a:gdLst>
                <a:gd name="connsiteX0" fmla="*/ 100525 w 1628343"/>
                <a:gd name="connsiteY0" fmla="*/ 220192 h 220192"/>
                <a:gd name="connsiteX1" fmla="*/ 59778 w 1628343"/>
                <a:gd name="connsiteY1" fmla="*/ 212468 h 220192"/>
                <a:gd name="connsiteX2" fmla="*/ 28434 w 1628343"/>
                <a:gd name="connsiteY2" fmla="*/ 190639 h 220192"/>
                <a:gd name="connsiteX3" fmla="*/ 7276 w 1628343"/>
                <a:gd name="connsiteY3" fmla="*/ 155153 h 220192"/>
                <a:gd name="connsiteX4" fmla="*/ 0 w 1628343"/>
                <a:gd name="connsiteY4" fmla="*/ 110488 h 220192"/>
                <a:gd name="connsiteX5" fmla="*/ 8172 w 1628343"/>
                <a:gd name="connsiteY5" fmla="*/ 64255 h 220192"/>
                <a:gd name="connsiteX6" fmla="*/ 31344 w 1628343"/>
                <a:gd name="connsiteY6" fmla="*/ 28098 h 220192"/>
                <a:gd name="connsiteX7" fmla="*/ 62688 w 1628343"/>
                <a:gd name="connsiteY7" fmla="*/ 7388 h 220192"/>
                <a:gd name="connsiteX8" fmla="*/ 103771 w 1628343"/>
                <a:gd name="connsiteY8" fmla="*/ 0 h 220192"/>
                <a:gd name="connsiteX9" fmla="*/ 140377 w 1628343"/>
                <a:gd name="connsiteY9" fmla="*/ 5149 h 220192"/>
                <a:gd name="connsiteX10" fmla="*/ 168475 w 1628343"/>
                <a:gd name="connsiteY10" fmla="*/ 19926 h 220192"/>
                <a:gd name="connsiteX11" fmla="*/ 187505 w 1628343"/>
                <a:gd name="connsiteY11" fmla="*/ 43098 h 220192"/>
                <a:gd name="connsiteX12" fmla="*/ 197356 w 1628343"/>
                <a:gd name="connsiteY12" fmla="*/ 73211 h 220192"/>
                <a:gd name="connsiteX13" fmla="*/ 146534 w 1628343"/>
                <a:gd name="connsiteY13" fmla="*/ 73211 h 220192"/>
                <a:gd name="connsiteX14" fmla="*/ 133213 w 1628343"/>
                <a:gd name="connsiteY14" fmla="*/ 51606 h 220192"/>
                <a:gd name="connsiteX15" fmla="*/ 105451 w 1628343"/>
                <a:gd name="connsiteY15" fmla="*/ 42986 h 220192"/>
                <a:gd name="connsiteX16" fmla="*/ 82502 w 1628343"/>
                <a:gd name="connsiteY16" fmla="*/ 48136 h 220192"/>
                <a:gd name="connsiteX17" fmla="*/ 66047 w 1628343"/>
                <a:gd name="connsiteY17" fmla="*/ 62352 h 220192"/>
                <a:gd name="connsiteX18" fmla="*/ 56308 w 1628343"/>
                <a:gd name="connsiteY18" fmla="*/ 83622 h 220192"/>
                <a:gd name="connsiteX19" fmla="*/ 53061 w 1628343"/>
                <a:gd name="connsiteY19" fmla="*/ 110376 h 220192"/>
                <a:gd name="connsiteX20" fmla="*/ 56755 w 1628343"/>
                <a:gd name="connsiteY20" fmla="*/ 137242 h 220192"/>
                <a:gd name="connsiteX21" fmla="*/ 67278 w 1628343"/>
                <a:gd name="connsiteY21" fmla="*/ 158624 h 220192"/>
                <a:gd name="connsiteX22" fmla="*/ 83957 w 1628343"/>
                <a:gd name="connsiteY22" fmla="*/ 172616 h 220192"/>
                <a:gd name="connsiteX23" fmla="*/ 106234 w 1628343"/>
                <a:gd name="connsiteY23" fmla="*/ 177654 h 220192"/>
                <a:gd name="connsiteX24" fmla="*/ 124705 w 1628343"/>
                <a:gd name="connsiteY24" fmla="*/ 174519 h 220192"/>
                <a:gd name="connsiteX25" fmla="*/ 138586 w 1628343"/>
                <a:gd name="connsiteY25" fmla="*/ 166236 h 220192"/>
                <a:gd name="connsiteX26" fmla="*/ 147765 w 1628343"/>
                <a:gd name="connsiteY26" fmla="*/ 154370 h 220192"/>
                <a:gd name="connsiteX27" fmla="*/ 152019 w 1628343"/>
                <a:gd name="connsiteY27" fmla="*/ 140601 h 220192"/>
                <a:gd name="connsiteX28" fmla="*/ 152019 w 1628343"/>
                <a:gd name="connsiteY28" fmla="*/ 140041 h 220192"/>
                <a:gd name="connsiteX29" fmla="*/ 112391 w 1628343"/>
                <a:gd name="connsiteY29" fmla="*/ 140041 h 220192"/>
                <a:gd name="connsiteX30" fmla="*/ 112391 w 1628343"/>
                <a:gd name="connsiteY30" fmla="*/ 101644 h 220192"/>
                <a:gd name="connsiteX31" fmla="*/ 200490 w 1628343"/>
                <a:gd name="connsiteY31" fmla="*/ 101644 h 220192"/>
                <a:gd name="connsiteX32" fmla="*/ 200490 w 1628343"/>
                <a:gd name="connsiteY32" fmla="*/ 215155 h 220192"/>
                <a:gd name="connsiteX33" fmla="*/ 163885 w 1628343"/>
                <a:gd name="connsiteY33" fmla="*/ 215155 h 220192"/>
                <a:gd name="connsiteX34" fmla="*/ 160974 w 1628343"/>
                <a:gd name="connsiteY34" fmla="*/ 189744 h 220192"/>
                <a:gd name="connsiteX35" fmla="*/ 160415 w 1628343"/>
                <a:gd name="connsiteY35" fmla="*/ 189744 h 220192"/>
                <a:gd name="connsiteX36" fmla="*/ 134892 w 1628343"/>
                <a:gd name="connsiteY36" fmla="*/ 212916 h 220192"/>
                <a:gd name="connsiteX37" fmla="*/ 100413 w 1628343"/>
                <a:gd name="connsiteY37" fmla="*/ 219856 h 220192"/>
                <a:gd name="connsiteX38" fmla="*/ 278067 w 1628343"/>
                <a:gd name="connsiteY38" fmla="*/ 219521 h 220192"/>
                <a:gd name="connsiteX39" fmla="*/ 238327 w 1628343"/>
                <a:gd name="connsiteY39" fmla="*/ 203961 h 220192"/>
                <a:gd name="connsiteX40" fmla="*/ 224894 w 1628343"/>
                <a:gd name="connsiteY40" fmla="*/ 162989 h 220192"/>
                <a:gd name="connsiteX41" fmla="*/ 224894 w 1628343"/>
                <a:gd name="connsiteY41" fmla="*/ 63696 h 220192"/>
                <a:gd name="connsiteX42" fmla="*/ 272806 w 1628343"/>
                <a:gd name="connsiteY42" fmla="*/ 63696 h 220192"/>
                <a:gd name="connsiteX43" fmla="*/ 272806 w 1628343"/>
                <a:gd name="connsiteY43" fmla="*/ 153026 h 220192"/>
                <a:gd name="connsiteX44" fmla="*/ 278403 w 1628343"/>
                <a:gd name="connsiteY44" fmla="*/ 172057 h 220192"/>
                <a:gd name="connsiteX45" fmla="*/ 295530 w 1628343"/>
                <a:gd name="connsiteY45" fmla="*/ 178661 h 220192"/>
                <a:gd name="connsiteX46" fmla="*/ 315008 w 1628343"/>
                <a:gd name="connsiteY46" fmla="*/ 170266 h 220192"/>
                <a:gd name="connsiteX47" fmla="*/ 322061 w 1628343"/>
                <a:gd name="connsiteY47" fmla="*/ 148213 h 220192"/>
                <a:gd name="connsiteX48" fmla="*/ 322061 w 1628343"/>
                <a:gd name="connsiteY48" fmla="*/ 63696 h 220192"/>
                <a:gd name="connsiteX49" fmla="*/ 370197 w 1628343"/>
                <a:gd name="connsiteY49" fmla="*/ 63696 h 220192"/>
                <a:gd name="connsiteX50" fmla="*/ 370197 w 1628343"/>
                <a:gd name="connsiteY50" fmla="*/ 215043 h 220192"/>
                <a:gd name="connsiteX51" fmla="*/ 324076 w 1628343"/>
                <a:gd name="connsiteY51" fmla="*/ 215043 h 220192"/>
                <a:gd name="connsiteX52" fmla="*/ 324076 w 1628343"/>
                <a:gd name="connsiteY52" fmla="*/ 196460 h 220192"/>
                <a:gd name="connsiteX53" fmla="*/ 323180 w 1628343"/>
                <a:gd name="connsiteY53" fmla="*/ 196460 h 220192"/>
                <a:gd name="connsiteX54" fmla="*/ 304374 w 1628343"/>
                <a:gd name="connsiteY54" fmla="*/ 213588 h 220192"/>
                <a:gd name="connsiteX55" fmla="*/ 277955 w 1628343"/>
                <a:gd name="connsiteY55" fmla="*/ 219521 h 220192"/>
                <a:gd name="connsiteX56" fmla="*/ 397623 w 1628343"/>
                <a:gd name="connsiteY56" fmla="*/ 1679 h 220192"/>
                <a:gd name="connsiteX57" fmla="*/ 445758 w 1628343"/>
                <a:gd name="connsiteY57" fmla="*/ 1679 h 220192"/>
                <a:gd name="connsiteX58" fmla="*/ 445758 w 1628343"/>
                <a:gd name="connsiteY58" fmla="*/ 42762 h 220192"/>
                <a:gd name="connsiteX59" fmla="*/ 397623 w 1628343"/>
                <a:gd name="connsiteY59" fmla="*/ 42762 h 220192"/>
                <a:gd name="connsiteX60" fmla="*/ 397623 w 1628343"/>
                <a:gd name="connsiteY60" fmla="*/ 1679 h 220192"/>
                <a:gd name="connsiteX61" fmla="*/ 397623 w 1628343"/>
                <a:gd name="connsiteY61" fmla="*/ 63696 h 220192"/>
                <a:gd name="connsiteX62" fmla="*/ 445758 w 1628343"/>
                <a:gd name="connsiteY62" fmla="*/ 63696 h 220192"/>
                <a:gd name="connsiteX63" fmla="*/ 445758 w 1628343"/>
                <a:gd name="connsiteY63" fmla="*/ 215043 h 220192"/>
                <a:gd name="connsiteX64" fmla="*/ 397623 w 1628343"/>
                <a:gd name="connsiteY64" fmla="*/ 215043 h 220192"/>
                <a:gd name="connsiteX65" fmla="*/ 397623 w 1628343"/>
                <a:gd name="connsiteY65" fmla="*/ 63696 h 220192"/>
                <a:gd name="connsiteX66" fmla="*/ 532738 w 1628343"/>
                <a:gd name="connsiteY66" fmla="*/ 219745 h 220192"/>
                <a:gd name="connsiteX67" fmla="*/ 506096 w 1628343"/>
                <a:gd name="connsiteY67" fmla="*/ 214259 h 220192"/>
                <a:gd name="connsiteX68" fmla="*/ 485162 w 1628343"/>
                <a:gd name="connsiteY68" fmla="*/ 198475 h 220192"/>
                <a:gd name="connsiteX69" fmla="*/ 471393 w 1628343"/>
                <a:gd name="connsiteY69" fmla="*/ 173176 h 220192"/>
                <a:gd name="connsiteX70" fmla="*/ 466468 w 1628343"/>
                <a:gd name="connsiteY70" fmla="*/ 139369 h 220192"/>
                <a:gd name="connsiteX71" fmla="*/ 471393 w 1628343"/>
                <a:gd name="connsiteY71" fmla="*/ 106794 h 220192"/>
                <a:gd name="connsiteX72" fmla="*/ 484938 w 1628343"/>
                <a:gd name="connsiteY72" fmla="*/ 81495 h 220192"/>
                <a:gd name="connsiteX73" fmla="*/ 505760 w 1628343"/>
                <a:gd name="connsiteY73" fmla="*/ 65039 h 220192"/>
                <a:gd name="connsiteX74" fmla="*/ 532626 w 1628343"/>
                <a:gd name="connsiteY74" fmla="*/ 59106 h 220192"/>
                <a:gd name="connsiteX75" fmla="*/ 558373 w 1628343"/>
                <a:gd name="connsiteY75" fmla="*/ 65151 h 220192"/>
                <a:gd name="connsiteX76" fmla="*/ 574941 w 1628343"/>
                <a:gd name="connsiteY76" fmla="*/ 80711 h 220192"/>
                <a:gd name="connsiteX77" fmla="*/ 575836 w 1628343"/>
                <a:gd name="connsiteY77" fmla="*/ 80711 h 220192"/>
                <a:gd name="connsiteX78" fmla="*/ 575836 w 1628343"/>
                <a:gd name="connsiteY78" fmla="*/ 1455 h 220192"/>
                <a:gd name="connsiteX79" fmla="*/ 623972 w 1628343"/>
                <a:gd name="connsiteY79" fmla="*/ 1455 h 220192"/>
                <a:gd name="connsiteX80" fmla="*/ 623972 w 1628343"/>
                <a:gd name="connsiteY80" fmla="*/ 214931 h 220192"/>
                <a:gd name="connsiteX81" fmla="*/ 577851 w 1628343"/>
                <a:gd name="connsiteY81" fmla="*/ 214931 h 220192"/>
                <a:gd name="connsiteX82" fmla="*/ 577851 w 1628343"/>
                <a:gd name="connsiteY82" fmla="*/ 194557 h 220192"/>
                <a:gd name="connsiteX83" fmla="*/ 577292 w 1628343"/>
                <a:gd name="connsiteY83" fmla="*/ 194557 h 220192"/>
                <a:gd name="connsiteX84" fmla="*/ 559157 w 1628343"/>
                <a:gd name="connsiteY84" fmla="*/ 213028 h 220192"/>
                <a:gd name="connsiteX85" fmla="*/ 532738 w 1628343"/>
                <a:gd name="connsiteY85" fmla="*/ 219633 h 220192"/>
                <a:gd name="connsiteX86" fmla="*/ 545164 w 1628343"/>
                <a:gd name="connsiteY86" fmla="*/ 181460 h 220192"/>
                <a:gd name="connsiteX87" fmla="*/ 568672 w 1628343"/>
                <a:gd name="connsiteY87" fmla="*/ 169594 h 220192"/>
                <a:gd name="connsiteX88" fmla="*/ 577068 w 1628343"/>
                <a:gd name="connsiteY88" fmla="*/ 139145 h 220192"/>
                <a:gd name="connsiteX89" fmla="*/ 575165 w 1628343"/>
                <a:gd name="connsiteY89" fmla="*/ 121570 h 220192"/>
                <a:gd name="connsiteX90" fmla="*/ 569232 w 1628343"/>
                <a:gd name="connsiteY90" fmla="*/ 107689 h 220192"/>
                <a:gd name="connsiteX91" fmla="*/ 559493 w 1628343"/>
                <a:gd name="connsiteY91" fmla="*/ 98622 h 220192"/>
                <a:gd name="connsiteX92" fmla="*/ 545724 w 1628343"/>
                <a:gd name="connsiteY92" fmla="*/ 95376 h 220192"/>
                <a:gd name="connsiteX93" fmla="*/ 523223 w 1628343"/>
                <a:gd name="connsiteY93" fmla="*/ 107354 h 220192"/>
                <a:gd name="connsiteX94" fmla="*/ 515275 w 1628343"/>
                <a:gd name="connsiteY94" fmla="*/ 138586 h 220192"/>
                <a:gd name="connsiteX95" fmla="*/ 523111 w 1628343"/>
                <a:gd name="connsiteY95" fmla="*/ 169930 h 220192"/>
                <a:gd name="connsiteX96" fmla="*/ 545164 w 1628343"/>
                <a:gd name="connsiteY96" fmla="*/ 181460 h 220192"/>
                <a:gd name="connsiteX97" fmla="*/ 722482 w 1628343"/>
                <a:gd name="connsiteY97" fmla="*/ 219297 h 220192"/>
                <a:gd name="connsiteX98" fmla="*/ 688787 w 1628343"/>
                <a:gd name="connsiteY98" fmla="*/ 213252 h 220192"/>
                <a:gd name="connsiteX99" fmla="*/ 663376 w 1628343"/>
                <a:gd name="connsiteY99" fmla="*/ 196348 h 220192"/>
                <a:gd name="connsiteX100" fmla="*/ 647368 w 1628343"/>
                <a:gd name="connsiteY100" fmla="*/ 170825 h 220192"/>
                <a:gd name="connsiteX101" fmla="*/ 641771 w 1628343"/>
                <a:gd name="connsiteY101" fmla="*/ 138922 h 220192"/>
                <a:gd name="connsiteX102" fmla="*/ 647368 w 1628343"/>
                <a:gd name="connsiteY102" fmla="*/ 107465 h 220192"/>
                <a:gd name="connsiteX103" fmla="*/ 663376 w 1628343"/>
                <a:gd name="connsiteY103" fmla="*/ 82054 h 220192"/>
                <a:gd name="connsiteX104" fmla="*/ 687892 w 1628343"/>
                <a:gd name="connsiteY104" fmla="*/ 65263 h 220192"/>
                <a:gd name="connsiteX105" fmla="*/ 719572 w 1628343"/>
                <a:gd name="connsiteY105" fmla="*/ 59218 h 220192"/>
                <a:gd name="connsiteX106" fmla="*/ 748677 w 1628343"/>
                <a:gd name="connsiteY106" fmla="*/ 64255 h 220192"/>
                <a:gd name="connsiteX107" fmla="*/ 771289 w 1628343"/>
                <a:gd name="connsiteY107" fmla="*/ 78136 h 220192"/>
                <a:gd name="connsiteX108" fmla="*/ 791551 w 1628343"/>
                <a:gd name="connsiteY108" fmla="*/ 109592 h 220192"/>
                <a:gd name="connsiteX109" fmla="*/ 797932 w 1628343"/>
                <a:gd name="connsiteY109" fmla="*/ 151683 h 220192"/>
                <a:gd name="connsiteX110" fmla="*/ 689123 w 1628343"/>
                <a:gd name="connsiteY110" fmla="*/ 151683 h 220192"/>
                <a:gd name="connsiteX111" fmla="*/ 699758 w 1628343"/>
                <a:gd name="connsiteY111" fmla="*/ 175975 h 220192"/>
                <a:gd name="connsiteX112" fmla="*/ 723154 w 1628343"/>
                <a:gd name="connsiteY112" fmla="*/ 184818 h 220192"/>
                <a:gd name="connsiteX113" fmla="*/ 738826 w 1628343"/>
                <a:gd name="connsiteY113" fmla="*/ 180788 h 220192"/>
                <a:gd name="connsiteX114" fmla="*/ 748229 w 1628343"/>
                <a:gd name="connsiteY114" fmla="*/ 169706 h 220192"/>
                <a:gd name="connsiteX115" fmla="*/ 795245 w 1628343"/>
                <a:gd name="connsiteY115" fmla="*/ 169706 h 220192"/>
                <a:gd name="connsiteX116" fmla="*/ 786402 w 1628343"/>
                <a:gd name="connsiteY116" fmla="*/ 189408 h 220192"/>
                <a:gd name="connsiteX117" fmla="*/ 769834 w 1628343"/>
                <a:gd name="connsiteY117" fmla="*/ 205528 h 220192"/>
                <a:gd name="connsiteX118" fmla="*/ 748677 w 1628343"/>
                <a:gd name="connsiteY118" fmla="*/ 215827 h 220192"/>
                <a:gd name="connsiteX119" fmla="*/ 722482 w 1628343"/>
                <a:gd name="connsiteY119" fmla="*/ 219409 h 220192"/>
                <a:gd name="connsiteX120" fmla="*/ 749125 w 1628343"/>
                <a:gd name="connsiteY120" fmla="*/ 123026 h 220192"/>
                <a:gd name="connsiteX121" fmla="*/ 739945 w 1628343"/>
                <a:gd name="connsiteY121" fmla="*/ 101421 h 220192"/>
                <a:gd name="connsiteX122" fmla="*/ 720467 w 1628343"/>
                <a:gd name="connsiteY122" fmla="*/ 93473 h 220192"/>
                <a:gd name="connsiteX123" fmla="*/ 699198 w 1628343"/>
                <a:gd name="connsiteY123" fmla="*/ 101421 h 220192"/>
                <a:gd name="connsiteX124" fmla="*/ 689459 w 1628343"/>
                <a:gd name="connsiteY124" fmla="*/ 123026 h 220192"/>
                <a:gd name="connsiteX125" fmla="*/ 749125 w 1628343"/>
                <a:gd name="connsiteY125" fmla="*/ 123026 h 220192"/>
                <a:gd name="connsiteX126" fmla="*/ 815619 w 1628343"/>
                <a:gd name="connsiteY126" fmla="*/ 1567 h 220192"/>
                <a:gd name="connsiteX127" fmla="*/ 863755 w 1628343"/>
                <a:gd name="connsiteY127" fmla="*/ 1567 h 220192"/>
                <a:gd name="connsiteX128" fmla="*/ 863755 w 1628343"/>
                <a:gd name="connsiteY128" fmla="*/ 82278 h 220192"/>
                <a:gd name="connsiteX129" fmla="*/ 864650 w 1628343"/>
                <a:gd name="connsiteY129" fmla="*/ 82278 h 220192"/>
                <a:gd name="connsiteX130" fmla="*/ 883233 w 1628343"/>
                <a:gd name="connsiteY130" fmla="*/ 65263 h 220192"/>
                <a:gd name="connsiteX131" fmla="*/ 909539 w 1628343"/>
                <a:gd name="connsiteY131" fmla="*/ 59218 h 220192"/>
                <a:gd name="connsiteX132" fmla="*/ 931704 w 1628343"/>
                <a:gd name="connsiteY132" fmla="*/ 63472 h 220192"/>
                <a:gd name="connsiteX133" fmla="*/ 948272 w 1628343"/>
                <a:gd name="connsiteY133" fmla="*/ 75338 h 220192"/>
                <a:gd name="connsiteX134" fmla="*/ 958682 w 1628343"/>
                <a:gd name="connsiteY134" fmla="*/ 93361 h 220192"/>
                <a:gd name="connsiteX135" fmla="*/ 962265 w 1628343"/>
                <a:gd name="connsiteY135" fmla="*/ 116533 h 220192"/>
                <a:gd name="connsiteX136" fmla="*/ 962265 w 1628343"/>
                <a:gd name="connsiteY136" fmla="*/ 214931 h 220192"/>
                <a:gd name="connsiteX137" fmla="*/ 914129 w 1628343"/>
                <a:gd name="connsiteY137" fmla="*/ 214931 h 220192"/>
                <a:gd name="connsiteX138" fmla="*/ 914129 w 1628343"/>
                <a:gd name="connsiteY138" fmla="*/ 126272 h 220192"/>
                <a:gd name="connsiteX139" fmla="*/ 908196 w 1628343"/>
                <a:gd name="connsiteY139" fmla="*/ 106794 h 220192"/>
                <a:gd name="connsiteX140" fmla="*/ 890509 w 1628343"/>
                <a:gd name="connsiteY140" fmla="*/ 99406 h 220192"/>
                <a:gd name="connsiteX141" fmla="*/ 871143 w 1628343"/>
                <a:gd name="connsiteY141" fmla="*/ 108249 h 220192"/>
                <a:gd name="connsiteX142" fmla="*/ 863866 w 1628343"/>
                <a:gd name="connsiteY142" fmla="*/ 131309 h 220192"/>
                <a:gd name="connsiteX143" fmla="*/ 863866 w 1628343"/>
                <a:gd name="connsiteY143" fmla="*/ 214931 h 220192"/>
                <a:gd name="connsiteX144" fmla="*/ 815731 w 1628343"/>
                <a:gd name="connsiteY144" fmla="*/ 214931 h 220192"/>
                <a:gd name="connsiteX145" fmla="*/ 815731 w 1628343"/>
                <a:gd name="connsiteY145" fmla="*/ 1455 h 220192"/>
                <a:gd name="connsiteX146" fmla="*/ 1058312 w 1628343"/>
                <a:gd name="connsiteY146" fmla="*/ 219745 h 220192"/>
                <a:gd name="connsiteX147" fmla="*/ 1025065 w 1628343"/>
                <a:gd name="connsiteY147" fmla="*/ 213700 h 220192"/>
                <a:gd name="connsiteX148" fmla="*/ 999430 w 1628343"/>
                <a:gd name="connsiteY148" fmla="*/ 196796 h 220192"/>
                <a:gd name="connsiteX149" fmla="*/ 983086 w 1628343"/>
                <a:gd name="connsiteY149" fmla="*/ 171385 h 220192"/>
                <a:gd name="connsiteX150" fmla="*/ 977265 w 1628343"/>
                <a:gd name="connsiteY150" fmla="*/ 139593 h 220192"/>
                <a:gd name="connsiteX151" fmla="*/ 983086 w 1628343"/>
                <a:gd name="connsiteY151" fmla="*/ 107801 h 220192"/>
                <a:gd name="connsiteX152" fmla="*/ 999430 w 1628343"/>
                <a:gd name="connsiteY152" fmla="*/ 82390 h 220192"/>
                <a:gd name="connsiteX153" fmla="*/ 1025065 w 1628343"/>
                <a:gd name="connsiteY153" fmla="*/ 65599 h 220192"/>
                <a:gd name="connsiteX154" fmla="*/ 1058312 w 1628343"/>
                <a:gd name="connsiteY154" fmla="*/ 59554 h 220192"/>
                <a:gd name="connsiteX155" fmla="*/ 1091559 w 1628343"/>
                <a:gd name="connsiteY155" fmla="*/ 65599 h 220192"/>
                <a:gd name="connsiteX156" fmla="*/ 1116970 w 1628343"/>
                <a:gd name="connsiteY156" fmla="*/ 82390 h 220192"/>
                <a:gd name="connsiteX157" fmla="*/ 1133202 w 1628343"/>
                <a:gd name="connsiteY157" fmla="*/ 107801 h 220192"/>
                <a:gd name="connsiteX158" fmla="*/ 1138911 w 1628343"/>
                <a:gd name="connsiteY158" fmla="*/ 139593 h 220192"/>
                <a:gd name="connsiteX159" fmla="*/ 1133202 w 1628343"/>
                <a:gd name="connsiteY159" fmla="*/ 171385 h 220192"/>
                <a:gd name="connsiteX160" fmla="*/ 1116970 w 1628343"/>
                <a:gd name="connsiteY160" fmla="*/ 196796 h 220192"/>
                <a:gd name="connsiteX161" fmla="*/ 1091559 w 1628343"/>
                <a:gd name="connsiteY161" fmla="*/ 213700 h 220192"/>
                <a:gd name="connsiteX162" fmla="*/ 1058312 w 1628343"/>
                <a:gd name="connsiteY162" fmla="*/ 219745 h 220192"/>
                <a:gd name="connsiteX163" fmla="*/ 1057976 w 1628343"/>
                <a:gd name="connsiteY163" fmla="*/ 185490 h 220192"/>
                <a:gd name="connsiteX164" fmla="*/ 1082044 w 1628343"/>
                <a:gd name="connsiteY164" fmla="*/ 172952 h 220192"/>
                <a:gd name="connsiteX165" fmla="*/ 1090216 w 1628343"/>
                <a:gd name="connsiteY165" fmla="*/ 139705 h 220192"/>
                <a:gd name="connsiteX166" fmla="*/ 1082044 w 1628343"/>
                <a:gd name="connsiteY166" fmla="*/ 106346 h 220192"/>
                <a:gd name="connsiteX167" fmla="*/ 1057976 w 1628343"/>
                <a:gd name="connsiteY167" fmla="*/ 93585 h 220192"/>
                <a:gd name="connsiteX168" fmla="*/ 1034020 w 1628343"/>
                <a:gd name="connsiteY168" fmla="*/ 106346 h 220192"/>
                <a:gd name="connsiteX169" fmla="*/ 1026072 w 1628343"/>
                <a:gd name="connsiteY169" fmla="*/ 139705 h 220192"/>
                <a:gd name="connsiteX170" fmla="*/ 1034020 w 1628343"/>
                <a:gd name="connsiteY170" fmla="*/ 172952 h 220192"/>
                <a:gd name="connsiteX171" fmla="*/ 1057976 w 1628343"/>
                <a:gd name="connsiteY171" fmla="*/ 185490 h 220192"/>
                <a:gd name="connsiteX172" fmla="*/ 1207309 w 1628343"/>
                <a:gd name="connsiteY172" fmla="*/ 219521 h 220192"/>
                <a:gd name="connsiteX173" fmla="*/ 1167569 w 1628343"/>
                <a:gd name="connsiteY173" fmla="*/ 203961 h 220192"/>
                <a:gd name="connsiteX174" fmla="*/ 1154136 w 1628343"/>
                <a:gd name="connsiteY174" fmla="*/ 162989 h 220192"/>
                <a:gd name="connsiteX175" fmla="*/ 1154136 w 1628343"/>
                <a:gd name="connsiteY175" fmla="*/ 63696 h 220192"/>
                <a:gd name="connsiteX176" fmla="*/ 1202047 w 1628343"/>
                <a:gd name="connsiteY176" fmla="*/ 63696 h 220192"/>
                <a:gd name="connsiteX177" fmla="*/ 1202047 w 1628343"/>
                <a:gd name="connsiteY177" fmla="*/ 153026 h 220192"/>
                <a:gd name="connsiteX178" fmla="*/ 1207644 w 1628343"/>
                <a:gd name="connsiteY178" fmla="*/ 172057 h 220192"/>
                <a:gd name="connsiteX179" fmla="*/ 1224772 w 1628343"/>
                <a:gd name="connsiteY179" fmla="*/ 178661 h 220192"/>
                <a:gd name="connsiteX180" fmla="*/ 1244250 w 1628343"/>
                <a:gd name="connsiteY180" fmla="*/ 170266 h 220192"/>
                <a:gd name="connsiteX181" fmla="*/ 1251302 w 1628343"/>
                <a:gd name="connsiteY181" fmla="*/ 148213 h 220192"/>
                <a:gd name="connsiteX182" fmla="*/ 1251302 w 1628343"/>
                <a:gd name="connsiteY182" fmla="*/ 63696 h 220192"/>
                <a:gd name="connsiteX183" fmla="*/ 1299438 w 1628343"/>
                <a:gd name="connsiteY183" fmla="*/ 63696 h 220192"/>
                <a:gd name="connsiteX184" fmla="*/ 1299438 w 1628343"/>
                <a:gd name="connsiteY184" fmla="*/ 215043 h 220192"/>
                <a:gd name="connsiteX185" fmla="*/ 1253317 w 1628343"/>
                <a:gd name="connsiteY185" fmla="*/ 215043 h 220192"/>
                <a:gd name="connsiteX186" fmla="*/ 1253317 w 1628343"/>
                <a:gd name="connsiteY186" fmla="*/ 196460 h 220192"/>
                <a:gd name="connsiteX187" fmla="*/ 1252422 w 1628343"/>
                <a:gd name="connsiteY187" fmla="*/ 196460 h 220192"/>
                <a:gd name="connsiteX188" fmla="*/ 1233615 w 1628343"/>
                <a:gd name="connsiteY188" fmla="*/ 213588 h 220192"/>
                <a:gd name="connsiteX189" fmla="*/ 1207197 w 1628343"/>
                <a:gd name="connsiteY189" fmla="*/ 219521 h 220192"/>
                <a:gd name="connsiteX190" fmla="*/ 1389888 w 1628343"/>
                <a:gd name="connsiteY190" fmla="*/ 219856 h 220192"/>
                <a:gd name="connsiteX191" fmla="*/ 1336939 w 1628343"/>
                <a:gd name="connsiteY191" fmla="*/ 205528 h 220192"/>
                <a:gd name="connsiteX192" fmla="*/ 1316229 w 1628343"/>
                <a:gd name="connsiteY192" fmla="*/ 166012 h 220192"/>
                <a:gd name="connsiteX193" fmla="*/ 1361790 w 1628343"/>
                <a:gd name="connsiteY193" fmla="*/ 166012 h 220192"/>
                <a:gd name="connsiteX194" fmla="*/ 1370410 w 1628343"/>
                <a:gd name="connsiteY194" fmla="*/ 182915 h 220192"/>
                <a:gd name="connsiteX195" fmla="*/ 1389664 w 1628343"/>
                <a:gd name="connsiteY195" fmla="*/ 188512 h 220192"/>
                <a:gd name="connsiteX196" fmla="*/ 1406903 w 1628343"/>
                <a:gd name="connsiteY196" fmla="*/ 184706 h 220192"/>
                <a:gd name="connsiteX197" fmla="*/ 1413284 w 1628343"/>
                <a:gd name="connsiteY197" fmla="*/ 173512 h 220192"/>
                <a:gd name="connsiteX198" fmla="*/ 1410038 w 1628343"/>
                <a:gd name="connsiteY198" fmla="*/ 165340 h 220192"/>
                <a:gd name="connsiteX199" fmla="*/ 1401418 w 1628343"/>
                <a:gd name="connsiteY199" fmla="*/ 160303 h 220192"/>
                <a:gd name="connsiteX200" fmla="*/ 1389105 w 1628343"/>
                <a:gd name="connsiteY200" fmla="*/ 157392 h 220192"/>
                <a:gd name="connsiteX201" fmla="*/ 1374776 w 1628343"/>
                <a:gd name="connsiteY201" fmla="*/ 154929 h 220192"/>
                <a:gd name="connsiteX202" fmla="*/ 1355298 w 1628343"/>
                <a:gd name="connsiteY202" fmla="*/ 150676 h 220192"/>
                <a:gd name="connsiteX203" fmla="*/ 1337722 w 1628343"/>
                <a:gd name="connsiteY203" fmla="*/ 143175 h 220192"/>
                <a:gd name="connsiteX204" fmla="*/ 1325185 w 1628343"/>
                <a:gd name="connsiteY204" fmla="*/ 129742 h 220192"/>
                <a:gd name="connsiteX205" fmla="*/ 1320483 w 1628343"/>
                <a:gd name="connsiteY205" fmla="*/ 108025 h 220192"/>
                <a:gd name="connsiteX206" fmla="*/ 1325633 w 1628343"/>
                <a:gd name="connsiteY206" fmla="*/ 86980 h 220192"/>
                <a:gd name="connsiteX207" fmla="*/ 1339738 w 1628343"/>
                <a:gd name="connsiteY207" fmla="*/ 71756 h 220192"/>
                <a:gd name="connsiteX208" fmla="*/ 1360559 w 1628343"/>
                <a:gd name="connsiteY208" fmla="*/ 62576 h 220192"/>
                <a:gd name="connsiteX209" fmla="*/ 1385858 w 1628343"/>
                <a:gd name="connsiteY209" fmla="*/ 59442 h 220192"/>
                <a:gd name="connsiteX210" fmla="*/ 1435225 w 1628343"/>
                <a:gd name="connsiteY210" fmla="*/ 72427 h 220192"/>
                <a:gd name="connsiteX211" fmla="*/ 1454144 w 1628343"/>
                <a:gd name="connsiteY211" fmla="*/ 107913 h 220192"/>
                <a:gd name="connsiteX212" fmla="*/ 1409814 w 1628343"/>
                <a:gd name="connsiteY212" fmla="*/ 107913 h 220192"/>
                <a:gd name="connsiteX213" fmla="*/ 1401978 w 1628343"/>
                <a:gd name="connsiteY213" fmla="*/ 93920 h 220192"/>
                <a:gd name="connsiteX214" fmla="*/ 1385522 w 1628343"/>
                <a:gd name="connsiteY214" fmla="*/ 90226 h 220192"/>
                <a:gd name="connsiteX215" fmla="*/ 1370634 w 1628343"/>
                <a:gd name="connsiteY215" fmla="*/ 93585 h 220192"/>
                <a:gd name="connsiteX216" fmla="*/ 1364589 w 1628343"/>
                <a:gd name="connsiteY216" fmla="*/ 104107 h 220192"/>
                <a:gd name="connsiteX217" fmla="*/ 1367499 w 1628343"/>
                <a:gd name="connsiteY217" fmla="*/ 110600 h 220192"/>
                <a:gd name="connsiteX218" fmla="*/ 1375447 w 1628343"/>
                <a:gd name="connsiteY218" fmla="*/ 114630 h 220192"/>
                <a:gd name="connsiteX219" fmla="*/ 1387089 w 1628343"/>
                <a:gd name="connsiteY219" fmla="*/ 117428 h 220192"/>
                <a:gd name="connsiteX220" fmla="*/ 1400858 w 1628343"/>
                <a:gd name="connsiteY220" fmla="*/ 119779 h 220192"/>
                <a:gd name="connsiteX221" fmla="*/ 1421120 w 1628343"/>
                <a:gd name="connsiteY221" fmla="*/ 124033 h 220192"/>
                <a:gd name="connsiteX222" fmla="*/ 1439703 w 1628343"/>
                <a:gd name="connsiteY222" fmla="*/ 131869 h 220192"/>
                <a:gd name="connsiteX223" fmla="*/ 1453472 w 1628343"/>
                <a:gd name="connsiteY223" fmla="*/ 146198 h 220192"/>
                <a:gd name="connsiteX224" fmla="*/ 1458845 w 1628343"/>
                <a:gd name="connsiteY224" fmla="*/ 169706 h 220192"/>
                <a:gd name="connsiteX225" fmla="*/ 1453696 w 1628343"/>
                <a:gd name="connsiteY225" fmla="*/ 191535 h 220192"/>
                <a:gd name="connsiteX226" fmla="*/ 1439367 w 1628343"/>
                <a:gd name="connsiteY226" fmla="*/ 207207 h 220192"/>
                <a:gd name="connsiteX227" fmla="*/ 1417538 w 1628343"/>
                <a:gd name="connsiteY227" fmla="*/ 216722 h 220192"/>
                <a:gd name="connsiteX228" fmla="*/ 1390000 w 1628343"/>
                <a:gd name="connsiteY228" fmla="*/ 219968 h 220192"/>
                <a:gd name="connsiteX229" fmla="*/ 1552877 w 1628343"/>
                <a:gd name="connsiteY229" fmla="*/ 219633 h 220192"/>
                <a:gd name="connsiteX230" fmla="*/ 1519183 w 1628343"/>
                <a:gd name="connsiteY230" fmla="*/ 213588 h 220192"/>
                <a:gd name="connsiteX231" fmla="*/ 1493771 w 1628343"/>
                <a:gd name="connsiteY231" fmla="*/ 196684 h 220192"/>
                <a:gd name="connsiteX232" fmla="*/ 1477764 w 1628343"/>
                <a:gd name="connsiteY232" fmla="*/ 171161 h 220192"/>
                <a:gd name="connsiteX233" fmla="*/ 1472166 w 1628343"/>
                <a:gd name="connsiteY233" fmla="*/ 139257 h 220192"/>
                <a:gd name="connsiteX234" fmla="*/ 1477764 w 1628343"/>
                <a:gd name="connsiteY234" fmla="*/ 107801 h 220192"/>
                <a:gd name="connsiteX235" fmla="*/ 1493771 w 1628343"/>
                <a:gd name="connsiteY235" fmla="*/ 82390 h 220192"/>
                <a:gd name="connsiteX236" fmla="*/ 1518287 w 1628343"/>
                <a:gd name="connsiteY236" fmla="*/ 65599 h 220192"/>
                <a:gd name="connsiteX237" fmla="*/ 1549967 w 1628343"/>
                <a:gd name="connsiteY237" fmla="*/ 59554 h 220192"/>
                <a:gd name="connsiteX238" fmla="*/ 1579072 w 1628343"/>
                <a:gd name="connsiteY238" fmla="*/ 64591 h 220192"/>
                <a:gd name="connsiteX239" fmla="*/ 1601685 w 1628343"/>
                <a:gd name="connsiteY239" fmla="*/ 78472 h 220192"/>
                <a:gd name="connsiteX240" fmla="*/ 1621946 w 1628343"/>
                <a:gd name="connsiteY240" fmla="*/ 109928 h 220192"/>
                <a:gd name="connsiteX241" fmla="*/ 1628327 w 1628343"/>
                <a:gd name="connsiteY241" fmla="*/ 152019 h 220192"/>
                <a:gd name="connsiteX242" fmla="*/ 1519518 w 1628343"/>
                <a:gd name="connsiteY242" fmla="*/ 152019 h 220192"/>
                <a:gd name="connsiteX243" fmla="*/ 1530153 w 1628343"/>
                <a:gd name="connsiteY243" fmla="*/ 176311 h 220192"/>
                <a:gd name="connsiteX244" fmla="*/ 1553549 w 1628343"/>
                <a:gd name="connsiteY244" fmla="*/ 185154 h 220192"/>
                <a:gd name="connsiteX245" fmla="*/ 1569221 w 1628343"/>
                <a:gd name="connsiteY245" fmla="*/ 181124 h 220192"/>
                <a:gd name="connsiteX246" fmla="*/ 1578736 w 1628343"/>
                <a:gd name="connsiteY246" fmla="*/ 170042 h 220192"/>
                <a:gd name="connsiteX247" fmla="*/ 1625753 w 1628343"/>
                <a:gd name="connsiteY247" fmla="*/ 170042 h 220192"/>
                <a:gd name="connsiteX248" fmla="*/ 1616909 w 1628343"/>
                <a:gd name="connsiteY248" fmla="*/ 189744 h 220192"/>
                <a:gd name="connsiteX249" fmla="*/ 1600341 w 1628343"/>
                <a:gd name="connsiteY249" fmla="*/ 205864 h 220192"/>
                <a:gd name="connsiteX250" fmla="*/ 1579184 w 1628343"/>
                <a:gd name="connsiteY250" fmla="*/ 216162 h 220192"/>
                <a:gd name="connsiteX251" fmla="*/ 1552990 w 1628343"/>
                <a:gd name="connsiteY251" fmla="*/ 219745 h 220192"/>
                <a:gd name="connsiteX252" fmla="*/ 1579632 w 1628343"/>
                <a:gd name="connsiteY252" fmla="*/ 123361 h 220192"/>
                <a:gd name="connsiteX253" fmla="*/ 1570453 w 1628343"/>
                <a:gd name="connsiteY253" fmla="*/ 101756 h 220192"/>
                <a:gd name="connsiteX254" fmla="*/ 1550974 w 1628343"/>
                <a:gd name="connsiteY254" fmla="*/ 93808 h 220192"/>
                <a:gd name="connsiteX255" fmla="*/ 1529705 w 1628343"/>
                <a:gd name="connsiteY255" fmla="*/ 101756 h 220192"/>
                <a:gd name="connsiteX256" fmla="*/ 1519966 w 1628343"/>
                <a:gd name="connsiteY256" fmla="*/ 123361 h 220192"/>
                <a:gd name="connsiteX257" fmla="*/ 1579632 w 1628343"/>
                <a:gd name="connsiteY257" fmla="*/ 123361 h 220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</a:cxnLst>
              <a:rect l="l" t="t" r="r" b="b"/>
              <a:pathLst>
                <a:path w="1628343" h="220192">
                  <a:moveTo>
                    <a:pt x="100525" y="220192"/>
                  </a:moveTo>
                  <a:cubicBezTo>
                    <a:pt x="85301" y="220192"/>
                    <a:pt x="71756" y="217618"/>
                    <a:pt x="59778" y="212468"/>
                  </a:cubicBezTo>
                  <a:cubicBezTo>
                    <a:pt x="47800" y="207319"/>
                    <a:pt x="37277" y="200043"/>
                    <a:pt x="28434" y="190639"/>
                  </a:cubicBezTo>
                  <a:cubicBezTo>
                    <a:pt x="19142" y="180564"/>
                    <a:pt x="12090" y="168810"/>
                    <a:pt x="7276" y="155153"/>
                  </a:cubicBezTo>
                  <a:cubicBezTo>
                    <a:pt x="2463" y="141608"/>
                    <a:pt x="0" y="126720"/>
                    <a:pt x="0" y="110488"/>
                  </a:cubicBezTo>
                  <a:cubicBezTo>
                    <a:pt x="0" y="94256"/>
                    <a:pt x="2687" y="78360"/>
                    <a:pt x="8172" y="64255"/>
                  </a:cubicBezTo>
                  <a:cubicBezTo>
                    <a:pt x="13545" y="50151"/>
                    <a:pt x="21269" y="38061"/>
                    <a:pt x="31344" y="28098"/>
                  </a:cubicBezTo>
                  <a:cubicBezTo>
                    <a:pt x="40188" y="19254"/>
                    <a:pt x="50598" y="12314"/>
                    <a:pt x="62688" y="7388"/>
                  </a:cubicBezTo>
                  <a:cubicBezTo>
                    <a:pt x="74666" y="2463"/>
                    <a:pt x="88435" y="0"/>
                    <a:pt x="103771" y="0"/>
                  </a:cubicBezTo>
                  <a:cubicBezTo>
                    <a:pt x="117317" y="0"/>
                    <a:pt x="129630" y="1679"/>
                    <a:pt x="140377" y="5149"/>
                  </a:cubicBezTo>
                  <a:cubicBezTo>
                    <a:pt x="151235" y="8620"/>
                    <a:pt x="160639" y="13545"/>
                    <a:pt x="168475" y="19926"/>
                  </a:cubicBezTo>
                  <a:cubicBezTo>
                    <a:pt x="176311" y="26307"/>
                    <a:pt x="182691" y="34031"/>
                    <a:pt x="187505" y="43098"/>
                  </a:cubicBezTo>
                  <a:cubicBezTo>
                    <a:pt x="192319" y="52166"/>
                    <a:pt x="195677" y="62240"/>
                    <a:pt x="197356" y="73211"/>
                  </a:cubicBezTo>
                  <a:lnTo>
                    <a:pt x="146534" y="73211"/>
                  </a:lnTo>
                  <a:cubicBezTo>
                    <a:pt x="144519" y="64591"/>
                    <a:pt x="140153" y="57315"/>
                    <a:pt x="133213" y="51606"/>
                  </a:cubicBezTo>
                  <a:cubicBezTo>
                    <a:pt x="126272" y="45897"/>
                    <a:pt x="117093" y="42986"/>
                    <a:pt x="105451" y="42986"/>
                  </a:cubicBezTo>
                  <a:cubicBezTo>
                    <a:pt x="96719" y="42986"/>
                    <a:pt x="89107" y="44777"/>
                    <a:pt x="82502" y="48136"/>
                  </a:cubicBezTo>
                  <a:cubicBezTo>
                    <a:pt x="75898" y="51606"/>
                    <a:pt x="70412" y="56307"/>
                    <a:pt x="66047" y="62352"/>
                  </a:cubicBezTo>
                  <a:cubicBezTo>
                    <a:pt x="61681" y="68397"/>
                    <a:pt x="58434" y="75450"/>
                    <a:pt x="56308" y="83622"/>
                  </a:cubicBezTo>
                  <a:cubicBezTo>
                    <a:pt x="54181" y="91793"/>
                    <a:pt x="53061" y="100749"/>
                    <a:pt x="53061" y="110376"/>
                  </a:cubicBezTo>
                  <a:cubicBezTo>
                    <a:pt x="53061" y="120003"/>
                    <a:pt x="54293" y="128959"/>
                    <a:pt x="56755" y="137242"/>
                  </a:cubicBezTo>
                  <a:cubicBezTo>
                    <a:pt x="59218" y="145526"/>
                    <a:pt x="62688" y="152691"/>
                    <a:pt x="67278" y="158624"/>
                  </a:cubicBezTo>
                  <a:cubicBezTo>
                    <a:pt x="71868" y="164668"/>
                    <a:pt x="77353" y="169370"/>
                    <a:pt x="83957" y="172616"/>
                  </a:cubicBezTo>
                  <a:cubicBezTo>
                    <a:pt x="90562" y="175975"/>
                    <a:pt x="97950" y="177654"/>
                    <a:pt x="106234" y="177654"/>
                  </a:cubicBezTo>
                  <a:cubicBezTo>
                    <a:pt x="113063" y="177654"/>
                    <a:pt x="119332" y="176646"/>
                    <a:pt x="124705" y="174519"/>
                  </a:cubicBezTo>
                  <a:cubicBezTo>
                    <a:pt x="130078" y="172505"/>
                    <a:pt x="134780" y="169706"/>
                    <a:pt x="138586" y="166236"/>
                  </a:cubicBezTo>
                  <a:cubicBezTo>
                    <a:pt x="142392" y="162765"/>
                    <a:pt x="145526" y="158847"/>
                    <a:pt x="147765" y="154370"/>
                  </a:cubicBezTo>
                  <a:cubicBezTo>
                    <a:pt x="150004" y="150004"/>
                    <a:pt x="151459" y="145414"/>
                    <a:pt x="152019" y="140601"/>
                  </a:cubicBezTo>
                  <a:lnTo>
                    <a:pt x="152019" y="140041"/>
                  </a:lnTo>
                  <a:lnTo>
                    <a:pt x="112391" y="140041"/>
                  </a:lnTo>
                  <a:lnTo>
                    <a:pt x="112391" y="101644"/>
                  </a:lnTo>
                  <a:lnTo>
                    <a:pt x="200490" y="101644"/>
                  </a:lnTo>
                  <a:lnTo>
                    <a:pt x="200490" y="215155"/>
                  </a:lnTo>
                  <a:lnTo>
                    <a:pt x="163885" y="215155"/>
                  </a:lnTo>
                  <a:lnTo>
                    <a:pt x="160974" y="189744"/>
                  </a:lnTo>
                  <a:lnTo>
                    <a:pt x="160415" y="189744"/>
                  </a:lnTo>
                  <a:cubicBezTo>
                    <a:pt x="153474" y="200602"/>
                    <a:pt x="144967" y="208326"/>
                    <a:pt x="134892" y="212916"/>
                  </a:cubicBezTo>
                  <a:cubicBezTo>
                    <a:pt x="124705" y="217506"/>
                    <a:pt x="113287" y="219856"/>
                    <a:pt x="100413" y="219856"/>
                  </a:cubicBezTo>
                  <a:moveTo>
                    <a:pt x="278067" y="219521"/>
                  </a:moveTo>
                  <a:cubicBezTo>
                    <a:pt x="260492" y="219521"/>
                    <a:pt x="247283" y="214371"/>
                    <a:pt x="238327" y="203961"/>
                  </a:cubicBezTo>
                  <a:cubicBezTo>
                    <a:pt x="229372" y="193662"/>
                    <a:pt x="224894" y="180005"/>
                    <a:pt x="224894" y="162989"/>
                  </a:cubicBezTo>
                  <a:lnTo>
                    <a:pt x="224894" y="63696"/>
                  </a:lnTo>
                  <a:lnTo>
                    <a:pt x="272806" y="63696"/>
                  </a:lnTo>
                  <a:lnTo>
                    <a:pt x="272806" y="153026"/>
                  </a:lnTo>
                  <a:cubicBezTo>
                    <a:pt x="272806" y="161310"/>
                    <a:pt x="274709" y="167691"/>
                    <a:pt x="278403" y="172057"/>
                  </a:cubicBezTo>
                  <a:cubicBezTo>
                    <a:pt x="282097" y="176534"/>
                    <a:pt x="287918" y="178661"/>
                    <a:pt x="295530" y="178661"/>
                  </a:cubicBezTo>
                  <a:cubicBezTo>
                    <a:pt x="303814" y="178661"/>
                    <a:pt x="310307" y="175863"/>
                    <a:pt x="315008" y="170266"/>
                  </a:cubicBezTo>
                  <a:cubicBezTo>
                    <a:pt x="319710" y="164668"/>
                    <a:pt x="322061" y="157280"/>
                    <a:pt x="322061" y="148213"/>
                  </a:cubicBezTo>
                  <a:lnTo>
                    <a:pt x="322061" y="63696"/>
                  </a:lnTo>
                  <a:lnTo>
                    <a:pt x="370197" y="63696"/>
                  </a:lnTo>
                  <a:lnTo>
                    <a:pt x="370197" y="215043"/>
                  </a:lnTo>
                  <a:lnTo>
                    <a:pt x="324076" y="215043"/>
                  </a:lnTo>
                  <a:lnTo>
                    <a:pt x="324076" y="196460"/>
                  </a:lnTo>
                  <a:lnTo>
                    <a:pt x="323180" y="196460"/>
                  </a:lnTo>
                  <a:cubicBezTo>
                    <a:pt x="317695" y="203961"/>
                    <a:pt x="311426" y="209670"/>
                    <a:pt x="304374" y="213588"/>
                  </a:cubicBezTo>
                  <a:cubicBezTo>
                    <a:pt x="297433" y="217506"/>
                    <a:pt x="288590" y="219521"/>
                    <a:pt x="277955" y="219521"/>
                  </a:cubicBezTo>
                  <a:moveTo>
                    <a:pt x="397623" y="1679"/>
                  </a:moveTo>
                  <a:lnTo>
                    <a:pt x="445758" y="1679"/>
                  </a:lnTo>
                  <a:lnTo>
                    <a:pt x="445758" y="42762"/>
                  </a:lnTo>
                  <a:lnTo>
                    <a:pt x="397623" y="42762"/>
                  </a:lnTo>
                  <a:lnTo>
                    <a:pt x="397623" y="1679"/>
                  </a:lnTo>
                  <a:close/>
                  <a:moveTo>
                    <a:pt x="397623" y="63696"/>
                  </a:moveTo>
                  <a:lnTo>
                    <a:pt x="445758" y="63696"/>
                  </a:lnTo>
                  <a:lnTo>
                    <a:pt x="445758" y="215043"/>
                  </a:lnTo>
                  <a:lnTo>
                    <a:pt x="397623" y="215043"/>
                  </a:lnTo>
                  <a:lnTo>
                    <a:pt x="397623" y="63696"/>
                  </a:lnTo>
                  <a:close/>
                  <a:moveTo>
                    <a:pt x="532738" y="219745"/>
                  </a:moveTo>
                  <a:cubicBezTo>
                    <a:pt x="523111" y="219745"/>
                    <a:pt x="514156" y="217953"/>
                    <a:pt x="506096" y="214259"/>
                  </a:cubicBezTo>
                  <a:cubicBezTo>
                    <a:pt x="498036" y="210565"/>
                    <a:pt x="490983" y="205304"/>
                    <a:pt x="485162" y="198475"/>
                  </a:cubicBezTo>
                  <a:cubicBezTo>
                    <a:pt x="479229" y="191535"/>
                    <a:pt x="474640" y="183139"/>
                    <a:pt x="471393" y="173176"/>
                  </a:cubicBezTo>
                  <a:cubicBezTo>
                    <a:pt x="468147" y="163213"/>
                    <a:pt x="466468" y="151907"/>
                    <a:pt x="466468" y="139369"/>
                  </a:cubicBezTo>
                  <a:cubicBezTo>
                    <a:pt x="466468" y="127503"/>
                    <a:pt x="468147" y="116757"/>
                    <a:pt x="471393" y="106794"/>
                  </a:cubicBezTo>
                  <a:cubicBezTo>
                    <a:pt x="474640" y="96943"/>
                    <a:pt x="479229" y="88547"/>
                    <a:pt x="484938" y="81495"/>
                  </a:cubicBezTo>
                  <a:cubicBezTo>
                    <a:pt x="490759" y="74554"/>
                    <a:pt x="497700" y="69069"/>
                    <a:pt x="505760" y="65039"/>
                  </a:cubicBezTo>
                  <a:cubicBezTo>
                    <a:pt x="513820" y="61121"/>
                    <a:pt x="522775" y="59106"/>
                    <a:pt x="532626" y="59106"/>
                  </a:cubicBezTo>
                  <a:cubicBezTo>
                    <a:pt x="543261" y="59106"/>
                    <a:pt x="551880" y="61121"/>
                    <a:pt x="558373" y="65151"/>
                  </a:cubicBezTo>
                  <a:cubicBezTo>
                    <a:pt x="564866" y="69181"/>
                    <a:pt x="570351" y="74330"/>
                    <a:pt x="574941" y="80711"/>
                  </a:cubicBezTo>
                  <a:lnTo>
                    <a:pt x="575836" y="80711"/>
                  </a:lnTo>
                  <a:lnTo>
                    <a:pt x="575836" y="1455"/>
                  </a:lnTo>
                  <a:lnTo>
                    <a:pt x="623972" y="1455"/>
                  </a:lnTo>
                  <a:lnTo>
                    <a:pt x="623972" y="214931"/>
                  </a:lnTo>
                  <a:lnTo>
                    <a:pt x="577851" y="214931"/>
                  </a:lnTo>
                  <a:lnTo>
                    <a:pt x="577851" y="194557"/>
                  </a:lnTo>
                  <a:lnTo>
                    <a:pt x="577292" y="194557"/>
                  </a:lnTo>
                  <a:cubicBezTo>
                    <a:pt x="572814" y="202393"/>
                    <a:pt x="566657" y="208550"/>
                    <a:pt x="559157" y="213028"/>
                  </a:cubicBezTo>
                  <a:cubicBezTo>
                    <a:pt x="551545" y="217506"/>
                    <a:pt x="542813" y="219633"/>
                    <a:pt x="532738" y="219633"/>
                  </a:cubicBezTo>
                  <a:moveTo>
                    <a:pt x="545164" y="181460"/>
                  </a:moveTo>
                  <a:cubicBezTo>
                    <a:pt x="555239" y="181460"/>
                    <a:pt x="563075" y="177542"/>
                    <a:pt x="568672" y="169594"/>
                  </a:cubicBezTo>
                  <a:cubicBezTo>
                    <a:pt x="574269" y="161758"/>
                    <a:pt x="577068" y="151571"/>
                    <a:pt x="577068" y="139145"/>
                  </a:cubicBezTo>
                  <a:cubicBezTo>
                    <a:pt x="577068" y="132877"/>
                    <a:pt x="576396" y="126944"/>
                    <a:pt x="575165" y="121570"/>
                  </a:cubicBezTo>
                  <a:cubicBezTo>
                    <a:pt x="573933" y="116197"/>
                    <a:pt x="571918" y="111495"/>
                    <a:pt x="569232" y="107689"/>
                  </a:cubicBezTo>
                  <a:cubicBezTo>
                    <a:pt x="566545" y="103883"/>
                    <a:pt x="563299" y="100861"/>
                    <a:pt x="559493" y="98622"/>
                  </a:cubicBezTo>
                  <a:cubicBezTo>
                    <a:pt x="555687" y="96495"/>
                    <a:pt x="551097" y="95376"/>
                    <a:pt x="545724" y="95376"/>
                  </a:cubicBezTo>
                  <a:cubicBezTo>
                    <a:pt x="536097" y="95376"/>
                    <a:pt x="528596" y="99406"/>
                    <a:pt x="523223" y="107354"/>
                  </a:cubicBezTo>
                  <a:cubicBezTo>
                    <a:pt x="517850" y="115302"/>
                    <a:pt x="515275" y="125712"/>
                    <a:pt x="515275" y="138586"/>
                  </a:cubicBezTo>
                  <a:cubicBezTo>
                    <a:pt x="515275" y="151459"/>
                    <a:pt x="517850" y="162206"/>
                    <a:pt x="523111" y="169930"/>
                  </a:cubicBezTo>
                  <a:cubicBezTo>
                    <a:pt x="528372" y="177654"/>
                    <a:pt x="535649" y="181460"/>
                    <a:pt x="545164" y="181460"/>
                  </a:cubicBezTo>
                  <a:moveTo>
                    <a:pt x="722482" y="219297"/>
                  </a:moveTo>
                  <a:cubicBezTo>
                    <a:pt x="710056" y="219297"/>
                    <a:pt x="698862" y="217282"/>
                    <a:pt x="688787" y="213252"/>
                  </a:cubicBezTo>
                  <a:cubicBezTo>
                    <a:pt x="678712" y="209222"/>
                    <a:pt x="670205" y="203625"/>
                    <a:pt x="663376" y="196348"/>
                  </a:cubicBezTo>
                  <a:cubicBezTo>
                    <a:pt x="656436" y="189184"/>
                    <a:pt x="651174" y="180676"/>
                    <a:pt x="647368" y="170825"/>
                  </a:cubicBezTo>
                  <a:cubicBezTo>
                    <a:pt x="643674" y="160974"/>
                    <a:pt x="641771" y="150340"/>
                    <a:pt x="641771" y="138922"/>
                  </a:cubicBezTo>
                  <a:cubicBezTo>
                    <a:pt x="641771" y="127503"/>
                    <a:pt x="643674" y="117205"/>
                    <a:pt x="647368" y="107465"/>
                  </a:cubicBezTo>
                  <a:cubicBezTo>
                    <a:pt x="651062" y="97726"/>
                    <a:pt x="656436" y="89219"/>
                    <a:pt x="663376" y="82054"/>
                  </a:cubicBezTo>
                  <a:cubicBezTo>
                    <a:pt x="670317" y="74890"/>
                    <a:pt x="678488" y="69293"/>
                    <a:pt x="687892" y="65263"/>
                  </a:cubicBezTo>
                  <a:cubicBezTo>
                    <a:pt x="697295" y="61233"/>
                    <a:pt x="707929" y="59218"/>
                    <a:pt x="719572" y="59218"/>
                  </a:cubicBezTo>
                  <a:cubicBezTo>
                    <a:pt x="730430" y="59218"/>
                    <a:pt x="740169" y="60897"/>
                    <a:pt x="748677" y="64255"/>
                  </a:cubicBezTo>
                  <a:cubicBezTo>
                    <a:pt x="757296" y="67614"/>
                    <a:pt x="764797" y="72203"/>
                    <a:pt x="771289" y="78136"/>
                  </a:cubicBezTo>
                  <a:cubicBezTo>
                    <a:pt x="780357" y="86420"/>
                    <a:pt x="787073" y="96943"/>
                    <a:pt x="791551" y="109592"/>
                  </a:cubicBezTo>
                  <a:cubicBezTo>
                    <a:pt x="796029" y="122354"/>
                    <a:pt x="798044" y="136347"/>
                    <a:pt x="797932" y="151683"/>
                  </a:cubicBezTo>
                  <a:lnTo>
                    <a:pt x="689123" y="151683"/>
                  </a:lnTo>
                  <a:cubicBezTo>
                    <a:pt x="690690" y="161982"/>
                    <a:pt x="694272" y="170042"/>
                    <a:pt x="699758" y="175975"/>
                  </a:cubicBezTo>
                  <a:cubicBezTo>
                    <a:pt x="705243" y="181908"/>
                    <a:pt x="713079" y="184818"/>
                    <a:pt x="723154" y="184818"/>
                  </a:cubicBezTo>
                  <a:cubicBezTo>
                    <a:pt x="729423" y="184818"/>
                    <a:pt x="734684" y="183475"/>
                    <a:pt x="738826" y="180788"/>
                  </a:cubicBezTo>
                  <a:cubicBezTo>
                    <a:pt x="742968" y="178102"/>
                    <a:pt x="746102" y="174408"/>
                    <a:pt x="748229" y="169706"/>
                  </a:cubicBezTo>
                  <a:lnTo>
                    <a:pt x="795245" y="169706"/>
                  </a:lnTo>
                  <a:cubicBezTo>
                    <a:pt x="793678" y="176646"/>
                    <a:pt x="790656" y="183139"/>
                    <a:pt x="786402" y="189408"/>
                  </a:cubicBezTo>
                  <a:cubicBezTo>
                    <a:pt x="782036" y="195565"/>
                    <a:pt x="776551" y="200938"/>
                    <a:pt x="769834" y="205528"/>
                  </a:cubicBezTo>
                  <a:cubicBezTo>
                    <a:pt x="763565" y="210117"/>
                    <a:pt x="756513" y="213476"/>
                    <a:pt x="748677" y="215827"/>
                  </a:cubicBezTo>
                  <a:cubicBezTo>
                    <a:pt x="740953" y="218177"/>
                    <a:pt x="732221" y="219409"/>
                    <a:pt x="722482" y="219409"/>
                  </a:cubicBezTo>
                  <a:moveTo>
                    <a:pt x="749125" y="123026"/>
                  </a:moveTo>
                  <a:cubicBezTo>
                    <a:pt x="748117" y="113958"/>
                    <a:pt x="745095" y="106794"/>
                    <a:pt x="739945" y="101421"/>
                  </a:cubicBezTo>
                  <a:cubicBezTo>
                    <a:pt x="734796" y="96159"/>
                    <a:pt x="728303" y="93473"/>
                    <a:pt x="720467" y="93473"/>
                  </a:cubicBezTo>
                  <a:cubicBezTo>
                    <a:pt x="711176" y="93473"/>
                    <a:pt x="704123" y="96159"/>
                    <a:pt x="699198" y="101421"/>
                  </a:cubicBezTo>
                  <a:cubicBezTo>
                    <a:pt x="694272" y="106794"/>
                    <a:pt x="691026" y="113958"/>
                    <a:pt x="689459" y="123026"/>
                  </a:cubicBezTo>
                  <a:lnTo>
                    <a:pt x="749125" y="123026"/>
                  </a:lnTo>
                  <a:close/>
                  <a:moveTo>
                    <a:pt x="815619" y="1567"/>
                  </a:moveTo>
                  <a:lnTo>
                    <a:pt x="863755" y="1567"/>
                  </a:lnTo>
                  <a:lnTo>
                    <a:pt x="863755" y="82278"/>
                  </a:lnTo>
                  <a:lnTo>
                    <a:pt x="864650" y="82278"/>
                  </a:lnTo>
                  <a:cubicBezTo>
                    <a:pt x="870135" y="75002"/>
                    <a:pt x="876404" y="69293"/>
                    <a:pt x="883233" y="65263"/>
                  </a:cubicBezTo>
                  <a:cubicBezTo>
                    <a:pt x="890173" y="61233"/>
                    <a:pt x="898905" y="59218"/>
                    <a:pt x="909539" y="59218"/>
                  </a:cubicBezTo>
                  <a:cubicBezTo>
                    <a:pt x="917823" y="59218"/>
                    <a:pt x="925211" y="60673"/>
                    <a:pt x="931704" y="63472"/>
                  </a:cubicBezTo>
                  <a:cubicBezTo>
                    <a:pt x="938197" y="66270"/>
                    <a:pt x="943682" y="70300"/>
                    <a:pt x="948272" y="75338"/>
                  </a:cubicBezTo>
                  <a:cubicBezTo>
                    <a:pt x="952861" y="80375"/>
                    <a:pt x="956220" y="86420"/>
                    <a:pt x="958682" y="93361"/>
                  </a:cubicBezTo>
                  <a:cubicBezTo>
                    <a:pt x="961033" y="100301"/>
                    <a:pt x="962265" y="108137"/>
                    <a:pt x="962265" y="116533"/>
                  </a:cubicBezTo>
                  <a:lnTo>
                    <a:pt x="962265" y="214931"/>
                  </a:lnTo>
                  <a:lnTo>
                    <a:pt x="914129" y="214931"/>
                  </a:lnTo>
                  <a:lnTo>
                    <a:pt x="914129" y="126272"/>
                  </a:lnTo>
                  <a:cubicBezTo>
                    <a:pt x="914129" y="118212"/>
                    <a:pt x="912114" y="111719"/>
                    <a:pt x="908196" y="106794"/>
                  </a:cubicBezTo>
                  <a:cubicBezTo>
                    <a:pt x="904278" y="101868"/>
                    <a:pt x="898345" y="99406"/>
                    <a:pt x="890509" y="99406"/>
                  </a:cubicBezTo>
                  <a:cubicBezTo>
                    <a:pt x="882673" y="99406"/>
                    <a:pt x="875956" y="102316"/>
                    <a:pt x="871143" y="108249"/>
                  </a:cubicBezTo>
                  <a:cubicBezTo>
                    <a:pt x="866329" y="114182"/>
                    <a:pt x="863866" y="121906"/>
                    <a:pt x="863866" y="131309"/>
                  </a:cubicBezTo>
                  <a:lnTo>
                    <a:pt x="863866" y="214931"/>
                  </a:lnTo>
                  <a:lnTo>
                    <a:pt x="815731" y="214931"/>
                  </a:lnTo>
                  <a:lnTo>
                    <a:pt x="815731" y="1455"/>
                  </a:lnTo>
                  <a:close/>
                  <a:moveTo>
                    <a:pt x="1058312" y="219745"/>
                  </a:moveTo>
                  <a:cubicBezTo>
                    <a:pt x="1046110" y="219745"/>
                    <a:pt x="1035028" y="217730"/>
                    <a:pt x="1025065" y="213700"/>
                  </a:cubicBezTo>
                  <a:cubicBezTo>
                    <a:pt x="1015102" y="209670"/>
                    <a:pt x="1006594" y="204072"/>
                    <a:pt x="999430" y="196796"/>
                  </a:cubicBezTo>
                  <a:cubicBezTo>
                    <a:pt x="992377" y="189632"/>
                    <a:pt x="986892" y="181124"/>
                    <a:pt x="983086" y="171385"/>
                  </a:cubicBezTo>
                  <a:cubicBezTo>
                    <a:pt x="979280" y="161646"/>
                    <a:pt x="977265" y="151011"/>
                    <a:pt x="977265" y="139593"/>
                  </a:cubicBezTo>
                  <a:cubicBezTo>
                    <a:pt x="977265" y="128175"/>
                    <a:pt x="979168" y="117540"/>
                    <a:pt x="983086" y="107801"/>
                  </a:cubicBezTo>
                  <a:cubicBezTo>
                    <a:pt x="986892" y="98062"/>
                    <a:pt x="992377" y="89555"/>
                    <a:pt x="999430" y="82390"/>
                  </a:cubicBezTo>
                  <a:cubicBezTo>
                    <a:pt x="1006482" y="75226"/>
                    <a:pt x="1015102" y="69629"/>
                    <a:pt x="1025065" y="65599"/>
                  </a:cubicBezTo>
                  <a:cubicBezTo>
                    <a:pt x="1035028" y="61569"/>
                    <a:pt x="1046110" y="59554"/>
                    <a:pt x="1058312" y="59554"/>
                  </a:cubicBezTo>
                  <a:cubicBezTo>
                    <a:pt x="1070514" y="59554"/>
                    <a:pt x="1081596" y="61569"/>
                    <a:pt x="1091559" y="65599"/>
                  </a:cubicBezTo>
                  <a:cubicBezTo>
                    <a:pt x="1101522" y="69629"/>
                    <a:pt x="1110030" y="75226"/>
                    <a:pt x="1116970" y="82390"/>
                  </a:cubicBezTo>
                  <a:cubicBezTo>
                    <a:pt x="1123911" y="89555"/>
                    <a:pt x="1129396" y="98062"/>
                    <a:pt x="1133202" y="107801"/>
                  </a:cubicBezTo>
                  <a:cubicBezTo>
                    <a:pt x="1137008" y="117540"/>
                    <a:pt x="1138911" y="128175"/>
                    <a:pt x="1138911" y="139593"/>
                  </a:cubicBezTo>
                  <a:cubicBezTo>
                    <a:pt x="1138911" y="151011"/>
                    <a:pt x="1137008" y="161646"/>
                    <a:pt x="1133202" y="171385"/>
                  </a:cubicBezTo>
                  <a:cubicBezTo>
                    <a:pt x="1129396" y="181124"/>
                    <a:pt x="1123911" y="189632"/>
                    <a:pt x="1116970" y="196796"/>
                  </a:cubicBezTo>
                  <a:cubicBezTo>
                    <a:pt x="1110030" y="203961"/>
                    <a:pt x="1101522" y="209558"/>
                    <a:pt x="1091559" y="213700"/>
                  </a:cubicBezTo>
                  <a:cubicBezTo>
                    <a:pt x="1081596" y="217730"/>
                    <a:pt x="1070514" y="219745"/>
                    <a:pt x="1058312" y="219745"/>
                  </a:cubicBezTo>
                  <a:moveTo>
                    <a:pt x="1057976" y="185490"/>
                  </a:moveTo>
                  <a:cubicBezTo>
                    <a:pt x="1068611" y="185490"/>
                    <a:pt x="1076671" y="181348"/>
                    <a:pt x="1082044" y="172952"/>
                  </a:cubicBezTo>
                  <a:cubicBezTo>
                    <a:pt x="1087529" y="164557"/>
                    <a:pt x="1090216" y="153474"/>
                    <a:pt x="1090216" y="139705"/>
                  </a:cubicBezTo>
                  <a:cubicBezTo>
                    <a:pt x="1090216" y="125936"/>
                    <a:pt x="1087529" y="114742"/>
                    <a:pt x="1082044" y="106346"/>
                  </a:cubicBezTo>
                  <a:cubicBezTo>
                    <a:pt x="1076671" y="97838"/>
                    <a:pt x="1068611" y="93585"/>
                    <a:pt x="1057976" y="93585"/>
                  </a:cubicBezTo>
                  <a:cubicBezTo>
                    <a:pt x="1047341" y="93585"/>
                    <a:pt x="1039394" y="97838"/>
                    <a:pt x="1034020" y="106346"/>
                  </a:cubicBezTo>
                  <a:cubicBezTo>
                    <a:pt x="1028759" y="114854"/>
                    <a:pt x="1026072" y="125936"/>
                    <a:pt x="1026072" y="139705"/>
                  </a:cubicBezTo>
                  <a:cubicBezTo>
                    <a:pt x="1026072" y="153474"/>
                    <a:pt x="1028759" y="164557"/>
                    <a:pt x="1034020" y="172952"/>
                  </a:cubicBezTo>
                  <a:cubicBezTo>
                    <a:pt x="1039394" y="181348"/>
                    <a:pt x="1047341" y="185490"/>
                    <a:pt x="1057976" y="185490"/>
                  </a:cubicBezTo>
                  <a:moveTo>
                    <a:pt x="1207309" y="219521"/>
                  </a:moveTo>
                  <a:cubicBezTo>
                    <a:pt x="1189733" y="219521"/>
                    <a:pt x="1176524" y="214371"/>
                    <a:pt x="1167569" y="203961"/>
                  </a:cubicBezTo>
                  <a:cubicBezTo>
                    <a:pt x="1158613" y="193662"/>
                    <a:pt x="1154136" y="180005"/>
                    <a:pt x="1154136" y="162989"/>
                  </a:cubicBezTo>
                  <a:lnTo>
                    <a:pt x="1154136" y="63696"/>
                  </a:lnTo>
                  <a:lnTo>
                    <a:pt x="1202047" y="63696"/>
                  </a:lnTo>
                  <a:lnTo>
                    <a:pt x="1202047" y="153026"/>
                  </a:lnTo>
                  <a:cubicBezTo>
                    <a:pt x="1202047" y="161310"/>
                    <a:pt x="1203950" y="167691"/>
                    <a:pt x="1207644" y="172057"/>
                  </a:cubicBezTo>
                  <a:cubicBezTo>
                    <a:pt x="1211339" y="176534"/>
                    <a:pt x="1217160" y="178661"/>
                    <a:pt x="1224772" y="178661"/>
                  </a:cubicBezTo>
                  <a:cubicBezTo>
                    <a:pt x="1233056" y="178661"/>
                    <a:pt x="1239548" y="175863"/>
                    <a:pt x="1244250" y="170266"/>
                  </a:cubicBezTo>
                  <a:cubicBezTo>
                    <a:pt x="1248951" y="164668"/>
                    <a:pt x="1251302" y="157280"/>
                    <a:pt x="1251302" y="148213"/>
                  </a:cubicBezTo>
                  <a:lnTo>
                    <a:pt x="1251302" y="63696"/>
                  </a:lnTo>
                  <a:lnTo>
                    <a:pt x="1299438" y="63696"/>
                  </a:lnTo>
                  <a:lnTo>
                    <a:pt x="1299438" y="215043"/>
                  </a:lnTo>
                  <a:lnTo>
                    <a:pt x="1253317" y="215043"/>
                  </a:lnTo>
                  <a:lnTo>
                    <a:pt x="1253317" y="196460"/>
                  </a:lnTo>
                  <a:lnTo>
                    <a:pt x="1252422" y="196460"/>
                  </a:lnTo>
                  <a:cubicBezTo>
                    <a:pt x="1246936" y="203961"/>
                    <a:pt x="1240668" y="209670"/>
                    <a:pt x="1233615" y="213588"/>
                  </a:cubicBezTo>
                  <a:cubicBezTo>
                    <a:pt x="1226675" y="217506"/>
                    <a:pt x="1217831" y="219521"/>
                    <a:pt x="1207197" y="219521"/>
                  </a:cubicBezTo>
                  <a:moveTo>
                    <a:pt x="1389888" y="219856"/>
                  </a:moveTo>
                  <a:cubicBezTo>
                    <a:pt x="1367611" y="219856"/>
                    <a:pt x="1350036" y="215043"/>
                    <a:pt x="1336939" y="205528"/>
                  </a:cubicBezTo>
                  <a:cubicBezTo>
                    <a:pt x="1323953" y="196013"/>
                    <a:pt x="1317013" y="182803"/>
                    <a:pt x="1316229" y="166012"/>
                  </a:cubicBezTo>
                  <a:lnTo>
                    <a:pt x="1361790" y="166012"/>
                  </a:lnTo>
                  <a:cubicBezTo>
                    <a:pt x="1362798" y="173512"/>
                    <a:pt x="1365596" y="179109"/>
                    <a:pt x="1370410" y="182915"/>
                  </a:cubicBezTo>
                  <a:cubicBezTo>
                    <a:pt x="1375112" y="186609"/>
                    <a:pt x="1381492" y="188512"/>
                    <a:pt x="1389664" y="188512"/>
                  </a:cubicBezTo>
                  <a:cubicBezTo>
                    <a:pt x="1396941" y="188512"/>
                    <a:pt x="1402761" y="187281"/>
                    <a:pt x="1406903" y="184706"/>
                  </a:cubicBezTo>
                  <a:cubicBezTo>
                    <a:pt x="1411157" y="182132"/>
                    <a:pt x="1413284" y="178437"/>
                    <a:pt x="1413284" y="173512"/>
                  </a:cubicBezTo>
                  <a:cubicBezTo>
                    <a:pt x="1413284" y="170154"/>
                    <a:pt x="1412165" y="167467"/>
                    <a:pt x="1410038" y="165340"/>
                  </a:cubicBezTo>
                  <a:cubicBezTo>
                    <a:pt x="1407911" y="163325"/>
                    <a:pt x="1405000" y="161646"/>
                    <a:pt x="1401418" y="160303"/>
                  </a:cubicBezTo>
                  <a:cubicBezTo>
                    <a:pt x="1397836" y="159071"/>
                    <a:pt x="1393806" y="158064"/>
                    <a:pt x="1389105" y="157392"/>
                  </a:cubicBezTo>
                  <a:cubicBezTo>
                    <a:pt x="1384515" y="156721"/>
                    <a:pt x="1379701" y="155825"/>
                    <a:pt x="1374776" y="154929"/>
                  </a:cubicBezTo>
                  <a:cubicBezTo>
                    <a:pt x="1368283" y="153698"/>
                    <a:pt x="1361790" y="152355"/>
                    <a:pt x="1355298" y="150676"/>
                  </a:cubicBezTo>
                  <a:cubicBezTo>
                    <a:pt x="1348805" y="148996"/>
                    <a:pt x="1342984" y="146534"/>
                    <a:pt x="1337722" y="143175"/>
                  </a:cubicBezTo>
                  <a:cubicBezTo>
                    <a:pt x="1332461" y="139817"/>
                    <a:pt x="1328319" y="135339"/>
                    <a:pt x="1325185" y="129742"/>
                  </a:cubicBezTo>
                  <a:cubicBezTo>
                    <a:pt x="1322050" y="124145"/>
                    <a:pt x="1320483" y="116869"/>
                    <a:pt x="1320483" y="108025"/>
                  </a:cubicBezTo>
                  <a:cubicBezTo>
                    <a:pt x="1320483" y="100189"/>
                    <a:pt x="1322162" y="93137"/>
                    <a:pt x="1325633" y="86980"/>
                  </a:cubicBezTo>
                  <a:cubicBezTo>
                    <a:pt x="1329103" y="80935"/>
                    <a:pt x="1333805" y="75786"/>
                    <a:pt x="1339738" y="71756"/>
                  </a:cubicBezTo>
                  <a:cubicBezTo>
                    <a:pt x="1345670" y="67726"/>
                    <a:pt x="1352611" y="64703"/>
                    <a:pt x="1360559" y="62576"/>
                  </a:cubicBezTo>
                  <a:cubicBezTo>
                    <a:pt x="1368507" y="60561"/>
                    <a:pt x="1377015" y="59442"/>
                    <a:pt x="1385858" y="59442"/>
                  </a:cubicBezTo>
                  <a:cubicBezTo>
                    <a:pt x="1407351" y="59442"/>
                    <a:pt x="1423807" y="63808"/>
                    <a:pt x="1435225" y="72427"/>
                  </a:cubicBezTo>
                  <a:cubicBezTo>
                    <a:pt x="1446643" y="81047"/>
                    <a:pt x="1452912" y="92913"/>
                    <a:pt x="1454144" y="107913"/>
                  </a:cubicBezTo>
                  <a:lnTo>
                    <a:pt x="1409814" y="107913"/>
                  </a:lnTo>
                  <a:cubicBezTo>
                    <a:pt x="1408807" y="100973"/>
                    <a:pt x="1406232" y="96383"/>
                    <a:pt x="1401978" y="93920"/>
                  </a:cubicBezTo>
                  <a:cubicBezTo>
                    <a:pt x="1397724" y="91458"/>
                    <a:pt x="1392239" y="90226"/>
                    <a:pt x="1385522" y="90226"/>
                  </a:cubicBezTo>
                  <a:cubicBezTo>
                    <a:pt x="1379589" y="90226"/>
                    <a:pt x="1374664" y="91346"/>
                    <a:pt x="1370634" y="93585"/>
                  </a:cubicBezTo>
                  <a:cubicBezTo>
                    <a:pt x="1366604" y="95823"/>
                    <a:pt x="1364589" y="99294"/>
                    <a:pt x="1364589" y="104107"/>
                  </a:cubicBezTo>
                  <a:cubicBezTo>
                    <a:pt x="1364589" y="106906"/>
                    <a:pt x="1365596" y="109033"/>
                    <a:pt x="1367499" y="110600"/>
                  </a:cubicBezTo>
                  <a:cubicBezTo>
                    <a:pt x="1369514" y="112167"/>
                    <a:pt x="1372089" y="113510"/>
                    <a:pt x="1375447" y="114630"/>
                  </a:cubicBezTo>
                  <a:cubicBezTo>
                    <a:pt x="1378806" y="115749"/>
                    <a:pt x="1382724" y="116645"/>
                    <a:pt x="1387089" y="117428"/>
                  </a:cubicBezTo>
                  <a:cubicBezTo>
                    <a:pt x="1391567" y="118212"/>
                    <a:pt x="1396157" y="118996"/>
                    <a:pt x="1400858" y="119779"/>
                  </a:cubicBezTo>
                  <a:cubicBezTo>
                    <a:pt x="1407575" y="120899"/>
                    <a:pt x="1414292" y="122354"/>
                    <a:pt x="1421120" y="124033"/>
                  </a:cubicBezTo>
                  <a:cubicBezTo>
                    <a:pt x="1427949" y="125712"/>
                    <a:pt x="1434106" y="128287"/>
                    <a:pt x="1439703" y="131869"/>
                  </a:cubicBezTo>
                  <a:cubicBezTo>
                    <a:pt x="1445300" y="135451"/>
                    <a:pt x="1449890" y="140153"/>
                    <a:pt x="1453472" y="146198"/>
                  </a:cubicBezTo>
                  <a:cubicBezTo>
                    <a:pt x="1457054" y="152243"/>
                    <a:pt x="1458845" y="160079"/>
                    <a:pt x="1458845" y="169706"/>
                  </a:cubicBezTo>
                  <a:cubicBezTo>
                    <a:pt x="1458845" y="177990"/>
                    <a:pt x="1457054" y="185266"/>
                    <a:pt x="1453696" y="191535"/>
                  </a:cubicBezTo>
                  <a:cubicBezTo>
                    <a:pt x="1450225" y="197804"/>
                    <a:pt x="1445412" y="203065"/>
                    <a:pt x="1439367" y="207207"/>
                  </a:cubicBezTo>
                  <a:cubicBezTo>
                    <a:pt x="1433210" y="211349"/>
                    <a:pt x="1425934" y="214483"/>
                    <a:pt x="1417538" y="216722"/>
                  </a:cubicBezTo>
                  <a:cubicBezTo>
                    <a:pt x="1409030" y="218849"/>
                    <a:pt x="1399851" y="219968"/>
                    <a:pt x="1390000" y="219968"/>
                  </a:cubicBezTo>
                  <a:moveTo>
                    <a:pt x="1552877" y="219633"/>
                  </a:moveTo>
                  <a:cubicBezTo>
                    <a:pt x="1540452" y="219633"/>
                    <a:pt x="1529257" y="217618"/>
                    <a:pt x="1519183" y="213588"/>
                  </a:cubicBezTo>
                  <a:cubicBezTo>
                    <a:pt x="1509108" y="209558"/>
                    <a:pt x="1500712" y="203961"/>
                    <a:pt x="1493771" y="196684"/>
                  </a:cubicBezTo>
                  <a:cubicBezTo>
                    <a:pt x="1486831" y="189520"/>
                    <a:pt x="1481570" y="181012"/>
                    <a:pt x="1477764" y="171161"/>
                  </a:cubicBezTo>
                  <a:cubicBezTo>
                    <a:pt x="1474069" y="161310"/>
                    <a:pt x="1472166" y="150676"/>
                    <a:pt x="1472166" y="139257"/>
                  </a:cubicBezTo>
                  <a:cubicBezTo>
                    <a:pt x="1472166" y="127839"/>
                    <a:pt x="1474069" y="117540"/>
                    <a:pt x="1477764" y="107801"/>
                  </a:cubicBezTo>
                  <a:cubicBezTo>
                    <a:pt x="1481458" y="98062"/>
                    <a:pt x="1486831" y="89555"/>
                    <a:pt x="1493771" y="82390"/>
                  </a:cubicBezTo>
                  <a:cubicBezTo>
                    <a:pt x="1500712" y="75226"/>
                    <a:pt x="1508884" y="69629"/>
                    <a:pt x="1518287" y="65599"/>
                  </a:cubicBezTo>
                  <a:cubicBezTo>
                    <a:pt x="1527802" y="61569"/>
                    <a:pt x="1538325" y="59554"/>
                    <a:pt x="1549967" y="59554"/>
                  </a:cubicBezTo>
                  <a:cubicBezTo>
                    <a:pt x="1560826" y="59554"/>
                    <a:pt x="1570453" y="61233"/>
                    <a:pt x="1579072" y="64591"/>
                  </a:cubicBezTo>
                  <a:cubicBezTo>
                    <a:pt x="1587692" y="67950"/>
                    <a:pt x="1595192" y="72539"/>
                    <a:pt x="1601685" y="78472"/>
                  </a:cubicBezTo>
                  <a:cubicBezTo>
                    <a:pt x="1610752" y="86756"/>
                    <a:pt x="1617469" y="97279"/>
                    <a:pt x="1621946" y="109928"/>
                  </a:cubicBezTo>
                  <a:cubicBezTo>
                    <a:pt x="1626424" y="122690"/>
                    <a:pt x="1628551" y="136683"/>
                    <a:pt x="1628327" y="152019"/>
                  </a:cubicBezTo>
                  <a:lnTo>
                    <a:pt x="1519518" y="152019"/>
                  </a:lnTo>
                  <a:cubicBezTo>
                    <a:pt x="1521086" y="162318"/>
                    <a:pt x="1524668" y="170378"/>
                    <a:pt x="1530153" y="176311"/>
                  </a:cubicBezTo>
                  <a:cubicBezTo>
                    <a:pt x="1535638" y="182244"/>
                    <a:pt x="1543474" y="185154"/>
                    <a:pt x="1553549" y="185154"/>
                  </a:cubicBezTo>
                  <a:cubicBezTo>
                    <a:pt x="1559818" y="185154"/>
                    <a:pt x="1565079" y="183811"/>
                    <a:pt x="1569221" y="181124"/>
                  </a:cubicBezTo>
                  <a:cubicBezTo>
                    <a:pt x="1573363" y="178437"/>
                    <a:pt x="1576498" y="174743"/>
                    <a:pt x="1578736" y="170042"/>
                  </a:cubicBezTo>
                  <a:lnTo>
                    <a:pt x="1625753" y="170042"/>
                  </a:lnTo>
                  <a:cubicBezTo>
                    <a:pt x="1624185" y="176982"/>
                    <a:pt x="1621275" y="183475"/>
                    <a:pt x="1616909" y="189744"/>
                  </a:cubicBezTo>
                  <a:cubicBezTo>
                    <a:pt x="1612543" y="196013"/>
                    <a:pt x="1607058" y="201274"/>
                    <a:pt x="1600341" y="205864"/>
                  </a:cubicBezTo>
                  <a:cubicBezTo>
                    <a:pt x="1594073" y="210453"/>
                    <a:pt x="1587020" y="213812"/>
                    <a:pt x="1579184" y="216162"/>
                  </a:cubicBezTo>
                  <a:cubicBezTo>
                    <a:pt x="1571348" y="218513"/>
                    <a:pt x="1562617" y="219745"/>
                    <a:pt x="1552990" y="219745"/>
                  </a:cubicBezTo>
                  <a:moveTo>
                    <a:pt x="1579632" y="123361"/>
                  </a:moveTo>
                  <a:cubicBezTo>
                    <a:pt x="1578624" y="114294"/>
                    <a:pt x="1575602" y="107130"/>
                    <a:pt x="1570453" y="101756"/>
                  </a:cubicBezTo>
                  <a:cubicBezTo>
                    <a:pt x="1565303" y="96495"/>
                    <a:pt x="1558810" y="93808"/>
                    <a:pt x="1550974" y="93808"/>
                  </a:cubicBezTo>
                  <a:cubicBezTo>
                    <a:pt x="1541683" y="93808"/>
                    <a:pt x="1534631" y="96495"/>
                    <a:pt x="1529705" y="101756"/>
                  </a:cubicBezTo>
                  <a:cubicBezTo>
                    <a:pt x="1524780" y="107130"/>
                    <a:pt x="1521533" y="114294"/>
                    <a:pt x="1519966" y="123361"/>
                  </a:cubicBezTo>
                  <a:lnTo>
                    <a:pt x="1579632" y="123361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9937AC71-AA29-4D58-AD0B-48517DBE7D0D}"/>
                </a:ext>
              </a:extLst>
            </p:cNvPr>
            <p:cNvSpPr/>
            <p:nvPr/>
          </p:nvSpPr>
          <p:spPr>
            <a:xfrm>
              <a:off x="821844" y="1268899"/>
              <a:ext cx="212244" cy="524230"/>
            </a:xfrm>
            <a:custGeom>
              <a:avLst/>
              <a:gdLst>
                <a:gd name="connsiteX0" fmla="*/ 0 w 212244"/>
                <a:gd name="connsiteY0" fmla="*/ 0 h 524230"/>
                <a:gd name="connsiteX1" fmla="*/ 0 w 212244"/>
                <a:gd name="connsiteY1" fmla="*/ 370084 h 524230"/>
                <a:gd name="connsiteX2" fmla="*/ 211685 w 212244"/>
                <a:gd name="connsiteY2" fmla="*/ 524230 h 524230"/>
                <a:gd name="connsiteX3" fmla="*/ 212244 w 212244"/>
                <a:gd name="connsiteY3" fmla="*/ 523670 h 524230"/>
                <a:gd name="connsiteX4" fmla="*/ 0 w 212244"/>
                <a:gd name="connsiteY4" fmla="*/ 0 h 524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2244" h="524230">
                  <a:moveTo>
                    <a:pt x="0" y="0"/>
                  </a:moveTo>
                  <a:lnTo>
                    <a:pt x="0" y="370084"/>
                  </a:lnTo>
                  <a:lnTo>
                    <a:pt x="211685" y="524230"/>
                  </a:lnTo>
                  <a:cubicBezTo>
                    <a:pt x="211685" y="524230"/>
                    <a:pt x="212133" y="523782"/>
                    <a:pt x="212244" y="52367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3D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A8444F99-FB38-E917-2CC6-6F787458E4AC}"/>
                </a:ext>
              </a:extLst>
            </p:cNvPr>
            <p:cNvSpPr/>
            <p:nvPr/>
          </p:nvSpPr>
          <p:spPr>
            <a:xfrm>
              <a:off x="609600" y="1268899"/>
              <a:ext cx="212244" cy="524118"/>
            </a:xfrm>
            <a:custGeom>
              <a:avLst/>
              <a:gdLst>
                <a:gd name="connsiteX0" fmla="*/ 0 w 212244"/>
                <a:gd name="connsiteY0" fmla="*/ 523558 h 524118"/>
                <a:gd name="connsiteX1" fmla="*/ 560 w 212244"/>
                <a:gd name="connsiteY1" fmla="*/ 524118 h 524118"/>
                <a:gd name="connsiteX2" fmla="*/ 212244 w 212244"/>
                <a:gd name="connsiteY2" fmla="*/ 369972 h 524118"/>
                <a:gd name="connsiteX3" fmla="*/ 212244 w 212244"/>
                <a:gd name="connsiteY3" fmla="*/ 0 h 524118"/>
                <a:gd name="connsiteX4" fmla="*/ 0 w 212244"/>
                <a:gd name="connsiteY4" fmla="*/ 523558 h 524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2244" h="524118">
                  <a:moveTo>
                    <a:pt x="0" y="523558"/>
                  </a:moveTo>
                  <a:cubicBezTo>
                    <a:pt x="0" y="523558"/>
                    <a:pt x="448" y="524006"/>
                    <a:pt x="560" y="524118"/>
                  </a:cubicBezTo>
                  <a:lnTo>
                    <a:pt x="212244" y="369972"/>
                  </a:lnTo>
                  <a:lnTo>
                    <a:pt x="212244" y="0"/>
                  </a:lnTo>
                  <a:lnTo>
                    <a:pt x="0" y="523558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E1A85A9-E412-184D-B6CF-A3DDA62221B1}"/>
              </a:ext>
            </a:extLst>
          </p:cNvPr>
          <p:cNvGrpSpPr/>
          <p:nvPr userDrawn="1"/>
        </p:nvGrpSpPr>
        <p:grpSpPr>
          <a:xfrm>
            <a:off x="-120073" y="3696853"/>
            <a:ext cx="12358258" cy="0"/>
            <a:chOff x="-101601" y="3429000"/>
            <a:chExt cx="12358258" cy="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9921AC8-C103-F58B-120C-B7CFBE7BC436}"/>
                </a:ext>
              </a:extLst>
            </p:cNvPr>
            <p:cNvCxnSpPr>
              <a:cxnSpLocks/>
            </p:cNvCxnSpPr>
            <p:nvPr userDrawn="1"/>
          </p:nvCxnSpPr>
          <p:spPr>
            <a:xfrm rot="5400000" flipH="1">
              <a:off x="6077528" y="-2750129"/>
              <a:ext cx="0" cy="12358258"/>
            </a:xfrm>
            <a:prstGeom prst="line">
              <a:avLst/>
            </a:prstGeom>
            <a:ln>
              <a:solidFill>
                <a:schemeClr val="bg1"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C0C0EA49-8A32-C756-AB52-CAF0DA226BF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741170" y="3429000"/>
              <a:ext cx="1735384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17089442-D37C-DDCD-AA7F-039483C5287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2990579" y="3429000"/>
              <a:ext cx="1735384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CC0C59B0-181B-CE20-F495-AE8E9203425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5239988" y="3429000"/>
              <a:ext cx="1735384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DF99DE1E-1074-A94A-CBEF-769216EB1FAF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7489397" y="3429000"/>
              <a:ext cx="1735384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B52E6928-4DB5-1504-5281-265B9F9F038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738806" y="3429000"/>
              <a:ext cx="1735384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C0998D65-616E-0544-CFBF-4F22B57FB601}"/>
              </a:ext>
            </a:extLst>
          </p:cNvPr>
          <p:cNvSpPr txBox="1"/>
          <p:nvPr userDrawn="1"/>
        </p:nvSpPr>
        <p:spPr>
          <a:xfrm>
            <a:off x="624840" y="1544542"/>
            <a:ext cx="7786913" cy="92333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5400" b="0">
                <a:solidFill>
                  <a:schemeClr val="bg1"/>
                </a:solidFill>
                <a:latin typeface="+mn-lt"/>
              </a:rPr>
              <a:t>Our RI</a:t>
            </a:r>
            <a:r>
              <a:rPr lang="en-US" sz="5400" b="0" baseline="30000">
                <a:solidFill>
                  <a:schemeClr val="bg1"/>
                </a:solidFill>
                <a:latin typeface="+mn-lt"/>
              </a:rPr>
              <a:t>2</a:t>
            </a:r>
            <a:r>
              <a:rPr lang="en-US" sz="5400" b="0">
                <a:solidFill>
                  <a:schemeClr val="bg1"/>
                </a:solidFill>
                <a:latin typeface="+mn-lt"/>
              </a:rPr>
              <a:t>SE Value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90715F3-2E35-1487-3E72-E475416EBD74}"/>
              </a:ext>
            </a:extLst>
          </p:cNvPr>
          <p:cNvSpPr txBox="1"/>
          <p:nvPr userDrawn="1"/>
        </p:nvSpPr>
        <p:spPr>
          <a:xfrm>
            <a:off x="722699" y="3976370"/>
            <a:ext cx="1730696" cy="1028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We rise by illuminating the diversity each person brings, ensuring all can shin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AC9B60FB-96B4-5C92-B2D2-0AD07845F907}"/>
              </a:ext>
            </a:extLst>
          </p:cNvPr>
          <p:cNvSpPr txBox="1"/>
          <p:nvPr userDrawn="1"/>
        </p:nvSpPr>
        <p:spPr>
          <a:xfrm>
            <a:off x="2975568" y="3976370"/>
            <a:ext cx="1730696" cy="1028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We rise by being courageously ethical and charting the right course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407A776-ADF6-731C-C564-F9C461585D11}"/>
              </a:ext>
            </a:extLst>
          </p:cNvPr>
          <p:cNvSpPr txBox="1"/>
          <p:nvPr userDrawn="1"/>
        </p:nvSpPr>
        <p:spPr>
          <a:xfrm>
            <a:off x="5173980" y="3976370"/>
            <a:ext cx="1828800" cy="1028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We rise by combining deep expertise with boundless creativity to deliver outstanding results</a:t>
            </a:r>
          </a:p>
          <a:p>
            <a:pPr algn="ctr"/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475B8F4F-1627-77BE-CAB4-1A53859D524A}"/>
              </a:ext>
            </a:extLst>
          </p:cNvPr>
          <p:cNvSpPr txBox="1"/>
          <p:nvPr userDrawn="1"/>
        </p:nvSpPr>
        <p:spPr>
          <a:xfrm>
            <a:off x="7426678" y="3976370"/>
            <a:ext cx="1828800" cy="1028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We rise by helping our people grow, our business succeed, and communities thrive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77142E8-BF39-3704-D734-F26D2F15AC5C}"/>
              </a:ext>
            </a:extLst>
          </p:cNvPr>
          <p:cNvSpPr txBox="1"/>
          <p:nvPr userDrawn="1"/>
        </p:nvSpPr>
        <p:spPr>
          <a:xfrm>
            <a:off x="9738605" y="3975100"/>
            <a:ext cx="1730696" cy="1028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We rise by being committed, refusing average and constantly evolving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26B11BF-32DA-DB30-52D3-8B7F0B0AEDB5}"/>
              </a:ext>
            </a:extLst>
          </p:cNvPr>
          <p:cNvSpPr txBox="1"/>
          <p:nvPr userDrawn="1"/>
        </p:nvSpPr>
        <p:spPr>
          <a:xfrm>
            <a:off x="722699" y="3288853"/>
            <a:ext cx="1730696" cy="32299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Be a Beacon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8ACB2CF-A52D-85B1-CB5D-FE93578E648C}"/>
              </a:ext>
            </a:extLst>
          </p:cNvPr>
          <p:cNvSpPr txBox="1"/>
          <p:nvPr userDrawn="1"/>
        </p:nvSpPr>
        <p:spPr>
          <a:xfrm>
            <a:off x="2975568" y="3288853"/>
            <a:ext cx="1730696" cy="32299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Be a Compass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1614595-B2A2-3775-14C9-0C1C887B0ED9}"/>
              </a:ext>
            </a:extLst>
          </p:cNvPr>
          <p:cNvSpPr txBox="1"/>
          <p:nvPr userDrawn="1"/>
        </p:nvSpPr>
        <p:spPr>
          <a:xfrm>
            <a:off x="5220809" y="3288853"/>
            <a:ext cx="1735142" cy="32299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Ignite Chang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D5CF787-BF98-A33F-7BCB-54A67FB3F341}"/>
              </a:ext>
            </a:extLst>
          </p:cNvPr>
          <p:cNvSpPr txBox="1"/>
          <p:nvPr userDrawn="1"/>
        </p:nvSpPr>
        <p:spPr>
          <a:xfrm>
            <a:off x="7426678" y="3288853"/>
            <a:ext cx="1828800" cy="32299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Be a Guardian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456B281-119F-E674-9B15-1100FE3AECF0}"/>
              </a:ext>
            </a:extLst>
          </p:cNvPr>
          <p:cNvSpPr txBox="1"/>
          <p:nvPr userDrawn="1"/>
        </p:nvSpPr>
        <p:spPr>
          <a:xfrm>
            <a:off x="9738605" y="3283773"/>
            <a:ext cx="1730696" cy="32299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Pursue Perfection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B465B399-4870-D1BB-A832-0927DCBCF0D7}"/>
              </a:ext>
            </a:extLst>
          </p:cNvPr>
          <p:cNvSpPr txBox="1"/>
          <p:nvPr userDrawn="1"/>
        </p:nvSpPr>
        <p:spPr>
          <a:xfrm>
            <a:off x="722699" y="2980206"/>
            <a:ext cx="1730696" cy="32299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r>
              <a:rPr lang="en-US" sz="1600" b="1" spc="300" baseline="0">
                <a:solidFill>
                  <a:schemeClr val="accent1"/>
                </a:solidFill>
                <a:latin typeface="+mj-lt"/>
              </a:rPr>
              <a:t>RESPECT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3F5DE07-9F0A-5EDD-E853-A2098DF5E0C2}"/>
              </a:ext>
            </a:extLst>
          </p:cNvPr>
          <p:cNvSpPr txBox="1"/>
          <p:nvPr userDrawn="1"/>
        </p:nvSpPr>
        <p:spPr>
          <a:xfrm>
            <a:off x="2975568" y="2980206"/>
            <a:ext cx="1730696" cy="32299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r>
              <a:rPr lang="en-US" sz="1600" b="1" spc="300" baseline="0">
                <a:solidFill>
                  <a:schemeClr val="accent1"/>
                </a:solidFill>
                <a:latin typeface="+mj-lt"/>
              </a:rPr>
              <a:t>INTEGRITY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BAF1FCA1-D7DB-8168-B80D-7635325208DC}"/>
              </a:ext>
            </a:extLst>
          </p:cNvPr>
          <p:cNvSpPr txBox="1"/>
          <p:nvPr userDrawn="1"/>
        </p:nvSpPr>
        <p:spPr>
          <a:xfrm>
            <a:off x="5212855" y="2980206"/>
            <a:ext cx="1730696" cy="32299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r>
              <a:rPr lang="en-US" sz="1600" b="1" spc="300" baseline="0">
                <a:solidFill>
                  <a:schemeClr val="accent1"/>
                </a:solidFill>
                <a:latin typeface="+mj-lt"/>
              </a:rPr>
              <a:t>INNOVATION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8AE0B2FA-B360-131B-57F4-FD13D1D78419}"/>
              </a:ext>
            </a:extLst>
          </p:cNvPr>
          <p:cNvSpPr txBox="1"/>
          <p:nvPr userDrawn="1"/>
        </p:nvSpPr>
        <p:spPr>
          <a:xfrm>
            <a:off x="7374092" y="2980206"/>
            <a:ext cx="1933738" cy="32299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r>
              <a:rPr lang="en-US" sz="1600" b="1" spc="300" baseline="0">
                <a:solidFill>
                  <a:schemeClr val="accent1"/>
                </a:solidFill>
                <a:latin typeface="+mj-lt"/>
              </a:rPr>
              <a:t>STEWARDSHIP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008C5AD4-4C58-C754-3E81-DB46F852A24F}"/>
              </a:ext>
            </a:extLst>
          </p:cNvPr>
          <p:cNvSpPr txBox="1"/>
          <p:nvPr userDrawn="1"/>
        </p:nvSpPr>
        <p:spPr>
          <a:xfrm>
            <a:off x="9621157" y="2980206"/>
            <a:ext cx="1933738" cy="32299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r>
              <a:rPr lang="en-US" sz="1600" b="1" spc="300" baseline="0">
                <a:solidFill>
                  <a:schemeClr val="accent1"/>
                </a:solidFill>
                <a:latin typeface="+mj-lt"/>
              </a:rPr>
              <a:t>EXCELLENCE</a:t>
            </a:r>
          </a:p>
        </p:txBody>
      </p:sp>
    </p:spTree>
    <p:extLst>
      <p:ext uri="{BB962C8B-B14F-4D97-AF65-F5344CB8AC3E}">
        <p14:creationId xmlns:p14="http://schemas.microsoft.com/office/powerpoint/2010/main" val="3278332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+ Subtitle -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4968733-400C-5979-E644-B56A408FA4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D73F8FF-87F8-5777-F2B8-54C34E74CB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802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5" name="Date Placeholder 12">
            <a:extLst>
              <a:ext uri="{FF2B5EF4-FFF2-40B4-BE49-F238E27FC236}">
                <a16:creationId xmlns:a16="http://schemas.microsoft.com/office/drawing/2014/main" id="{16B6FA5E-4B4C-6913-F7A2-06F9B28C342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0236555" y="13802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E4C89DD-A233-483F-952B-953E38B66C25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9" name="Footer Placeholder 13">
            <a:extLst>
              <a:ext uri="{FF2B5EF4-FFF2-40B4-BE49-F238E27FC236}">
                <a16:creationId xmlns:a16="http://schemas.microsoft.com/office/drawing/2014/main" id="{4869AC9E-3246-DF81-8D19-B4FBEF99B35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09600" y="656608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10" name="Slide Number Placeholder 14">
            <a:extLst>
              <a:ext uri="{FF2B5EF4-FFF2-40B4-BE49-F238E27FC236}">
                <a16:creationId xmlns:a16="http://schemas.microsoft.com/office/drawing/2014/main" id="{92633B27-C072-D47F-D637-89DAFCE736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8008" y="656608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7CCD9F6-7E28-EE74-1488-42ADF692A9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03876" y="88565"/>
            <a:ext cx="995110" cy="252812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0592E0A-6277-7467-2818-E2E769654D97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59520B4-734E-FCA4-984F-7727B42D3211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18539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24B2B4B-82F9-1536-578C-43BD5CE8AF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3631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4B2B4B-82F9-1536-578C-43BD5CE8AF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Title 44">
            <a:extLst>
              <a:ext uri="{FF2B5EF4-FFF2-40B4-BE49-F238E27FC236}">
                <a16:creationId xmlns:a16="http://schemas.microsoft.com/office/drawing/2014/main" id="{8C8DBED3-A629-FC99-1B8F-BE074A307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800754"/>
            <a:ext cx="5486400" cy="553998"/>
          </a:xfrm>
        </p:spPr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  <p:sp>
        <p:nvSpPr>
          <p:cNvPr id="50" name="Date Placeholder 49">
            <a:extLst>
              <a:ext uri="{FF2B5EF4-FFF2-40B4-BE49-F238E27FC236}">
                <a16:creationId xmlns:a16="http://schemas.microsoft.com/office/drawing/2014/main" id="{EA0F5283-5BB3-BAFD-B526-21B425D9219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390B173-6391-41DD-B68F-04C7E2E107FB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51" name="Footer Placeholder 50">
            <a:extLst>
              <a:ext uri="{FF2B5EF4-FFF2-40B4-BE49-F238E27FC236}">
                <a16:creationId xmlns:a16="http://schemas.microsoft.com/office/drawing/2014/main" id="{E6307089-0337-1E41-2413-B773C7DDA35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52" name="Slide Number Placeholder 51">
            <a:extLst>
              <a:ext uri="{FF2B5EF4-FFF2-40B4-BE49-F238E27FC236}">
                <a16:creationId xmlns:a16="http://schemas.microsoft.com/office/drawing/2014/main" id="{0B037B46-B41D-26FD-DD47-435EFB15F5A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835ECE48-5FE3-A1E7-D32C-C2F6ADBC4A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47FA0D2-F8F7-895F-2FBF-67E102F5B1D5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9BC655C-7979-A16B-0182-2803B04DF645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B7035D9-E229-7717-77FC-A94230A289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3631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7035D9-E229-7717-77FC-A94230A289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09011-87C2-6782-3CBF-F646B77AF1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" y="1609344"/>
            <a:ext cx="5486400" cy="475485"/>
          </a:xfrm>
        </p:spPr>
        <p:txBody>
          <a:bodyPr anchor="ctr">
            <a:noAutofit/>
          </a:bodyPr>
          <a:lstStyle>
            <a:lvl1pPr>
              <a:defRPr b="1" baseline="0">
                <a:latin typeface="+mj-lt"/>
              </a:defRPr>
            </a:lvl1pPr>
          </a:lstStyle>
          <a:p>
            <a:pPr lvl="0"/>
            <a:r>
              <a:rPr lang="en-US"/>
              <a:t>Insert header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8D5FB3A-753A-A01D-9A42-264E2905FBF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9808" y="2198053"/>
            <a:ext cx="4359614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Topic nam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F6C7AD8-EBB1-B2EC-D16B-83CEE2FE0A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9808" y="2675705"/>
            <a:ext cx="4359614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Topic nam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C65026CD-CCD9-594F-B624-278B0B50C1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49808" y="3153357"/>
            <a:ext cx="4359614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Topic nam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4686BDC-013B-6FB4-AE77-F2E70CEA8BF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9808" y="3631009"/>
            <a:ext cx="4359614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Topic nam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41FF509A-1B91-E966-15BC-77B3C666E4E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9808" y="4108523"/>
            <a:ext cx="4359614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Topic nam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37FC06F9-E814-94E2-56AC-6B1D1023C5E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49808" y="4586175"/>
            <a:ext cx="4359614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Topic nam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928F26A-7879-11DE-CD3A-CC8DF5E2E44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49808" y="5063827"/>
            <a:ext cx="4359614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Topic nam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36A63A15-7117-48B6-EB15-6BDB415E273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9808" y="5541479"/>
            <a:ext cx="4359614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Topic nam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8CABE08C-5097-0E3B-630D-DB4908CABB5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5351" y="2198053"/>
            <a:ext cx="386079" cy="349250"/>
          </a:xfrm>
        </p:spPr>
        <p:txBody>
          <a:bodyPr>
            <a:noAutofit/>
          </a:bodyPr>
          <a:lstStyle>
            <a:lvl1pPr algn="r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FFCE9D85-E295-E133-C5E9-55DC5E703E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35351" y="2675705"/>
            <a:ext cx="386079" cy="349250"/>
          </a:xfrm>
        </p:spPr>
        <p:txBody>
          <a:bodyPr>
            <a:noAutofit/>
          </a:bodyPr>
          <a:lstStyle>
            <a:lvl1pPr algn="r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30580CFE-3066-D52F-BF0C-607962B640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35351" y="3153357"/>
            <a:ext cx="386079" cy="349250"/>
          </a:xfrm>
        </p:spPr>
        <p:txBody>
          <a:bodyPr>
            <a:noAutofit/>
          </a:bodyPr>
          <a:lstStyle>
            <a:lvl1pPr algn="r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83A8285B-9771-221E-276E-38A0469F96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35351" y="3631009"/>
            <a:ext cx="386079" cy="349250"/>
          </a:xfrm>
        </p:spPr>
        <p:txBody>
          <a:bodyPr>
            <a:noAutofit/>
          </a:bodyPr>
          <a:lstStyle>
            <a:lvl1pPr algn="r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CD292018-47A5-F28E-E40D-02ED0EBF3D3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35351" y="4108523"/>
            <a:ext cx="386079" cy="349250"/>
          </a:xfrm>
        </p:spPr>
        <p:txBody>
          <a:bodyPr>
            <a:noAutofit/>
          </a:bodyPr>
          <a:lstStyle>
            <a:lvl1pPr algn="r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375D8AE7-3E52-ADD1-F076-54A550F88EA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35351" y="4586175"/>
            <a:ext cx="386079" cy="349250"/>
          </a:xfrm>
        </p:spPr>
        <p:txBody>
          <a:bodyPr>
            <a:noAutofit/>
          </a:bodyPr>
          <a:lstStyle>
            <a:lvl1pPr algn="r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4DE56228-A543-6045-7006-DDA45A0F317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35351" y="5063827"/>
            <a:ext cx="386079" cy="349250"/>
          </a:xfrm>
        </p:spPr>
        <p:txBody>
          <a:bodyPr>
            <a:noAutofit/>
          </a:bodyPr>
          <a:lstStyle>
            <a:lvl1pPr algn="r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F326C1AA-B979-78CD-10CB-A2845ED8BA0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35351" y="5541479"/>
            <a:ext cx="386079" cy="349250"/>
          </a:xfrm>
        </p:spPr>
        <p:txBody>
          <a:bodyPr>
            <a:noAutofit/>
          </a:bodyPr>
          <a:lstStyle>
            <a:lvl1pPr algn="r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59E8D3A-F0D2-3CC8-1EAC-4F5617758398}"/>
              </a:ext>
            </a:extLst>
          </p:cNvPr>
          <p:cNvCxnSpPr/>
          <p:nvPr userDrawn="1"/>
        </p:nvCxnSpPr>
        <p:spPr>
          <a:xfrm>
            <a:off x="609600" y="2081019"/>
            <a:ext cx="504748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Graphic 16">
            <a:extLst>
              <a:ext uri="{FF2B5EF4-FFF2-40B4-BE49-F238E27FC236}">
                <a16:creationId xmlns:a16="http://schemas.microsoft.com/office/drawing/2014/main" id="{B61D6326-F6C2-B0AC-49E3-BBDCC4BEAC09}"/>
              </a:ext>
            </a:extLst>
          </p:cNvPr>
          <p:cNvPicPr/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143751" y="1388452"/>
            <a:ext cx="4114798" cy="4114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76269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-column - Dark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09D163-6DF6-9BE0-6173-D594B244B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5486400" cy="5539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4C4FB5F-2777-A396-392E-B3E9DAA8798E}"/>
              </a:ext>
            </a:extLst>
          </p:cNvPr>
          <p:cNvGrpSpPr/>
          <p:nvPr/>
        </p:nvGrpSpPr>
        <p:grpSpPr>
          <a:xfrm>
            <a:off x="609601" y="3909255"/>
            <a:ext cx="5486400" cy="0"/>
            <a:chOff x="609601" y="3820887"/>
            <a:chExt cx="5486400" cy="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255DCA8-F14C-04CA-3EA7-7EA803486E9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9601" y="3820887"/>
              <a:ext cx="54864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6455279C-DE5C-A0A2-0FEF-CA7EEA14EEF6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1274547" y="3155941"/>
              <a:ext cx="0" cy="1329892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420A254F-BDD5-C9AF-1DD7-05ACB129B577}"/>
              </a:ext>
            </a:extLst>
          </p:cNvPr>
          <p:cNvSpPr/>
          <p:nvPr/>
        </p:nvSpPr>
        <p:spPr>
          <a:xfrm>
            <a:off x="7019925" y="431800"/>
            <a:ext cx="5172075" cy="599670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F8511C82-C1B8-2B85-F38D-ACDB893239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54864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2" name="Text Placeholder 37">
            <a:extLst>
              <a:ext uri="{FF2B5EF4-FFF2-40B4-BE49-F238E27FC236}">
                <a16:creationId xmlns:a16="http://schemas.microsoft.com/office/drawing/2014/main" id="{F4AE42DD-CBC4-0669-9A85-81A01695BC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1" y="4225518"/>
            <a:ext cx="5486400" cy="1389888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2AAAC208-B9A3-AB8D-8A3F-5267EA42C80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9601" y="2111664"/>
            <a:ext cx="5486400" cy="1481328"/>
          </a:xfrm>
        </p:spPr>
        <p:txBody>
          <a:bodyPr anchor="b">
            <a:noAutofit/>
          </a:bodyPr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49">
            <a:extLst>
              <a:ext uri="{FF2B5EF4-FFF2-40B4-BE49-F238E27FC236}">
                <a16:creationId xmlns:a16="http://schemas.microsoft.com/office/drawing/2014/main" id="{5F217281-3A4E-E1DA-0ABE-80B7AC4FF1B8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916DF86A-30B1-4B44-A04E-9B307D9D54ED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CFB9608-E818-D2BF-8BF7-6E839B8050D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C85335B-FAF2-9208-41C9-63068D2F64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4B1F0BD-22AE-6975-1D8F-0E77C97E26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15BECC8-7D1B-6FCC-F690-CE812AE63D4C}"/>
              </a:ext>
            </a:extLst>
          </p:cNvPr>
          <p:cNvPicPr/>
          <p:nvPr userDrawn="1"/>
        </p:nvPicPr>
        <p:blipFill>
          <a:blip r:embed="rId2"/>
          <a:stretch>
            <a:fillRect/>
          </a:stretch>
        </p:blipFill>
        <p:spPr>
          <a:xfrm>
            <a:off x="7630516" y="1377621"/>
            <a:ext cx="3950550" cy="4121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3306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+ Image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24B2B4B-82F9-1536-578C-43BD5CE8AF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3631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4B2B4B-82F9-1536-578C-43BD5CE8AF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Title 44">
            <a:extLst>
              <a:ext uri="{FF2B5EF4-FFF2-40B4-BE49-F238E27FC236}">
                <a16:creationId xmlns:a16="http://schemas.microsoft.com/office/drawing/2014/main" id="{8C8DBED3-A629-FC99-1B8F-BE074A307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800754"/>
            <a:ext cx="5486400" cy="553998"/>
          </a:xfrm>
        </p:spPr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  <p:sp>
        <p:nvSpPr>
          <p:cNvPr id="51" name="Footer Placeholder 50">
            <a:extLst>
              <a:ext uri="{FF2B5EF4-FFF2-40B4-BE49-F238E27FC236}">
                <a16:creationId xmlns:a16="http://schemas.microsoft.com/office/drawing/2014/main" id="{E6307089-0337-1E41-2413-B773C7DDA35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835ECE48-5FE3-A1E7-D32C-C2F6ADBC4A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47FA0D2-F8F7-895F-2FBF-67E102F5B1D5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9BC655C-7979-A16B-0182-2803B04DF645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10A51284-31AA-5A82-9D1B-95ECF46E976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137400" y="0"/>
            <a:ext cx="5054600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 b="0"/>
            </a:lvl1pPr>
          </a:lstStyle>
          <a:p>
            <a:r>
              <a:rPr lang="en-US"/>
              <a:t>Insert Photo</a:t>
            </a: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E62D234-D5FD-48E0-D01F-6175CB455F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93631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62D234-D5FD-48E0-D01F-6175CB455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B0381F1-E3BA-89CB-8B69-00C507D035B7}"/>
              </a:ext>
            </a:extLst>
          </p:cNvPr>
          <p:cNvCxnSpPr>
            <a:cxnSpLocks/>
          </p:cNvCxnSpPr>
          <p:nvPr userDrawn="1"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1B46AC-808C-5D43-EA1B-15963FBCA79E}"/>
              </a:ext>
            </a:extLst>
          </p:cNvPr>
          <p:cNvCxnSpPr>
            <a:cxnSpLocks/>
          </p:cNvCxnSpPr>
          <p:nvPr userDrawn="1"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F2E75AC-868B-ABFD-D8E0-A1479E536EB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00" y="1609344"/>
            <a:ext cx="5486400" cy="475485"/>
          </a:xfrm>
        </p:spPr>
        <p:txBody>
          <a:bodyPr anchor="ctr">
            <a:noAutofit/>
          </a:bodyPr>
          <a:lstStyle>
            <a:lvl1pPr>
              <a:defRPr b="1" baseline="0">
                <a:latin typeface="+mj-lt"/>
              </a:defRPr>
            </a:lvl1pPr>
          </a:lstStyle>
          <a:p>
            <a:pPr lvl="0"/>
            <a:r>
              <a:rPr lang="en-US"/>
              <a:t>Insert header her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A3AD7AF5-595C-F328-AFFD-8CA68D602C7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9808" y="2198053"/>
            <a:ext cx="4485132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Topic nam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63A1477D-36BF-21E4-9F74-270256AE680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49808" y="2675705"/>
            <a:ext cx="4485132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Topic nam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1254762-E52A-A886-D5FB-85F619DBD5D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9808" y="3153357"/>
            <a:ext cx="4485132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Topic nam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3F6E28D1-56E8-837D-5E6C-D6AF09C9C94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9808" y="3631009"/>
            <a:ext cx="4485132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Topic nam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11F1E4AD-98B5-5194-501F-DA5B0D954F2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49808" y="4108523"/>
            <a:ext cx="4485132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Topic nam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B6C6CCD-35D0-B2AF-EEE5-411C0D1E5F3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49808" y="4586175"/>
            <a:ext cx="4485132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Topic nam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6AE2DD32-A179-D503-27E9-6B6F12028D1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9808" y="5063827"/>
            <a:ext cx="4485132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Topic nam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CDB6E2D2-C773-BAC9-9B73-82D96AD4D10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49808" y="5541479"/>
            <a:ext cx="4485132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Topic nam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D2F4AE02-2639-124D-374E-37A5808EC57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62600" y="2198053"/>
            <a:ext cx="386079" cy="349250"/>
          </a:xfrm>
        </p:spPr>
        <p:txBody>
          <a:bodyPr>
            <a:noAutofit/>
          </a:bodyPr>
          <a:lstStyle>
            <a:lvl1pPr algn="r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83B3E7B2-969E-0FBC-C536-C21567270A2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62600" y="2675705"/>
            <a:ext cx="386079" cy="349250"/>
          </a:xfrm>
        </p:spPr>
        <p:txBody>
          <a:bodyPr>
            <a:noAutofit/>
          </a:bodyPr>
          <a:lstStyle>
            <a:lvl1pPr algn="r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7264CF90-E306-FDD8-41AD-3A64F5A8A52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562600" y="3153357"/>
            <a:ext cx="386079" cy="349250"/>
          </a:xfrm>
        </p:spPr>
        <p:txBody>
          <a:bodyPr>
            <a:noAutofit/>
          </a:bodyPr>
          <a:lstStyle>
            <a:lvl1pPr algn="r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0E261DD9-B9CD-8A0C-93D6-32BC3F216DC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562600" y="3631009"/>
            <a:ext cx="386079" cy="349250"/>
          </a:xfrm>
        </p:spPr>
        <p:txBody>
          <a:bodyPr>
            <a:noAutofit/>
          </a:bodyPr>
          <a:lstStyle>
            <a:lvl1pPr algn="r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1897430-AD30-8217-BF29-76609DE1BF5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562600" y="4108523"/>
            <a:ext cx="386079" cy="349250"/>
          </a:xfrm>
        </p:spPr>
        <p:txBody>
          <a:bodyPr>
            <a:noAutofit/>
          </a:bodyPr>
          <a:lstStyle>
            <a:lvl1pPr algn="r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C154370D-A4F9-05EB-D1B1-4B90D648467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562600" y="4586175"/>
            <a:ext cx="386079" cy="349250"/>
          </a:xfrm>
        </p:spPr>
        <p:txBody>
          <a:bodyPr>
            <a:noAutofit/>
          </a:bodyPr>
          <a:lstStyle>
            <a:lvl1pPr algn="r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FD69A9A8-308F-E94F-B9B9-0EE76667801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562600" y="5063827"/>
            <a:ext cx="386079" cy="349250"/>
          </a:xfrm>
        </p:spPr>
        <p:txBody>
          <a:bodyPr>
            <a:noAutofit/>
          </a:bodyPr>
          <a:lstStyle>
            <a:lvl1pPr algn="r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EE107922-B9C4-7B43-BC9F-3197F9336B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562600" y="5541479"/>
            <a:ext cx="386079" cy="349250"/>
          </a:xfrm>
        </p:spPr>
        <p:txBody>
          <a:bodyPr>
            <a:noAutofit/>
          </a:bodyPr>
          <a:lstStyle>
            <a:lvl1pPr algn="r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6BD630D2-2057-F944-6AB9-25D424B4590A}"/>
              </a:ext>
            </a:extLst>
          </p:cNvPr>
          <p:cNvCxnSpPr/>
          <p:nvPr userDrawn="1"/>
        </p:nvCxnSpPr>
        <p:spPr>
          <a:xfrm>
            <a:off x="609600" y="2081019"/>
            <a:ext cx="54864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7517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+ Icon Image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24B2B4B-82F9-1536-578C-43BD5CE8AF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3631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4B2B4B-82F9-1536-578C-43BD5CE8AF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Title 44">
            <a:extLst>
              <a:ext uri="{FF2B5EF4-FFF2-40B4-BE49-F238E27FC236}">
                <a16:creationId xmlns:a16="http://schemas.microsoft.com/office/drawing/2014/main" id="{8C8DBED3-A629-FC99-1B8F-BE074A307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800754"/>
            <a:ext cx="5486400" cy="5539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  <p:sp>
        <p:nvSpPr>
          <p:cNvPr id="51" name="Footer Placeholder 50">
            <a:extLst>
              <a:ext uri="{FF2B5EF4-FFF2-40B4-BE49-F238E27FC236}">
                <a16:creationId xmlns:a16="http://schemas.microsoft.com/office/drawing/2014/main" id="{E6307089-0337-1E41-2413-B773C7DDA35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835ECE48-5FE3-A1E7-D32C-C2F6ADBC4A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47FA0D2-F8F7-895F-2FBF-67E102F5B1D5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9BC655C-7979-A16B-0182-2803B04DF645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Picture Placeholder 43">
            <a:extLst>
              <a:ext uri="{FF2B5EF4-FFF2-40B4-BE49-F238E27FC236}">
                <a16:creationId xmlns:a16="http://schemas.microsoft.com/office/drawing/2014/main" id="{6C44CEA0-0F17-2C8E-18CE-EE665ED83B1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" y="1600199"/>
            <a:ext cx="12191999" cy="3038475"/>
          </a:xfrm>
          <a:custGeom>
            <a:avLst/>
            <a:gdLst>
              <a:gd name="connsiteX0" fmla="*/ 0 w 12191999"/>
              <a:gd name="connsiteY0" fmla="*/ 0 h 3038475"/>
              <a:gd name="connsiteX1" fmla="*/ 9337309 w 12191999"/>
              <a:gd name="connsiteY1" fmla="*/ 0 h 3038475"/>
              <a:gd name="connsiteX2" fmla="*/ 9356682 w 12191999"/>
              <a:gd name="connsiteY2" fmla="*/ 95991 h 3038475"/>
              <a:gd name="connsiteX3" fmla="*/ 9618924 w 12191999"/>
              <a:gd name="connsiteY3" fmla="*/ 269803 h 3038475"/>
              <a:gd name="connsiteX4" fmla="*/ 9881167 w 12191999"/>
              <a:gd name="connsiteY4" fmla="*/ 95991 h 3038475"/>
              <a:gd name="connsiteX5" fmla="*/ 9900540 w 12191999"/>
              <a:gd name="connsiteY5" fmla="*/ 0 h 3038475"/>
              <a:gd name="connsiteX6" fmla="*/ 10157523 w 12191999"/>
              <a:gd name="connsiteY6" fmla="*/ 0 h 3038475"/>
              <a:gd name="connsiteX7" fmla="*/ 10177034 w 12191999"/>
              <a:gd name="connsiteY7" fmla="*/ 96672 h 3038475"/>
              <a:gd name="connsiteX8" fmla="*/ 10439283 w 12191999"/>
              <a:gd name="connsiteY8" fmla="*/ 270481 h 3038475"/>
              <a:gd name="connsiteX9" fmla="*/ 10701530 w 12191999"/>
              <a:gd name="connsiteY9" fmla="*/ 96672 h 3038475"/>
              <a:gd name="connsiteX10" fmla="*/ 10721041 w 12191999"/>
              <a:gd name="connsiteY10" fmla="*/ 0 h 3038475"/>
              <a:gd name="connsiteX11" fmla="*/ 10975649 w 12191999"/>
              <a:gd name="connsiteY11" fmla="*/ 0 h 3038475"/>
              <a:gd name="connsiteX12" fmla="*/ 10995160 w 12191999"/>
              <a:gd name="connsiteY12" fmla="*/ 96673 h 3038475"/>
              <a:gd name="connsiteX13" fmla="*/ 11257407 w 12191999"/>
              <a:gd name="connsiteY13" fmla="*/ 270482 h 3038475"/>
              <a:gd name="connsiteX14" fmla="*/ 11519656 w 12191999"/>
              <a:gd name="connsiteY14" fmla="*/ 96673 h 3038475"/>
              <a:gd name="connsiteX15" fmla="*/ 11539167 w 12191999"/>
              <a:gd name="connsiteY15" fmla="*/ 0 h 3038475"/>
              <a:gd name="connsiteX16" fmla="*/ 12191999 w 12191999"/>
              <a:gd name="connsiteY16" fmla="*/ 0 h 3038475"/>
              <a:gd name="connsiteX17" fmla="*/ 12191999 w 12191999"/>
              <a:gd name="connsiteY17" fmla="*/ 3038475 h 3038475"/>
              <a:gd name="connsiteX18" fmla="*/ 0 w 12191999"/>
              <a:gd name="connsiteY18" fmla="*/ 3038475 h 3038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1999" h="3038475">
                <a:moveTo>
                  <a:pt x="0" y="0"/>
                </a:moveTo>
                <a:lnTo>
                  <a:pt x="9337309" y="0"/>
                </a:lnTo>
                <a:lnTo>
                  <a:pt x="9356682" y="95991"/>
                </a:lnTo>
                <a:cubicBezTo>
                  <a:pt x="9399879" y="198146"/>
                  <a:pt x="9501013" y="269803"/>
                  <a:pt x="9618924" y="269803"/>
                </a:cubicBezTo>
                <a:cubicBezTo>
                  <a:pt x="9736835" y="269803"/>
                  <a:pt x="9837969" y="198146"/>
                  <a:pt x="9881167" y="95991"/>
                </a:cubicBezTo>
                <a:lnTo>
                  <a:pt x="9900540" y="0"/>
                </a:lnTo>
                <a:lnTo>
                  <a:pt x="10157523" y="0"/>
                </a:lnTo>
                <a:lnTo>
                  <a:pt x="10177034" y="96672"/>
                </a:lnTo>
                <a:cubicBezTo>
                  <a:pt x="10220233" y="198825"/>
                  <a:pt x="10321369" y="270481"/>
                  <a:pt x="10439283" y="270481"/>
                </a:cubicBezTo>
                <a:cubicBezTo>
                  <a:pt x="10557197" y="270481"/>
                  <a:pt x="10658332" y="198825"/>
                  <a:pt x="10701530" y="96672"/>
                </a:cubicBezTo>
                <a:lnTo>
                  <a:pt x="10721041" y="0"/>
                </a:lnTo>
                <a:lnTo>
                  <a:pt x="10975649" y="0"/>
                </a:lnTo>
                <a:lnTo>
                  <a:pt x="10995160" y="96673"/>
                </a:lnTo>
                <a:cubicBezTo>
                  <a:pt x="11038358" y="198826"/>
                  <a:pt x="11139494" y="270482"/>
                  <a:pt x="11257407" y="270482"/>
                </a:cubicBezTo>
                <a:cubicBezTo>
                  <a:pt x="11375320" y="270482"/>
                  <a:pt x="11476457" y="198826"/>
                  <a:pt x="11519656" y="96673"/>
                </a:cubicBezTo>
                <a:lnTo>
                  <a:pt x="11539167" y="0"/>
                </a:lnTo>
                <a:lnTo>
                  <a:pt x="12191999" y="0"/>
                </a:lnTo>
                <a:lnTo>
                  <a:pt x="12191999" y="3038475"/>
                </a:lnTo>
                <a:lnTo>
                  <a:pt x="0" y="303847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0" b="0"/>
            </a:lvl1pPr>
          </a:lstStyle>
          <a:p>
            <a:r>
              <a:rPr lang="en-US"/>
              <a:t>Insert Photo</a:t>
            </a: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E62D234-D5FD-48E0-D01F-6175CB455F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3631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62D234-D5FD-48E0-D01F-6175CB455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B0381F1-E3BA-89CB-8B69-00C507D035B7}"/>
              </a:ext>
            </a:extLst>
          </p:cNvPr>
          <p:cNvCxnSpPr>
            <a:cxnSpLocks/>
          </p:cNvCxnSpPr>
          <p:nvPr userDrawn="1"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1B46AC-808C-5D43-EA1B-15963FBCA79E}"/>
              </a:ext>
            </a:extLst>
          </p:cNvPr>
          <p:cNvCxnSpPr>
            <a:cxnSpLocks/>
          </p:cNvCxnSpPr>
          <p:nvPr userDrawn="1"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4">
            <a:extLst>
              <a:ext uri="{FF2B5EF4-FFF2-40B4-BE49-F238E27FC236}">
                <a16:creationId xmlns:a16="http://schemas.microsoft.com/office/drawing/2014/main" id="{CE4D3010-E8F4-6ECE-FC85-E5C43829DD4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599" y="5601620"/>
            <a:ext cx="2348865" cy="64678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latin typeface="+mj-lt"/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6">
            <a:extLst>
              <a:ext uri="{FF2B5EF4-FFF2-40B4-BE49-F238E27FC236}">
                <a16:creationId xmlns:a16="http://schemas.microsoft.com/office/drawing/2014/main" id="{D3BAA845-643F-89D1-F332-B3E022656A1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09600" y="4884121"/>
            <a:ext cx="442911" cy="430887"/>
          </a:xfrm>
          <a:noFill/>
        </p:spPr>
        <p:txBody>
          <a:bodyPr wrap="square"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5" name="Text Placeholder 24">
            <a:extLst>
              <a:ext uri="{FF2B5EF4-FFF2-40B4-BE49-F238E27FC236}">
                <a16:creationId xmlns:a16="http://schemas.microsoft.com/office/drawing/2014/main" id="{DCEFF89C-78B8-ADF9-24ED-AEA05D3EC470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484244" y="5601620"/>
            <a:ext cx="2348865" cy="64678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latin typeface="+mj-lt"/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6">
            <a:extLst>
              <a:ext uri="{FF2B5EF4-FFF2-40B4-BE49-F238E27FC236}">
                <a16:creationId xmlns:a16="http://schemas.microsoft.com/office/drawing/2014/main" id="{D8446354-7DF9-CD63-06FD-34CC052BDF4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484244" y="4884121"/>
            <a:ext cx="442911" cy="430887"/>
          </a:xfrm>
          <a:noFill/>
        </p:spPr>
        <p:txBody>
          <a:bodyPr wrap="square"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A705EFF2-4847-92E0-5295-3C574E55E1D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358889" y="5601620"/>
            <a:ext cx="2348865" cy="64678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latin typeface="+mj-lt"/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26">
            <a:extLst>
              <a:ext uri="{FF2B5EF4-FFF2-40B4-BE49-F238E27FC236}">
                <a16:creationId xmlns:a16="http://schemas.microsoft.com/office/drawing/2014/main" id="{AC7CA245-18EA-597A-82E5-BA3812A8DE2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58889" y="4884121"/>
            <a:ext cx="442911" cy="430887"/>
          </a:xfrm>
          <a:noFill/>
        </p:spPr>
        <p:txBody>
          <a:bodyPr wrap="square"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3" name="Text Placeholder 24">
            <a:extLst>
              <a:ext uri="{FF2B5EF4-FFF2-40B4-BE49-F238E27FC236}">
                <a16:creationId xmlns:a16="http://schemas.microsoft.com/office/drawing/2014/main" id="{924E5149-F5C8-EA54-727E-B8B68A5FE9F7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233535" y="5601620"/>
            <a:ext cx="2348865" cy="64678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latin typeface="+mj-lt"/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3489A859-38FC-693E-A6ED-DA783AAA67B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233535" y="4884121"/>
            <a:ext cx="442911" cy="430887"/>
          </a:xfrm>
          <a:noFill/>
        </p:spPr>
        <p:txBody>
          <a:bodyPr wrap="square"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Date Placeholder 49">
            <a:extLst>
              <a:ext uri="{FF2B5EF4-FFF2-40B4-BE49-F238E27FC236}">
                <a16:creationId xmlns:a16="http://schemas.microsoft.com/office/drawing/2014/main" id="{B060A5B5-C6DF-5D69-2D87-90F40677BABD}"/>
              </a:ext>
            </a:extLst>
          </p:cNvPr>
          <p:cNvSpPr>
            <a:spLocks noGrp="1"/>
          </p:cNvSpPr>
          <p:nvPr>
            <p:ph type="dt" sz="half" idx="44"/>
          </p:nvPr>
        </p:nvSpPr>
        <p:spPr>
          <a:xfrm>
            <a:off x="10236555" y="139419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8EC7FE3E-E251-492A-8A26-609F7661DDA5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41599AF1-5158-10CB-A04F-6F714A9AF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49" name="Group 248">
            <a:extLst>
              <a:ext uri="{FF2B5EF4-FFF2-40B4-BE49-F238E27FC236}">
                <a16:creationId xmlns:a16="http://schemas.microsoft.com/office/drawing/2014/main" id="{B87E5EE8-0F60-7D2F-48BC-101064EE28B1}"/>
              </a:ext>
            </a:extLst>
          </p:cNvPr>
          <p:cNvGrpSpPr>
            <a:grpSpLocks/>
          </p:cNvGrpSpPr>
          <p:nvPr userDrawn="1"/>
        </p:nvGrpSpPr>
        <p:grpSpPr>
          <a:xfrm>
            <a:off x="9335262" y="1312230"/>
            <a:ext cx="2209250" cy="569889"/>
            <a:chOff x="9334317" y="1300791"/>
            <a:chExt cx="2209250" cy="569889"/>
          </a:xfrm>
        </p:grpSpPr>
        <p:grpSp>
          <p:nvGrpSpPr>
            <p:cNvPr id="180" name="Graphic 62">
              <a:extLst>
                <a:ext uri="{FF2B5EF4-FFF2-40B4-BE49-F238E27FC236}">
                  <a16:creationId xmlns:a16="http://schemas.microsoft.com/office/drawing/2014/main" id="{2D0F0C4B-399D-E541-384A-E31D942F452D}"/>
                </a:ext>
              </a:extLst>
            </p:cNvPr>
            <p:cNvGrpSpPr>
              <a:grpSpLocks/>
            </p:cNvGrpSpPr>
            <p:nvPr/>
          </p:nvGrpSpPr>
          <p:grpSpPr>
            <a:xfrm rot="5400000">
              <a:off x="9334323" y="1300785"/>
              <a:ext cx="569206" cy="569218"/>
              <a:chOff x="10101437" y="6590521"/>
              <a:chExt cx="569206" cy="569218"/>
            </a:xfrm>
          </p:grpSpPr>
          <p:sp>
            <p:nvSpPr>
              <p:cNvPr id="181" name="Freeform: Shape 180">
                <a:extLst>
                  <a:ext uri="{FF2B5EF4-FFF2-40B4-BE49-F238E27FC236}">
                    <a16:creationId xmlns:a16="http://schemas.microsoft.com/office/drawing/2014/main" id="{43F08049-ADFC-4339-6C3C-50CFA503894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101437" y="6590521"/>
                <a:ext cx="569206" cy="284609"/>
              </a:xfrm>
              <a:custGeom>
                <a:avLst/>
                <a:gdLst>
                  <a:gd name="connsiteX0" fmla="*/ 0 w 569206"/>
                  <a:gd name="connsiteY0" fmla="*/ 284609 h 284609"/>
                  <a:gd name="connsiteX1" fmla="*/ 284603 w 569206"/>
                  <a:gd name="connsiteY1" fmla="*/ 0 h 284609"/>
                  <a:gd name="connsiteX2" fmla="*/ 569207 w 569206"/>
                  <a:gd name="connsiteY2" fmla="*/ 284609 h 284609"/>
                  <a:gd name="connsiteX3" fmla="*/ 0 w 569206"/>
                  <a:gd name="connsiteY3" fmla="*/ 284609 h 284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9206" h="284609">
                    <a:moveTo>
                      <a:pt x="0" y="284609"/>
                    </a:moveTo>
                    <a:cubicBezTo>
                      <a:pt x="0" y="127391"/>
                      <a:pt x="127388" y="0"/>
                      <a:pt x="284603" y="0"/>
                    </a:cubicBezTo>
                    <a:cubicBezTo>
                      <a:pt x="441818" y="0"/>
                      <a:pt x="569207" y="127391"/>
                      <a:pt x="569207" y="284609"/>
                    </a:cubicBezTo>
                    <a:lnTo>
                      <a:pt x="0" y="284609"/>
                    </a:lnTo>
                    <a:close/>
                  </a:path>
                </a:pathLst>
              </a:custGeom>
              <a:solidFill>
                <a:srgbClr val="93D500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2" name="Freeform: Shape 181">
                <a:extLst>
                  <a:ext uri="{FF2B5EF4-FFF2-40B4-BE49-F238E27FC236}">
                    <a16:creationId xmlns:a16="http://schemas.microsoft.com/office/drawing/2014/main" id="{620C853C-0076-DF88-1809-1B9D6272BA0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101437" y="6875130"/>
                <a:ext cx="569206" cy="284609"/>
              </a:xfrm>
              <a:custGeom>
                <a:avLst/>
                <a:gdLst>
                  <a:gd name="connsiteX0" fmla="*/ 569207 w 569206"/>
                  <a:gd name="connsiteY0" fmla="*/ 0 h 284609"/>
                  <a:gd name="connsiteX1" fmla="*/ 284603 w 569206"/>
                  <a:gd name="connsiteY1" fmla="*/ 284609 h 284609"/>
                  <a:gd name="connsiteX2" fmla="*/ 0 w 569206"/>
                  <a:gd name="connsiteY2" fmla="*/ 0 h 284609"/>
                  <a:gd name="connsiteX3" fmla="*/ 569207 w 569206"/>
                  <a:gd name="connsiteY3" fmla="*/ 0 h 284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9206" h="284609">
                    <a:moveTo>
                      <a:pt x="569207" y="0"/>
                    </a:moveTo>
                    <a:cubicBezTo>
                      <a:pt x="569207" y="157218"/>
                      <a:pt x="441818" y="284609"/>
                      <a:pt x="284603" y="284609"/>
                    </a:cubicBezTo>
                    <a:cubicBezTo>
                      <a:pt x="127388" y="284609"/>
                      <a:pt x="0" y="157218"/>
                      <a:pt x="0" y="0"/>
                    </a:cubicBezTo>
                    <a:lnTo>
                      <a:pt x="569207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83" name="Graphic 62">
              <a:extLst>
                <a:ext uri="{FF2B5EF4-FFF2-40B4-BE49-F238E27FC236}">
                  <a16:creationId xmlns:a16="http://schemas.microsoft.com/office/drawing/2014/main" id="{30C3B7C6-2CD7-73CC-419C-76B8123B9D0F}"/>
                </a:ext>
              </a:extLst>
            </p:cNvPr>
            <p:cNvGrpSpPr>
              <a:grpSpLocks/>
            </p:cNvGrpSpPr>
            <p:nvPr/>
          </p:nvGrpSpPr>
          <p:grpSpPr>
            <a:xfrm rot="5400000">
              <a:off x="10154681" y="1301468"/>
              <a:ext cx="569206" cy="569218"/>
              <a:chOff x="10102120" y="5770163"/>
              <a:chExt cx="569206" cy="569218"/>
            </a:xfrm>
          </p:grpSpPr>
          <p:sp>
            <p:nvSpPr>
              <p:cNvPr id="184" name="Freeform: Shape 183">
                <a:extLst>
                  <a:ext uri="{FF2B5EF4-FFF2-40B4-BE49-F238E27FC236}">
                    <a16:creationId xmlns:a16="http://schemas.microsoft.com/office/drawing/2014/main" id="{D7BC0D93-C77A-7CC8-E7A3-5C20CF2605C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102120" y="5770163"/>
                <a:ext cx="284603" cy="569218"/>
              </a:xfrm>
              <a:custGeom>
                <a:avLst/>
                <a:gdLst>
                  <a:gd name="connsiteX0" fmla="*/ 284603 w 284603"/>
                  <a:gd name="connsiteY0" fmla="*/ 569218 h 569218"/>
                  <a:gd name="connsiteX1" fmla="*/ 0 w 284603"/>
                  <a:gd name="connsiteY1" fmla="*/ 284609 h 569218"/>
                  <a:gd name="connsiteX2" fmla="*/ 284603 w 284603"/>
                  <a:gd name="connsiteY2" fmla="*/ 0 h 569218"/>
                  <a:gd name="connsiteX3" fmla="*/ 284603 w 284603"/>
                  <a:gd name="connsiteY3" fmla="*/ 569218 h 569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4603" h="569218">
                    <a:moveTo>
                      <a:pt x="284603" y="569218"/>
                    </a:moveTo>
                    <a:cubicBezTo>
                      <a:pt x="127388" y="569218"/>
                      <a:pt x="0" y="441827"/>
                      <a:pt x="0" y="284609"/>
                    </a:cubicBezTo>
                    <a:cubicBezTo>
                      <a:pt x="0" y="127391"/>
                      <a:pt x="127388" y="0"/>
                      <a:pt x="284603" y="0"/>
                    </a:cubicBezTo>
                    <a:lnTo>
                      <a:pt x="284603" y="569218"/>
                    </a:lnTo>
                    <a:close/>
                  </a:path>
                </a:pathLst>
              </a:custGeom>
              <a:solidFill>
                <a:srgbClr val="93D500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5" name="Freeform: Shape 184">
                <a:extLst>
                  <a:ext uri="{FF2B5EF4-FFF2-40B4-BE49-F238E27FC236}">
                    <a16:creationId xmlns:a16="http://schemas.microsoft.com/office/drawing/2014/main" id="{45B75FD7-BA33-7F11-2231-E6F49DE077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386723" y="5770163"/>
                <a:ext cx="284603" cy="569218"/>
              </a:xfrm>
              <a:custGeom>
                <a:avLst/>
                <a:gdLst>
                  <a:gd name="connsiteX0" fmla="*/ 0 w 284603"/>
                  <a:gd name="connsiteY0" fmla="*/ 0 h 569218"/>
                  <a:gd name="connsiteX1" fmla="*/ 284603 w 284603"/>
                  <a:gd name="connsiteY1" fmla="*/ 284609 h 569218"/>
                  <a:gd name="connsiteX2" fmla="*/ 0 w 284603"/>
                  <a:gd name="connsiteY2" fmla="*/ 569218 h 569218"/>
                  <a:gd name="connsiteX3" fmla="*/ 0 w 284603"/>
                  <a:gd name="connsiteY3" fmla="*/ 0 h 569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4603" h="569218">
                    <a:moveTo>
                      <a:pt x="0" y="0"/>
                    </a:moveTo>
                    <a:cubicBezTo>
                      <a:pt x="157215" y="0"/>
                      <a:pt x="284603" y="127391"/>
                      <a:pt x="284603" y="284609"/>
                    </a:cubicBezTo>
                    <a:cubicBezTo>
                      <a:pt x="284603" y="441827"/>
                      <a:pt x="157215" y="569218"/>
                      <a:pt x="0" y="569218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89" name="Graphic 62">
              <a:extLst>
                <a:ext uri="{FF2B5EF4-FFF2-40B4-BE49-F238E27FC236}">
                  <a16:creationId xmlns:a16="http://schemas.microsoft.com/office/drawing/2014/main" id="{8C495686-DF44-2505-EDDB-0C9CAA7911E4}"/>
                </a:ext>
              </a:extLst>
            </p:cNvPr>
            <p:cNvGrpSpPr>
              <a:grpSpLocks/>
            </p:cNvGrpSpPr>
            <p:nvPr/>
          </p:nvGrpSpPr>
          <p:grpSpPr>
            <a:xfrm rot="5400000">
              <a:off x="10974355" y="1301468"/>
              <a:ext cx="569206" cy="569218"/>
              <a:chOff x="10102120" y="4950489"/>
              <a:chExt cx="569206" cy="569218"/>
            </a:xfrm>
          </p:grpSpPr>
          <p:sp>
            <p:nvSpPr>
              <p:cNvPr id="190" name="Freeform: Shape 189">
                <a:extLst>
                  <a:ext uri="{FF2B5EF4-FFF2-40B4-BE49-F238E27FC236}">
                    <a16:creationId xmlns:a16="http://schemas.microsoft.com/office/drawing/2014/main" id="{24E4E0CC-2C53-7DCE-1FA4-89FDB41B0EC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102120" y="5235098"/>
                <a:ext cx="569206" cy="284609"/>
              </a:xfrm>
              <a:custGeom>
                <a:avLst/>
                <a:gdLst>
                  <a:gd name="connsiteX0" fmla="*/ 569207 w 569206"/>
                  <a:gd name="connsiteY0" fmla="*/ 0 h 284609"/>
                  <a:gd name="connsiteX1" fmla="*/ 284603 w 569206"/>
                  <a:gd name="connsiteY1" fmla="*/ 284609 h 284609"/>
                  <a:gd name="connsiteX2" fmla="*/ 0 w 569206"/>
                  <a:gd name="connsiteY2" fmla="*/ 0 h 284609"/>
                  <a:gd name="connsiteX3" fmla="*/ 569207 w 569206"/>
                  <a:gd name="connsiteY3" fmla="*/ 0 h 284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9206" h="284609">
                    <a:moveTo>
                      <a:pt x="569207" y="0"/>
                    </a:moveTo>
                    <a:cubicBezTo>
                      <a:pt x="569207" y="157218"/>
                      <a:pt x="441818" y="284609"/>
                      <a:pt x="284603" y="284609"/>
                    </a:cubicBezTo>
                    <a:cubicBezTo>
                      <a:pt x="127388" y="284609"/>
                      <a:pt x="0" y="157218"/>
                      <a:pt x="0" y="0"/>
                    </a:cubicBezTo>
                    <a:lnTo>
                      <a:pt x="569207" y="0"/>
                    </a:lnTo>
                    <a:close/>
                  </a:path>
                </a:pathLst>
              </a:custGeom>
              <a:solidFill>
                <a:srgbClr val="93D500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1" name="Freeform: Shape 190">
                <a:extLst>
                  <a:ext uri="{FF2B5EF4-FFF2-40B4-BE49-F238E27FC236}">
                    <a16:creationId xmlns:a16="http://schemas.microsoft.com/office/drawing/2014/main" id="{559D7EA0-79B8-BF95-1F75-C0E4775E301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102120" y="4950489"/>
                <a:ext cx="569206" cy="284609"/>
              </a:xfrm>
              <a:custGeom>
                <a:avLst/>
                <a:gdLst>
                  <a:gd name="connsiteX0" fmla="*/ 0 w 569206"/>
                  <a:gd name="connsiteY0" fmla="*/ 284609 h 284609"/>
                  <a:gd name="connsiteX1" fmla="*/ 284603 w 569206"/>
                  <a:gd name="connsiteY1" fmla="*/ 0 h 284609"/>
                  <a:gd name="connsiteX2" fmla="*/ 569207 w 569206"/>
                  <a:gd name="connsiteY2" fmla="*/ 284609 h 284609"/>
                  <a:gd name="connsiteX3" fmla="*/ 0 w 569206"/>
                  <a:gd name="connsiteY3" fmla="*/ 284609 h 284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9206" h="284609">
                    <a:moveTo>
                      <a:pt x="0" y="284609"/>
                    </a:moveTo>
                    <a:cubicBezTo>
                      <a:pt x="0" y="127391"/>
                      <a:pt x="127388" y="0"/>
                      <a:pt x="284603" y="0"/>
                    </a:cubicBezTo>
                    <a:cubicBezTo>
                      <a:pt x="441818" y="0"/>
                      <a:pt x="569207" y="127391"/>
                      <a:pt x="569207" y="284609"/>
                    </a:cubicBezTo>
                    <a:lnTo>
                      <a:pt x="0" y="284609"/>
                    </a:lnTo>
                    <a:close/>
                  </a:path>
                </a:pathLst>
              </a:custGeom>
              <a:solidFill>
                <a:srgbClr val="000000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861856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+ Image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AA09BD20-B30C-CC32-D428-A1EBE6AC61FC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0" y="1600200"/>
            <a:ext cx="12192000" cy="3052762"/>
          </a:xfrm>
          <a:solidFill>
            <a:schemeClr val="bg1">
              <a:lumMod val="75000"/>
            </a:schemeClr>
          </a:solidFill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000" b="0" dirty="0"/>
            </a:lvl1pPr>
          </a:lstStyle>
          <a:p>
            <a:pPr lvl="0" algn="ctr"/>
            <a:r>
              <a:rPr lang="en-US"/>
              <a:t>Insert Photo</a:t>
            </a: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24B2B4B-82F9-1536-578C-43BD5CE8AF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3631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4B2B4B-82F9-1536-578C-43BD5CE8AF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Title 44">
            <a:extLst>
              <a:ext uri="{FF2B5EF4-FFF2-40B4-BE49-F238E27FC236}">
                <a16:creationId xmlns:a16="http://schemas.microsoft.com/office/drawing/2014/main" id="{8C8DBED3-A629-FC99-1B8F-BE074A307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800754"/>
            <a:ext cx="5486400" cy="5539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  <p:sp>
        <p:nvSpPr>
          <p:cNvPr id="51" name="Footer Placeholder 50">
            <a:extLst>
              <a:ext uri="{FF2B5EF4-FFF2-40B4-BE49-F238E27FC236}">
                <a16:creationId xmlns:a16="http://schemas.microsoft.com/office/drawing/2014/main" id="{E6307089-0337-1E41-2413-B773C7DDA35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835ECE48-5FE3-A1E7-D32C-C2F6ADBC4A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47FA0D2-F8F7-895F-2FBF-67E102F5B1D5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9BC655C-7979-A16B-0182-2803B04DF645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E62D234-D5FD-48E0-D01F-6175CB455F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3631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62D234-D5FD-48E0-D01F-6175CB455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B0381F1-E3BA-89CB-8B69-00C507D035B7}"/>
              </a:ext>
            </a:extLst>
          </p:cNvPr>
          <p:cNvCxnSpPr>
            <a:cxnSpLocks/>
          </p:cNvCxnSpPr>
          <p:nvPr userDrawn="1"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1B46AC-808C-5D43-EA1B-15963FBCA79E}"/>
              </a:ext>
            </a:extLst>
          </p:cNvPr>
          <p:cNvCxnSpPr>
            <a:cxnSpLocks/>
          </p:cNvCxnSpPr>
          <p:nvPr userDrawn="1"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4">
            <a:extLst>
              <a:ext uri="{FF2B5EF4-FFF2-40B4-BE49-F238E27FC236}">
                <a16:creationId xmlns:a16="http://schemas.microsoft.com/office/drawing/2014/main" id="{CE4D3010-E8F4-6ECE-FC85-E5C43829DD4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599" y="5601620"/>
            <a:ext cx="2348865" cy="64678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latin typeface="+mj-lt"/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6">
            <a:extLst>
              <a:ext uri="{FF2B5EF4-FFF2-40B4-BE49-F238E27FC236}">
                <a16:creationId xmlns:a16="http://schemas.microsoft.com/office/drawing/2014/main" id="{D3BAA845-643F-89D1-F332-B3E022656A1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09600" y="4884121"/>
            <a:ext cx="442911" cy="430887"/>
          </a:xfrm>
          <a:noFill/>
        </p:spPr>
        <p:txBody>
          <a:bodyPr wrap="square"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5" name="Text Placeholder 24">
            <a:extLst>
              <a:ext uri="{FF2B5EF4-FFF2-40B4-BE49-F238E27FC236}">
                <a16:creationId xmlns:a16="http://schemas.microsoft.com/office/drawing/2014/main" id="{DCEFF89C-78B8-ADF9-24ED-AEA05D3EC470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484244" y="5601620"/>
            <a:ext cx="2348865" cy="64678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latin typeface="+mj-lt"/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6">
            <a:extLst>
              <a:ext uri="{FF2B5EF4-FFF2-40B4-BE49-F238E27FC236}">
                <a16:creationId xmlns:a16="http://schemas.microsoft.com/office/drawing/2014/main" id="{D8446354-7DF9-CD63-06FD-34CC052BDF4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484244" y="4884121"/>
            <a:ext cx="442911" cy="430887"/>
          </a:xfrm>
          <a:noFill/>
        </p:spPr>
        <p:txBody>
          <a:bodyPr wrap="square"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A705EFF2-4847-92E0-5295-3C574E55E1D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358889" y="5601620"/>
            <a:ext cx="2348865" cy="64678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latin typeface="+mj-lt"/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26">
            <a:extLst>
              <a:ext uri="{FF2B5EF4-FFF2-40B4-BE49-F238E27FC236}">
                <a16:creationId xmlns:a16="http://schemas.microsoft.com/office/drawing/2014/main" id="{AC7CA245-18EA-597A-82E5-BA3812A8DE2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58889" y="4884121"/>
            <a:ext cx="442911" cy="430887"/>
          </a:xfrm>
          <a:noFill/>
        </p:spPr>
        <p:txBody>
          <a:bodyPr wrap="square"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3" name="Text Placeholder 24">
            <a:extLst>
              <a:ext uri="{FF2B5EF4-FFF2-40B4-BE49-F238E27FC236}">
                <a16:creationId xmlns:a16="http://schemas.microsoft.com/office/drawing/2014/main" id="{924E5149-F5C8-EA54-727E-B8B68A5FE9F7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233535" y="5601620"/>
            <a:ext cx="2348865" cy="64678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latin typeface="+mj-lt"/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3489A859-38FC-693E-A6ED-DA783AAA67B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233535" y="4884121"/>
            <a:ext cx="442911" cy="430887"/>
          </a:xfrm>
          <a:noFill/>
        </p:spPr>
        <p:txBody>
          <a:bodyPr wrap="square"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Date Placeholder 49">
            <a:extLst>
              <a:ext uri="{FF2B5EF4-FFF2-40B4-BE49-F238E27FC236}">
                <a16:creationId xmlns:a16="http://schemas.microsoft.com/office/drawing/2014/main" id="{B060A5B5-C6DF-5D69-2D87-90F40677BABD}"/>
              </a:ext>
            </a:extLst>
          </p:cNvPr>
          <p:cNvSpPr>
            <a:spLocks noGrp="1"/>
          </p:cNvSpPr>
          <p:nvPr>
            <p:ph type="dt" sz="half" idx="44"/>
          </p:nvPr>
        </p:nvSpPr>
        <p:spPr>
          <a:xfrm>
            <a:off x="10236555" y="139419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8EC7FE3E-E251-492A-8A26-609F7661DDA5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41599AF1-5158-10CB-A04F-6F714A9AF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595778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 with Photo -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BCB6D247-1918-2009-BF8B-72F06F7A4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181100" y="1557159"/>
            <a:ext cx="3619500" cy="36195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000" b="0"/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7A16E765-6BD0-3CDD-70C1-CA8D2467CB0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4083" y="1960494"/>
            <a:ext cx="4848317" cy="2212848"/>
          </a:xfrm>
        </p:spPr>
        <p:txBody>
          <a:bodyPr anchor="b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FB69FE2A-FEB7-BE08-9456-D4BD5BC806A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6" hasCustomPrompt="1"/>
          </p:nvPr>
        </p:nvSpPr>
        <p:spPr>
          <a:xfrm>
            <a:off x="5733826" y="911568"/>
            <a:ext cx="956993" cy="3062377"/>
          </a:xfrm>
        </p:spPr>
        <p:txBody>
          <a:bodyPr wrap="none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9900" kern="1200" dirty="0">
                <a:solidFill>
                  <a:schemeClr val="accent1"/>
                </a:solidFill>
                <a:latin typeface="Franklin Gothic Medium Cond" panose="020B0606030402020204" pitchFamily="34" charset="0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“</a:t>
            </a:r>
          </a:p>
        </p:txBody>
      </p:sp>
      <p:sp>
        <p:nvSpPr>
          <p:cNvPr id="63" name="Text Placeholder 33">
            <a:extLst>
              <a:ext uri="{FF2B5EF4-FFF2-40B4-BE49-F238E27FC236}">
                <a16:creationId xmlns:a16="http://schemas.microsoft.com/office/drawing/2014/main" id="{49315336-CF85-AB2B-B3A4-46E89F0D968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34082" y="4876991"/>
            <a:ext cx="4848317" cy="299668"/>
          </a:xfrm>
        </p:spPr>
        <p:txBody>
          <a:bodyPr wrap="square">
            <a:noAutofit/>
          </a:bodyPr>
          <a:lstStyle>
            <a:lvl1pPr marL="0" indent="0" algn="r">
              <a:spcAft>
                <a:spcPts val="300"/>
              </a:spcAft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r"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7C5D94E-21FC-6AC5-66EE-F82FAB1D00F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600" y="13802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6" name="Date Placeholder 12">
            <a:extLst>
              <a:ext uri="{FF2B5EF4-FFF2-40B4-BE49-F238E27FC236}">
                <a16:creationId xmlns:a16="http://schemas.microsoft.com/office/drawing/2014/main" id="{95E5C207-2DAF-C132-6FF6-E4FDC93005CA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0236555" y="13802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5F6B9B37-ED23-4617-8C0C-8F866FE38D8E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7" name="Footer Placeholder 13">
            <a:extLst>
              <a:ext uri="{FF2B5EF4-FFF2-40B4-BE49-F238E27FC236}">
                <a16:creationId xmlns:a16="http://schemas.microsoft.com/office/drawing/2014/main" id="{CF4B4545-13F4-2902-0AC9-6AF28B437C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09600" y="656608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13" name="Slide Number Placeholder 14">
            <a:extLst>
              <a:ext uri="{FF2B5EF4-FFF2-40B4-BE49-F238E27FC236}">
                <a16:creationId xmlns:a16="http://schemas.microsoft.com/office/drawing/2014/main" id="{C266639E-79B8-D05E-C2A0-2E9D57F6CBFE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>
          <a:xfrm>
            <a:off x="11248008" y="656608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F15F0ED-BBBC-2F21-14A8-BAEF93A451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03876" y="88565"/>
            <a:ext cx="995110" cy="252812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CDC81FC-8683-540B-7C77-9681384F4E65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FD21293-CCA9-B189-2095-9F95E3AE36C0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33">
            <a:extLst>
              <a:ext uri="{FF2B5EF4-FFF2-40B4-BE49-F238E27FC236}">
                <a16:creationId xmlns:a16="http://schemas.microsoft.com/office/drawing/2014/main" id="{ED489F46-1121-34BF-36F0-886015468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734082" y="5204393"/>
            <a:ext cx="4848318" cy="276999"/>
          </a:xfrm>
        </p:spPr>
        <p:txBody>
          <a:bodyPr wrap="square">
            <a:noAutofit/>
          </a:bodyPr>
          <a:lstStyle>
            <a:lvl1pPr marL="0" indent="0" algn="r"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</p:spTree>
    <p:extLst>
      <p:ext uri="{BB962C8B-B14F-4D97-AF65-F5344CB8AC3E}">
        <p14:creationId xmlns:p14="http://schemas.microsoft.com/office/powerpoint/2010/main" val="182211174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with Photo - Ligh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49">
            <a:extLst>
              <a:ext uri="{FF2B5EF4-FFF2-40B4-BE49-F238E27FC236}">
                <a16:creationId xmlns:a16="http://schemas.microsoft.com/office/drawing/2014/main" id="{68C8DFA2-ADF2-B013-F741-F2BFA6A790EA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0236555" y="139419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8DFA9521-7F27-42A7-9662-7BCC8FA50C6A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4C01BF98-E8D1-FA71-7F61-B40AD7F38B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00" y="139419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87" name="Text Placeholder 19">
            <a:extLst>
              <a:ext uri="{FF2B5EF4-FFF2-40B4-BE49-F238E27FC236}">
                <a16:creationId xmlns:a16="http://schemas.microsoft.com/office/drawing/2014/main" id="{D2934921-DF3B-B31E-8649-612670262B8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734083" y="1960494"/>
            <a:ext cx="4848317" cy="2212848"/>
          </a:xfrm>
        </p:spPr>
        <p:txBody>
          <a:bodyPr anchor="b">
            <a:noAutofit/>
          </a:bodyPr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EDFA36-60E1-6C7B-5CCC-B90C1C3CC5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296F0A0-E7AD-B1C7-A831-F6B685006C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17">
            <a:extLst>
              <a:ext uri="{FF2B5EF4-FFF2-40B4-BE49-F238E27FC236}">
                <a16:creationId xmlns:a16="http://schemas.microsoft.com/office/drawing/2014/main" id="{E508596C-8AF4-394C-3308-4FFF0C7621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81100" y="1557159"/>
            <a:ext cx="3619500" cy="36195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0" b="0"/>
            </a:lvl1pPr>
          </a:lstStyle>
          <a:p>
            <a:pPr lvl="0" algn="ctr"/>
            <a:r>
              <a:rPr lang="en-US"/>
              <a:t>Inset Photo</a:t>
            </a:r>
          </a:p>
        </p:txBody>
      </p:sp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6BDE3127-1813-14DC-828E-B3138819FEB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6" hasCustomPrompt="1"/>
          </p:nvPr>
        </p:nvSpPr>
        <p:spPr>
          <a:xfrm>
            <a:off x="5733826" y="911568"/>
            <a:ext cx="956993" cy="3062377"/>
          </a:xfrm>
        </p:spPr>
        <p:txBody>
          <a:bodyPr wrap="none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9900" kern="1200" dirty="0">
                <a:solidFill>
                  <a:schemeClr val="accent2"/>
                </a:solidFill>
                <a:latin typeface="Franklin Gothic Medium Cond" panose="020B0606030402020204" pitchFamily="34" charset="0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“</a:t>
            </a:r>
          </a:p>
        </p:txBody>
      </p:sp>
      <p:sp>
        <p:nvSpPr>
          <p:cNvPr id="9" name="Text Placeholder 33">
            <a:extLst>
              <a:ext uri="{FF2B5EF4-FFF2-40B4-BE49-F238E27FC236}">
                <a16:creationId xmlns:a16="http://schemas.microsoft.com/office/drawing/2014/main" id="{07A67CF4-5BEE-8E4E-1241-20B1A1AB748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34082" y="4876991"/>
            <a:ext cx="4848317" cy="299668"/>
          </a:xfrm>
        </p:spPr>
        <p:txBody>
          <a:bodyPr wrap="square">
            <a:noAutofit/>
          </a:bodyPr>
          <a:lstStyle>
            <a:lvl1pPr marL="0" indent="0" algn="r">
              <a:spcAft>
                <a:spcPts val="3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0" name="Text Placeholder 33">
            <a:extLst>
              <a:ext uri="{FF2B5EF4-FFF2-40B4-BE49-F238E27FC236}">
                <a16:creationId xmlns:a16="http://schemas.microsoft.com/office/drawing/2014/main" id="{6FFC7E46-DB66-D43C-3850-83C8E4F4A44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734082" y="5204393"/>
            <a:ext cx="4848318" cy="276999"/>
          </a:xfrm>
        </p:spPr>
        <p:txBody>
          <a:bodyPr wrap="square">
            <a:noAutofit/>
          </a:bodyPr>
          <a:lstStyle>
            <a:lvl1pPr marL="0" indent="0" algn="r"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</p:spTree>
    <p:extLst>
      <p:ext uri="{BB962C8B-B14F-4D97-AF65-F5344CB8AC3E}">
        <p14:creationId xmlns:p14="http://schemas.microsoft.com/office/powerpoint/2010/main" val="10971041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- 4 Members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772DD-7002-F2A1-C348-A0C46F31C7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FED28113-7C82-17C7-BA44-13930C3558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4" name="Picture Placeholder 17">
            <a:extLst>
              <a:ext uri="{FF2B5EF4-FFF2-40B4-BE49-F238E27FC236}">
                <a16:creationId xmlns:a16="http://schemas.microsoft.com/office/drawing/2014/main" id="{813769C8-2552-7A85-2B62-C7568B6AC9AE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609600" y="1960419"/>
            <a:ext cx="1354281" cy="1354281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8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EF0FDF04-B2B6-525D-AE0D-E3736EA185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3527923"/>
            <a:ext cx="2258568" cy="307777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054EC6BE-3F2F-E9B7-0C72-6CDE487B5C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4597059"/>
            <a:ext cx="2258568" cy="1308441"/>
          </a:xfrm>
        </p:spPr>
        <p:txBody>
          <a:bodyPr>
            <a:noAutofit/>
          </a:bodyPr>
          <a:lstStyle>
            <a:lvl1pPr>
              <a:defRPr sz="14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Picture Placeholder 17">
            <a:extLst>
              <a:ext uri="{FF2B5EF4-FFF2-40B4-BE49-F238E27FC236}">
                <a16:creationId xmlns:a16="http://schemas.microsoft.com/office/drawing/2014/main" id="{6252DFA9-6D54-E4B7-97FB-9F469D69C192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516666" y="1960419"/>
            <a:ext cx="1354281" cy="1354281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Headshot</a:t>
            </a:r>
          </a:p>
        </p:txBody>
      </p:sp>
      <p:sp>
        <p:nvSpPr>
          <p:cNvPr id="44" name="Text Placeholder 37">
            <a:extLst>
              <a:ext uri="{FF2B5EF4-FFF2-40B4-BE49-F238E27FC236}">
                <a16:creationId xmlns:a16="http://schemas.microsoft.com/office/drawing/2014/main" id="{7B0BDFE2-624A-1A15-5460-B5974D8FC7D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16666" y="4597059"/>
            <a:ext cx="2258568" cy="1308441"/>
          </a:xfrm>
        </p:spPr>
        <p:txBody>
          <a:bodyPr>
            <a:noAutofit/>
          </a:bodyPr>
          <a:lstStyle>
            <a:lvl1pPr>
              <a:defRPr sz="14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Picture Placeholder 17">
            <a:extLst>
              <a:ext uri="{FF2B5EF4-FFF2-40B4-BE49-F238E27FC236}">
                <a16:creationId xmlns:a16="http://schemas.microsoft.com/office/drawing/2014/main" id="{292B6EA7-82EF-8D0E-757D-2DBF0C8C53DF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6419088" y="1960419"/>
            <a:ext cx="1354281" cy="1354281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Headshot</a:t>
            </a:r>
          </a:p>
        </p:txBody>
      </p:sp>
      <p:sp>
        <p:nvSpPr>
          <p:cNvPr id="50" name="Text Placeholder 37">
            <a:extLst>
              <a:ext uri="{FF2B5EF4-FFF2-40B4-BE49-F238E27FC236}">
                <a16:creationId xmlns:a16="http://schemas.microsoft.com/office/drawing/2014/main" id="{81EF1E7C-A189-32BE-97B5-28DA00F81F0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419088" y="4597059"/>
            <a:ext cx="2258568" cy="1308441"/>
          </a:xfrm>
        </p:spPr>
        <p:txBody>
          <a:bodyPr>
            <a:noAutofit/>
          </a:bodyPr>
          <a:lstStyle>
            <a:lvl1pPr>
              <a:defRPr sz="14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Picture Placeholder 17">
            <a:extLst>
              <a:ext uri="{FF2B5EF4-FFF2-40B4-BE49-F238E27FC236}">
                <a16:creationId xmlns:a16="http://schemas.microsoft.com/office/drawing/2014/main" id="{424B2AD3-6B91-052B-36CC-6D5B353D4876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9323832" y="1960419"/>
            <a:ext cx="1354281" cy="1354281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Headshot</a:t>
            </a:r>
          </a:p>
        </p:txBody>
      </p:sp>
      <p:sp>
        <p:nvSpPr>
          <p:cNvPr id="63" name="Text Placeholder 37">
            <a:extLst>
              <a:ext uri="{FF2B5EF4-FFF2-40B4-BE49-F238E27FC236}">
                <a16:creationId xmlns:a16="http://schemas.microsoft.com/office/drawing/2014/main" id="{A8E41E57-8F61-2F5E-A3A4-ED89414D828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3832" y="4597059"/>
            <a:ext cx="2258568" cy="1308441"/>
          </a:xfrm>
        </p:spPr>
        <p:txBody>
          <a:bodyPr>
            <a:noAutofit/>
          </a:bodyPr>
          <a:lstStyle>
            <a:lvl1pPr>
              <a:defRPr sz="14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9">
            <a:extLst>
              <a:ext uri="{FF2B5EF4-FFF2-40B4-BE49-F238E27FC236}">
                <a16:creationId xmlns:a16="http://schemas.microsoft.com/office/drawing/2014/main" id="{A1790F86-0957-48DF-CC52-AE8AE9487111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D7F9F177-B21B-4601-9445-BEDBCD962BE3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D74D7FCE-5041-B026-EA43-51B21F3B8BE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EBF6BF5C-8307-B3C5-1249-18E632BF5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CAA7CBE-DA9D-01C9-A282-A6D10AF8D4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33">
            <a:extLst>
              <a:ext uri="{FF2B5EF4-FFF2-40B4-BE49-F238E27FC236}">
                <a16:creationId xmlns:a16="http://schemas.microsoft.com/office/drawing/2014/main" id="{D11A414D-3F82-F52A-ED69-FAB9EFC6ECE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556" y="3843884"/>
            <a:ext cx="2256612" cy="246221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25" name="Text Placeholder 35">
            <a:extLst>
              <a:ext uri="{FF2B5EF4-FFF2-40B4-BE49-F238E27FC236}">
                <a16:creationId xmlns:a16="http://schemas.microsoft.com/office/drawing/2014/main" id="{2D933587-49D3-B2C3-66A7-A4E240E34C9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16666" y="3523468"/>
            <a:ext cx="2258568" cy="307777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EDAEAA86-D287-3299-DB78-D7C8566793B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419088" y="3523468"/>
            <a:ext cx="2258568" cy="307777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27" name="Text Placeholder 35">
            <a:extLst>
              <a:ext uri="{FF2B5EF4-FFF2-40B4-BE49-F238E27FC236}">
                <a16:creationId xmlns:a16="http://schemas.microsoft.com/office/drawing/2014/main" id="{65942B2D-3AC5-A77A-2B67-473A7F884BB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323832" y="3523468"/>
            <a:ext cx="2258568" cy="307777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ED2CB8D3-2554-6B6C-E376-EBA35297A1A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518657" y="3843884"/>
            <a:ext cx="2256612" cy="246221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29" name="Text Placeholder 33">
            <a:extLst>
              <a:ext uri="{FF2B5EF4-FFF2-40B4-BE49-F238E27FC236}">
                <a16:creationId xmlns:a16="http://schemas.microsoft.com/office/drawing/2014/main" id="{7BD67107-7EFF-BB36-FE18-C91DD934832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25759" y="3843884"/>
            <a:ext cx="2256612" cy="246221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30" name="Text Placeholder 33">
            <a:extLst>
              <a:ext uri="{FF2B5EF4-FFF2-40B4-BE49-F238E27FC236}">
                <a16:creationId xmlns:a16="http://schemas.microsoft.com/office/drawing/2014/main" id="{F5BC2639-2D4C-EA86-460B-D75BD37E0AA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306982" y="3843884"/>
            <a:ext cx="2256612" cy="246221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</p:spTree>
    <p:extLst>
      <p:ext uri="{BB962C8B-B14F-4D97-AF65-F5344CB8AC3E}">
        <p14:creationId xmlns:p14="http://schemas.microsoft.com/office/powerpoint/2010/main" val="1570753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Team Slide - 8 Members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7">
            <a:extLst>
              <a:ext uri="{FF2B5EF4-FFF2-40B4-BE49-F238E27FC236}">
                <a16:creationId xmlns:a16="http://schemas.microsoft.com/office/drawing/2014/main" id="{874FFD84-E820-9CCF-0AD2-36B6B4FE3C82}"/>
              </a:ext>
            </a:extLst>
          </p:cNvPr>
          <p:cNvSpPr>
            <a:spLocks noGrp="1" noChangeAspect="1"/>
          </p:cNvSpPr>
          <p:nvPr>
            <p:ph type="pic" sz="quarter" idx="53" hasCustomPrompt="1"/>
          </p:nvPr>
        </p:nvSpPr>
        <p:spPr>
          <a:xfrm>
            <a:off x="9294705" y="1955700"/>
            <a:ext cx="1054200" cy="10542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Headshot</a:t>
            </a:r>
          </a:p>
        </p:txBody>
      </p:sp>
      <p:sp>
        <p:nvSpPr>
          <p:cNvPr id="34" name="Picture Placeholder 17">
            <a:extLst>
              <a:ext uri="{FF2B5EF4-FFF2-40B4-BE49-F238E27FC236}">
                <a16:creationId xmlns:a16="http://schemas.microsoft.com/office/drawing/2014/main" id="{813769C8-2552-7A85-2B62-C7568B6AC9AE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609600" y="1955700"/>
            <a:ext cx="1054200" cy="10542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42" name="Picture Placeholder 17">
            <a:extLst>
              <a:ext uri="{FF2B5EF4-FFF2-40B4-BE49-F238E27FC236}">
                <a16:creationId xmlns:a16="http://schemas.microsoft.com/office/drawing/2014/main" id="{6252DFA9-6D54-E4B7-97FB-9F469D69C192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490664" y="1955700"/>
            <a:ext cx="1054200" cy="10542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Headshot</a:t>
            </a:r>
          </a:p>
        </p:txBody>
      </p:sp>
      <p:sp>
        <p:nvSpPr>
          <p:cNvPr id="48" name="Picture Placeholder 17">
            <a:extLst>
              <a:ext uri="{FF2B5EF4-FFF2-40B4-BE49-F238E27FC236}">
                <a16:creationId xmlns:a16="http://schemas.microsoft.com/office/drawing/2014/main" id="{292B6EA7-82EF-8D0E-757D-2DBF0C8C53DF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6419088" y="1955700"/>
            <a:ext cx="1054200" cy="10542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Headshot</a:t>
            </a:r>
          </a:p>
        </p:txBody>
      </p:sp>
      <p:sp>
        <p:nvSpPr>
          <p:cNvPr id="19" name="Picture Placeholder 17">
            <a:extLst>
              <a:ext uri="{FF2B5EF4-FFF2-40B4-BE49-F238E27FC236}">
                <a16:creationId xmlns:a16="http://schemas.microsoft.com/office/drawing/2014/main" id="{4DE34035-F5AD-C611-062F-5093E74F76CC}"/>
              </a:ext>
            </a:extLst>
          </p:cNvPr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609600" y="4198082"/>
            <a:ext cx="1054200" cy="10542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21" name="Picture Placeholder 17">
            <a:extLst>
              <a:ext uri="{FF2B5EF4-FFF2-40B4-BE49-F238E27FC236}">
                <a16:creationId xmlns:a16="http://schemas.microsoft.com/office/drawing/2014/main" id="{9686D5F5-5FD5-BDDF-5740-B4C1FA0E5BF8}"/>
              </a:ext>
            </a:extLst>
          </p:cNvPr>
          <p:cNvSpPr>
            <a:spLocks noGrp="1" noChangeAspect="1"/>
          </p:cNvSpPr>
          <p:nvPr>
            <p:ph type="pic" sz="quarter" idx="31" hasCustomPrompt="1"/>
          </p:nvPr>
        </p:nvSpPr>
        <p:spPr>
          <a:xfrm>
            <a:off x="3490664" y="4198082"/>
            <a:ext cx="1054200" cy="10542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Headshot</a:t>
            </a:r>
          </a:p>
        </p:txBody>
      </p:sp>
      <p:sp>
        <p:nvSpPr>
          <p:cNvPr id="23" name="Picture Placeholder 17">
            <a:extLst>
              <a:ext uri="{FF2B5EF4-FFF2-40B4-BE49-F238E27FC236}">
                <a16:creationId xmlns:a16="http://schemas.microsoft.com/office/drawing/2014/main" id="{FB7DC8FB-AA4D-3AEF-1A74-024B0CDBA10D}"/>
              </a:ext>
            </a:extLst>
          </p:cNvPr>
          <p:cNvSpPr>
            <a:spLocks noGrp="1" noChangeAspect="1"/>
          </p:cNvSpPr>
          <p:nvPr>
            <p:ph type="pic" sz="quarter" idx="33" hasCustomPrompt="1"/>
          </p:nvPr>
        </p:nvSpPr>
        <p:spPr>
          <a:xfrm>
            <a:off x="6419088" y="4198082"/>
            <a:ext cx="1054200" cy="10542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Headshot</a:t>
            </a:r>
          </a:p>
        </p:txBody>
      </p:sp>
      <p:sp>
        <p:nvSpPr>
          <p:cNvPr id="25" name="Picture Placeholder 17">
            <a:extLst>
              <a:ext uri="{FF2B5EF4-FFF2-40B4-BE49-F238E27FC236}">
                <a16:creationId xmlns:a16="http://schemas.microsoft.com/office/drawing/2014/main" id="{9DD06D5E-68D8-CF3C-E2F0-C5A1D9EE6675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9290495" y="4198082"/>
            <a:ext cx="1054200" cy="10542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Headsho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E772DD-7002-F2A1-C348-A0C46F31C7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FED28113-7C82-17C7-BA44-13930C3558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" name="Date Placeholder 49">
            <a:extLst>
              <a:ext uri="{FF2B5EF4-FFF2-40B4-BE49-F238E27FC236}">
                <a16:creationId xmlns:a16="http://schemas.microsoft.com/office/drawing/2014/main" id="{A1790F86-0957-48DF-CC52-AE8AE9487111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CAE2D3EF-2E1E-47F5-91C7-50BCE6E0488C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D74D7FCE-5041-B026-EA43-51B21F3B8BE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EBF6BF5C-8307-B3C5-1249-18E632BF5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CAA7CBE-DA9D-01C9-A282-A6D10AF8D4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8" name="Text Placeholder 35">
            <a:extLst>
              <a:ext uri="{FF2B5EF4-FFF2-40B4-BE49-F238E27FC236}">
                <a16:creationId xmlns:a16="http://schemas.microsoft.com/office/drawing/2014/main" id="{82AC21C8-B99B-2BC0-E7AC-E462E85BB9D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07827" y="3227269"/>
            <a:ext cx="2258568" cy="2769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8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39" name="Text Placeholder 33">
            <a:extLst>
              <a:ext uri="{FF2B5EF4-FFF2-40B4-BE49-F238E27FC236}">
                <a16:creationId xmlns:a16="http://schemas.microsoft.com/office/drawing/2014/main" id="{A35B063B-18C7-DC71-E554-282EDE7382B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07827" y="3512452"/>
            <a:ext cx="2256612" cy="215444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50" name="Text Placeholder 35">
            <a:extLst>
              <a:ext uri="{FF2B5EF4-FFF2-40B4-BE49-F238E27FC236}">
                <a16:creationId xmlns:a16="http://schemas.microsoft.com/office/drawing/2014/main" id="{81B712C3-F5BF-4CC7-BBC7-D413680C44A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486390" y="3227269"/>
            <a:ext cx="2258568" cy="2769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8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51" name="Text Placeholder 33">
            <a:extLst>
              <a:ext uri="{FF2B5EF4-FFF2-40B4-BE49-F238E27FC236}">
                <a16:creationId xmlns:a16="http://schemas.microsoft.com/office/drawing/2014/main" id="{E299C6CE-8AF4-C719-828D-649CA9C9485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486390" y="3512452"/>
            <a:ext cx="2256612" cy="215444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52" name="Text Placeholder 35">
            <a:extLst>
              <a:ext uri="{FF2B5EF4-FFF2-40B4-BE49-F238E27FC236}">
                <a16:creationId xmlns:a16="http://schemas.microsoft.com/office/drawing/2014/main" id="{EB801F43-F2B7-CBE9-357A-F36C0E97546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425922" y="3227269"/>
            <a:ext cx="2258568" cy="2769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8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53" name="Text Placeholder 33">
            <a:extLst>
              <a:ext uri="{FF2B5EF4-FFF2-40B4-BE49-F238E27FC236}">
                <a16:creationId xmlns:a16="http://schemas.microsoft.com/office/drawing/2014/main" id="{E87D44B1-BC3F-1E5B-3A26-AF3B7FC2BF2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425922" y="3512452"/>
            <a:ext cx="2256612" cy="215444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54" name="Text Placeholder 35">
            <a:extLst>
              <a:ext uri="{FF2B5EF4-FFF2-40B4-BE49-F238E27FC236}">
                <a16:creationId xmlns:a16="http://schemas.microsoft.com/office/drawing/2014/main" id="{5918D064-2F30-9CBA-2821-26AB4FE6EE6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30486" y="3227269"/>
            <a:ext cx="2258568" cy="2769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8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55" name="Text Placeholder 33">
            <a:extLst>
              <a:ext uri="{FF2B5EF4-FFF2-40B4-BE49-F238E27FC236}">
                <a16:creationId xmlns:a16="http://schemas.microsoft.com/office/drawing/2014/main" id="{D8D0603C-7B55-B6BD-29F5-5DEA129998D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330486" y="3512452"/>
            <a:ext cx="2256612" cy="215444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66" name="Text Placeholder 35">
            <a:extLst>
              <a:ext uri="{FF2B5EF4-FFF2-40B4-BE49-F238E27FC236}">
                <a16:creationId xmlns:a16="http://schemas.microsoft.com/office/drawing/2014/main" id="{A062BA50-079C-6100-E301-EDBEDFAD319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07827" y="5468446"/>
            <a:ext cx="2258568" cy="2769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8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67" name="Text Placeholder 33">
            <a:extLst>
              <a:ext uri="{FF2B5EF4-FFF2-40B4-BE49-F238E27FC236}">
                <a16:creationId xmlns:a16="http://schemas.microsoft.com/office/drawing/2014/main" id="{0E067610-4620-E1DE-2CD8-345CC45982B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07827" y="5753629"/>
            <a:ext cx="2256612" cy="215444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68" name="Text Placeholder 35">
            <a:extLst>
              <a:ext uri="{FF2B5EF4-FFF2-40B4-BE49-F238E27FC236}">
                <a16:creationId xmlns:a16="http://schemas.microsoft.com/office/drawing/2014/main" id="{BE730581-6369-EB17-F80E-F02AC2596B3B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486390" y="5468446"/>
            <a:ext cx="2258568" cy="2769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8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69" name="Text Placeholder 33">
            <a:extLst>
              <a:ext uri="{FF2B5EF4-FFF2-40B4-BE49-F238E27FC236}">
                <a16:creationId xmlns:a16="http://schemas.microsoft.com/office/drawing/2014/main" id="{C449B276-9CBD-FA88-B630-F665FA9395DD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486390" y="5753629"/>
            <a:ext cx="2256612" cy="215444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70" name="Text Placeholder 35">
            <a:extLst>
              <a:ext uri="{FF2B5EF4-FFF2-40B4-BE49-F238E27FC236}">
                <a16:creationId xmlns:a16="http://schemas.microsoft.com/office/drawing/2014/main" id="{82641E12-3574-556D-9292-D2D8F17E0EB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425922" y="5468446"/>
            <a:ext cx="2258568" cy="2769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8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71" name="Text Placeholder 33">
            <a:extLst>
              <a:ext uri="{FF2B5EF4-FFF2-40B4-BE49-F238E27FC236}">
                <a16:creationId xmlns:a16="http://schemas.microsoft.com/office/drawing/2014/main" id="{62159AB4-5518-F95D-C883-5F18C31386F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425922" y="5753629"/>
            <a:ext cx="2256612" cy="215444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72" name="Text Placeholder 35">
            <a:extLst>
              <a:ext uri="{FF2B5EF4-FFF2-40B4-BE49-F238E27FC236}">
                <a16:creationId xmlns:a16="http://schemas.microsoft.com/office/drawing/2014/main" id="{EA3EE371-9B6A-94CB-E243-1B449F7F08B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330486" y="5468446"/>
            <a:ext cx="2258568" cy="2769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8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73" name="Text Placeholder 33">
            <a:extLst>
              <a:ext uri="{FF2B5EF4-FFF2-40B4-BE49-F238E27FC236}">
                <a16:creationId xmlns:a16="http://schemas.microsoft.com/office/drawing/2014/main" id="{29259BFE-97CF-E9D2-6119-F50C9DD2DDC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330486" y="5753629"/>
            <a:ext cx="2256612" cy="215444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</p:spTree>
    <p:extLst>
      <p:ext uri="{BB962C8B-B14F-4D97-AF65-F5344CB8AC3E}">
        <p14:creationId xmlns:p14="http://schemas.microsoft.com/office/powerpoint/2010/main" val="27249836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 -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aphic 7">
            <a:extLst>
              <a:ext uri="{FF2B5EF4-FFF2-40B4-BE49-F238E27FC236}">
                <a16:creationId xmlns:a16="http://schemas.microsoft.com/office/drawing/2014/main" id="{C5A0A539-4BAC-8953-4BBA-6D59087AD769}"/>
              </a:ext>
            </a:extLst>
          </p:cNvPr>
          <p:cNvGrpSpPr/>
          <p:nvPr userDrawn="1"/>
        </p:nvGrpSpPr>
        <p:grpSpPr>
          <a:xfrm>
            <a:off x="609600" y="557212"/>
            <a:ext cx="1729317" cy="437558"/>
            <a:chOff x="609600" y="557212"/>
            <a:chExt cx="2670098" cy="675598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CABD304E-130C-E81B-7AD9-4DF1D35529F5}"/>
                </a:ext>
              </a:extLst>
            </p:cNvPr>
            <p:cNvSpPr/>
            <p:nvPr/>
          </p:nvSpPr>
          <p:spPr>
            <a:xfrm>
              <a:off x="1181182" y="790634"/>
              <a:ext cx="2098515" cy="283771"/>
            </a:xfrm>
            <a:custGeom>
              <a:avLst/>
              <a:gdLst>
                <a:gd name="connsiteX0" fmla="*/ 129551 w 2098515"/>
                <a:gd name="connsiteY0" fmla="*/ 283771 h 283771"/>
                <a:gd name="connsiteX1" fmla="*/ 77038 w 2098515"/>
                <a:gd name="connsiteY1" fmla="*/ 273817 h 283771"/>
                <a:gd name="connsiteX2" fmla="*/ 36644 w 2098515"/>
                <a:gd name="connsiteY2" fmla="*/ 245685 h 283771"/>
                <a:gd name="connsiteX3" fmla="*/ 9377 w 2098515"/>
                <a:gd name="connsiteY3" fmla="*/ 199953 h 283771"/>
                <a:gd name="connsiteX4" fmla="*/ 0 w 2098515"/>
                <a:gd name="connsiteY4" fmla="*/ 142391 h 283771"/>
                <a:gd name="connsiteX5" fmla="*/ 10531 w 2098515"/>
                <a:gd name="connsiteY5" fmla="*/ 82809 h 283771"/>
                <a:gd name="connsiteX6" fmla="*/ 40395 w 2098515"/>
                <a:gd name="connsiteY6" fmla="*/ 36211 h 283771"/>
                <a:gd name="connsiteX7" fmla="*/ 80789 w 2098515"/>
                <a:gd name="connsiteY7" fmla="*/ 9522 h 283771"/>
                <a:gd name="connsiteX8" fmla="*/ 133735 w 2098515"/>
                <a:gd name="connsiteY8" fmla="*/ 0 h 283771"/>
                <a:gd name="connsiteX9" fmla="*/ 180910 w 2098515"/>
                <a:gd name="connsiteY9" fmla="*/ 6636 h 283771"/>
                <a:gd name="connsiteX10" fmla="*/ 217121 w 2098515"/>
                <a:gd name="connsiteY10" fmla="*/ 25679 h 283771"/>
                <a:gd name="connsiteX11" fmla="*/ 241646 w 2098515"/>
                <a:gd name="connsiteY11" fmla="*/ 55542 h 283771"/>
                <a:gd name="connsiteX12" fmla="*/ 254341 w 2098515"/>
                <a:gd name="connsiteY12" fmla="*/ 94350 h 283771"/>
                <a:gd name="connsiteX13" fmla="*/ 188844 w 2098515"/>
                <a:gd name="connsiteY13" fmla="*/ 94350 h 283771"/>
                <a:gd name="connsiteX14" fmla="*/ 171677 w 2098515"/>
                <a:gd name="connsiteY14" fmla="*/ 66507 h 283771"/>
                <a:gd name="connsiteX15" fmla="*/ 135899 w 2098515"/>
                <a:gd name="connsiteY15" fmla="*/ 55398 h 283771"/>
                <a:gd name="connsiteX16" fmla="*/ 106324 w 2098515"/>
                <a:gd name="connsiteY16" fmla="*/ 62034 h 283771"/>
                <a:gd name="connsiteX17" fmla="*/ 85117 w 2098515"/>
                <a:gd name="connsiteY17" fmla="*/ 80356 h 283771"/>
                <a:gd name="connsiteX18" fmla="*/ 72566 w 2098515"/>
                <a:gd name="connsiteY18" fmla="*/ 107767 h 283771"/>
                <a:gd name="connsiteX19" fmla="*/ 68382 w 2098515"/>
                <a:gd name="connsiteY19" fmla="*/ 142246 h 283771"/>
                <a:gd name="connsiteX20" fmla="*/ 73143 w 2098515"/>
                <a:gd name="connsiteY20" fmla="*/ 176870 h 283771"/>
                <a:gd name="connsiteX21" fmla="*/ 86704 w 2098515"/>
                <a:gd name="connsiteY21" fmla="*/ 204425 h 283771"/>
                <a:gd name="connsiteX22" fmla="*/ 108200 w 2098515"/>
                <a:gd name="connsiteY22" fmla="*/ 222458 h 283771"/>
                <a:gd name="connsiteX23" fmla="*/ 136909 w 2098515"/>
                <a:gd name="connsiteY23" fmla="*/ 228950 h 283771"/>
                <a:gd name="connsiteX24" fmla="*/ 160712 w 2098515"/>
                <a:gd name="connsiteY24" fmla="*/ 224911 h 283771"/>
                <a:gd name="connsiteX25" fmla="*/ 178601 w 2098515"/>
                <a:gd name="connsiteY25" fmla="*/ 214235 h 283771"/>
                <a:gd name="connsiteX26" fmla="*/ 190431 w 2098515"/>
                <a:gd name="connsiteY26" fmla="*/ 198943 h 283771"/>
                <a:gd name="connsiteX27" fmla="*/ 195913 w 2098515"/>
                <a:gd name="connsiteY27" fmla="*/ 181198 h 283771"/>
                <a:gd name="connsiteX28" fmla="*/ 195913 w 2098515"/>
                <a:gd name="connsiteY28" fmla="*/ 180477 h 283771"/>
                <a:gd name="connsiteX29" fmla="*/ 144843 w 2098515"/>
                <a:gd name="connsiteY29" fmla="*/ 180477 h 283771"/>
                <a:gd name="connsiteX30" fmla="*/ 144843 w 2098515"/>
                <a:gd name="connsiteY30" fmla="*/ 130994 h 283771"/>
                <a:gd name="connsiteX31" fmla="*/ 258381 w 2098515"/>
                <a:gd name="connsiteY31" fmla="*/ 130994 h 283771"/>
                <a:gd name="connsiteX32" fmla="*/ 258381 w 2098515"/>
                <a:gd name="connsiteY32" fmla="*/ 277279 h 283771"/>
                <a:gd name="connsiteX33" fmla="*/ 211206 w 2098515"/>
                <a:gd name="connsiteY33" fmla="*/ 277279 h 283771"/>
                <a:gd name="connsiteX34" fmla="*/ 207455 w 2098515"/>
                <a:gd name="connsiteY34" fmla="*/ 244531 h 283771"/>
                <a:gd name="connsiteX35" fmla="*/ 206733 w 2098515"/>
                <a:gd name="connsiteY35" fmla="*/ 244531 h 283771"/>
                <a:gd name="connsiteX36" fmla="*/ 173841 w 2098515"/>
                <a:gd name="connsiteY36" fmla="*/ 274394 h 283771"/>
                <a:gd name="connsiteX37" fmla="*/ 129407 w 2098515"/>
                <a:gd name="connsiteY37" fmla="*/ 283339 h 283771"/>
                <a:gd name="connsiteX38" fmla="*/ 358357 w 2098515"/>
                <a:gd name="connsiteY38" fmla="*/ 282906 h 283771"/>
                <a:gd name="connsiteX39" fmla="*/ 307143 w 2098515"/>
                <a:gd name="connsiteY39" fmla="*/ 262853 h 283771"/>
                <a:gd name="connsiteX40" fmla="*/ 289831 w 2098515"/>
                <a:gd name="connsiteY40" fmla="*/ 210051 h 283771"/>
                <a:gd name="connsiteX41" fmla="*/ 289831 w 2098515"/>
                <a:gd name="connsiteY41" fmla="*/ 82087 h 283771"/>
                <a:gd name="connsiteX42" fmla="*/ 351577 w 2098515"/>
                <a:gd name="connsiteY42" fmla="*/ 82087 h 283771"/>
                <a:gd name="connsiteX43" fmla="*/ 351577 w 2098515"/>
                <a:gd name="connsiteY43" fmla="*/ 197212 h 283771"/>
                <a:gd name="connsiteX44" fmla="*/ 358790 w 2098515"/>
                <a:gd name="connsiteY44" fmla="*/ 221737 h 283771"/>
                <a:gd name="connsiteX45" fmla="*/ 380863 w 2098515"/>
                <a:gd name="connsiteY45" fmla="*/ 230249 h 283771"/>
                <a:gd name="connsiteX46" fmla="*/ 405965 w 2098515"/>
                <a:gd name="connsiteY46" fmla="*/ 219429 h 283771"/>
                <a:gd name="connsiteX47" fmla="*/ 415054 w 2098515"/>
                <a:gd name="connsiteY47" fmla="*/ 191008 h 283771"/>
                <a:gd name="connsiteX48" fmla="*/ 415054 w 2098515"/>
                <a:gd name="connsiteY48" fmla="*/ 82087 h 283771"/>
                <a:gd name="connsiteX49" fmla="*/ 477088 w 2098515"/>
                <a:gd name="connsiteY49" fmla="*/ 82087 h 283771"/>
                <a:gd name="connsiteX50" fmla="*/ 477088 w 2098515"/>
                <a:gd name="connsiteY50" fmla="*/ 277135 h 283771"/>
                <a:gd name="connsiteX51" fmla="*/ 417650 w 2098515"/>
                <a:gd name="connsiteY51" fmla="*/ 277135 h 283771"/>
                <a:gd name="connsiteX52" fmla="*/ 417650 w 2098515"/>
                <a:gd name="connsiteY52" fmla="*/ 253187 h 283771"/>
                <a:gd name="connsiteX53" fmla="*/ 416496 w 2098515"/>
                <a:gd name="connsiteY53" fmla="*/ 253187 h 283771"/>
                <a:gd name="connsiteX54" fmla="*/ 392260 w 2098515"/>
                <a:gd name="connsiteY54" fmla="*/ 275260 h 283771"/>
                <a:gd name="connsiteX55" fmla="*/ 358213 w 2098515"/>
                <a:gd name="connsiteY55" fmla="*/ 282906 h 283771"/>
                <a:gd name="connsiteX56" fmla="*/ 512433 w 2098515"/>
                <a:gd name="connsiteY56" fmla="*/ 2164 h 283771"/>
                <a:gd name="connsiteX57" fmla="*/ 574468 w 2098515"/>
                <a:gd name="connsiteY57" fmla="*/ 2164 h 283771"/>
                <a:gd name="connsiteX58" fmla="*/ 574468 w 2098515"/>
                <a:gd name="connsiteY58" fmla="*/ 55110 h 283771"/>
                <a:gd name="connsiteX59" fmla="*/ 512433 w 2098515"/>
                <a:gd name="connsiteY59" fmla="*/ 55110 h 283771"/>
                <a:gd name="connsiteX60" fmla="*/ 512433 w 2098515"/>
                <a:gd name="connsiteY60" fmla="*/ 2164 h 283771"/>
                <a:gd name="connsiteX61" fmla="*/ 512433 w 2098515"/>
                <a:gd name="connsiteY61" fmla="*/ 82087 h 283771"/>
                <a:gd name="connsiteX62" fmla="*/ 574468 w 2098515"/>
                <a:gd name="connsiteY62" fmla="*/ 82087 h 283771"/>
                <a:gd name="connsiteX63" fmla="*/ 574468 w 2098515"/>
                <a:gd name="connsiteY63" fmla="*/ 277135 h 283771"/>
                <a:gd name="connsiteX64" fmla="*/ 512433 w 2098515"/>
                <a:gd name="connsiteY64" fmla="*/ 277135 h 283771"/>
                <a:gd name="connsiteX65" fmla="*/ 512433 w 2098515"/>
                <a:gd name="connsiteY65" fmla="*/ 82087 h 283771"/>
                <a:gd name="connsiteX66" fmla="*/ 686563 w 2098515"/>
                <a:gd name="connsiteY66" fmla="*/ 283194 h 283771"/>
                <a:gd name="connsiteX67" fmla="*/ 652227 w 2098515"/>
                <a:gd name="connsiteY67" fmla="*/ 276125 h 283771"/>
                <a:gd name="connsiteX68" fmla="*/ 625249 w 2098515"/>
                <a:gd name="connsiteY68" fmla="*/ 255784 h 283771"/>
                <a:gd name="connsiteX69" fmla="*/ 607505 w 2098515"/>
                <a:gd name="connsiteY69" fmla="*/ 223180 h 283771"/>
                <a:gd name="connsiteX70" fmla="*/ 601157 w 2098515"/>
                <a:gd name="connsiteY70" fmla="*/ 179611 h 283771"/>
                <a:gd name="connsiteX71" fmla="*/ 607505 w 2098515"/>
                <a:gd name="connsiteY71" fmla="*/ 137630 h 283771"/>
                <a:gd name="connsiteX72" fmla="*/ 624961 w 2098515"/>
                <a:gd name="connsiteY72" fmla="*/ 105026 h 283771"/>
                <a:gd name="connsiteX73" fmla="*/ 651794 w 2098515"/>
                <a:gd name="connsiteY73" fmla="*/ 83819 h 283771"/>
                <a:gd name="connsiteX74" fmla="*/ 686418 w 2098515"/>
                <a:gd name="connsiteY74" fmla="*/ 76172 h 283771"/>
                <a:gd name="connsiteX75" fmla="*/ 719600 w 2098515"/>
                <a:gd name="connsiteY75" fmla="*/ 83963 h 283771"/>
                <a:gd name="connsiteX76" fmla="*/ 740951 w 2098515"/>
                <a:gd name="connsiteY76" fmla="*/ 104016 h 283771"/>
                <a:gd name="connsiteX77" fmla="*/ 742105 w 2098515"/>
                <a:gd name="connsiteY77" fmla="*/ 104016 h 283771"/>
                <a:gd name="connsiteX78" fmla="*/ 742105 w 2098515"/>
                <a:gd name="connsiteY78" fmla="*/ 1875 h 283771"/>
                <a:gd name="connsiteX79" fmla="*/ 804139 w 2098515"/>
                <a:gd name="connsiteY79" fmla="*/ 1875 h 283771"/>
                <a:gd name="connsiteX80" fmla="*/ 804139 w 2098515"/>
                <a:gd name="connsiteY80" fmla="*/ 276991 h 283771"/>
                <a:gd name="connsiteX81" fmla="*/ 744702 w 2098515"/>
                <a:gd name="connsiteY81" fmla="*/ 276991 h 283771"/>
                <a:gd name="connsiteX82" fmla="*/ 744702 w 2098515"/>
                <a:gd name="connsiteY82" fmla="*/ 250735 h 283771"/>
                <a:gd name="connsiteX83" fmla="*/ 743981 w 2098515"/>
                <a:gd name="connsiteY83" fmla="*/ 250735 h 283771"/>
                <a:gd name="connsiteX84" fmla="*/ 720609 w 2098515"/>
                <a:gd name="connsiteY84" fmla="*/ 274538 h 283771"/>
                <a:gd name="connsiteX85" fmla="*/ 686563 w 2098515"/>
                <a:gd name="connsiteY85" fmla="*/ 283050 h 283771"/>
                <a:gd name="connsiteX86" fmla="*/ 702576 w 2098515"/>
                <a:gd name="connsiteY86" fmla="*/ 233855 h 283771"/>
                <a:gd name="connsiteX87" fmla="*/ 732872 w 2098515"/>
                <a:gd name="connsiteY87" fmla="*/ 218563 h 283771"/>
                <a:gd name="connsiteX88" fmla="*/ 743692 w 2098515"/>
                <a:gd name="connsiteY88" fmla="*/ 179323 h 283771"/>
                <a:gd name="connsiteX89" fmla="*/ 741239 w 2098515"/>
                <a:gd name="connsiteY89" fmla="*/ 156673 h 283771"/>
                <a:gd name="connsiteX90" fmla="*/ 733593 w 2098515"/>
                <a:gd name="connsiteY90" fmla="*/ 138784 h 283771"/>
                <a:gd name="connsiteX91" fmla="*/ 721042 w 2098515"/>
                <a:gd name="connsiteY91" fmla="*/ 127098 h 283771"/>
                <a:gd name="connsiteX92" fmla="*/ 703297 w 2098515"/>
                <a:gd name="connsiteY92" fmla="*/ 122915 h 283771"/>
                <a:gd name="connsiteX93" fmla="*/ 674300 w 2098515"/>
                <a:gd name="connsiteY93" fmla="*/ 138351 h 283771"/>
                <a:gd name="connsiteX94" fmla="*/ 664057 w 2098515"/>
                <a:gd name="connsiteY94" fmla="*/ 178601 h 283771"/>
                <a:gd name="connsiteX95" fmla="*/ 674156 w 2098515"/>
                <a:gd name="connsiteY95" fmla="*/ 218996 h 283771"/>
                <a:gd name="connsiteX96" fmla="*/ 702576 w 2098515"/>
                <a:gd name="connsiteY96" fmla="*/ 233855 h 283771"/>
                <a:gd name="connsiteX97" fmla="*/ 931094 w 2098515"/>
                <a:gd name="connsiteY97" fmla="*/ 282617 h 283771"/>
                <a:gd name="connsiteX98" fmla="*/ 887670 w 2098515"/>
                <a:gd name="connsiteY98" fmla="*/ 274827 h 283771"/>
                <a:gd name="connsiteX99" fmla="*/ 854921 w 2098515"/>
                <a:gd name="connsiteY99" fmla="*/ 253043 h 283771"/>
                <a:gd name="connsiteX100" fmla="*/ 834291 w 2098515"/>
                <a:gd name="connsiteY100" fmla="*/ 220150 h 283771"/>
                <a:gd name="connsiteX101" fmla="*/ 827078 w 2098515"/>
                <a:gd name="connsiteY101" fmla="*/ 179034 h 283771"/>
                <a:gd name="connsiteX102" fmla="*/ 834291 w 2098515"/>
                <a:gd name="connsiteY102" fmla="*/ 138495 h 283771"/>
                <a:gd name="connsiteX103" fmla="*/ 854921 w 2098515"/>
                <a:gd name="connsiteY103" fmla="*/ 105747 h 283771"/>
                <a:gd name="connsiteX104" fmla="*/ 886515 w 2098515"/>
                <a:gd name="connsiteY104" fmla="*/ 84107 h 283771"/>
                <a:gd name="connsiteX105" fmla="*/ 927343 w 2098515"/>
                <a:gd name="connsiteY105" fmla="*/ 76317 h 283771"/>
                <a:gd name="connsiteX106" fmla="*/ 964852 w 2098515"/>
                <a:gd name="connsiteY106" fmla="*/ 82809 h 283771"/>
                <a:gd name="connsiteX107" fmla="*/ 993994 w 2098515"/>
                <a:gd name="connsiteY107" fmla="*/ 100698 h 283771"/>
                <a:gd name="connsiteX108" fmla="*/ 1020106 w 2098515"/>
                <a:gd name="connsiteY108" fmla="*/ 141237 h 283771"/>
                <a:gd name="connsiteX109" fmla="*/ 1028329 w 2098515"/>
                <a:gd name="connsiteY109" fmla="*/ 195481 h 283771"/>
                <a:gd name="connsiteX110" fmla="*/ 888102 w 2098515"/>
                <a:gd name="connsiteY110" fmla="*/ 195481 h 283771"/>
                <a:gd name="connsiteX111" fmla="*/ 901808 w 2098515"/>
                <a:gd name="connsiteY111" fmla="*/ 226786 h 283771"/>
                <a:gd name="connsiteX112" fmla="*/ 931959 w 2098515"/>
                <a:gd name="connsiteY112" fmla="*/ 238183 h 283771"/>
                <a:gd name="connsiteX113" fmla="*/ 952157 w 2098515"/>
                <a:gd name="connsiteY113" fmla="*/ 232990 h 283771"/>
                <a:gd name="connsiteX114" fmla="*/ 964275 w 2098515"/>
                <a:gd name="connsiteY114" fmla="*/ 218707 h 283771"/>
                <a:gd name="connsiteX115" fmla="*/ 1024867 w 2098515"/>
                <a:gd name="connsiteY115" fmla="*/ 218707 h 283771"/>
                <a:gd name="connsiteX116" fmla="*/ 1013470 w 2098515"/>
                <a:gd name="connsiteY116" fmla="*/ 244098 h 283771"/>
                <a:gd name="connsiteX117" fmla="*/ 992118 w 2098515"/>
                <a:gd name="connsiteY117" fmla="*/ 264873 h 283771"/>
                <a:gd name="connsiteX118" fmla="*/ 964852 w 2098515"/>
                <a:gd name="connsiteY118" fmla="*/ 278145 h 283771"/>
                <a:gd name="connsiteX119" fmla="*/ 931094 w 2098515"/>
                <a:gd name="connsiteY119" fmla="*/ 282762 h 283771"/>
                <a:gd name="connsiteX120" fmla="*/ 965429 w 2098515"/>
                <a:gd name="connsiteY120" fmla="*/ 158548 h 283771"/>
                <a:gd name="connsiteX121" fmla="*/ 953599 w 2098515"/>
                <a:gd name="connsiteY121" fmla="*/ 130705 h 283771"/>
                <a:gd name="connsiteX122" fmla="*/ 928497 w 2098515"/>
                <a:gd name="connsiteY122" fmla="*/ 120462 h 283771"/>
                <a:gd name="connsiteX123" fmla="*/ 901086 w 2098515"/>
                <a:gd name="connsiteY123" fmla="*/ 130705 h 283771"/>
                <a:gd name="connsiteX124" fmla="*/ 888535 w 2098515"/>
                <a:gd name="connsiteY124" fmla="*/ 158548 h 283771"/>
                <a:gd name="connsiteX125" fmla="*/ 965429 w 2098515"/>
                <a:gd name="connsiteY125" fmla="*/ 158548 h 283771"/>
                <a:gd name="connsiteX126" fmla="*/ 1051123 w 2098515"/>
                <a:gd name="connsiteY126" fmla="*/ 2020 h 283771"/>
                <a:gd name="connsiteX127" fmla="*/ 1113158 w 2098515"/>
                <a:gd name="connsiteY127" fmla="*/ 2020 h 283771"/>
                <a:gd name="connsiteX128" fmla="*/ 1113158 w 2098515"/>
                <a:gd name="connsiteY128" fmla="*/ 106036 h 283771"/>
                <a:gd name="connsiteX129" fmla="*/ 1114312 w 2098515"/>
                <a:gd name="connsiteY129" fmla="*/ 106036 h 283771"/>
                <a:gd name="connsiteX130" fmla="*/ 1138260 w 2098515"/>
                <a:gd name="connsiteY130" fmla="*/ 84107 h 283771"/>
                <a:gd name="connsiteX131" fmla="*/ 1172162 w 2098515"/>
                <a:gd name="connsiteY131" fmla="*/ 76317 h 283771"/>
                <a:gd name="connsiteX132" fmla="*/ 1200727 w 2098515"/>
                <a:gd name="connsiteY132" fmla="*/ 81799 h 283771"/>
                <a:gd name="connsiteX133" fmla="*/ 1222079 w 2098515"/>
                <a:gd name="connsiteY133" fmla="*/ 97091 h 283771"/>
                <a:gd name="connsiteX134" fmla="*/ 1235495 w 2098515"/>
                <a:gd name="connsiteY134" fmla="*/ 120318 h 283771"/>
                <a:gd name="connsiteX135" fmla="*/ 1240112 w 2098515"/>
                <a:gd name="connsiteY135" fmla="*/ 150181 h 283771"/>
                <a:gd name="connsiteX136" fmla="*/ 1240112 w 2098515"/>
                <a:gd name="connsiteY136" fmla="*/ 276991 h 283771"/>
                <a:gd name="connsiteX137" fmla="*/ 1178077 w 2098515"/>
                <a:gd name="connsiteY137" fmla="*/ 276991 h 283771"/>
                <a:gd name="connsiteX138" fmla="*/ 1178077 w 2098515"/>
                <a:gd name="connsiteY138" fmla="*/ 162732 h 283771"/>
                <a:gd name="connsiteX139" fmla="*/ 1170431 w 2098515"/>
                <a:gd name="connsiteY139" fmla="*/ 137630 h 283771"/>
                <a:gd name="connsiteX140" fmla="*/ 1147637 w 2098515"/>
                <a:gd name="connsiteY140" fmla="*/ 128108 h 283771"/>
                <a:gd name="connsiteX141" fmla="*/ 1122679 w 2098515"/>
                <a:gd name="connsiteY141" fmla="*/ 139505 h 283771"/>
                <a:gd name="connsiteX142" fmla="*/ 1113302 w 2098515"/>
                <a:gd name="connsiteY142" fmla="*/ 169224 h 283771"/>
                <a:gd name="connsiteX143" fmla="*/ 1113302 w 2098515"/>
                <a:gd name="connsiteY143" fmla="*/ 276991 h 283771"/>
                <a:gd name="connsiteX144" fmla="*/ 1051267 w 2098515"/>
                <a:gd name="connsiteY144" fmla="*/ 276991 h 283771"/>
                <a:gd name="connsiteX145" fmla="*/ 1051267 w 2098515"/>
                <a:gd name="connsiteY145" fmla="*/ 1875 h 283771"/>
                <a:gd name="connsiteX146" fmla="*/ 1363892 w 2098515"/>
                <a:gd name="connsiteY146" fmla="*/ 283194 h 283771"/>
                <a:gd name="connsiteX147" fmla="*/ 1321045 w 2098515"/>
                <a:gd name="connsiteY147" fmla="*/ 275404 h 283771"/>
                <a:gd name="connsiteX148" fmla="*/ 1288008 w 2098515"/>
                <a:gd name="connsiteY148" fmla="*/ 253620 h 283771"/>
                <a:gd name="connsiteX149" fmla="*/ 1266945 w 2098515"/>
                <a:gd name="connsiteY149" fmla="*/ 220871 h 283771"/>
                <a:gd name="connsiteX150" fmla="*/ 1259443 w 2098515"/>
                <a:gd name="connsiteY150" fmla="*/ 179900 h 283771"/>
                <a:gd name="connsiteX151" fmla="*/ 1266945 w 2098515"/>
                <a:gd name="connsiteY151" fmla="*/ 138928 h 283771"/>
                <a:gd name="connsiteX152" fmla="*/ 1288008 w 2098515"/>
                <a:gd name="connsiteY152" fmla="*/ 106180 h 283771"/>
                <a:gd name="connsiteX153" fmla="*/ 1321045 w 2098515"/>
                <a:gd name="connsiteY153" fmla="*/ 84540 h 283771"/>
                <a:gd name="connsiteX154" fmla="*/ 1363892 w 2098515"/>
                <a:gd name="connsiteY154" fmla="*/ 76750 h 283771"/>
                <a:gd name="connsiteX155" fmla="*/ 1406739 w 2098515"/>
                <a:gd name="connsiteY155" fmla="*/ 84540 h 283771"/>
                <a:gd name="connsiteX156" fmla="*/ 1439487 w 2098515"/>
                <a:gd name="connsiteY156" fmla="*/ 106180 h 283771"/>
                <a:gd name="connsiteX157" fmla="*/ 1460406 w 2098515"/>
                <a:gd name="connsiteY157" fmla="*/ 138928 h 283771"/>
                <a:gd name="connsiteX158" fmla="*/ 1467764 w 2098515"/>
                <a:gd name="connsiteY158" fmla="*/ 179900 h 283771"/>
                <a:gd name="connsiteX159" fmla="*/ 1460406 w 2098515"/>
                <a:gd name="connsiteY159" fmla="*/ 220871 h 283771"/>
                <a:gd name="connsiteX160" fmla="*/ 1439487 w 2098515"/>
                <a:gd name="connsiteY160" fmla="*/ 253620 h 283771"/>
                <a:gd name="connsiteX161" fmla="*/ 1406739 w 2098515"/>
                <a:gd name="connsiteY161" fmla="*/ 275404 h 283771"/>
                <a:gd name="connsiteX162" fmla="*/ 1363892 w 2098515"/>
                <a:gd name="connsiteY162" fmla="*/ 283194 h 283771"/>
                <a:gd name="connsiteX163" fmla="*/ 1363459 w 2098515"/>
                <a:gd name="connsiteY163" fmla="*/ 239049 h 283771"/>
                <a:gd name="connsiteX164" fmla="*/ 1394477 w 2098515"/>
                <a:gd name="connsiteY164" fmla="*/ 222891 h 283771"/>
                <a:gd name="connsiteX165" fmla="*/ 1405008 w 2098515"/>
                <a:gd name="connsiteY165" fmla="*/ 180044 h 283771"/>
                <a:gd name="connsiteX166" fmla="*/ 1394477 w 2098515"/>
                <a:gd name="connsiteY166" fmla="*/ 137053 h 283771"/>
                <a:gd name="connsiteX167" fmla="*/ 1363459 w 2098515"/>
                <a:gd name="connsiteY167" fmla="*/ 120606 h 283771"/>
                <a:gd name="connsiteX168" fmla="*/ 1332586 w 2098515"/>
                <a:gd name="connsiteY168" fmla="*/ 137053 h 283771"/>
                <a:gd name="connsiteX169" fmla="*/ 1322343 w 2098515"/>
                <a:gd name="connsiteY169" fmla="*/ 180044 h 283771"/>
                <a:gd name="connsiteX170" fmla="*/ 1332586 w 2098515"/>
                <a:gd name="connsiteY170" fmla="*/ 222891 h 283771"/>
                <a:gd name="connsiteX171" fmla="*/ 1363459 w 2098515"/>
                <a:gd name="connsiteY171" fmla="*/ 239049 h 283771"/>
                <a:gd name="connsiteX172" fmla="*/ 1555910 w 2098515"/>
                <a:gd name="connsiteY172" fmla="*/ 282906 h 283771"/>
                <a:gd name="connsiteX173" fmla="*/ 1504696 w 2098515"/>
                <a:gd name="connsiteY173" fmla="*/ 262853 h 283771"/>
                <a:gd name="connsiteX174" fmla="*/ 1487384 w 2098515"/>
                <a:gd name="connsiteY174" fmla="*/ 210051 h 283771"/>
                <a:gd name="connsiteX175" fmla="*/ 1487384 w 2098515"/>
                <a:gd name="connsiteY175" fmla="*/ 82087 h 283771"/>
                <a:gd name="connsiteX176" fmla="*/ 1549130 w 2098515"/>
                <a:gd name="connsiteY176" fmla="*/ 82087 h 283771"/>
                <a:gd name="connsiteX177" fmla="*/ 1549130 w 2098515"/>
                <a:gd name="connsiteY177" fmla="*/ 197212 h 283771"/>
                <a:gd name="connsiteX178" fmla="*/ 1556343 w 2098515"/>
                <a:gd name="connsiteY178" fmla="*/ 221737 h 283771"/>
                <a:gd name="connsiteX179" fmla="*/ 1578416 w 2098515"/>
                <a:gd name="connsiteY179" fmla="*/ 230249 h 283771"/>
                <a:gd name="connsiteX180" fmla="*/ 1603518 w 2098515"/>
                <a:gd name="connsiteY180" fmla="*/ 219429 h 283771"/>
                <a:gd name="connsiteX181" fmla="*/ 1612607 w 2098515"/>
                <a:gd name="connsiteY181" fmla="*/ 191008 h 283771"/>
                <a:gd name="connsiteX182" fmla="*/ 1612607 w 2098515"/>
                <a:gd name="connsiteY182" fmla="*/ 82087 h 283771"/>
                <a:gd name="connsiteX183" fmla="*/ 1674641 w 2098515"/>
                <a:gd name="connsiteY183" fmla="*/ 82087 h 283771"/>
                <a:gd name="connsiteX184" fmla="*/ 1674641 w 2098515"/>
                <a:gd name="connsiteY184" fmla="*/ 277135 h 283771"/>
                <a:gd name="connsiteX185" fmla="*/ 1615204 w 2098515"/>
                <a:gd name="connsiteY185" fmla="*/ 277135 h 283771"/>
                <a:gd name="connsiteX186" fmla="*/ 1615204 w 2098515"/>
                <a:gd name="connsiteY186" fmla="*/ 253187 h 283771"/>
                <a:gd name="connsiteX187" fmla="*/ 1614050 w 2098515"/>
                <a:gd name="connsiteY187" fmla="*/ 253187 h 283771"/>
                <a:gd name="connsiteX188" fmla="*/ 1589813 w 2098515"/>
                <a:gd name="connsiteY188" fmla="*/ 275260 h 283771"/>
                <a:gd name="connsiteX189" fmla="*/ 1555766 w 2098515"/>
                <a:gd name="connsiteY189" fmla="*/ 282906 h 283771"/>
                <a:gd name="connsiteX190" fmla="*/ 1791208 w 2098515"/>
                <a:gd name="connsiteY190" fmla="*/ 283339 h 283771"/>
                <a:gd name="connsiteX191" fmla="*/ 1722971 w 2098515"/>
                <a:gd name="connsiteY191" fmla="*/ 264873 h 283771"/>
                <a:gd name="connsiteX192" fmla="*/ 1696281 w 2098515"/>
                <a:gd name="connsiteY192" fmla="*/ 213947 h 283771"/>
                <a:gd name="connsiteX193" fmla="*/ 1754998 w 2098515"/>
                <a:gd name="connsiteY193" fmla="*/ 213947 h 283771"/>
                <a:gd name="connsiteX194" fmla="*/ 1766106 w 2098515"/>
                <a:gd name="connsiteY194" fmla="*/ 235731 h 283771"/>
                <a:gd name="connsiteX195" fmla="*/ 1790920 w 2098515"/>
                <a:gd name="connsiteY195" fmla="*/ 242944 h 283771"/>
                <a:gd name="connsiteX196" fmla="*/ 1813137 w 2098515"/>
                <a:gd name="connsiteY196" fmla="*/ 238039 h 283771"/>
                <a:gd name="connsiteX197" fmla="*/ 1821360 w 2098515"/>
                <a:gd name="connsiteY197" fmla="*/ 223612 h 283771"/>
                <a:gd name="connsiteX198" fmla="*/ 1817176 w 2098515"/>
                <a:gd name="connsiteY198" fmla="*/ 213081 h 283771"/>
                <a:gd name="connsiteX199" fmla="*/ 1806068 w 2098515"/>
                <a:gd name="connsiteY199" fmla="*/ 206589 h 283771"/>
                <a:gd name="connsiteX200" fmla="*/ 1790199 w 2098515"/>
                <a:gd name="connsiteY200" fmla="*/ 202838 h 283771"/>
                <a:gd name="connsiteX201" fmla="*/ 1771732 w 2098515"/>
                <a:gd name="connsiteY201" fmla="*/ 199664 h 283771"/>
                <a:gd name="connsiteX202" fmla="*/ 1746630 w 2098515"/>
                <a:gd name="connsiteY202" fmla="*/ 194182 h 283771"/>
                <a:gd name="connsiteX203" fmla="*/ 1723980 w 2098515"/>
                <a:gd name="connsiteY203" fmla="*/ 184516 h 283771"/>
                <a:gd name="connsiteX204" fmla="*/ 1707823 w 2098515"/>
                <a:gd name="connsiteY204" fmla="*/ 167204 h 283771"/>
                <a:gd name="connsiteX205" fmla="*/ 1701763 w 2098515"/>
                <a:gd name="connsiteY205" fmla="*/ 139217 h 283771"/>
                <a:gd name="connsiteX206" fmla="*/ 1708400 w 2098515"/>
                <a:gd name="connsiteY206" fmla="*/ 112095 h 283771"/>
                <a:gd name="connsiteX207" fmla="*/ 1726577 w 2098515"/>
                <a:gd name="connsiteY207" fmla="*/ 92475 h 283771"/>
                <a:gd name="connsiteX208" fmla="*/ 1753411 w 2098515"/>
                <a:gd name="connsiteY208" fmla="*/ 80645 h 283771"/>
                <a:gd name="connsiteX209" fmla="*/ 1786015 w 2098515"/>
                <a:gd name="connsiteY209" fmla="*/ 76605 h 283771"/>
                <a:gd name="connsiteX210" fmla="*/ 1849636 w 2098515"/>
                <a:gd name="connsiteY210" fmla="*/ 93340 h 283771"/>
                <a:gd name="connsiteX211" fmla="*/ 1874017 w 2098515"/>
                <a:gd name="connsiteY211" fmla="*/ 139073 h 283771"/>
                <a:gd name="connsiteX212" fmla="*/ 1816888 w 2098515"/>
                <a:gd name="connsiteY212" fmla="*/ 139073 h 283771"/>
                <a:gd name="connsiteX213" fmla="*/ 1806789 w 2098515"/>
                <a:gd name="connsiteY213" fmla="*/ 121039 h 283771"/>
                <a:gd name="connsiteX214" fmla="*/ 1785582 w 2098515"/>
                <a:gd name="connsiteY214" fmla="*/ 116278 h 283771"/>
                <a:gd name="connsiteX215" fmla="*/ 1766395 w 2098515"/>
                <a:gd name="connsiteY215" fmla="*/ 120606 h 283771"/>
                <a:gd name="connsiteX216" fmla="*/ 1758604 w 2098515"/>
                <a:gd name="connsiteY216" fmla="*/ 134167 h 283771"/>
                <a:gd name="connsiteX217" fmla="*/ 1762355 w 2098515"/>
                <a:gd name="connsiteY217" fmla="*/ 142535 h 283771"/>
                <a:gd name="connsiteX218" fmla="*/ 1772598 w 2098515"/>
                <a:gd name="connsiteY218" fmla="*/ 147728 h 283771"/>
                <a:gd name="connsiteX219" fmla="*/ 1787602 w 2098515"/>
                <a:gd name="connsiteY219" fmla="*/ 151335 h 283771"/>
                <a:gd name="connsiteX220" fmla="*/ 1805346 w 2098515"/>
                <a:gd name="connsiteY220" fmla="*/ 154365 h 283771"/>
                <a:gd name="connsiteX221" fmla="*/ 1831459 w 2098515"/>
                <a:gd name="connsiteY221" fmla="*/ 159847 h 283771"/>
                <a:gd name="connsiteX222" fmla="*/ 1855407 w 2098515"/>
                <a:gd name="connsiteY222" fmla="*/ 169945 h 283771"/>
                <a:gd name="connsiteX223" fmla="*/ 1873152 w 2098515"/>
                <a:gd name="connsiteY223" fmla="*/ 188412 h 283771"/>
                <a:gd name="connsiteX224" fmla="*/ 1880076 w 2098515"/>
                <a:gd name="connsiteY224" fmla="*/ 218707 h 283771"/>
                <a:gd name="connsiteX225" fmla="*/ 1873440 w 2098515"/>
                <a:gd name="connsiteY225" fmla="*/ 246839 h 283771"/>
                <a:gd name="connsiteX226" fmla="*/ 1854974 w 2098515"/>
                <a:gd name="connsiteY226" fmla="*/ 267037 h 283771"/>
                <a:gd name="connsiteX227" fmla="*/ 1826842 w 2098515"/>
                <a:gd name="connsiteY227" fmla="*/ 279299 h 283771"/>
                <a:gd name="connsiteX228" fmla="*/ 1791353 w 2098515"/>
                <a:gd name="connsiteY228" fmla="*/ 283483 h 283771"/>
                <a:gd name="connsiteX229" fmla="*/ 2001260 w 2098515"/>
                <a:gd name="connsiteY229" fmla="*/ 283050 h 283771"/>
                <a:gd name="connsiteX230" fmla="*/ 1957836 w 2098515"/>
                <a:gd name="connsiteY230" fmla="*/ 275260 h 283771"/>
                <a:gd name="connsiteX231" fmla="*/ 1925087 w 2098515"/>
                <a:gd name="connsiteY231" fmla="*/ 253476 h 283771"/>
                <a:gd name="connsiteX232" fmla="*/ 1904457 w 2098515"/>
                <a:gd name="connsiteY232" fmla="*/ 220583 h 283771"/>
                <a:gd name="connsiteX233" fmla="*/ 1897244 w 2098515"/>
                <a:gd name="connsiteY233" fmla="*/ 179467 h 283771"/>
                <a:gd name="connsiteX234" fmla="*/ 1904457 w 2098515"/>
                <a:gd name="connsiteY234" fmla="*/ 138928 h 283771"/>
                <a:gd name="connsiteX235" fmla="*/ 1925087 w 2098515"/>
                <a:gd name="connsiteY235" fmla="*/ 106180 h 283771"/>
                <a:gd name="connsiteX236" fmla="*/ 1956682 w 2098515"/>
                <a:gd name="connsiteY236" fmla="*/ 84540 h 283771"/>
                <a:gd name="connsiteX237" fmla="*/ 1997509 w 2098515"/>
                <a:gd name="connsiteY237" fmla="*/ 76750 h 283771"/>
                <a:gd name="connsiteX238" fmla="*/ 2035018 w 2098515"/>
                <a:gd name="connsiteY238" fmla="*/ 83242 h 283771"/>
                <a:gd name="connsiteX239" fmla="*/ 2064160 w 2098515"/>
                <a:gd name="connsiteY239" fmla="*/ 101131 h 283771"/>
                <a:gd name="connsiteX240" fmla="*/ 2090272 w 2098515"/>
                <a:gd name="connsiteY240" fmla="*/ 141669 h 283771"/>
                <a:gd name="connsiteX241" fmla="*/ 2098495 w 2098515"/>
                <a:gd name="connsiteY241" fmla="*/ 195913 h 283771"/>
                <a:gd name="connsiteX242" fmla="*/ 1958269 w 2098515"/>
                <a:gd name="connsiteY242" fmla="*/ 195913 h 283771"/>
                <a:gd name="connsiteX243" fmla="*/ 1971974 w 2098515"/>
                <a:gd name="connsiteY243" fmla="*/ 227219 h 283771"/>
                <a:gd name="connsiteX244" fmla="*/ 2002125 w 2098515"/>
                <a:gd name="connsiteY244" fmla="*/ 238616 h 283771"/>
                <a:gd name="connsiteX245" fmla="*/ 2022323 w 2098515"/>
                <a:gd name="connsiteY245" fmla="*/ 233423 h 283771"/>
                <a:gd name="connsiteX246" fmla="*/ 2034585 w 2098515"/>
                <a:gd name="connsiteY246" fmla="*/ 219140 h 283771"/>
                <a:gd name="connsiteX247" fmla="*/ 2095177 w 2098515"/>
                <a:gd name="connsiteY247" fmla="*/ 219140 h 283771"/>
                <a:gd name="connsiteX248" fmla="*/ 2083780 w 2098515"/>
                <a:gd name="connsiteY248" fmla="*/ 244531 h 283771"/>
                <a:gd name="connsiteX249" fmla="*/ 2062429 w 2098515"/>
                <a:gd name="connsiteY249" fmla="*/ 265305 h 283771"/>
                <a:gd name="connsiteX250" fmla="*/ 2035162 w 2098515"/>
                <a:gd name="connsiteY250" fmla="*/ 278578 h 283771"/>
                <a:gd name="connsiteX251" fmla="*/ 2001404 w 2098515"/>
                <a:gd name="connsiteY251" fmla="*/ 283194 h 283771"/>
                <a:gd name="connsiteX252" fmla="*/ 2035739 w 2098515"/>
                <a:gd name="connsiteY252" fmla="*/ 158981 h 283771"/>
                <a:gd name="connsiteX253" fmla="*/ 2023910 w 2098515"/>
                <a:gd name="connsiteY253" fmla="*/ 131138 h 283771"/>
                <a:gd name="connsiteX254" fmla="*/ 1998807 w 2098515"/>
                <a:gd name="connsiteY254" fmla="*/ 120895 h 283771"/>
                <a:gd name="connsiteX255" fmla="*/ 1971397 w 2098515"/>
                <a:gd name="connsiteY255" fmla="*/ 131138 h 283771"/>
                <a:gd name="connsiteX256" fmla="*/ 1958846 w 2098515"/>
                <a:gd name="connsiteY256" fmla="*/ 158981 h 283771"/>
                <a:gd name="connsiteX257" fmla="*/ 2035739 w 2098515"/>
                <a:gd name="connsiteY257" fmla="*/ 158981 h 28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</a:cxnLst>
              <a:rect l="l" t="t" r="r" b="b"/>
              <a:pathLst>
                <a:path w="2098515" h="283771">
                  <a:moveTo>
                    <a:pt x="129551" y="283771"/>
                  </a:moveTo>
                  <a:cubicBezTo>
                    <a:pt x="109931" y="283771"/>
                    <a:pt x="92475" y="280453"/>
                    <a:pt x="77038" y="273817"/>
                  </a:cubicBezTo>
                  <a:cubicBezTo>
                    <a:pt x="61602" y="267181"/>
                    <a:pt x="48041" y="257804"/>
                    <a:pt x="36644" y="245685"/>
                  </a:cubicBezTo>
                  <a:cubicBezTo>
                    <a:pt x="24670" y="232701"/>
                    <a:pt x="15581" y="217553"/>
                    <a:pt x="9377" y="199953"/>
                  </a:cubicBezTo>
                  <a:cubicBezTo>
                    <a:pt x="3174" y="182497"/>
                    <a:pt x="0" y="163309"/>
                    <a:pt x="0" y="142391"/>
                  </a:cubicBezTo>
                  <a:cubicBezTo>
                    <a:pt x="0" y="121472"/>
                    <a:pt x="3462" y="100986"/>
                    <a:pt x="10531" y="82809"/>
                  </a:cubicBezTo>
                  <a:cubicBezTo>
                    <a:pt x="17456" y="64631"/>
                    <a:pt x="27411" y="49050"/>
                    <a:pt x="40395" y="36211"/>
                  </a:cubicBezTo>
                  <a:cubicBezTo>
                    <a:pt x="51792" y="24814"/>
                    <a:pt x="65208" y="15869"/>
                    <a:pt x="80789" y="9522"/>
                  </a:cubicBezTo>
                  <a:cubicBezTo>
                    <a:pt x="96226" y="3174"/>
                    <a:pt x="113970" y="0"/>
                    <a:pt x="133735" y="0"/>
                  </a:cubicBezTo>
                  <a:cubicBezTo>
                    <a:pt x="151191" y="0"/>
                    <a:pt x="167060" y="2164"/>
                    <a:pt x="180910" y="6636"/>
                  </a:cubicBezTo>
                  <a:cubicBezTo>
                    <a:pt x="194904" y="11108"/>
                    <a:pt x="207022" y="17456"/>
                    <a:pt x="217121" y="25679"/>
                  </a:cubicBezTo>
                  <a:cubicBezTo>
                    <a:pt x="227219" y="33903"/>
                    <a:pt x="235442" y="43857"/>
                    <a:pt x="241646" y="55542"/>
                  </a:cubicBezTo>
                  <a:cubicBezTo>
                    <a:pt x="247849" y="67228"/>
                    <a:pt x="252177" y="80212"/>
                    <a:pt x="254341" y="94350"/>
                  </a:cubicBezTo>
                  <a:lnTo>
                    <a:pt x="188844" y="94350"/>
                  </a:lnTo>
                  <a:cubicBezTo>
                    <a:pt x="186248" y="83242"/>
                    <a:pt x="180621" y="73864"/>
                    <a:pt x="171677" y="66507"/>
                  </a:cubicBezTo>
                  <a:cubicBezTo>
                    <a:pt x="162732" y="59149"/>
                    <a:pt x="150902" y="55398"/>
                    <a:pt x="135899" y="55398"/>
                  </a:cubicBezTo>
                  <a:cubicBezTo>
                    <a:pt x="124646" y="55398"/>
                    <a:pt x="114836" y="57706"/>
                    <a:pt x="106324" y="62034"/>
                  </a:cubicBezTo>
                  <a:cubicBezTo>
                    <a:pt x="97812" y="66507"/>
                    <a:pt x="90743" y="72566"/>
                    <a:pt x="85117" y="80356"/>
                  </a:cubicBezTo>
                  <a:cubicBezTo>
                    <a:pt x="79491" y="88147"/>
                    <a:pt x="75307" y="97235"/>
                    <a:pt x="72566" y="107767"/>
                  </a:cubicBezTo>
                  <a:cubicBezTo>
                    <a:pt x="69825" y="118298"/>
                    <a:pt x="68382" y="129839"/>
                    <a:pt x="68382" y="142246"/>
                  </a:cubicBezTo>
                  <a:cubicBezTo>
                    <a:pt x="68382" y="154653"/>
                    <a:pt x="69969" y="166195"/>
                    <a:pt x="73143" y="176870"/>
                  </a:cubicBezTo>
                  <a:cubicBezTo>
                    <a:pt x="76317" y="187546"/>
                    <a:pt x="80789" y="196779"/>
                    <a:pt x="86704" y="204425"/>
                  </a:cubicBezTo>
                  <a:cubicBezTo>
                    <a:pt x="92619" y="212215"/>
                    <a:pt x="99688" y="218275"/>
                    <a:pt x="108200" y="222458"/>
                  </a:cubicBezTo>
                  <a:cubicBezTo>
                    <a:pt x="116711" y="226786"/>
                    <a:pt x="126233" y="228950"/>
                    <a:pt x="136909" y="228950"/>
                  </a:cubicBezTo>
                  <a:cubicBezTo>
                    <a:pt x="145709" y="228950"/>
                    <a:pt x="153788" y="227652"/>
                    <a:pt x="160712" y="224911"/>
                  </a:cubicBezTo>
                  <a:cubicBezTo>
                    <a:pt x="167637" y="222314"/>
                    <a:pt x="173696" y="218707"/>
                    <a:pt x="178601" y="214235"/>
                  </a:cubicBezTo>
                  <a:cubicBezTo>
                    <a:pt x="183507" y="209763"/>
                    <a:pt x="187546" y="204714"/>
                    <a:pt x="190431" y="198943"/>
                  </a:cubicBezTo>
                  <a:cubicBezTo>
                    <a:pt x="193317" y="193317"/>
                    <a:pt x="195192" y="187402"/>
                    <a:pt x="195913" y="181198"/>
                  </a:cubicBezTo>
                  <a:lnTo>
                    <a:pt x="195913" y="180477"/>
                  </a:lnTo>
                  <a:lnTo>
                    <a:pt x="144843" y="180477"/>
                  </a:lnTo>
                  <a:lnTo>
                    <a:pt x="144843" y="130994"/>
                  </a:lnTo>
                  <a:lnTo>
                    <a:pt x="258381" y="130994"/>
                  </a:lnTo>
                  <a:lnTo>
                    <a:pt x="258381" y="277279"/>
                  </a:lnTo>
                  <a:lnTo>
                    <a:pt x="211206" y="277279"/>
                  </a:lnTo>
                  <a:lnTo>
                    <a:pt x="207455" y="244531"/>
                  </a:lnTo>
                  <a:lnTo>
                    <a:pt x="206733" y="244531"/>
                  </a:lnTo>
                  <a:cubicBezTo>
                    <a:pt x="197789" y="258525"/>
                    <a:pt x="186825" y="268479"/>
                    <a:pt x="173841" y="274394"/>
                  </a:cubicBezTo>
                  <a:cubicBezTo>
                    <a:pt x="160712" y="280309"/>
                    <a:pt x="145997" y="283339"/>
                    <a:pt x="129407" y="283339"/>
                  </a:cubicBezTo>
                  <a:moveTo>
                    <a:pt x="358357" y="282906"/>
                  </a:moveTo>
                  <a:cubicBezTo>
                    <a:pt x="335707" y="282906"/>
                    <a:pt x="318684" y="276270"/>
                    <a:pt x="307143" y="262853"/>
                  </a:cubicBezTo>
                  <a:cubicBezTo>
                    <a:pt x="295601" y="249580"/>
                    <a:pt x="289831" y="231980"/>
                    <a:pt x="289831" y="210051"/>
                  </a:cubicBezTo>
                  <a:lnTo>
                    <a:pt x="289831" y="82087"/>
                  </a:lnTo>
                  <a:lnTo>
                    <a:pt x="351577" y="82087"/>
                  </a:lnTo>
                  <a:lnTo>
                    <a:pt x="351577" y="197212"/>
                  </a:lnTo>
                  <a:cubicBezTo>
                    <a:pt x="351577" y="207887"/>
                    <a:pt x="354029" y="216111"/>
                    <a:pt x="358790" y="221737"/>
                  </a:cubicBezTo>
                  <a:cubicBezTo>
                    <a:pt x="363551" y="227508"/>
                    <a:pt x="371052" y="230249"/>
                    <a:pt x="380863" y="230249"/>
                  </a:cubicBezTo>
                  <a:cubicBezTo>
                    <a:pt x="391538" y="230249"/>
                    <a:pt x="399906" y="226642"/>
                    <a:pt x="405965" y="219429"/>
                  </a:cubicBezTo>
                  <a:cubicBezTo>
                    <a:pt x="412024" y="212215"/>
                    <a:pt x="415054" y="202694"/>
                    <a:pt x="415054" y="191008"/>
                  </a:cubicBezTo>
                  <a:lnTo>
                    <a:pt x="415054" y="82087"/>
                  </a:lnTo>
                  <a:lnTo>
                    <a:pt x="477088" y="82087"/>
                  </a:lnTo>
                  <a:lnTo>
                    <a:pt x="477088" y="277135"/>
                  </a:lnTo>
                  <a:lnTo>
                    <a:pt x="417650" y="277135"/>
                  </a:lnTo>
                  <a:lnTo>
                    <a:pt x="417650" y="253187"/>
                  </a:lnTo>
                  <a:lnTo>
                    <a:pt x="416496" y="253187"/>
                  </a:lnTo>
                  <a:cubicBezTo>
                    <a:pt x="409427" y="262853"/>
                    <a:pt x="401348" y="270210"/>
                    <a:pt x="392260" y="275260"/>
                  </a:cubicBezTo>
                  <a:cubicBezTo>
                    <a:pt x="383315" y="280309"/>
                    <a:pt x="371918" y="282906"/>
                    <a:pt x="358213" y="282906"/>
                  </a:cubicBezTo>
                  <a:moveTo>
                    <a:pt x="512433" y="2164"/>
                  </a:moveTo>
                  <a:lnTo>
                    <a:pt x="574468" y="2164"/>
                  </a:lnTo>
                  <a:lnTo>
                    <a:pt x="574468" y="55110"/>
                  </a:lnTo>
                  <a:lnTo>
                    <a:pt x="512433" y="55110"/>
                  </a:lnTo>
                  <a:lnTo>
                    <a:pt x="512433" y="2164"/>
                  </a:lnTo>
                  <a:close/>
                  <a:moveTo>
                    <a:pt x="512433" y="82087"/>
                  </a:moveTo>
                  <a:lnTo>
                    <a:pt x="574468" y="82087"/>
                  </a:lnTo>
                  <a:lnTo>
                    <a:pt x="574468" y="277135"/>
                  </a:lnTo>
                  <a:lnTo>
                    <a:pt x="512433" y="277135"/>
                  </a:lnTo>
                  <a:lnTo>
                    <a:pt x="512433" y="82087"/>
                  </a:lnTo>
                  <a:close/>
                  <a:moveTo>
                    <a:pt x="686563" y="283194"/>
                  </a:moveTo>
                  <a:cubicBezTo>
                    <a:pt x="674156" y="283194"/>
                    <a:pt x="662614" y="280886"/>
                    <a:pt x="652227" y="276125"/>
                  </a:cubicBezTo>
                  <a:cubicBezTo>
                    <a:pt x="641840" y="271365"/>
                    <a:pt x="632751" y="264584"/>
                    <a:pt x="625249" y="255784"/>
                  </a:cubicBezTo>
                  <a:cubicBezTo>
                    <a:pt x="617603" y="246839"/>
                    <a:pt x="611688" y="236019"/>
                    <a:pt x="607505" y="223180"/>
                  </a:cubicBezTo>
                  <a:cubicBezTo>
                    <a:pt x="603321" y="210340"/>
                    <a:pt x="601157" y="195769"/>
                    <a:pt x="601157" y="179611"/>
                  </a:cubicBezTo>
                  <a:cubicBezTo>
                    <a:pt x="601157" y="164319"/>
                    <a:pt x="603321" y="150470"/>
                    <a:pt x="607505" y="137630"/>
                  </a:cubicBezTo>
                  <a:cubicBezTo>
                    <a:pt x="611688" y="124934"/>
                    <a:pt x="617603" y="114114"/>
                    <a:pt x="624961" y="105026"/>
                  </a:cubicBezTo>
                  <a:cubicBezTo>
                    <a:pt x="632463" y="96081"/>
                    <a:pt x="641407" y="89012"/>
                    <a:pt x="651794" y="83819"/>
                  </a:cubicBezTo>
                  <a:cubicBezTo>
                    <a:pt x="662182" y="78769"/>
                    <a:pt x="673723" y="76172"/>
                    <a:pt x="686418" y="76172"/>
                  </a:cubicBezTo>
                  <a:cubicBezTo>
                    <a:pt x="700124" y="76172"/>
                    <a:pt x="711232" y="78769"/>
                    <a:pt x="719600" y="83963"/>
                  </a:cubicBezTo>
                  <a:cubicBezTo>
                    <a:pt x="727967" y="89156"/>
                    <a:pt x="735036" y="95793"/>
                    <a:pt x="740951" y="104016"/>
                  </a:cubicBezTo>
                  <a:lnTo>
                    <a:pt x="742105" y="104016"/>
                  </a:lnTo>
                  <a:lnTo>
                    <a:pt x="742105" y="1875"/>
                  </a:lnTo>
                  <a:lnTo>
                    <a:pt x="804139" y="1875"/>
                  </a:lnTo>
                  <a:lnTo>
                    <a:pt x="804139" y="276991"/>
                  </a:lnTo>
                  <a:lnTo>
                    <a:pt x="744702" y="276991"/>
                  </a:lnTo>
                  <a:lnTo>
                    <a:pt x="744702" y="250735"/>
                  </a:lnTo>
                  <a:lnTo>
                    <a:pt x="743981" y="250735"/>
                  </a:lnTo>
                  <a:cubicBezTo>
                    <a:pt x="738210" y="260833"/>
                    <a:pt x="730275" y="268768"/>
                    <a:pt x="720609" y="274538"/>
                  </a:cubicBezTo>
                  <a:cubicBezTo>
                    <a:pt x="710799" y="280309"/>
                    <a:pt x="699547" y="283050"/>
                    <a:pt x="686563" y="283050"/>
                  </a:cubicBezTo>
                  <a:moveTo>
                    <a:pt x="702576" y="233855"/>
                  </a:moveTo>
                  <a:cubicBezTo>
                    <a:pt x="715560" y="233855"/>
                    <a:pt x="725659" y="228806"/>
                    <a:pt x="732872" y="218563"/>
                  </a:cubicBezTo>
                  <a:cubicBezTo>
                    <a:pt x="740085" y="208465"/>
                    <a:pt x="743692" y="195336"/>
                    <a:pt x="743692" y="179323"/>
                  </a:cubicBezTo>
                  <a:cubicBezTo>
                    <a:pt x="743692" y="171244"/>
                    <a:pt x="742826" y="163598"/>
                    <a:pt x="741239" y="156673"/>
                  </a:cubicBezTo>
                  <a:cubicBezTo>
                    <a:pt x="739653" y="149748"/>
                    <a:pt x="737056" y="143689"/>
                    <a:pt x="733593" y="138784"/>
                  </a:cubicBezTo>
                  <a:cubicBezTo>
                    <a:pt x="730131" y="133879"/>
                    <a:pt x="725947" y="129984"/>
                    <a:pt x="721042" y="127098"/>
                  </a:cubicBezTo>
                  <a:cubicBezTo>
                    <a:pt x="716137" y="124357"/>
                    <a:pt x="710222" y="122915"/>
                    <a:pt x="703297" y="122915"/>
                  </a:cubicBezTo>
                  <a:cubicBezTo>
                    <a:pt x="690891" y="122915"/>
                    <a:pt x="681225" y="128108"/>
                    <a:pt x="674300" y="138351"/>
                  </a:cubicBezTo>
                  <a:cubicBezTo>
                    <a:pt x="667375" y="148594"/>
                    <a:pt x="664057" y="162011"/>
                    <a:pt x="664057" y="178601"/>
                  </a:cubicBezTo>
                  <a:cubicBezTo>
                    <a:pt x="664057" y="195192"/>
                    <a:pt x="667375" y="209042"/>
                    <a:pt x="674156" y="218996"/>
                  </a:cubicBezTo>
                  <a:cubicBezTo>
                    <a:pt x="680936" y="228950"/>
                    <a:pt x="690314" y="233855"/>
                    <a:pt x="702576" y="233855"/>
                  </a:cubicBezTo>
                  <a:moveTo>
                    <a:pt x="931094" y="282617"/>
                  </a:moveTo>
                  <a:cubicBezTo>
                    <a:pt x="915080" y="282617"/>
                    <a:pt x="900654" y="280021"/>
                    <a:pt x="887670" y="274827"/>
                  </a:cubicBezTo>
                  <a:cubicBezTo>
                    <a:pt x="874686" y="269633"/>
                    <a:pt x="863721" y="262420"/>
                    <a:pt x="854921" y="253043"/>
                  </a:cubicBezTo>
                  <a:cubicBezTo>
                    <a:pt x="845977" y="243810"/>
                    <a:pt x="839196" y="232845"/>
                    <a:pt x="834291" y="220150"/>
                  </a:cubicBezTo>
                  <a:cubicBezTo>
                    <a:pt x="829530" y="207455"/>
                    <a:pt x="827078" y="193749"/>
                    <a:pt x="827078" y="179034"/>
                  </a:cubicBezTo>
                  <a:cubicBezTo>
                    <a:pt x="827078" y="164319"/>
                    <a:pt x="829530" y="151047"/>
                    <a:pt x="834291" y="138495"/>
                  </a:cubicBezTo>
                  <a:cubicBezTo>
                    <a:pt x="839052" y="125944"/>
                    <a:pt x="845977" y="114980"/>
                    <a:pt x="854921" y="105747"/>
                  </a:cubicBezTo>
                  <a:cubicBezTo>
                    <a:pt x="863866" y="96514"/>
                    <a:pt x="874397" y="89301"/>
                    <a:pt x="886515" y="84107"/>
                  </a:cubicBezTo>
                  <a:cubicBezTo>
                    <a:pt x="898634" y="78914"/>
                    <a:pt x="912339" y="76317"/>
                    <a:pt x="927343" y="76317"/>
                  </a:cubicBezTo>
                  <a:cubicBezTo>
                    <a:pt x="941337" y="76317"/>
                    <a:pt x="953888" y="78481"/>
                    <a:pt x="964852" y="82809"/>
                  </a:cubicBezTo>
                  <a:cubicBezTo>
                    <a:pt x="975960" y="87137"/>
                    <a:pt x="985626" y="93052"/>
                    <a:pt x="993994" y="100698"/>
                  </a:cubicBezTo>
                  <a:cubicBezTo>
                    <a:pt x="1005679" y="111373"/>
                    <a:pt x="1014335" y="124934"/>
                    <a:pt x="1020106" y="141237"/>
                  </a:cubicBezTo>
                  <a:cubicBezTo>
                    <a:pt x="1025877" y="157683"/>
                    <a:pt x="1028473" y="175716"/>
                    <a:pt x="1028329" y="195481"/>
                  </a:cubicBezTo>
                  <a:lnTo>
                    <a:pt x="888102" y="195481"/>
                  </a:lnTo>
                  <a:cubicBezTo>
                    <a:pt x="890122" y="208753"/>
                    <a:pt x="894739" y="219140"/>
                    <a:pt x="901808" y="226786"/>
                  </a:cubicBezTo>
                  <a:cubicBezTo>
                    <a:pt x="908877" y="234432"/>
                    <a:pt x="918975" y="238183"/>
                    <a:pt x="931959" y="238183"/>
                  </a:cubicBezTo>
                  <a:cubicBezTo>
                    <a:pt x="940038" y="238183"/>
                    <a:pt x="946819" y="236452"/>
                    <a:pt x="952157" y="232990"/>
                  </a:cubicBezTo>
                  <a:cubicBezTo>
                    <a:pt x="957494" y="229527"/>
                    <a:pt x="961534" y="224767"/>
                    <a:pt x="964275" y="218707"/>
                  </a:cubicBezTo>
                  <a:lnTo>
                    <a:pt x="1024867" y="218707"/>
                  </a:lnTo>
                  <a:cubicBezTo>
                    <a:pt x="1022847" y="227652"/>
                    <a:pt x="1018952" y="236019"/>
                    <a:pt x="1013470" y="244098"/>
                  </a:cubicBezTo>
                  <a:cubicBezTo>
                    <a:pt x="1007843" y="252033"/>
                    <a:pt x="1000774" y="258958"/>
                    <a:pt x="992118" y="264873"/>
                  </a:cubicBezTo>
                  <a:cubicBezTo>
                    <a:pt x="984039" y="270787"/>
                    <a:pt x="974951" y="275115"/>
                    <a:pt x="964852" y="278145"/>
                  </a:cubicBezTo>
                  <a:cubicBezTo>
                    <a:pt x="954898" y="281175"/>
                    <a:pt x="943645" y="282762"/>
                    <a:pt x="931094" y="282762"/>
                  </a:cubicBezTo>
                  <a:moveTo>
                    <a:pt x="965429" y="158548"/>
                  </a:moveTo>
                  <a:cubicBezTo>
                    <a:pt x="964131" y="146863"/>
                    <a:pt x="960235" y="137630"/>
                    <a:pt x="953599" y="130705"/>
                  </a:cubicBezTo>
                  <a:cubicBezTo>
                    <a:pt x="946963" y="123925"/>
                    <a:pt x="938596" y="120462"/>
                    <a:pt x="928497" y="120462"/>
                  </a:cubicBezTo>
                  <a:cubicBezTo>
                    <a:pt x="916523" y="120462"/>
                    <a:pt x="907434" y="123925"/>
                    <a:pt x="901086" y="130705"/>
                  </a:cubicBezTo>
                  <a:cubicBezTo>
                    <a:pt x="894739" y="137630"/>
                    <a:pt x="890555" y="146863"/>
                    <a:pt x="888535" y="158548"/>
                  </a:cubicBezTo>
                  <a:lnTo>
                    <a:pt x="965429" y="158548"/>
                  </a:lnTo>
                  <a:close/>
                  <a:moveTo>
                    <a:pt x="1051123" y="2020"/>
                  </a:moveTo>
                  <a:lnTo>
                    <a:pt x="1113158" y="2020"/>
                  </a:lnTo>
                  <a:lnTo>
                    <a:pt x="1113158" y="106036"/>
                  </a:lnTo>
                  <a:lnTo>
                    <a:pt x="1114312" y="106036"/>
                  </a:lnTo>
                  <a:cubicBezTo>
                    <a:pt x="1121381" y="96658"/>
                    <a:pt x="1129460" y="89301"/>
                    <a:pt x="1138260" y="84107"/>
                  </a:cubicBezTo>
                  <a:cubicBezTo>
                    <a:pt x="1147204" y="78914"/>
                    <a:pt x="1158457" y="76317"/>
                    <a:pt x="1172162" y="76317"/>
                  </a:cubicBezTo>
                  <a:cubicBezTo>
                    <a:pt x="1182838" y="76317"/>
                    <a:pt x="1192360" y="78192"/>
                    <a:pt x="1200727" y="81799"/>
                  </a:cubicBezTo>
                  <a:cubicBezTo>
                    <a:pt x="1209095" y="85406"/>
                    <a:pt x="1216164" y="90599"/>
                    <a:pt x="1222079" y="97091"/>
                  </a:cubicBezTo>
                  <a:cubicBezTo>
                    <a:pt x="1227993" y="103583"/>
                    <a:pt x="1232321" y="111373"/>
                    <a:pt x="1235495" y="120318"/>
                  </a:cubicBezTo>
                  <a:cubicBezTo>
                    <a:pt x="1238525" y="129262"/>
                    <a:pt x="1240112" y="139361"/>
                    <a:pt x="1240112" y="150181"/>
                  </a:cubicBezTo>
                  <a:lnTo>
                    <a:pt x="1240112" y="276991"/>
                  </a:lnTo>
                  <a:lnTo>
                    <a:pt x="1178077" y="276991"/>
                  </a:lnTo>
                  <a:lnTo>
                    <a:pt x="1178077" y="162732"/>
                  </a:lnTo>
                  <a:cubicBezTo>
                    <a:pt x="1178077" y="152345"/>
                    <a:pt x="1175481" y="143978"/>
                    <a:pt x="1170431" y="137630"/>
                  </a:cubicBezTo>
                  <a:cubicBezTo>
                    <a:pt x="1165382" y="131282"/>
                    <a:pt x="1157736" y="128108"/>
                    <a:pt x="1147637" y="128108"/>
                  </a:cubicBezTo>
                  <a:cubicBezTo>
                    <a:pt x="1137539" y="128108"/>
                    <a:pt x="1128883" y="131859"/>
                    <a:pt x="1122679" y="139505"/>
                  </a:cubicBezTo>
                  <a:cubicBezTo>
                    <a:pt x="1116476" y="147151"/>
                    <a:pt x="1113302" y="157106"/>
                    <a:pt x="1113302" y="169224"/>
                  </a:cubicBezTo>
                  <a:lnTo>
                    <a:pt x="1113302" y="276991"/>
                  </a:lnTo>
                  <a:lnTo>
                    <a:pt x="1051267" y="276991"/>
                  </a:lnTo>
                  <a:lnTo>
                    <a:pt x="1051267" y="1875"/>
                  </a:lnTo>
                  <a:close/>
                  <a:moveTo>
                    <a:pt x="1363892" y="283194"/>
                  </a:moveTo>
                  <a:cubicBezTo>
                    <a:pt x="1348167" y="283194"/>
                    <a:pt x="1333885" y="280598"/>
                    <a:pt x="1321045" y="275404"/>
                  </a:cubicBezTo>
                  <a:cubicBezTo>
                    <a:pt x="1308205" y="270210"/>
                    <a:pt x="1297241" y="262997"/>
                    <a:pt x="1288008" y="253620"/>
                  </a:cubicBezTo>
                  <a:cubicBezTo>
                    <a:pt x="1278919" y="244387"/>
                    <a:pt x="1271850" y="233423"/>
                    <a:pt x="1266945" y="220871"/>
                  </a:cubicBezTo>
                  <a:cubicBezTo>
                    <a:pt x="1262040" y="208320"/>
                    <a:pt x="1259443" y="194615"/>
                    <a:pt x="1259443" y="179900"/>
                  </a:cubicBezTo>
                  <a:cubicBezTo>
                    <a:pt x="1259443" y="165185"/>
                    <a:pt x="1261896" y="151479"/>
                    <a:pt x="1266945" y="138928"/>
                  </a:cubicBezTo>
                  <a:cubicBezTo>
                    <a:pt x="1271850" y="126377"/>
                    <a:pt x="1278919" y="115413"/>
                    <a:pt x="1288008" y="106180"/>
                  </a:cubicBezTo>
                  <a:cubicBezTo>
                    <a:pt x="1297097" y="96947"/>
                    <a:pt x="1308205" y="89734"/>
                    <a:pt x="1321045" y="84540"/>
                  </a:cubicBezTo>
                  <a:cubicBezTo>
                    <a:pt x="1333885" y="79346"/>
                    <a:pt x="1348167" y="76750"/>
                    <a:pt x="1363892" y="76750"/>
                  </a:cubicBezTo>
                  <a:cubicBezTo>
                    <a:pt x="1379617" y="76750"/>
                    <a:pt x="1393900" y="79346"/>
                    <a:pt x="1406739" y="84540"/>
                  </a:cubicBezTo>
                  <a:cubicBezTo>
                    <a:pt x="1419579" y="89734"/>
                    <a:pt x="1430543" y="96947"/>
                    <a:pt x="1439487" y="106180"/>
                  </a:cubicBezTo>
                  <a:cubicBezTo>
                    <a:pt x="1448432" y="115413"/>
                    <a:pt x="1455501" y="126377"/>
                    <a:pt x="1460406" y="138928"/>
                  </a:cubicBezTo>
                  <a:cubicBezTo>
                    <a:pt x="1465311" y="151479"/>
                    <a:pt x="1467764" y="165185"/>
                    <a:pt x="1467764" y="179900"/>
                  </a:cubicBezTo>
                  <a:cubicBezTo>
                    <a:pt x="1467764" y="194615"/>
                    <a:pt x="1465311" y="208320"/>
                    <a:pt x="1460406" y="220871"/>
                  </a:cubicBezTo>
                  <a:cubicBezTo>
                    <a:pt x="1455501" y="233423"/>
                    <a:pt x="1448432" y="244387"/>
                    <a:pt x="1439487" y="253620"/>
                  </a:cubicBezTo>
                  <a:cubicBezTo>
                    <a:pt x="1430543" y="262853"/>
                    <a:pt x="1419579" y="270066"/>
                    <a:pt x="1406739" y="275404"/>
                  </a:cubicBezTo>
                  <a:cubicBezTo>
                    <a:pt x="1393900" y="280598"/>
                    <a:pt x="1379617" y="283194"/>
                    <a:pt x="1363892" y="283194"/>
                  </a:cubicBezTo>
                  <a:moveTo>
                    <a:pt x="1363459" y="239049"/>
                  </a:moveTo>
                  <a:cubicBezTo>
                    <a:pt x="1377165" y="239049"/>
                    <a:pt x="1387552" y="233711"/>
                    <a:pt x="1394477" y="222891"/>
                  </a:cubicBezTo>
                  <a:cubicBezTo>
                    <a:pt x="1401546" y="212071"/>
                    <a:pt x="1405008" y="197789"/>
                    <a:pt x="1405008" y="180044"/>
                  </a:cubicBezTo>
                  <a:cubicBezTo>
                    <a:pt x="1405008" y="162299"/>
                    <a:pt x="1401546" y="147873"/>
                    <a:pt x="1394477" y="137053"/>
                  </a:cubicBezTo>
                  <a:cubicBezTo>
                    <a:pt x="1387552" y="126089"/>
                    <a:pt x="1377165" y="120606"/>
                    <a:pt x="1363459" y="120606"/>
                  </a:cubicBezTo>
                  <a:cubicBezTo>
                    <a:pt x="1349754" y="120606"/>
                    <a:pt x="1339511" y="126089"/>
                    <a:pt x="1332586" y="137053"/>
                  </a:cubicBezTo>
                  <a:cubicBezTo>
                    <a:pt x="1325806" y="148017"/>
                    <a:pt x="1322343" y="162299"/>
                    <a:pt x="1322343" y="180044"/>
                  </a:cubicBezTo>
                  <a:cubicBezTo>
                    <a:pt x="1322343" y="197789"/>
                    <a:pt x="1325806" y="212071"/>
                    <a:pt x="1332586" y="222891"/>
                  </a:cubicBezTo>
                  <a:cubicBezTo>
                    <a:pt x="1339511" y="233711"/>
                    <a:pt x="1349754" y="239049"/>
                    <a:pt x="1363459" y="239049"/>
                  </a:cubicBezTo>
                  <a:moveTo>
                    <a:pt x="1555910" y="282906"/>
                  </a:moveTo>
                  <a:cubicBezTo>
                    <a:pt x="1533260" y="282906"/>
                    <a:pt x="1516237" y="276270"/>
                    <a:pt x="1504696" y="262853"/>
                  </a:cubicBezTo>
                  <a:cubicBezTo>
                    <a:pt x="1493154" y="249580"/>
                    <a:pt x="1487384" y="231980"/>
                    <a:pt x="1487384" y="210051"/>
                  </a:cubicBezTo>
                  <a:lnTo>
                    <a:pt x="1487384" y="82087"/>
                  </a:lnTo>
                  <a:lnTo>
                    <a:pt x="1549130" y="82087"/>
                  </a:lnTo>
                  <a:lnTo>
                    <a:pt x="1549130" y="197212"/>
                  </a:lnTo>
                  <a:cubicBezTo>
                    <a:pt x="1549130" y="207887"/>
                    <a:pt x="1551582" y="216111"/>
                    <a:pt x="1556343" y="221737"/>
                  </a:cubicBezTo>
                  <a:cubicBezTo>
                    <a:pt x="1561104" y="227508"/>
                    <a:pt x="1568606" y="230249"/>
                    <a:pt x="1578416" y="230249"/>
                  </a:cubicBezTo>
                  <a:cubicBezTo>
                    <a:pt x="1589092" y="230249"/>
                    <a:pt x="1597459" y="226642"/>
                    <a:pt x="1603518" y="219429"/>
                  </a:cubicBezTo>
                  <a:cubicBezTo>
                    <a:pt x="1609577" y="212215"/>
                    <a:pt x="1612607" y="202694"/>
                    <a:pt x="1612607" y="191008"/>
                  </a:cubicBezTo>
                  <a:lnTo>
                    <a:pt x="1612607" y="82087"/>
                  </a:lnTo>
                  <a:lnTo>
                    <a:pt x="1674641" y="82087"/>
                  </a:lnTo>
                  <a:lnTo>
                    <a:pt x="1674641" y="277135"/>
                  </a:lnTo>
                  <a:lnTo>
                    <a:pt x="1615204" y="277135"/>
                  </a:lnTo>
                  <a:lnTo>
                    <a:pt x="1615204" y="253187"/>
                  </a:lnTo>
                  <a:lnTo>
                    <a:pt x="1614050" y="253187"/>
                  </a:lnTo>
                  <a:cubicBezTo>
                    <a:pt x="1606980" y="262853"/>
                    <a:pt x="1598902" y="270210"/>
                    <a:pt x="1589813" y="275260"/>
                  </a:cubicBezTo>
                  <a:cubicBezTo>
                    <a:pt x="1580868" y="280309"/>
                    <a:pt x="1569471" y="282906"/>
                    <a:pt x="1555766" y="282906"/>
                  </a:cubicBezTo>
                  <a:moveTo>
                    <a:pt x="1791208" y="283339"/>
                  </a:moveTo>
                  <a:cubicBezTo>
                    <a:pt x="1762499" y="283339"/>
                    <a:pt x="1739850" y="277135"/>
                    <a:pt x="1722971" y="264873"/>
                  </a:cubicBezTo>
                  <a:cubicBezTo>
                    <a:pt x="1706236" y="252610"/>
                    <a:pt x="1697291" y="235587"/>
                    <a:pt x="1696281" y="213947"/>
                  </a:cubicBezTo>
                  <a:lnTo>
                    <a:pt x="1754998" y="213947"/>
                  </a:lnTo>
                  <a:cubicBezTo>
                    <a:pt x="1756296" y="223612"/>
                    <a:pt x="1759903" y="230826"/>
                    <a:pt x="1766106" y="235731"/>
                  </a:cubicBezTo>
                  <a:cubicBezTo>
                    <a:pt x="1772165" y="240492"/>
                    <a:pt x="1780388" y="242944"/>
                    <a:pt x="1790920" y="242944"/>
                  </a:cubicBezTo>
                  <a:cubicBezTo>
                    <a:pt x="1800297" y="242944"/>
                    <a:pt x="1807799" y="241357"/>
                    <a:pt x="1813137" y="238039"/>
                  </a:cubicBezTo>
                  <a:cubicBezTo>
                    <a:pt x="1818619" y="234721"/>
                    <a:pt x="1821360" y="229960"/>
                    <a:pt x="1821360" y="223612"/>
                  </a:cubicBezTo>
                  <a:cubicBezTo>
                    <a:pt x="1821360" y="219284"/>
                    <a:pt x="1819917" y="215822"/>
                    <a:pt x="1817176" y="213081"/>
                  </a:cubicBezTo>
                  <a:cubicBezTo>
                    <a:pt x="1814435" y="210484"/>
                    <a:pt x="1810684" y="208320"/>
                    <a:pt x="1806068" y="206589"/>
                  </a:cubicBezTo>
                  <a:cubicBezTo>
                    <a:pt x="1801451" y="205002"/>
                    <a:pt x="1796258" y="203704"/>
                    <a:pt x="1790199" y="202838"/>
                  </a:cubicBezTo>
                  <a:cubicBezTo>
                    <a:pt x="1784284" y="201973"/>
                    <a:pt x="1778080" y="200818"/>
                    <a:pt x="1771732" y="199664"/>
                  </a:cubicBezTo>
                  <a:cubicBezTo>
                    <a:pt x="1763365" y="198077"/>
                    <a:pt x="1754998" y="196346"/>
                    <a:pt x="1746630" y="194182"/>
                  </a:cubicBezTo>
                  <a:cubicBezTo>
                    <a:pt x="1738263" y="192018"/>
                    <a:pt x="1730761" y="188844"/>
                    <a:pt x="1723980" y="184516"/>
                  </a:cubicBezTo>
                  <a:cubicBezTo>
                    <a:pt x="1717200" y="180188"/>
                    <a:pt x="1711862" y="174418"/>
                    <a:pt x="1707823" y="167204"/>
                  </a:cubicBezTo>
                  <a:cubicBezTo>
                    <a:pt x="1703783" y="159991"/>
                    <a:pt x="1701763" y="150614"/>
                    <a:pt x="1701763" y="139217"/>
                  </a:cubicBezTo>
                  <a:cubicBezTo>
                    <a:pt x="1701763" y="129118"/>
                    <a:pt x="1703927" y="120029"/>
                    <a:pt x="1708400" y="112095"/>
                  </a:cubicBezTo>
                  <a:cubicBezTo>
                    <a:pt x="1712872" y="104304"/>
                    <a:pt x="1718931" y="97668"/>
                    <a:pt x="1726577" y="92475"/>
                  </a:cubicBezTo>
                  <a:cubicBezTo>
                    <a:pt x="1734223" y="87281"/>
                    <a:pt x="1743168" y="83386"/>
                    <a:pt x="1753411" y="80645"/>
                  </a:cubicBezTo>
                  <a:cubicBezTo>
                    <a:pt x="1763653" y="78048"/>
                    <a:pt x="1774618" y="76605"/>
                    <a:pt x="1786015" y="76605"/>
                  </a:cubicBezTo>
                  <a:cubicBezTo>
                    <a:pt x="1813714" y="76605"/>
                    <a:pt x="1834921" y="82232"/>
                    <a:pt x="1849636" y="93340"/>
                  </a:cubicBezTo>
                  <a:cubicBezTo>
                    <a:pt x="1864351" y="104449"/>
                    <a:pt x="1872430" y="119741"/>
                    <a:pt x="1874017" y="139073"/>
                  </a:cubicBezTo>
                  <a:lnTo>
                    <a:pt x="1816888" y="139073"/>
                  </a:lnTo>
                  <a:cubicBezTo>
                    <a:pt x="1815589" y="130128"/>
                    <a:pt x="1812271" y="124213"/>
                    <a:pt x="1806789" y="121039"/>
                  </a:cubicBezTo>
                  <a:cubicBezTo>
                    <a:pt x="1801307" y="117865"/>
                    <a:pt x="1794238" y="116278"/>
                    <a:pt x="1785582" y="116278"/>
                  </a:cubicBezTo>
                  <a:cubicBezTo>
                    <a:pt x="1777936" y="116278"/>
                    <a:pt x="1771588" y="117721"/>
                    <a:pt x="1766395" y="120606"/>
                  </a:cubicBezTo>
                  <a:cubicBezTo>
                    <a:pt x="1761201" y="123492"/>
                    <a:pt x="1758604" y="127964"/>
                    <a:pt x="1758604" y="134167"/>
                  </a:cubicBezTo>
                  <a:cubicBezTo>
                    <a:pt x="1758604" y="137774"/>
                    <a:pt x="1759903" y="140515"/>
                    <a:pt x="1762355" y="142535"/>
                  </a:cubicBezTo>
                  <a:cubicBezTo>
                    <a:pt x="1764952" y="144555"/>
                    <a:pt x="1768270" y="146286"/>
                    <a:pt x="1772598" y="147728"/>
                  </a:cubicBezTo>
                  <a:cubicBezTo>
                    <a:pt x="1776926" y="149171"/>
                    <a:pt x="1781975" y="150325"/>
                    <a:pt x="1787602" y="151335"/>
                  </a:cubicBezTo>
                  <a:cubicBezTo>
                    <a:pt x="1793372" y="152345"/>
                    <a:pt x="1799287" y="153355"/>
                    <a:pt x="1805346" y="154365"/>
                  </a:cubicBezTo>
                  <a:cubicBezTo>
                    <a:pt x="1814002" y="155807"/>
                    <a:pt x="1822659" y="157683"/>
                    <a:pt x="1831459" y="159847"/>
                  </a:cubicBezTo>
                  <a:cubicBezTo>
                    <a:pt x="1840259" y="162011"/>
                    <a:pt x="1848193" y="165329"/>
                    <a:pt x="1855407" y="169945"/>
                  </a:cubicBezTo>
                  <a:cubicBezTo>
                    <a:pt x="1862620" y="174562"/>
                    <a:pt x="1868535" y="180621"/>
                    <a:pt x="1873152" y="188412"/>
                  </a:cubicBezTo>
                  <a:cubicBezTo>
                    <a:pt x="1877768" y="196202"/>
                    <a:pt x="1880076" y="206301"/>
                    <a:pt x="1880076" y="218707"/>
                  </a:cubicBezTo>
                  <a:cubicBezTo>
                    <a:pt x="1880076" y="229383"/>
                    <a:pt x="1877768" y="238760"/>
                    <a:pt x="1873440" y="246839"/>
                  </a:cubicBezTo>
                  <a:cubicBezTo>
                    <a:pt x="1868968" y="254918"/>
                    <a:pt x="1862764" y="261699"/>
                    <a:pt x="1854974" y="267037"/>
                  </a:cubicBezTo>
                  <a:cubicBezTo>
                    <a:pt x="1847039" y="272374"/>
                    <a:pt x="1837662" y="276414"/>
                    <a:pt x="1826842" y="279299"/>
                  </a:cubicBezTo>
                  <a:cubicBezTo>
                    <a:pt x="1815878" y="282040"/>
                    <a:pt x="1804048" y="283483"/>
                    <a:pt x="1791353" y="283483"/>
                  </a:cubicBezTo>
                  <a:moveTo>
                    <a:pt x="2001260" y="283050"/>
                  </a:moveTo>
                  <a:cubicBezTo>
                    <a:pt x="1985246" y="283050"/>
                    <a:pt x="1970820" y="280453"/>
                    <a:pt x="1957836" y="275260"/>
                  </a:cubicBezTo>
                  <a:cubicBezTo>
                    <a:pt x="1944852" y="270066"/>
                    <a:pt x="1934032" y="262853"/>
                    <a:pt x="1925087" y="253476"/>
                  </a:cubicBezTo>
                  <a:cubicBezTo>
                    <a:pt x="1916143" y="244243"/>
                    <a:pt x="1909362" y="233278"/>
                    <a:pt x="1904457" y="220583"/>
                  </a:cubicBezTo>
                  <a:cubicBezTo>
                    <a:pt x="1899697" y="207887"/>
                    <a:pt x="1897244" y="194182"/>
                    <a:pt x="1897244" y="179467"/>
                  </a:cubicBezTo>
                  <a:cubicBezTo>
                    <a:pt x="1897244" y="164752"/>
                    <a:pt x="1899697" y="151479"/>
                    <a:pt x="1904457" y="138928"/>
                  </a:cubicBezTo>
                  <a:cubicBezTo>
                    <a:pt x="1909218" y="126377"/>
                    <a:pt x="1916143" y="115413"/>
                    <a:pt x="1925087" y="106180"/>
                  </a:cubicBezTo>
                  <a:cubicBezTo>
                    <a:pt x="1934032" y="96947"/>
                    <a:pt x="1944563" y="89734"/>
                    <a:pt x="1956682" y="84540"/>
                  </a:cubicBezTo>
                  <a:cubicBezTo>
                    <a:pt x="1968944" y="79346"/>
                    <a:pt x="1982505" y="76750"/>
                    <a:pt x="1997509" y="76750"/>
                  </a:cubicBezTo>
                  <a:cubicBezTo>
                    <a:pt x="2011503" y="76750"/>
                    <a:pt x="2023910" y="78914"/>
                    <a:pt x="2035018" y="83242"/>
                  </a:cubicBezTo>
                  <a:cubicBezTo>
                    <a:pt x="2046127" y="87570"/>
                    <a:pt x="2055792" y="93484"/>
                    <a:pt x="2064160" y="101131"/>
                  </a:cubicBezTo>
                  <a:cubicBezTo>
                    <a:pt x="2075845" y="111806"/>
                    <a:pt x="2084501" y="125367"/>
                    <a:pt x="2090272" y="141669"/>
                  </a:cubicBezTo>
                  <a:cubicBezTo>
                    <a:pt x="2096043" y="158116"/>
                    <a:pt x="2098784" y="176149"/>
                    <a:pt x="2098495" y="195913"/>
                  </a:cubicBezTo>
                  <a:lnTo>
                    <a:pt x="1958269" y="195913"/>
                  </a:lnTo>
                  <a:cubicBezTo>
                    <a:pt x="1960288" y="209186"/>
                    <a:pt x="1964905" y="219573"/>
                    <a:pt x="1971974" y="227219"/>
                  </a:cubicBezTo>
                  <a:cubicBezTo>
                    <a:pt x="1979043" y="234865"/>
                    <a:pt x="1989142" y="238616"/>
                    <a:pt x="2002125" y="238616"/>
                  </a:cubicBezTo>
                  <a:cubicBezTo>
                    <a:pt x="2010204" y="238616"/>
                    <a:pt x="2016985" y="236885"/>
                    <a:pt x="2022323" y="233423"/>
                  </a:cubicBezTo>
                  <a:cubicBezTo>
                    <a:pt x="2027661" y="229960"/>
                    <a:pt x="2031700" y="225199"/>
                    <a:pt x="2034585" y="219140"/>
                  </a:cubicBezTo>
                  <a:lnTo>
                    <a:pt x="2095177" y="219140"/>
                  </a:lnTo>
                  <a:cubicBezTo>
                    <a:pt x="2093158" y="228085"/>
                    <a:pt x="2089406" y="236452"/>
                    <a:pt x="2083780" y="244531"/>
                  </a:cubicBezTo>
                  <a:cubicBezTo>
                    <a:pt x="2078154" y="252610"/>
                    <a:pt x="2071085" y="259390"/>
                    <a:pt x="2062429" y="265305"/>
                  </a:cubicBezTo>
                  <a:cubicBezTo>
                    <a:pt x="2054350" y="271220"/>
                    <a:pt x="2045261" y="275548"/>
                    <a:pt x="2035162" y="278578"/>
                  </a:cubicBezTo>
                  <a:cubicBezTo>
                    <a:pt x="2025064" y="281607"/>
                    <a:pt x="2013811" y="283194"/>
                    <a:pt x="2001404" y="283194"/>
                  </a:cubicBezTo>
                  <a:moveTo>
                    <a:pt x="2035739" y="158981"/>
                  </a:moveTo>
                  <a:cubicBezTo>
                    <a:pt x="2034441" y="147296"/>
                    <a:pt x="2030546" y="138063"/>
                    <a:pt x="2023910" y="131138"/>
                  </a:cubicBezTo>
                  <a:cubicBezTo>
                    <a:pt x="2017273" y="124357"/>
                    <a:pt x="2008906" y="120895"/>
                    <a:pt x="1998807" y="120895"/>
                  </a:cubicBezTo>
                  <a:cubicBezTo>
                    <a:pt x="1986833" y="120895"/>
                    <a:pt x="1977745" y="124357"/>
                    <a:pt x="1971397" y="131138"/>
                  </a:cubicBezTo>
                  <a:cubicBezTo>
                    <a:pt x="1965049" y="138063"/>
                    <a:pt x="1960865" y="147296"/>
                    <a:pt x="1958846" y="158981"/>
                  </a:cubicBezTo>
                  <a:lnTo>
                    <a:pt x="2035739" y="158981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420A9100-D517-D472-CEFD-D0D3A5BCF545}"/>
                </a:ext>
              </a:extLst>
            </p:cNvPr>
            <p:cNvSpPr/>
            <p:nvPr/>
          </p:nvSpPr>
          <p:spPr>
            <a:xfrm>
              <a:off x="883128" y="557212"/>
              <a:ext cx="273528" cy="675598"/>
            </a:xfrm>
            <a:custGeom>
              <a:avLst/>
              <a:gdLst>
                <a:gd name="connsiteX0" fmla="*/ 0 w 273528"/>
                <a:gd name="connsiteY0" fmla="*/ 0 h 675598"/>
                <a:gd name="connsiteX1" fmla="*/ 0 w 273528"/>
                <a:gd name="connsiteY1" fmla="*/ 476944 h 675598"/>
                <a:gd name="connsiteX2" fmla="*/ 272807 w 273528"/>
                <a:gd name="connsiteY2" fmla="*/ 675598 h 675598"/>
                <a:gd name="connsiteX3" fmla="*/ 273529 w 273528"/>
                <a:gd name="connsiteY3" fmla="*/ 674877 h 675598"/>
                <a:gd name="connsiteX4" fmla="*/ 0 w 273528"/>
                <a:gd name="connsiteY4" fmla="*/ 0 h 675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528" h="675598">
                  <a:moveTo>
                    <a:pt x="0" y="0"/>
                  </a:moveTo>
                  <a:lnTo>
                    <a:pt x="0" y="476944"/>
                  </a:lnTo>
                  <a:lnTo>
                    <a:pt x="272807" y="675598"/>
                  </a:lnTo>
                  <a:cubicBezTo>
                    <a:pt x="272807" y="675598"/>
                    <a:pt x="273384" y="675021"/>
                    <a:pt x="273529" y="67487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3D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AA4E6CE2-336C-0213-9FF5-26E16386C047}"/>
                </a:ext>
              </a:extLst>
            </p:cNvPr>
            <p:cNvSpPr/>
            <p:nvPr/>
          </p:nvSpPr>
          <p:spPr>
            <a:xfrm>
              <a:off x="609600" y="557212"/>
              <a:ext cx="273528" cy="675453"/>
            </a:xfrm>
            <a:custGeom>
              <a:avLst/>
              <a:gdLst>
                <a:gd name="connsiteX0" fmla="*/ 0 w 273528"/>
                <a:gd name="connsiteY0" fmla="*/ 674733 h 675453"/>
                <a:gd name="connsiteX1" fmla="*/ 721 w 273528"/>
                <a:gd name="connsiteY1" fmla="*/ 675454 h 675453"/>
                <a:gd name="connsiteX2" fmla="*/ 273529 w 273528"/>
                <a:gd name="connsiteY2" fmla="*/ 476799 h 675453"/>
                <a:gd name="connsiteX3" fmla="*/ 273529 w 273528"/>
                <a:gd name="connsiteY3" fmla="*/ 0 h 675453"/>
                <a:gd name="connsiteX4" fmla="*/ 0 w 273528"/>
                <a:gd name="connsiteY4" fmla="*/ 674733 h 675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528" h="675453">
                  <a:moveTo>
                    <a:pt x="0" y="674733"/>
                  </a:moveTo>
                  <a:cubicBezTo>
                    <a:pt x="0" y="674733"/>
                    <a:pt x="577" y="675310"/>
                    <a:pt x="721" y="675454"/>
                  </a:cubicBezTo>
                  <a:lnTo>
                    <a:pt x="273529" y="476799"/>
                  </a:lnTo>
                  <a:lnTo>
                    <a:pt x="273529" y="0"/>
                  </a:lnTo>
                  <a:lnTo>
                    <a:pt x="0" y="674733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8DC4B6A-4CBA-E0F1-E91D-A6319EE1FAC8}"/>
              </a:ext>
            </a:extLst>
          </p:cNvPr>
          <p:cNvCxnSpPr>
            <a:cxnSpLocks/>
          </p:cNvCxnSpPr>
          <p:nvPr/>
        </p:nvCxnSpPr>
        <p:spPr>
          <a:xfrm>
            <a:off x="609600" y="4594548"/>
            <a:ext cx="537667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phic 12">
            <a:extLst>
              <a:ext uri="{FF2B5EF4-FFF2-40B4-BE49-F238E27FC236}">
                <a16:creationId xmlns:a16="http://schemas.microsoft.com/office/drawing/2014/main" id="{B7C6D37C-C62C-7CA0-D32B-2D5DC88A0F3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9837" r="8121" b="7745"/>
          <a:stretch/>
        </p:blipFill>
        <p:spPr>
          <a:xfrm>
            <a:off x="5996682" y="-1"/>
            <a:ext cx="6195318" cy="6858001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CB1E87D-CF80-16E1-E2DA-D366BCB64A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048537"/>
            <a:ext cx="5376672" cy="2244461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ation title extends </a:t>
            </a:r>
            <a:br>
              <a:rPr lang="en-US"/>
            </a:br>
            <a:r>
              <a:rPr lang="en-US"/>
              <a:t>up to 3 line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2A9289B-23E0-657B-DF89-7F9B74F766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523079"/>
            <a:ext cx="2468880" cy="223908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400" b="1" cap="all" spc="300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D7147827-288A-C738-6D39-15FD117D358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4896099"/>
            <a:ext cx="5387082" cy="307777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300"/>
              </a:spcAft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Name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63BBE4A5-01FB-BD6C-513D-9B06278F441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600" y="6090476"/>
            <a:ext cx="1834388" cy="210312"/>
          </a:xfrm>
          <a:prstGeom prst="rect">
            <a:avLst/>
          </a:prstGeom>
        </p:spPr>
      </p:pic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FCC54D6-1CD8-DA15-70A3-BCCDE81CDB97}"/>
              </a:ext>
            </a:extLst>
          </p:cNvPr>
          <p:cNvCxnSpPr>
            <a:cxnSpLocks/>
          </p:cNvCxnSpPr>
          <p:nvPr userDrawn="1"/>
        </p:nvCxnSpPr>
        <p:spPr>
          <a:xfrm>
            <a:off x="609600" y="4594548"/>
            <a:ext cx="537667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33">
            <a:extLst>
              <a:ext uri="{FF2B5EF4-FFF2-40B4-BE49-F238E27FC236}">
                <a16:creationId xmlns:a16="http://schemas.microsoft.com/office/drawing/2014/main" id="{AAE1FF1D-0F56-F757-7130-3FB597422C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0348" y="5236388"/>
            <a:ext cx="5387082" cy="276999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</p:spTree>
    <p:extLst>
      <p:ext uri="{BB962C8B-B14F-4D97-AF65-F5344CB8AC3E}">
        <p14:creationId xmlns:p14="http://schemas.microsoft.com/office/powerpoint/2010/main" val="23367099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- 6 Members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772DD-7002-F2A1-C348-A0C46F31C7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FED28113-7C82-17C7-BA44-13930C3558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10972800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4" name="Picture Placeholder 17">
            <a:extLst>
              <a:ext uri="{FF2B5EF4-FFF2-40B4-BE49-F238E27FC236}">
                <a16:creationId xmlns:a16="http://schemas.microsoft.com/office/drawing/2014/main" id="{91443FC3-6EBF-129A-7CB0-2E46444145C2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608243" y="1863727"/>
            <a:ext cx="768096" cy="768096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75" name="Text Placeholder 35">
            <a:extLst>
              <a:ext uri="{FF2B5EF4-FFF2-40B4-BE49-F238E27FC236}">
                <a16:creationId xmlns:a16="http://schemas.microsoft.com/office/drawing/2014/main" id="{E222FD77-B00D-14C1-128B-AF209F40E5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66368" y="1999692"/>
            <a:ext cx="2258568" cy="2769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8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4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76" name="Text Placeholder 37">
            <a:extLst>
              <a:ext uri="{FF2B5EF4-FFF2-40B4-BE49-F238E27FC236}">
                <a16:creationId xmlns:a16="http://schemas.microsoft.com/office/drawing/2014/main" id="{EEB76F13-B749-A78B-DC39-0D7AB948208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5321" y="3018191"/>
            <a:ext cx="3337560" cy="649224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" name="Picture Placeholder 17">
            <a:extLst>
              <a:ext uri="{FF2B5EF4-FFF2-40B4-BE49-F238E27FC236}">
                <a16:creationId xmlns:a16="http://schemas.microsoft.com/office/drawing/2014/main" id="{B54E4C95-7221-9492-7471-0DCD6BCAB85A}"/>
              </a:ext>
            </a:extLst>
          </p:cNvPr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429360" y="1863727"/>
            <a:ext cx="768096" cy="768096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82" name="Text Placeholder 37">
            <a:extLst>
              <a:ext uri="{FF2B5EF4-FFF2-40B4-BE49-F238E27FC236}">
                <a16:creationId xmlns:a16="http://schemas.microsoft.com/office/drawing/2014/main" id="{107F5CCE-2B3E-F9A1-56F1-2C122EFF3B4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429360" y="3018191"/>
            <a:ext cx="3337560" cy="649224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6" name="Picture Placeholder 17">
            <a:extLst>
              <a:ext uri="{FF2B5EF4-FFF2-40B4-BE49-F238E27FC236}">
                <a16:creationId xmlns:a16="http://schemas.microsoft.com/office/drawing/2014/main" id="{0A54798C-9DDB-236B-75D5-1741208259E8}"/>
              </a:ext>
            </a:extLst>
          </p:cNvPr>
          <p:cNvSpPr>
            <a:spLocks noGrp="1" noChangeAspect="1"/>
          </p:cNvSpPr>
          <p:nvPr>
            <p:ph type="pic" sz="quarter" idx="32" hasCustomPrompt="1"/>
          </p:nvPr>
        </p:nvSpPr>
        <p:spPr>
          <a:xfrm>
            <a:off x="8249119" y="1863727"/>
            <a:ext cx="768096" cy="768096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88" name="Text Placeholder 37">
            <a:extLst>
              <a:ext uri="{FF2B5EF4-FFF2-40B4-BE49-F238E27FC236}">
                <a16:creationId xmlns:a16="http://schemas.microsoft.com/office/drawing/2014/main" id="{1FE98170-90C5-865C-F4D2-6AA60FA00F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249119" y="3018191"/>
            <a:ext cx="3337560" cy="649224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0" name="Picture Placeholder 17">
            <a:extLst>
              <a:ext uri="{FF2B5EF4-FFF2-40B4-BE49-F238E27FC236}">
                <a16:creationId xmlns:a16="http://schemas.microsoft.com/office/drawing/2014/main" id="{8FFBB970-B4BB-3F4B-4628-902C42B0224B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608243" y="4112412"/>
            <a:ext cx="768096" cy="768096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132" name="Text Placeholder 37">
            <a:extLst>
              <a:ext uri="{FF2B5EF4-FFF2-40B4-BE49-F238E27FC236}">
                <a16:creationId xmlns:a16="http://schemas.microsoft.com/office/drawing/2014/main" id="{DC0DB422-2E2E-C593-A777-B77F87AC670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05321" y="5266876"/>
            <a:ext cx="3337560" cy="649224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6" name="Picture Placeholder 17">
            <a:extLst>
              <a:ext uri="{FF2B5EF4-FFF2-40B4-BE49-F238E27FC236}">
                <a16:creationId xmlns:a16="http://schemas.microsoft.com/office/drawing/2014/main" id="{35080CE4-9FA2-2A30-26BC-A6026EB3B207}"/>
              </a:ext>
            </a:extLst>
          </p:cNvPr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4429360" y="4112412"/>
            <a:ext cx="768096" cy="768096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138" name="Text Placeholder 37">
            <a:extLst>
              <a:ext uri="{FF2B5EF4-FFF2-40B4-BE49-F238E27FC236}">
                <a16:creationId xmlns:a16="http://schemas.microsoft.com/office/drawing/2014/main" id="{9484FE72-56CA-7CD1-BD23-C4B8863BE91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429360" y="5266876"/>
            <a:ext cx="3337560" cy="649224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2" name="Picture Placeholder 17">
            <a:extLst>
              <a:ext uri="{FF2B5EF4-FFF2-40B4-BE49-F238E27FC236}">
                <a16:creationId xmlns:a16="http://schemas.microsoft.com/office/drawing/2014/main" id="{BEE2F446-F2BA-DFA2-5703-091C5680895A}"/>
              </a:ext>
            </a:extLst>
          </p:cNvPr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8249119" y="4112412"/>
            <a:ext cx="768096" cy="768096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144" name="Text Placeholder 37">
            <a:extLst>
              <a:ext uri="{FF2B5EF4-FFF2-40B4-BE49-F238E27FC236}">
                <a16:creationId xmlns:a16="http://schemas.microsoft.com/office/drawing/2014/main" id="{59AF7998-B0E5-06F3-A8BA-A17DB3F8A7F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8249119" y="5266876"/>
            <a:ext cx="3337560" cy="649224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49">
            <a:extLst>
              <a:ext uri="{FF2B5EF4-FFF2-40B4-BE49-F238E27FC236}">
                <a16:creationId xmlns:a16="http://schemas.microsoft.com/office/drawing/2014/main" id="{AD882E8D-86CF-78F5-CFB2-2C2A909487A0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236555" y="136647"/>
            <a:ext cx="1345845" cy="15388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5F677CC-96DB-441D-A14D-E6AC55F48714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CFD098C1-330C-AFAE-FA3D-112B70BA725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sp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4FCD77E7-40BA-46DE-2B5C-42D596278B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C933E16-9A69-6F57-B99A-CDFA86546F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12857EE3-1A8E-26A6-2E7D-216BF994943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508352" y="1999692"/>
            <a:ext cx="2258568" cy="2769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8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4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AE9ABF98-E432-CF37-C130-5B701B67AA9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328111" y="1999692"/>
            <a:ext cx="2258568" cy="2769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8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4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EBE4D164-8760-6682-DBED-856A9C8586A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666368" y="4248376"/>
            <a:ext cx="2258568" cy="2769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8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4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17" name="Text Placeholder 35">
            <a:extLst>
              <a:ext uri="{FF2B5EF4-FFF2-40B4-BE49-F238E27FC236}">
                <a16:creationId xmlns:a16="http://schemas.microsoft.com/office/drawing/2014/main" id="{A22D8366-7D6F-6124-A789-D967335764C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508352" y="4248376"/>
            <a:ext cx="2258568" cy="2769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8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4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19" name="Text Placeholder 35">
            <a:extLst>
              <a:ext uri="{FF2B5EF4-FFF2-40B4-BE49-F238E27FC236}">
                <a16:creationId xmlns:a16="http://schemas.microsoft.com/office/drawing/2014/main" id="{9A7B8620-5D0F-B93D-347D-F9FA577E85D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323832" y="4248376"/>
            <a:ext cx="2258568" cy="276999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8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400"/>
            </a:lvl2pPr>
          </a:lstStyle>
          <a:p>
            <a:pPr lvl="0"/>
            <a:r>
              <a:rPr lang="en-US"/>
              <a:t>Name, Last Nam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0C70E4-0DB3-B925-043D-FF0992B5295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508625" y="2276475"/>
            <a:ext cx="2259013" cy="219456"/>
          </a:xfrm>
        </p:spPr>
        <p:txBody>
          <a:bodyPr anchor="t"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FCE4D44-D986-984D-7105-AE704E89122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666368" y="2276475"/>
            <a:ext cx="2259013" cy="219456"/>
          </a:xfrm>
        </p:spPr>
        <p:txBody>
          <a:bodyPr anchor="t"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7D7F42DC-8362-83F9-2DF8-863C89D9102B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327666" y="2276475"/>
            <a:ext cx="2259013" cy="219456"/>
          </a:xfrm>
        </p:spPr>
        <p:txBody>
          <a:bodyPr anchor="t"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40132AE-91BF-5CCD-3601-9C0D1DEA30B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5508625" y="4526850"/>
            <a:ext cx="2259013" cy="219456"/>
          </a:xfrm>
        </p:spPr>
        <p:txBody>
          <a:bodyPr anchor="t"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DD10FF7-3E05-9472-485D-A039372EE4DD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9323832" y="4526850"/>
            <a:ext cx="2259013" cy="219456"/>
          </a:xfrm>
        </p:spPr>
        <p:txBody>
          <a:bodyPr anchor="t"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FB022C9F-C583-A483-CD36-A8DB7561F9A2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666368" y="4526850"/>
            <a:ext cx="2259013" cy="219456"/>
          </a:xfrm>
        </p:spPr>
        <p:txBody>
          <a:bodyPr anchor="t"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Title/Position</a:t>
            </a:r>
          </a:p>
        </p:txBody>
      </p:sp>
    </p:spTree>
    <p:extLst>
      <p:ext uri="{BB962C8B-B14F-4D97-AF65-F5344CB8AC3E}">
        <p14:creationId xmlns:p14="http://schemas.microsoft.com/office/powerpoint/2010/main" val="214840970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- 8 Members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Picture Placeholder 17">
            <a:extLst>
              <a:ext uri="{FF2B5EF4-FFF2-40B4-BE49-F238E27FC236}">
                <a16:creationId xmlns:a16="http://schemas.microsoft.com/office/drawing/2014/main" id="{A6808325-F953-D3D6-B006-441B38CF8EEE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608243" y="1863727"/>
            <a:ext cx="768096" cy="768096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E772DD-7002-F2A1-C348-A0C46F31C7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FED28113-7C82-17C7-BA44-13930C3558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1" name="Text Placeholder 37">
            <a:extLst>
              <a:ext uri="{FF2B5EF4-FFF2-40B4-BE49-F238E27FC236}">
                <a16:creationId xmlns:a16="http://schemas.microsoft.com/office/drawing/2014/main" id="{884BC13A-5EAB-B07C-AD46-80083B8D2EF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1" y="3016191"/>
            <a:ext cx="2468880" cy="740664"/>
          </a:xfrm>
        </p:spPr>
        <p:txBody>
          <a:bodyPr>
            <a:noAutofit/>
          </a:bodyPr>
          <a:lstStyle>
            <a:lvl1pPr>
              <a:defRPr sz="12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Picture Placeholder 17">
            <a:extLst>
              <a:ext uri="{FF2B5EF4-FFF2-40B4-BE49-F238E27FC236}">
                <a16:creationId xmlns:a16="http://schemas.microsoft.com/office/drawing/2014/main" id="{F3898552-3A28-9276-B1B2-300B2D000858}"/>
              </a:ext>
            </a:extLst>
          </p:cNvPr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3441283" y="1870872"/>
            <a:ext cx="768096" cy="768096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67" name="Text Placeholder 37">
            <a:extLst>
              <a:ext uri="{FF2B5EF4-FFF2-40B4-BE49-F238E27FC236}">
                <a16:creationId xmlns:a16="http://schemas.microsoft.com/office/drawing/2014/main" id="{C27B05CE-BFA3-0CCE-302D-4232E19962A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445221" y="3016191"/>
            <a:ext cx="2468880" cy="740664"/>
          </a:xfrm>
        </p:spPr>
        <p:txBody>
          <a:bodyPr>
            <a:noAutofit/>
          </a:bodyPr>
          <a:lstStyle>
            <a:lvl1pPr>
              <a:defRPr sz="12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Picture Placeholder 17">
            <a:extLst>
              <a:ext uri="{FF2B5EF4-FFF2-40B4-BE49-F238E27FC236}">
                <a16:creationId xmlns:a16="http://schemas.microsoft.com/office/drawing/2014/main" id="{E4672307-788D-1DDD-3D4E-4D23409D7217}"/>
              </a:ext>
            </a:extLst>
          </p:cNvPr>
          <p:cNvSpPr>
            <a:spLocks noGrp="1" noChangeAspect="1"/>
          </p:cNvSpPr>
          <p:nvPr>
            <p:ph type="pic" sz="quarter" idx="32" hasCustomPrompt="1"/>
          </p:nvPr>
        </p:nvSpPr>
        <p:spPr>
          <a:xfrm>
            <a:off x="6274323" y="1863727"/>
            <a:ext cx="768096" cy="768096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73" name="Text Placeholder 37">
            <a:extLst>
              <a:ext uri="{FF2B5EF4-FFF2-40B4-BE49-F238E27FC236}">
                <a16:creationId xmlns:a16="http://schemas.microsoft.com/office/drawing/2014/main" id="{0E6DF668-EA51-C05E-4712-15DD3AEAA49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278127" y="3016191"/>
            <a:ext cx="2468880" cy="740664"/>
          </a:xfrm>
        </p:spPr>
        <p:txBody>
          <a:bodyPr>
            <a:noAutofit/>
          </a:bodyPr>
          <a:lstStyle>
            <a:lvl1pPr>
              <a:defRPr sz="12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2" name="Picture Placeholder 17">
            <a:extLst>
              <a:ext uri="{FF2B5EF4-FFF2-40B4-BE49-F238E27FC236}">
                <a16:creationId xmlns:a16="http://schemas.microsoft.com/office/drawing/2014/main" id="{84226C9B-295D-1EFE-2728-F8D6EFAD0A44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9111031" y="1870872"/>
            <a:ext cx="768096" cy="768096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94" name="Text Placeholder 37">
            <a:extLst>
              <a:ext uri="{FF2B5EF4-FFF2-40B4-BE49-F238E27FC236}">
                <a16:creationId xmlns:a16="http://schemas.microsoft.com/office/drawing/2014/main" id="{486E55A6-26AA-A3DF-84FE-8D113C5AB90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112389" y="3016191"/>
            <a:ext cx="2468880" cy="740664"/>
          </a:xfrm>
        </p:spPr>
        <p:txBody>
          <a:bodyPr>
            <a:noAutofit/>
          </a:bodyPr>
          <a:lstStyle>
            <a:lvl1pPr>
              <a:defRPr sz="12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1" name="Picture Placeholder 17">
            <a:extLst>
              <a:ext uri="{FF2B5EF4-FFF2-40B4-BE49-F238E27FC236}">
                <a16:creationId xmlns:a16="http://schemas.microsoft.com/office/drawing/2014/main" id="{0CA6C3D4-A3F4-EDAB-6F67-3BFABE4DD119}"/>
              </a:ext>
            </a:extLst>
          </p:cNvPr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608243" y="4017930"/>
            <a:ext cx="768096" cy="768096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103" name="Text Placeholder 37">
            <a:extLst>
              <a:ext uri="{FF2B5EF4-FFF2-40B4-BE49-F238E27FC236}">
                <a16:creationId xmlns:a16="http://schemas.microsoft.com/office/drawing/2014/main" id="{E9A9A3AE-754D-6F58-CDA0-3FA9EDD0160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09601" y="5164836"/>
            <a:ext cx="2468880" cy="740664"/>
          </a:xfrm>
        </p:spPr>
        <p:txBody>
          <a:bodyPr>
            <a:noAutofit/>
          </a:bodyPr>
          <a:lstStyle>
            <a:lvl1pPr>
              <a:defRPr sz="12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7" name="Picture Placeholder 17">
            <a:extLst>
              <a:ext uri="{FF2B5EF4-FFF2-40B4-BE49-F238E27FC236}">
                <a16:creationId xmlns:a16="http://schemas.microsoft.com/office/drawing/2014/main" id="{F4C4141A-B4E7-EA6D-428C-470130F5E769}"/>
              </a:ext>
            </a:extLst>
          </p:cNvPr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3441283" y="4017930"/>
            <a:ext cx="768096" cy="768096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109" name="Text Placeholder 37">
            <a:extLst>
              <a:ext uri="{FF2B5EF4-FFF2-40B4-BE49-F238E27FC236}">
                <a16:creationId xmlns:a16="http://schemas.microsoft.com/office/drawing/2014/main" id="{B9901CFF-8604-823F-B592-51A701B39CD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445221" y="5164836"/>
            <a:ext cx="2468880" cy="740664"/>
          </a:xfrm>
        </p:spPr>
        <p:txBody>
          <a:bodyPr>
            <a:noAutofit/>
          </a:bodyPr>
          <a:lstStyle>
            <a:lvl1pPr>
              <a:defRPr sz="12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3" name="Picture Placeholder 17">
            <a:extLst>
              <a:ext uri="{FF2B5EF4-FFF2-40B4-BE49-F238E27FC236}">
                <a16:creationId xmlns:a16="http://schemas.microsoft.com/office/drawing/2014/main" id="{86A0951C-5B41-D0C0-3F70-0EE1792F1784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6274323" y="4017930"/>
            <a:ext cx="768096" cy="768096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115" name="Text Placeholder 37">
            <a:extLst>
              <a:ext uri="{FF2B5EF4-FFF2-40B4-BE49-F238E27FC236}">
                <a16:creationId xmlns:a16="http://schemas.microsoft.com/office/drawing/2014/main" id="{4458F044-7215-58F3-4E7C-9A5F6EBB075C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6278127" y="5164836"/>
            <a:ext cx="2468880" cy="740664"/>
          </a:xfrm>
        </p:spPr>
        <p:txBody>
          <a:bodyPr>
            <a:noAutofit/>
          </a:bodyPr>
          <a:lstStyle>
            <a:lvl1pPr>
              <a:defRPr sz="12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9" name="Picture Placeholder 17">
            <a:extLst>
              <a:ext uri="{FF2B5EF4-FFF2-40B4-BE49-F238E27FC236}">
                <a16:creationId xmlns:a16="http://schemas.microsoft.com/office/drawing/2014/main" id="{2A6D5DF4-AE65-FD7E-FAF2-2D8B416A5C77}"/>
              </a:ext>
            </a:extLst>
          </p:cNvPr>
          <p:cNvSpPr>
            <a:spLocks noGrp="1" noChangeAspect="1"/>
          </p:cNvSpPr>
          <p:nvPr>
            <p:ph type="pic" sz="quarter" idx="47" hasCustomPrompt="1"/>
          </p:nvPr>
        </p:nvSpPr>
        <p:spPr>
          <a:xfrm>
            <a:off x="9111031" y="4017931"/>
            <a:ext cx="768096" cy="768096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121" name="Text Placeholder 37">
            <a:extLst>
              <a:ext uri="{FF2B5EF4-FFF2-40B4-BE49-F238E27FC236}">
                <a16:creationId xmlns:a16="http://schemas.microsoft.com/office/drawing/2014/main" id="{4F66CE7F-817C-CB08-DE9C-0CF140EC583B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112389" y="5164836"/>
            <a:ext cx="2468880" cy="740664"/>
          </a:xfrm>
        </p:spPr>
        <p:txBody>
          <a:bodyPr>
            <a:noAutofit/>
          </a:bodyPr>
          <a:lstStyle>
            <a:lvl1pPr>
              <a:defRPr sz="12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49">
            <a:extLst>
              <a:ext uri="{FF2B5EF4-FFF2-40B4-BE49-F238E27FC236}">
                <a16:creationId xmlns:a16="http://schemas.microsoft.com/office/drawing/2014/main" id="{E036F814-8460-0516-6471-21CEF37F23AA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844AF8A9-1A98-4506-8DE7-08BE63BF7320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3571DCB-691D-2E98-03B7-27439597A70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7DB57542-777D-DE54-4113-940D7E3AF3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D13B8B4A-1921-8AA2-C8C5-D940D7E01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35">
            <a:extLst>
              <a:ext uri="{FF2B5EF4-FFF2-40B4-BE49-F238E27FC236}">
                <a16:creationId xmlns:a16="http://schemas.microsoft.com/office/drawing/2014/main" id="{7ECA782E-6E58-3164-E695-4F0D3D9662D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589141" y="1958079"/>
            <a:ext cx="1489339" cy="444674"/>
          </a:xfrm>
        </p:spPr>
        <p:txBody>
          <a:bodyPr wrap="square" anchor="b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16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400"/>
            </a:lvl2pPr>
          </a:lstStyle>
          <a:p>
            <a:pPr lvl="0"/>
            <a:r>
              <a:rPr lang="en-US"/>
              <a:t>Name, </a:t>
            </a:r>
            <a:br>
              <a:rPr lang="en-US"/>
            </a:br>
            <a:r>
              <a:rPr lang="en-US"/>
              <a:t>Last Name</a:t>
            </a:r>
          </a:p>
        </p:txBody>
      </p:sp>
      <p:sp>
        <p:nvSpPr>
          <p:cNvPr id="19" name="Text Placeholder 35">
            <a:extLst>
              <a:ext uri="{FF2B5EF4-FFF2-40B4-BE49-F238E27FC236}">
                <a16:creationId xmlns:a16="http://schemas.microsoft.com/office/drawing/2014/main" id="{46CD7EEA-1286-4021-E3BA-D5488DD97C4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424363" y="1958079"/>
            <a:ext cx="1489339" cy="444674"/>
          </a:xfrm>
        </p:spPr>
        <p:txBody>
          <a:bodyPr wrap="square" anchor="b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16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400"/>
            </a:lvl2pPr>
          </a:lstStyle>
          <a:p>
            <a:pPr lvl="0"/>
            <a:r>
              <a:rPr lang="en-US"/>
              <a:t>Name, </a:t>
            </a:r>
            <a:br>
              <a:rPr lang="en-US"/>
            </a:br>
            <a:r>
              <a:rPr lang="en-US"/>
              <a:t>Last Name</a:t>
            </a:r>
          </a:p>
        </p:txBody>
      </p:sp>
      <p:sp>
        <p:nvSpPr>
          <p:cNvPr id="21" name="Text Placeholder 35">
            <a:extLst>
              <a:ext uri="{FF2B5EF4-FFF2-40B4-BE49-F238E27FC236}">
                <a16:creationId xmlns:a16="http://schemas.microsoft.com/office/drawing/2014/main" id="{EB775BD5-95D1-3684-FEDB-958E3E1DBBA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257667" y="1958079"/>
            <a:ext cx="1489339" cy="444674"/>
          </a:xfrm>
        </p:spPr>
        <p:txBody>
          <a:bodyPr wrap="square" anchor="b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16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400"/>
            </a:lvl2pPr>
          </a:lstStyle>
          <a:p>
            <a:pPr lvl="0"/>
            <a:r>
              <a:rPr lang="en-US"/>
              <a:t>Name, </a:t>
            </a:r>
            <a:br>
              <a:rPr lang="en-US"/>
            </a:br>
            <a:r>
              <a:rPr lang="en-US"/>
              <a:t>Last Name</a:t>
            </a:r>
          </a:p>
        </p:txBody>
      </p:sp>
      <p:sp>
        <p:nvSpPr>
          <p:cNvPr id="23" name="Text Placeholder 35">
            <a:extLst>
              <a:ext uri="{FF2B5EF4-FFF2-40B4-BE49-F238E27FC236}">
                <a16:creationId xmlns:a16="http://schemas.microsoft.com/office/drawing/2014/main" id="{01748B9B-0F0F-48D3-EFEC-6AB701ED4F3B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093061" y="1958079"/>
            <a:ext cx="1489339" cy="444674"/>
          </a:xfrm>
        </p:spPr>
        <p:txBody>
          <a:bodyPr wrap="square" anchor="b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16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400"/>
            </a:lvl2pPr>
          </a:lstStyle>
          <a:p>
            <a:pPr lvl="0"/>
            <a:r>
              <a:rPr lang="en-US"/>
              <a:t>Name, </a:t>
            </a:r>
            <a:br>
              <a:rPr lang="en-US"/>
            </a:br>
            <a:r>
              <a:rPr lang="en-US"/>
              <a:t>Last Name</a:t>
            </a:r>
          </a:p>
        </p:txBody>
      </p:sp>
      <p:sp>
        <p:nvSpPr>
          <p:cNvPr id="25" name="Text Placeholder 35">
            <a:extLst>
              <a:ext uri="{FF2B5EF4-FFF2-40B4-BE49-F238E27FC236}">
                <a16:creationId xmlns:a16="http://schemas.microsoft.com/office/drawing/2014/main" id="{1A4CD9BC-0A62-47BA-63EA-D598B4D49DE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589141" y="4081730"/>
            <a:ext cx="1489339" cy="444674"/>
          </a:xfrm>
        </p:spPr>
        <p:txBody>
          <a:bodyPr wrap="square" anchor="b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16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400"/>
            </a:lvl2pPr>
          </a:lstStyle>
          <a:p>
            <a:pPr lvl="0"/>
            <a:r>
              <a:rPr lang="en-US"/>
              <a:t>Name, </a:t>
            </a:r>
            <a:br>
              <a:rPr lang="en-US"/>
            </a:br>
            <a:r>
              <a:rPr lang="en-US"/>
              <a:t>Last Name</a:t>
            </a:r>
          </a:p>
        </p:txBody>
      </p:sp>
      <p:sp>
        <p:nvSpPr>
          <p:cNvPr id="27" name="Text Placeholder 35">
            <a:extLst>
              <a:ext uri="{FF2B5EF4-FFF2-40B4-BE49-F238E27FC236}">
                <a16:creationId xmlns:a16="http://schemas.microsoft.com/office/drawing/2014/main" id="{6FEE9610-6239-4FE5-DE2C-067280B1385D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424761" y="4081730"/>
            <a:ext cx="1489339" cy="444674"/>
          </a:xfrm>
        </p:spPr>
        <p:txBody>
          <a:bodyPr wrap="square" anchor="b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16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400"/>
            </a:lvl2pPr>
          </a:lstStyle>
          <a:p>
            <a:pPr lvl="0"/>
            <a:r>
              <a:rPr lang="en-US"/>
              <a:t>Name, </a:t>
            </a:r>
            <a:br>
              <a:rPr lang="en-US"/>
            </a:br>
            <a:r>
              <a:rPr lang="en-US"/>
              <a:t>Last Name</a:t>
            </a:r>
          </a:p>
        </p:txBody>
      </p:sp>
      <p:sp>
        <p:nvSpPr>
          <p:cNvPr id="29" name="Text Placeholder 35">
            <a:extLst>
              <a:ext uri="{FF2B5EF4-FFF2-40B4-BE49-F238E27FC236}">
                <a16:creationId xmlns:a16="http://schemas.microsoft.com/office/drawing/2014/main" id="{4F885BB1-B714-CD77-8E6F-D9F18879B87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7257667" y="4081730"/>
            <a:ext cx="1489339" cy="444674"/>
          </a:xfrm>
        </p:spPr>
        <p:txBody>
          <a:bodyPr wrap="square" anchor="b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16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400"/>
            </a:lvl2pPr>
          </a:lstStyle>
          <a:p>
            <a:pPr lvl="0"/>
            <a:r>
              <a:rPr lang="en-US"/>
              <a:t>Name, </a:t>
            </a:r>
            <a:br>
              <a:rPr lang="en-US"/>
            </a:br>
            <a:r>
              <a:rPr lang="en-US"/>
              <a:t>Last Name</a:t>
            </a:r>
          </a:p>
        </p:txBody>
      </p:sp>
      <p:sp>
        <p:nvSpPr>
          <p:cNvPr id="31" name="Text Placeholder 35">
            <a:extLst>
              <a:ext uri="{FF2B5EF4-FFF2-40B4-BE49-F238E27FC236}">
                <a16:creationId xmlns:a16="http://schemas.microsoft.com/office/drawing/2014/main" id="{C25AF511-F056-D130-A181-0921FD8412AE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0091929" y="4081730"/>
            <a:ext cx="1489339" cy="444674"/>
          </a:xfrm>
        </p:spPr>
        <p:txBody>
          <a:bodyPr wrap="square" anchor="b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16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400"/>
            </a:lvl2pPr>
          </a:lstStyle>
          <a:p>
            <a:pPr lvl="0"/>
            <a:r>
              <a:rPr lang="en-US"/>
              <a:t>Name, </a:t>
            </a:r>
            <a:br>
              <a:rPr lang="en-US"/>
            </a:br>
            <a:r>
              <a:rPr lang="en-US"/>
              <a:t>Last Nam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E236A97F-6227-1285-13E5-B562717B919E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24363" y="2408210"/>
            <a:ext cx="1489075" cy="182880"/>
          </a:xfrm>
        </p:spPr>
        <p:txBody>
          <a:bodyPr/>
          <a:lstStyle>
            <a:lvl1pPr>
              <a:defRPr sz="1200"/>
            </a:lvl1pPr>
            <a:lvl5pPr>
              <a:defRPr/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25FFC300-B300-AE9C-9A35-721F8EFF9C35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1589141" y="2408210"/>
            <a:ext cx="1489075" cy="182880"/>
          </a:xfrm>
        </p:spPr>
        <p:txBody>
          <a:bodyPr/>
          <a:lstStyle>
            <a:lvl1pPr>
              <a:defRPr sz="1200"/>
            </a:lvl1pPr>
            <a:lvl5pPr>
              <a:defRPr/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24D20157-C335-0214-6B38-5139D43A530E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7257931" y="2408210"/>
            <a:ext cx="1489075" cy="182880"/>
          </a:xfrm>
        </p:spPr>
        <p:txBody>
          <a:bodyPr/>
          <a:lstStyle>
            <a:lvl1pPr>
              <a:defRPr sz="1200"/>
            </a:lvl1pPr>
            <a:lvl5pPr>
              <a:defRPr/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38" name="Text Placeholder 34">
            <a:extLst>
              <a:ext uri="{FF2B5EF4-FFF2-40B4-BE49-F238E27FC236}">
                <a16:creationId xmlns:a16="http://schemas.microsoft.com/office/drawing/2014/main" id="{EE6BDADF-6B4D-DAD9-59FB-6F7777BF9345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10092193" y="2408210"/>
            <a:ext cx="1489075" cy="182880"/>
          </a:xfrm>
        </p:spPr>
        <p:txBody>
          <a:bodyPr/>
          <a:lstStyle>
            <a:lvl1pPr>
              <a:defRPr sz="1200"/>
            </a:lvl1pPr>
            <a:lvl5pPr>
              <a:defRPr/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A90FB390-6352-B76E-9584-6FAA43F3BE80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424363" y="4531861"/>
            <a:ext cx="1489075" cy="182880"/>
          </a:xfrm>
        </p:spPr>
        <p:txBody>
          <a:bodyPr/>
          <a:lstStyle>
            <a:lvl1pPr>
              <a:defRPr sz="1200"/>
            </a:lvl1pPr>
            <a:lvl5pPr>
              <a:defRPr/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40" name="Text Placeholder 34">
            <a:extLst>
              <a:ext uri="{FF2B5EF4-FFF2-40B4-BE49-F238E27FC236}">
                <a16:creationId xmlns:a16="http://schemas.microsoft.com/office/drawing/2014/main" id="{8FE54586-0FF1-181A-CED2-DA8BD5029A2B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7257931" y="4531861"/>
            <a:ext cx="1489075" cy="182880"/>
          </a:xfrm>
        </p:spPr>
        <p:txBody>
          <a:bodyPr/>
          <a:lstStyle>
            <a:lvl1pPr>
              <a:defRPr sz="1200"/>
            </a:lvl1pPr>
            <a:lvl5pPr>
              <a:defRPr/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41" name="Text Placeholder 34">
            <a:extLst>
              <a:ext uri="{FF2B5EF4-FFF2-40B4-BE49-F238E27FC236}">
                <a16:creationId xmlns:a16="http://schemas.microsoft.com/office/drawing/2014/main" id="{B31094E1-C0CA-F5B0-3843-DAF847159934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10092193" y="4531861"/>
            <a:ext cx="1489075" cy="182880"/>
          </a:xfrm>
        </p:spPr>
        <p:txBody>
          <a:bodyPr/>
          <a:lstStyle>
            <a:lvl1pPr>
              <a:defRPr sz="1200"/>
            </a:lvl1pPr>
            <a:lvl5pPr>
              <a:defRPr/>
            </a:lvl5pPr>
          </a:lstStyle>
          <a:p>
            <a:pPr lvl="0"/>
            <a:r>
              <a:rPr lang="en-US"/>
              <a:t>Title/Position</a:t>
            </a:r>
          </a:p>
        </p:txBody>
      </p:sp>
      <p:sp>
        <p:nvSpPr>
          <p:cNvPr id="42" name="Text Placeholder 34">
            <a:extLst>
              <a:ext uri="{FF2B5EF4-FFF2-40B4-BE49-F238E27FC236}">
                <a16:creationId xmlns:a16="http://schemas.microsoft.com/office/drawing/2014/main" id="{7C3E3D7F-0F82-3FE9-DF1F-3F6F1C63178A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1589141" y="4531861"/>
            <a:ext cx="1489075" cy="182880"/>
          </a:xfrm>
        </p:spPr>
        <p:txBody>
          <a:bodyPr/>
          <a:lstStyle>
            <a:lvl1pPr>
              <a:defRPr sz="1200"/>
            </a:lvl1pPr>
            <a:lvl5pPr>
              <a:defRPr/>
            </a:lvl5pPr>
          </a:lstStyle>
          <a:p>
            <a:pPr lvl="0"/>
            <a:r>
              <a:rPr lang="en-US"/>
              <a:t>Title/Position</a:t>
            </a:r>
          </a:p>
        </p:txBody>
      </p:sp>
    </p:spTree>
    <p:extLst>
      <p:ext uri="{BB962C8B-B14F-4D97-AF65-F5344CB8AC3E}">
        <p14:creationId xmlns:p14="http://schemas.microsoft.com/office/powerpoint/2010/main" val="149279038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E6CDED-3690-C823-89B5-50C27CBFD3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8FE771C-AF3B-746F-8A25-2C5C4A4812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CED7064-E79D-96CC-BCD5-91C093F5AB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B8360DF4-7B74-45B1-DF30-A89B8E1303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38015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644F2F-8058-0037-6983-DD53BBDAE6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12" name="Date Placeholder 12">
            <a:extLst>
              <a:ext uri="{FF2B5EF4-FFF2-40B4-BE49-F238E27FC236}">
                <a16:creationId xmlns:a16="http://schemas.microsoft.com/office/drawing/2014/main" id="{9343F3EF-079D-EB6A-A42B-37599862F4A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86464B3D-EA1B-42ED-A932-DBB8DB286B58}" type="datetime4">
              <a:rPr lang="en-US" smtClean="0"/>
              <a:t>October 23, 2025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DB05CD1-4CCC-4FEB-DD04-DF2D61F0BD95}"/>
              </a:ext>
            </a:extLst>
          </p:cNvPr>
          <p:cNvGrpSpPr/>
          <p:nvPr userDrawn="1"/>
        </p:nvGrpSpPr>
        <p:grpSpPr>
          <a:xfrm>
            <a:off x="4686300" y="1713329"/>
            <a:ext cx="3120511" cy="567755"/>
            <a:chOff x="4686300" y="1713329"/>
            <a:chExt cx="3120511" cy="567755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D5F7246-50E3-64DF-B9D8-58E257BCA8DF}"/>
                </a:ext>
              </a:extLst>
            </p:cNvPr>
            <p:cNvSpPr/>
            <p:nvPr/>
          </p:nvSpPr>
          <p:spPr>
            <a:xfrm>
              <a:off x="4686300" y="1713329"/>
              <a:ext cx="3120511" cy="567755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0080" rtlCol="0" anchor="ctr"/>
            <a:lstStyle/>
            <a:p>
              <a:endParaRPr lang="en-US" sz="1200" b="1">
                <a:solidFill>
                  <a:schemeClr val="tx2"/>
                </a:solidFill>
                <a:latin typeface="+mj-lt"/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57E58353-3B6A-EAB0-24D4-8BC570418A38}"/>
                </a:ext>
              </a:extLst>
            </p:cNvPr>
            <p:cNvCxnSpPr>
              <a:cxnSpLocks/>
            </p:cNvCxnSpPr>
            <p:nvPr/>
          </p:nvCxnSpPr>
          <p:spPr>
            <a:xfrm>
              <a:off x="5328057" y="2281084"/>
              <a:ext cx="602431" cy="0"/>
            </a:xfrm>
            <a:prstGeom prst="line">
              <a:avLst/>
            </a:prstGeom>
            <a:ln w="508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B9C1735-EA75-8592-225D-ECD548932D88}"/>
              </a:ext>
            </a:extLst>
          </p:cNvPr>
          <p:cNvGrpSpPr/>
          <p:nvPr userDrawn="1"/>
        </p:nvGrpSpPr>
        <p:grpSpPr>
          <a:xfrm>
            <a:off x="8461888" y="2921468"/>
            <a:ext cx="3120511" cy="567755"/>
            <a:chOff x="8461888" y="2921468"/>
            <a:chExt cx="3120511" cy="567755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45981C0-31B7-556D-4E32-3B2DAAD60612}"/>
                </a:ext>
              </a:extLst>
            </p:cNvPr>
            <p:cNvSpPr/>
            <p:nvPr/>
          </p:nvSpPr>
          <p:spPr>
            <a:xfrm>
              <a:off x="8461888" y="2921468"/>
              <a:ext cx="3120511" cy="567755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0080" rtlCol="0" anchor="ctr"/>
            <a:lstStyle/>
            <a:p>
              <a:r>
                <a:rPr lang="en-US" sz="1600">
                  <a:solidFill>
                    <a:schemeClr val="tx2"/>
                  </a:solidFill>
                </a:rPr>
                <a:t>First, Last</a:t>
              </a:r>
            </a:p>
            <a:p>
              <a:r>
                <a:rPr lang="en-US" sz="1200">
                  <a:solidFill>
                    <a:schemeClr val="tx2"/>
                  </a:solidFill>
                </a:rPr>
                <a:t>Title</a:t>
              </a: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8E700BAA-9251-4230-7810-75414315594E}"/>
                </a:ext>
              </a:extLst>
            </p:cNvPr>
            <p:cNvCxnSpPr>
              <a:cxnSpLocks/>
            </p:cNvCxnSpPr>
            <p:nvPr/>
          </p:nvCxnSpPr>
          <p:spPr>
            <a:xfrm>
              <a:off x="9103644" y="3489223"/>
              <a:ext cx="602431" cy="0"/>
            </a:xfrm>
            <a:prstGeom prst="line">
              <a:avLst/>
            </a:prstGeom>
            <a:ln w="508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65ACF25-7131-4E32-0775-6166EBB274AE}"/>
              </a:ext>
            </a:extLst>
          </p:cNvPr>
          <p:cNvGrpSpPr/>
          <p:nvPr userDrawn="1"/>
        </p:nvGrpSpPr>
        <p:grpSpPr>
          <a:xfrm>
            <a:off x="4686302" y="4129607"/>
            <a:ext cx="3120512" cy="567755"/>
            <a:chOff x="4686302" y="4129607"/>
            <a:chExt cx="3120512" cy="567755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4B26E197-82A8-6744-B447-A08395B394DE}"/>
                </a:ext>
              </a:extLst>
            </p:cNvPr>
            <p:cNvSpPr/>
            <p:nvPr/>
          </p:nvSpPr>
          <p:spPr>
            <a:xfrm>
              <a:off x="4686302" y="4129607"/>
              <a:ext cx="3120512" cy="567755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0080" rtlCol="0" anchor="ctr"/>
            <a:lstStyle/>
            <a:p>
              <a:endParaRPr lang="en-US" sz="1200">
                <a:solidFill>
                  <a:schemeClr val="tx2"/>
                </a:solidFill>
              </a:endParaRPr>
            </a:p>
          </p:txBody>
        </p: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6AAFF47-D7D4-197B-93A1-7A5E1F06DEDE}"/>
                </a:ext>
              </a:extLst>
            </p:cNvPr>
            <p:cNvCxnSpPr>
              <a:cxnSpLocks/>
            </p:cNvCxnSpPr>
            <p:nvPr/>
          </p:nvCxnSpPr>
          <p:spPr>
            <a:xfrm>
              <a:off x="5328059" y="4697362"/>
              <a:ext cx="602431" cy="0"/>
            </a:xfrm>
            <a:prstGeom prst="line">
              <a:avLst/>
            </a:prstGeom>
            <a:solidFill>
              <a:schemeClr val="bg2"/>
            </a:solidFill>
            <a:ln w="508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4F6F87E1-ED35-40B0-AFCC-23E19B1FD056}"/>
              </a:ext>
            </a:extLst>
          </p:cNvPr>
          <p:cNvGrpSpPr/>
          <p:nvPr userDrawn="1"/>
        </p:nvGrpSpPr>
        <p:grpSpPr>
          <a:xfrm>
            <a:off x="8461889" y="4129607"/>
            <a:ext cx="3120512" cy="567755"/>
            <a:chOff x="8461889" y="4129607"/>
            <a:chExt cx="3120512" cy="56775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6AE6C5A-F717-B7AD-D70C-B2BE525001B9}"/>
                </a:ext>
              </a:extLst>
            </p:cNvPr>
            <p:cNvSpPr/>
            <p:nvPr/>
          </p:nvSpPr>
          <p:spPr>
            <a:xfrm>
              <a:off x="8461889" y="4129607"/>
              <a:ext cx="3120512" cy="567755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0080" rtlCol="0" anchor="ctr"/>
            <a:lstStyle/>
            <a:p>
              <a:endParaRPr lang="en-US" sz="1200">
                <a:solidFill>
                  <a:schemeClr val="tx2"/>
                </a:solidFill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8D89A840-CA99-3707-E49A-509D4D7596B5}"/>
                </a:ext>
              </a:extLst>
            </p:cNvPr>
            <p:cNvCxnSpPr>
              <a:cxnSpLocks/>
            </p:cNvCxnSpPr>
            <p:nvPr/>
          </p:nvCxnSpPr>
          <p:spPr>
            <a:xfrm>
              <a:off x="9103646" y="4697362"/>
              <a:ext cx="602431" cy="0"/>
            </a:xfrm>
            <a:prstGeom prst="line">
              <a:avLst/>
            </a:prstGeom>
            <a:solidFill>
              <a:schemeClr val="bg2"/>
            </a:solidFill>
            <a:ln w="508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6B26946F-6840-5A59-F60C-19F988490DC8}"/>
              </a:ext>
            </a:extLst>
          </p:cNvPr>
          <p:cNvGrpSpPr/>
          <p:nvPr userDrawn="1"/>
        </p:nvGrpSpPr>
        <p:grpSpPr>
          <a:xfrm>
            <a:off x="910715" y="4129607"/>
            <a:ext cx="3120512" cy="567755"/>
            <a:chOff x="910715" y="4129607"/>
            <a:chExt cx="3120512" cy="567755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7042A98-3581-B047-EB2B-E42CB8CBAFD4}"/>
                </a:ext>
              </a:extLst>
            </p:cNvPr>
            <p:cNvSpPr/>
            <p:nvPr/>
          </p:nvSpPr>
          <p:spPr>
            <a:xfrm>
              <a:off x="910715" y="4129607"/>
              <a:ext cx="3120512" cy="567755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0080" rtlCol="0" anchor="ctr"/>
            <a:lstStyle/>
            <a:p>
              <a:endParaRPr lang="en-US" sz="1200">
                <a:solidFill>
                  <a:schemeClr val="tx2"/>
                </a:solidFill>
              </a:endParaRP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9D65630B-07FE-4697-B2CF-05032F71B59C}"/>
                </a:ext>
              </a:extLst>
            </p:cNvPr>
            <p:cNvCxnSpPr>
              <a:cxnSpLocks/>
            </p:cNvCxnSpPr>
            <p:nvPr/>
          </p:nvCxnSpPr>
          <p:spPr>
            <a:xfrm>
              <a:off x="1552472" y="4697362"/>
              <a:ext cx="602431" cy="0"/>
            </a:xfrm>
            <a:prstGeom prst="line">
              <a:avLst/>
            </a:prstGeom>
            <a:solidFill>
              <a:schemeClr val="bg2"/>
            </a:solidFill>
            <a:ln w="508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E1EBB607-53EC-151B-C7F5-B576E2C3DBDE}"/>
              </a:ext>
            </a:extLst>
          </p:cNvPr>
          <p:cNvGrpSpPr/>
          <p:nvPr userDrawn="1"/>
        </p:nvGrpSpPr>
        <p:grpSpPr>
          <a:xfrm>
            <a:off x="4686302" y="5337745"/>
            <a:ext cx="3120512" cy="567755"/>
            <a:chOff x="4686302" y="5337745"/>
            <a:chExt cx="3120512" cy="567755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1D5E070D-8539-292C-BA26-58C88962DBA4}"/>
                </a:ext>
              </a:extLst>
            </p:cNvPr>
            <p:cNvSpPr/>
            <p:nvPr/>
          </p:nvSpPr>
          <p:spPr>
            <a:xfrm>
              <a:off x="4686302" y="5337745"/>
              <a:ext cx="3120512" cy="567755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0080" rtlCol="0" anchor="ctr"/>
            <a:lstStyle/>
            <a:p>
              <a:endParaRPr lang="en-US" sz="1200">
                <a:solidFill>
                  <a:schemeClr val="tx2"/>
                </a:solidFill>
              </a:endParaRPr>
            </a:p>
          </p:txBody>
        </p: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35A8CAFD-F4DA-52B3-5018-E8F8E4F6D18B}"/>
                </a:ext>
              </a:extLst>
            </p:cNvPr>
            <p:cNvCxnSpPr>
              <a:cxnSpLocks/>
            </p:cNvCxnSpPr>
            <p:nvPr/>
          </p:nvCxnSpPr>
          <p:spPr>
            <a:xfrm>
              <a:off x="5328058" y="5905500"/>
              <a:ext cx="602431" cy="0"/>
            </a:xfrm>
            <a:prstGeom prst="line">
              <a:avLst/>
            </a:prstGeom>
            <a:solidFill>
              <a:schemeClr val="bg2"/>
            </a:solidFill>
            <a:ln w="508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6D577176-A4ED-A77F-E360-1D73B530AA25}"/>
              </a:ext>
            </a:extLst>
          </p:cNvPr>
          <p:cNvGrpSpPr/>
          <p:nvPr userDrawn="1"/>
        </p:nvGrpSpPr>
        <p:grpSpPr>
          <a:xfrm>
            <a:off x="8461889" y="5337745"/>
            <a:ext cx="3120512" cy="567755"/>
            <a:chOff x="8461889" y="5337745"/>
            <a:chExt cx="3120512" cy="567755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9105BC11-C621-0FF5-5503-173C8AFA37DF}"/>
                </a:ext>
              </a:extLst>
            </p:cNvPr>
            <p:cNvSpPr/>
            <p:nvPr/>
          </p:nvSpPr>
          <p:spPr>
            <a:xfrm>
              <a:off x="8461889" y="5337745"/>
              <a:ext cx="3120512" cy="567755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0080" rtlCol="0" anchor="ctr"/>
            <a:lstStyle/>
            <a:p>
              <a:endParaRPr lang="en-US" sz="1200">
                <a:solidFill>
                  <a:schemeClr val="tx2"/>
                </a:solidFill>
              </a:endParaRPr>
            </a:p>
          </p:txBody>
        </p: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A5EE80AE-8B0C-DD10-ABB9-388E1D661B0A}"/>
                </a:ext>
              </a:extLst>
            </p:cNvPr>
            <p:cNvCxnSpPr>
              <a:cxnSpLocks/>
            </p:cNvCxnSpPr>
            <p:nvPr/>
          </p:nvCxnSpPr>
          <p:spPr>
            <a:xfrm>
              <a:off x="9103645" y="5905500"/>
              <a:ext cx="602431" cy="0"/>
            </a:xfrm>
            <a:prstGeom prst="line">
              <a:avLst/>
            </a:prstGeom>
            <a:solidFill>
              <a:schemeClr val="bg2"/>
            </a:solidFill>
            <a:ln w="508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5F4D42E5-D0D6-B3DC-CD23-A3207EAD1A92}"/>
              </a:ext>
            </a:extLst>
          </p:cNvPr>
          <p:cNvGrpSpPr/>
          <p:nvPr userDrawn="1"/>
        </p:nvGrpSpPr>
        <p:grpSpPr>
          <a:xfrm>
            <a:off x="910715" y="5337745"/>
            <a:ext cx="3120512" cy="567755"/>
            <a:chOff x="910715" y="5337745"/>
            <a:chExt cx="3120512" cy="567755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ED666DB-1575-9602-89B5-AC06D21D6193}"/>
                </a:ext>
              </a:extLst>
            </p:cNvPr>
            <p:cNvSpPr/>
            <p:nvPr/>
          </p:nvSpPr>
          <p:spPr>
            <a:xfrm>
              <a:off x="910715" y="5337745"/>
              <a:ext cx="3120512" cy="567755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0080" rtlCol="0" anchor="ctr"/>
            <a:lstStyle/>
            <a:p>
              <a:endParaRPr lang="en-US" sz="1200">
                <a:solidFill>
                  <a:schemeClr val="tx2"/>
                </a:solidFill>
              </a:endParaRPr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3A8644E7-FC5D-E6DE-802C-C1F83C228380}"/>
                </a:ext>
              </a:extLst>
            </p:cNvPr>
            <p:cNvCxnSpPr>
              <a:cxnSpLocks/>
            </p:cNvCxnSpPr>
            <p:nvPr/>
          </p:nvCxnSpPr>
          <p:spPr>
            <a:xfrm>
              <a:off x="1552471" y="5905500"/>
              <a:ext cx="602431" cy="0"/>
            </a:xfrm>
            <a:prstGeom prst="line">
              <a:avLst/>
            </a:prstGeom>
            <a:solidFill>
              <a:schemeClr val="bg2"/>
            </a:solidFill>
            <a:ln w="508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68915B4-826B-BE22-1085-630D605773D4}"/>
              </a:ext>
            </a:extLst>
          </p:cNvPr>
          <p:cNvGrpSpPr/>
          <p:nvPr userDrawn="1"/>
        </p:nvGrpSpPr>
        <p:grpSpPr>
          <a:xfrm>
            <a:off x="4686301" y="2921468"/>
            <a:ext cx="3120511" cy="567755"/>
            <a:chOff x="4686301" y="2921468"/>
            <a:chExt cx="3120511" cy="567755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47AD9448-5ED4-8375-B324-BB404F19624F}"/>
                </a:ext>
              </a:extLst>
            </p:cNvPr>
            <p:cNvSpPr/>
            <p:nvPr/>
          </p:nvSpPr>
          <p:spPr>
            <a:xfrm>
              <a:off x="4686301" y="2921468"/>
              <a:ext cx="3120511" cy="567755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0080" rtlCol="0" anchor="ctr"/>
            <a:lstStyle/>
            <a:p>
              <a:endParaRPr lang="en-US" sz="1200">
                <a:solidFill>
                  <a:schemeClr val="tx2"/>
                </a:solidFill>
              </a:endParaRPr>
            </a:p>
          </p:txBody>
        </p: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BF64A9D3-C868-212C-139B-CC1E91CC3DCE}"/>
                </a:ext>
              </a:extLst>
            </p:cNvPr>
            <p:cNvCxnSpPr>
              <a:cxnSpLocks/>
            </p:cNvCxnSpPr>
            <p:nvPr/>
          </p:nvCxnSpPr>
          <p:spPr>
            <a:xfrm>
              <a:off x="5328057" y="3489223"/>
              <a:ext cx="602431" cy="0"/>
            </a:xfrm>
            <a:prstGeom prst="line">
              <a:avLst/>
            </a:prstGeom>
            <a:ln w="508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ADB436BE-B2E6-CA84-E983-9D56B904115F}"/>
              </a:ext>
            </a:extLst>
          </p:cNvPr>
          <p:cNvGrpSpPr/>
          <p:nvPr userDrawn="1"/>
        </p:nvGrpSpPr>
        <p:grpSpPr>
          <a:xfrm>
            <a:off x="910714" y="2921468"/>
            <a:ext cx="3120511" cy="567755"/>
            <a:chOff x="910714" y="2921468"/>
            <a:chExt cx="3120511" cy="567755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1268E5EE-9EEA-2515-1E5D-47749EC5C5DE}"/>
                </a:ext>
              </a:extLst>
            </p:cNvPr>
            <p:cNvSpPr/>
            <p:nvPr/>
          </p:nvSpPr>
          <p:spPr>
            <a:xfrm>
              <a:off x="910714" y="2921468"/>
              <a:ext cx="3120511" cy="567755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0080" rtlCol="0" anchor="ctr"/>
            <a:lstStyle/>
            <a:p>
              <a:endParaRPr lang="en-US" sz="1200">
                <a:solidFill>
                  <a:schemeClr val="tx2"/>
                </a:solidFill>
              </a:endParaRPr>
            </a:p>
          </p:txBody>
        </p: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096A3727-BA71-6D8E-B5F6-F5B582A5DD7C}"/>
                </a:ext>
              </a:extLst>
            </p:cNvPr>
            <p:cNvCxnSpPr>
              <a:cxnSpLocks/>
            </p:cNvCxnSpPr>
            <p:nvPr/>
          </p:nvCxnSpPr>
          <p:spPr>
            <a:xfrm>
              <a:off x="1552470" y="3489223"/>
              <a:ext cx="602431" cy="0"/>
            </a:xfrm>
            <a:prstGeom prst="line">
              <a:avLst/>
            </a:prstGeom>
            <a:ln w="508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76B82481-7C33-3FFB-1477-9B89890022E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05963" y="2601276"/>
            <a:ext cx="7551174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Group 51">
            <a:extLst>
              <a:ext uri="{FF2B5EF4-FFF2-40B4-BE49-F238E27FC236}">
                <a16:creationId xmlns:a16="http://schemas.microsoft.com/office/drawing/2014/main" id="{8EBBC1E9-BA64-5E26-1B46-7BD60E3D0791}"/>
              </a:ext>
            </a:extLst>
          </p:cNvPr>
          <p:cNvGrpSpPr/>
          <p:nvPr userDrawn="1"/>
        </p:nvGrpSpPr>
        <p:grpSpPr>
          <a:xfrm>
            <a:off x="1005426" y="2601276"/>
            <a:ext cx="538" cy="2736470"/>
            <a:chOff x="1005426" y="2601276"/>
            <a:chExt cx="538" cy="2736470"/>
          </a:xfrm>
        </p:grpSpPr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B96FCE50-A837-B919-3CDE-F9C3C7D37EB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5963" y="2601276"/>
              <a:ext cx="0" cy="320192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7689F768-7902-083D-9833-459EE31E80B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5426" y="3489223"/>
              <a:ext cx="538" cy="640383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83FB124C-C842-B682-C4F0-A7A6623F0A9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5963" y="4697362"/>
              <a:ext cx="0" cy="640384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BBE7F86D-71D2-C5AD-3280-EA3759CD0D6F}"/>
              </a:ext>
            </a:extLst>
          </p:cNvPr>
          <p:cNvGrpSpPr/>
          <p:nvPr userDrawn="1"/>
        </p:nvGrpSpPr>
        <p:grpSpPr>
          <a:xfrm>
            <a:off x="4762395" y="2281084"/>
            <a:ext cx="19155" cy="3056662"/>
            <a:chOff x="4762395" y="2281084"/>
            <a:chExt cx="19155" cy="3056662"/>
          </a:xfrm>
        </p:grpSpPr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78CEE1B7-A1EE-31F2-9A78-C46D3EBDE19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62395" y="2281084"/>
              <a:ext cx="1" cy="640384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5E29F869-C5DE-A5AC-9567-42B29731296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781550" y="3489223"/>
              <a:ext cx="0" cy="640384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22285D4-4F13-D5B3-518F-A0437B5E56E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781550" y="4697362"/>
              <a:ext cx="0" cy="640384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66B9EF4F-FEAA-E96C-6F02-067982130884}"/>
              </a:ext>
            </a:extLst>
          </p:cNvPr>
          <p:cNvGrpSpPr/>
          <p:nvPr userDrawn="1"/>
        </p:nvGrpSpPr>
        <p:grpSpPr>
          <a:xfrm>
            <a:off x="8557137" y="2601276"/>
            <a:ext cx="0" cy="2736470"/>
            <a:chOff x="8557137" y="2601276"/>
            <a:chExt cx="0" cy="2736470"/>
          </a:xfrm>
        </p:grpSpPr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82A43772-77DA-30E2-1228-DFA36AC216A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557137" y="2601276"/>
              <a:ext cx="0" cy="320192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84EBCEF3-518E-4E64-537C-E6D716715EA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557137" y="3489223"/>
              <a:ext cx="0" cy="640384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98CE1FD3-6018-83D1-ECEC-07F2A2E793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557137" y="4697362"/>
              <a:ext cx="0" cy="640384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FEBA8699-B13D-5A8F-802D-BEE7DF97569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384648" y="1619119"/>
            <a:ext cx="758952" cy="758952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19" name="Picture Placeholder 17">
            <a:extLst>
              <a:ext uri="{FF2B5EF4-FFF2-40B4-BE49-F238E27FC236}">
                <a16:creationId xmlns:a16="http://schemas.microsoft.com/office/drawing/2014/main" id="{AB77C8B4-D0BE-8099-AC47-9ABB0833697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16106" y="2827598"/>
            <a:ext cx="758952" cy="758952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20" name="Picture Placeholder 17">
            <a:extLst>
              <a:ext uri="{FF2B5EF4-FFF2-40B4-BE49-F238E27FC236}">
                <a16:creationId xmlns:a16="http://schemas.microsoft.com/office/drawing/2014/main" id="{455620EE-917A-52FB-C242-DED1E434D33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6106" y="4032619"/>
            <a:ext cx="758952" cy="758952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21" name="Picture Placeholder 17">
            <a:extLst>
              <a:ext uri="{FF2B5EF4-FFF2-40B4-BE49-F238E27FC236}">
                <a16:creationId xmlns:a16="http://schemas.microsoft.com/office/drawing/2014/main" id="{7CFB2292-9DA1-300A-7D5F-8FCC69DF648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6106" y="5240758"/>
            <a:ext cx="758952" cy="758952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22" name="Picture Placeholder 17">
            <a:extLst>
              <a:ext uri="{FF2B5EF4-FFF2-40B4-BE49-F238E27FC236}">
                <a16:creationId xmlns:a16="http://schemas.microsoft.com/office/drawing/2014/main" id="{EFF2039F-74E3-8F53-E4E8-366EB293C02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81190" y="2827598"/>
            <a:ext cx="758952" cy="758952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23" name="Picture Placeholder 17">
            <a:extLst>
              <a:ext uri="{FF2B5EF4-FFF2-40B4-BE49-F238E27FC236}">
                <a16:creationId xmlns:a16="http://schemas.microsoft.com/office/drawing/2014/main" id="{5F0684BB-81B1-0B97-B0E4-27D281EF57D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381190" y="4032619"/>
            <a:ext cx="758952" cy="758952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24" name="Picture Placeholder 17">
            <a:extLst>
              <a:ext uri="{FF2B5EF4-FFF2-40B4-BE49-F238E27FC236}">
                <a16:creationId xmlns:a16="http://schemas.microsoft.com/office/drawing/2014/main" id="{320C316A-E0D3-E4DD-03B5-1AE60136629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81190" y="5240758"/>
            <a:ext cx="758952" cy="758952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25" name="Picture Placeholder 17">
            <a:extLst>
              <a:ext uri="{FF2B5EF4-FFF2-40B4-BE49-F238E27FC236}">
                <a16:creationId xmlns:a16="http://schemas.microsoft.com/office/drawing/2014/main" id="{7B5C94A9-FDAF-9ACA-B392-FBAF6BA7CEC5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146274" y="2827598"/>
            <a:ext cx="758952" cy="758952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26" name="Picture Placeholder 17">
            <a:extLst>
              <a:ext uri="{FF2B5EF4-FFF2-40B4-BE49-F238E27FC236}">
                <a16:creationId xmlns:a16="http://schemas.microsoft.com/office/drawing/2014/main" id="{850529AC-6277-DCF8-007A-9D609A1063A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146274" y="4032619"/>
            <a:ext cx="758952" cy="758952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27" name="Picture Placeholder 17">
            <a:extLst>
              <a:ext uri="{FF2B5EF4-FFF2-40B4-BE49-F238E27FC236}">
                <a16:creationId xmlns:a16="http://schemas.microsoft.com/office/drawing/2014/main" id="{BB477941-B318-7A15-3BC6-243AB603438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146274" y="5240758"/>
            <a:ext cx="758952" cy="758952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Headshot</a:t>
            </a:r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A6F6F5FD-7462-984C-CB9D-A6BEE8CFD3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326063" y="1768701"/>
            <a:ext cx="2480659" cy="25876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1"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 sz="1400"/>
            </a:lvl3pPr>
            <a:lvl4pPr marL="365760" indent="0">
              <a:buNone/>
              <a:defRPr sz="1400"/>
            </a:lvl4pPr>
            <a:lvl5pPr marL="548640" indent="0">
              <a:buNone/>
              <a:defRPr sz="1400"/>
            </a:lvl5pPr>
          </a:lstStyle>
          <a:p>
            <a:pPr lvl="0"/>
            <a:r>
              <a:rPr lang="en-US"/>
              <a:t>First, Last</a:t>
            </a:r>
          </a:p>
        </p:txBody>
      </p:sp>
      <p:sp>
        <p:nvSpPr>
          <p:cNvPr id="66" name="Text Placeholder 64">
            <a:extLst>
              <a:ext uri="{FF2B5EF4-FFF2-40B4-BE49-F238E27FC236}">
                <a16:creationId xmlns:a16="http://schemas.microsoft.com/office/drawing/2014/main" id="{4D4DDB3C-2B38-0270-97ED-52BDA9A666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26152" y="2042651"/>
            <a:ext cx="2480659" cy="20801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 b="1"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 sz="1400"/>
            </a:lvl3pPr>
            <a:lvl4pPr marL="365760" indent="0">
              <a:buNone/>
              <a:defRPr sz="1400"/>
            </a:lvl4pPr>
            <a:lvl5pPr marL="548640" indent="0">
              <a:buNone/>
              <a:defRPr sz="14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3" name="Text Placeholder 72">
            <a:extLst>
              <a:ext uri="{FF2B5EF4-FFF2-40B4-BE49-F238E27FC236}">
                <a16:creationId xmlns:a16="http://schemas.microsoft.com/office/drawing/2014/main" id="{C2C254D9-E83A-0C10-96C4-876267383FB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326063" y="2993010"/>
            <a:ext cx="2481262" cy="2417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First, Last</a:t>
            </a:r>
          </a:p>
        </p:txBody>
      </p:sp>
      <p:sp>
        <p:nvSpPr>
          <p:cNvPr id="74" name="Text Placeholder 72">
            <a:extLst>
              <a:ext uri="{FF2B5EF4-FFF2-40B4-BE49-F238E27FC236}">
                <a16:creationId xmlns:a16="http://schemas.microsoft.com/office/drawing/2014/main" id="{97113C6E-76FF-6DE6-CB48-1F3DFAEE38A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326063" y="3234796"/>
            <a:ext cx="2481262" cy="22902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5" name="Text Placeholder 72">
            <a:extLst>
              <a:ext uri="{FF2B5EF4-FFF2-40B4-BE49-F238E27FC236}">
                <a16:creationId xmlns:a16="http://schemas.microsoft.com/office/drawing/2014/main" id="{951FA22E-4F66-A887-C3F3-64D0F3D21E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550565" y="2993010"/>
            <a:ext cx="2481262" cy="2417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First, Last</a:t>
            </a:r>
          </a:p>
        </p:txBody>
      </p:sp>
      <p:sp>
        <p:nvSpPr>
          <p:cNvPr id="76" name="Text Placeholder 72">
            <a:extLst>
              <a:ext uri="{FF2B5EF4-FFF2-40B4-BE49-F238E27FC236}">
                <a16:creationId xmlns:a16="http://schemas.microsoft.com/office/drawing/2014/main" id="{47DA4178-F5FF-BE1B-862C-2C392A0B2DF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550565" y="3234796"/>
            <a:ext cx="2481262" cy="22902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7" name="Text Placeholder 72">
            <a:extLst>
              <a:ext uri="{FF2B5EF4-FFF2-40B4-BE49-F238E27FC236}">
                <a16:creationId xmlns:a16="http://schemas.microsoft.com/office/drawing/2014/main" id="{95D1E208-9E5D-C3B9-8A64-E1FA2002DB7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102252" y="2993010"/>
            <a:ext cx="2481262" cy="2417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First, Last</a:t>
            </a:r>
          </a:p>
        </p:txBody>
      </p:sp>
      <p:sp>
        <p:nvSpPr>
          <p:cNvPr id="78" name="Text Placeholder 72">
            <a:extLst>
              <a:ext uri="{FF2B5EF4-FFF2-40B4-BE49-F238E27FC236}">
                <a16:creationId xmlns:a16="http://schemas.microsoft.com/office/drawing/2014/main" id="{24F0B4F5-C723-9DEC-0011-B6DBA397416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102252" y="3234796"/>
            <a:ext cx="2481262" cy="22902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9" name="Text Placeholder 72">
            <a:extLst>
              <a:ext uri="{FF2B5EF4-FFF2-40B4-BE49-F238E27FC236}">
                <a16:creationId xmlns:a16="http://schemas.microsoft.com/office/drawing/2014/main" id="{0E38AE43-AB55-D472-1190-D4D85958CB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326063" y="4200200"/>
            <a:ext cx="2481262" cy="2417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First, Last</a:t>
            </a:r>
          </a:p>
        </p:txBody>
      </p:sp>
      <p:sp>
        <p:nvSpPr>
          <p:cNvPr id="80" name="Text Placeholder 72">
            <a:extLst>
              <a:ext uri="{FF2B5EF4-FFF2-40B4-BE49-F238E27FC236}">
                <a16:creationId xmlns:a16="http://schemas.microsoft.com/office/drawing/2014/main" id="{D33ED81F-A469-B7F7-5AF3-CED0DCCC917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326063" y="4441986"/>
            <a:ext cx="2481262" cy="22902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81" name="Text Placeholder 72">
            <a:extLst>
              <a:ext uri="{FF2B5EF4-FFF2-40B4-BE49-F238E27FC236}">
                <a16:creationId xmlns:a16="http://schemas.microsoft.com/office/drawing/2014/main" id="{607B5E31-C058-D5A0-68BC-1679B2CEE3D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550565" y="4200200"/>
            <a:ext cx="2481262" cy="2417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First, Last</a:t>
            </a:r>
          </a:p>
        </p:txBody>
      </p:sp>
      <p:sp>
        <p:nvSpPr>
          <p:cNvPr id="82" name="Text Placeholder 72">
            <a:extLst>
              <a:ext uri="{FF2B5EF4-FFF2-40B4-BE49-F238E27FC236}">
                <a16:creationId xmlns:a16="http://schemas.microsoft.com/office/drawing/2014/main" id="{509B5C83-E172-DE6C-EAFC-EF4AEC58B85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0565" y="4441986"/>
            <a:ext cx="2481262" cy="22902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83" name="Text Placeholder 72">
            <a:extLst>
              <a:ext uri="{FF2B5EF4-FFF2-40B4-BE49-F238E27FC236}">
                <a16:creationId xmlns:a16="http://schemas.microsoft.com/office/drawing/2014/main" id="{737FC36E-AE40-EF8B-09CA-D652D31F18E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102252" y="4200200"/>
            <a:ext cx="2481262" cy="2417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First, Last</a:t>
            </a:r>
          </a:p>
        </p:txBody>
      </p:sp>
      <p:sp>
        <p:nvSpPr>
          <p:cNvPr id="84" name="Text Placeholder 72">
            <a:extLst>
              <a:ext uri="{FF2B5EF4-FFF2-40B4-BE49-F238E27FC236}">
                <a16:creationId xmlns:a16="http://schemas.microsoft.com/office/drawing/2014/main" id="{22B649BA-07AE-B174-D89F-66AFF4F413A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102252" y="4441986"/>
            <a:ext cx="2481262" cy="22902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85" name="Text Placeholder 72">
            <a:extLst>
              <a:ext uri="{FF2B5EF4-FFF2-40B4-BE49-F238E27FC236}">
                <a16:creationId xmlns:a16="http://schemas.microsoft.com/office/drawing/2014/main" id="{8C0D8B0F-C437-1044-C79E-3AD0DDC3A21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326063" y="5407650"/>
            <a:ext cx="2481262" cy="2417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First, Last</a:t>
            </a:r>
          </a:p>
        </p:txBody>
      </p:sp>
      <p:sp>
        <p:nvSpPr>
          <p:cNvPr id="86" name="Text Placeholder 72">
            <a:extLst>
              <a:ext uri="{FF2B5EF4-FFF2-40B4-BE49-F238E27FC236}">
                <a16:creationId xmlns:a16="http://schemas.microsoft.com/office/drawing/2014/main" id="{C84556CB-9283-9F9D-2255-527985AEC05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326063" y="5649436"/>
            <a:ext cx="2481262" cy="22902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87" name="Text Placeholder 72">
            <a:extLst>
              <a:ext uri="{FF2B5EF4-FFF2-40B4-BE49-F238E27FC236}">
                <a16:creationId xmlns:a16="http://schemas.microsoft.com/office/drawing/2014/main" id="{8588CC8F-4E91-A733-2E50-9A1FFA4FD82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550565" y="5407650"/>
            <a:ext cx="2481262" cy="2417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First, Last</a:t>
            </a:r>
          </a:p>
        </p:txBody>
      </p:sp>
      <p:sp>
        <p:nvSpPr>
          <p:cNvPr id="88" name="Text Placeholder 72">
            <a:extLst>
              <a:ext uri="{FF2B5EF4-FFF2-40B4-BE49-F238E27FC236}">
                <a16:creationId xmlns:a16="http://schemas.microsoft.com/office/drawing/2014/main" id="{85A6B987-0A27-657E-043A-11A99E131F8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550565" y="5649436"/>
            <a:ext cx="2481262" cy="22902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89" name="Text Placeholder 72">
            <a:extLst>
              <a:ext uri="{FF2B5EF4-FFF2-40B4-BE49-F238E27FC236}">
                <a16:creationId xmlns:a16="http://schemas.microsoft.com/office/drawing/2014/main" id="{A3370798-4EB5-B38A-5404-062FE6DB2A3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02252" y="5407650"/>
            <a:ext cx="2481262" cy="2417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First, Last</a:t>
            </a:r>
          </a:p>
        </p:txBody>
      </p:sp>
      <p:sp>
        <p:nvSpPr>
          <p:cNvPr id="90" name="Text Placeholder 72">
            <a:extLst>
              <a:ext uri="{FF2B5EF4-FFF2-40B4-BE49-F238E27FC236}">
                <a16:creationId xmlns:a16="http://schemas.microsoft.com/office/drawing/2014/main" id="{82515C80-E15B-493B-3079-6281AFC3428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02252" y="5649436"/>
            <a:ext cx="2481262" cy="22902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72904608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Char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2F6F618-CF2E-13EA-0DF7-5CBE80F733F0}"/>
              </a:ext>
            </a:extLst>
          </p:cNvPr>
          <p:cNvSpPr/>
          <p:nvPr/>
        </p:nvSpPr>
        <p:spPr>
          <a:xfrm>
            <a:off x="0" y="0"/>
            <a:ext cx="406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A01A5ED-7D9E-57FB-3E55-9747F9B2FF02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4064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1F3E768-1BC9-4DFC-7E42-D61CF03C920E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4064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2556BBD-E905-984B-4075-604E21C91A06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09600" y="800754"/>
            <a:ext cx="2844800" cy="1000402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35">
            <a:extLst>
              <a:ext uri="{FF2B5EF4-FFF2-40B4-BE49-F238E27FC236}">
                <a16:creationId xmlns:a16="http://schemas.microsoft.com/office/drawing/2014/main" id="{6411CE3E-CF5E-1A4F-C684-DD36FC30311C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09599" y="2476502"/>
            <a:ext cx="2843783" cy="292608"/>
          </a:xfrm>
        </p:spPr>
        <p:txBody>
          <a:bodyPr anchor="t">
            <a:noAutofit/>
          </a:bodyPr>
          <a:lstStyle>
            <a:lvl1pPr>
              <a:spcAft>
                <a:spcPts val="1200"/>
              </a:spcAft>
              <a:defRPr sz="1400" b="1" cap="all" spc="300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24" name="Chart Placeholder 23">
            <a:extLst>
              <a:ext uri="{FF2B5EF4-FFF2-40B4-BE49-F238E27FC236}">
                <a16:creationId xmlns:a16="http://schemas.microsoft.com/office/drawing/2014/main" id="{7048E6E3-973C-DC77-BAA0-77D8C159B580}"/>
              </a:ext>
            </a:extLst>
          </p:cNvPr>
          <p:cNvSpPr>
            <a:spLocks noGrp="1"/>
          </p:cNvSpPr>
          <p:nvPr userDrawn="1">
            <p:ph type="chart" sz="quarter" idx="16"/>
          </p:nvPr>
        </p:nvSpPr>
        <p:spPr>
          <a:xfrm>
            <a:off x="4673598" y="1389115"/>
            <a:ext cx="6908801" cy="4972636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8C70CCB2-147C-C3A5-8880-72CCE0F38C5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4673598" y="496249"/>
            <a:ext cx="6908799" cy="276999"/>
          </a:xfrm>
        </p:spPr>
        <p:txBody>
          <a:bodyPr wrap="square" anchor="t">
            <a:noAutofit/>
          </a:bodyPr>
          <a:lstStyle>
            <a:lvl1pPr>
              <a:spcAft>
                <a:spcPts val="0"/>
              </a:spcAft>
              <a:defRPr sz="18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38BCFED-C663-CF81-5722-85F8F526221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09600" y="138027"/>
            <a:ext cx="2843782" cy="153888"/>
          </a:xfrm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12" name="Footer Placeholder 13">
            <a:extLst>
              <a:ext uri="{FF2B5EF4-FFF2-40B4-BE49-F238E27FC236}">
                <a16:creationId xmlns:a16="http://schemas.microsoft.com/office/drawing/2014/main" id="{741A0437-17F9-350E-A11B-4636A2924C44}"/>
              </a:ext>
            </a:extLst>
          </p:cNvPr>
          <p:cNvSpPr>
            <a:spLocks noGrp="1"/>
          </p:cNvSpPr>
          <p:nvPr userDrawn="1">
            <p:ph type="ftr" sz="quarter" idx="27"/>
          </p:nvPr>
        </p:nvSpPr>
        <p:spPr>
          <a:xfrm>
            <a:off x="609600" y="6566085"/>
            <a:ext cx="284378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13" name="Slide Number Placeholder 14">
            <a:extLst>
              <a:ext uri="{FF2B5EF4-FFF2-40B4-BE49-F238E27FC236}">
                <a16:creationId xmlns:a16="http://schemas.microsoft.com/office/drawing/2014/main" id="{AB3EBCA2-1DEC-8D2F-1555-FFA5AE9B0615}"/>
              </a:ext>
            </a:extLst>
          </p:cNvPr>
          <p:cNvSpPr>
            <a:spLocks noGrp="1"/>
          </p:cNvSpPr>
          <p:nvPr userDrawn="1">
            <p:ph type="sldNum" sz="quarter" idx="28"/>
          </p:nvPr>
        </p:nvSpPr>
        <p:spPr>
          <a:xfrm>
            <a:off x="11248008" y="656608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 Placeholder 49">
            <a:extLst>
              <a:ext uri="{FF2B5EF4-FFF2-40B4-BE49-F238E27FC236}">
                <a16:creationId xmlns:a16="http://schemas.microsoft.com/office/drawing/2014/main" id="{5C2866BB-378C-088E-630E-602A3FF05825}"/>
              </a:ext>
            </a:extLst>
          </p:cNvPr>
          <p:cNvSpPr>
            <a:spLocks noGrp="1"/>
          </p:cNvSpPr>
          <p:nvPr userDrawn="1">
            <p:ph type="dt" sz="half" idx="26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15148B0A-1AAA-4B39-B561-564E677A3782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BA504353-D4CA-4259-8F4D-F5ED2E99CB46}"/>
              </a:ext>
            </a:extLst>
          </p:cNvPr>
          <p:cNvSpPr>
            <a:spLocks noGrp="1"/>
          </p:cNvSpPr>
          <p:nvPr userDrawn="1">
            <p:ph type="body" sz="quarter" idx="29"/>
          </p:nvPr>
        </p:nvSpPr>
        <p:spPr>
          <a:xfrm>
            <a:off x="609597" y="2861071"/>
            <a:ext cx="2843783" cy="213969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600" dirty="0" smtClean="0">
                <a:solidFill>
                  <a:schemeClr val="bg1"/>
                </a:solidFill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CAA17021-CEBE-574C-5443-C3021D89FF4A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4673597" y="786391"/>
            <a:ext cx="6908799" cy="246221"/>
          </a:xfrm>
        </p:spPr>
        <p:txBody>
          <a:bodyPr wrap="square" anchor="t">
            <a:noAutofit/>
          </a:bodyPr>
          <a:lstStyle>
            <a:lvl1pPr>
              <a:spcAft>
                <a:spcPts val="0"/>
              </a:spcAft>
              <a:defRPr sz="1600" b="0"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E3A549B-E934-F6A8-2BA9-CE6DFF255D0A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09600" y="1813242"/>
            <a:ext cx="2843784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53675297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 Callouts - Ligh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1F2AC4-4CDC-2C50-1F85-6A0BB78D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047FEEB-518A-8ED4-B190-89AB72E00D7E}"/>
              </a:ext>
            </a:extLst>
          </p:cNvPr>
          <p:cNvCxnSpPr>
            <a:cxnSpLocks/>
          </p:cNvCxnSpPr>
          <p:nvPr/>
        </p:nvCxnSpPr>
        <p:spPr>
          <a:xfrm flipH="1">
            <a:off x="4673600" y="2220382"/>
            <a:ext cx="69088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E536A8F-77E4-2060-8067-D9F8A5BBD7FE}"/>
              </a:ext>
            </a:extLst>
          </p:cNvPr>
          <p:cNvCxnSpPr>
            <a:cxnSpLocks/>
          </p:cNvCxnSpPr>
          <p:nvPr/>
        </p:nvCxnSpPr>
        <p:spPr>
          <a:xfrm flipH="1">
            <a:off x="4673600" y="4338573"/>
            <a:ext cx="69088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35">
            <a:extLst>
              <a:ext uri="{FF2B5EF4-FFF2-40B4-BE49-F238E27FC236}">
                <a16:creationId xmlns:a16="http://schemas.microsoft.com/office/drawing/2014/main" id="{0780DDAB-A716-E44B-8B3F-D1AFC69E96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73600" y="653455"/>
            <a:ext cx="2313432" cy="1015663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6600" b="0">
                <a:solidFill>
                  <a:schemeClr val="tx2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XXX</a:t>
            </a:r>
          </a:p>
        </p:txBody>
      </p:sp>
      <p:sp>
        <p:nvSpPr>
          <p:cNvPr id="27" name="Text Placeholder 35">
            <a:extLst>
              <a:ext uri="{FF2B5EF4-FFF2-40B4-BE49-F238E27FC236}">
                <a16:creationId xmlns:a16="http://schemas.microsoft.com/office/drawing/2014/main" id="{6F975B03-F7CD-D8A4-0E18-19A70027DC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73600" y="2771646"/>
            <a:ext cx="2313432" cy="1015663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6600" b="0">
                <a:solidFill>
                  <a:schemeClr val="tx2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XXX</a:t>
            </a:r>
          </a:p>
        </p:txBody>
      </p:sp>
      <p:sp>
        <p:nvSpPr>
          <p:cNvPr id="28" name="Text Placeholder 35">
            <a:extLst>
              <a:ext uri="{FF2B5EF4-FFF2-40B4-BE49-F238E27FC236}">
                <a16:creationId xmlns:a16="http://schemas.microsoft.com/office/drawing/2014/main" id="{29105BCB-9491-B028-4CDE-AFF15ACE57A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73600" y="4889837"/>
            <a:ext cx="2313432" cy="1015663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6600" b="0">
                <a:solidFill>
                  <a:schemeClr val="tx2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XXX</a:t>
            </a:r>
          </a:p>
        </p:txBody>
      </p:sp>
      <p:sp>
        <p:nvSpPr>
          <p:cNvPr id="29" name="Text Placeholder 35">
            <a:extLst>
              <a:ext uri="{FF2B5EF4-FFF2-40B4-BE49-F238E27FC236}">
                <a16:creationId xmlns:a16="http://schemas.microsoft.com/office/drawing/2014/main" id="{8E051EED-DBA8-D571-CF36-C1A1CDB174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58406" y="653455"/>
            <a:ext cx="4023994" cy="1014984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2800" b="0">
                <a:solidFill>
                  <a:schemeClr val="tx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Category name</a:t>
            </a:r>
          </a:p>
        </p:txBody>
      </p:sp>
      <p:sp>
        <p:nvSpPr>
          <p:cNvPr id="31" name="Text Placeholder 35">
            <a:extLst>
              <a:ext uri="{FF2B5EF4-FFF2-40B4-BE49-F238E27FC236}">
                <a16:creationId xmlns:a16="http://schemas.microsoft.com/office/drawing/2014/main" id="{EFA2068F-D955-25B7-99A8-9CF50683A4C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58406" y="2772325"/>
            <a:ext cx="4023994" cy="1014984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2800" b="0">
                <a:solidFill>
                  <a:schemeClr val="tx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Category name</a:t>
            </a:r>
          </a:p>
        </p:txBody>
      </p:sp>
      <p:sp>
        <p:nvSpPr>
          <p:cNvPr id="32" name="Text Placeholder 35">
            <a:extLst>
              <a:ext uri="{FF2B5EF4-FFF2-40B4-BE49-F238E27FC236}">
                <a16:creationId xmlns:a16="http://schemas.microsoft.com/office/drawing/2014/main" id="{F3AAD773-5C24-9AC0-2752-DA13DC958E7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558406" y="4890516"/>
            <a:ext cx="4023994" cy="1014984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2800" b="0">
                <a:solidFill>
                  <a:schemeClr val="tx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Category nam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CF6B3C-FC00-5EB7-7C22-55ADD18344A5}"/>
              </a:ext>
            </a:extLst>
          </p:cNvPr>
          <p:cNvSpPr/>
          <p:nvPr/>
        </p:nvSpPr>
        <p:spPr>
          <a:xfrm>
            <a:off x="0" y="0"/>
            <a:ext cx="406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697812B-22E9-49AF-206B-89480FC52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2844800" cy="1000402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FFB35EB-C70D-E42F-3CD3-660192097D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813242"/>
            <a:ext cx="2843784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1" name="Text Placeholder 35">
            <a:extLst>
              <a:ext uri="{FF2B5EF4-FFF2-40B4-BE49-F238E27FC236}">
                <a16:creationId xmlns:a16="http://schemas.microsoft.com/office/drawing/2014/main" id="{15DFBE8A-8C17-F2F1-B093-69576955B2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" y="2476503"/>
            <a:ext cx="2843783" cy="295142"/>
          </a:xfrm>
        </p:spPr>
        <p:txBody>
          <a:bodyPr anchor="t">
            <a:noAutofit/>
          </a:bodyPr>
          <a:lstStyle>
            <a:lvl1pPr>
              <a:spcAft>
                <a:spcPts val="1200"/>
              </a:spcAft>
              <a:defRPr sz="1400" b="1" cap="all" spc="300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1B191817-16E1-D054-A2BF-E5437C6A210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38027"/>
            <a:ext cx="2843782" cy="153888"/>
          </a:xfrm>
        </p:spPr>
        <p:txBody>
          <a:bodyPr wrap="square" anchor="ctr">
            <a:sp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85D6DC0-B751-F104-558A-2CF533B9BE0F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4064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13">
            <a:extLst>
              <a:ext uri="{FF2B5EF4-FFF2-40B4-BE49-F238E27FC236}">
                <a16:creationId xmlns:a16="http://schemas.microsoft.com/office/drawing/2014/main" id="{F337DF17-7F97-2221-1EA6-AE47CFFA12A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609600" y="6566085"/>
            <a:ext cx="284378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E3AD8B8-FC1F-35CF-FD03-9E3947B1CFFD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4064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49">
            <a:extLst>
              <a:ext uri="{FF2B5EF4-FFF2-40B4-BE49-F238E27FC236}">
                <a16:creationId xmlns:a16="http://schemas.microsoft.com/office/drawing/2014/main" id="{8020E8BF-1299-4166-DFC7-34CF6757ED55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ABB39132-01AE-4489-B5A5-99BD96A00C93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DC231E2-1393-4B54-D6AB-39B8F6F3A1D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09600" y="2862072"/>
            <a:ext cx="2843213" cy="213969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  <a:lvl3pPr marL="182880" indent="0">
              <a:buNone/>
              <a:defRPr sz="1600">
                <a:solidFill>
                  <a:schemeClr val="bg1"/>
                </a:solidFill>
              </a:defRPr>
            </a:lvl3pPr>
            <a:lvl4pPr marL="365760" indent="0">
              <a:buNone/>
              <a:defRPr sz="1600">
                <a:solidFill>
                  <a:schemeClr val="bg1"/>
                </a:solidFill>
              </a:defRPr>
            </a:lvl4pPr>
            <a:lvl5pPr marL="54864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58670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 Callouts - Dark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2F6F618-CF2E-13EA-0DF7-5CBE80F733F0}"/>
              </a:ext>
            </a:extLst>
          </p:cNvPr>
          <p:cNvSpPr/>
          <p:nvPr/>
        </p:nvSpPr>
        <p:spPr>
          <a:xfrm flipH="1">
            <a:off x="4064000" y="0"/>
            <a:ext cx="8128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35">
            <a:extLst>
              <a:ext uri="{FF2B5EF4-FFF2-40B4-BE49-F238E27FC236}">
                <a16:creationId xmlns:a16="http://schemas.microsoft.com/office/drawing/2014/main" id="{0780DDAB-A716-E44B-8B3F-D1AFC69E96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73600" y="742698"/>
            <a:ext cx="2313432" cy="1015663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6600" b="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XXX</a:t>
            </a:r>
          </a:p>
        </p:txBody>
      </p:sp>
      <p:sp>
        <p:nvSpPr>
          <p:cNvPr id="27" name="Text Placeholder 35">
            <a:extLst>
              <a:ext uri="{FF2B5EF4-FFF2-40B4-BE49-F238E27FC236}">
                <a16:creationId xmlns:a16="http://schemas.microsoft.com/office/drawing/2014/main" id="{6F975B03-F7CD-D8A4-0E18-19A70027DC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73600" y="2860889"/>
            <a:ext cx="2313432" cy="1015663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6600" b="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XXX</a:t>
            </a:r>
          </a:p>
        </p:txBody>
      </p:sp>
      <p:sp>
        <p:nvSpPr>
          <p:cNvPr id="28" name="Text Placeholder 35">
            <a:extLst>
              <a:ext uri="{FF2B5EF4-FFF2-40B4-BE49-F238E27FC236}">
                <a16:creationId xmlns:a16="http://schemas.microsoft.com/office/drawing/2014/main" id="{29105BCB-9491-B028-4CDE-AFF15ACE57A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73600" y="4979080"/>
            <a:ext cx="2313432" cy="1015663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6600" b="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XXX</a:t>
            </a:r>
          </a:p>
        </p:txBody>
      </p:sp>
      <p:sp>
        <p:nvSpPr>
          <p:cNvPr id="29" name="Text Placeholder 35">
            <a:extLst>
              <a:ext uri="{FF2B5EF4-FFF2-40B4-BE49-F238E27FC236}">
                <a16:creationId xmlns:a16="http://schemas.microsoft.com/office/drawing/2014/main" id="{8E051EED-DBA8-D571-CF36-C1A1CDB174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58406" y="742698"/>
            <a:ext cx="4023994" cy="1014984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2800" b="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Category name</a:t>
            </a:r>
          </a:p>
        </p:txBody>
      </p:sp>
      <p:sp>
        <p:nvSpPr>
          <p:cNvPr id="31" name="Text Placeholder 35">
            <a:extLst>
              <a:ext uri="{FF2B5EF4-FFF2-40B4-BE49-F238E27FC236}">
                <a16:creationId xmlns:a16="http://schemas.microsoft.com/office/drawing/2014/main" id="{EFA2068F-D955-25B7-99A8-9CF50683A4C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58406" y="2861568"/>
            <a:ext cx="4023994" cy="1014984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2800" b="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Category name</a:t>
            </a:r>
          </a:p>
        </p:txBody>
      </p:sp>
      <p:sp>
        <p:nvSpPr>
          <p:cNvPr id="32" name="Text Placeholder 35">
            <a:extLst>
              <a:ext uri="{FF2B5EF4-FFF2-40B4-BE49-F238E27FC236}">
                <a16:creationId xmlns:a16="http://schemas.microsoft.com/office/drawing/2014/main" id="{F3AAD773-5C24-9AC0-2752-DA13DC958E7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558406" y="4979759"/>
            <a:ext cx="4023994" cy="1014984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2800" b="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Category nam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047FEEB-518A-8ED4-B190-89AB72E00D7E}"/>
              </a:ext>
            </a:extLst>
          </p:cNvPr>
          <p:cNvCxnSpPr>
            <a:cxnSpLocks/>
          </p:cNvCxnSpPr>
          <p:nvPr/>
        </p:nvCxnSpPr>
        <p:spPr>
          <a:xfrm flipH="1">
            <a:off x="4673600" y="2309625"/>
            <a:ext cx="69088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E536A8F-77E4-2060-8067-D9F8A5BBD7FE}"/>
              </a:ext>
            </a:extLst>
          </p:cNvPr>
          <p:cNvCxnSpPr>
            <a:cxnSpLocks/>
          </p:cNvCxnSpPr>
          <p:nvPr/>
        </p:nvCxnSpPr>
        <p:spPr>
          <a:xfrm flipH="1">
            <a:off x="4673600" y="4427816"/>
            <a:ext cx="69088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05754DDD-4564-A9EB-8E1A-7FCA5F9D6A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2844800" cy="1000402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7EA713E-01BE-BF01-9F34-76521E9285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813242"/>
            <a:ext cx="2843784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6" name="Text Placeholder 35">
            <a:extLst>
              <a:ext uri="{FF2B5EF4-FFF2-40B4-BE49-F238E27FC236}">
                <a16:creationId xmlns:a16="http://schemas.microsoft.com/office/drawing/2014/main" id="{208C13BF-5B90-D470-A4B5-3DCD3545EB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" y="2476503"/>
            <a:ext cx="2843783" cy="292608"/>
          </a:xfrm>
        </p:spPr>
        <p:txBody>
          <a:bodyPr anchor="t">
            <a:noAutofit/>
          </a:bodyPr>
          <a:lstStyle>
            <a:lvl1pPr>
              <a:spcAft>
                <a:spcPts val="1200"/>
              </a:spcAft>
              <a:defRPr sz="1400" b="1" cap="all" spc="300" baseline="0">
                <a:solidFill>
                  <a:schemeClr val="tx2"/>
                </a:solidFill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Header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78FDEB99-4784-B972-251E-0E3474B67D5D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40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74D925A-9D6D-4A25-E178-1FE9D77E72F8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40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53577F8E-3815-6002-2762-4915D87EA291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236555" y="13802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26D3A883-4524-43DF-8C88-CCCABA5D8FAF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14" name="Slide Number Placeholder 14">
            <a:extLst>
              <a:ext uri="{FF2B5EF4-FFF2-40B4-BE49-F238E27FC236}">
                <a16:creationId xmlns:a16="http://schemas.microsoft.com/office/drawing/2014/main" id="{FA10D52E-46F2-DFEC-06E7-6C106D7B1B9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248008" y="656608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23557860-BBEB-3C14-21FC-4FA8790767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09600" y="136647"/>
            <a:ext cx="2843782" cy="153888"/>
          </a:xfrm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34DE172C-87DA-3D2B-97EB-424DA18EDC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284378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C83E66-FF88-61D6-BC16-4730794EB09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9600" y="2862072"/>
            <a:ext cx="2843213" cy="2139696"/>
          </a:xfrm>
        </p:spPr>
        <p:txBody>
          <a:bodyPr/>
          <a:lstStyle>
            <a:lvl2pPr marL="0" indent="0">
              <a:buNone/>
              <a:defRPr sz="16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125564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 Callouts - Dark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35">
            <a:extLst>
              <a:ext uri="{FF2B5EF4-FFF2-40B4-BE49-F238E27FC236}">
                <a16:creationId xmlns:a16="http://schemas.microsoft.com/office/drawing/2014/main" id="{0780DDAB-A716-E44B-8B3F-D1AFC69E96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73600" y="884204"/>
            <a:ext cx="2313432" cy="1015663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6600" b="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XXX</a:t>
            </a:r>
          </a:p>
        </p:txBody>
      </p:sp>
      <p:sp>
        <p:nvSpPr>
          <p:cNvPr id="27" name="Text Placeholder 35">
            <a:extLst>
              <a:ext uri="{FF2B5EF4-FFF2-40B4-BE49-F238E27FC236}">
                <a16:creationId xmlns:a16="http://schemas.microsoft.com/office/drawing/2014/main" id="{6F975B03-F7CD-D8A4-0E18-19A70027DC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73600" y="2804205"/>
            <a:ext cx="2313432" cy="1015663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6600" b="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XXX</a:t>
            </a:r>
          </a:p>
        </p:txBody>
      </p:sp>
      <p:sp>
        <p:nvSpPr>
          <p:cNvPr id="28" name="Text Placeholder 35">
            <a:extLst>
              <a:ext uri="{FF2B5EF4-FFF2-40B4-BE49-F238E27FC236}">
                <a16:creationId xmlns:a16="http://schemas.microsoft.com/office/drawing/2014/main" id="{29105BCB-9491-B028-4CDE-AFF15ACE57A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73600" y="4724204"/>
            <a:ext cx="2313432" cy="1015663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6600" b="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XXX</a:t>
            </a:r>
          </a:p>
        </p:txBody>
      </p:sp>
      <p:sp>
        <p:nvSpPr>
          <p:cNvPr id="29" name="Text Placeholder 35">
            <a:extLst>
              <a:ext uri="{FF2B5EF4-FFF2-40B4-BE49-F238E27FC236}">
                <a16:creationId xmlns:a16="http://schemas.microsoft.com/office/drawing/2014/main" id="{8E051EED-DBA8-D571-CF36-C1A1CDB174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58406" y="884204"/>
            <a:ext cx="4023994" cy="1014984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2800" b="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Category name</a:t>
            </a:r>
          </a:p>
        </p:txBody>
      </p:sp>
      <p:sp>
        <p:nvSpPr>
          <p:cNvPr id="31" name="Text Placeholder 35">
            <a:extLst>
              <a:ext uri="{FF2B5EF4-FFF2-40B4-BE49-F238E27FC236}">
                <a16:creationId xmlns:a16="http://schemas.microsoft.com/office/drawing/2014/main" id="{EFA2068F-D955-25B7-99A8-9CF50683A4C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58406" y="2804884"/>
            <a:ext cx="4023994" cy="1014984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2800" b="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Category name</a:t>
            </a:r>
          </a:p>
        </p:txBody>
      </p:sp>
      <p:sp>
        <p:nvSpPr>
          <p:cNvPr id="32" name="Text Placeholder 35">
            <a:extLst>
              <a:ext uri="{FF2B5EF4-FFF2-40B4-BE49-F238E27FC236}">
                <a16:creationId xmlns:a16="http://schemas.microsoft.com/office/drawing/2014/main" id="{F3AAD773-5C24-9AC0-2752-DA13DC958E7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558406" y="4724883"/>
            <a:ext cx="4023994" cy="1014984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2800" b="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Category nam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047FEEB-518A-8ED4-B190-89AB72E00D7E}"/>
              </a:ext>
            </a:extLst>
          </p:cNvPr>
          <p:cNvCxnSpPr>
            <a:cxnSpLocks/>
          </p:cNvCxnSpPr>
          <p:nvPr/>
        </p:nvCxnSpPr>
        <p:spPr>
          <a:xfrm flipH="1">
            <a:off x="4673600" y="2352036"/>
            <a:ext cx="69088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E536A8F-77E4-2060-8067-D9F8A5BBD7FE}"/>
              </a:ext>
            </a:extLst>
          </p:cNvPr>
          <p:cNvCxnSpPr>
            <a:cxnSpLocks/>
          </p:cNvCxnSpPr>
          <p:nvPr/>
        </p:nvCxnSpPr>
        <p:spPr>
          <a:xfrm flipH="1">
            <a:off x="4673600" y="4272037"/>
            <a:ext cx="69088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077CD39D-FBC2-F67A-6ABF-7388633EE6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2844800" cy="1000402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2F4A5E10-6528-5317-6FC7-84D246855D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813242"/>
            <a:ext cx="2843784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9" name="Text Placeholder 35">
            <a:extLst>
              <a:ext uri="{FF2B5EF4-FFF2-40B4-BE49-F238E27FC236}">
                <a16:creationId xmlns:a16="http://schemas.microsoft.com/office/drawing/2014/main" id="{1B85DF85-C453-E835-0D48-26D1A5DDD8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" y="2476503"/>
            <a:ext cx="2843783" cy="292608"/>
          </a:xfrm>
        </p:spPr>
        <p:txBody>
          <a:bodyPr anchor="t">
            <a:noAutofit/>
          </a:bodyPr>
          <a:lstStyle>
            <a:lvl1pPr>
              <a:spcAft>
                <a:spcPts val="1200"/>
              </a:spcAft>
              <a:defRPr sz="1400" b="1" cap="all" spc="300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4FFAD1B4-2BD9-0113-10B5-AE6570A8774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3802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3" name="Date Placeholder 12">
            <a:extLst>
              <a:ext uri="{FF2B5EF4-FFF2-40B4-BE49-F238E27FC236}">
                <a16:creationId xmlns:a16="http://schemas.microsoft.com/office/drawing/2014/main" id="{52A6576F-6CE7-0F44-3DBD-A5056EB97BA4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236555" y="13802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21EC9463-8211-4A09-92F6-061FB202B684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4" name="Footer Placeholder 13">
            <a:extLst>
              <a:ext uri="{FF2B5EF4-FFF2-40B4-BE49-F238E27FC236}">
                <a16:creationId xmlns:a16="http://schemas.microsoft.com/office/drawing/2014/main" id="{A200D087-44D9-A485-ACDB-C083442B1568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609600" y="656608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11" name="Slide Number Placeholder 14">
            <a:extLst>
              <a:ext uri="{FF2B5EF4-FFF2-40B4-BE49-F238E27FC236}">
                <a16:creationId xmlns:a16="http://schemas.microsoft.com/office/drawing/2014/main" id="{27D25F20-E66E-4286-A051-A211725D55FD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248008" y="656608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26424F9E-E7F8-5B7C-FFAF-3ADCBD43B8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03876" y="88565"/>
            <a:ext cx="995110" cy="252812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3BB773C-EFC8-8BEA-A798-6903B9FE666D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97412D3-B7AD-6E8D-AD6D-72684880C9A0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C421E67-F862-2E50-47D7-635F4FDE0AD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600" y="2862072"/>
            <a:ext cx="2843213" cy="213969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  <a:lvl3pPr marL="182880" indent="0">
              <a:buNone/>
              <a:defRPr sz="1600">
                <a:solidFill>
                  <a:schemeClr val="bg1"/>
                </a:solidFill>
              </a:defRPr>
            </a:lvl3pPr>
            <a:lvl4pPr marL="365760" indent="0">
              <a:buNone/>
              <a:defRPr sz="1600">
                <a:solidFill>
                  <a:schemeClr val="bg1"/>
                </a:solidFill>
              </a:defRPr>
            </a:lvl4pPr>
            <a:lvl5pPr marL="54864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0145309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column - Dark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20A254F-BDD5-C9AF-1DD7-05ACB129B577}"/>
              </a:ext>
            </a:extLst>
          </p:cNvPr>
          <p:cNvSpPr/>
          <p:nvPr/>
        </p:nvSpPr>
        <p:spPr>
          <a:xfrm>
            <a:off x="7019925" y="431800"/>
            <a:ext cx="5172075" cy="599670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09D163-6DF6-9BE0-6173-D594B244B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5486400" cy="5539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F8511C82-C1B8-2B85-F38D-ACDB893239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54864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2" name="Text Placeholder 37">
            <a:extLst>
              <a:ext uri="{FF2B5EF4-FFF2-40B4-BE49-F238E27FC236}">
                <a16:creationId xmlns:a16="http://schemas.microsoft.com/office/drawing/2014/main" id="{F4AE42DD-CBC4-0669-9A85-81A01695BC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1" y="4225518"/>
            <a:ext cx="5486400" cy="1389888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2AAAC208-B9A3-AB8D-8A3F-5267EA42C80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9601" y="2111664"/>
            <a:ext cx="5486400" cy="1481328"/>
          </a:xfrm>
        </p:spPr>
        <p:txBody>
          <a:bodyPr anchor="b">
            <a:noAutofit/>
          </a:bodyPr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49">
            <a:extLst>
              <a:ext uri="{FF2B5EF4-FFF2-40B4-BE49-F238E27FC236}">
                <a16:creationId xmlns:a16="http://schemas.microsoft.com/office/drawing/2014/main" id="{5F217281-3A4E-E1DA-0ABE-80B7AC4FF1B8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916DF86A-30B1-4B44-A04E-9B307D9D54ED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CFB9608-E818-D2BF-8BF7-6E839B8050D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C85335B-FAF2-9208-41C9-63068D2F64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4B1F0BD-22AE-6975-1D8F-0E77C97E26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15BECC8-7D1B-6FCC-F690-CE812AE63D4C}"/>
              </a:ext>
            </a:extLst>
          </p:cNvPr>
          <p:cNvPicPr/>
          <p:nvPr userDrawn="1"/>
        </p:nvPicPr>
        <p:blipFill>
          <a:blip r:embed="rId2"/>
          <a:stretch>
            <a:fillRect/>
          </a:stretch>
        </p:blipFill>
        <p:spPr>
          <a:xfrm>
            <a:off x="7630516" y="1377621"/>
            <a:ext cx="3950550" cy="4121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1726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column - Ligh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09D163-6DF6-9BE0-6173-D594B244B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5486400" cy="5539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4DFF45-2DB6-69E3-0747-CC4006B4454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41C210-892D-24A5-E574-B59C507782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84C8C42-24E6-26F9-5E38-271AAD2DC69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B8C9EC5C-466E-4248-8A44-5AD6DAE3617F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F8511C82-C1B8-2B85-F38D-ACDB893239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54864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2" name="Text Placeholder 37">
            <a:extLst>
              <a:ext uri="{FF2B5EF4-FFF2-40B4-BE49-F238E27FC236}">
                <a16:creationId xmlns:a16="http://schemas.microsoft.com/office/drawing/2014/main" id="{F4AE42DD-CBC4-0669-9A85-81A01695BC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1" y="4225518"/>
            <a:ext cx="5486400" cy="1389888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42D5A6F2-908D-2D67-A69F-7F8AC3E161A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2AAAC208-B9A3-AB8D-8A3F-5267EA42C80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9601" y="2111664"/>
            <a:ext cx="5486400" cy="1481328"/>
          </a:xfrm>
        </p:spPr>
        <p:txBody>
          <a:bodyPr anchor="b">
            <a:noAutofit/>
          </a:bodyPr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32E9A54D-899E-AB52-26FF-B640B41CD336}"/>
              </a:ext>
            </a:extLst>
          </p:cNvPr>
          <p:cNvPicPr/>
          <p:nvPr userDrawn="1"/>
        </p:nvPicPr>
        <p:blipFill>
          <a:blip r:embed="rId2"/>
          <a:stretch>
            <a:fillRect/>
          </a:stretch>
        </p:blipFill>
        <p:spPr>
          <a:xfrm>
            <a:off x="7629672" y="1419268"/>
            <a:ext cx="3950550" cy="4048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2873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-column + Image - Ligh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09D163-6DF6-9BE0-6173-D594B244B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5978524" cy="5539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F8511C82-C1B8-2B85-F38D-ACDB893239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5978524" cy="30777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2" name="Text Placeholder 37">
            <a:extLst>
              <a:ext uri="{FF2B5EF4-FFF2-40B4-BE49-F238E27FC236}">
                <a16:creationId xmlns:a16="http://schemas.microsoft.com/office/drawing/2014/main" id="{F4AE42DD-CBC4-0669-9A85-81A01695BC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1" y="4225518"/>
            <a:ext cx="5978524" cy="1389888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2AAAC208-B9A3-AB8D-8A3F-5267EA42C80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9601" y="2111664"/>
            <a:ext cx="5978524" cy="1481328"/>
          </a:xfrm>
        </p:spPr>
        <p:txBody>
          <a:bodyPr anchor="b">
            <a:noAutofit/>
          </a:bodyPr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CFB9608-E818-D2BF-8BF7-6E839B8050D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C85335B-FAF2-9208-41C9-63068D2F64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E63F9C31-8332-AB06-3853-4F9BFCA2654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197724" y="0"/>
            <a:ext cx="4994276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 b="0"/>
            </a:lvl1pPr>
          </a:lstStyle>
          <a:p>
            <a:r>
              <a:rPr lang="en-US"/>
              <a:t>Insert Photo</a:t>
            </a:r>
          </a:p>
        </p:txBody>
      </p:sp>
    </p:spTree>
    <p:extLst>
      <p:ext uri="{BB962C8B-B14F-4D97-AF65-F5344CB8AC3E}">
        <p14:creationId xmlns:p14="http://schemas.microsoft.com/office/powerpoint/2010/main" val="2574703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 - 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CB1E87D-CF80-16E1-E2DA-D366BCB64A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048537"/>
            <a:ext cx="5376672" cy="2244461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ation title extends </a:t>
            </a:r>
            <a:br>
              <a:rPr lang="en-US"/>
            </a:br>
            <a:r>
              <a:rPr lang="en-US"/>
              <a:t>up to 3 line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4CCA385-BADC-9412-0D5E-D86D6665ADB9}"/>
              </a:ext>
            </a:extLst>
          </p:cNvPr>
          <p:cNvCxnSpPr>
            <a:cxnSpLocks/>
          </p:cNvCxnSpPr>
          <p:nvPr/>
        </p:nvCxnSpPr>
        <p:spPr>
          <a:xfrm>
            <a:off x="609600" y="4594548"/>
            <a:ext cx="5376672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aphic 3">
            <a:extLst>
              <a:ext uri="{FF2B5EF4-FFF2-40B4-BE49-F238E27FC236}">
                <a16:creationId xmlns:a16="http://schemas.microsoft.com/office/drawing/2014/main" id="{B3F109DD-32AE-D92D-4621-BF43B58FB4A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09600" y="557212"/>
            <a:ext cx="1734668" cy="438912"/>
            <a:chOff x="609600" y="557212"/>
            <a:chExt cx="2667656" cy="674980"/>
          </a:xfrm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8BF33003-98EC-AC6E-F2E8-D433A9977017}"/>
                </a:ext>
              </a:extLst>
            </p:cNvPr>
            <p:cNvSpPr/>
            <p:nvPr/>
          </p:nvSpPr>
          <p:spPr>
            <a:xfrm>
              <a:off x="1180659" y="790421"/>
              <a:ext cx="2096597" cy="283512"/>
            </a:xfrm>
            <a:custGeom>
              <a:avLst/>
              <a:gdLst>
                <a:gd name="connsiteX0" fmla="*/ 129433 w 2096597"/>
                <a:gd name="connsiteY0" fmla="*/ 283512 h 283512"/>
                <a:gd name="connsiteX1" fmla="*/ 76968 w 2096597"/>
                <a:gd name="connsiteY1" fmla="*/ 273567 h 283512"/>
                <a:gd name="connsiteX2" fmla="*/ 36610 w 2096597"/>
                <a:gd name="connsiteY2" fmla="*/ 245461 h 283512"/>
                <a:gd name="connsiteX3" fmla="*/ 9369 w 2096597"/>
                <a:gd name="connsiteY3" fmla="*/ 199770 h 283512"/>
                <a:gd name="connsiteX4" fmla="*/ 0 w 2096597"/>
                <a:gd name="connsiteY4" fmla="*/ 142260 h 283512"/>
                <a:gd name="connsiteX5" fmla="*/ 10522 w 2096597"/>
                <a:gd name="connsiteY5" fmla="*/ 82733 h 283512"/>
                <a:gd name="connsiteX6" fmla="*/ 40358 w 2096597"/>
                <a:gd name="connsiteY6" fmla="*/ 36178 h 283512"/>
                <a:gd name="connsiteX7" fmla="*/ 80715 w 2096597"/>
                <a:gd name="connsiteY7" fmla="*/ 9513 h 283512"/>
                <a:gd name="connsiteX8" fmla="*/ 133612 w 2096597"/>
                <a:gd name="connsiteY8" fmla="*/ 0 h 283512"/>
                <a:gd name="connsiteX9" fmla="*/ 180744 w 2096597"/>
                <a:gd name="connsiteY9" fmla="*/ 6630 h 283512"/>
                <a:gd name="connsiteX10" fmla="*/ 216922 w 2096597"/>
                <a:gd name="connsiteY10" fmla="*/ 25656 h 283512"/>
                <a:gd name="connsiteX11" fmla="*/ 241425 w 2096597"/>
                <a:gd name="connsiteY11" fmla="*/ 55492 h 283512"/>
                <a:gd name="connsiteX12" fmla="*/ 254109 w 2096597"/>
                <a:gd name="connsiteY12" fmla="*/ 94264 h 283512"/>
                <a:gd name="connsiteX13" fmla="*/ 188672 w 2096597"/>
                <a:gd name="connsiteY13" fmla="*/ 94264 h 283512"/>
                <a:gd name="connsiteX14" fmla="*/ 171520 w 2096597"/>
                <a:gd name="connsiteY14" fmla="*/ 66446 h 283512"/>
                <a:gd name="connsiteX15" fmla="*/ 135774 w 2096597"/>
                <a:gd name="connsiteY15" fmla="*/ 55348 h 283512"/>
                <a:gd name="connsiteX16" fmla="*/ 106227 w 2096597"/>
                <a:gd name="connsiteY16" fmla="*/ 61978 h 283512"/>
                <a:gd name="connsiteX17" fmla="*/ 85039 w 2096597"/>
                <a:gd name="connsiteY17" fmla="*/ 80283 h 283512"/>
                <a:gd name="connsiteX18" fmla="*/ 72500 w 2096597"/>
                <a:gd name="connsiteY18" fmla="*/ 107668 h 283512"/>
                <a:gd name="connsiteX19" fmla="*/ 68320 w 2096597"/>
                <a:gd name="connsiteY19" fmla="*/ 142116 h 283512"/>
                <a:gd name="connsiteX20" fmla="*/ 73076 w 2096597"/>
                <a:gd name="connsiteY20" fmla="*/ 176709 h 283512"/>
                <a:gd name="connsiteX21" fmla="*/ 86625 w 2096597"/>
                <a:gd name="connsiteY21" fmla="*/ 204238 h 283512"/>
                <a:gd name="connsiteX22" fmla="*/ 108101 w 2096597"/>
                <a:gd name="connsiteY22" fmla="*/ 222255 h 283512"/>
                <a:gd name="connsiteX23" fmla="*/ 136783 w 2096597"/>
                <a:gd name="connsiteY23" fmla="*/ 228741 h 283512"/>
                <a:gd name="connsiteX24" fmla="*/ 160566 w 2096597"/>
                <a:gd name="connsiteY24" fmla="*/ 224705 h 283512"/>
                <a:gd name="connsiteX25" fmla="*/ 178438 w 2096597"/>
                <a:gd name="connsiteY25" fmla="*/ 214039 h 283512"/>
                <a:gd name="connsiteX26" fmla="*/ 190257 w 2096597"/>
                <a:gd name="connsiteY26" fmla="*/ 198761 h 283512"/>
                <a:gd name="connsiteX27" fmla="*/ 195734 w 2096597"/>
                <a:gd name="connsiteY27" fmla="*/ 181033 h 283512"/>
                <a:gd name="connsiteX28" fmla="*/ 195734 w 2096597"/>
                <a:gd name="connsiteY28" fmla="*/ 180312 h 283512"/>
                <a:gd name="connsiteX29" fmla="*/ 144711 w 2096597"/>
                <a:gd name="connsiteY29" fmla="*/ 180312 h 283512"/>
                <a:gd name="connsiteX30" fmla="*/ 144711 w 2096597"/>
                <a:gd name="connsiteY30" fmla="*/ 130874 h 283512"/>
                <a:gd name="connsiteX31" fmla="*/ 258144 w 2096597"/>
                <a:gd name="connsiteY31" fmla="*/ 130874 h 283512"/>
                <a:gd name="connsiteX32" fmla="*/ 258144 w 2096597"/>
                <a:gd name="connsiteY32" fmla="*/ 277026 h 283512"/>
                <a:gd name="connsiteX33" fmla="*/ 211013 w 2096597"/>
                <a:gd name="connsiteY33" fmla="*/ 277026 h 283512"/>
                <a:gd name="connsiteX34" fmla="*/ 207265 w 2096597"/>
                <a:gd name="connsiteY34" fmla="*/ 244308 h 283512"/>
                <a:gd name="connsiteX35" fmla="*/ 206544 w 2096597"/>
                <a:gd name="connsiteY35" fmla="*/ 244308 h 283512"/>
                <a:gd name="connsiteX36" fmla="*/ 173682 w 2096597"/>
                <a:gd name="connsiteY36" fmla="*/ 274143 h 283512"/>
                <a:gd name="connsiteX37" fmla="*/ 129288 w 2096597"/>
                <a:gd name="connsiteY37" fmla="*/ 283080 h 283512"/>
                <a:gd name="connsiteX38" fmla="*/ 358029 w 2096597"/>
                <a:gd name="connsiteY38" fmla="*/ 282647 h 283512"/>
                <a:gd name="connsiteX39" fmla="*/ 306862 w 2096597"/>
                <a:gd name="connsiteY39" fmla="*/ 262613 h 283512"/>
                <a:gd name="connsiteX40" fmla="*/ 289566 w 2096597"/>
                <a:gd name="connsiteY40" fmla="*/ 209859 h 283512"/>
                <a:gd name="connsiteX41" fmla="*/ 289566 w 2096597"/>
                <a:gd name="connsiteY41" fmla="*/ 82012 h 283512"/>
                <a:gd name="connsiteX42" fmla="*/ 351255 w 2096597"/>
                <a:gd name="connsiteY42" fmla="*/ 82012 h 283512"/>
                <a:gd name="connsiteX43" fmla="*/ 351255 w 2096597"/>
                <a:gd name="connsiteY43" fmla="*/ 197032 h 283512"/>
                <a:gd name="connsiteX44" fmla="*/ 358462 w 2096597"/>
                <a:gd name="connsiteY44" fmla="*/ 221534 h 283512"/>
                <a:gd name="connsiteX45" fmla="*/ 380514 w 2096597"/>
                <a:gd name="connsiteY45" fmla="*/ 230038 h 283512"/>
                <a:gd name="connsiteX46" fmla="*/ 405594 w 2096597"/>
                <a:gd name="connsiteY46" fmla="*/ 219228 h 283512"/>
                <a:gd name="connsiteX47" fmla="*/ 414674 w 2096597"/>
                <a:gd name="connsiteY47" fmla="*/ 190834 h 283512"/>
                <a:gd name="connsiteX48" fmla="*/ 414674 w 2096597"/>
                <a:gd name="connsiteY48" fmla="*/ 82012 h 283512"/>
                <a:gd name="connsiteX49" fmla="*/ 476652 w 2096597"/>
                <a:gd name="connsiteY49" fmla="*/ 82012 h 283512"/>
                <a:gd name="connsiteX50" fmla="*/ 476652 w 2096597"/>
                <a:gd name="connsiteY50" fmla="*/ 276882 h 283512"/>
                <a:gd name="connsiteX51" fmla="*/ 417269 w 2096597"/>
                <a:gd name="connsiteY51" fmla="*/ 276882 h 283512"/>
                <a:gd name="connsiteX52" fmla="*/ 417269 w 2096597"/>
                <a:gd name="connsiteY52" fmla="*/ 252956 h 283512"/>
                <a:gd name="connsiteX53" fmla="*/ 416116 w 2096597"/>
                <a:gd name="connsiteY53" fmla="*/ 252956 h 283512"/>
                <a:gd name="connsiteX54" fmla="*/ 391901 w 2096597"/>
                <a:gd name="connsiteY54" fmla="*/ 275008 h 283512"/>
                <a:gd name="connsiteX55" fmla="*/ 357885 w 2096597"/>
                <a:gd name="connsiteY55" fmla="*/ 282647 h 283512"/>
                <a:gd name="connsiteX56" fmla="*/ 511965 w 2096597"/>
                <a:gd name="connsiteY56" fmla="*/ 2162 h 283512"/>
                <a:gd name="connsiteX57" fmla="*/ 573943 w 2096597"/>
                <a:gd name="connsiteY57" fmla="*/ 2162 h 283512"/>
                <a:gd name="connsiteX58" fmla="*/ 573943 w 2096597"/>
                <a:gd name="connsiteY58" fmla="*/ 55059 h 283512"/>
                <a:gd name="connsiteX59" fmla="*/ 511965 w 2096597"/>
                <a:gd name="connsiteY59" fmla="*/ 55059 h 283512"/>
                <a:gd name="connsiteX60" fmla="*/ 511965 w 2096597"/>
                <a:gd name="connsiteY60" fmla="*/ 2162 h 283512"/>
                <a:gd name="connsiteX61" fmla="*/ 511965 w 2096597"/>
                <a:gd name="connsiteY61" fmla="*/ 82012 h 283512"/>
                <a:gd name="connsiteX62" fmla="*/ 573943 w 2096597"/>
                <a:gd name="connsiteY62" fmla="*/ 82012 h 283512"/>
                <a:gd name="connsiteX63" fmla="*/ 573943 w 2096597"/>
                <a:gd name="connsiteY63" fmla="*/ 276882 h 283512"/>
                <a:gd name="connsiteX64" fmla="*/ 511965 w 2096597"/>
                <a:gd name="connsiteY64" fmla="*/ 276882 h 283512"/>
                <a:gd name="connsiteX65" fmla="*/ 511965 w 2096597"/>
                <a:gd name="connsiteY65" fmla="*/ 82012 h 283512"/>
                <a:gd name="connsiteX66" fmla="*/ 685935 w 2096597"/>
                <a:gd name="connsiteY66" fmla="*/ 282936 h 283512"/>
                <a:gd name="connsiteX67" fmla="*/ 651631 w 2096597"/>
                <a:gd name="connsiteY67" fmla="*/ 275873 h 283512"/>
                <a:gd name="connsiteX68" fmla="*/ 624678 w 2096597"/>
                <a:gd name="connsiteY68" fmla="*/ 255550 h 283512"/>
                <a:gd name="connsiteX69" fmla="*/ 606949 w 2096597"/>
                <a:gd name="connsiteY69" fmla="*/ 222976 h 283512"/>
                <a:gd name="connsiteX70" fmla="*/ 600607 w 2096597"/>
                <a:gd name="connsiteY70" fmla="*/ 179447 h 283512"/>
                <a:gd name="connsiteX71" fmla="*/ 606949 w 2096597"/>
                <a:gd name="connsiteY71" fmla="*/ 137504 h 283512"/>
                <a:gd name="connsiteX72" fmla="*/ 624390 w 2096597"/>
                <a:gd name="connsiteY72" fmla="*/ 104930 h 283512"/>
                <a:gd name="connsiteX73" fmla="*/ 651199 w 2096597"/>
                <a:gd name="connsiteY73" fmla="*/ 83742 h 283512"/>
                <a:gd name="connsiteX74" fmla="*/ 685791 w 2096597"/>
                <a:gd name="connsiteY74" fmla="*/ 76103 h 283512"/>
                <a:gd name="connsiteX75" fmla="*/ 718942 w 2096597"/>
                <a:gd name="connsiteY75" fmla="*/ 83886 h 283512"/>
                <a:gd name="connsiteX76" fmla="*/ 740273 w 2096597"/>
                <a:gd name="connsiteY76" fmla="*/ 103921 h 283512"/>
                <a:gd name="connsiteX77" fmla="*/ 741426 w 2096597"/>
                <a:gd name="connsiteY77" fmla="*/ 103921 h 283512"/>
                <a:gd name="connsiteX78" fmla="*/ 741426 w 2096597"/>
                <a:gd name="connsiteY78" fmla="*/ 1874 h 283512"/>
                <a:gd name="connsiteX79" fmla="*/ 803404 w 2096597"/>
                <a:gd name="connsiteY79" fmla="*/ 1874 h 283512"/>
                <a:gd name="connsiteX80" fmla="*/ 803404 w 2096597"/>
                <a:gd name="connsiteY80" fmla="*/ 276738 h 283512"/>
                <a:gd name="connsiteX81" fmla="*/ 744021 w 2096597"/>
                <a:gd name="connsiteY81" fmla="*/ 276738 h 283512"/>
                <a:gd name="connsiteX82" fmla="*/ 744021 w 2096597"/>
                <a:gd name="connsiteY82" fmla="*/ 250505 h 283512"/>
                <a:gd name="connsiteX83" fmla="*/ 743300 w 2096597"/>
                <a:gd name="connsiteY83" fmla="*/ 250505 h 283512"/>
                <a:gd name="connsiteX84" fmla="*/ 719951 w 2096597"/>
                <a:gd name="connsiteY84" fmla="*/ 274287 h 283512"/>
                <a:gd name="connsiteX85" fmla="*/ 685935 w 2096597"/>
                <a:gd name="connsiteY85" fmla="*/ 282791 h 283512"/>
                <a:gd name="connsiteX86" fmla="*/ 701934 w 2096597"/>
                <a:gd name="connsiteY86" fmla="*/ 233642 h 283512"/>
                <a:gd name="connsiteX87" fmla="*/ 732202 w 2096597"/>
                <a:gd name="connsiteY87" fmla="*/ 218363 h 283512"/>
                <a:gd name="connsiteX88" fmla="*/ 743012 w 2096597"/>
                <a:gd name="connsiteY88" fmla="*/ 179159 h 283512"/>
                <a:gd name="connsiteX89" fmla="*/ 740562 w 2096597"/>
                <a:gd name="connsiteY89" fmla="*/ 156530 h 283512"/>
                <a:gd name="connsiteX90" fmla="*/ 732923 w 2096597"/>
                <a:gd name="connsiteY90" fmla="*/ 138657 h 283512"/>
                <a:gd name="connsiteX91" fmla="*/ 720383 w 2096597"/>
                <a:gd name="connsiteY91" fmla="*/ 126982 h 283512"/>
                <a:gd name="connsiteX92" fmla="*/ 702654 w 2096597"/>
                <a:gd name="connsiteY92" fmla="*/ 122802 h 283512"/>
                <a:gd name="connsiteX93" fmla="*/ 673683 w 2096597"/>
                <a:gd name="connsiteY93" fmla="*/ 138225 h 283512"/>
                <a:gd name="connsiteX94" fmla="*/ 663450 w 2096597"/>
                <a:gd name="connsiteY94" fmla="*/ 178438 h 283512"/>
                <a:gd name="connsiteX95" fmla="*/ 673539 w 2096597"/>
                <a:gd name="connsiteY95" fmla="*/ 218796 h 283512"/>
                <a:gd name="connsiteX96" fmla="*/ 701934 w 2096597"/>
                <a:gd name="connsiteY96" fmla="*/ 233642 h 283512"/>
                <a:gd name="connsiteX97" fmla="*/ 930242 w 2096597"/>
                <a:gd name="connsiteY97" fmla="*/ 282359 h 283512"/>
                <a:gd name="connsiteX98" fmla="*/ 886858 w 2096597"/>
                <a:gd name="connsiteY98" fmla="*/ 274576 h 283512"/>
                <a:gd name="connsiteX99" fmla="*/ 854139 w 2096597"/>
                <a:gd name="connsiteY99" fmla="*/ 252811 h 283512"/>
                <a:gd name="connsiteX100" fmla="*/ 833528 w 2096597"/>
                <a:gd name="connsiteY100" fmla="*/ 219949 h 283512"/>
                <a:gd name="connsiteX101" fmla="*/ 826322 w 2096597"/>
                <a:gd name="connsiteY101" fmla="*/ 178871 h 283512"/>
                <a:gd name="connsiteX102" fmla="*/ 833528 w 2096597"/>
                <a:gd name="connsiteY102" fmla="*/ 138369 h 283512"/>
                <a:gd name="connsiteX103" fmla="*/ 854139 w 2096597"/>
                <a:gd name="connsiteY103" fmla="*/ 105650 h 283512"/>
                <a:gd name="connsiteX104" fmla="*/ 885705 w 2096597"/>
                <a:gd name="connsiteY104" fmla="*/ 84030 h 283512"/>
                <a:gd name="connsiteX105" fmla="*/ 926495 w 2096597"/>
                <a:gd name="connsiteY105" fmla="*/ 76247 h 283512"/>
                <a:gd name="connsiteX106" fmla="*/ 963970 w 2096597"/>
                <a:gd name="connsiteY106" fmla="*/ 82733 h 283512"/>
                <a:gd name="connsiteX107" fmla="*/ 993085 w 2096597"/>
                <a:gd name="connsiteY107" fmla="*/ 100606 h 283512"/>
                <a:gd name="connsiteX108" fmla="*/ 1019173 w 2096597"/>
                <a:gd name="connsiteY108" fmla="*/ 141107 h 283512"/>
                <a:gd name="connsiteX109" fmla="*/ 1027389 w 2096597"/>
                <a:gd name="connsiteY109" fmla="*/ 195302 h 283512"/>
                <a:gd name="connsiteX110" fmla="*/ 887290 w 2096597"/>
                <a:gd name="connsiteY110" fmla="*/ 195302 h 283512"/>
                <a:gd name="connsiteX111" fmla="*/ 900983 w 2096597"/>
                <a:gd name="connsiteY111" fmla="*/ 226579 h 283512"/>
                <a:gd name="connsiteX112" fmla="*/ 931107 w 2096597"/>
                <a:gd name="connsiteY112" fmla="*/ 237966 h 283512"/>
                <a:gd name="connsiteX113" fmla="*/ 951286 w 2096597"/>
                <a:gd name="connsiteY113" fmla="*/ 232777 h 283512"/>
                <a:gd name="connsiteX114" fmla="*/ 963393 w 2096597"/>
                <a:gd name="connsiteY114" fmla="*/ 218508 h 283512"/>
                <a:gd name="connsiteX115" fmla="*/ 1023930 w 2096597"/>
                <a:gd name="connsiteY115" fmla="*/ 218508 h 283512"/>
                <a:gd name="connsiteX116" fmla="*/ 1012543 w 2096597"/>
                <a:gd name="connsiteY116" fmla="*/ 243875 h 283512"/>
                <a:gd name="connsiteX117" fmla="*/ 991211 w 2096597"/>
                <a:gd name="connsiteY117" fmla="*/ 264630 h 283512"/>
                <a:gd name="connsiteX118" fmla="*/ 963970 w 2096597"/>
                <a:gd name="connsiteY118" fmla="*/ 277891 h 283512"/>
                <a:gd name="connsiteX119" fmla="*/ 930242 w 2096597"/>
                <a:gd name="connsiteY119" fmla="*/ 282503 h 283512"/>
                <a:gd name="connsiteX120" fmla="*/ 964546 w 2096597"/>
                <a:gd name="connsiteY120" fmla="*/ 158404 h 283512"/>
                <a:gd name="connsiteX121" fmla="*/ 952727 w 2096597"/>
                <a:gd name="connsiteY121" fmla="*/ 130586 h 283512"/>
                <a:gd name="connsiteX122" fmla="*/ 927648 w 2096597"/>
                <a:gd name="connsiteY122" fmla="*/ 120352 h 283512"/>
                <a:gd name="connsiteX123" fmla="*/ 900262 w 2096597"/>
                <a:gd name="connsiteY123" fmla="*/ 130586 h 283512"/>
                <a:gd name="connsiteX124" fmla="*/ 887723 w 2096597"/>
                <a:gd name="connsiteY124" fmla="*/ 158404 h 283512"/>
                <a:gd name="connsiteX125" fmla="*/ 964546 w 2096597"/>
                <a:gd name="connsiteY125" fmla="*/ 158404 h 283512"/>
                <a:gd name="connsiteX126" fmla="*/ 1050162 w 2096597"/>
                <a:gd name="connsiteY126" fmla="*/ 2018 h 283512"/>
                <a:gd name="connsiteX127" fmla="*/ 1112140 w 2096597"/>
                <a:gd name="connsiteY127" fmla="*/ 2018 h 283512"/>
                <a:gd name="connsiteX128" fmla="*/ 1112140 w 2096597"/>
                <a:gd name="connsiteY128" fmla="*/ 105939 h 283512"/>
                <a:gd name="connsiteX129" fmla="*/ 1113293 w 2096597"/>
                <a:gd name="connsiteY129" fmla="*/ 105939 h 283512"/>
                <a:gd name="connsiteX130" fmla="*/ 1137219 w 2096597"/>
                <a:gd name="connsiteY130" fmla="*/ 84030 h 283512"/>
                <a:gd name="connsiteX131" fmla="*/ 1171091 w 2096597"/>
                <a:gd name="connsiteY131" fmla="*/ 76247 h 283512"/>
                <a:gd name="connsiteX132" fmla="*/ 1199629 w 2096597"/>
                <a:gd name="connsiteY132" fmla="*/ 81724 h 283512"/>
                <a:gd name="connsiteX133" fmla="*/ 1220961 w 2096597"/>
                <a:gd name="connsiteY133" fmla="*/ 97002 h 283512"/>
                <a:gd name="connsiteX134" fmla="*/ 1234366 w 2096597"/>
                <a:gd name="connsiteY134" fmla="*/ 120208 h 283512"/>
                <a:gd name="connsiteX135" fmla="*/ 1238978 w 2096597"/>
                <a:gd name="connsiteY135" fmla="*/ 150044 h 283512"/>
                <a:gd name="connsiteX136" fmla="*/ 1238978 w 2096597"/>
                <a:gd name="connsiteY136" fmla="*/ 276738 h 283512"/>
                <a:gd name="connsiteX137" fmla="*/ 1177000 w 2096597"/>
                <a:gd name="connsiteY137" fmla="*/ 276738 h 283512"/>
                <a:gd name="connsiteX138" fmla="*/ 1177000 w 2096597"/>
                <a:gd name="connsiteY138" fmla="*/ 162583 h 283512"/>
                <a:gd name="connsiteX139" fmla="*/ 1169361 w 2096597"/>
                <a:gd name="connsiteY139" fmla="*/ 137504 h 283512"/>
                <a:gd name="connsiteX140" fmla="*/ 1146588 w 2096597"/>
                <a:gd name="connsiteY140" fmla="*/ 127991 h 283512"/>
                <a:gd name="connsiteX141" fmla="*/ 1121653 w 2096597"/>
                <a:gd name="connsiteY141" fmla="*/ 139378 h 283512"/>
                <a:gd name="connsiteX142" fmla="*/ 1112284 w 2096597"/>
                <a:gd name="connsiteY142" fmla="*/ 169069 h 283512"/>
                <a:gd name="connsiteX143" fmla="*/ 1112284 w 2096597"/>
                <a:gd name="connsiteY143" fmla="*/ 276738 h 283512"/>
                <a:gd name="connsiteX144" fmla="*/ 1050306 w 2096597"/>
                <a:gd name="connsiteY144" fmla="*/ 276738 h 283512"/>
                <a:gd name="connsiteX145" fmla="*/ 1050306 w 2096597"/>
                <a:gd name="connsiteY145" fmla="*/ 1874 h 283512"/>
                <a:gd name="connsiteX146" fmla="*/ 1362645 w 2096597"/>
                <a:gd name="connsiteY146" fmla="*/ 282936 h 283512"/>
                <a:gd name="connsiteX147" fmla="*/ 1319837 w 2096597"/>
                <a:gd name="connsiteY147" fmla="*/ 275152 h 283512"/>
                <a:gd name="connsiteX148" fmla="*/ 1286830 w 2096597"/>
                <a:gd name="connsiteY148" fmla="*/ 253388 h 283512"/>
                <a:gd name="connsiteX149" fmla="*/ 1265787 w 2096597"/>
                <a:gd name="connsiteY149" fmla="*/ 220670 h 283512"/>
                <a:gd name="connsiteX150" fmla="*/ 1258292 w 2096597"/>
                <a:gd name="connsiteY150" fmla="*/ 179735 h 283512"/>
                <a:gd name="connsiteX151" fmla="*/ 1265787 w 2096597"/>
                <a:gd name="connsiteY151" fmla="*/ 138801 h 283512"/>
                <a:gd name="connsiteX152" fmla="*/ 1286830 w 2096597"/>
                <a:gd name="connsiteY152" fmla="*/ 106083 h 283512"/>
                <a:gd name="connsiteX153" fmla="*/ 1319837 w 2096597"/>
                <a:gd name="connsiteY153" fmla="*/ 84463 h 283512"/>
                <a:gd name="connsiteX154" fmla="*/ 1362645 w 2096597"/>
                <a:gd name="connsiteY154" fmla="*/ 76679 h 283512"/>
                <a:gd name="connsiteX155" fmla="*/ 1405453 w 2096597"/>
                <a:gd name="connsiteY155" fmla="*/ 84463 h 283512"/>
                <a:gd name="connsiteX156" fmla="*/ 1438171 w 2096597"/>
                <a:gd name="connsiteY156" fmla="*/ 106083 h 283512"/>
                <a:gd name="connsiteX157" fmla="*/ 1459071 w 2096597"/>
                <a:gd name="connsiteY157" fmla="*/ 138801 h 283512"/>
                <a:gd name="connsiteX158" fmla="*/ 1466422 w 2096597"/>
                <a:gd name="connsiteY158" fmla="*/ 179735 h 283512"/>
                <a:gd name="connsiteX159" fmla="*/ 1459071 w 2096597"/>
                <a:gd name="connsiteY159" fmla="*/ 220670 h 283512"/>
                <a:gd name="connsiteX160" fmla="*/ 1438171 w 2096597"/>
                <a:gd name="connsiteY160" fmla="*/ 253388 h 283512"/>
                <a:gd name="connsiteX161" fmla="*/ 1405453 w 2096597"/>
                <a:gd name="connsiteY161" fmla="*/ 275152 h 283512"/>
                <a:gd name="connsiteX162" fmla="*/ 1362645 w 2096597"/>
                <a:gd name="connsiteY162" fmla="*/ 282936 h 283512"/>
                <a:gd name="connsiteX163" fmla="*/ 1362213 w 2096597"/>
                <a:gd name="connsiteY163" fmla="*/ 238830 h 283512"/>
                <a:gd name="connsiteX164" fmla="*/ 1393201 w 2096597"/>
                <a:gd name="connsiteY164" fmla="*/ 222687 h 283512"/>
                <a:gd name="connsiteX165" fmla="*/ 1403723 w 2096597"/>
                <a:gd name="connsiteY165" fmla="*/ 179880 h 283512"/>
                <a:gd name="connsiteX166" fmla="*/ 1393201 w 2096597"/>
                <a:gd name="connsiteY166" fmla="*/ 136928 h 283512"/>
                <a:gd name="connsiteX167" fmla="*/ 1362213 w 2096597"/>
                <a:gd name="connsiteY167" fmla="*/ 120496 h 283512"/>
                <a:gd name="connsiteX168" fmla="*/ 1331368 w 2096597"/>
                <a:gd name="connsiteY168" fmla="*/ 136928 h 283512"/>
                <a:gd name="connsiteX169" fmla="*/ 1321134 w 2096597"/>
                <a:gd name="connsiteY169" fmla="*/ 179880 h 283512"/>
                <a:gd name="connsiteX170" fmla="*/ 1331368 w 2096597"/>
                <a:gd name="connsiteY170" fmla="*/ 222687 h 283512"/>
                <a:gd name="connsiteX171" fmla="*/ 1362213 w 2096597"/>
                <a:gd name="connsiteY171" fmla="*/ 238830 h 283512"/>
                <a:gd name="connsiteX172" fmla="*/ 1554488 w 2096597"/>
                <a:gd name="connsiteY172" fmla="*/ 282647 h 283512"/>
                <a:gd name="connsiteX173" fmla="*/ 1503320 w 2096597"/>
                <a:gd name="connsiteY173" fmla="*/ 262613 h 283512"/>
                <a:gd name="connsiteX174" fmla="*/ 1486024 w 2096597"/>
                <a:gd name="connsiteY174" fmla="*/ 209859 h 283512"/>
                <a:gd name="connsiteX175" fmla="*/ 1486024 w 2096597"/>
                <a:gd name="connsiteY175" fmla="*/ 82012 h 283512"/>
                <a:gd name="connsiteX176" fmla="*/ 1547713 w 2096597"/>
                <a:gd name="connsiteY176" fmla="*/ 82012 h 283512"/>
                <a:gd name="connsiteX177" fmla="*/ 1547713 w 2096597"/>
                <a:gd name="connsiteY177" fmla="*/ 197032 h 283512"/>
                <a:gd name="connsiteX178" fmla="*/ 1554920 w 2096597"/>
                <a:gd name="connsiteY178" fmla="*/ 221534 h 283512"/>
                <a:gd name="connsiteX179" fmla="*/ 1576973 w 2096597"/>
                <a:gd name="connsiteY179" fmla="*/ 230038 h 283512"/>
                <a:gd name="connsiteX180" fmla="*/ 1602052 w 2096597"/>
                <a:gd name="connsiteY180" fmla="*/ 219228 h 283512"/>
                <a:gd name="connsiteX181" fmla="*/ 1611132 w 2096597"/>
                <a:gd name="connsiteY181" fmla="*/ 190834 h 283512"/>
                <a:gd name="connsiteX182" fmla="*/ 1611132 w 2096597"/>
                <a:gd name="connsiteY182" fmla="*/ 82012 h 283512"/>
                <a:gd name="connsiteX183" fmla="*/ 1673110 w 2096597"/>
                <a:gd name="connsiteY183" fmla="*/ 82012 h 283512"/>
                <a:gd name="connsiteX184" fmla="*/ 1673110 w 2096597"/>
                <a:gd name="connsiteY184" fmla="*/ 276882 h 283512"/>
                <a:gd name="connsiteX185" fmla="*/ 1613727 w 2096597"/>
                <a:gd name="connsiteY185" fmla="*/ 276882 h 283512"/>
                <a:gd name="connsiteX186" fmla="*/ 1613727 w 2096597"/>
                <a:gd name="connsiteY186" fmla="*/ 252956 h 283512"/>
                <a:gd name="connsiteX187" fmla="*/ 1612574 w 2096597"/>
                <a:gd name="connsiteY187" fmla="*/ 252956 h 283512"/>
                <a:gd name="connsiteX188" fmla="*/ 1588359 w 2096597"/>
                <a:gd name="connsiteY188" fmla="*/ 275008 h 283512"/>
                <a:gd name="connsiteX189" fmla="*/ 1554344 w 2096597"/>
                <a:gd name="connsiteY189" fmla="*/ 282647 h 283512"/>
                <a:gd name="connsiteX190" fmla="*/ 1789571 w 2096597"/>
                <a:gd name="connsiteY190" fmla="*/ 283080 h 283512"/>
                <a:gd name="connsiteX191" fmla="*/ 1721395 w 2096597"/>
                <a:gd name="connsiteY191" fmla="*/ 264630 h 283512"/>
                <a:gd name="connsiteX192" fmla="*/ 1694730 w 2096597"/>
                <a:gd name="connsiteY192" fmla="*/ 213751 h 283512"/>
                <a:gd name="connsiteX193" fmla="*/ 1753393 w 2096597"/>
                <a:gd name="connsiteY193" fmla="*/ 213751 h 283512"/>
                <a:gd name="connsiteX194" fmla="*/ 1764491 w 2096597"/>
                <a:gd name="connsiteY194" fmla="*/ 235515 h 283512"/>
                <a:gd name="connsiteX195" fmla="*/ 1789282 w 2096597"/>
                <a:gd name="connsiteY195" fmla="*/ 242722 h 283512"/>
                <a:gd name="connsiteX196" fmla="*/ 1811479 w 2096597"/>
                <a:gd name="connsiteY196" fmla="*/ 237821 h 283512"/>
                <a:gd name="connsiteX197" fmla="*/ 1819695 w 2096597"/>
                <a:gd name="connsiteY197" fmla="*/ 223408 h 283512"/>
                <a:gd name="connsiteX198" fmla="*/ 1815515 w 2096597"/>
                <a:gd name="connsiteY198" fmla="*/ 212886 h 283512"/>
                <a:gd name="connsiteX199" fmla="*/ 1804416 w 2096597"/>
                <a:gd name="connsiteY199" fmla="*/ 206400 h 283512"/>
                <a:gd name="connsiteX200" fmla="*/ 1788562 w 2096597"/>
                <a:gd name="connsiteY200" fmla="*/ 202653 h 283512"/>
                <a:gd name="connsiteX201" fmla="*/ 1770112 w 2096597"/>
                <a:gd name="connsiteY201" fmla="*/ 199482 h 283512"/>
                <a:gd name="connsiteX202" fmla="*/ 1745033 w 2096597"/>
                <a:gd name="connsiteY202" fmla="*/ 194005 h 283512"/>
                <a:gd name="connsiteX203" fmla="*/ 1722404 w 2096597"/>
                <a:gd name="connsiteY203" fmla="*/ 184348 h 283512"/>
                <a:gd name="connsiteX204" fmla="*/ 1706261 w 2096597"/>
                <a:gd name="connsiteY204" fmla="*/ 167052 h 283512"/>
                <a:gd name="connsiteX205" fmla="*/ 1700207 w 2096597"/>
                <a:gd name="connsiteY205" fmla="*/ 139090 h 283512"/>
                <a:gd name="connsiteX206" fmla="*/ 1706837 w 2096597"/>
                <a:gd name="connsiteY206" fmla="*/ 111992 h 283512"/>
                <a:gd name="connsiteX207" fmla="*/ 1724999 w 2096597"/>
                <a:gd name="connsiteY207" fmla="*/ 92390 h 283512"/>
                <a:gd name="connsiteX208" fmla="*/ 1751808 w 2096597"/>
                <a:gd name="connsiteY208" fmla="*/ 80571 h 283512"/>
                <a:gd name="connsiteX209" fmla="*/ 1784382 w 2096597"/>
                <a:gd name="connsiteY209" fmla="*/ 76535 h 283512"/>
                <a:gd name="connsiteX210" fmla="*/ 1847945 w 2096597"/>
                <a:gd name="connsiteY210" fmla="*/ 93255 h 283512"/>
                <a:gd name="connsiteX211" fmla="*/ 1872304 w 2096597"/>
                <a:gd name="connsiteY211" fmla="*/ 138945 h 283512"/>
                <a:gd name="connsiteX212" fmla="*/ 1815226 w 2096597"/>
                <a:gd name="connsiteY212" fmla="*/ 138945 h 283512"/>
                <a:gd name="connsiteX213" fmla="*/ 1805137 w 2096597"/>
                <a:gd name="connsiteY213" fmla="*/ 120929 h 283512"/>
                <a:gd name="connsiteX214" fmla="*/ 1783949 w 2096597"/>
                <a:gd name="connsiteY214" fmla="*/ 116172 h 283512"/>
                <a:gd name="connsiteX215" fmla="*/ 1764780 w 2096597"/>
                <a:gd name="connsiteY215" fmla="*/ 120496 h 283512"/>
                <a:gd name="connsiteX216" fmla="*/ 1756996 w 2096597"/>
                <a:gd name="connsiteY216" fmla="*/ 134045 h 283512"/>
                <a:gd name="connsiteX217" fmla="*/ 1760744 w 2096597"/>
                <a:gd name="connsiteY217" fmla="*/ 142405 h 283512"/>
                <a:gd name="connsiteX218" fmla="*/ 1770977 w 2096597"/>
                <a:gd name="connsiteY218" fmla="*/ 147593 h 283512"/>
                <a:gd name="connsiteX219" fmla="*/ 1785967 w 2096597"/>
                <a:gd name="connsiteY219" fmla="*/ 151197 h 283512"/>
                <a:gd name="connsiteX220" fmla="*/ 1803696 w 2096597"/>
                <a:gd name="connsiteY220" fmla="*/ 154224 h 283512"/>
                <a:gd name="connsiteX221" fmla="*/ 1829784 w 2096597"/>
                <a:gd name="connsiteY221" fmla="*/ 159701 h 283512"/>
                <a:gd name="connsiteX222" fmla="*/ 1853710 w 2096597"/>
                <a:gd name="connsiteY222" fmla="*/ 169790 h 283512"/>
                <a:gd name="connsiteX223" fmla="*/ 1871439 w 2096597"/>
                <a:gd name="connsiteY223" fmla="*/ 188239 h 283512"/>
                <a:gd name="connsiteX224" fmla="*/ 1878357 w 2096597"/>
                <a:gd name="connsiteY224" fmla="*/ 218508 h 283512"/>
                <a:gd name="connsiteX225" fmla="*/ 1871727 w 2096597"/>
                <a:gd name="connsiteY225" fmla="*/ 246614 h 283512"/>
                <a:gd name="connsiteX226" fmla="*/ 1853278 w 2096597"/>
                <a:gd name="connsiteY226" fmla="*/ 266792 h 283512"/>
                <a:gd name="connsiteX227" fmla="*/ 1825172 w 2096597"/>
                <a:gd name="connsiteY227" fmla="*/ 279044 h 283512"/>
                <a:gd name="connsiteX228" fmla="*/ 1789715 w 2096597"/>
                <a:gd name="connsiteY228" fmla="*/ 283224 h 283512"/>
                <a:gd name="connsiteX229" fmla="*/ 1999430 w 2096597"/>
                <a:gd name="connsiteY229" fmla="*/ 282791 h 283512"/>
                <a:gd name="connsiteX230" fmla="*/ 1956046 w 2096597"/>
                <a:gd name="connsiteY230" fmla="*/ 275008 h 283512"/>
                <a:gd name="connsiteX231" fmla="*/ 1923327 w 2096597"/>
                <a:gd name="connsiteY231" fmla="*/ 253244 h 283512"/>
                <a:gd name="connsiteX232" fmla="*/ 1902716 w 2096597"/>
                <a:gd name="connsiteY232" fmla="*/ 220381 h 283512"/>
                <a:gd name="connsiteX233" fmla="*/ 1895509 w 2096597"/>
                <a:gd name="connsiteY233" fmla="*/ 179303 h 283512"/>
                <a:gd name="connsiteX234" fmla="*/ 1902716 w 2096597"/>
                <a:gd name="connsiteY234" fmla="*/ 138801 h 283512"/>
                <a:gd name="connsiteX235" fmla="*/ 1923327 w 2096597"/>
                <a:gd name="connsiteY235" fmla="*/ 106083 h 283512"/>
                <a:gd name="connsiteX236" fmla="*/ 1954893 w 2096597"/>
                <a:gd name="connsiteY236" fmla="*/ 84463 h 283512"/>
                <a:gd name="connsiteX237" fmla="*/ 1995683 w 2096597"/>
                <a:gd name="connsiteY237" fmla="*/ 76679 h 283512"/>
                <a:gd name="connsiteX238" fmla="*/ 2033157 w 2096597"/>
                <a:gd name="connsiteY238" fmla="*/ 83165 h 283512"/>
                <a:gd name="connsiteX239" fmla="*/ 2062273 w 2096597"/>
                <a:gd name="connsiteY239" fmla="*/ 101038 h 283512"/>
                <a:gd name="connsiteX240" fmla="*/ 2088361 w 2096597"/>
                <a:gd name="connsiteY240" fmla="*/ 141540 h 283512"/>
                <a:gd name="connsiteX241" fmla="*/ 2096577 w 2096597"/>
                <a:gd name="connsiteY241" fmla="*/ 195734 h 283512"/>
                <a:gd name="connsiteX242" fmla="*/ 1956478 w 2096597"/>
                <a:gd name="connsiteY242" fmla="*/ 195734 h 283512"/>
                <a:gd name="connsiteX243" fmla="*/ 1970171 w 2096597"/>
                <a:gd name="connsiteY243" fmla="*/ 227011 h 283512"/>
                <a:gd name="connsiteX244" fmla="*/ 2000295 w 2096597"/>
                <a:gd name="connsiteY244" fmla="*/ 238398 h 283512"/>
                <a:gd name="connsiteX245" fmla="*/ 2020474 w 2096597"/>
                <a:gd name="connsiteY245" fmla="*/ 233209 h 283512"/>
                <a:gd name="connsiteX246" fmla="*/ 2032725 w 2096597"/>
                <a:gd name="connsiteY246" fmla="*/ 218940 h 283512"/>
                <a:gd name="connsiteX247" fmla="*/ 2093262 w 2096597"/>
                <a:gd name="connsiteY247" fmla="*/ 218940 h 283512"/>
                <a:gd name="connsiteX248" fmla="*/ 2081875 w 2096597"/>
                <a:gd name="connsiteY248" fmla="*/ 244308 h 283512"/>
                <a:gd name="connsiteX249" fmla="*/ 2060543 w 2096597"/>
                <a:gd name="connsiteY249" fmla="*/ 265063 h 283512"/>
                <a:gd name="connsiteX250" fmla="*/ 2033302 w 2096597"/>
                <a:gd name="connsiteY250" fmla="*/ 278323 h 283512"/>
                <a:gd name="connsiteX251" fmla="*/ 1999574 w 2096597"/>
                <a:gd name="connsiteY251" fmla="*/ 282936 h 283512"/>
                <a:gd name="connsiteX252" fmla="*/ 2033878 w 2096597"/>
                <a:gd name="connsiteY252" fmla="*/ 158836 h 283512"/>
                <a:gd name="connsiteX253" fmla="*/ 2022059 w 2096597"/>
                <a:gd name="connsiteY253" fmla="*/ 131018 h 283512"/>
                <a:gd name="connsiteX254" fmla="*/ 1996980 w 2096597"/>
                <a:gd name="connsiteY254" fmla="*/ 120784 h 283512"/>
                <a:gd name="connsiteX255" fmla="*/ 1969594 w 2096597"/>
                <a:gd name="connsiteY255" fmla="*/ 131018 h 283512"/>
                <a:gd name="connsiteX256" fmla="*/ 1957055 w 2096597"/>
                <a:gd name="connsiteY256" fmla="*/ 158836 h 283512"/>
                <a:gd name="connsiteX257" fmla="*/ 2033878 w 2096597"/>
                <a:gd name="connsiteY257" fmla="*/ 158836 h 283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</a:cxnLst>
              <a:rect l="l" t="t" r="r" b="b"/>
              <a:pathLst>
                <a:path w="2096597" h="283512">
                  <a:moveTo>
                    <a:pt x="129433" y="283512"/>
                  </a:moveTo>
                  <a:cubicBezTo>
                    <a:pt x="109830" y="283512"/>
                    <a:pt x="92390" y="280197"/>
                    <a:pt x="76968" y="273567"/>
                  </a:cubicBezTo>
                  <a:cubicBezTo>
                    <a:pt x="61545" y="266937"/>
                    <a:pt x="47997" y="257568"/>
                    <a:pt x="36610" y="245461"/>
                  </a:cubicBezTo>
                  <a:cubicBezTo>
                    <a:pt x="24647" y="232489"/>
                    <a:pt x="15567" y="217354"/>
                    <a:pt x="9369" y="199770"/>
                  </a:cubicBezTo>
                  <a:cubicBezTo>
                    <a:pt x="3171" y="182330"/>
                    <a:pt x="0" y="163160"/>
                    <a:pt x="0" y="142260"/>
                  </a:cubicBezTo>
                  <a:cubicBezTo>
                    <a:pt x="0" y="121361"/>
                    <a:pt x="3459" y="100894"/>
                    <a:pt x="10522" y="82733"/>
                  </a:cubicBezTo>
                  <a:cubicBezTo>
                    <a:pt x="17440" y="64572"/>
                    <a:pt x="27386" y="49006"/>
                    <a:pt x="40358" y="36178"/>
                  </a:cubicBezTo>
                  <a:cubicBezTo>
                    <a:pt x="51744" y="24791"/>
                    <a:pt x="65149" y="15855"/>
                    <a:pt x="80715" y="9513"/>
                  </a:cubicBezTo>
                  <a:cubicBezTo>
                    <a:pt x="96138" y="3171"/>
                    <a:pt x="113866" y="0"/>
                    <a:pt x="133612" y="0"/>
                  </a:cubicBezTo>
                  <a:cubicBezTo>
                    <a:pt x="151053" y="0"/>
                    <a:pt x="166907" y="2162"/>
                    <a:pt x="180744" y="6630"/>
                  </a:cubicBezTo>
                  <a:cubicBezTo>
                    <a:pt x="194725" y="11098"/>
                    <a:pt x="206833" y="17440"/>
                    <a:pt x="216922" y="25656"/>
                  </a:cubicBezTo>
                  <a:cubicBezTo>
                    <a:pt x="227011" y="33872"/>
                    <a:pt x="235227" y="43817"/>
                    <a:pt x="241425" y="55492"/>
                  </a:cubicBezTo>
                  <a:cubicBezTo>
                    <a:pt x="247623" y="67167"/>
                    <a:pt x="251947" y="80139"/>
                    <a:pt x="254109" y="94264"/>
                  </a:cubicBezTo>
                  <a:lnTo>
                    <a:pt x="188672" y="94264"/>
                  </a:lnTo>
                  <a:cubicBezTo>
                    <a:pt x="186077" y="83165"/>
                    <a:pt x="180456" y="73797"/>
                    <a:pt x="171520" y="66446"/>
                  </a:cubicBezTo>
                  <a:cubicBezTo>
                    <a:pt x="162583" y="59095"/>
                    <a:pt x="150764" y="55348"/>
                    <a:pt x="135774" y="55348"/>
                  </a:cubicBezTo>
                  <a:cubicBezTo>
                    <a:pt x="124532" y="55348"/>
                    <a:pt x="114731" y="57654"/>
                    <a:pt x="106227" y="61978"/>
                  </a:cubicBezTo>
                  <a:cubicBezTo>
                    <a:pt x="97723" y="66446"/>
                    <a:pt x="90660" y="72500"/>
                    <a:pt x="85039" y="80283"/>
                  </a:cubicBezTo>
                  <a:cubicBezTo>
                    <a:pt x="79418" y="88066"/>
                    <a:pt x="75238" y="97146"/>
                    <a:pt x="72500" y="107668"/>
                  </a:cubicBezTo>
                  <a:cubicBezTo>
                    <a:pt x="69761" y="118190"/>
                    <a:pt x="68320" y="129721"/>
                    <a:pt x="68320" y="142116"/>
                  </a:cubicBezTo>
                  <a:cubicBezTo>
                    <a:pt x="68320" y="154512"/>
                    <a:pt x="69905" y="166043"/>
                    <a:pt x="73076" y="176709"/>
                  </a:cubicBezTo>
                  <a:cubicBezTo>
                    <a:pt x="76247" y="187375"/>
                    <a:pt x="80715" y="196599"/>
                    <a:pt x="86625" y="204238"/>
                  </a:cubicBezTo>
                  <a:cubicBezTo>
                    <a:pt x="92534" y="212021"/>
                    <a:pt x="99597" y="218075"/>
                    <a:pt x="108101" y="222255"/>
                  </a:cubicBezTo>
                  <a:cubicBezTo>
                    <a:pt x="116605" y="226579"/>
                    <a:pt x="126117" y="228741"/>
                    <a:pt x="136783" y="228741"/>
                  </a:cubicBezTo>
                  <a:cubicBezTo>
                    <a:pt x="145576" y="228741"/>
                    <a:pt x="153647" y="227444"/>
                    <a:pt x="160566" y="224705"/>
                  </a:cubicBezTo>
                  <a:cubicBezTo>
                    <a:pt x="167484" y="222111"/>
                    <a:pt x="173538" y="218508"/>
                    <a:pt x="178438" y="214039"/>
                  </a:cubicBezTo>
                  <a:cubicBezTo>
                    <a:pt x="183339" y="209571"/>
                    <a:pt x="187375" y="204526"/>
                    <a:pt x="190257" y="198761"/>
                  </a:cubicBezTo>
                  <a:cubicBezTo>
                    <a:pt x="193140" y="193140"/>
                    <a:pt x="195014" y="187230"/>
                    <a:pt x="195734" y="181033"/>
                  </a:cubicBezTo>
                  <a:lnTo>
                    <a:pt x="195734" y="180312"/>
                  </a:lnTo>
                  <a:lnTo>
                    <a:pt x="144711" y="180312"/>
                  </a:lnTo>
                  <a:lnTo>
                    <a:pt x="144711" y="130874"/>
                  </a:lnTo>
                  <a:lnTo>
                    <a:pt x="258144" y="130874"/>
                  </a:lnTo>
                  <a:lnTo>
                    <a:pt x="258144" y="277026"/>
                  </a:lnTo>
                  <a:lnTo>
                    <a:pt x="211013" y="277026"/>
                  </a:lnTo>
                  <a:lnTo>
                    <a:pt x="207265" y="244308"/>
                  </a:lnTo>
                  <a:lnTo>
                    <a:pt x="206544" y="244308"/>
                  </a:lnTo>
                  <a:cubicBezTo>
                    <a:pt x="197608" y="258289"/>
                    <a:pt x="186654" y="268234"/>
                    <a:pt x="173682" y="274143"/>
                  </a:cubicBezTo>
                  <a:cubicBezTo>
                    <a:pt x="160566" y="280053"/>
                    <a:pt x="145864" y="283080"/>
                    <a:pt x="129288" y="283080"/>
                  </a:cubicBezTo>
                  <a:moveTo>
                    <a:pt x="358029" y="282647"/>
                  </a:moveTo>
                  <a:cubicBezTo>
                    <a:pt x="335400" y="282647"/>
                    <a:pt x="318393" y="276017"/>
                    <a:pt x="306862" y="262613"/>
                  </a:cubicBezTo>
                  <a:cubicBezTo>
                    <a:pt x="295331" y="249352"/>
                    <a:pt x="289566" y="231768"/>
                    <a:pt x="289566" y="209859"/>
                  </a:cubicBezTo>
                  <a:lnTo>
                    <a:pt x="289566" y="82012"/>
                  </a:lnTo>
                  <a:lnTo>
                    <a:pt x="351255" y="82012"/>
                  </a:lnTo>
                  <a:lnTo>
                    <a:pt x="351255" y="197032"/>
                  </a:lnTo>
                  <a:cubicBezTo>
                    <a:pt x="351255" y="207697"/>
                    <a:pt x="353705" y="215913"/>
                    <a:pt x="358462" y="221534"/>
                  </a:cubicBezTo>
                  <a:cubicBezTo>
                    <a:pt x="363218" y="227300"/>
                    <a:pt x="370713" y="230038"/>
                    <a:pt x="380514" y="230038"/>
                  </a:cubicBezTo>
                  <a:cubicBezTo>
                    <a:pt x="391180" y="230038"/>
                    <a:pt x="399540" y="226435"/>
                    <a:pt x="405594" y="219228"/>
                  </a:cubicBezTo>
                  <a:cubicBezTo>
                    <a:pt x="411647" y="212021"/>
                    <a:pt x="414674" y="202509"/>
                    <a:pt x="414674" y="190834"/>
                  </a:cubicBezTo>
                  <a:lnTo>
                    <a:pt x="414674" y="82012"/>
                  </a:lnTo>
                  <a:lnTo>
                    <a:pt x="476652" y="82012"/>
                  </a:lnTo>
                  <a:lnTo>
                    <a:pt x="476652" y="276882"/>
                  </a:lnTo>
                  <a:lnTo>
                    <a:pt x="417269" y="276882"/>
                  </a:lnTo>
                  <a:lnTo>
                    <a:pt x="417269" y="252956"/>
                  </a:lnTo>
                  <a:lnTo>
                    <a:pt x="416116" y="252956"/>
                  </a:lnTo>
                  <a:cubicBezTo>
                    <a:pt x="409053" y="262613"/>
                    <a:pt x="400981" y="269963"/>
                    <a:pt x="391901" y="275008"/>
                  </a:cubicBezTo>
                  <a:cubicBezTo>
                    <a:pt x="382965" y="280053"/>
                    <a:pt x="371578" y="282647"/>
                    <a:pt x="357885" y="282647"/>
                  </a:cubicBezTo>
                  <a:moveTo>
                    <a:pt x="511965" y="2162"/>
                  </a:moveTo>
                  <a:lnTo>
                    <a:pt x="573943" y="2162"/>
                  </a:lnTo>
                  <a:lnTo>
                    <a:pt x="573943" y="55059"/>
                  </a:lnTo>
                  <a:lnTo>
                    <a:pt x="511965" y="55059"/>
                  </a:lnTo>
                  <a:lnTo>
                    <a:pt x="511965" y="2162"/>
                  </a:lnTo>
                  <a:close/>
                  <a:moveTo>
                    <a:pt x="511965" y="82012"/>
                  </a:moveTo>
                  <a:lnTo>
                    <a:pt x="573943" y="82012"/>
                  </a:lnTo>
                  <a:lnTo>
                    <a:pt x="573943" y="276882"/>
                  </a:lnTo>
                  <a:lnTo>
                    <a:pt x="511965" y="276882"/>
                  </a:lnTo>
                  <a:lnTo>
                    <a:pt x="511965" y="82012"/>
                  </a:lnTo>
                  <a:close/>
                  <a:moveTo>
                    <a:pt x="685935" y="282936"/>
                  </a:moveTo>
                  <a:cubicBezTo>
                    <a:pt x="673539" y="282936"/>
                    <a:pt x="662009" y="280629"/>
                    <a:pt x="651631" y="275873"/>
                  </a:cubicBezTo>
                  <a:cubicBezTo>
                    <a:pt x="641253" y="271117"/>
                    <a:pt x="632173" y="264342"/>
                    <a:pt x="624678" y="255550"/>
                  </a:cubicBezTo>
                  <a:cubicBezTo>
                    <a:pt x="617039" y="246614"/>
                    <a:pt x="611129" y="235804"/>
                    <a:pt x="606949" y="222976"/>
                  </a:cubicBezTo>
                  <a:cubicBezTo>
                    <a:pt x="602769" y="210148"/>
                    <a:pt x="600607" y="195590"/>
                    <a:pt x="600607" y="179447"/>
                  </a:cubicBezTo>
                  <a:cubicBezTo>
                    <a:pt x="600607" y="164169"/>
                    <a:pt x="602769" y="150332"/>
                    <a:pt x="606949" y="137504"/>
                  </a:cubicBezTo>
                  <a:cubicBezTo>
                    <a:pt x="611129" y="124820"/>
                    <a:pt x="617039" y="114010"/>
                    <a:pt x="624390" y="104930"/>
                  </a:cubicBezTo>
                  <a:cubicBezTo>
                    <a:pt x="631884" y="95993"/>
                    <a:pt x="640821" y="88931"/>
                    <a:pt x="651199" y="83742"/>
                  </a:cubicBezTo>
                  <a:cubicBezTo>
                    <a:pt x="661576" y="78697"/>
                    <a:pt x="673107" y="76103"/>
                    <a:pt x="685791" y="76103"/>
                  </a:cubicBezTo>
                  <a:cubicBezTo>
                    <a:pt x="699483" y="76103"/>
                    <a:pt x="710582" y="78697"/>
                    <a:pt x="718942" y="83886"/>
                  </a:cubicBezTo>
                  <a:cubicBezTo>
                    <a:pt x="727301" y="89075"/>
                    <a:pt x="734364" y="95705"/>
                    <a:pt x="740273" y="103921"/>
                  </a:cubicBezTo>
                  <a:lnTo>
                    <a:pt x="741426" y="103921"/>
                  </a:lnTo>
                  <a:lnTo>
                    <a:pt x="741426" y="1874"/>
                  </a:lnTo>
                  <a:lnTo>
                    <a:pt x="803404" y="1874"/>
                  </a:lnTo>
                  <a:lnTo>
                    <a:pt x="803404" y="276738"/>
                  </a:lnTo>
                  <a:lnTo>
                    <a:pt x="744021" y="276738"/>
                  </a:lnTo>
                  <a:lnTo>
                    <a:pt x="744021" y="250505"/>
                  </a:lnTo>
                  <a:lnTo>
                    <a:pt x="743300" y="250505"/>
                  </a:lnTo>
                  <a:cubicBezTo>
                    <a:pt x="737535" y="260595"/>
                    <a:pt x="729607" y="268522"/>
                    <a:pt x="719951" y="274287"/>
                  </a:cubicBezTo>
                  <a:cubicBezTo>
                    <a:pt x="710149" y="280053"/>
                    <a:pt x="698907" y="282791"/>
                    <a:pt x="685935" y="282791"/>
                  </a:cubicBezTo>
                  <a:moveTo>
                    <a:pt x="701934" y="233642"/>
                  </a:moveTo>
                  <a:cubicBezTo>
                    <a:pt x="714906" y="233642"/>
                    <a:pt x="724995" y="228597"/>
                    <a:pt x="732202" y="218363"/>
                  </a:cubicBezTo>
                  <a:cubicBezTo>
                    <a:pt x="739409" y="208274"/>
                    <a:pt x="743012" y="195158"/>
                    <a:pt x="743012" y="179159"/>
                  </a:cubicBezTo>
                  <a:cubicBezTo>
                    <a:pt x="743012" y="171087"/>
                    <a:pt x="742147" y="163448"/>
                    <a:pt x="740562" y="156530"/>
                  </a:cubicBezTo>
                  <a:cubicBezTo>
                    <a:pt x="738976" y="149611"/>
                    <a:pt x="736382" y="143558"/>
                    <a:pt x="732923" y="138657"/>
                  </a:cubicBezTo>
                  <a:cubicBezTo>
                    <a:pt x="729463" y="133757"/>
                    <a:pt x="725284" y="129865"/>
                    <a:pt x="720383" y="126982"/>
                  </a:cubicBezTo>
                  <a:cubicBezTo>
                    <a:pt x="715482" y="124244"/>
                    <a:pt x="709573" y="122802"/>
                    <a:pt x="702654" y="122802"/>
                  </a:cubicBezTo>
                  <a:cubicBezTo>
                    <a:pt x="690259" y="122802"/>
                    <a:pt x="680602" y="127991"/>
                    <a:pt x="673683" y="138225"/>
                  </a:cubicBezTo>
                  <a:cubicBezTo>
                    <a:pt x="666765" y="148458"/>
                    <a:pt x="663450" y="161863"/>
                    <a:pt x="663450" y="178438"/>
                  </a:cubicBezTo>
                  <a:cubicBezTo>
                    <a:pt x="663450" y="195014"/>
                    <a:pt x="666765" y="208851"/>
                    <a:pt x="673539" y="218796"/>
                  </a:cubicBezTo>
                  <a:cubicBezTo>
                    <a:pt x="680314" y="228741"/>
                    <a:pt x="689682" y="233642"/>
                    <a:pt x="701934" y="233642"/>
                  </a:cubicBezTo>
                  <a:moveTo>
                    <a:pt x="930242" y="282359"/>
                  </a:moveTo>
                  <a:cubicBezTo>
                    <a:pt x="914243" y="282359"/>
                    <a:pt x="899830" y="279765"/>
                    <a:pt x="886858" y="274576"/>
                  </a:cubicBezTo>
                  <a:cubicBezTo>
                    <a:pt x="873886" y="269387"/>
                    <a:pt x="862932" y="262180"/>
                    <a:pt x="854139" y="252811"/>
                  </a:cubicBezTo>
                  <a:cubicBezTo>
                    <a:pt x="845203" y="243587"/>
                    <a:pt x="838429" y="232633"/>
                    <a:pt x="833528" y="219949"/>
                  </a:cubicBezTo>
                  <a:cubicBezTo>
                    <a:pt x="828772" y="207265"/>
                    <a:pt x="826322" y="193572"/>
                    <a:pt x="826322" y="178871"/>
                  </a:cubicBezTo>
                  <a:cubicBezTo>
                    <a:pt x="826322" y="164169"/>
                    <a:pt x="828772" y="150909"/>
                    <a:pt x="833528" y="138369"/>
                  </a:cubicBezTo>
                  <a:cubicBezTo>
                    <a:pt x="838285" y="125829"/>
                    <a:pt x="845203" y="114875"/>
                    <a:pt x="854139" y="105650"/>
                  </a:cubicBezTo>
                  <a:cubicBezTo>
                    <a:pt x="863076" y="96426"/>
                    <a:pt x="873598" y="89219"/>
                    <a:pt x="885705" y="84030"/>
                  </a:cubicBezTo>
                  <a:cubicBezTo>
                    <a:pt x="897812" y="78841"/>
                    <a:pt x="911505" y="76247"/>
                    <a:pt x="926495" y="76247"/>
                  </a:cubicBezTo>
                  <a:cubicBezTo>
                    <a:pt x="940476" y="76247"/>
                    <a:pt x="953016" y="78409"/>
                    <a:pt x="963970" y="82733"/>
                  </a:cubicBezTo>
                  <a:cubicBezTo>
                    <a:pt x="975068" y="87057"/>
                    <a:pt x="984725" y="92967"/>
                    <a:pt x="993085" y="100606"/>
                  </a:cubicBezTo>
                  <a:cubicBezTo>
                    <a:pt x="1004760" y="111272"/>
                    <a:pt x="1013408" y="124820"/>
                    <a:pt x="1019173" y="141107"/>
                  </a:cubicBezTo>
                  <a:cubicBezTo>
                    <a:pt x="1024939" y="157539"/>
                    <a:pt x="1027533" y="175556"/>
                    <a:pt x="1027389" y="195302"/>
                  </a:cubicBezTo>
                  <a:lnTo>
                    <a:pt x="887290" y="195302"/>
                  </a:lnTo>
                  <a:cubicBezTo>
                    <a:pt x="889308" y="208562"/>
                    <a:pt x="893921" y="218940"/>
                    <a:pt x="900983" y="226579"/>
                  </a:cubicBezTo>
                  <a:cubicBezTo>
                    <a:pt x="908046" y="234218"/>
                    <a:pt x="918135" y="237966"/>
                    <a:pt x="931107" y="237966"/>
                  </a:cubicBezTo>
                  <a:cubicBezTo>
                    <a:pt x="939179" y="237966"/>
                    <a:pt x="945953" y="236236"/>
                    <a:pt x="951286" y="232777"/>
                  </a:cubicBezTo>
                  <a:cubicBezTo>
                    <a:pt x="956619" y="229318"/>
                    <a:pt x="960655" y="224561"/>
                    <a:pt x="963393" y="218508"/>
                  </a:cubicBezTo>
                  <a:lnTo>
                    <a:pt x="1023930" y="218508"/>
                  </a:lnTo>
                  <a:cubicBezTo>
                    <a:pt x="1021912" y="227444"/>
                    <a:pt x="1018020" y="235804"/>
                    <a:pt x="1012543" y="243875"/>
                  </a:cubicBezTo>
                  <a:cubicBezTo>
                    <a:pt x="1006922" y="251803"/>
                    <a:pt x="999859" y="258721"/>
                    <a:pt x="991211" y="264630"/>
                  </a:cubicBezTo>
                  <a:cubicBezTo>
                    <a:pt x="983140" y="270540"/>
                    <a:pt x="974059" y="274864"/>
                    <a:pt x="963970" y="277891"/>
                  </a:cubicBezTo>
                  <a:cubicBezTo>
                    <a:pt x="954024" y="280918"/>
                    <a:pt x="942782" y="282503"/>
                    <a:pt x="930242" y="282503"/>
                  </a:cubicBezTo>
                  <a:moveTo>
                    <a:pt x="964546" y="158404"/>
                  </a:moveTo>
                  <a:cubicBezTo>
                    <a:pt x="963249" y="146729"/>
                    <a:pt x="959357" y="137504"/>
                    <a:pt x="952727" y="130586"/>
                  </a:cubicBezTo>
                  <a:cubicBezTo>
                    <a:pt x="946097" y="123811"/>
                    <a:pt x="937737" y="120352"/>
                    <a:pt x="927648" y="120352"/>
                  </a:cubicBezTo>
                  <a:cubicBezTo>
                    <a:pt x="915685" y="120352"/>
                    <a:pt x="906604" y="123811"/>
                    <a:pt x="900262" y="130586"/>
                  </a:cubicBezTo>
                  <a:cubicBezTo>
                    <a:pt x="893921" y="137504"/>
                    <a:pt x="889741" y="146729"/>
                    <a:pt x="887723" y="158404"/>
                  </a:cubicBezTo>
                  <a:lnTo>
                    <a:pt x="964546" y="158404"/>
                  </a:lnTo>
                  <a:close/>
                  <a:moveTo>
                    <a:pt x="1050162" y="2018"/>
                  </a:moveTo>
                  <a:lnTo>
                    <a:pt x="1112140" y="2018"/>
                  </a:lnTo>
                  <a:lnTo>
                    <a:pt x="1112140" y="105939"/>
                  </a:lnTo>
                  <a:lnTo>
                    <a:pt x="1113293" y="105939"/>
                  </a:lnTo>
                  <a:cubicBezTo>
                    <a:pt x="1120355" y="96570"/>
                    <a:pt x="1128427" y="89219"/>
                    <a:pt x="1137219" y="84030"/>
                  </a:cubicBezTo>
                  <a:cubicBezTo>
                    <a:pt x="1146155" y="78841"/>
                    <a:pt x="1157398" y="76247"/>
                    <a:pt x="1171091" y="76247"/>
                  </a:cubicBezTo>
                  <a:cubicBezTo>
                    <a:pt x="1181757" y="76247"/>
                    <a:pt x="1191269" y="78121"/>
                    <a:pt x="1199629" y="81724"/>
                  </a:cubicBezTo>
                  <a:cubicBezTo>
                    <a:pt x="1207989" y="85327"/>
                    <a:pt x="1215052" y="90516"/>
                    <a:pt x="1220961" y="97002"/>
                  </a:cubicBezTo>
                  <a:cubicBezTo>
                    <a:pt x="1226871" y="103488"/>
                    <a:pt x="1231195" y="111272"/>
                    <a:pt x="1234366" y="120208"/>
                  </a:cubicBezTo>
                  <a:cubicBezTo>
                    <a:pt x="1237392" y="129144"/>
                    <a:pt x="1238978" y="139234"/>
                    <a:pt x="1238978" y="150044"/>
                  </a:cubicBezTo>
                  <a:lnTo>
                    <a:pt x="1238978" y="276738"/>
                  </a:lnTo>
                  <a:lnTo>
                    <a:pt x="1177000" y="276738"/>
                  </a:lnTo>
                  <a:lnTo>
                    <a:pt x="1177000" y="162583"/>
                  </a:lnTo>
                  <a:cubicBezTo>
                    <a:pt x="1177000" y="152206"/>
                    <a:pt x="1174406" y="143846"/>
                    <a:pt x="1169361" y="137504"/>
                  </a:cubicBezTo>
                  <a:cubicBezTo>
                    <a:pt x="1164316" y="131162"/>
                    <a:pt x="1156677" y="127991"/>
                    <a:pt x="1146588" y="127991"/>
                  </a:cubicBezTo>
                  <a:cubicBezTo>
                    <a:pt x="1136498" y="127991"/>
                    <a:pt x="1127850" y="131739"/>
                    <a:pt x="1121653" y="139378"/>
                  </a:cubicBezTo>
                  <a:cubicBezTo>
                    <a:pt x="1115455" y="147017"/>
                    <a:pt x="1112284" y="156962"/>
                    <a:pt x="1112284" y="169069"/>
                  </a:cubicBezTo>
                  <a:lnTo>
                    <a:pt x="1112284" y="276738"/>
                  </a:lnTo>
                  <a:lnTo>
                    <a:pt x="1050306" y="276738"/>
                  </a:lnTo>
                  <a:lnTo>
                    <a:pt x="1050306" y="1874"/>
                  </a:lnTo>
                  <a:close/>
                  <a:moveTo>
                    <a:pt x="1362645" y="282936"/>
                  </a:moveTo>
                  <a:cubicBezTo>
                    <a:pt x="1346935" y="282936"/>
                    <a:pt x="1332665" y="280341"/>
                    <a:pt x="1319837" y="275152"/>
                  </a:cubicBezTo>
                  <a:cubicBezTo>
                    <a:pt x="1307009" y="269963"/>
                    <a:pt x="1296055" y="262757"/>
                    <a:pt x="1286830" y="253388"/>
                  </a:cubicBezTo>
                  <a:cubicBezTo>
                    <a:pt x="1277750" y="244163"/>
                    <a:pt x="1270687" y="233209"/>
                    <a:pt x="1265787" y="220670"/>
                  </a:cubicBezTo>
                  <a:cubicBezTo>
                    <a:pt x="1260886" y="208130"/>
                    <a:pt x="1258292" y="194437"/>
                    <a:pt x="1258292" y="179735"/>
                  </a:cubicBezTo>
                  <a:cubicBezTo>
                    <a:pt x="1258292" y="165034"/>
                    <a:pt x="1260742" y="151341"/>
                    <a:pt x="1265787" y="138801"/>
                  </a:cubicBezTo>
                  <a:cubicBezTo>
                    <a:pt x="1270687" y="126262"/>
                    <a:pt x="1277750" y="115307"/>
                    <a:pt x="1286830" y="106083"/>
                  </a:cubicBezTo>
                  <a:cubicBezTo>
                    <a:pt x="1295911" y="96858"/>
                    <a:pt x="1307009" y="89651"/>
                    <a:pt x="1319837" y="84463"/>
                  </a:cubicBezTo>
                  <a:cubicBezTo>
                    <a:pt x="1332665" y="79274"/>
                    <a:pt x="1346935" y="76679"/>
                    <a:pt x="1362645" y="76679"/>
                  </a:cubicBezTo>
                  <a:cubicBezTo>
                    <a:pt x="1378356" y="76679"/>
                    <a:pt x="1392625" y="79274"/>
                    <a:pt x="1405453" y="84463"/>
                  </a:cubicBezTo>
                  <a:cubicBezTo>
                    <a:pt x="1418281" y="89651"/>
                    <a:pt x="1429235" y="96858"/>
                    <a:pt x="1438171" y="106083"/>
                  </a:cubicBezTo>
                  <a:cubicBezTo>
                    <a:pt x="1447108" y="115307"/>
                    <a:pt x="1454170" y="126262"/>
                    <a:pt x="1459071" y="138801"/>
                  </a:cubicBezTo>
                  <a:cubicBezTo>
                    <a:pt x="1463971" y="151341"/>
                    <a:pt x="1466422" y="165034"/>
                    <a:pt x="1466422" y="179735"/>
                  </a:cubicBezTo>
                  <a:cubicBezTo>
                    <a:pt x="1466422" y="194437"/>
                    <a:pt x="1463971" y="208130"/>
                    <a:pt x="1459071" y="220670"/>
                  </a:cubicBezTo>
                  <a:cubicBezTo>
                    <a:pt x="1454170" y="233209"/>
                    <a:pt x="1447108" y="244163"/>
                    <a:pt x="1438171" y="253388"/>
                  </a:cubicBezTo>
                  <a:cubicBezTo>
                    <a:pt x="1429235" y="262613"/>
                    <a:pt x="1418281" y="269819"/>
                    <a:pt x="1405453" y="275152"/>
                  </a:cubicBezTo>
                  <a:cubicBezTo>
                    <a:pt x="1392625" y="280341"/>
                    <a:pt x="1378356" y="282936"/>
                    <a:pt x="1362645" y="282936"/>
                  </a:cubicBezTo>
                  <a:moveTo>
                    <a:pt x="1362213" y="238830"/>
                  </a:moveTo>
                  <a:cubicBezTo>
                    <a:pt x="1375905" y="238830"/>
                    <a:pt x="1386283" y="233497"/>
                    <a:pt x="1393201" y="222687"/>
                  </a:cubicBezTo>
                  <a:cubicBezTo>
                    <a:pt x="1400264" y="211877"/>
                    <a:pt x="1403723" y="197608"/>
                    <a:pt x="1403723" y="179880"/>
                  </a:cubicBezTo>
                  <a:cubicBezTo>
                    <a:pt x="1403723" y="162151"/>
                    <a:pt x="1400264" y="147738"/>
                    <a:pt x="1393201" y="136928"/>
                  </a:cubicBezTo>
                  <a:cubicBezTo>
                    <a:pt x="1386283" y="125973"/>
                    <a:pt x="1375905" y="120496"/>
                    <a:pt x="1362213" y="120496"/>
                  </a:cubicBezTo>
                  <a:cubicBezTo>
                    <a:pt x="1348520" y="120496"/>
                    <a:pt x="1338286" y="125973"/>
                    <a:pt x="1331368" y="136928"/>
                  </a:cubicBezTo>
                  <a:cubicBezTo>
                    <a:pt x="1324594" y="147882"/>
                    <a:pt x="1321134" y="162151"/>
                    <a:pt x="1321134" y="179880"/>
                  </a:cubicBezTo>
                  <a:cubicBezTo>
                    <a:pt x="1321134" y="197608"/>
                    <a:pt x="1324594" y="211877"/>
                    <a:pt x="1331368" y="222687"/>
                  </a:cubicBezTo>
                  <a:cubicBezTo>
                    <a:pt x="1338286" y="233497"/>
                    <a:pt x="1348520" y="238830"/>
                    <a:pt x="1362213" y="238830"/>
                  </a:cubicBezTo>
                  <a:moveTo>
                    <a:pt x="1554488" y="282647"/>
                  </a:moveTo>
                  <a:cubicBezTo>
                    <a:pt x="1531859" y="282647"/>
                    <a:pt x="1514851" y="276017"/>
                    <a:pt x="1503320" y="262613"/>
                  </a:cubicBezTo>
                  <a:cubicBezTo>
                    <a:pt x="1491789" y="249352"/>
                    <a:pt x="1486024" y="231768"/>
                    <a:pt x="1486024" y="209859"/>
                  </a:cubicBezTo>
                  <a:lnTo>
                    <a:pt x="1486024" y="82012"/>
                  </a:lnTo>
                  <a:lnTo>
                    <a:pt x="1547713" y="82012"/>
                  </a:lnTo>
                  <a:lnTo>
                    <a:pt x="1547713" y="197032"/>
                  </a:lnTo>
                  <a:cubicBezTo>
                    <a:pt x="1547713" y="207697"/>
                    <a:pt x="1550164" y="215913"/>
                    <a:pt x="1554920" y="221534"/>
                  </a:cubicBezTo>
                  <a:cubicBezTo>
                    <a:pt x="1559677" y="227300"/>
                    <a:pt x="1567172" y="230038"/>
                    <a:pt x="1576973" y="230038"/>
                  </a:cubicBezTo>
                  <a:cubicBezTo>
                    <a:pt x="1587639" y="230038"/>
                    <a:pt x="1595998" y="226435"/>
                    <a:pt x="1602052" y="219228"/>
                  </a:cubicBezTo>
                  <a:cubicBezTo>
                    <a:pt x="1608106" y="212021"/>
                    <a:pt x="1611132" y="202509"/>
                    <a:pt x="1611132" y="190834"/>
                  </a:cubicBezTo>
                  <a:lnTo>
                    <a:pt x="1611132" y="82012"/>
                  </a:lnTo>
                  <a:lnTo>
                    <a:pt x="1673110" y="82012"/>
                  </a:lnTo>
                  <a:lnTo>
                    <a:pt x="1673110" y="276882"/>
                  </a:lnTo>
                  <a:lnTo>
                    <a:pt x="1613727" y="276882"/>
                  </a:lnTo>
                  <a:lnTo>
                    <a:pt x="1613727" y="252956"/>
                  </a:lnTo>
                  <a:lnTo>
                    <a:pt x="1612574" y="252956"/>
                  </a:lnTo>
                  <a:cubicBezTo>
                    <a:pt x="1605511" y="262613"/>
                    <a:pt x="1597440" y="269963"/>
                    <a:pt x="1588359" y="275008"/>
                  </a:cubicBezTo>
                  <a:cubicBezTo>
                    <a:pt x="1579423" y="280053"/>
                    <a:pt x="1568036" y="282647"/>
                    <a:pt x="1554344" y="282647"/>
                  </a:cubicBezTo>
                  <a:moveTo>
                    <a:pt x="1789571" y="283080"/>
                  </a:moveTo>
                  <a:cubicBezTo>
                    <a:pt x="1760888" y="283080"/>
                    <a:pt x="1738259" y="276882"/>
                    <a:pt x="1721395" y="264630"/>
                  </a:cubicBezTo>
                  <a:cubicBezTo>
                    <a:pt x="1704676" y="252379"/>
                    <a:pt x="1695739" y="235371"/>
                    <a:pt x="1694730" y="213751"/>
                  </a:cubicBezTo>
                  <a:lnTo>
                    <a:pt x="1753393" y="213751"/>
                  </a:lnTo>
                  <a:cubicBezTo>
                    <a:pt x="1754690" y="223408"/>
                    <a:pt x="1758294" y="230615"/>
                    <a:pt x="1764491" y="235515"/>
                  </a:cubicBezTo>
                  <a:cubicBezTo>
                    <a:pt x="1770545" y="240272"/>
                    <a:pt x="1778761" y="242722"/>
                    <a:pt x="1789282" y="242722"/>
                  </a:cubicBezTo>
                  <a:cubicBezTo>
                    <a:pt x="1798651" y="242722"/>
                    <a:pt x="1806146" y="241137"/>
                    <a:pt x="1811479" y="237821"/>
                  </a:cubicBezTo>
                  <a:cubicBezTo>
                    <a:pt x="1816956" y="234506"/>
                    <a:pt x="1819695" y="229750"/>
                    <a:pt x="1819695" y="223408"/>
                  </a:cubicBezTo>
                  <a:cubicBezTo>
                    <a:pt x="1819695" y="219084"/>
                    <a:pt x="1818253" y="215625"/>
                    <a:pt x="1815515" y="212886"/>
                  </a:cubicBezTo>
                  <a:cubicBezTo>
                    <a:pt x="1812776" y="210292"/>
                    <a:pt x="1809029" y="208130"/>
                    <a:pt x="1804416" y="206400"/>
                  </a:cubicBezTo>
                  <a:cubicBezTo>
                    <a:pt x="1799804" y="204815"/>
                    <a:pt x="1794615" y="203518"/>
                    <a:pt x="1788562" y="202653"/>
                  </a:cubicBezTo>
                  <a:cubicBezTo>
                    <a:pt x="1782652" y="201788"/>
                    <a:pt x="1776454" y="200635"/>
                    <a:pt x="1770112" y="199482"/>
                  </a:cubicBezTo>
                  <a:cubicBezTo>
                    <a:pt x="1761753" y="197896"/>
                    <a:pt x="1753393" y="196167"/>
                    <a:pt x="1745033" y="194005"/>
                  </a:cubicBezTo>
                  <a:cubicBezTo>
                    <a:pt x="1736673" y="191843"/>
                    <a:pt x="1729178" y="188672"/>
                    <a:pt x="1722404" y="184348"/>
                  </a:cubicBezTo>
                  <a:cubicBezTo>
                    <a:pt x="1715630" y="180024"/>
                    <a:pt x="1710297" y="174258"/>
                    <a:pt x="1706261" y="167052"/>
                  </a:cubicBezTo>
                  <a:cubicBezTo>
                    <a:pt x="1702225" y="159845"/>
                    <a:pt x="1700207" y="150476"/>
                    <a:pt x="1700207" y="139090"/>
                  </a:cubicBezTo>
                  <a:cubicBezTo>
                    <a:pt x="1700207" y="129000"/>
                    <a:pt x="1702369" y="119920"/>
                    <a:pt x="1706837" y="111992"/>
                  </a:cubicBezTo>
                  <a:cubicBezTo>
                    <a:pt x="1711306" y="104209"/>
                    <a:pt x="1717359" y="97579"/>
                    <a:pt x="1724999" y="92390"/>
                  </a:cubicBezTo>
                  <a:cubicBezTo>
                    <a:pt x="1732638" y="87201"/>
                    <a:pt x="1741574" y="83310"/>
                    <a:pt x="1751808" y="80571"/>
                  </a:cubicBezTo>
                  <a:cubicBezTo>
                    <a:pt x="1762041" y="77977"/>
                    <a:pt x="1772995" y="76535"/>
                    <a:pt x="1784382" y="76535"/>
                  </a:cubicBezTo>
                  <a:cubicBezTo>
                    <a:pt x="1812056" y="76535"/>
                    <a:pt x="1833243" y="82157"/>
                    <a:pt x="1847945" y="93255"/>
                  </a:cubicBezTo>
                  <a:cubicBezTo>
                    <a:pt x="1862647" y="104353"/>
                    <a:pt x="1870718" y="119631"/>
                    <a:pt x="1872304" y="138945"/>
                  </a:cubicBezTo>
                  <a:lnTo>
                    <a:pt x="1815226" y="138945"/>
                  </a:lnTo>
                  <a:cubicBezTo>
                    <a:pt x="1813929" y="130009"/>
                    <a:pt x="1810614" y="124100"/>
                    <a:pt x="1805137" y="120929"/>
                  </a:cubicBezTo>
                  <a:cubicBezTo>
                    <a:pt x="1799660" y="117758"/>
                    <a:pt x="1792598" y="116172"/>
                    <a:pt x="1783949" y="116172"/>
                  </a:cubicBezTo>
                  <a:cubicBezTo>
                    <a:pt x="1776310" y="116172"/>
                    <a:pt x="1769968" y="117614"/>
                    <a:pt x="1764780" y="120496"/>
                  </a:cubicBezTo>
                  <a:cubicBezTo>
                    <a:pt x="1759591" y="123379"/>
                    <a:pt x="1756996" y="127847"/>
                    <a:pt x="1756996" y="134045"/>
                  </a:cubicBezTo>
                  <a:cubicBezTo>
                    <a:pt x="1756996" y="137648"/>
                    <a:pt x="1758294" y="140387"/>
                    <a:pt x="1760744" y="142405"/>
                  </a:cubicBezTo>
                  <a:cubicBezTo>
                    <a:pt x="1763338" y="144423"/>
                    <a:pt x="1766653" y="146152"/>
                    <a:pt x="1770977" y="147593"/>
                  </a:cubicBezTo>
                  <a:cubicBezTo>
                    <a:pt x="1775301" y="149035"/>
                    <a:pt x="1780346" y="150188"/>
                    <a:pt x="1785967" y="151197"/>
                  </a:cubicBezTo>
                  <a:cubicBezTo>
                    <a:pt x="1791733" y="152206"/>
                    <a:pt x="1797642" y="153215"/>
                    <a:pt x="1803696" y="154224"/>
                  </a:cubicBezTo>
                  <a:cubicBezTo>
                    <a:pt x="1812344" y="155665"/>
                    <a:pt x="1820992" y="157539"/>
                    <a:pt x="1829784" y="159701"/>
                  </a:cubicBezTo>
                  <a:cubicBezTo>
                    <a:pt x="1838576" y="161863"/>
                    <a:pt x="1846504" y="165178"/>
                    <a:pt x="1853710" y="169790"/>
                  </a:cubicBezTo>
                  <a:cubicBezTo>
                    <a:pt x="1860917" y="174402"/>
                    <a:pt x="1866827" y="180456"/>
                    <a:pt x="1871439" y="188239"/>
                  </a:cubicBezTo>
                  <a:cubicBezTo>
                    <a:pt x="1876051" y="196023"/>
                    <a:pt x="1878357" y="206112"/>
                    <a:pt x="1878357" y="218508"/>
                  </a:cubicBezTo>
                  <a:cubicBezTo>
                    <a:pt x="1878357" y="229173"/>
                    <a:pt x="1876051" y="238542"/>
                    <a:pt x="1871727" y="246614"/>
                  </a:cubicBezTo>
                  <a:cubicBezTo>
                    <a:pt x="1867259" y="254685"/>
                    <a:pt x="1861061" y="261460"/>
                    <a:pt x="1853278" y="266792"/>
                  </a:cubicBezTo>
                  <a:cubicBezTo>
                    <a:pt x="1845350" y="272125"/>
                    <a:pt x="1835982" y="276161"/>
                    <a:pt x="1825172" y="279044"/>
                  </a:cubicBezTo>
                  <a:cubicBezTo>
                    <a:pt x="1814218" y="281782"/>
                    <a:pt x="1802399" y="283224"/>
                    <a:pt x="1789715" y="283224"/>
                  </a:cubicBezTo>
                  <a:moveTo>
                    <a:pt x="1999430" y="282791"/>
                  </a:moveTo>
                  <a:cubicBezTo>
                    <a:pt x="1983431" y="282791"/>
                    <a:pt x="1969018" y="280197"/>
                    <a:pt x="1956046" y="275008"/>
                  </a:cubicBezTo>
                  <a:cubicBezTo>
                    <a:pt x="1943073" y="269819"/>
                    <a:pt x="1932263" y="262613"/>
                    <a:pt x="1923327" y="253244"/>
                  </a:cubicBezTo>
                  <a:cubicBezTo>
                    <a:pt x="1914391" y="244019"/>
                    <a:pt x="1907617" y="233065"/>
                    <a:pt x="1902716" y="220381"/>
                  </a:cubicBezTo>
                  <a:cubicBezTo>
                    <a:pt x="1897960" y="207697"/>
                    <a:pt x="1895509" y="194005"/>
                    <a:pt x="1895509" y="179303"/>
                  </a:cubicBezTo>
                  <a:cubicBezTo>
                    <a:pt x="1895509" y="164601"/>
                    <a:pt x="1897960" y="151341"/>
                    <a:pt x="1902716" y="138801"/>
                  </a:cubicBezTo>
                  <a:cubicBezTo>
                    <a:pt x="1907473" y="126262"/>
                    <a:pt x="1914391" y="115307"/>
                    <a:pt x="1923327" y="106083"/>
                  </a:cubicBezTo>
                  <a:cubicBezTo>
                    <a:pt x="1932263" y="96858"/>
                    <a:pt x="1942785" y="89651"/>
                    <a:pt x="1954893" y="84463"/>
                  </a:cubicBezTo>
                  <a:cubicBezTo>
                    <a:pt x="1967144" y="79274"/>
                    <a:pt x="1980693" y="76679"/>
                    <a:pt x="1995683" y="76679"/>
                  </a:cubicBezTo>
                  <a:cubicBezTo>
                    <a:pt x="2009664" y="76679"/>
                    <a:pt x="2022059" y="78841"/>
                    <a:pt x="2033157" y="83165"/>
                  </a:cubicBezTo>
                  <a:cubicBezTo>
                    <a:pt x="2044256" y="87489"/>
                    <a:pt x="2053913" y="93399"/>
                    <a:pt x="2062273" y="101038"/>
                  </a:cubicBezTo>
                  <a:cubicBezTo>
                    <a:pt x="2073947" y="111704"/>
                    <a:pt x="2082596" y="125253"/>
                    <a:pt x="2088361" y="141540"/>
                  </a:cubicBezTo>
                  <a:cubicBezTo>
                    <a:pt x="2094126" y="157971"/>
                    <a:pt x="2096865" y="175988"/>
                    <a:pt x="2096577" y="195734"/>
                  </a:cubicBezTo>
                  <a:lnTo>
                    <a:pt x="1956478" y="195734"/>
                  </a:lnTo>
                  <a:cubicBezTo>
                    <a:pt x="1958496" y="208995"/>
                    <a:pt x="1963108" y="219372"/>
                    <a:pt x="1970171" y="227011"/>
                  </a:cubicBezTo>
                  <a:cubicBezTo>
                    <a:pt x="1977233" y="234651"/>
                    <a:pt x="1987323" y="238398"/>
                    <a:pt x="2000295" y="238398"/>
                  </a:cubicBezTo>
                  <a:cubicBezTo>
                    <a:pt x="2008366" y="238398"/>
                    <a:pt x="2015141" y="236668"/>
                    <a:pt x="2020474" y="233209"/>
                  </a:cubicBezTo>
                  <a:cubicBezTo>
                    <a:pt x="2025807" y="229750"/>
                    <a:pt x="2029842" y="224994"/>
                    <a:pt x="2032725" y="218940"/>
                  </a:cubicBezTo>
                  <a:lnTo>
                    <a:pt x="2093262" y="218940"/>
                  </a:lnTo>
                  <a:cubicBezTo>
                    <a:pt x="2091244" y="227876"/>
                    <a:pt x="2087496" y="236236"/>
                    <a:pt x="2081875" y="244308"/>
                  </a:cubicBezTo>
                  <a:cubicBezTo>
                    <a:pt x="2076254" y="252379"/>
                    <a:pt x="2069191" y="259153"/>
                    <a:pt x="2060543" y="265063"/>
                  </a:cubicBezTo>
                  <a:cubicBezTo>
                    <a:pt x="2052472" y="270972"/>
                    <a:pt x="2043391" y="275296"/>
                    <a:pt x="2033302" y="278323"/>
                  </a:cubicBezTo>
                  <a:cubicBezTo>
                    <a:pt x="2023212" y="281350"/>
                    <a:pt x="2011970" y="282936"/>
                    <a:pt x="1999574" y="282936"/>
                  </a:cubicBezTo>
                  <a:moveTo>
                    <a:pt x="2033878" y="158836"/>
                  </a:moveTo>
                  <a:cubicBezTo>
                    <a:pt x="2032581" y="147161"/>
                    <a:pt x="2028689" y="137936"/>
                    <a:pt x="2022059" y="131018"/>
                  </a:cubicBezTo>
                  <a:cubicBezTo>
                    <a:pt x="2015429" y="124244"/>
                    <a:pt x="2007069" y="120784"/>
                    <a:pt x="1996980" y="120784"/>
                  </a:cubicBezTo>
                  <a:cubicBezTo>
                    <a:pt x="1985017" y="120784"/>
                    <a:pt x="1975936" y="124244"/>
                    <a:pt x="1969594" y="131018"/>
                  </a:cubicBezTo>
                  <a:cubicBezTo>
                    <a:pt x="1963252" y="137936"/>
                    <a:pt x="1959072" y="147161"/>
                    <a:pt x="1957055" y="158836"/>
                  </a:cubicBezTo>
                  <a:lnTo>
                    <a:pt x="2033878" y="158836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15457261-1C34-087B-4575-1B5E779EBBAB}"/>
                </a:ext>
              </a:extLst>
            </p:cNvPr>
            <p:cNvSpPr/>
            <p:nvPr/>
          </p:nvSpPr>
          <p:spPr>
            <a:xfrm>
              <a:off x="882878" y="557212"/>
              <a:ext cx="273278" cy="674980"/>
            </a:xfrm>
            <a:custGeom>
              <a:avLst/>
              <a:gdLst>
                <a:gd name="connsiteX0" fmla="*/ 0 w 273278"/>
                <a:gd name="connsiteY0" fmla="*/ 0 h 674980"/>
                <a:gd name="connsiteX1" fmla="*/ 0 w 273278"/>
                <a:gd name="connsiteY1" fmla="*/ 476508 h 674980"/>
                <a:gd name="connsiteX2" fmla="*/ 272558 w 273278"/>
                <a:gd name="connsiteY2" fmla="*/ 674981 h 674980"/>
                <a:gd name="connsiteX3" fmla="*/ 273278 w 273278"/>
                <a:gd name="connsiteY3" fmla="*/ 674260 h 674980"/>
                <a:gd name="connsiteX4" fmla="*/ 0 w 273278"/>
                <a:gd name="connsiteY4" fmla="*/ 0 h 674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278" h="674980">
                  <a:moveTo>
                    <a:pt x="0" y="0"/>
                  </a:moveTo>
                  <a:lnTo>
                    <a:pt x="0" y="476508"/>
                  </a:lnTo>
                  <a:lnTo>
                    <a:pt x="272558" y="674981"/>
                  </a:lnTo>
                  <a:cubicBezTo>
                    <a:pt x="272558" y="674981"/>
                    <a:pt x="273134" y="674404"/>
                    <a:pt x="273278" y="67426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3D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0CDB77CD-C5E1-9227-DF1A-82C8E96E04A3}"/>
                </a:ext>
              </a:extLst>
            </p:cNvPr>
            <p:cNvSpPr/>
            <p:nvPr/>
          </p:nvSpPr>
          <p:spPr>
            <a:xfrm>
              <a:off x="609600" y="557212"/>
              <a:ext cx="273278" cy="674836"/>
            </a:xfrm>
            <a:custGeom>
              <a:avLst/>
              <a:gdLst>
                <a:gd name="connsiteX0" fmla="*/ 0 w 273278"/>
                <a:gd name="connsiteY0" fmla="*/ 674116 h 674836"/>
                <a:gd name="connsiteX1" fmla="*/ 721 w 273278"/>
                <a:gd name="connsiteY1" fmla="*/ 674837 h 674836"/>
                <a:gd name="connsiteX2" fmla="*/ 273278 w 273278"/>
                <a:gd name="connsiteY2" fmla="*/ 476364 h 674836"/>
                <a:gd name="connsiteX3" fmla="*/ 273278 w 273278"/>
                <a:gd name="connsiteY3" fmla="*/ 0 h 674836"/>
                <a:gd name="connsiteX4" fmla="*/ 0 w 273278"/>
                <a:gd name="connsiteY4" fmla="*/ 674116 h 674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278" h="674836">
                  <a:moveTo>
                    <a:pt x="0" y="674116"/>
                  </a:moveTo>
                  <a:cubicBezTo>
                    <a:pt x="0" y="674116"/>
                    <a:pt x="577" y="674692"/>
                    <a:pt x="721" y="674837"/>
                  </a:cubicBezTo>
                  <a:lnTo>
                    <a:pt x="273278" y="476364"/>
                  </a:lnTo>
                  <a:lnTo>
                    <a:pt x="273278" y="0"/>
                  </a:lnTo>
                  <a:lnTo>
                    <a:pt x="0" y="674116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3" name="Text Placeholder 33">
            <a:extLst>
              <a:ext uri="{FF2B5EF4-FFF2-40B4-BE49-F238E27FC236}">
                <a16:creationId xmlns:a16="http://schemas.microsoft.com/office/drawing/2014/main" id="{C85A18C6-8282-E9A0-F452-C454AEA2EF3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4896099"/>
            <a:ext cx="5387082" cy="307777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b="1">
                <a:solidFill>
                  <a:schemeClr val="tx2"/>
                </a:solidFill>
                <a:latin typeface="+mj-lt"/>
              </a:defRPr>
            </a:lvl1pPr>
            <a:lvl2pPr marL="0" indent="0">
              <a:spcAft>
                <a:spcPts val="300"/>
              </a:spcAft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58" name="Text Placeholder 16">
            <a:extLst>
              <a:ext uri="{FF2B5EF4-FFF2-40B4-BE49-F238E27FC236}">
                <a16:creationId xmlns:a16="http://schemas.microsoft.com/office/drawing/2014/main" id="{2CEC33A9-A637-6C33-525A-AF284749A9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1523079"/>
            <a:ext cx="2468880" cy="223908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400" b="1" cap="all" spc="3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DBEBFD3-3735-BFC8-D7E6-A618637D48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6090476"/>
            <a:ext cx="1834388" cy="210312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D2BF7478-0B6B-4B7E-1EE4-0006B726ED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9837" r="8121" b="7745"/>
          <a:stretch/>
        </p:blipFill>
        <p:spPr>
          <a:xfrm>
            <a:off x="5996682" y="-1"/>
            <a:ext cx="6195318" cy="6858001"/>
          </a:xfrm>
          <a:prstGeom prst="rect">
            <a:avLst/>
          </a:prstGeom>
        </p:spPr>
      </p:pic>
      <p:sp>
        <p:nvSpPr>
          <p:cNvPr id="4" name="Text Placeholder 33">
            <a:extLst>
              <a:ext uri="{FF2B5EF4-FFF2-40B4-BE49-F238E27FC236}">
                <a16:creationId xmlns:a16="http://schemas.microsoft.com/office/drawing/2014/main" id="{63C1126E-E19D-9E30-D956-8ADF5631F0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0348" y="5236388"/>
            <a:ext cx="5387082" cy="276999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</p:spTree>
    <p:extLst>
      <p:ext uri="{BB962C8B-B14F-4D97-AF65-F5344CB8AC3E}">
        <p14:creationId xmlns:p14="http://schemas.microsoft.com/office/powerpoint/2010/main" val="18690650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-column + Image - Ligh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09D163-6DF6-9BE0-6173-D594B244B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03874" y="800754"/>
            <a:ext cx="5978525" cy="5539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F8511C82-C1B8-2B85-F38D-ACDB893239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03874" y="1371912"/>
            <a:ext cx="5978525" cy="30777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2" name="Text Placeholder 37">
            <a:extLst>
              <a:ext uri="{FF2B5EF4-FFF2-40B4-BE49-F238E27FC236}">
                <a16:creationId xmlns:a16="http://schemas.microsoft.com/office/drawing/2014/main" id="{F4AE42DD-CBC4-0669-9A85-81A01695BC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603875" y="4225518"/>
            <a:ext cx="5978525" cy="1389888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2AAAC208-B9A3-AB8D-8A3F-5267EA42C80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603875" y="2111664"/>
            <a:ext cx="5978525" cy="1481328"/>
          </a:xfrm>
        </p:spPr>
        <p:txBody>
          <a:bodyPr anchor="b">
            <a:noAutofit/>
          </a:bodyPr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E63F9C31-8332-AB06-3853-4F9BFCA2654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4994272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 b="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4" name="Date Placeholder 49">
            <a:extLst>
              <a:ext uri="{FF2B5EF4-FFF2-40B4-BE49-F238E27FC236}">
                <a16:creationId xmlns:a16="http://schemas.microsoft.com/office/drawing/2014/main" id="{EAE3F246-F4BA-D296-9A9E-F72A3B7D2B97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10FA273E-61F0-4C9C-BD24-C2959672C88E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2050F09-2097-9548-BAAE-6D4AC254B2C0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509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One-column + Image -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09D163-6DF6-9BE0-6173-D594B244B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5978524" cy="553998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F8511C82-C1B8-2B85-F38D-ACDB893239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5978524" cy="30777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2" name="Text Placeholder 37">
            <a:extLst>
              <a:ext uri="{FF2B5EF4-FFF2-40B4-BE49-F238E27FC236}">
                <a16:creationId xmlns:a16="http://schemas.microsoft.com/office/drawing/2014/main" id="{F4AE42DD-CBC4-0669-9A85-81A01695BC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1" y="4225518"/>
            <a:ext cx="5978524" cy="1389888"/>
          </a:xfrm>
        </p:spPr>
        <p:txBody>
          <a:bodyPr>
            <a:no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2AAAC208-B9A3-AB8D-8A3F-5267EA42C80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9601" y="2111664"/>
            <a:ext cx="5978524" cy="1481328"/>
          </a:xfrm>
        </p:spPr>
        <p:txBody>
          <a:bodyPr anchor="b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CFB9608-E818-D2BF-8BF7-6E839B8050D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C85335B-FAF2-9208-41C9-63068D2F64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E38C83F-FE77-B0B1-618B-39EACC5CBE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03876" y="88565"/>
            <a:ext cx="995110" cy="252812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DCBA5D9-BC1F-6EFF-E8A4-8986DCEC862B}"/>
              </a:ext>
            </a:extLst>
          </p:cNvPr>
          <p:cNvCxnSpPr>
            <a:cxnSpLocks/>
          </p:cNvCxnSpPr>
          <p:nvPr userDrawn="1"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2592204-2F9A-346C-21BD-84790B6413BA}"/>
              </a:ext>
            </a:extLst>
          </p:cNvPr>
          <p:cNvCxnSpPr>
            <a:cxnSpLocks/>
          </p:cNvCxnSpPr>
          <p:nvPr userDrawn="1"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E63F9C31-8332-AB06-3853-4F9BFCA2654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197724" y="0"/>
            <a:ext cx="4994276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 b="0"/>
            </a:lvl1pPr>
          </a:lstStyle>
          <a:p>
            <a:r>
              <a:rPr lang="en-US"/>
              <a:t>Insert Photo</a:t>
            </a:r>
          </a:p>
        </p:txBody>
      </p:sp>
    </p:spTree>
    <p:extLst>
      <p:ext uri="{BB962C8B-B14F-4D97-AF65-F5344CB8AC3E}">
        <p14:creationId xmlns:p14="http://schemas.microsoft.com/office/powerpoint/2010/main" val="4628705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One-column + Image -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09D163-6DF6-9BE0-6173-D594B244B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03875" y="800754"/>
            <a:ext cx="5986144" cy="553998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F8511C82-C1B8-2B85-F38D-ACDB893239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03875" y="1371912"/>
            <a:ext cx="5986144" cy="30777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2" name="Text Placeholder 37">
            <a:extLst>
              <a:ext uri="{FF2B5EF4-FFF2-40B4-BE49-F238E27FC236}">
                <a16:creationId xmlns:a16="http://schemas.microsoft.com/office/drawing/2014/main" id="{F4AE42DD-CBC4-0669-9A85-81A01695BC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603876" y="4225518"/>
            <a:ext cx="5986144" cy="1389888"/>
          </a:xfrm>
        </p:spPr>
        <p:txBody>
          <a:bodyPr>
            <a:no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2AAAC208-B9A3-AB8D-8A3F-5267EA42C80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603876" y="2111664"/>
            <a:ext cx="5986144" cy="1481328"/>
          </a:xfrm>
        </p:spPr>
        <p:txBody>
          <a:bodyPr anchor="b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E38C83F-FE77-B0B1-618B-39EACC5CBE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03876" y="88565"/>
            <a:ext cx="995110" cy="252812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DCBA5D9-BC1F-6EFF-E8A4-8986DCEC862B}"/>
              </a:ext>
            </a:extLst>
          </p:cNvPr>
          <p:cNvCxnSpPr>
            <a:cxnSpLocks/>
          </p:cNvCxnSpPr>
          <p:nvPr userDrawn="1"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2592204-2F9A-346C-21BD-84790B6413BA}"/>
              </a:ext>
            </a:extLst>
          </p:cNvPr>
          <p:cNvCxnSpPr>
            <a:cxnSpLocks/>
          </p:cNvCxnSpPr>
          <p:nvPr userDrawn="1"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E63F9C31-8332-AB06-3853-4F9BFCA2654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4994274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 b="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5" name="Date Placeholder 12">
            <a:extLst>
              <a:ext uri="{FF2B5EF4-FFF2-40B4-BE49-F238E27FC236}">
                <a16:creationId xmlns:a16="http://schemas.microsoft.com/office/drawing/2014/main" id="{F9CCB3FD-099F-8950-BA2E-03EDE47757CD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236555" y="13802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60834FE0-6810-4852-ABA9-A12629BD71E8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13" name="Slide Number Placeholder 14">
            <a:extLst>
              <a:ext uri="{FF2B5EF4-FFF2-40B4-BE49-F238E27FC236}">
                <a16:creationId xmlns:a16="http://schemas.microsoft.com/office/drawing/2014/main" id="{939BDB0E-7404-3E9E-E16A-F935BB2D2E92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248008" y="656608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403018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44">
            <a:extLst>
              <a:ext uri="{FF2B5EF4-FFF2-40B4-BE49-F238E27FC236}">
                <a16:creationId xmlns:a16="http://schemas.microsoft.com/office/drawing/2014/main" id="{731DA744-1DEE-2501-A42E-C2E0191A1F5C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77701" y="1992598"/>
            <a:ext cx="521208" cy="521208"/>
          </a:xfrm>
          <a:noFill/>
        </p:spPr>
        <p:txBody>
          <a:bodyPr/>
          <a:lstStyle>
            <a:lvl1pPr>
              <a:defRPr sz="11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44">
            <a:extLst>
              <a:ext uri="{FF2B5EF4-FFF2-40B4-BE49-F238E27FC236}">
                <a16:creationId xmlns:a16="http://schemas.microsoft.com/office/drawing/2014/main" id="{19BC14CE-CCB2-79A2-11D9-159C8593E990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510668" y="1992598"/>
            <a:ext cx="521208" cy="521208"/>
          </a:xfrm>
          <a:noFill/>
        </p:spPr>
        <p:txBody>
          <a:bodyPr/>
          <a:lstStyle>
            <a:lvl1pPr>
              <a:defRPr sz="11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E17896-30F6-FC7D-2FDC-B08B42A370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46FEE47-0D8C-10E2-E380-268C0F614F0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4A29D8-E2A7-4760-696D-BA510B3288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D5025F-0C14-FCA7-8BC6-FC398093DAC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895E1F94-52C5-4023-B100-78DBF9BF45C5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D46404F1-817B-B4C5-A2D8-0EA4F8F6B9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6E1075F-48DF-8680-82D4-28A2AB5E975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21" name="Text Placeholder 46">
            <a:extLst>
              <a:ext uri="{FF2B5EF4-FFF2-40B4-BE49-F238E27FC236}">
                <a16:creationId xmlns:a16="http://schemas.microsoft.com/office/drawing/2014/main" id="{D06C7405-BD90-5CFE-376E-9A501B188D0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9600" y="2715854"/>
            <a:ext cx="5029200" cy="1289304"/>
          </a:xfrm>
        </p:spPr>
        <p:txBody>
          <a:bodyPr anchor="b">
            <a:noAutofit/>
          </a:bodyPr>
          <a:lstStyle>
            <a:lvl1pPr>
              <a:defRPr sz="2800"/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2DAA9A1-270F-18D4-0C67-FA0B17504AB3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0" y="4515696"/>
            <a:ext cx="5029200" cy="987552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3156739F-9BE8-571A-60C4-8A5C113558E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553200" y="4515696"/>
            <a:ext cx="5029200" cy="987552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46">
            <a:extLst>
              <a:ext uri="{FF2B5EF4-FFF2-40B4-BE49-F238E27FC236}">
                <a16:creationId xmlns:a16="http://schemas.microsoft.com/office/drawing/2014/main" id="{09AFE9A2-0ECF-A163-6A84-0E25CBC3D40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553200" y="2715854"/>
            <a:ext cx="5029200" cy="1289304"/>
          </a:xfrm>
        </p:spPr>
        <p:txBody>
          <a:bodyPr anchor="b">
            <a:noAutofit/>
          </a:bodyPr>
          <a:lstStyle>
            <a:lvl1pPr>
              <a:defRPr sz="2800"/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19717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-column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44">
            <a:extLst>
              <a:ext uri="{FF2B5EF4-FFF2-40B4-BE49-F238E27FC236}">
                <a16:creationId xmlns:a16="http://schemas.microsoft.com/office/drawing/2014/main" id="{9B92BB0C-06A1-B7EC-9ED0-D272996F08E1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567068" y="1992598"/>
            <a:ext cx="521208" cy="521208"/>
          </a:xfrm>
          <a:noFill/>
        </p:spPr>
        <p:txBody>
          <a:bodyPr/>
          <a:lstStyle>
            <a:lvl1pPr>
              <a:defRPr sz="11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Picture Placeholder 44">
            <a:extLst>
              <a:ext uri="{FF2B5EF4-FFF2-40B4-BE49-F238E27FC236}">
                <a16:creationId xmlns:a16="http://schemas.microsoft.com/office/drawing/2014/main" id="{CBDA006F-0322-06FE-CC00-072AFCB20129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8477697" y="1992598"/>
            <a:ext cx="521208" cy="521208"/>
          </a:xfrm>
          <a:noFill/>
        </p:spPr>
        <p:txBody>
          <a:bodyPr/>
          <a:lstStyle>
            <a:lvl1pPr>
              <a:defRPr sz="11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44">
            <a:extLst>
              <a:ext uri="{FF2B5EF4-FFF2-40B4-BE49-F238E27FC236}">
                <a16:creationId xmlns:a16="http://schemas.microsoft.com/office/drawing/2014/main" id="{5D3C83FF-F9BE-5ACE-923A-191F644A4B81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501115" y="1992598"/>
            <a:ext cx="521208" cy="521208"/>
          </a:xfrm>
          <a:noFill/>
        </p:spPr>
        <p:txBody>
          <a:bodyPr/>
          <a:lstStyle>
            <a:lvl1pPr>
              <a:defRPr sz="11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24CD20-5516-7DC5-C33D-FEC81A57BF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6B3B0D-3559-99F8-077B-940302BF51A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710ACD-357C-D3F8-AFC4-B9909D8E32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CF0CAB-4713-83C7-28F8-0DB75DB26EB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5E7157-9A69-4C00-8DC2-A825B4264B10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CFF9B5B2-AFF3-F577-FA6F-C489CB3AA6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C93F1CC1-A1A5-8BDC-DE12-111548DAB9B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D194AD06-F4DA-BD6D-FAFC-B444C31568F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8584" y="2748438"/>
            <a:ext cx="3099816" cy="923544"/>
          </a:xfrm>
        </p:spPr>
        <p:txBody>
          <a:bodyPr anchor="b">
            <a:noAutofit/>
          </a:bodyPr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31D0F84-196A-D07B-028F-08F39BEB0A6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8584" y="4185186"/>
            <a:ext cx="3099816" cy="1289304"/>
          </a:xfrm>
        </p:spPr>
        <p:txBody>
          <a:bodyPr>
            <a:noAutofit/>
          </a:bodyPr>
          <a:lstStyle>
            <a:lvl1pPr>
              <a:defRPr sz="1400"/>
            </a:lvl1pPr>
            <a:lvl2pPr marL="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7881F15A-C59A-E4E8-FC0E-FE9792F2ECA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545584" y="2748438"/>
            <a:ext cx="3099816" cy="923544"/>
          </a:xfrm>
        </p:spPr>
        <p:txBody>
          <a:bodyPr anchor="b">
            <a:noAutofit/>
          </a:bodyPr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05C2575A-267E-CB78-E7D3-0A82086DF69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545584" y="4185186"/>
            <a:ext cx="3099816" cy="1289304"/>
          </a:xfrm>
        </p:spPr>
        <p:txBody>
          <a:bodyPr>
            <a:noAutofit/>
          </a:bodyPr>
          <a:lstStyle>
            <a:lvl1pPr>
              <a:defRPr sz="1400"/>
            </a:lvl1pPr>
            <a:lvl2pPr marL="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D1253B36-5212-1DA8-01E7-81750827B17F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482583" y="2748438"/>
            <a:ext cx="3099816" cy="923544"/>
          </a:xfrm>
        </p:spPr>
        <p:txBody>
          <a:bodyPr anchor="b">
            <a:noAutofit/>
          </a:bodyPr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DB009249-FD49-BBAC-D4A3-BCAEB78F276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482583" y="4185186"/>
            <a:ext cx="3099816" cy="1289304"/>
          </a:xfrm>
        </p:spPr>
        <p:txBody>
          <a:bodyPr>
            <a:noAutofit/>
          </a:bodyPr>
          <a:lstStyle>
            <a:lvl1pPr>
              <a:defRPr sz="1400"/>
            </a:lvl1pPr>
            <a:lvl2pPr marL="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629832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-column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44">
            <a:extLst>
              <a:ext uri="{FF2B5EF4-FFF2-40B4-BE49-F238E27FC236}">
                <a16:creationId xmlns:a16="http://schemas.microsoft.com/office/drawing/2014/main" id="{89769F5D-1EE4-9650-C101-9BA367A72865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567068" y="1992598"/>
            <a:ext cx="521208" cy="521208"/>
          </a:xfrm>
          <a:noFill/>
        </p:spPr>
        <p:txBody>
          <a:bodyPr/>
          <a:lstStyle>
            <a:lvl1pPr>
              <a:defRPr sz="11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9" name="Picture Placeholder 44">
            <a:extLst>
              <a:ext uri="{FF2B5EF4-FFF2-40B4-BE49-F238E27FC236}">
                <a16:creationId xmlns:a16="http://schemas.microsoft.com/office/drawing/2014/main" id="{672A93A6-7142-4A8E-6BE9-C934050E0B26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3427226" y="1992598"/>
            <a:ext cx="521208" cy="521208"/>
          </a:xfrm>
          <a:noFill/>
        </p:spPr>
        <p:txBody>
          <a:bodyPr/>
          <a:lstStyle>
            <a:lvl1pPr>
              <a:defRPr sz="11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0" name="Picture Placeholder 44">
            <a:extLst>
              <a:ext uri="{FF2B5EF4-FFF2-40B4-BE49-F238E27FC236}">
                <a16:creationId xmlns:a16="http://schemas.microsoft.com/office/drawing/2014/main" id="{F055298F-0647-AD6D-DB65-6EFF4D715DA4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6319282" y="1992598"/>
            <a:ext cx="521208" cy="521208"/>
          </a:xfrm>
          <a:noFill/>
        </p:spPr>
        <p:txBody>
          <a:bodyPr/>
          <a:lstStyle>
            <a:lvl1pPr>
              <a:defRPr sz="11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1" name="Picture Placeholder 44">
            <a:extLst>
              <a:ext uri="{FF2B5EF4-FFF2-40B4-BE49-F238E27FC236}">
                <a16:creationId xmlns:a16="http://schemas.microsoft.com/office/drawing/2014/main" id="{D17283F2-B533-508F-96A7-9A4AAFB4DF2A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9211339" y="1992598"/>
            <a:ext cx="521208" cy="521208"/>
          </a:xfrm>
          <a:noFill/>
        </p:spPr>
        <p:txBody>
          <a:bodyPr/>
          <a:lstStyle>
            <a:lvl1pPr>
              <a:defRPr sz="11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24CD20-5516-7DC5-C33D-FEC81A57BF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6B3B0D-3559-99F8-077B-940302BF51A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710ACD-357C-D3F8-AFC4-B9909D8E32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CF0CAB-4713-83C7-28F8-0DB75DB26EB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6CBEA0C4-9756-47E6-99B4-9C02C7FF2B77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CFF9B5B2-AFF3-F577-FA6F-C489CB3AA6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C93F1CC1-A1A5-8BDC-DE12-111548DAB9B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D194AD06-F4DA-BD6D-FAFC-B444C31568F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8584" y="2748438"/>
            <a:ext cx="2358830" cy="923544"/>
          </a:xfrm>
        </p:spPr>
        <p:txBody>
          <a:bodyPr anchor="b">
            <a:noAutofit/>
          </a:bodyPr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31D0F84-196A-D07B-028F-08F39BEB0A6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8584" y="4185186"/>
            <a:ext cx="2358830" cy="1735690"/>
          </a:xfrm>
        </p:spPr>
        <p:txBody>
          <a:bodyPr>
            <a:noAutofit/>
          </a:bodyPr>
          <a:lstStyle>
            <a:lvl1pPr>
              <a:defRPr sz="1400"/>
            </a:lvl1pPr>
            <a:lvl2pPr marL="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2F984C37-EA47-C212-F04D-1F9B8FCA81C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479907" y="2748438"/>
            <a:ext cx="2358830" cy="923544"/>
          </a:xfrm>
        </p:spPr>
        <p:txBody>
          <a:bodyPr anchor="b">
            <a:noAutofit/>
          </a:bodyPr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2">
            <a:extLst>
              <a:ext uri="{FF2B5EF4-FFF2-40B4-BE49-F238E27FC236}">
                <a16:creationId xmlns:a16="http://schemas.microsoft.com/office/drawing/2014/main" id="{156FF9F4-E1C1-A3BD-5282-9E0865EE337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479907" y="4185186"/>
            <a:ext cx="2358830" cy="1735690"/>
          </a:xfrm>
        </p:spPr>
        <p:txBody>
          <a:bodyPr>
            <a:noAutofit/>
          </a:bodyPr>
          <a:lstStyle>
            <a:lvl1pPr>
              <a:defRPr sz="1400"/>
            </a:lvl1pPr>
            <a:lvl2pPr marL="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554334A6-9BBA-FA97-AA97-4DDDF2D4707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351231" y="2748438"/>
            <a:ext cx="2358830" cy="923544"/>
          </a:xfrm>
        </p:spPr>
        <p:txBody>
          <a:bodyPr anchor="b">
            <a:noAutofit/>
          </a:bodyPr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22">
            <a:extLst>
              <a:ext uri="{FF2B5EF4-FFF2-40B4-BE49-F238E27FC236}">
                <a16:creationId xmlns:a16="http://schemas.microsoft.com/office/drawing/2014/main" id="{4830E38D-A113-06E0-E740-A6C3F6DDD6E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51231" y="4185186"/>
            <a:ext cx="2358830" cy="1735690"/>
          </a:xfrm>
        </p:spPr>
        <p:txBody>
          <a:bodyPr>
            <a:noAutofit/>
          </a:bodyPr>
          <a:lstStyle>
            <a:lvl1pPr>
              <a:defRPr sz="1400"/>
            </a:lvl1pPr>
            <a:lvl2pPr marL="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0">
            <a:extLst>
              <a:ext uri="{FF2B5EF4-FFF2-40B4-BE49-F238E27FC236}">
                <a16:creationId xmlns:a16="http://schemas.microsoft.com/office/drawing/2014/main" id="{15C3EF92-C5EE-05D2-2CD7-E2C1DFBE54A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222554" y="2748438"/>
            <a:ext cx="2358830" cy="923544"/>
          </a:xfrm>
        </p:spPr>
        <p:txBody>
          <a:bodyPr anchor="b">
            <a:noAutofit/>
          </a:bodyPr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57BAEA13-CFA9-38DC-DF38-AACD6D8FAFDE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222554" y="4185186"/>
            <a:ext cx="2358830" cy="1735690"/>
          </a:xfrm>
        </p:spPr>
        <p:txBody>
          <a:bodyPr>
            <a:noAutofit/>
          </a:bodyPr>
          <a:lstStyle>
            <a:lvl1pPr>
              <a:defRPr sz="1400"/>
            </a:lvl1pPr>
            <a:lvl2pPr marL="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733108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Slide - Ligh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49855B-9E52-C109-BB22-81D9DEC99F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5" name="Text Placeholder 35">
            <a:extLst>
              <a:ext uri="{FF2B5EF4-FFF2-40B4-BE49-F238E27FC236}">
                <a16:creationId xmlns:a16="http://schemas.microsoft.com/office/drawing/2014/main" id="{17F8DA8A-8A83-2E82-D082-E4E4BF0C35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2913171"/>
            <a:ext cx="1874520" cy="738664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24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Insert </a:t>
            </a:r>
            <a:br>
              <a:rPr lang="en-US"/>
            </a:br>
            <a:r>
              <a:rPr lang="en-US"/>
              <a:t>header here</a:t>
            </a:r>
          </a:p>
        </p:txBody>
      </p:sp>
      <p:sp>
        <p:nvSpPr>
          <p:cNvPr id="36" name="Text Placeholder 37">
            <a:extLst>
              <a:ext uri="{FF2B5EF4-FFF2-40B4-BE49-F238E27FC236}">
                <a16:creationId xmlns:a16="http://schemas.microsoft.com/office/drawing/2014/main" id="{E39C0855-30DA-35F6-A578-7BEC38F29FC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4162378"/>
            <a:ext cx="1874520" cy="1481328"/>
          </a:xfrm>
        </p:spPr>
        <p:txBody>
          <a:bodyPr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35">
            <a:extLst>
              <a:ext uri="{FF2B5EF4-FFF2-40B4-BE49-F238E27FC236}">
                <a16:creationId xmlns:a16="http://schemas.microsoft.com/office/drawing/2014/main" id="{8D6FA3CA-013B-6D3F-E406-40575493F2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84017" y="2913171"/>
            <a:ext cx="1874520" cy="738664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24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Insert </a:t>
            </a:r>
            <a:br>
              <a:rPr lang="en-US"/>
            </a:br>
            <a:r>
              <a:rPr lang="en-US"/>
              <a:t>header here</a:t>
            </a:r>
          </a:p>
        </p:txBody>
      </p:sp>
      <p:sp>
        <p:nvSpPr>
          <p:cNvPr id="40" name="Text Placeholder 37">
            <a:extLst>
              <a:ext uri="{FF2B5EF4-FFF2-40B4-BE49-F238E27FC236}">
                <a16:creationId xmlns:a16="http://schemas.microsoft.com/office/drawing/2014/main" id="{D7DA436C-CDB7-AF89-F0B6-17B79E2F370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84017" y="4162378"/>
            <a:ext cx="1874520" cy="1481328"/>
          </a:xfrm>
        </p:spPr>
        <p:txBody>
          <a:bodyPr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35">
            <a:extLst>
              <a:ext uri="{FF2B5EF4-FFF2-40B4-BE49-F238E27FC236}">
                <a16:creationId xmlns:a16="http://schemas.microsoft.com/office/drawing/2014/main" id="{F85FA32E-317C-3728-F052-86E0456C984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55571" y="2913171"/>
            <a:ext cx="1874520" cy="738664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24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Insert </a:t>
            </a:r>
            <a:br>
              <a:rPr lang="en-US"/>
            </a:br>
            <a:r>
              <a:rPr lang="en-US"/>
              <a:t>header here</a:t>
            </a:r>
          </a:p>
        </p:txBody>
      </p:sp>
      <p:sp>
        <p:nvSpPr>
          <p:cNvPr id="44" name="Text Placeholder 37">
            <a:extLst>
              <a:ext uri="{FF2B5EF4-FFF2-40B4-BE49-F238E27FC236}">
                <a16:creationId xmlns:a16="http://schemas.microsoft.com/office/drawing/2014/main" id="{B8A6C3D4-FCE5-36CA-C2C3-2F5035AD377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55571" y="4162378"/>
            <a:ext cx="1874520" cy="1481328"/>
          </a:xfrm>
        </p:spPr>
        <p:txBody>
          <a:bodyPr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35">
            <a:extLst>
              <a:ext uri="{FF2B5EF4-FFF2-40B4-BE49-F238E27FC236}">
                <a16:creationId xmlns:a16="http://schemas.microsoft.com/office/drawing/2014/main" id="{645A059E-6755-4667-7A55-595DC3BA9D4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429988" y="2913171"/>
            <a:ext cx="1874520" cy="738664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24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Insert </a:t>
            </a:r>
            <a:br>
              <a:rPr lang="en-US"/>
            </a:br>
            <a:r>
              <a:rPr lang="en-US"/>
              <a:t>header here</a:t>
            </a:r>
          </a:p>
        </p:txBody>
      </p:sp>
      <p:sp>
        <p:nvSpPr>
          <p:cNvPr id="48" name="Text Placeholder 37">
            <a:extLst>
              <a:ext uri="{FF2B5EF4-FFF2-40B4-BE49-F238E27FC236}">
                <a16:creationId xmlns:a16="http://schemas.microsoft.com/office/drawing/2014/main" id="{FF1E85DF-94A0-E95A-E21C-3CCA97B6CD5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429988" y="4162378"/>
            <a:ext cx="1874520" cy="1481328"/>
          </a:xfrm>
        </p:spPr>
        <p:txBody>
          <a:bodyPr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35">
            <a:extLst>
              <a:ext uri="{FF2B5EF4-FFF2-40B4-BE49-F238E27FC236}">
                <a16:creationId xmlns:a16="http://schemas.microsoft.com/office/drawing/2014/main" id="{B706580B-D0EC-DB84-AF34-412C13B5B15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09796" y="2913171"/>
            <a:ext cx="1874520" cy="738664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2400" b="1"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Insert </a:t>
            </a:r>
            <a:br>
              <a:rPr lang="en-US"/>
            </a:br>
            <a:r>
              <a:rPr lang="en-US"/>
              <a:t>header here</a:t>
            </a:r>
          </a:p>
        </p:txBody>
      </p:sp>
      <p:sp>
        <p:nvSpPr>
          <p:cNvPr id="52" name="Text Placeholder 37">
            <a:extLst>
              <a:ext uri="{FF2B5EF4-FFF2-40B4-BE49-F238E27FC236}">
                <a16:creationId xmlns:a16="http://schemas.microsoft.com/office/drawing/2014/main" id="{0EBCED8E-EB08-0B1B-43D9-1EF6B19BC0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709796" y="4162378"/>
            <a:ext cx="1874520" cy="1481328"/>
          </a:xfrm>
        </p:spPr>
        <p:txBody>
          <a:bodyPr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Text Placeholder 3">
            <a:extLst>
              <a:ext uri="{FF2B5EF4-FFF2-40B4-BE49-F238E27FC236}">
                <a16:creationId xmlns:a16="http://schemas.microsoft.com/office/drawing/2014/main" id="{8EE55DB9-26FC-E53D-E41F-DC7CFF1273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Date Placeholder 49">
            <a:extLst>
              <a:ext uri="{FF2B5EF4-FFF2-40B4-BE49-F238E27FC236}">
                <a16:creationId xmlns:a16="http://schemas.microsoft.com/office/drawing/2014/main" id="{00167179-650B-E4CD-4B6C-C90D792F9EB5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6486C6F8-2C78-4FAB-B8FE-38F1BA981F1E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A38227B-AA85-94A0-F87C-53F33910EF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F5FA1229-D4C4-899E-5ACB-C07E219A9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7D5AB0F-905C-0611-2B43-272D4492B4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Picture Placeholder 44">
            <a:extLst>
              <a:ext uri="{FF2B5EF4-FFF2-40B4-BE49-F238E27FC236}">
                <a16:creationId xmlns:a16="http://schemas.microsoft.com/office/drawing/2014/main" id="{3DB86532-7B42-6C5F-7210-B1AD1D8EFD48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567068" y="2152093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44">
            <a:extLst>
              <a:ext uri="{FF2B5EF4-FFF2-40B4-BE49-F238E27FC236}">
                <a16:creationId xmlns:a16="http://schemas.microsoft.com/office/drawing/2014/main" id="{615249C2-8716-C802-5DF2-890AA231FE6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821168" y="2152093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44">
            <a:extLst>
              <a:ext uri="{FF2B5EF4-FFF2-40B4-BE49-F238E27FC236}">
                <a16:creationId xmlns:a16="http://schemas.microsoft.com/office/drawing/2014/main" id="{6DADB10F-3C0F-9A07-1512-1847FA653FEB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128424" y="2152093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Picture Placeholder 44">
            <a:extLst>
              <a:ext uri="{FF2B5EF4-FFF2-40B4-BE49-F238E27FC236}">
                <a16:creationId xmlns:a16="http://schemas.microsoft.com/office/drawing/2014/main" id="{F718D4CF-81B4-5AA5-CE52-6D7D7126E209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7382518" y="2152093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44">
            <a:extLst>
              <a:ext uri="{FF2B5EF4-FFF2-40B4-BE49-F238E27FC236}">
                <a16:creationId xmlns:a16="http://schemas.microsoft.com/office/drawing/2014/main" id="{7426D371-E5D0-3DF9-8D30-17B6F413B34D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668518" y="2152093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120582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-Column Slide -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44">
            <a:extLst>
              <a:ext uri="{FF2B5EF4-FFF2-40B4-BE49-F238E27FC236}">
                <a16:creationId xmlns:a16="http://schemas.microsoft.com/office/drawing/2014/main" id="{13784C03-FBF4-1B5A-7C2E-B178574279A4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567068" y="2152093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Picture Placeholder 44">
            <a:extLst>
              <a:ext uri="{FF2B5EF4-FFF2-40B4-BE49-F238E27FC236}">
                <a16:creationId xmlns:a16="http://schemas.microsoft.com/office/drawing/2014/main" id="{3CFF7CBB-4E9D-0B39-DA7A-FD8271833160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821168" y="2152093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Picture Placeholder 44">
            <a:extLst>
              <a:ext uri="{FF2B5EF4-FFF2-40B4-BE49-F238E27FC236}">
                <a16:creationId xmlns:a16="http://schemas.microsoft.com/office/drawing/2014/main" id="{76668B8C-4BF3-E7F5-C6F1-F1891A5295C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128424" y="2152093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2" name="Picture Placeholder 44">
            <a:extLst>
              <a:ext uri="{FF2B5EF4-FFF2-40B4-BE49-F238E27FC236}">
                <a16:creationId xmlns:a16="http://schemas.microsoft.com/office/drawing/2014/main" id="{BFDC18ED-AC2D-C92F-27D7-7EB549D74B9A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7382518" y="2152093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Picture Placeholder 44">
            <a:extLst>
              <a:ext uri="{FF2B5EF4-FFF2-40B4-BE49-F238E27FC236}">
                <a16:creationId xmlns:a16="http://schemas.microsoft.com/office/drawing/2014/main" id="{F2CCA429-706B-FCC9-0689-520F98CA52A6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668518" y="2152093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49855B-9E52-C109-BB22-81D9DEC99F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5" name="Text Placeholder 35">
            <a:extLst>
              <a:ext uri="{FF2B5EF4-FFF2-40B4-BE49-F238E27FC236}">
                <a16:creationId xmlns:a16="http://schemas.microsoft.com/office/drawing/2014/main" id="{17F8DA8A-8A83-2E82-D082-E4E4BF0C35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2913171"/>
            <a:ext cx="1874520" cy="738664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2400" b="1">
                <a:solidFill>
                  <a:schemeClr val="bg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Insert </a:t>
            </a:r>
            <a:br>
              <a:rPr lang="en-US"/>
            </a:br>
            <a:r>
              <a:rPr lang="en-US"/>
              <a:t>header here</a:t>
            </a:r>
          </a:p>
        </p:txBody>
      </p:sp>
      <p:sp>
        <p:nvSpPr>
          <p:cNvPr id="36" name="Text Placeholder 37">
            <a:extLst>
              <a:ext uri="{FF2B5EF4-FFF2-40B4-BE49-F238E27FC236}">
                <a16:creationId xmlns:a16="http://schemas.microsoft.com/office/drawing/2014/main" id="{E39C0855-30DA-35F6-A578-7BEC38F29FC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4162378"/>
            <a:ext cx="1874520" cy="1481328"/>
          </a:xfr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35">
            <a:extLst>
              <a:ext uri="{FF2B5EF4-FFF2-40B4-BE49-F238E27FC236}">
                <a16:creationId xmlns:a16="http://schemas.microsoft.com/office/drawing/2014/main" id="{8D6FA3CA-013B-6D3F-E406-40575493F2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84017" y="2913171"/>
            <a:ext cx="1874520" cy="738664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2400" b="1">
                <a:solidFill>
                  <a:schemeClr val="bg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Insert </a:t>
            </a:r>
            <a:br>
              <a:rPr lang="en-US"/>
            </a:br>
            <a:r>
              <a:rPr lang="en-US"/>
              <a:t>header here</a:t>
            </a:r>
          </a:p>
        </p:txBody>
      </p:sp>
      <p:sp>
        <p:nvSpPr>
          <p:cNvPr id="40" name="Text Placeholder 37">
            <a:extLst>
              <a:ext uri="{FF2B5EF4-FFF2-40B4-BE49-F238E27FC236}">
                <a16:creationId xmlns:a16="http://schemas.microsoft.com/office/drawing/2014/main" id="{D7DA436C-CDB7-AF89-F0B6-17B79E2F370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84017" y="4162378"/>
            <a:ext cx="1874520" cy="1481328"/>
          </a:xfr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35">
            <a:extLst>
              <a:ext uri="{FF2B5EF4-FFF2-40B4-BE49-F238E27FC236}">
                <a16:creationId xmlns:a16="http://schemas.microsoft.com/office/drawing/2014/main" id="{F85FA32E-317C-3728-F052-86E0456C984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55571" y="2913171"/>
            <a:ext cx="1874520" cy="738664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2400" b="1">
                <a:solidFill>
                  <a:schemeClr val="bg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Insert </a:t>
            </a:r>
            <a:br>
              <a:rPr lang="en-US"/>
            </a:br>
            <a:r>
              <a:rPr lang="en-US"/>
              <a:t>header here</a:t>
            </a:r>
          </a:p>
        </p:txBody>
      </p:sp>
      <p:sp>
        <p:nvSpPr>
          <p:cNvPr id="44" name="Text Placeholder 37">
            <a:extLst>
              <a:ext uri="{FF2B5EF4-FFF2-40B4-BE49-F238E27FC236}">
                <a16:creationId xmlns:a16="http://schemas.microsoft.com/office/drawing/2014/main" id="{B8A6C3D4-FCE5-36CA-C2C3-2F5035AD377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55571" y="4162378"/>
            <a:ext cx="1874520" cy="1481328"/>
          </a:xfr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35">
            <a:extLst>
              <a:ext uri="{FF2B5EF4-FFF2-40B4-BE49-F238E27FC236}">
                <a16:creationId xmlns:a16="http://schemas.microsoft.com/office/drawing/2014/main" id="{645A059E-6755-4667-7A55-595DC3BA9D4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429988" y="2913171"/>
            <a:ext cx="1874520" cy="738664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2400" b="1">
                <a:solidFill>
                  <a:schemeClr val="bg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Insert </a:t>
            </a:r>
            <a:br>
              <a:rPr lang="en-US"/>
            </a:br>
            <a:r>
              <a:rPr lang="en-US"/>
              <a:t>header here</a:t>
            </a:r>
          </a:p>
        </p:txBody>
      </p:sp>
      <p:sp>
        <p:nvSpPr>
          <p:cNvPr id="48" name="Text Placeholder 37">
            <a:extLst>
              <a:ext uri="{FF2B5EF4-FFF2-40B4-BE49-F238E27FC236}">
                <a16:creationId xmlns:a16="http://schemas.microsoft.com/office/drawing/2014/main" id="{FF1E85DF-94A0-E95A-E21C-3CCA97B6CD5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429988" y="4162378"/>
            <a:ext cx="1874520" cy="1481328"/>
          </a:xfr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35">
            <a:extLst>
              <a:ext uri="{FF2B5EF4-FFF2-40B4-BE49-F238E27FC236}">
                <a16:creationId xmlns:a16="http://schemas.microsoft.com/office/drawing/2014/main" id="{B706580B-D0EC-DB84-AF34-412C13B5B15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09796" y="2913171"/>
            <a:ext cx="1874520" cy="738664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2400" b="1">
                <a:solidFill>
                  <a:schemeClr val="bg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None/>
              <a:defRPr sz="1600"/>
            </a:lvl2pPr>
          </a:lstStyle>
          <a:p>
            <a:pPr lvl="0"/>
            <a:r>
              <a:rPr lang="en-US"/>
              <a:t>Insert </a:t>
            </a:r>
            <a:br>
              <a:rPr lang="en-US"/>
            </a:br>
            <a:r>
              <a:rPr lang="en-US"/>
              <a:t>header here</a:t>
            </a:r>
          </a:p>
        </p:txBody>
      </p:sp>
      <p:sp>
        <p:nvSpPr>
          <p:cNvPr id="52" name="Text Placeholder 37">
            <a:extLst>
              <a:ext uri="{FF2B5EF4-FFF2-40B4-BE49-F238E27FC236}">
                <a16:creationId xmlns:a16="http://schemas.microsoft.com/office/drawing/2014/main" id="{0EBCED8E-EB08-0B1B-43D9-1EF6B19BC0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709796" y="4162378"/>
            <a:ext cx="1874520" cy="1481328"/>
          </a:xfr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Text Placeholder 3">
            <a:extLst>
              <a:ext uri="{FF2B5EF4-FFF2-40B4-BE49-F238E27FC236}">
                <a16:creationId xmlns:a16="http://schemas.microsoft.com/office/drawing/2014/main" id="{8EE55DB9-26FC-E53D-E41F-DC7CFF1273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9CF81027-B92C-3715-B3B8-0AA5AEBC1A2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3802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4" name="Date Placeholder 12">
            <a:extLst>
              <a:ext uri="{FF2B5EF4-FFF2-40B4-BE49-F238E27FC236}">
                <a16:creationId xmlns:a16="http://schemas.microsoft.com/office/drawing/2014/main" id="{68B22D36-3282-7602-31C9-EEE78DC5A22A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236555" y="13802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2E532ACB-1314-45C6-998F-CFCCA7A58407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5" name="Footer Placeholder 13">
            <a:extLst>
              <a:ext uri="{FF2B5EF4-FFF2-40B4-BE49-F238E27FC236}">
                <a16:creationId xmlns:a16="http://schemas.microsoft.com/office/drawing/2014/main" id="{E9408875-4247-F6C9-BA4A-1C1255D2D0D5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609600" y="656608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FE6C9A4D-DB20-F5D9-67E5-661A2E468791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248008" y="656608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B44132BF-63D7-EDBB-8062-09CEDBF903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03876" y="88565"/>
            <a:ext cx="995110" cy="252812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9AA6A45-58A1-ECA9-622F-69F4D2BDCCEE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B36F4EB-7F41-9412-B8E4-4E989911B223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DEDC02D-8AF2-C5AE-14D7-410BAC85D4EE}"/>
              </a:ext>
            </a:extLst>
          </p:cNvPr>
          <p:cNvGrpSpPr/>
          <p:nvPr userDrawn="1"/>
        </p:nvGrpSpPr>
        <p:grpSpPr>
          <a:xfrm>
            <a:off x="0" y="426998"/>
            <a:ext cx="12192000" cy="6004005"/>
            <a:chOff x="0" y="426998"/>
            <a:chExt cx="12192000" cy="6004005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6A10C43D-9D28-CF07-F1C3-0188CC01673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26998"/>
              <a:ext cx="12192000" cy="0"/>
            </a:xfrm>
            <a:prstGeom prst="line">
              <a:avLst/>
            </a:prstGeom>
            <a:ln>
              <a:solidFill>
                <a:schemeClr val="bg1"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2AF94324-3EC5-1E9A-9848-3AB33B32689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6431003"/>
              <a:ext cx="12192000" cy="0"/>
            </a:xfrm>
            <a:prstGeom prst="line">
              <a:avLst/>
            </a:prstGeom>
            <a:ln>
              <a:solidFill>
                <a:schemeClr val="bg1"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6320459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-quadrant A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51D2EF4-5001-F13C-F78E-C3CD30675C37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19F35C9-63E6-2126-5191-C8E8DE1823BD}"/>
              </a:ext>
            </a:extLst>
          </p:cNvPr>
          <p:cNvCxnSpPr>
            <a:cxnSpLocks/>
          </p:cNvCxnSpPr>
          <p:nvPr userDrawn="1"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35B575CD-A0F4-D05B-49D1-AAC0DA3F142F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81" name="Title 1">
            <a:extLst>
              <a:ext uri="{FF2B5EF4-FFF2-40B4-BE49-F238E27FC236}">
                <a16:creationId xmlns:a16="http://schemas.microsoft.com/office/drawing/2014/main" id="{4D986523-65F7-CA58-BE9F-95D9B42E6D58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09600" y="800754"/>
            <a:ext cx="7078980" cy="5539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2" name="Footer Placeholder 2">
            <a:extLst>
              <a:ext uri="{FF2B5EF4-FFF2-40B4-BE49-F238E27FC236}">
                <a16:creationId xmlns:a16="http://schemas.microsoft.com/office/drawing/2014/main" id="{E36D4873-2E50-8B23-FB19-DDF3582A4B90}"/>
              </a:ext>
            </a:extLst>
          </p:cNvPr>
          <p:cNvSpPr>
            <a:spLocks noGrp="1"/>
          </p:cNvSpPr>
          <p:nvPr userDrawn="1">
            <p:ph type="ftr" sz="quarter" idx="10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84" name="Text Placeholder 24">
            <a:extLst>
              <a:ext uri="{FF2B5EF4-FFF2-40B4-BE49-F238E27FC236}">
                <a16:creationId xmlns:a16="http://schemas.microsoft.com/office/drawing/2014/main" id="{0771B77D-36A1-4EBD-304A-B385904204BE}"/>
              </a:ext>
            </a:extLst>
          </p:cNvPr>
          <p:cNvSpPr>
            <a:spLocks noGrp="1"/>
          </p:cNvSpPr>
          <p:nvPr userDrawn="1">
            <p:ph type="body" sz="quarter" idx="29"/>
          </p:nvPr>
        </p:nvSpPr>
        <p:spPr>
          <a:xfrm>
            <a:off x="609600" y="2515283"/>
            <a:ext cx="3191256" cy="52120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5" name="Text Placeholder 26">
            <a:extLst>
              <a:ext uri="{FF2B5EF4-FFF2-40B4-BE49-F238E27FC236}">
                <a16:creationId xmlns:a16="http://schemas.microsoft.com/office/drawing/2014/main" id="{EDD43944-89C8-A706-4272-8607BBCA2B02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609600" y="1795047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87" name="Text Placeholder 24">
            <a:extLst>
              <a:ext uri="{FF2B5EF4-FFF2-40B4-BE49-F238E27FC236}">
                <a16:creationId xmlns:a16="http://schemas.microsoft.com/office/drawing/2014/main" id="{B662D300-DDAF-6F6B-8E39-A7418E15931D}"/>
              </a:ext>
            </a:extLst>
          </p:cNvPr>
          <p:cNvSpPr>
            <a:spLocks noGrp="1"/>
          </p:cNvSpPr>
          <p:nvPr userDrawn="1">
            <p:ph type="body" sz="quarter" idx="31"/>
          </p:nvPr>
        </p:nvSpPr>
        <p:spPr>
          <a:xfrm>
            <a:off x="4500880" y="2515283"/>
            <a:ext cx="3191256" cy="52120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8" name="Text Placeholder 26">
            <a:extLst>
              <a:ext uri="{FF2B5EF4-FFF2-40B4-BE49-F238E27FC236}">
                <a16:creationId xmlns:a16="http://schemas.microsoft.com/office/drawing/2014/main" id="{16EEBDC3-7C5A-0C72-D3E0-741A60E0E06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4500880" y="1795047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90" name="Text Placeholder 24">
            <a:extLst>
              <a:ext uri="{FF2B5EF4-FFF2-40B4-BE49-F238E27FC236}">
                <a16:creationId xmlns:a16="http://schemas.microsoft.com/office/drawing/2014/main" id="{A24F53DB-EA07-419C-E02D-D0E94FD045F8}"/>
              </a:ext>
            </a:extLst>
          </p:cNvPr>
          <p:cNvSpPr>
            <a:spLocks noGrp="1"/>
          </p:cNvSpPr>
          <p:nvPr userDrawn="1">
            <p:ph type="body" sz="quarter" idx="33"/>
          </p:nvPr>
        </p:nvSpPr>
        <p:spPr>
          <a:xfrm>
            <a:off x="609600" y="4654479"/>
            <a:ext cx="3191256" cy="52120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1" name="Text Placeholder 26">
            <a:extLst>
              <a:ext uri="{FF2B5EF4-FFF2-40B4-BE49-F238E27FC236}">
                <a16:creationId xmlns:a16="http://schemas.microsoft.com/office/drawing/2014/main" id="{3A78A5E1-A2A6-7C74-75F4-720FD2C10167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09600" y="3934243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93" name="Text Placeholder 24">
            <a:extLst>
              <a:ext uri="{FF2B5EF4-FFF2-40B4-BE49-F238E27FC236}">
                <a16:creationId xmlns:a16="http://schemas.microsoft.com/office/drawing/2014/main" id="{299D343F-259D-AA0D-D7CC-4D2F2C059A3A}"/>
              </a:ext>
            </a:extLst>
          </p:cNvPr>
          <p:cNvSpPr>
            <a:spLocks noGrp="1"/>
          </p:cNvSpPr>
          <p:nvPr userDrawn="1">
            <p:ph type="body" sz="quarter" idx="35"/>
          </p:nvPr>
        </p:nvSpPr>
        <p:spPr>
          <a:xfrm>
            <a:off x="4500880" y="4654479"/>
            <a:ext cx="3191256" cy="52120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4" name="Text Placeholder 26">
            <a:extLst>
              <a:ext uri="{FF2B5EF4-FFF2-40B4-BE49-F238E27FC236}">
                <a16:creationId xmlns:a16="http://schemas.microsoft.com/office/drawing/2014/main" id="{3AE29A0E-322A-0149-80CB-2224AB498D1E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4500880" y="3934243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95" name="Text Placeholder 3">
            <a:extLst>
              <a:ext uri="{FF2B5EF4-FFF2-40B4-BE49-F238E27FC236}">
                <a16:creationId xmlns:a16="http://schemas.microsoft.com/office/drawing/2014/main" id="{E79CC756-FCC7-0E3C-8EE7-C039DC9CA4BE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09600" y="1371912"/>
            <a:ext cx="7078980" cy="30777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121" name="Graphic 120">
            <a:extLst>
              <a:ext uri="{FF2B5EF4-FFF2-40B4-BE49-F238E27FC236}">
                <a16:creationId xmlns:a16="http://schemas.microsoft.com/office/drawing/2014/main" id="{6A763AC6-A1BF-3217-C428-6A96C5F278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03875" y="88565"/>
            <a:ext cx="984250" cy="250052"/>
          </a:xfrm>
          <a:prstGeom prst="rect">
            <a:avLst/>
          </a:prstGeom>
        </p:spPr>
      </p:pic>
      <p:sp>
        <p:nvSpPr>
          <p:cNvPr id="10" name="Date Placeholder 49">
            <a:extLst>
              <a:ext uri="{FF2B5EF4-FFF2-40B4-BE49-F238E27FC236}">
                <a16:creationId xmlns:a16="http://schemas.microsoft.com/office/drawing/2014/main" id="{B6B4F7AA-D801-2536-6EE3-F4B99BF9D20C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ED734FD3-1022-4EF1-9EEE-DC71863AE71C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8FCD07A-5585-B12C-E039-0E70F1069B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CEBDD6-7A45-1DCB-6DD9-837A9D6953A6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09600" y="3078123"/>
            <a:ext cx="3190875" cy="73152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182880" indent="0">
              <a:buNone/>
              <a:defRPr sz="1400"/>
            </a:lvl3pPr>
            <a:lvl4pPr marL="365760" indent="0">
              <a:buNone/>
              <a:defRPr sz="1400"/>
            </a:lvl4pPr>
            <a:lvl5pPr marL="548640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1C9D9A6-A4A2-3FF9-B2A9-B6C7854452D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500563" y="3081489"/>
            <a:ext cx="3187700" cy="73152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ABE8072-909A-8BAD-8CA7-5013DF7F723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09600" y="5221224"/>
            <a:ext cx="3190875" cy="73152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182880" indent="0">
              <a:buNone/>
              <a:defRPr sz="1400"/>
            </a:lvl3pPr>
            <a:lvl4pPr marL="365760" indent="0">
              <a:buNone/>
              <a:defRPr sz="1400"/>
            </a:lvl4pPr>
            <a:lvl5pPr marL="548640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177CCA37-B289-D95E-8C0E-BC5B982711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505008" y="5221224"/>
            <a:ext cx="3190875" cy="73152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182880" indent="0">
              <a:buNone/>
              <a:defRPr sz="1400"/>
            </a:lvl3pPr>
            <a:lvl4pPr marL="365760" indent="0">
              <a:buNone/>
              <a:defRPr sz="1400"/>
            </a:lvl4pPr>
            <a:lvl5pPr marL="548640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 descr="A screenshot of a video game&#10;&#10;Description automatically generated">
            <a:extLst>
              <a:ext uri="{FF2B5EF4-FFF2-40B4-BE49-F238E27FC236}">
                <a16:creationId xmlns:a16="http://schemas.microsoft.com/office/drawing/2014/main" id="{37647DFC-6A3B-B517-AE8C-24502C125240}"/>
              </a:ext>
            </a:extLst>
          </p:cNvPr>
          <p:cNvPicPr/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77" t="34373" r="8007" b="2938"/>
          <a:stretch/>
        </p:blipFill>
        <p:spPr>
          <a:xfrm>
            <a:off x="8359253" y="539087"/>
            <a:ext cx="3261815" cy="578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21378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Quadrant A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35B575CD-A0F4-D05B-49D1-AAC0DA3F142F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609600" y="136647"/>
            <a:ext cx="4076700" cy="153888"/>
          </a:xfr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000" b="0" cap="all" spc="0" baseline="0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/>
              <a:t>Industry Name / Section Title</a:t>
            </a:r>
          </a:p>
        </p:txBody>
      </p:sp>
      <p:sp>
        <p:nvSpPr>
          <p:cNvPr id="81" name="Title 1">
            <a:extLst>
              <a:ext uri="{FF2B5EF4-FFF2-40B4-BE49-F238E27FC236}">
                <a16:creationId xmlns:a16="http://schemas.microsoft.com/office/drawing/2014/main" id="{4D986523-65F7-CA58-BE9F-95D9B42E6D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7078980" cy="553998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Footer Placeholder 2">
            <a:extLst>
              <a:ext uri="{FF2B5EF4-FFF2-40B4-BE49-F238E27FC236}">
                <a16:creationId xmlns:a16="http://schemas.microsoft.com/office/drawing/2014/main" id="{E36D4873-2E50-8B23-FB19-DDF3582A4B9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mtClean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85" name="Text Placeholder 26">
            <a:extLst>
              <a:ext uri="{FF2B5EF4-FFF2-40B4-BE49-F238E27FC236}">
                <a16:creationId xmlns:a16="http://schemas.microsoft.com/office/drawing/2014/main" id="{EDD43944-89C8-A706-4272-8607BBCA2B0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9600" y="1795047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88" name="Text Placeholder 26">
            <a:extLst>
              <a:ext uri="{FF2B5EF4-FFF2-40B4-BE49-F238E27FC236}">
                <a16:creationId xmlns:a16="http://schemas.microsoft.com/office/drawing/2014/main" id="{16EEBDC3-7C5A-0C72-D3E0-741A60E0E06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00880" y="1795047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91" name="Text Placeholder 26">
            <a:extLst>
              <a:ext uri="{FF2B5EF4-FFF2-40B4-BE49-F238E27FC236}">
                <a16:creationId xmlns:a16="http://schemas.microsoft.com/office/drawing/2014/main" id="{3A78A5E1-A2A6-7C74-75F4-720FD2C1016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600" y="3934243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94" name="Text Placeholder 26">
            <a:extLst>
              <a:ext uri="{FF2B5EF4-FFF2-40B4-BE49-F238E27FC236}">
                <a16:creationId xmlns:a16="http://schemas.microsoft.com/office/drawing/2014/main" id="{3AE29A0E-322A-0149-80CB-2224AB498D1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00880" y="3934243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95" name="Text Placeholder 3">
            <a:extLst>
              <a:ext uri="{FF2B5EF4-FFF2-40B4-BE49-F238E27FC236}">
                <a16:creationId xmlns:a16="http://schemas.microsoft.com/office/drawing/2014/main" id="{E79CC756-FCC7-0E3C-8EE7-C039DC9CA4B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7078980" cy="30777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152800FE-FBF0-49F7-F7E8-1489412E6B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03876" y="88565"/>
            <a:ext cx="995110" cy="252812"/>
          </a:xfrm>
          <a:prstGeom prst="rect">
            <a:avLst/>
          </a:prstGeom>
        </p:spPr>
      </p:pic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46EB6B38-7D72-D320-6E8A-6DD383343B5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mtClean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8F1CC0A0-41F7-468C-8E0E-468227CB93D9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236555" y="136647"/>
            <a:ext cx="1345845" cy="153888"/>
          </a:xfr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mtClean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C3B46C02-003B-48AE-876D-3A7AE8CF956F}" type="datetime4">
              <a:rPr lang="en-US" smtClean="0"/>
              <a:t>October 23, 2025</a:t>
            </a:fld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A822572-CA27-14A6-5889-83EDE56BC82E}"/>
              </a:ext>
            </a:extLst>
          </p:cNvPr>
          <p:cNvGrpSpPr/>
          <p:nvPr userDrawn="1"/>
        </p:nvGrpSpPr>
        <p:grpSpPr>
          <a:xfrm>
            <a:off x="0" y="426998"/>
            <a:ext cx="12192000" cy="6004005"/>
            <a:chOff x="0" y="426998"/>
            <a:chExt cx="12192000" cy="6004005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CBBC9AB-1658-0BED-4B6F-984327C6AC9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26998"/>
              <a:ext cx="12192000" cy="0"/>
            </a:xfrm>
            <a:prstGeom prst="line">
              <a:avLst/>
            </a:prstGeom>
            <a:ln>
              <a:solidFill>
                <a:schemeClr val="bg1"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113BDAA-1D3C-579F-793D-B1665481C1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6431003"/>
              <a:ext cx="12192000" cy="0"/>
            </a:xfrm>
            <a:prstGeom prst="line">
              <a:avLst/>
            </a:prstGeom>
            <a:ln>
              <a:solidFill>
                <a:schemeClr val="bg1"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 Placeholder 24">
            <a:extLst>
              <a:ext uri="{FF2B5EF4-FFF2-40B4-BE49-F238E27FC236}">
                <a16:creationId xmlns:a16="http://schemas.microsoft.com/office/drawing/2014/main" id="{45D52899-4691-F249-E334-9C8EEA6FB81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600" y="2515283"/>
            <a:ext cx="3191256" cy="52120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4">
            <a:extLst>
              <a:ext uri="{FF2B5EF4-FFF2-40B4-BE49-F238E27FC236}">
                <a16:creationId xmlns:a16="http://schemas.microsoft.com/office/drawing/2014/main" id="{8F149C85-589D-6AE5-DB05-DB3C98D020A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500880" y="2515283"/>
            <a:ext cx="3191256" cy="52120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24">
            <a:extLst>
              <a:ext uri="{FF2B5EF4-FFF2-40B4-BE49-F238E27FC236}">
                <a16:creationId xmlns:a16="http://schemas.microsoft.com/office/drawing/2014/main" id="{DA8ED140-709E-CA2D-621B-29A679B246C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0" y="4654479"/>
            <a:ext cx="3191256" cy="52120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4">
            <a:extLst>
              <a:ext uri="{FF2B5EF4-FFF2-40B4-BE49-F238E27FC236}">
                <a16:creationId xmlns:a16="http://schemas.microsoft.com/office/drawing/2014/main" id="{04A8125B-0CA5-3DC6-8702-414763711E5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500880" y="4654479"/>
            <a:ext cx="3191256" cy="52120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86C5878-34C0-8518-3E55-9A63948F70C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09600" y="3078123"/>
            <a:ext cx="3190875" cy="73152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 sz="1400"/>
            </a:lvl3pPr>
            <a:lvl4pPr marL="365760" indent="0">
              <a:buNone/>
              <a:defRPr sz="1400"/>
            </a:lvl4pPr>
            <a:lvl5pPr marL="548640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2753D67B-4715-32EA-D98B-1D06782D63A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500563" y="3081489"/>
            <a:ext cx="3187700" cy="73152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8860125C-77DA-74AC-CBAD-8839DC140DB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09600" y="5221224"/>
            <a:ext cx="3190875" cy="73152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 sz="1400"/>
            </a:lvl3pPr>
            <a:lvl4pPr marL="365760" indent="0">
              <a:buNone/>
              <a:defRPr sz="1400"/>
            </a:lvl4pPr>
            <a:lvl5pPr marL="548640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0A5D10B8-DCE6-EB63-E982-EB602BB12715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505008" y="5221224"/>
            <a:ext cx="3190875" cy="73152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 sz="1400"/>
            </a:lvl3pPr>
            <a:lvl4pPr marL="365760" indent="0">
              <a:buNone/>
              <a:defRPr sz="1400"/>
            </a:lvl4pPr>
            <a:lvl5pPr marL="548640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15" descr="A green circles in a circle&#10;&#10;Description automatically generated">
            <a:extLst>
              <a:ext uri="{FF2B5EF4-FFF2-40B4-BE49-F238E27FC236}">
                <a16:creationId xmlns:a16="http://schemas.microsoft.com/office/drawing/2014/main" id="{5ED3FFB8-3733-52A8-213E-38BC8DFB5E12}"/>
              </a:ext>
            </a:extLst>
          </p:cNvPr>
          <p:cNvPicPr/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21" t="34126" r="5301" b="2732"/>
          <a:stretch/>
        </p:blipFill>
        <p:spPr>
          <a:xfrm>
            <a:off x="8352430" y="525439"/>
            <a:ext cx="3275463" cy="5800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4428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1 - Dark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aphic 7">
            <a:extLst>
              <a:ext uri="{FF2B5EF4-FFF2-40B4-BE49-F238E27FC236}">
                <a16:creationId xmlns:a16="http://schemas.microsoft.com/office/drawing/2014/main" id="{C5A0A539-4BAC-8953-4BBA-6D59087AD769}"/>
              </a:ext>
            </a:extLst>
          </p:cNvPr>
          <p:cNvGrpSpPr/>
          <p:nvPr userDrawn="1"/>
        </p:nvGrpSpPr>
        <p:grpSpPr>
          <a:xfrm>
            <a:off x="609600" y="557212"/>
            <a:ext cx="1729317" cy="437558"/>
            <a:chOff x="609600" y="557212"/>
            <a:chExt cx="2670098" cy="675598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CABD304E-130C-E81B-7AD9-4DF1D35529F5}"/>
                </a:ext>
              </a:extLst>
            </p:cNvPr>
            <p:cNvSpPr/>
            <p:nvPr/>
          </p:nvSpPr>
          <p:spPr>
            <a:xfrm>
              <a:off x="1181182" y="790634"/>
              <a:ext cx="2098515" cy="283771"/>
            </a:xfrm>
            <a:custGeom>
              <a:avLst/>
              <a:gdLst>
                <a:gd name="connsiteX0" fmla="*/ 129551 w 2098515"/>
                <a:gd name="connsiteY0" fmla="*/ 283771 h 283771"/>
                <a:gd name="connsiteX1" fmla="*/ 77038 w 2098515"/>
                <a:gd name="connsiteY1" fmla="*/ 273817 h 283771"/>
                <a:gd name="connsiteX2" fmla="*/ 36644 w 2098515"/>
                <a:gd name="connsiteY2" fmla="*/ 245685 h 283771"/>
                <a:gd name="connsiteX3" fmla="*/ 9377 w 2098515"/>
                <a:gd name="connsiteY3" fmla="*/ 199953 h 283771"/>
                <a:gd name="connsiteX4" fmla="*/ 0 w 2098515"/>
                <a:gd name="connsiteY4" fmla="*/ 142391 h 283771"/>
                <a:gd name="connsiteX5" fmla="*/ 10531 w 2098515"/>
                <a:gd name="connsiteY5" fmla="*/ 82809 h 283771"/>
                <a:gd name="connsiteX6" fmla="*/ 40395 w 2098515"/>
                <a:gd name="connsiteY6" fmla="*/ 36211 h 283771"/>
                <a:gd name="connsiteX7" fmla="*/ 80789 w 2098515"/>
                <a:gd name="connsiteY7" fmla="*/ 9522 h 283771"/>
                <a:gd name="connsiteX8" fmla="*/ 133735 w 2098515"/>
                <a:gd name="connsiteY8" fmla="*/ 0 h 283771"/>
                <a:gd name="connsiteX9" fmla="*/ 180910 w 2098515"/>
                <a:gd name="connsiteY9" fmla="*/ 6636 h 283771"/>
                <a:gd name="connsiteX10" fmla="*/ 217121 w 2098515"/>
                <a:gd name="connsiteY10" fmla="*/ 25679 h 283771"/>
                <a:gd name="connsiteX11" fmla="*/ 241646 w 2098515"/>
                <a:gd name="connsiteY11" fmla="*/ 55542 h 283771"/>
                <a:gd name="connsiteX12" fmla="*/ 254341 w 2098515"/>
                <a:gd name="connsiteY12" fmla="*/ 94350 h 283771"/>
                <a:gd name="connsiteX13" fmla="*/ 188844 w 2098515"/>
                <a:gd name="connsiteY13" fmla="*/ 94350 h 283771"/>
                <a:gd name="connsiteX14" fmla="*/ 171677 w 2098515"/>
                <a:gd name="connsiteY14" fmla="*/ 66507 h 283771"/>
                <a:gd name="connsiteX15" fmla="*/ 135899 w 2098515"/>
                <a:gd name="connsiteY15" fmla="*/ 55398 h 283771"/>
                <a:gd name="connsiteX16" fmla="*/ 106324 w 2098515"/>
                <a:gd name="connsiteY16" fmla="*/ 62034 h 283771"/>
                <a:gd name="connsiteX17" fmla="*/ 85117 w 2098515"/>
                <a:gd name="connsiteY17" fmla="*/ 80356 h 283771"/>
                <a:gd name="connsiteX18" fmla="*/ 72566 w 2098515"/>
                <a:gd name="connsiteY18" fmla="*/ 107767 h 283771"/>
                <a:gd name="connsiteX19" fmla="*/ 68382 w 2098515"/>
                <a:gd name="connsiteY19" fmla="*/ 142246 h 283771"/>
                <a:gd name="connsiteX20" fmla="*/ 73143 w 2098515"/>
                <a:gd name="connsiteY20" fmla="*/ 176870 h 283771"/>
                <a:gd name="connsiteX21" fmla="*/ 86704 w 2098515"/>
                <a:gd name="connsiteY21" fmla="*/ 204425 h 283771"/>
                <a:gd name="connsiteX22" fmla="*/ 108200 w 2098515"/>
                <a:gd name="connsiteY22" fmla="*/ 222458 h 283771"/>
                <a:gd name="connsiteX23" fmla="*/ 136909 w 2098515"/>
                <a:gd name="connsiteY23" fmla="*/ 228950 h 283771"/>
                <a:gd name="connsiteX24" fmla="*/ 160712 w 2098515"/>
                <a:gd name="connsiteY24" fmla="*/ 224911 h 283771"/>
                <a:gd name="connsiteX25" fmla="*/ 178601 w 2098515"/>
                <a:gd name="connsiteY25" fmla="*/ 214235 h 283771"/>
                <a:gd name="connsiteX26" fmla="*/ 190431 w 2098515"/>
                <a:gd name="connsiteY26" fmla="*/ 198943 h 283771"/>
                <a:gd name="connsiteX27" fmla="*/ 195913 w 2098515"/>
                <a:gd name="connsiteY27" fmla="*/ 181198 h 283771"/>
                <a:gd name="connsiteX28" fmla="*/ 195913 w 2098515"/>
                <a:gd name="connsiteY28" fmla="*/ 180477 h 283771"/>
                <a:gd name="connsiteX29" fmla="*/ 144843 w 2098515"/>
                <a:gd name="connsiteY29" fmla="*/ 180477 h 283771"/>
                <a:gd name="connsiteX30" fmla="*/ 144843 w 2098515"/>
                <a:gd name="connsiteY30" fmla="*/ 130994 h 283771"/>
                <a:gd name="connsiteX31" fmla="*/ 258381 w 2098515"/>
                <a:gd name="connsiteY31" fmla="*/ 130994 h 283771"/>
                <a:gd name="connsiteX32" fmla="*/ 258381 w 2098515"/>
                <a:gd name="connsiteY32" fmla="*/ 277279 h 283771"/>
                <a:gd name="connsiteX33" fmla="*/ 211206 w 2098515"/>
                <a:gd name="connsiteY33" fmla="*/ 277279 h 283771"/>
                <a:gd name="connsiteX34" fmla="*/ 207455 w 2098515"/>
                <a:gd name="connsiteY34" fmla="*/ 244531 h 283771"/>
                <a:gd name="connsiteX35" fmla="*/ 206733 w 2098515"/>
                <a:gd name="connsiteY35" fmla="*/ 244531 h 283771"/>
                <a:gd name="connsiteX36" fmla="*/ 173841 w 2098515"/>
                <a:gd name="connsiteY36" fmla="*/ 274394 h 283771"/>
                <a:gd name="connsiteX37" fmla="*/ 129407 w 2098515"/>
                <a:gd name="connsiteY37" fmla="*/ 283339 h 283771"/>
                <a:gd name="connsiteX38" fmla="*/ 358357 w 2098515"/>
                <a:gd name="connsiteY38" fmla="*/ 282906 h 283771"/>
                <a:gd name="connsiteX39" fmla="*/ 307143 w 2098515"/>
                <a:gd name="connsiteY39" fmla="*/ 262853 h 283771"/>
                <a:gd name="connsiteX40" fmla="*/ 289831 w 2098515"/>
                <a:gd name="connsiteY40" fmla="*/ 210051 h 283771"/>
                <a:gd name="connsiteX41" fmla="*/ 289831 w 2098515"/>
                <a:gd name="connsiteY41" fmla="*/ 82087 h 283771"/>
                <a:gd name="connsiteX42" fmla="*/ 351577 w 2098515"/>
                <a:gd name="connsiteY42" fmla="*/ 82087 h 283771"/>
                <a:gd name="connsiteX43" fmla="*/ 351577 w 2098515"/>
                <a:gd name="connsiteY43" fmla="*/ 197212 h 283771"/>
                <a:gd name="connsiteX44" fmla="*/ 358790 w 2098515"/>
                <a:gd name="connsiteY44" fmla="*/ 221737 h 283771"/>
                <a:gd name="connsiteX45" fmla="*/ 380863 w 2098515"/>
                <a:gd name="connsiteY45" fmla="*/ 230249 h 283771"/>
                <a:gd name="connsiteX46" fmla="*/ 405965 w 2098515"/>
                <a:gd name="connsiteY46" fmla="*/ 219429 h 283771"/>
                <a:gd name="connsiteX47" fmla="*/ 415054 w 2098515"/>
                <a:gd name="connsiteY47" fmla="*/ 191008 h 283771"/>
                <a:gd name="connsiteX48" fmla="*/ 415054 w 2098515"/>
                <a:gd name="connsiteY48" fmla="*/ 82087 h 283771"/>
                <a:gd name="connsiteX49" fmla="*/ 477088 w 2098515"/>
                <a:gd name="connsiteY49" fmla="*/ 82087 h 283771"/>
                <a:gd name="connsiteX50" fmla="*/ 477088 w 2098515"/>
                <a:gd name="connsiteY50" fmla="*/ 277135 h 283771"/>
                <a:gd name="connsiteX51" fmla="*/ 417650 w 2098515"/>
                <a:gd name="connsiteY51" fmla="*/ 277135 h 283771"/>
                <a:gd name="connsiteX52" fmla="*/ 417650 w 2098515"/>
                <a:gd name="connsiteY52" fmla="*/ 253187 h 283771"/>
                <a:gd name="connsiteX53" fmla="*/ 416496 w 2098515"/>
                <a:gd name="connsiteY53" fmla="*/ 253187 h 283771"/>
                <a:gd name="connsiteX54" fmla="*/ 392260 w 2098515"/>
                <a:gd name="connsiteY54" fmla="*/ 275260 h 283771"/>
                <a:gd name="connsiteX55" fmla="*/ 358213 w 2098515"/>
                <a:gd name="connsiteY55" fmla="*/ 282906 h 283771"/>
                <a:gd name="connsiteX56" fmla="*/ 512433 w 2098515"/>
                <a:gd name="connsiteY56" fmla="*/ 2164 h 283771"/>
                <a:gd name="connsiteX57" fmla="*/ 574468 w 2098515"/>
                <a:gd name="connsiteY57" fmla="*/ 2164 h 283771"/>
                <a:gd name="connsiteX58" fmla="*/ 574468 w 2098515"/>
                <a:gd name="connsiteY58" fmla="*/ 55110 h 283771"/>
                <a:gd name="connsiteX59" fmla="*/ 512433 w 2098515"/>
                <a:gd name="connsiteY59" fmla="*/ 55110 h 283771"/>
                <a:gd name="connsiteX60" fmla="*/ 512433 w 2098515"/>
                <a:gd name="connsiteY60" fmla="*/ 2164 h 283771"/>
                <a:gd name="connsiteX61" fmla="*/ 512433 w 2098515"/>
                <a:gd name="connsiteY61" fmla="*/ 82087 h 283771"/>
                <a:gd name="connsiteX62" fmla="*/ 574468 w 2098515"/>
                <a:gd name="connsiteY62" fmla="*/ 82087 h 283771"/>
                <a:gd name="connsiteX63" fmla="*/ 574468 w 2098515"/>
                <a:gd name="connsiteY63" fmla="*/ 277135 h 283771"/>
                <a:gd name="connsiteX64" fmla="*/ 512433 w 2098515"/>
                <a:gd name="connsiteY64" fmla="*/ 277135 h 283771"/>
                <a:gd name="connsiteX65" fmla="*/ 512433 w 2098515"/>
                <a:gd name="connsiteY65" fmla="*/ 82087 h 283771"/>
                <a:gd name="connsiteX66" fmla="*/ 686563 w 2098515"/>
                <a:gd name="connsiteY66" fmla="*/ 283194 h 283771"/>
                <a:gd name="connsiteX67" fmla="*/ 652227 w 2098515"/>
                <a:gd name="connsiteY67" fmla="*/ 276125 h 283771"/>
                <a:gd name="connsiteX68" fmla="*/ 625249 w 2098515"/>
                <a:gd name="connsiteY68" fmla="*/ 255784 h 283771"/>
                <a:gd name="connsiteX69" fmla="*/ 607505 w 2098515"/>
                <a:gd name="connsiteY69" fmla="*/ 223180 h 283771"/>
                <a:gd name="connsiteX70" fmla="*/ 601157 w 2098515"/>
                <a:gd name="connsiteY70" fmla="*/ 179611 h 283771"/>
                <a:gd name="connsiteX71" fmla="*/ 607505 w 2098515"/>
                <a:gd name="connsiteY71" fmla="*/ 137630 h 283771"/>
                <a:gd name="connsiteX72" fmla="*/ 624961 w 2098515"/>
                <a:gd name="connsiteY72" fmla="*/ 105026 h 283771"/>
                <a:gd name="connsiteX73" fmla="*/ 651794 w 2098515"/>
                <a:gd name="connsiteY73" fmla="*/ 83819 h 283771"/>
                <a:gd name="connsiteX74" fmla="*/ 686418 w 2098515"/>
                <a:gd name="connsiteY74" fmla="*/ 76172 h 283771"/>
                <a:gd name="connsiteX75" fmla="*/ 719600 w 2098515"/>
                <a:gd name="connsiteY75" fmla="*/ 83963 h 283771"/>
                <a:gd name="connsiteX76" fmla="*/ 740951 w 2098515"/>
                <a:gd name="connsiteY76" fmla="*/ 104016 h 283771"/>
                <a:gd name="connsiteX77" fmla="*/ 742105 w 2098515"/>
                <a:gd name="connsiteY77" fmla="*/ 104016 h 283771"/>
                <a:gd name="connsiteX78" fmla="*/ 742105 w 2098515"/>
                <a:gd name="connsiteY78" fmla="*/ 1875 h 283771"/>
                <a:gd name="connsiteX79" fmla="*/ 804139 w 2098515"/>
                <a:gd name="connsiteY79" fmla="*/ 1875 h 283771"/>
                <a:gd name="connsiteX80" fmla="*/ 804139 w 2098515"/>
                <a:gd name="connsiteY80" fmla="*/ 276991 h 283771"/>
                <a:gd name="connsiteX81" fmla="*/ 744702 w 2098515"/>
                <a:gd name="connsiteY81" fmla="*/ 276991 h 283771"/>
                <a:gd name="connsiteX82" fmla="*/ 744702 w 2098515"/>
                <a:gd name="connsiteY82" fmla="*/ 250735 h 283771"/>
                <a:gd name="connsiteX83" fmla="*/ 743981 w 2098515"/>
                <a:gd name="connsiteY83" fmla="*/ 250735 h 283771"/>
                <a:gd name="connsiteX84" fmla="*/ 720609 w 2098515"/>
                <a:gd name="connsiteY84" fmla="*/ 274538 h 283771"/>
                <a:gd name="connsiteX85" fmla="*/ 686563 w 2098515"/>
                <a:gd name="connsiteY85" fmla="*/ 283050 h 283771"/>
                <a:gd name="connsiteX86" fmla="*/ 702576 w 2098515"/>
                <a:gd name="connsiteY86" fmla="*/ 233855 h 283771"/>
                <a:gd name="connsiteX87" fmla="*/ 732872 w 2098515"/>
                <a:gd name="connsiteY87" fmla="*/ 218563 h 283771"/>
                <a:gd name="connsiteX88" fmla="*/ 743692 w 2098515"/>
                <a:gd name="connsiteY88" fmla="*/ 179323 h 283771"/>
                <a:gd name="connsiteX89" fmla="*/ 741239 w 2098515"/>
                <a:gd name="connsiteY89" fmla="*/ 156673 h 283771"/>
                <a:gd name="connsiteX90" fmla="*/ 733593 w 2098515"/>
                <a:gd name="connsiteY90" fmla="*/ 138784 h 283771"/>
                <a:gd name="connsiteX91" fmla="*/ 721042 w 2098515"/>
                <a:gd name="connsiteY91" fmla="*/ 127098 h 283771"/>
                <a:gd name="connsiteX92" fmla="*/ 703297 w 2098515"/>
                <a:gd name="connsiteY92" fmla="*/ 122915 h 283771"/>
                <a:gd name="connsiteX93" fmla="*/ 674300 w 2098515"/>
                <a:gd name="connsiteY93" fmla="*/ 138351 h 283771"/>
                <a:gd name="connsiteX94" fmla="*/ 664057 w 2098515"/>
                <a:gd name="connsiteY94" fmla="*/ 178601 h 283771"/>
                <a:gd name="connsiteX95" fmla="*/ 674156 w 2098515"/>
                <a:gd name="connsiteY95" fmla="*/ 218996 h 283771"/>
                <a:gd name="connsiteX96" fmla="*/ 702576 w 2098515"/>
                <a:gd name="connsiteY96" fmla="*/ 233855 h 283771"/>
                <a:gd name="connsiteX97" fmla="*/ 931094 w 2098515"/>
                <a:gd name="connsiteY97" fmla="*/ 282617 h 283771"/>
                <a:gd name="connsiteX98" fmla="*/ 887670 w 2098515"/>
                <a:gd name="connsiteY98" fmla="*/ 274827 h 283771"/>
                <a:gd name="connsiteX99" fmla="*/ 854921 w 2098515"/>
                <a:gd name="connsiteY99" fmla="*/ 253043 h 283771"/>
                <a:gd name="connsiteX100" fmla="*/ 834291 w 2098515"/>
                <a:gd name="connsiteY100" fmla="*/ 220150 h 283771"/>
                <a:gd name="connsiteX101" fmla="*/ 827078 w 2098515"/>
                <a:gd name="connsiteY101" fmla="*/ 179034 h 283771"/>
                <a:gd name="connsiteX102" fmla="*/ 834291 w 2098515"/>
                <a:gd name="connsiteY102" fmla="*/ 138495 h 283771"/>
                <a:gd name="connsiteX103" fmla="*/ 854921 w 2098515"/>
                <a:gd name="connsiteY103" fmla="*/ 105747 h 283771"/>
                <a:gd name="connsiteX104" fmla="*/ 886515 w 2098515"/>
                <a:gd name="connsiteY104" fmla="*/ 84107 h 283771"/>
                <a:gd name="connsiteX105" fmla="*/ 927343 w 2098515"/>
                <a:gd name="connsiteY105" fmla="*/ 76317 h 283771"/>
                <a:gd name="connsiteX106" fmla="*/ 964852 w 2098515"/>
                <a:gd name="connsiteY106" fmla="*/ 82809 h 283771"/>
                <a:gd name="connsiteX107" fmla="*/ 993994 w 2098515"/>
                <a:gd name="connsiteY107" fmla="*/ 100698 h 283771"/>
                <a:gd name="connsiteX108" fmla="*/ 1020106 w 2098515"/>
                <a:gd name="connsiteY108" fmla="*/ 141237 h 283771"/>
                <a:gd name="connsiteX109" fmla="*/ 1028329 w 2098515"/>
                <a:gd name="connsiteY109" fmla="*/ 195481 h 283771"/>
                <a:gd name="connsiteX110" fmla="*/ 888102 w 2098515"/>
                <a:gd name="connsiteY110" fmla="*/ 195481 h 283771"/>
                <a:gd name="connsiteX111" fmla="*/ 901808 w 2098515"/>
                <a:gd name="connsiteY111" fmla="*/ 226786 h 283771"/>
                <a:gd name="connsiteX112" fmla="*/ 931959 w 2098515"/>
                <a:gd name="connsiteY112" fmla="*/ 238183 h 283771"/>
                <a:gd name="connsiteX113" fmla="*/ 952157 w 2098515"/>
                <a:gd name="connsiteY113" fmla="*/ 232990 h 283771"/>
                <a:gd name="connsiteX114" fmla="*/ 964275 w 2098515"/>
                <a:gd name="connsiteY114" fmla="*/ 218707 h 283771"/>
                <a:gd name="connsiteX115" fmla="*/ 1024867 w 2098515"/>
                <a:gd name="connsiteY115" fmla="*/ 218707 h 283771"/>
                <a:gd name="connsiteX116" fmla="*/ 1013470 w 2098515"/>
                <a:gd name="connsiteY116" fmla="*/ 244098 h 283771"/>
                <a:gd name="connsiteX117" fmla="*/ 992118 w 2098515"/>
                <a:gd name="connsiteY117" fmla="*/ 264873 h 283771"/>
                <a:gd name="connsiteX118" fmla="*/ 964852 w 2098515"/>
                <a:gd name="connsiteY118" fmla="*/ 278145 h 283771"/>
                <a:gd name="connsiteX119" fmla="*/ 931094 w 2098515"/>
                <a:gd name="connsiteY119" fmla="*/ 282762 h 283771"/>
                <a:gd name="connsiteX120" fmla="*/ 965429 w 2098515"/>
                <a:gd name="connsiteY120" fmla="*/ 158548 h 283771"/>
                <a:gd name="connsiteX121" fmla="*/ 953599 w 2098515"/>
                <a:gd name="connsiteY121" fmla="*/ 130705 h 283771"/>
                <a:gd name="connsiteX122" fmla="*/ 928497 w 2098515"/>
                <a:gd name="connsiteY122" fmla="*/ 120462 h 283771"/>
                <a:gd name="connsiteX123" fmla="*/ 901086 w 2098515"/>
                <a:gd name="connsiteY123" fmla="*/ 130705 h 283771"/>
                <a:gd name="connsiteX124" fmla="*/ 888535 w 2098515"/>
                <a:gd name="connsiteY124" fmla="*/ 158548 h 283771"/>
                <a:gd name="connsiteX125" fmla="*/ 965429 w 2098515"/>
                <a:gd name="connsiteY125" fmla="*/ 158548 h 283771"/>
                <a:gd name="connsiteX126" fmla="*/ 1051123 w 2098515"/>
                <a:gd name="connsiteY126" fmla="*/ 2020 h 283771"/>
                <a:gd name="connsiteX127" fmla="*/ 1113158 w 2098515"/>
                <a:gd name="connsiteY127" fmla="*/ 2020 h 283771"/>
                <a:gd name="connsiteX128" fmla="*/ 1113158 w 2098515"/>
                <a:gd name="connsiteY128" fmla="*/ 106036 h 283771"/>
                <a:gd name="connsiteX129" fmla="*/ 1114312 w 2098515"/>
                <a:gd name="connsiteY129" fmla="*/ 106036 h 283771"/>
                <a:gd name="connsiteX130" fmla="*/ 1138260 w 2098515"/>
                <a:gd name="connsiteY130" fmla="*/ 84107 h 283771"/>
                <a:gd name="connsiteX131" fmla="*/ 1172162 w 2098515"/>
                <a:gd name="connsiteY131" fmla="*/ 76317 h 283771"/>
                <a:gd name="connsiteX132" fmla="*/ 1200727 w 2098515"/>
                <a:gd name="connsiteY132" fmla="*/ 81799 h 283771"/>
                <a:gd name="connsiteX133" fmla="*/ 1222079 w 2098515"/>
                <a:gd name="connsiteY133" fmla="*/ 97091 h 283771"/>
                <a:gd name="connsiteX134" fmla="*/ 1235495 w 2098515"/>
                <a:gd name="connsiteY134" fmla="*/ 120318 h 283771"/>
                <a:gd name="connsiteX135" fmla="*/ 1240112 w 2098515"/>
                <a:gd name="connsiteY135" fmla="*/ 150181 h 283771"/>
                <a:gd name="connsiteX136" fmla="*/ 1240112 w 2098515"/>
                <a:gd name="connsiteY136" fmla="*/ 276991 h 283771"/>
                <a:gd name="connsiteX137" fmla="*/ 1178077 w 2098515"/>
                <a:gd name="connsiteY137" fmla="*/ 276991 h 283771"/>
                <a:gd name="connsiteX138" fmla="*/ 1178077 w 2098515"/>
                <a:gd name="connsiteY138" fmla="*/ 162732 h 283771"/>
                <a:gd name="connsiteX139" fmla="*/ 1170431 w 2098515"/>
                <a:gd name="connsiteY139" fmla="*/ 137630 h 283771"/>
                <a:gd name="connsiteX140" fmla="*/ 1147637 w 2098515"/>
                <a:gd name="connsiteY140" fmla="*/ 128108 h 283771"/>
                <a:gd name="connsiteX141" fmla="*/ 1122679 w 2098515"/>
                <a:gd name="connsiteY141" fmla="*/ 139505 h 283771"/>
                <a:gd name="connsiteX142" fmla="*/ 1113302 w 2098515"/>
                <a:gd name="connsiteY142" fmla="*/ 169224 h 283771"/>
                <a:gd name="connsiteX143" fmla="*/ 1113302 w 2098515"/>
                <a:gd name="connsiteY143" fmla="*/ 276991 h 283771"/>
                <a:gd name="connsiteX144" fmla="*/ 1051267 w 2098515"/>
                <a:gd name="connsiteY144" fmla="*/ 276991 h 283771"/>
                <a:gd name="connsiteX145" fmla="*/ 1051267 w 2098515"/>
                <a:gd name="connsiteY145" fmla="*/ 1875 h 283771"/>
                <a:gd name="connsiteX146" fmla="*/ 1363892 w 2098515"/>
                <a:gd name="connsiteY146" fmla="*/ 283194 h 283771"/>
                <a:gd name="connsiteX147" fmla="*/ 1321045 w 2098515"/>
                <a:gd name="connsiteY147" fmla="*/ 275404 h 283771"/>
                <a:gd name="connsiteX148" fmla="*/ 1288008 w 2098515"/>
                <a:gd name="connsiteY148" fmla="*/ 253620 h 283771"/>
                <a:gd name="connsiteX149" fmla="*/ 1266945 w 2098515"/>
                <a:gd name="connsiteY149" fmla="*/ 220871 h 283771"/>
                <a:gd name="connsiteX150" fmla="*/ 1259443 w 2098515"/>
                <a:gd name="connsiteY150" fmla="*/ 179900 h 283771"/>
                <a:gd name="connsiteX151" fmla="*/ 1266945 w 2098515"/>
                <a:gd name="connsiteY151" fmla="*/ 138928 h 283771"/>
                <a:gd name="connsiteX152" fmla="*/ 1288008 w 2098515"/>
                <a:gd name="connsiteY152" fmla="*/ 106180 h 283771"/>
                <a:gd name="connsiteX153" fmla="*/ 1321045 w 2098515"/>
                <a:gd name="connsiteY153" fmla="*/ 84540 h 283771"/>
                <a:gd name="connsiteX154" fmla="*/ 1363892 w 2098515"/>
                <a:gd name="connsiteY154" fmla="*/ 76750 h 283771"/>
                <a:gd name="connsiteX155" fmla="*/ 1406739 w 2098515"/>
                <a:gd name="connsiteY155" fmla="*/ 84540 h 283771"/>
                <a:gd name="connsiteX156" fmla="*/ 1439487 w 2098515"/>
                <a:gd name="connsiteY156" fmla="*/ 106180 h 283771"/>
                <a:gd name="connsiteX157" fmla="*/ 1460406 w 2098515"/>
                <a:gd name="connsiteY157" fmla="*/ 138928 h 283771"/>
                <a:gd name="connsiteX158" fmla="*/ 1467764 w 2098515"/>
                <a:gd name="connsiteY158" fmla="*/ 179900 h 283771"/>
                <a:gd name="connsiteX159" fmla="*/ 1460406 w 2098515"/>
                <a:gd name="connsiteY159" fmla="*/ 220871 h 283771"/>
                <a:gd name="connsiteX160" fmla="*/ 1439487 w 2098515"/>
                <a:gd name="connsiteY160" fmla="*/ 253620 h 283771"/>
                <a:gd name="connsiteX161" fmla="*/ 1406739 w 2098515"/>
                <a:gd name="connsiteY161" fmla="*/ 275404 h 283771"/>
                <a:gd name="connsiteX162" fmla="*/ 1363892 w 2098515"/>
                <a:gd name="connsiteY162" fmla="*/ 283194 h 283771"/>
                <a:gd name="connsiteX163" fmla="*/ 1363459 w 2098515"/>
                <a:gd name="connsiteY163" fmla="*/ 239049 h 283771"/>
                <a:gd name="connsiteX164" fmla="*/ 1394477 w 2098515"/>
                <a:gd name="connsiteY164" fmla="*/ 222891 h 283771"/>
                <a:gd name="connsiteX165" fmla="*/ 1405008 w 2098515"/>
                <a:gd name="connsiteY165" fmla="*/ 180044 h 283771"/>
                <a:gd name="connsiteX166" fmla="*/ 1394477 w 2098515"/>
                <a:gd name="connsiteY166" fmla="*/ 137053 h 283771"/>
                <a:gd name="connsiteX167" fmla="*/ 1363459 w 2098515"/>
                <a:gd name="connsiteY167" fmla="*/ 120606 h 283771"/>
                <a:gd name="connsiteX168" fmla="*/ 1332586 w 2098515"/>
                <a:gd name="connsiteY168" fmla="*/ 137053 h 283771"/>
                <a:gd name="connsiteX169" fmla="*/ 1322343 w 2098515"/>
                <a:gd name="connsiteY169" fmla="*/ 180044 h 283771"/>
                <a:gd name="connsiteX170" fmla="*/ 1332586 w 2098515"/>
                <a:gd name="connsiteY170" fmla="*/ 222891 h 283771"/>
                <a:gd name="connsiteX171" fmla="*/ 1363459 w 2098515"/>
                <a:gd name="connsiteY171" fmla="*/ 239049 h 283771"/>
                <a:gd name="connsiteX172" fmla="*/ 1555910 w 2098515"/>
                <a:gd name="connsiteY172" fmla="*/ 282906 h 283771"/>
                <a:gd name="connsiteX173" fmla="*/ 1504696 w 2098515"/>
                <a:gd name="connsiteY173" fmla="*/ 262853 h 283771"/>
                <a:gd name="connsiteX174" fmla="*/ 1487384 w 2098515"/>
                <a:gd name="connsiteY174" fmla="*/ 210051 h 283771"/>
                <a:gd name="connsiteX175" fmla="*/ 1487384 w 2098515"/>
                <a:gd name="connsiteY175" fmla="*/ 82087 h 283771"/>
                <a:gd name="connsiteX176" fmla="*/ 1549130 w 2098515"/>
                <a:gd name="connsiteY176" fmla="*/ 82087 h 283771"/>
                <a:gd name="connsiteX177" fmla="*/ 1549130 w 2098515"/>
                <a:gd name="connsiteY177" fmla="*/ 197212 h 283771"/>
                <a:gd name="connsiteX178" fmla="*/ 1556343 w 2098515"/>
                <a:gd name="connsiteY178" fmla="*/ 221737 h 283771"/>
                <a:gd name="connsiteX179" fmla="*/ 1578416 w 2098515"/>
                <a:gd name="connsiteY179" fmla="*/ 230249 h 283771"/>
                <a:gd name="connsiteX180" fmla="*/ 1603518 w 2098515"/>
                <a:gd name="connsiteY180" fmla="*/ 219429 h 283771"/>
                <a:gd name="connsiteX181" fmla="*/ 1612607 w 2098515"/>
                <a:gd name="connsiteY181" fmla="*/ 191008 h 283771"/>
                <a:gd name="connsiteX182" fmla="*/ 1612607 w 2098515"/>
                <a:gd name="connsiteY182" fmla="*/ 82087 h 283771"/>
                <a:gd name="connsiteX183" fmla="*/ 1674641 w 2098515"/>
                <a:gd name="connsiteY183" fmla="*/ 82087 h 283771"/>
                <a:gd name="connsiteX184" fmla="*/ 1674641 w 2098515"/>
                <a:gd name="connsiteY184" fmla="*/ 277135 h 283771"/>
                <a:gd name="connsiteX185" fmla="*/ 1615204 w 2098515"/>
                <a:gd name="connsiteY185" fmla="*/ 277135 h 283771"/>
                <a:gd name="connsiteX186" fmla="*/ 1615204 w 2098515"/>
                <a:gd name="connsiteY186" fmla="*/ 253187 h 283771"/>
                <a:gd name="connsiteX187" fmla="*/ 1614050 w 2098515"/>
                <a:gd name="connsiteY187" fmla="*/ 253187 h 283771"/>
                <a:gd name="connsiteX188" fmla="*/ 1589813 w 2098515"/>
                <a:gd name="connsiteY188" fmla="*/ 275260 h 283771"/>
                <a:gd name="connsiteX189" fmla="*/ 1555766 w 2098515"/>
                <a:gd name="connsiteY189" fmla="*/ 282906 h 283771"/>
                <a:gd name="connsiteX190" fmla="*/ 1791208 w 2098515"/>
                <a:gd name="connsiteY190" fmla="*/ 283339 h 283771"/>
                <a:gd name="connsiteX191" fmla="*/ 1722971 w 2098515"/>
                <a:gd name="connsiteY191" fmla="*/ 264873 h 283771"/>
                <a:gd name="connsiteX192" fmla="*/ 1696281 w 2098515"/>
                <a:gd name="connsiteY192" fmla="*/ 213947 h 283771"/>
                <a:gd name="connsiteX193" fmla="*/ 1754998 w 2098515"/>
                <a:gd name="connsiteY193" fmla="*/ 213947 h 283771"/>
                <a:gd name="connsiteX194" fmla="*/ 1766106 w 2098515"/>
                <a:gd name="connsiteY194" fmla="*/ 235731 h 283771"/>
                <a:gd name="connsiteX195" fmla="*/ 1790920 w 2098515"/>
                <a:gd name="connsiteY195" fmla="*/ 242944 h 283771"/>
                <a:gd name="connsiteX196" fmla="*/ 1813137 w 2098515"/>
                <a:gd name="connsiteY196" fmla="*/ 238039 h 283771"/>
                <a:gd name="connsiteX197" fmla="*/ 1821360 w 2098515"/>
                <a:gd name="connsiteY197" fmla="*/ 223612 h 283771"/>
                <a:gd name="connsiteX198" fmla="*/ 1817176 w 2098515"/>
                <a:gd name="connsiteY198" fmla="*/ 213081 h 283771"/>
                <a:gd name="connsiteX199" fmla="*/ 1806068 w 2098515"/>
                <a:gd name="connsiteY199" fmla="*/ 206589 h 283771"/>
                <a:gd name="connsiteX200" fmla="*/ 1790199 w 2098515"/>
                <a:gd name="connsiteY200" fmla="*/ 202838 h 283771"/>
                <a:gd name="connsiteX201" fmla="*/ 1771732 w 2098515"/>
                <a:gd name="connsiteY201" fmla="*/ 199664 h 283771"/>
                <a:gd name="connsiteX202" fmla="*/ 1746630 w 2098515"/>
                <a:gd name="connsiteY202" fmla="*/ 194182 h 283771"/>
                <a:gd name="connsiteX203" fmla="*/ 1723980 w 2098515"/>
                <a:gd name="connsiteY203" fmla="*/ 184516 h 283771"/>
                <a:gd name="connsiteX204" fmla="*/ 1707823 w 2098515"/>
                <a:gd name="connsiteY204" fmla="*/ 167204 h 283771"/>
                <a:gd name="connsiteX205" fmla="*/ 1701763 w 2098515"/>
                <a:gd name="connsiteY205" fmla="*/ 139217 h 283771"/>
                <a:gd name="connsiteX206" fmla="*/ 1708400 w 2098515"/>
                <a:gd name="connsiteY206" fmla="*/ 112095 h 283771"/>
                <a:gd name="connsiteX207" fmla="*/ 1726577 w 2098515"/>
                <a:gd name="connsiteY207" fmla="*/ 92475 h 283771"/>
                <a:gd name="connsiteX208" fmla="*/ 1753411 w 2098515"/>
                <a:gd name="connsiteY208" fmla="*/ 80645 h 283771"/>
                <a:gd name="connsiteX209" fmla="*/ 1786015 w 2098515"/>
                <a:gd name="connsiteY209" fmla="*/ 76605 h 283771"/>
                <a:gd name="connsiteX210" fmla="*/ 1849636 w 2098515"/>
                <a:gd name="connsiteY210" fmla="*/ 93340 h 283771"/>
                <a:gd name="connsiteX211" fmla="*/ 1874017 w 2098515"/>
                <a:gd name="connsiteY211" fmla="*/ 139073 h 283771"/>
                <a:gd name="connsiteX212" fmla="*/ 1816888 w 2098515"/>
                <a:gd name="connsiteY212" fmla="*/ 139073 h 283771"/>
                <a:gd name="connsiteX213" fmla="*/ 1806789 w 2098515"/>
                <a:gd name="connsiteY213" fmla="*/ 121039 h 283771"/>
                <a:gd name="connsiteX214" fmla="*/ 1785582 w 2098515"/>
                <a:gd name="connsiteY214" fmla="*/ 116278 h 283771"/>
                <a:gd name="connsiteX215" fmla="*/ 1766395 w 2098515"/>
                <a:gd name="connsiteY215" fmla="*/ 120606 h 283771"/>
                <a:gd name="connsiteX216" fmla="*/ 1758604 w 2098515"/>
                <a:gd name="connsiteY216" fmla="*/ 134167 h 283771"/>
                <a:gd name="connsiteX217" fmla="*/ 1762355 w 2098515"/>
                <a:gd name="connsiteY217" fmla="*/ 142535 h 283771"/>
                <a:gd name="connsiteX218" fmla="*/ 1772598 w 2098515"/>
                <a:gd name="connsiteY218" fmla="*/ 147728 h 283771"/>
                <a:gd name="connsiteX219" fmla="*/ 1787602 w 2098515"/>
                <a:gd name="connsiteY219" fmla="*/ 151335 h 283771"/>
                <a:gd name="connsiteX220" fmla="*/ 1805346 w 2098515"/>
                <a:gd name="connsiteY220" fmla="*/ 154365 h 283771"/>
                <a:gd name="connsiteX221" fmla="*/ 1831459 w 2098515"/>
                <a:gd name="connsiteY221" fmla="*/ 159847 h 283771"/>
                <a:gd name="connsiteX222" fmla="*/ 1855407 w 2098515"/>
                <a:gd name="connsiteY222" fmla="*/ 169945 h 283771"/>
                <a:gd name="connsiteX223" fmla="*/ 1873152 w 2098515"/>
                <a:gd name="connsiteY223" fmla="*/ 188412 h 283771"/>
                <a:gd name="connsiteX224" fmla="*/ 1880076 w 2098515"/>
                <a:gd name="connsiteY224" fmla="*/ 218707 h 283771"/>
                <a:gd name="connsiteX225" fmla="*/ 1873440 w 2098515"/>
                <a:gd name="connsiteY225" fmla="*/ 246839 h 283771"/>
                <a:gd name="connsiteX226" fmla="*/ 1854974 w 2098515"/>
                <a:gd name="connsiteY226" fmla="*/ 267037 h 283771"/>
                <a:gd name="connsiteX227" fmla="*/ 1826842 w 2098515"/>
                <a:gd name="connsiteY227" fmla="*/ 279299 h 283771"/>
                <a:gd name="connsiteX228" fmla="*/ 1791353 w 2098515"/>
                <a:gd name="connsiteY228" fmla="*/ 283483 h 283771"/>
                <a:gd name="connsiteX229" fmla="*/ 2001260 w 2098515"/>
                <a:gd name="connsiteY229" fmla="*/ 283050 h 283771"/>
                <a:gd name="connsiteX230" fmla="*/ 1957836 w 2098515"/>
                <a:gd name="connsiteY230" fmla="*/ 275260 h 283771"/>
                <a:gd name="connsiteX231" fmla="*/ 1925087 w 2098515"/>
                <a:gd name="connsiteY231" fmla="*/ 253476 h 283771"/>
                <a:gd name="connsiteX232" fmla="*/ 1904457 w 2098515"/>
                <a:gd name="connsiteY232" fmla="*/ 220583 h 283771"/>
                <a:gd name="connsiteX233" fmla="*/ 1897244 w 2098515"/>
                <a:gd name="connsiteY233" fmla="*/ 179467 h 283771"/>
                <a:gd name="connsiteX234" fmla="*/ 1904457 w 2098515"/>
                <a:gd name="connsiteY234" fmla="*/ 138928 h 283771"/>
                <a:gd name="connsiteX235" fmla="*/ 1925087 w 2098515"/>
                <a:gd name="connsiteY235" fmla="*/ 106180 h 283771"/>
                <a:gd name="connsiteX236" fmla="*/ 1956682 w 2098515"/>
                <a:gd name="connsiteY236" fmla="*/ 84540 h 283771"/>
                <a:gd name="connsiteX237" fmla="*/ 1997509 w 2098515"/>
                <a:gd name="connsiteY237" fmla="*/ 76750 h 283771"/>
                <a:gd name="connsiteX238" fmla="*/ 2035018 w 2098515"/>
                <a:gd name="connsiteY238" fmla="*/ 83242 h 283771"/>
                <a:gd name="connsiteX239" fmla="*/ 2064160 w 2098515"/>
                <a:gd name="connsiteY239" fmla="*/ 101131 h 283771"/>
                <a:gd name="connsiteX240" fmla="*/ 2090272 w 2098515"/>
                <a:gd name="connsiteY240" fmla="*/ 141669 h 283771"/>
                <a:gd name="connsiteX241" fmla="*/ 2098495 w 2098515"/>
                <a:gd name="connsiteY241" fmla="*/ 195913 h 283771"/>
                <a:gd name="connsiteX242" fmla="*/ 1958269 w 2098515"/>
                <a:gd name="connsiteY242" fmla="*/ 195913 h 283771"/>
                <a:gd name="connsiteX243" fmla="*/ 1971974 w 2098515"/>
                <a:gd name="connsiteY243" fmla="*/ 227219 h 283771"/>
                <a:gd name="connsiteX244" fmla="*/ 2002125 w 2098515"/>
                <a:gd name="connsiteY244" fmla="*/ 238616 h 283771"/>
                <a:gd name="connsiteX245" fmla="*/ 2022323 w 2098515"/>
                <a:gd name="connsiteY245" fmla="*/ 233423 h 283771"/>
                <a:gd name="connsiteX246" fmla="*/ 2034585 w 2098515"/>
                <a:gd name="connsiteY246" fmla="*/ 219140 h 283771"/>
                <a:gd name="connsiteX247" fmla="*/ 2095177 w 2098515"/>
                <a:gd name="connsiteY247" fmla="*/ 219140 h 283771"/>
                <a:gd name="connsiteX248" fmla="*/ 2083780 w 2098515"/>
                <a:gd name="connsiteY248" fmla="*/ 244531 h 283771"/>
                <a:gd name="connsiteX249" fmla="*/ 2062429 w 2098515"/>
                <a:gd name="connsiteY249" fmla="*/ 265305 h 283771"/>
                <a:gd name="connsiteX250" fmla="*/ 2035162 w 2098515"/>
                <a:gd name="connsiteY250" fmla="*/ 278578 h 283771"/>
                <a:gd name="connsiteX251" fmla="*/ 2001404 w 2098515"/>
                <a:gd name="connsiteY251" fmla="*/ 283194 h 283771"/>
                <a:gd name="connsiteX252" fmla="*/ 2035739 w 2098515"/>
                <a:gd name="connsiteY252" fmla="*/ 158981 h 283771"/>
                <a:gd name="connsiteX253" fmla="*/ 2023910 w 2098515"/>
                <a:gd name="connsiteY253" fmla="*/ 131138 h 283771"/>
                <a:gd name="connsiteX254" fmla="*/ 1998807 w 2098515"/>
                <a:gd name="connsiteY254" fmla="*/ 120895 h 283771"/>
                <a:gd name="connsiteX255" fmla="*/ 1971397 w 2098515"/>
                <a:gd name="connsiteY255" fmla="*/ 131138 h 283771"/>
                <a:gd name="connsiteX256" fmla="*/ 1958846 w 2098515"/>
                <a:gd name="connsiteY256" fmla="*/ 158981 h 283771"/>
                <a:gd name="connsiteX257" fmla="*/ 2035739 w 2098515"/>
                <a:gd name="connsiteY257" fmla="*/ 158981 h 28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</a:cxnLst>
              <a:rect l="l" t="t" r="r" b="b"/>
              <a:pathLst>
                <a:path w="2098515" h="283771">
                  <a:moveTo>
                    <a:pt x="129551" y="283771"/>
                  </a:moveTo>
                  <a:cubicBezTo>
                    <a:pt x="109931" y="283771"/>
                    <a:pt x="92475" y="280453"/>
                    <a:pt x="77038" y="273817"/>
                  </a:cubicBezTo>
                  <a:cubicBezTo>
                    <a:pt x="61602" y="267181"/>
                    <a:pt x="48041" y="257804"/>
                    <a:pt x="36644" y="245685"/>
                  </a:cubicBezTo>
                  <a:cubicBezTo>
                    <a:pt x="24670" y="232701"/>
                    <a:pt x="15581" y="217553"/>
                    <a:pt x="9377" y="199953"/>
                  </a:cubicBezTo>
                  <a:cubicBezTo>
                    <a:pt x="3174" y="182497"/>
                    <a:pt x="0" y="163309"/>
                    <a:pt x="0" y="142391"/>
                  </a:cubicBezTo>
                  <a:cubicBezTo>
                    <a:pt x="0" y="121472"/>
                    <a:pt x="3462" y="100986"/>
                    <a:pt x="10531" y="82809"/>
                  </a:cubicBezTo>
                  <a:cubicBezTo>
                    <a:pt x="17456" y="64631"/>
                    <a:pt x="27411" y="49050"/>
                    <a:pt x="40395" y="36211"/>
                  </a:cubicBezTo>
                  <a:cubicBezTo>
                    <a:pt x="51792" y="24814"/>
                    <a:pt x="65208" y="15869"/>
                    <a:pt x="80789" y="9522"/>
                  </a:cubicBezTo>
                  <a:cubicBezTo>
                    <a:pt x="96226" y="3174"/>
                    <a:pt x="113970" y="0"/>
                    <a:pt x="133735" y="0"/>
                  </a:cubicBezTo>
                  <a:cubicBezTo>
                    <a:pt x="151191" y="0"/>
                    <a:pt x="167060" y="2164"/>
                    <a:pt x="180910" y="6636"/>
                  </a:cubicBezTo>
                  <a:cubicBezTo>
                    <a:pt x="194904" y="11108"/>
                    <a:pt x="207022" y="17456"/>
                    <a:pt x="217121" y="25679"/>
                  </a:cubicBezTo>
                  <a:cubicBezTo>
                    <a:pt x="227219" y="33903"/>
                    <a:pt x="235442" y="43857"/>
                    <a:pt x="241646" y="55542"/>
                  </a:cubicBezTo>
                  <a:cubicBezTo>
                    <a:pt x="247849" y="67228"/>
                    <a:pt x="252177" y="80212"/>
                    <a:pt x="254341" y="94350"/>
                  </a:cubicBezTo>
                  <a:lnTo>
                    <a:pt x="188844" y="94350"/>
                  </a:lnTo>
                  <a:cubicBezTo>
                    <a:pt x="186248" y="83242"/>
                    <a:pt x="180621" y="73864"/>
                    <a:pt x="171677" y="66507"/>
                  </a:cubicBezTo>
                  <a:cubicBezTo>
                    <a:pt x="162732" y="59149"/>
                    <a:pt x="150902" y="55398"/>
                    <a:pt x="135899" y="55398"/>
                  </a:cubicBezTo>
                  <a:cubicBezTo>
                    <a:pt x="124646" y="55398"/>
                    <a:pt x="114836" y="57706"/>
                    <a:pt x="106324" y="62034"/>
                  </a:cubicBezTo>
                  <a:cubicBezTo>
                    <a:pt x="97812" y="66507"/>
                    <a:pt x="90743" y="72566"/>
                    <a:pt x="85117" y="80356"/>
                  </a:cubicBezTo>
                  <a:cubicBezTo>
                    <a:pt x="79491" y="88147"/>
                    <a:pt x="75307" y="97235"/>
                    <a:pt x="72566" y="107767"/>
                  </a:cubicBezTo>
                  <a:cubicBezTo>
                    <a:pt x="69825" y="118298"/>
                    <a:pt x="68382" y="129839"/>
                    <a:pt x="68382" y="142246"/>
                  </a:cubicBezTo>
                  <a:cubicBezTo>
                    <a:pt x="68382" y="154653"/>
                    <a:pt x="69969" y="166195"/>
                    <a:pt x="73143" y="176870"/>
                  </a:cubicBezTo>
                  <a:cubicBezTo>
                    <a:pt x="76317" y="187546"/>
                    <a:pt x="80789" y="196779"/>
                    <a:pt x="86704" y="204425"/>
                  </a:cubicBezTo>
                  <a:cubicBezTo>
                    <a:pt x="92619" y="212215"/>
                    <a:pt x="99688" y="218275"/>
                    <a:pt x="108200" y="222458"/>
                  </a:cubicBezTo>
                  <a:cubicBezTo>
                    <a:pt x="116711" y="226786"/>
                    <a:pt x="126233" y="228950"/>
                    <a:pt x="136909" y="228950"/>
                  </a:cubicBezTo>
                  <a:cubicBezTo>
                    <a:pt x="145709" y="228950"/>
                    <a:pt x="153788" y="227652"/>
                    <a:pt x="160712" y="224911"/>
                  </a:cubicBezTo>
                  <a:cubicBezTo>
                    <a:pt x="167637" y="222314"/>
                    <a:pt x="173696" y="218707"/>
                    <a:pt x="178601" y="214235"/>
                  </a:cubicBezTo>
                  <a:cubicBezTo>
                    <a:pt x="183507" y="209763"/>
                    <a:pt x="187546" y="204714"/>
                    <a:pt x="190431" y="198943"/>
                  </a:cubicBezTo>
                  <a:cubicBezTo>
                    <a:pt x="193317" y="193317"/>
                    <a:pt x="195192" y="187402"/>
                    <a:pt x="195913" y="181198"/>
                  </a:cubicBezTo>
                  <a:lnTo>
                    <a:pt x="195913" y="180477"/>
                  </a:lnTo>
                  <a:lnTo>
                    <a:pt x="144843" y="180477"/>
                  </a:lnTo>
                  <a:lnTo>
                    <a:pt x="144843" y="130994"/>
                  </a:lnTo>
                  <a:lnTo>
                    <a:pt x="258381" y="130994"/>
                  </a:lnTo>
                  <a:lnTo>
                    <a:pt x="258381" y="277279"/>
                  </a:lnTo>
                  <a:lnTo>
                    <a:pt x="211206" y="277279"/>
                  </a:lnTo>
                  <a:lnTo>
                    <a:pt x="207455" y="244531"/>
                  </a:lnTo>
                  <a:lnTo>
                    <a:pt x="206733" y="244531"/>
                  </a:lnTo>
                  <a:cubicBezTo>
                    <a:pt x="197789" y="258525"/>
                    <a:pt x="186825" y="268479"/>
                    <a:pt x="173841" y="274394"/>
                  </a:cubicBezTo>
                  <a:cubicBezTo>
                    <a:pt x="160712" y="280309"/>
                    <a:pt x="145997" y="283339"/>
                    <a:pt x="129407" y="283339"/>
                  </a:cubicBezTo>
                  <a:moveTo>
                    <a:pt x="358357" y="282906"/>
                  </a:moveTo>
                  <a:cubicBezTo>
                    <a:pt x="335707" y="282906"/>
                    <a:pt x="318684" y="276270"/>
                    <a:pt x="307143" y="262853"/>
                  </a:cubicBezTo>
                  <a:cubicBezTo>
                    <a:pt x="295601" y="249580"/>
                    <a:pt x="289831" y="231980"/>
                    <a:pt x="289831" y="210051"/>
                  </a:cubicBezTo>
                  <a:lnTo>
                    <a:pt x="289831" y="82087"/>
                  </a:lnTo>
                  <a:lnTo>
                    <a:pt x="351577" y="82087"/>
                  </a:lnTo>
                  <a:lnTo>
                    <a:pt x="351577" y="197212"/>
                  </a:lnTo>
                  <a:cubicBezTo>
                    <a:pt x="351577" y="207887"/>
                    <a:pt x="354029" y="216111"/>
                    <a:pt x="358790" y="221737"/>
                  </a:cubicBezTo>
                  <a:cubicBezTo>
                    <a:pt x="363551" y="227508"/>
                    <a:pt x="371052" y="230249"/>
                    <a:pt x="380863" y="230249"/>
                  </a:cubicBezTo>
                  <a:cubicBezTo>
                    <a:pt x="391538" y="230249"/>
                    <a:pt x="399906" y="226642"/>
                    <a:pt x="405965" y="219429"/>
                  </a:cubicBezTo>
                  <a:cubicBezTo>
                    <a:pt x="412024" y="212215"/>
                    <a:pt x="415054" y="202694"/>
                    <a:pt x="415054" y="191008"/>
                  </a:cubicBezTo>
                  <a:lnTo>
                    <a:pt x="415054" y="82087"/>
                  </a:lnTo>
                  <a:lnTo>
                    <a:pt x="477088" y="82087"/>
                  </a:lnTo>
                  <a:lnTo>
                    <a:pt x="477088" y="277135"/>
                  </a:lnTo>
                  <a:lnTo>
                    <a:pt x="417650" y="277135"/>
                  </a:lnTo>
                  <a:lnTo>
                    <a:pt x="417650" y="253187"/>
                  </a:lnTo>
                  <a:lnTo>
                    <a:pt x="416496" y="253187"/>
                  </a:lnTo>
                  <a:cubicBezTo>
                    <a:pt x="409427" y="262853"/>
                    <a:pt x="401348" y="270210"/>
                    <a:pt x="392260" y="275260"/>
                  </a:cubicBezTo>
                  <a:cubicBezTo>
                    <a:pt x="383315" y="280309"/>
                    <a:pt x="371918" y="282906"/>
                    <a:pt x="358213" y="282906"/>
                  </a:cubicBezTo>
                  <a:moveTo>
                    <a:pt x="512433" y="2164"/>
                  </a:moveTo>
                  <a:lnTo>
                    <a:pt x="574468" y="2164"/>
                  </a:lnTo>
                  <a:lnTo>
                    <a:pt x="574468" y="55110"/>
                  </a:lnTo>
                  <a:lnTo>
                    <a:pt x="512433" y="55110"/>
                  </a:lnTo>
                  <a:lnTo>
                    <a:pt x="512433" y="2164"/>
                  </a:lnTo>
                  <a:close/>
                  <a:moveTo>
                    <a:pt x="512433" y="82087"/>
                  </a:moveTo>
                  <a:lnTo>
                    <a:pt x="574468" y="82087"/>
                  </a:lnTo>
                  <a:lnTo>
                    <a:pt x="574468" y="277135"/>
                  </a:lnTo>
                  <a:lnTo>
                    <a:pt x="512433" y="277135"/>
                  </a:lnTo>
                  <a:lnTo>
                    <a:pt x="512433" y="82087"/>
                  </a:lnTo>
                  <a:close/>
                  <a:moveTo>
                    <a:pt x="686563" y="283194"/>
                  </a:moveTo>
                  <a:cubicBezTo>
                    <a:pt x="674156" y="283194"/>
                    <a:pt x="662614" y="280886"/>
                    <a:pt x="652227" y="276125"/>
                  </a:cubicBezTo>
                  <a:cubicBezTo>
                    <a:pt x="641840" y="271365"/>
                    <a:pt x="632751" y="264584"/>
                    <a:pt x="625249" y="255784"/>
                  </a:cubicBezTo>
                  <a:cubicBezTo>
                    <a:pt x="617603" y="246839"/>
                    <a:pt x="611688" y="236019"/>
                    <a:pt x="607505" y="223180"/>
                  </a:cubicBezTo>
                  <a:cubicBezTo>
                    <a:pt x="603321" y="210340"/>
                    <a:pt x="601157" y="195769"/>
                    <a:pt x="601157" y="179611"/>
                  </a:cubicBezTo>
                  <a:cubicBezTo>
                    <a:pt x="601157" y="164319"/>
                    <a:pt x="603321" y="150470"/>
                    <a:pt x="607505" y="137630"/>
                  </a:cubicBezTo>
                  <a:cubicBezTo>
                    <a:pt x="611688" y="124934"/>
                    <a:pt x="617603" y="114114"/>
                    <a:pt x="624961" y="105026"/>
                  </a:cubicBezTo>
                  <a:cubicBezTo>
                    <a:pt x="632463" y="96081"/>
                    <a:pt x="641407" y="89012"/>
                    <a:pt x="651794" y="83819"/>
                  </a:cubicBezTo>
                  <a:cubicBezTo>
                    <a:pt x="662182" y="78769"/>
                    <a:pt x="673723" y="76172"/>
                    <a:pt x="686418" y="76172"/>
                  </a:cubicBezTo>
                  <a:cubicBezTo>
                    <a:pt x="700124" y="76172"/>
                    <a:pt x="711232" y="78769"/>
                    <a:pt x="719600" y="83963"/>
                  </a:cubicBezTo>
                  <a:cubicBezTo>
                    <a:pt x="727967" y="89156"/>
                    <a:pt x="735036" y="95793"/>
                    <a:pt x="740951" y="104016"/>
                  </a:cubicBezTo>
                  <a:lnTo>
                    <a:pt x="742105" y="104016"/>
                  </a:lnTo>
                  <a:lnTo>
                    <a:pt x="742105" y="1875"/>
                  </a:lnTo>
                  <a:lnTo>
                    <a:pt x="804139" y="1875"/>
                  </a:lnTo>
                  <a:lnTo>
                    <a:pt x="804139" y="276991"/>
                  </a:lnTo>
                  <a:lnTo>
                    <a:pt x="744702" y="276991"/>
                  </a:lnTo>
                  <a:lnTo>
                    <a:pt x="744702" y="250735"/>
                  </a:lnTo>
                  <a:lnTo>
                    <a:pt x="743981" y="250735"/>
                  </a:lnTo>
                  <a:cubicBezTo>
                    <a:pt x="738210" y="260833"/>
                    <a:pt x="730275" y="268768"/>
                    <a:pt x="720609" y="274538"/>
                  </a:cubicBezTo>
                  <a:cubicBezTo>
                    <a:pt x="710799" y="280309"/>
                    <a:pt x="699547" y="283050"/>
                    <a:pt x="686563" y="283050"/>
                  </a:cubicBezTo>
                  <a:moveTo>
                    <a:pt x="702576" y="233855"/>
                  </a:moveTo>
                  <a:cubicBezTo>
                    <a:pt x="715560" y="233855"/>
                    <a:pt x="725659" y="228806"/>
                    <a:pt x="732872" y="218563"/>
                  </a:cubicBezTo>
                  <a:cubicBezTo>
                    <a:pt x="740085" y="208465"/>
                    <a:pt x="743692" y="195336"/>
                    <a:pt x="743692" y="179323"/>
                  </a:cubicBezTo>
                  <a:cubicBezTo>
                    <a:pt x="743692" y="171244"/>
                    <a:pt x="742826" y="163598"/>
                    <a:pt x="741239" y="156673"/>
                  </a:cubicBezTo>
                  <a:cubicBezTo>
                    <a:pt x="739653" y="149748"/>
                    <a:pt x="737056" y="143689"/>
                    <a:pt x="733593" y="138784"/>
                  </a:cubicBezTo>
                  <a:cubicBezTo>
                    <a:pt x="730131" y="133879"/>
                    <a:pt x="725947" y="129984"/>
                    <a:pt x="721042" y="127098"/>
                  </a:cubicBezTo>
                  <a:cubicBezTo>
                    <a:pt x="716137" y="124357"/>
                    <a:pt x="710222" y="122915"/>
                    <a:pt x="703297" y="122915"/>
                  </a:cubicBezTo>
                  <a:cubicBezTo>
                    <a:pt x="690891" y="122915"/>
                    <a:pt x="681225" y="128108"/>
                    <a:pt x="674300" y="138351"/>
                  </a:cubicBezTo>
                  <a:cubicBezTo>
                    <a:pt x="667375" y="148594"/>
                    <a:pt x="664057" y="162011"/>
                    <a:pt x="664057" y="178601"/>
                  </a:cubicBezTo>
                  <a:cubicBezTo>
                    <a:pt x="664057" y="195192"/>
                    <a:pt x="667375" y="209042"/>
                    <a:pt x="674156" y="218996"/>
                  </a:cubicBezTo>
                  <a:cubicBezTo>
                    <a:pt x="680936" y="228950"/>
                    <a:pt x="690314" y="233855"/>
                    <a:pt x="702576" y="233855"/>
                  </a:cubicBezTo>
                  <a:moveTo>
                    <a:pt x="931094" y="282617"/>
                  </a:moveTo>
                  <a:cubicBezTo>
                    <a:pt x="915080" y="282617"/>
                    <a:pt x="900654" y="280021"/>
                    <a:pt x="887670" y="274827"/>
                  </a:cubicBezTo>
                  <a:cubicBezTo>
                    <a:pt x="874686" y="269633"/>
                    <a:pt x="863721" y="262420"/>
                    <a:pt x="854921" y="253043"/>
                  </a:cubicBezTo>
                  <a:cubicBezTo>
                    <a:pt x="845977" y="243810"/>
                    <a:pt x="839196" y="232845"/>
                    <a:pt x="834291" y="220150"/>
                  </a:cubicBezTo>
                  <a:cubicBezTo>
                    <a:pt x="829530" y="207455"/>
                    <a:pt x="827078" y="193749"/>
                    <a:pt x="827078" y="179034"/>
                  </a:cubicBezTo>
                  <a:cubicBezTo>
                    <a:pt x="827078" y="164319"/>
                    <a:pt x="829530" y="151047"/>
                    <a:pt x="834291" y="138495"/>
                  </a:cubicBezTo>
                  <a:cubicBezTo>
                    <a:pt x="839052" y="125944"/>
                    <a:pt x="845977" y="114980"/>
                    <a:pt x="854921" y="105747"/>
                  </a:cubicBezTo>
                  <a:cubicBezTo>
                    <a:pt x="863866" y="96514"/>
                    <a:pt x="874397" y="89301"/>
                    <a:pt x="886515" y="84107"/>
                  </a:cubicBezTo>
                  <a:cubicBezTo>
                    <a:pt x="898634" y="78914"/>
                    <a:pt x="912339" y="76317"/>
                    <a:pt x="927343" y="76317"/>
                  </a:cubicBezTo>
                  <a:cubicBezTo>
                    <a:pt x="941337" y="76317"/>
                    <a:pt x="953888" y="78481"/>
                    <a:pt x="964852" y="82809"/>
                  </a:cubicBezTo>
                  <a:cubicBezTo>
                    <a:pt x="975960" y="87137"/>
                    <a:pt x="985626" y="93052"/>
                    <a:pt x="993994" y="100698"/>
                  </a:cubicBezTo>
                  <a:cubicBezTo>
                    <a:pt x="1005679" y="111373"/>
                    <a:pt x="1014335" y="124934"/>
                    <a:pt x="1020106" y="141237"/>
                  </a:cubicBezTo>
                  <a:cubicBezTo>
                    <a:pt x="1025877" y="157683"/>
                    <a:pt x="1028473" y="175716"/>
                    <a:pt x="1028329" y="195481"/>
                  </a:cubicBezTo>
                  <a:lnTo>
                    <a:pt x="888102" y="195481"/>
                  </a:lnTo>
                  <a:cubicBezTo>
                    <a:pt x="890122" y="208753"/>
                    <a:pt x="894739" y="219140"/>
                    <a:pt x="901808" y="226786"/>
                  </a:cubicBezTo>
                  <a:cubicBezTo>
                    <a:pt x="908877" y="234432"/>
                    <a:pt x="918975" y="238183"/>
                    <a:pt x="931959" y="238183"/>
                  </a:cubicBezTo>
                  <a:cubicBezTo>
                    <a:pt x="940038" y="238183"/>
                    <a:pt x="946819" y="236452"/>
                    <a:pt x="952157" y="232990"/>
                  </a:cubicBezTo>
                  <a:cubicBezTo>
                    <a:pt x="957494" y="229527"/>
                    <a:pt x="961534" y="224767"/>
                    <a:pt x="964275" y="218707"/>
                  </a:cubicBezTo>
                  <a:lnTo>
                    <a:pt x="1024867" y="218707"/>
                  </a:lnTo>
                  <a:cubicBezTo>
                    <a:pt x="1022847" y="227652"/>
                    <a:pt x="1018952" y="236019"/>
                    <a:pt x="1013470" y="244098"/>
                  </a:cubicBezTo>
                  <a:cubicBezTo>
                    <a:pt x="1007843" y="252033"/>
                    <a:pt x="1000774" y="258958"/>
                    <a:pt x="992118" y="264873"/>
                  </a:cubicBezTo>
                  <a:cubicBezTo>
                    <a:pt x="984039" y="270787"/>
                    <a:pt x="974951" y="275115"/>
                    <a:pt x="964852" y="278145"/>
                  </a:cubicBezTo>
                  <a:cubicBezTo>
                    <a:pt x="954898" y="281175"/>
                    <a:pt x="943645" y="282762"/>
                    <a:pt x="931094" y="282762"/>
                  </a:cubicBezTo>
                  <a:moveTo>
                    <a:pt x="965429" y="158548"/>
                  </a:moveTo>
                  <a:cubicBezTo>
                    <a:pt x="964131" y="146863"/>
                    <a:pt x="960235" y="137630"/>
                    <a:pt x="953599" y="130705"/>
                  </a:cubicBezTo>
                  <a:cubicBezTo>
                    <a:pt x="946963" y="123925"/>
                    <a:pt x="938596" y="120462"/>
                    <a:pt x="928497" y="120462"/>
                  </a:cubicBezTo>
                  <a:cubicBezTo>
                    <a:pt x="916523" y="120462"/>
                    <a:pt x="907434" y="123925"/>
                    <a:pt x="901086" y="130705"/>
                  </a:cubicBezTo>
                  <a:cubicBezTo>
                    <a:pt x="894739" y="137630"/>
                    <a:pt x="890555" y="146863"/>
                    <a:pt x="888535" y="158548"/>
                  </a:cubicBezTo>
                  <a:lnTo>
                    <a:pt x="965429" y="158548"/>
                  </a:lnTo>
                  <a:close/>
                  <a:moveTo>
                    <a:pt x="1051123" y="2020"/>
                  </a:moveTo>
                  <a:lnTo>
                    <a:pt x="1113158" y="2020"/>
                  </a:lnTo>
                  <a:lnTo>
                    <a:pt x="1113158" y="106036"/>
                  </a:lnTo>
                  <a:lnTo>
                    <a:pt x="1114312" y="106036"/>
                  </a:lnTo>
                  <a:cubicBezTo>
                    <a:pt x="1121381" y="96658"/>
                    <a:pt x="1129460" y="89301"/>
                    <a:pt x="1138260" y="84107"/>
                  </a:cubicBezTo>
                  <a:cubicBezTo>
                    <a:pt x="1147204" y="78914"/>
                    <a:pt x="1158457" y="76317"/>
                    <a:pt x="1172162" y="76317"/>
                  </a:cubicBezTo>
                  <a:cubicBezTo>
                    <a:pt x="1182838" y="76317"/>
                    <a:pt x="1192360" y="78192"/>
                    <a:pt x="1200727" y="81799"/>
                  </a:cubicBezTo>
                  <a:cubicBezTo>
                    <a:pt x="1209095" y="85406"/>
                    <a:pt x="1216164" y="90599"/>
                    <a:pt x="1222079" y="97091"/>
                  </a:cubicBezTo>
                  <a:cubicBezTo>
                    <a:pt x="1227993" y="103583"/>
                    <a:pt x="1232321" y="111373"/>
                    <a:pt x="1235495" y="120318"/>
                  </a:cubicBezTo>
                  <a:cubicBezTo>
                    <a:pt x="1238525" y="129262"/>
                    <a:pt x="1240112" y="139361"/>
                    <a:pt x="1240112" y="150181"/>
                  </a:cubicBezTo>
                  <a:lnTo>
                    <a:pt x="1240112" y="276991"/>
                  </a:lnTo>
                  <a:lnTo>
                    <a:pt x="1178077" y="276991"/>
                  </a:lnTo>
                  <a:lnTo>
                    <a:pt x="1178077" y="162732"/>
                  </a:lnTo>
                  <a:cubicBezTo>
                    <a:pt x="1178077" y="152345"/>
                    <a:pt x="1175481" y="143978"/>
                    <a:pt x="1170431" y="137630"/>
                  </a:cubicBezTo>
                  <a:cubicBezTo>
                    <a:pt x="1165382" y="131282"/>
                    <a:pt x="1157736" y="128108"/>
                    <a:pt x="1147637" y="128108"/>
                  </a:cubicBezTo>
                  <a:cubicBezTo>
                    <a:pt x="1137539" y="128108"/>
                    <a:pt x="1128883" y="131859"/>
                    <a:pt x="1122679" y="139505"/>
                  </a:cubicBezTo>
                  <a:cubicBezTo>
                    <a:pt x="1116476" y="147151"/>
                    <a:pt x="1113302" y="157106"/>
                    <a:pt x="1113302" y="169224"/>
                  </a:cubicBezTo>
                  <a:lnTo>
                    <a:pt x="1113302" y="276991"/>
                  </a:lnTo>
                  <a:lnTo>
                    <a:pt x="1051267" y="276991"/>
                  </a:lnTo>
                  <a:lnTo>
                    <a:pt x="1051267" y="1875"/>
                  </a:lnTo>
                  <a:close/>
                  <a:moveTo>
                    <a:pt x="1363892" y="283194"/>
                  </a:moveTo>
                  <a:cubicBezTo>
                    <a:pt x="1348167" y="283194"/>
                    <a:pt x="1333885" y="280598"/>
                    <a:pt x="1321045" y="275404"/>
                  </a:cubicBezTo>
                  <a:cubicBezTo>
                    <a:pt x="1308205" y="270210"/>
                    <a:pt x="1297241" y="262997"/>
                    <a:pt x="1288008" y="253620"/>
                  </a:cubicBezTo>
                  <a:cubicBezTo>
                    <a:pt x="1278919" y="244387"/>
                    <a:pt x="1271850" y="233423"/>
                    <a:pt x="1266945" y="220871"/>
                  </a:cubicBezTo>
                  <a:cubicBezTo>
                    <a:pt x="1262040" y="208320"/>
                    <a:pt x="1259443" y="194615"/>
                    <a:pt x="1259443" y="179900"/>
                  </a:cubicBezTo>
                  <a:cubicBezTo>
                    <a:pt x="1259443" y="165185"/>
                    <a:pt x="1261896" y="151479"/>
                    <a:pt x="1266945" y="138928"/>
                  </a:cubicBezTo>
                  <a:cubicBezTo>
                    <a:pt x="1271850" y="126377"/>
                    <a:pt x="1278919" y="115413"/>
                    <a:pt x="1288008" y="106180"/>
                  </a:cubicBezTo>
                  <a:cubicBezTo>
                    <a:pt x="1297097" y="96947"/>
                    <a:pt x="1308205" y="89734"/>
                    <a:pt x="1321045" y="84540"/>
                  </a:cubicBezTo>
                  <a:cubicBezTo>
                    <a:pt x="1333885" y="79346"/>
                    <a:pt x="1348167" y="76750"/>
                    <a:pt x="1363892" y="76750"/>
                  </a:cubicBezTo>
                  <a:cubicBezTo>
                    <a:pt x="1379617" y="76750"/>
                    <a:pt x="1393900" y="79346"/>
                    <a:pt x="1406739" y="84540"/>
                  </a:cubicBezTo>
                  <a:cubicBezTo>
                    <a:pt x="1419579" y="89734"/>
                    <a:pt x="1430543" y="96947"/>
                    <a:pt x="1439487" y="106180"/>
                  </a:cubicBezTo>
                  <a:cubicBezTo>
                    <a:pt x="1448432" y="115413"/>
                    <a:pt x="1455501" y="126377"/>
                    <a:pt x="1460406" y="138928"/>
                  </a:cubicBezTo>
                  <a:cubicBezTo>
                    <a:pt x="1465311" y="151479"/>
                    <a:pt x="1467764" y="165185"/>
                    <a:pt x="1467764" y="179900"/>
                  </a:cubicBezTo>
                  <a:cubicBezTo>
                    <a:pt x="1467764" y="194615"/>
                    <a:pt x="1465311" y="208320"/>
                    <a:pt x="1460406" y="220871"/>
                  </a:cubicBezTo>
                  <a:cubicBezTo>
                    <a:pt x="1455501" y="233423"/>
                    <a:pt x="1448432" y="244387"/>
                    <a:pt x="1439487" y="253620"/>
                  </a:cubicBezTo>
                  <a:cubicBezTo>
                    <a:pt x="1430543" y="262853"/>
                    <a:pt x="1419579" y="270066"/>
                    <a:pt x="1406739" y="275404"/>
                  </a:cubicBezTo>
                  <a:cubicBezTo>
                    <a:pt x="1393900" y="280598"/>
                    <a:pt x="1379617" y="283194"/>
                    <a:pt x="1363892" y="283194"/>
                  </a:cubicBezTo>
                  <a:moveTo>
                    <a:pt x="1363459" y="239049"/>
                  </a:moveTo>
                  <a:cubicBezTo>
                    <a:pt x="1377165" y="239049"/>
                    <a:pt x="1387552" y="233711"/>
                    <a:pt x="1394477" y="222891"/>
                  </a:cubicBezTo>
                  <a:cubicBezTo>
                    <a:pt x="1401546" y="212071"/>
                    <a:pt x="1405008" y="197789"/>
                    <a:pt x="1405008" y="180044"/>
                  </a:cubicBezTo>
                  <a:cubicBezTo>
                    <a:pt x="1405008" y="162299"/>
                    <a:pt x="1401546" y="147873"/>
                    <a:pt x="1394477" y="137053"/>
                  </a:cubicBezTo>
                  <a:cubicBezTo>
                    <a:pt x="1387552" y="126089"/>
                    <a:pt x="1377165" y="120606"/>
                    <a:pt x="1363459" y="120606"/>
                  </a:cubicBezTo>
                  <a:cubicBezTo>
                    <a:pt x="1349754" y="120606"/>
                    <a:pt x="1339511" y="126089"/>
                    <a:pt x="1332586" y="137053"/>
                  </a:cubicBezTo>
                  <a:cubicBezTo>
                    <a:pt x="1325806" y="148017"/>
                    <a:pt x="1322343" y="162299"/>
                    <a:pt x="1322343" y="180044"/>
                  </a:cubicBezTo>
                  <a:cubicBezTo>
                    <a:pt x="1322343" y="197789"/>
                    <a:pt x="1325806" y="212071"/>
                    <a:pt x="1332586" y="222891"/>
                  </a:cubicBezTo>
                  <a:cubicBezTo>
                    <a:pt x="1339511" y="233711"/>
                    <a:pt x="1349754" y="239049"/>
                    <a:pt x="1363459" y="239049"/>
                  </a:cubicBezTo>
                  <a:moveTo>
                    <a:pt x="1555910" y="282906"/>
                  </a:moveTo>
                  <a:cubicBezTo>
                    <a:pt x="1533260" y="282906"/>
                    <a:pt x="1516237" y="276270"/>
                    <a:pt x="1504696" y="262853"/>
                  </a:cubicBezTo>
                  <a:cubicBezTo>
                    <a:pt x="1493154" y="249580"/>
                    <a:pt x="1487384" y="231980"/>
                    <a:pt x="1487384" y="210051"/>
                  </a:cubicBezTo>
                  <a:lnTo>
                    <a:pt x="1487384" y="82087"/>
                  </a:lnTo>
                  <a:lnTo>
                    <a:pt x="1549130" y="82087"/>
                  </a:lnTo>
                  <a:lnTo>
                    <a:pt x="1549130" y="197212"/>
                  </a:lnTo>
                  <a:cubicBezTo>
                    <a:pt x="1549130" y="207887"/>
                    <a:pt x="1551582" y="216111"/>
                    <a:pt x="1556343" y="221737"/>
                  </a:cubicBezTo>
                  <a:cubicBezTo>
                    <a:pt x="1561104" y="227508"/>
                    <a:pt x="1568606" y="230249"/>
                    <a:pt x="1578416" y="230249"/>
                  </a:cubicBezTo>
                  <a:cubicBezTo>
                    <a:pt x="1589092" y="230249"/>
                    <a:pt x="1597459" y="226642"/>
                    <a:pt x="1603518" y="219429"/>
                  </a:cubicBezTo>
                  <a:cubicBezTo>
                    <a:pt x="1609577" y="212215"/>
                    <a:pt x="1612607" y="202694"/>
                    <a:pt x="1612607" y="191008"/>
                  </a:cubicBezTo>
                  <a:lnTo>
                    <a:pt x="1612607" y="82087"/>
                  </a:lnTo>
                  <a:lnTo>
                    <a:pt x="1674641" y="82087"/>
                  </a:lnTo>
                  <a:lnTo>
                    <a:pt x="1674641" y="277135"/>
                  </a:lnTo>
                  <a:lnTo>
                    <a:pt x="1615204" y="277135"/>
                  </a:lnTo>
                  <a:lnTo>
                    <a:pt x="1615204" y="253187"/>
                  </a:lnTo>
                  <a:lnTo>
                    <a:pt x="1614050" y="253187"/>
                  </a:lnTo>
                  <a:cubicBezTo>
                    <a:pt x="1606980" y="262853"/>
                    <a:pt x="1598902" y="270210"/>
                    <a:pt x="1589813" y="275260"/>
                  </a:cubicBezTo>
                  <a:cubicBezTo>
                    <a:pt x="1580868" y="280309"/>
                    <a:pt x="1569471" y="282906"/>
                    <a:pt x="1555766" y="282906"/>
                  </a:cubicBezTo>
                  <a:moveTo>
                    <a:pt x="1791208" y="283339"/>
                  </a:moveTo>
                  <a:cubicBezTo>
                    <a:pt x="1762499" y="283339"/>
                    <a:pt x="1739850" y="277135"/>
                    <a:pt x="1722971" y="264873"/>
                  </a:cubicBezTo>
                  <a:cubicBezTo>
                    <a:pt x="1706236" y="252610"/>
                    <a:pt x="1697291" y="235587"/>
                    <a:pt x="1696281" y="213947"/>
                  </a:cubicBezTo>
                  <a:lnTo>
                    <a:pt x="1754998" y="213947"/>
                  </a:lnTo>
                  <a:cubicBezTo>
                    <a:pt x="1756296" y="223612"/>
                    <a:pt x="1759903" y="230826"/>
                    <a:pt x="1766106" y="235731"/>
                  </a:cubicBezTo>
                  <a:cubicBezTo>
                    <a:pt x="1772165" y="240492"/>
                    <a:pt x="1780388" y="242944"/>
                    <a:pt x="1790920" y="242944"/>
                  </a:cubicBezTo>
                  <a:cubicBezTo>
                    <a:pt x="1800297" y="242944"/>
                    <a:pt x="1807799" y="241357"/>
                    <a:pt x="1813137" y="238039"/>
                  </a:cubicBezTo>
                  <a:cubicBezTo>
                    <a:pt x="1818619" y="234721"/>
                    <a:pt x="1821360" y="229960"/>
                    <a:pt x="1821360" y="223612"/>
                  </a:cubicBezTo>
                  <a:cubicBezTo>
                    <a:pt x="1821360" y="219284"/>
                    <a:pt x="1819917" y="215822"/>
                    <a:pt x="1817176" y="213081"/>
                  </a:cubicBezTo>
                  <a:cubicBezTo>
                    <a:pt x="1814435" y="210484"/>
                    <a:pt x="1810684" y="208320"/>
                    <a:pt x="1806068" y="206589"/>
                  </a:cubicBezTo>
                  <a:cubicBezTo>
                    <a:pt x="1801451" y="205002"/>
                    <a:pt x="1796258" y="203704"/>
                    <a:pt x="1790199" y="202838"/>
                  </a:cubicBezTo>
                  <a:cubicBezTo>
                    <a:pt x="1784284" y="201973"/>
                    <a:pt x="1778080" y="200818"/>
                    <a:pt x="1771732" y="199664"/>
                  </a:cubicBezTo>
                  <a:cubicBezTo>
                    <a:pt x="1763365" y="198077"/>
                    <a:pt x="1754998" y="196346"/>
                    <a:pt x="1746630" y="194182"/>
                  </a:cubicBezTo>
                  <a:cubicBezTo>
                    <a:pt x="1738263" y="192018"/>
                    <a:pt x="1730761" y="188844"/>
                    <a:pt x="1723980" y="184516"/>
                  </a:cubicBezTo>
                  <a:cubicBezTo>
                    <a:pt x="1717200" y="180188"/>
                    <a:pt x="1711862" y="174418"/>
                    <a:pt x="1707823" y="167204"/>
                  </a:cubicBezTo>
                  <a:cubicBezTo>
                    <a:pt x="1703783" y="159991"/>
                    <a:pt x="1701763" y="150614"/>
                    <a:pt x="1701763" y="139217"/>
                  </a:cubicBezTo>
                  <a:cubicBezTo>
                    <a:pt x="1701763" y="129118"/>
                    <a:pt x="1703927" y="120029"/>
                    <a:pt x="1708400" y="112095"/>
                  </a:cubicBezTo>
                  <a:cubicBezTo>
                    <a:pt x="1712872" y="104304"/>
                    <a:pt x="1718931" y="97668"/>
                    <a:pt x="1726577" y="92475"/>
                  </a:cubicBezTo>
                  <a:cubicBezTo>
                    <a:pt x="1734223" y="87281"/>
                    <a:pt x="1743168" y="83386"/>
                    <a:pt x="1753411" y="80645"/>
                  </a:cubicBezTo>
                  <a:cubicBezTo>
                    <a:pt x="1763653" y="78048"/>
                    <a:pt x="1774618" y="76605"/>
                    <a:pt x="1786015" y="76605"/>
                  </a:cubicBezTo>
                  <a:cubicBezTo>
                    <a:pt x="1813714" y="76605"/>
                    <a:pt x="1834921" y="82232"/>
                    <a:pt x="1849636" y="93340"/>
                  </a:cubicBezTo>
                  <a:cubicBezTo>
                    <a:pt x="1864351" y="104449"/>
                    <a:pt x="1872430" y="119741"/>
                    <a:pt x="1874017" y="139073"/>
                  </a:cubicBezTo>
                  <a:lnTo>
                    <a:pt x="1816888" y="139073"/>
                  </a:lnTo>
                  <a:cubicBezTo>
                    <a:pt x="1815589" y="130128"/>
                    <a:pt x="1812271" y="124213"/>
                    <a:pt x="1806789" y="121039"/>
                  </a:cubicBezTo>
                  <a:cubicBezTo>
                    <a:pt x="1801307" y="117865"/>
                    <a:pt x="1794238" y="116278"/>
                    <a:pt x="1785582" y="116278"/>
                  </a:cubicBezTo>
                  <a:cubicBezTo>
                    <a:pt x="1777936" y="116278"/>
                    <a:pt x="1771588" y="117721"/>
                    <a:pt x="1766395" y="120606"/>
                  </a:cubicBezTo>
                  <a:cubicBezTo>
                    <a:pt x="1761201" y="123492"/>
                    <a:pt x="1758604" y="127964"/>
                    <a:pt x="1758604" y="134167"/>
                  </a:cubicBezTo>
                  <a:cubicBezTo>
                    <a:pt x="1758604" y="137774"/>
                    <a:pt x="1759903" y="140515"/>
                    <a:pt x="1762355" y="142535"/>
                  </a:cubicBezTo>
                  <a:cubicBezTo>
                    <a:pt x="1764952" y="144555"/>
                    <a:pt x="1768270" y="146286"/>
                    <a:pt x="1772598" y="147728"/>
                  </a:cubicBezTo>
                  <a:cubicBezTo>
                    <a:pt x="1776926" y="149171"/>
                    <a:pt x="1781975" y="150325"/>
                    <a:pt x="1787602" y="151335"/>
                  </a:cubicBezTo>
                  <a:cubicBezTo>
                    <a:pt x="1793372" y="152345"/>
                    <a:pt x="1799287" y="153355"/>
                    <a:pt x="1805346" y="154365"/>
                  </a:cubicBezTo>
                  <a:cubicBezTo>
                    <a:pt x="1814002" y="155807"/>
                    <a:pt x="1822659" y="157683"/>
                    <a:pt x="1831459" y="159847"/>
                  </a:cubicBezTo>
                  <a:cubicBezTo>
                    <a:pt x="1840259" y="162011"/>
                    <a:pt x="1848193" y="165329"/>
                    <a:pt x="1855407" y="169945"/>
                  </a:cubicBezTo>
                  <a:cubicBezTo>
                    <a:pt x="1862620" y="174562"/>
                    <a:pt x="1868535" y="180621"/>
                    <a:pt x="1873152" y="188412"/>
                  </a:cubicBezTo>
                  <a:cubicBezTo>
                    <a:pt x="1877768" y="196202"/>
                    <a:pt x="1880076" y="206301"/>
                    <a:pt x="1880076" y="218707"/>
                  </a:cubicBezTo>
                  <a:cubicBezTo>
                    <a:pt x="1880076" y="229383"/>
                    <a:pt x="1877768" y="238760"/>
                    <a:pt x="1873440" y="246839"/>
                  </a:cubicBezTo>
                  <a:cubicBezTo>
                    <a:pt x="1868968" y="254918"/>
                    <a:pt x="1862764" y="261699"/>
                    <a:pt x="1854974" y="267037"/>
                  </a:cubicBezTo>
                  <a:cubicBezTo>
                    <a:pt x="1847039" y="272374"/>
                    <a:pt x="1837662" y="276414"/>
                    <a:pt x="1826842" y="279299"/>
                  </a:cubicBezTo>
                  <a:cubicBezTo>
                    <a:pt x="1815878" y="282040"/>
                    <a:pt x="1804048" y="283483"/>
                    <a:pt x="1791353" y="283483"/>
                  </a:cubicBezTo>
                  <a:moveTo>
                    <a:pt x="2001260" y="283050"/>
                  </a:moveTo>
                  <a:cubicBezTo>
                    <a:pt x="1985246" y="283050"/>
                    <a:pt x="1970820" y="280453"/>
                    <a:pt x="1957836" y="275260"/>
                  </a:cubicBezTo>
                  <a:cubicBezTo>
                    <a:pt x="1944852" y="270066"/>
                    <a:pt x="1934032" y="262853"/>
                    <a:pt x="1925087" y="253476"/>
                  </a:cubicBezTo>
                  <a:cubicBezTo>
                    <a:pt x="1916143" y="244243"/>
                    <a:pt x="1909362" y="233278"/>
                    <a:pt x="1904457" y="220583"/>
                  </a:cubicBezTo>
                  <a:cubicBezTo>
                    <a:pt x="1899697" y="207887"/>
                    <a:pt x="1897244" y="194182"/>
                    <a:pt x="1897244" y="179467"/>
                  </a:cubicBezTo>
                  <a:cubicBezTo>
                    <a:pt x="1897244" y="164752"/>
                    <a:pt x="1899697" y="151479"/>
                    <a:pt x="1904457" y="138928"/>
                  </a:cubicBezTo>
                  <a:cubicBezTo>
                    <a:pt x="1909218" y="126377"/>
                    <a:pt x="1916143" y="115413"/>
                    <a:pt x="1925087" y="106180"/>
                  </a:cubicBezTo>
                  <a:cubicBezTo>
                    <a:pt x="1934032" y="96947"/>
                    <a:pt x="1944563" y="89734"/>
                    <a:pt x="1956682" y="84540"/>
                  </a:cubicBezTo>
                  <a:cubicBezTo>
                    <a:pt x="1968944" y="79346"/>
                    <a:pt x="1982505" y="76750"/>
                    <a:pt x="1997509" y="76750"/>
                  </a:cubicBezTo>
                  <a:cubicBezTo>
                    <a:pt x="2011503" y="76750"/>
                    <a:pt x="2023910" y="78914"/>
                    <a:pt x="2035018" y="83242"/>
                  </a:cubicBezTo>
                  <a:cubicBezTo>
                    <a:pt x="2046127" y="87570"/>
                    <a:pt x="2055792" y="93484"/>
                    <a:pt x="2064160" y="101131"/>
                  </a:cubicBezTo>
                  <a:cubicBezTo>
                    <a:pt x="2075845" y="111806"/>
                    <a:pt x="2084501" y="125367"/>
                    <a:pt x="2090272" y="141669"/>
                  </a:cubicBezTo>
                  <a:cubicBezTo>
                    <a:pt x="2096043" y="158116"/>
                    <a:pt x="2098784" y="176149"/>
                    <a:pt x="2098495" y="195913"/>
                  </a:cubicBezTo>
                  <a:lnTo>
                    <a:pt x="1958269" y="195913"/>
                  </a:lnTo>
                  <a:cubicBezTo>
                    <a:pt x="1960288" y="209186"/>
                    <a:pt x="1964905" y="219573"/>
                    <a:pt x="1971974" y="227219"/>
                  </a:cubicBezTo>
                  <a:cubicBezTo>
                    <a:pt x="1979043" y="234865"/>
                    <a:pt x="1989142" y="238616"/>
                    <a:pt x="2002125" y="238616"/>
                  </a:cubicBezTo>
                  <a:cubicBezTo>
                    <a:pt x="2010204" y="238616"/>
                    <a:pt x="2016985" y="236885"/>
                    <a:pt x="2022323" y="233423"/>
                  </a:cubicBezTo>
                  <a:cubicBezTo>
                    <a:pt x="2027661" y="229960"/>
                    <a:pt x="2031700" y="225199"/>
                    <a:pt x="2034585" y="219140"/>
                  </a:cubicBezTo>
                  <a:lnTo>
                    <a:pt x="2095177" y="219140"/>
                  </a:lnTo>
                  <a:cubicBezTo>
                    <a:pt x="2093158" y="228085"/>
                    <a:pt x="2089406" y="236452"/>
                    <a:pt x="2083780" y="244531"/>
                  </a:cubicBezTo>
                  <a:cubicBezTo>
                    <a:pt x="2078154" y="252610"/>
                    <a:pt x="2071085" y="259390"/>
                    <a:pt x="2062429" y="265305"/>
                  </a:cubicBezTo>
                  <a:cubicBezTo>
                    <a:pt x="2054350" y="271220"/>
                    <a:pt x="2045261" y="275548"/>
                    <a:pt x="2035162" y="278578"/>
                  </a:cubicBezTo>
                  <a:cubicBezTo>
                    <a:pt x="2025064" y="281607"/>
                    <a:pt x="2013811" y="283194"/>
                    <a:pt x="2001404" y="283194"/>
                  </a:cubicBezTo>
                  <a:moveTo>
                    <a:pt x="2035739" y="158981"/>
                  </a:moveTo>
                  <a:cubicBezTo>
                    <a:pt x="2034441" y="147296"/>
                    <a:pt x="2030546" y="138063"/>
                    <a:pt x="2023910" y="131138"/>
                  </a:cubicBezTo>
                  <a:cubicBezTo>
                    <a:pt x="2017273" y="124357"/>
                    <a:pt x="2008906" y="120895"/>
                    <a:pt x="1998807" y="120895"/>
                  </a:cubicBezTo>
                  <a:cubicBezTo>
                    <a:pt x="1986833" y="120895"/>
                    <a:pt x="1977745" y="124357"/>
                    <a:pt x="1971397" y="131138"/>
                  </a:cubicBezTo>
                  <a:cubicBezTo>
                    <a:pt x="1965049" y="138063"/>
                    <a:pt x="1960865" y="147296"/>
                    <a:pt x="1958846" y="158981"/>
                  </a:cubicBezTo>
                  <a:lnTo>
                    <a:pt x="2035739" y="158981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420A9100-D517-D472-CEFD-D0D3A5BCF545}"/>
                </a:ext>
              </a:extLst>
            </p:cNvPr>
            <p:cNvSpPr/>
            <p:nvPr/>
          </p:nvSpPr>
          <p:spPr>
            <a:xfrm>
              <a:off x="883128" y="557212"/>
              <a:ext cx="273528" cy="675598"/>
            </a:xfrm>
            <a:custGeom>
              <a:avLst/>
              <a:gdLst>
                <a:gd name="connsiteX0" fmla="*/ 0 w 273528"/>
                <a:gd name="connsiteY0" fmla="*/ 0 h 675598"/>
                <a:gd name="connsiteX1" fmla="*/ 0 w 273528"/>
                <a:gd name="connsiteY1" fmla="*/ 476944 h 675598"/>
                <a:gd name="connsiteX2" fmla="*/ 272807 w 273528"/>
                <a:gd name="connsiteY2" fmla="*/ 675598 h 675598"/>
                <a:gd name="connsiteX3" fmla="*/ 273529 w 273528"/>
                <a:gd name="connsiteY3" fmla="*/ 674877 h 675598"/>
                <a:gd name="connsiteX4" fmla="*/ 0 w 273528"/>
                <a:gd name="connsiteY4" fmla="*/ 0 h 675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528" h="675598">
                  <a:moveTo>
                    <a:pt x="0" y="0"/>
                  </a:moveTo>
                  <a:lnTo>
                    <a:pt x="0" y="476944"/>
                  </a:lnTo>
                  <a:lnTo>
                    <a:pt x="272807" y="675598"/>
                  </a:lnTo>
                  <a:cubicBezTo>
                    <a:pt x="272807" y="675598"/>
                    <a:pt x="273384" y="675021"/>
                    <a:pt x="273529" y="67487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3D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AA4E6CE2-336C-0213-9FF5-26E16386C047}"/>
                </a:ext>
              </a:extLst>
            </p:cNvPr>
            <p:cNvSpPr/>
            <p:nvPr/>
          </p:nvSpPr>
          <p:spPr>
            <a:xfrm>
              <a:off x="609600" y="557212"/>
              <a:ext cx="273528" cy="675453"/>
            </a:xfrm>
            <a:custGeom>
              <a:avLst/>
              <a:gdLst>
                <a:gd name="connsiteX0" fmla="*/ 0 w 273528"/>
                <a:gd name="connsiteY0" fmla="*/ 674733 h 675453"/>
                <a:gd name="connsiteX1" fmla="*/ 721 w 273528"/>
                <a:gd name="connsiteY1" fmla="*/ 675454 h 675453"/>
                <a:gd name="connsiteX2" fmla="*/ 273529 w 273528"/>
                <a:gd name="connsiteY2" fmla="*/ 476799 h 675453"/>
                <a:gd name="connsiteX3" fmla="*/ 273529 w 273528"/>
                <a:gd name="connsiteY3" fmla="*/ 0 h 675453"/>
                <a:gd name="connsiteX4" fmla="*/ 0 w 273528"/>
                <a:gd name="connsiteY4" fmla="*/ 674733 h 675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528" h="675453">
                  <a:moveTo>
                    <a:pt x="0" y="674733"/>
                  </a:moveTo>
                  <a:cubicBezTo>
                    <a:pt x="0" y="674733"/>
                    <a:pt x="577" y="675310"/>
                    <a:pt x="721" y="675454"/>
                  </a:cubicBezTo>
                  <a:lnTo>
                    <a:pt x="273529" y="476799"/>
                  </a:lnTo>
                  <a:lnTo>
                    <a:pt x="273529" y="0"/>
                  </a:lnTo>
                  <a:lnTo>
                    <a:pt x="0" y="674733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8DC4B6A-4CBA-E0F1-E91D-A6319EE1FAC8}"/>
              </a:ext>
            </a:extLst>
          </p:cNvPr>
          <p:cNvCxnSpPr>
            <a:cxnSpLocks/>
          </p:cNvCxnSpPr>
          <p:nvPr/>
        </p:nvCxnSpPr>
        <p:spPr>
          <a:xfrm>
            <a:off x="609600" y="4594548"/>
            <a:ext cx="537667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CB1E87D-CF80-16E1-E2DA-D366BCB64A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048537"/>
            <a:ext cx="5376672" cy="2244461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ation title extends </a:t>
            </a:r>
            <a:br>
              <a:rPr lang="en-US"/>
            </a:br>
            <a:r>
              <a:rPr lang="en-US"/>
              <a:t>up to 3 lines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D7147827-288A-C738-6D39-15FD117D358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4896099"/>
            <a:ext cx="5387082" cy="307777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Name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63BBE4A5-01FB-BD6C-513D-9B06278F44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6090476"/>
            <a:ext cx="1834388" cy="210312"/>
          </a:xfrm>
          <a:prstGeom prst="rect">
            <a:avLst/>
          </a:prstGeom>
        </p:spPr>
      </p:pic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FCC54D6-1CD8-DA15-70A3-BCCDE81CDB97}"/>
              </a:ext>
            </a:extLst>
          </p:cNvPr>
          <p:cNvCxnSpPr>
            <a:cxnSpLocks/>
          </p:cNvCxnSpPr>
          <p:nvPr userDrawn="1"/>
        </p:nvCxnSpPr>
        <p:spPr>
          <a:xfrm>
            <a:off x="609600" y="4594548"/>
            <a:ext cx="537667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CE2077C-8DE3-6BD5-5043-2657C91920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2648" y="1527048"/>
            <a:ext cx="2468880" cy="255587"/>
          </a:xfrm>
        </p:spPr>
        <p:txBody>
          <a:bodyPr>
            <a:noAutofit/>
          </a:bodyPr>
          <a:lstStyle>
            <a:lvl1pPr>
              <a:defRPr sz="1400" b="1" spc="3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CE47B4CB-AA1E-6A37-74DA-E065D5DBDA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0348" y="5236388"/>
            <a:ext cx="5387082" cy="276999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</p:spTree>
    <p:extLst>
      <p:ext uri="{BB962C8B-B14F-4D97-AF65-F5344CB8AC3E}">
        <p14:creationId xmlns:p14="http://schemas.microsoft.com/office/powerpoint/2010/main" val="2290075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-quadrant B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5FB671-7288-F24D-B614-7485A1EB4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7078980" cy="5539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A06DE4C-2824-F86F-176F-D7CEE692CA7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3D05B5-3984-8ED5-ECAF-B676C58335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9A9FAB2-9497-583D-67D2-92656EBD96E1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E8D147B-20B8-41F8-9C65-D6EE371733C4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1E90DC0E-D394-DFF1-20FF-E4F025C29CC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53C5C91F-539C-50A5-74CB-E57859E7C44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9600" y="1795047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0" name="Text Placeholder 26">
            <a:extLst>
              <a:ext uri="{FF2B5EF4-FFF2-40B4-BE49-F238E27FC236}">
                <a16:creationId xmlns:a16="http://schemas.microsoft.com/office/drawing/2014/main" id="{3F52A92B-F518-04CD-762D-7E421D327B3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00880" y="1795047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6">
            <a:extLst>
              <a:ext uri="{FF2B5EF4-FFF2-40B4-BE49-F238E27FC236}">
                <a16:creationId xmlns:a16="http://schemas.microsoft.com/office/drawing/2014/main" id="{2E6139D6-5C1F-9984-933D-05C6245DDE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600" y="3934243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59081576-9853-F2AC-596D-5E4837628CC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00880" y="3934243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277C43D7-C00C-7DE6-0BB0-C5E8CE8207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7078980" cy="30777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6124C7D0-2EB5-CCA2-1131-CD42AFA531E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600" y="2515283"/>
            <a:ext cx="3191256" cy="52120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4EE4B5A0-6227-F787-6A54-C2A60161F7D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500880" y="2515283"/>
            <a:ext cx="3191256" cy="52120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5B9A97B2-2B34-59ED-CE30-23518BEB029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0" y="4654479"/>
            <a:ext cx="3191256" cy="52120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4">
            <a:extLst>
              <a:ext uri="{FF2B5EF4-FFF2-40B4-BE49-F238E27FC236}">
                <a16:creationId xmlns:a16="http://schemas.microsoft.com/office/drawing/2014/main" id="{C7D1D394-778B-6918-5F27-84D4E90ADBC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500880" y="4654479"/>
            <a:ext cx="3191256" cy="52120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E38DC567-338B-E0F7-CF67-AFE622A0CC9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09600" y="3078123"/>
            <a:ext cx="3190875" cy="73152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182880" indent="0">
              <a:buNone/>
              <a:defRPr sz="1400"/>
            </a:lvl3pPr>
            <a:lvl4pPr marL="365760" indent="0">
              <a:buNone/>
              <a:defRPr sz="1400"/>
            </a:lvl4pPr>
            <a:lvl5pPr marL="548640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D0DFD801-9B31-CBB2-FEAE-5C0FCD87BC1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500563" y="3081489"/>
            <a:ext cx="3187700" cy="73152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3">
            <a:extLst>
              <a:ext uri="{FF2B5EF4-FFF2-40B4-BE49-F238E27FC236}">
                <a16:creationId xmlns:a16="http://schemas.microsoft.com/office/drawing/2014/main" id="{2B46E368-9937-4345-14E3-49FF8C68F0A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09600" y="5221224"/>
            <a:ext cx="3190875" cy="73152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182880" indent="0">
              <a:buNone/>
              <a:defRPr sz="1400"/>
            </a:lvl3pPr>
            <a:lvl4pPr marL="365760" indent="0">
              <a:buNone/>
              <a:defRPr sz="1400"/>
            </a:lvl4pPr>
            <a:lvl5pPr marL="548640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13">
            <a:extLst>
              <a:ext uri="{FF2B5EF4-FFF2-40B4-BE49-F238E27FC236}">
                <a16:creationId xmlns:a16="http://schemas.microsoft.com/office/drawing/2014/main" id="{1303312D-25DE-1166-642A-6673876FFE04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505008" y="5221224"/>
            <a:ext cx="3190875" cy="73152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182880" indent="0">
              <a:buNone/>
              <a:defRPr sz="1400"/>
            </a:lvl3pPr>
            <a:lvl4pPr marL="365760" indent="0">
              <a:buNone/>
              <a:defRPr sz="1400"/>
            </a:lvl4pPr>
            <a:lvl5pPr marL="548640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E02B04E6-DFE4-8F61-77A7-3BAE91280415}"/>
              </a:ext>
            </a:extLst>
          </p:cNvPr>
          <p:cNvGrpSpPr/>
          <p:nvPr userDrawn="1"/>
        </p:nvGrpSpPr>
        <p:grpSpPr>
          <a:xfrm>
            <a:off x="8668767" y="2176216"/>
            <a:ext cx="2913628" cy="2916483"/>
            <a:chOff x="8477772" y="2176216"/>
            <a:chExt cx="3104627" cy="3107669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DDAB8FB-291B-E617-AD35-5D0D2C85B979}"/>
                </a:ext>
              </a:extLst>
            </p:cNvPr>
            <p:cNvSpPr/>
            <p:nvPr/>
          </p:nvSpPr>
          <p:spPr>
            <a:xfrm>
              <a:off x="8477772" y="4040792"/>
              <a:ext cx="1243092" cy="1243092"/>
            </a:xfrm>
            <a:custGeom>
              <a:avLst/>
              <a:gdLst>
                <a:gd name="connsiteX0" fmla="*/ 0 w 1243092"/>
                <a:gd name="connsiteY0" fmla="*/ 1243093 h 1243092"/>
                <a:gd name="connsiteX1" fmla="*/ 0 w 1243092"/>
                <a:gd name="connsiteY1" fmla="*/ 0 h 1243092"/>
                <a:gd name="connsiteX2" fmla="*/ 1243093 w 1243092"/>
                <a:gd name="connsiteY2" fmla="*/ 0 h 1243092"/>
                <a:gd name="connsiteX3" fmla="*/ 0 w 1243092"/>
                <a:gd name="connsiteY3" fmla="*/ 1243093 h 1243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092" h="1243092">
                  <a:moveTo>
                    <a:pt x="0" y="1243093"/>
                  </a:moveTo>
                  <a:lnTo>
                    <a:pt x="0" y="0"/>
                  </a:lnTo>
                  <a:lnTo>
                    <a:pt x="1243093" y="0"/>
                  </a:lnTo>
                  <a:lnTo>
                    <a:pt x="0" y="1243093"/>
                  </a:lnTo>
                  <a:close/>
                </a:path>
              </a:pathLst>
            </a:custGeom>
            <a:solidFill>
              <a:srgbClr val="00000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D8CFF20-FCFC-BF39-5C69-44CA783859FC}"/>
                </a:ext>
              </a:extLst>
            </p:cNvPr>
            <p:cNvSpPr/>
            <p:nvPr/>
          </p:nvSpPr>
          <p:spPr>
            <a:xfrm>
              <a:off x="8477772" y="4040792"/>
              <a:ext cx="1243092" cy="1243092"/>
            </a:xfrm>
            <a:custGeom>
              <a:avLst/>
              <a:gdLst>
                <a:gd name="connsiteX0" fmla="*/ 1243093 w 1243092"/>
                <a:gd name="connsiteY0" fmla="*/ 1243093 h 1243092"/>
                <a:gd name="connsiteX1" fmla="*/ 0 w 1243092"/>
                <a:gd name="connsiteY1" fmla="*/ 1243093 h 1243092"/>
                <a:gd name="connsiteX2" fmla="*/ 1243093 w 1243092"/>
                <a:gd name="connsiteY2" fmla="*/ 0 h 1243092"/>
                <a:gd name="connsiteX3" fmla="*/ 1243093 w 1243092"/>
                <a:gd name="connsiteY3" fmla="*/ 1243093 h 1243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092" h="1243092">
                  <a:moveTo>
                    <a:pt x="1243093" y="1243093"/>
                  </a:moveTo>
                  <a:lnTo>
                    <a:pt x="0" y="1243093"/>
                  </a:lnTo>
                  <a:lnTo>
                    <a:pt x="1243093" y="0"/>
                  </a:lnTo>
                  <a:lnTo>
                    <a:pt x="1243093" y="1243093"/>
                  </a:lnTo>
                  <a:close/>
                </a:path>
              </a:pathLst>
            </a:custGeom>
            <a:solidFill>
              <a:srgbClr val="93D50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8E7DB0F-57F2-0BB1-A359-3F2B24747527}"/>
                </a:ext>
              </a:extLst>
            </p:cNvPr>
            <p:cNvSpPr/>
            <p:nvPr/>
          </p:nvSpPr>
          <p:spPr>
            <a:xfrm>
              <a:off x="10339306" y="2176216"/>
              <a:ext cx="1243092" cy="1243092"/>
            </a:xfrm>
            <a:custGeom>
              <a:avLst/>
              <a:gdLst>
                <a:gd name="connsiteX0" fmla="*/ 0 w 1243092"/>
                <a:gd name="connsiteY0" fmla="*/ 1243093 h 1243092"/>
                <a:gd name="connsiteX1" fmla="*/ 0 w 1243092"/>
                <a:gd name="connsiteY1" fmla="*/ 0 h 1243092"/>
                <a:gd name="connsiteX2" fmla="*/ 1243093 w 1243092"/>
                <a:gd name="connsiteY2" fmla="*/ 0 h 1243092"/>
                <a:gd name="connsiteX3" fmla="*/ 0 w 1243092"/>
                <a:gd name="connsiteY3" fmla="*/ 1243093 h 1243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092" h="1243092">
                  <a:moveTo>
                    <a:pt x="0" y="1243093"/>
                  </a:moveTo>
                  <a:lnTo>
                    <a:pt x="0" y="0"/>
                  </a:lnTo>
                  <a:lnTo>
                    <a:pt x="1243093" y="0"/>
                  </a:lnTo>
                  <a:lnTo>
                    <a:pt x="0" y="1243093"/>
                  </a:lnTo>
                  <a:close/>
                </a:path>
              </a:pathLst>
            </a:custGeom>
            <a:solidFill>
              <a:srgbClr val="00000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766101B-1B7C-33CC-AB9A-2BCEB9054770}"/>
                </a:ext>
              </a:extLst>
            </p:cNvPr>
            <p:cNvSpPr/>
            <p:nvPr/>
          </p:nvSpPr>
          <p:spPr>
            <a:xfrm>
              <a:off x="10339306" y="2176216"/>
              <a:ext cx="1243092" cy="1243092"/>
            </a:xfrm>
            <a:custGeom>
              <a:avLst/>
              <a:gdLst>
                <a:gd name="connsiteX0" fmla="*/ 1243093 w 1243092"/>
                <a:gd name="connsiteY0" fmla="*/ 1243093 h 1243092"/>
                <a:gd name="connsiteX1" fmla="*/ 0 w 1243092"/>
                <a:gd name="connsiteY1" fmla="*/ 1243093 h 1243092"/>
                <a:gd name="connsiteX2" fmla="*/ 1243093 w 1243092"/>
                <a:gd name="connsiteY2" fmla="*/ 0 h 1243092"/>
                <a:gd name="connsiteX3" fmla="*/ 1243093 w 1243092"/>
                <a:gd name="connsiteY3" fmla="*/ 1243093 h 1243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092" h="1243092">
                  <a:moveTo>
                    <a:pt x="1243093" y="1243093"/>
                  </a:moveTo>
                  <a:lnTo>
                    <a:pt x="0" y="1243093"/>
                  </a:lnTo>
                  <a:lnTo>
                    <a:pt x="1243093" y="0"/>
                  </a:lnTo>
                  <a:lnTo>
                    <a:pt x="1243093" y="1243093"/>
                  </a:lnTo>
                  <a:close/>
                </a:path>
              </a:pathLst>
            </a:custGeom>
            <a:solidFill>
              <a:srgbClr val="93D50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7FF00E8-12B1-0F1C-1F00-424A505ED697}"/>
                </a:ext>
              </a:extLst>
            </p:cNvPr>
            <p:cNvSpPr/>
            <p:nvPr/>
          </p:nvSpPr>
          <p:spPr>
            <a:xfrm>
              <a:off x="8477772" y="2176216"/>
              <a:ext cx="1243093" cy="1243093"/>
            </a:xfrm>
            <a:custGeom>
              <a:avLst/>
              <a:gdLst>
                <a:gd name="connsiteX0" fmla="*/ 0 w 1243093"/>
                <a:gd name="connsiteY0" fmla="*/ 0 h 1243093"/>
                <a:gd name="connsiteX1" fmla="*/ 1243093 w 1243093"/>
                <a:gd name="connsiteY1" fmla="*/ 0 h 1243093"/>
                <a:gd name="connsiteX2" fmla="*/ 1243093 w 1243093"/>
                <a:gd name="connsiteY2" fmla="*/ 1243093 h 1243093"/>
                <a:gd name="connsiteX3" fmla="*/ 0 w 1243093"/>
                <a:gd name="connsiteY3" fmla="*/ 1243093 h 1243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093" h="1243093">
                  <a:moveTo>
                    <a:pt x="0" y="0"/>
                  </a:moveTo>
                  <a:lnTo>
                    <a:pt x="1243093" y="0"/>
                  </a:lnTo>
                  <a:lnTo>
                    <a:pt x="1243093" y="1243093"/>
                  </a:lnTo>
                  <a:lnTo>
                    <a:pt x="0" y="1243093"/>
                  </a:lnTo>
                  <a:close/>
                </a:path>
              </a:pathLst>
            </a:custGeom>
            <a:solidFill>
              <a:srgbClr val="00000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3390EB0-ABE0-10C4-D3D4-8DECDA33B7D6}"/>
                </a:ext>
              </a:extLst>
            </p:cNvPr>
            <p:cNvSpPr/>
            <p:nvPr/>
          </p:nvSpPr>
          <p:spPr>
            <a:xfrm>
              <a:off x="10339306" y="4040792"/>
              <a:ext cx="1243093" cy="1243093"/>
            </a:xfrm>
            <a:custGeom>
              <a:avLst/>
              <a:gdLst>
                <a:gd name="connsiteX0" fmla="*/ 0 w 1243093"/>
                <a:gd name="connsiteY0" fmla="*/ 0 h 1243093"/>
                <a:gd name="connsiteX1" fmla="*/ 1243093 w 1243093"/>
                <a:gd name="connsiteY1" fmla="*/ 0 h 1243093"/>
                <a:gd name="connsiteX2" fmla="*/ 1243093 w 1243093"/>
                <a:gd name="connsiteY2" fmla="*/ 1243093 h 1243093"/>
                <a:gd name="connsiteX3" fmla="*/ 0 w 1243093"/>
                <a:gd name="connsiteY3" fmla="*/ 1243093 h 1243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093" h="1243093">
                  <a:moveTo>
                    <a:pt x="0" y="0"/>
                  </a:moveTo>
                  <a:lnTo>
                    <a:pt x="1243093" y="0"/>
                  </a:lnTo>
                  <a:lnTo>
                    <a:pt x="1243093" y="1243093"/>
                  </a:lnTo>
                  <a:lnTo>
                    <a:pt x="0" y="1243093"/>
                  </a:lnTo>
                  <a:close/>
                </a:path>
              </a:pathLst>
            </a:custGeom>
            <a:solidFill>
              <a:srgbClr val="93D50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3092978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-quadrant B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5FB671-7288-F24D-B614-7485A1EB4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7078980" cy="553998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A06DE4C-2824-F86F-176F-D7CEE692CA7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mtClean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3D05B5-3984-8ED5-ECAF-B676C58335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mtClean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9A9FAB2-9497-583D-67D2-92656EBD96E1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236555" y="136647"/>
            <a:ext cx="1345845" cy="153888"/>
          </a:xfr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mtClean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09708D96-D14B-468B-AFA7-AF17343FD0E8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1E90DC0E-D394-DFF1-20FF-E4F025C29CC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000" b="0" cap="all" spc="0" baseline="0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/>
              <a:t>Industry Name / Section Titl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53C5C91F-539C-50A5-74CB-E57859E7C44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9600" y="1795047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0" name="Text Placeholder 26">
            <a:extLst>
              <a:ext uri="{FF2B5EF4-FFF2-40B4-BE49-F238E27FC236}">
                <a16:creationId xmlns:a16="http://schemas.microsoft.com/office/drawing/2014/main" id="{3F52A92B-F518-04CD-762D-7E421D327B3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00880" y="1795047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6">
            <a:extLst>
              <a:ext uri="{FF2B5EF4-FFF2-40B4-BE49-F238E27FC236}">
                <a16:creationId xmlns:a16="http://schemas.microsoft.com/office/drawing/2014/main" id="{2E6139D6-5C1F-9984-933D-05C6245DDE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600" y="3934243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59081576-9853-F2AC-596D-5E4837628CC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00880" y="3934243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277C43D7-C00C-7DE6-0BB0-C5E8CE8207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7078980" cy="30777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250C694-5F87-84DF-A0F9-B00F5BF6D5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03876" y="88565"/>
            <a:ext cx="995110" cy="252812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ECD61670-B7D7-5B2E-A14F-1BBBFB1B97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03876" y="88565"/>
            <a:ext cx="995110" cy="252812"/>
          </a:xfrm>
          <a:prstGeom prst="rect">
            <a:avLst/>
          </a:prstGeom>
        </p:spPr>
      </p:pic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94067C25-3E3C-AE62-A2E0-B3D02FD9878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600" y="2515283"/>
            <a:ext cx="3191256" cy="52120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4">
            <a:extLst>
              <a:ext uri="{FF2B5EF4-FFF2-40B4-BE49-F238E27FC236}">
                <a16:creationId xmlns:a16="http://schemas.microsoft.com/office/drawing/2014/main" id="{C5F12A71-FC73-20E5-8E26-8A9BFDFC9E5A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500880" y="2515283"/>
            <a:ext cx="3191256" cy="52120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24">
            <a:extLst>
              <a:ext uri="{FF2B5EF4-FFF2-40B4-BE49-F238E27FC236}">
                <a16:creationId xmlns:a16="http://schemas.microsoft.com/office/drawing/2014/main" id="{A35F2BAD-1C86-887D-465E-2B5EC8F3DC3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0" y="4654479"/>
            <a:ext cx="3191256" cy="52120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24">
            <a:extLst>
              <a:ext uri="{FF2B5EF4-FFF2-40B4-BE49-F238E27FC236}">
                <a16:creationId xmlns:a16="http://schemas.microsoft.com/office/drawing/2014/main" id="{AB986AAD-0107-9A6C-2D91-5FCFC9F4FD8D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500880" y="4654479"/>
            <a:ext cx="3191256" cy="52120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AD1F891E-7504-DEED-3613-32FDD29D9F3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09600" y="3078123"/>
            <a:ext cx="3190875" cy="73152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 sz="1400"/>
            </a:lvl3pPr>
            <a:lvl4pPr marL="365760" indent="0">
              <a:buNone/>
              <a:defRPr sz="1400"/>
            </a:lvl4pPr>
            <a:lvl5pPr marL="548640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D41E9690-7F8F-BFF8-0D74-9EE3FBCE401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500563" y="3081489"/>
            <a:ext cx="3187700" cy="73152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13">
            <a:extLst>
              <a:ext uri="{FF2B5EF4-FFF2-40B4-BE49-F238E27FC236}">
                <a16:creationId xmlns:a16="http://schemas.microsoft.com/office/drawing/2014/main" id="{3D503F38-0B4E-C025-B3C9-A8D7076D23D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09600" y="5221224"/>
            <a:ext cx="3190875" cy="73152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 sz="1400"/>
            </a:lvl3pPr>
            <a:lvl4pPr marL="365760" indent="0">
              <a:buNone/>
              <a:defRPr sz="1400"/>
            </a:lvl4pPr>
            <a:lvl5pPr marL="548640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13">
            <a:extLst>
              <a:ext uri="{FF2B5EF4-FFF2-40B4-BE49-F238E27FC236}">
                <a16:creationId xmlns:a16="http://schemas.microsoft.com/office/drawing/2014/main" id="{BD4EEAFE-3245-4E12-11AC-5F3D54A49B8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505008" y="5221224"/>
            <a:ext cx="3190875" cy="73152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1400"/>
            </a:lvl2pPr>
            <a:lvl3pPr marL="182880" indent="0">
              <a:buNone/>
              <a:defRPr sz="1400"/>
            </a:lvl3pPr>
            <a:lvl4pPr marL="365760" indent="0">
              <a:buNone/>
              <a:defRPr sz="1400"/>
            </a:lvl4pPr>
            <a:lvl5pPr marL="548640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E02B04E6-DFE4-8F61-77A7-3BAE91280415}"/>
              </a:ext>
            </a:extLst>
          </p:cNvPr>
          <p:cNvGrpSpPr/>
          <p:nvPr userDrawn="1"/>
        </p:nvGrpSpPr>
        <p:grpSpPr>
          <a:xfrm>
            <a:off x="8668767" y="2176217"/>
            <a:ext cx="2913628" cy="2916485"/>
            <a:chOff x="8477772" y="2176216"/>
            <a:chExt cx="3104627" cy="3107669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DDAB8FB-291B-E617-AD35-5D0D2C85B979}"/>
                </a:ext>
              </a:extLst>
            </p:cNvPr>
            <p:cNvSpPr/>
            <p:nvPr/>
          </p:nvSpPr>
          <p:spPr>
            <a:xfrm>
              <a:off x="8477772" y="4040792"/>
              <a:ext cx="1243092" cy="1243091"/>
            </a:xfrm>
            <a:custGeom>
              <a:avLst/>
              <a:gdLst>
                <a:gd name="connsiteX0" fmla="*/ 0 w 1243092"/>
                <a:gd name="connsiteY0" fmla="*/ 1243093 h 1243092"/>
                <a:gd name="connsiteX1" fmla="*/ 0 w 1243092"/>
                <a:gd name="connsiteY1" fmla="*/ 0 h 1243092"/>
                <a:gd name="connsiteX2" fmla="*/ 1243093 w 1243092"/>
                <a:gd name="connsiteY2" fmla="*/ 0 h 1243092"/>
                <a:gd name="connsiteX3" fmla="*/ 0 w 1243092"/>
                <a:gd name="connsiteY3" fmla="*/ 1243093 h 1243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092" h="1243092">
                  <a:moveTo>
                    <a:pt x="0" y="1243093"/>
                  </a:moveTo>
                  <a:lnTo>
                    <a:pt x="0" y="0"/>
                  </a:lnTo>
                  <a:lnTo>
                    <a:pt x="1243093" y="0"/>
                  </a:lnTo>
                  <a:lnTo>
                    <a:pt x="0" y="1243093"/>
                  </a:lnTo>
                  <a:close/>
                </a:path>
              </a:pathLst>
            </a:custGeom>
            <a:solidFill>
              <a:schemeClr val="bg1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D8CFF20-FCFC-BF39-5C69-44CA783859FC}"/>
                </a:ext>
              </a:extLst>
            </p:cNvPr>
            <p:cNvSpPr/>
            <p:nvPr/>
          </p:nvSpPr>
          <p:spPr>
            <a:xfrm>
              <a:off x="8477772" y="4040792"/>
              <a:ext cx="1243092" cy="1243092"/>
            </a:xfrm>
            <a:custGeom>
              <a:avLst/>
              <a:gdLst>
                <a:gd name="connsiteX0" fmla="*/ 1243093 w 1243092"/>
                <a:gd name="connsiteY0" fmla="*/ 1243093 h 1243092"/>
                <a:gd name="connsiteX1" fmla="*/ 0 w 1243092"/>
                <a:gd name="connsiteY1" fmla="*/ 1243093 h 1243092"/>
                <a:gd name="connsiteX2" fmla="*/ 1243093 w 1243092"/>
                <a:gd name="connsiteY2" fmla="*/ 0 h 1243092"/>
                <a:gd name="connsiteX3" fmla="*/ 1243093 w 1243092"/>
                <a:gd name="connsiteY3" fmla="*/ 1243093 h 1243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092" h="1243092">
                  <a:moveTo>
                    <a:pt x="1243093" y="1243093"/>
                  </a:moveTo>
                  <a:lnTo>
                    <a:pt x="0" y="1243093"/>
                  </a:lnTo>
                  <a:lnTo>
                    <a:pt x="1243093" y="0"/>
                  </a:lnTo>
                  <a:lnTo>
                    <a:pt x="1243093" y="1243093"/>
                  </a:lnTo>
                  <a:close/>
                </a:path>
              </a:pathLst>
            </a:custGeom>
            <a:solidFill>
              <a:srgbClr val="93D50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F8E7DB0F-57F2-0BB1-A359-3F2B24747527}"/>
                </a:ext>
              </a:extLst>
            </p:cNvPr>
            <p:cNvSpPr/>
            <p:nvPr/>
          </p:nvSpPr>
          <p:spPr>
            <a:xfrm>
              <a:off x="10339306" y="2176216"/>
              <a:ext cx="1243092" cy="1243091"/>
            </a:xfrm>
            <a:custGeom>
              <a:avLst/>
              <a:gdLst>
                <a:gd name="connsiteX0" fmla="*/ 0 w 1243092"/>
                <a:gd name="connsiteY0" fmla="*/ 1243093 h 1243092"/>
                <a:gd name="connsiteX1" fmla="*/ 0 w 1243092"/>
                <a:gd name="connsiteY1" fmla="*/ 0 h 1243092"/>
                <a:gd name="connsiteX2" fmla="*/ 1243093 w 1243092"/>
                <a:gd name="connsiteY2" fmla="*/ 0 h 1243092"/>
                <a:gd name="connsiteX3" fmla="*/ 0 w 1243092"/>
                <a:gd name="connsiteY3" fmla="*/ 1243093 h 1243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092" h="1243092">
                  <a:moveTo>
                    <a:pt x="0" y="1243093"/>
                  </a:moveTo>
                  <a:lnTo>
                    <a:pt x="0" y="0"/>
                  </a:lnTo>
                  <a:lnTo>
                    <a:pt x="1243093" y="0"/>
                  </a:lnTo>
                  <a:lnTo>
                    <a:pt x="0" y="1243093"/>
                  </a:lnTo>
                  <a:close/>
                </a:path>
              </a:pathLst>
            </a:custGeom>
            <a:solidFill>
              <a:schemeClr val="bg1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766101B-1B7C-33CC-AB9A-2BCEB9054770}"/>
                </a:ext>
              </a:extLst>
            </p:cNvPr>
            <p:cNvSpPr/>
            <p:nvPr/>
          </p:nvSpPr>
          <p:spPr>
            <a:xfrm>
              <a:off x="10339306" y="2176216"/>
              <a:ext cx="1243092" cy="1243092"/>
            </a:xfrm>
            <a:custGeom>
              <a:avLst/>
              <a:gdLst>
                <a:gd name="connsiteX0" fmla="*/ 1243093 w 1243092"/>
                <a:gd name="connsiteY0" fmla="*/ 1243093 h 1243092"/>
                <a:gd name="connsiteX1" fmla="*/ 0 w 1243092"/>
                <a:gd name="connsiteY1" fmla="*/ 1243093 h 1243092"/>
                <a:gd name="connsiteX2" fmla="*/ 1243093 w 1243092"/>
                <a:gd name="connsiteY2" fmla="*/ 0 h 1243092"/>
                <a:gd name="connsiteX3" fmla="*/ 1243093 w 1243092"/>
                <a:gd name="connsiteY3" fmla="*/ 1243093 h 1243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092" h="1243092">
                  <a:moveTo>
                    <a:pt x="1243093" y="1243093"/>
                  </a:moveTo>
                  <a:lnTo>
                    <a:pt x="0" y="1243093"/>
                  </a:lnTo>
                  <a:lnTo>
                    <a:pt x="1243093" y="0"/>
                  </a:lnTo>
                  <a:lnTo>
                    <a:pt x="1243093" y="1243093"/>
                  </a:lnTo>
                  <a:close/>
                </a:path>
              </a:pathLst>
            </a:custGeom>
            <a:solidFill>
              <a:srgbClr val="93D50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7FF00E8-12B1-0F1C-1F00-424A505ED697}"/>
                </a:ext>
              </a:extLst>
            </p:cNvPr>
            <p:cNvSpPr/>
            <p:nvPr/>
          </p:nvSpPr>
          <p:spPr>
            <a:xfrm>
              <a:off x="8477772" y="2176216"/>
              <a:ext cx="1243093" cy="1243093"/>
            </a:xfrm>
            <a:custGeom>
              <a:avLst/>
              <a:gdLst>
                <a:gd name="connsiteX0" fmla="*/ 0 w 1243093"/>
                <a:gd name="connsiteY0" fmla="*/ 0 h 1243093"/>
                <a:gd name="connsiteX1" fmla="*/ 1243093 w 1243093"/>
                <a:gd name="connsiteY1" fmla="*/ 0 h 1243093"/>
                <a:gd name="connsiteX2" fmla="*/ 1243093 w 1243093"/>
                <a:gd name="connsiteY2" fmla="*/ 1243093 h 1243093"/>
                <a:gd name="connsiteX3" fmla="*/ 0 w 1243093"/>
                <a:gd name="connsiteY3" fmla="*/ 1243093 h 1243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093" h="1243093">
                  <a:moveTo>
                    <a:pt x="0" y="0"/>
                  </a:moveTo>
                  <a:lnTo>
                    <a:pt x="1243093" y="0"/>
                  </a:lnTo>
                  <a:lnTo>
                    <a:pt x="1243093" y="1243093"/>
                  </a:lnTo>
                  <a:lnTo>
                    <a:pt x="0" y="1243093"/>
                  </a:lnTo>
                  <a:close/>
                </a:path>
              </a:pathLst>
            </a:custGeom>
            <a:solidFill>
              <a:schemeClr val="bg1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3390EB0-ABE0-10C4-D3D4-8DECDA33B7D6}"/>
                </a:ext>
              </a:extLst>
            </p:cNvPr>
            <p:cNvSpPr/>
            <p:nvPr/>
          </p:nvSpPr>
          <p:spPr>
            <a:xfrm>
              <a:off x="10339306" y="4040792"/>
              <a:ext cx="1243093" cy="1243093"/>
            </a:xfrm>
            <a:custGeom>
              <a:avLst/>
              <a:gdLst>
                <a:gd name="connsiteX0" fmla="*/ 0 w 1243093"/>
                <a:gd name="connsiteY0" fmla="*/ 0 h 1243093"/>
                <a:gd name="connsiteX1" fmla="*/ 1243093 w 1243093"/>
                <a:gd name="connsiteY1" fmla="*/ 0 h 1243093"/>
                <a:gd name="connsiteX2" fmla="*/ 1243093 w 1243093"/>
                <a:gd name="connsiteY2" fmla="*/ 1243093 h 1243093"/>
                <a:gd name="connsiteX3" fmla="*/ 0 w 1243093"/>
                <a:gd name="connsiteY3" fmla="*/ 1243093 h 1243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093" h="1243093">
                  <a:moveTo>
                    <a:pt x="0" y="0"/>
                  </a:moveTo>
                  <a:lnTo>
                    <a:pt x="1243093" y="0"/>
                  </a:lnTo>
                  <a:lnTo>
                    <a:pt x="1243093" y="1243093"/>
                  </a:lnTo>
                  <a:lnTo>
                    <a:pt x="0" y="1243093"/>
                  </a:lnTo>
                  <a:close/>
                </a:path>
              </a:pathLst>
            </a:custGeom>
            <a:solidFill>
              <a:srgbClr val="93D50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7287799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-quadrant C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5FB671-7288-F24D-B614-7485A1EB4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436344"/>
            <a:ext cx="3191256" cy="1107996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9A9FAB2-9497-583D-67D2-92656EBD96E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EF6117FD-339D-46D2-9342-B24BFDA76C15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277C43D7-C00C-7DE6-0BB0-C5E8CE8207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569938"/>
            <a:ext cx="3191256" cy="30777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5" name="Text Placeholder 24">
            <a:extLst>
              <a:ext uri="{FF2B5EF4-FFF2-40B4-BE49-F238E27FC236}">
                <a16:creationId xmlns:a16="http://schemas.microsoft.com/office/drawing/2014/main" id="{81AC28DC-93A6-48C2-61B4-B0DC8EB3265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03420" y="1372989"/>
            <a:ext cx="3191256" cy="61264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latin typeface="+mj-lt"/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id="{38AC06FF-9423-61D1-DBC8-0E2170D5E89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394700" y="1372989"/>
            <a:ext cx="3191256" cy="61264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latin typeface="+mj-lt"/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24">
            <a:extLst>
              <a:ext uri="{FF2B5EF4-FFF2-40B4-BE49-F238E27FC236}">
                <a16:creationId xmlns:a16="http://schemas.microsoft.com/office/drawing/2014/main" id="{E7F60AF1-6C7F-C09E-8079-CCC041BCCFD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503420" y="4259227"/>
            <a:ext cx="3191256" cy="61264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latin typeface="+mj-lt"/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24">
            <a:extLst>
              <a:ext uri="{FF2B5EF4-FFF2-40B4-BE49-F238E27FC236}">
                <a16:creationId xmlns:a16="http://schemas.microsoft.com/office/drawing/2014/main" id="{24B848A0-46B3-5A33-8405-3915F72C91E4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394700" y="4259227"/>
            <a:ext cx="3191256" cy="61264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latin typeface="+mj-lt"/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26">
            <a:extLst>
              <a:ext uri="{FF2B5EF4-FFF2-40B4-BE49-F238E27FC236}">
                <a16:creationId xmlns:a16="http://schemas.microsoft.com/office/drawing/2014/main" id="{FA258B65-F95C-ACE5-EDC8-47341FB793E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503420" y="655490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6">
            <a:extLst>
              <a:ext uri="{FF2B5EF4-FFF2-40B4-BE49-F238E27FC236}">
                <a16:creationId xmlns:a16="http://schemas.microsoft.com/office/drawing/2014/main" id="{3E006ACC-8BC5-A8A5-BBDD-31E52AE25FD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394700" y="656457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1" name="Text Placeholder 26">
            <a:extLst>
              <a:ext uri="{FF2B5EF4-FFF2-40B4-BE49-F238E27FC236}">
                <a16:creationId xmlns:a16="http://schemas.microsoft.com/office/drawing/2014/main" id="{111CB98A-C475-0E30-46AE-C2931827AFD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503420" y="3542695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6">
            <a:extLst>
              <a:ext uri="{FF2B5EF4-FFF2-40B4-BE49-F238E27FC236}">
                <a16:creationId xmlns:a16="http://schemas.microsoft.com/office/drawing/2014/main" id="{17CB2B64-4FE7-7D72-ECF9-B226A53F939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94700" y="3542695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6B693173-4AED-2995-3081-BC3352EE7A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531E312-FA6B-91E7-BD98-02E52DBCB8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6801A41-6901-C085-44D0-685FA3E1A66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C5D5E21-197E-9FAF-EE30-DF02893C567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503738" y="1997829"/>
            <a:ext cx="3190875" cy="99364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FCC6C2EF-F367-CABC-9873-EB1DDAB421C5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8391525" y="1997829"/>
            <a:ext cx="3190875" cy="99364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3A777F17-3D5B-2101-D67A-B7BD6006991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503738" y="4892040"/>
            <a:ext cx="3190875" cy="99364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CEFC7221-44C7-32C6-C0CC-AA1920777AC3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391525" y="4892040"/>
            <a:ext cx="3190875" cy="99364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/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204203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-quadrant 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5FB671-7288-F24D-B614-7485A1EB4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436344"/>
            <a:ext cx="3191256" cy="1107996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9A9FAB2-9497-583D-67D2-92656EBD96E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BBDD2723-EEF1-4DD5-8241-DD6A3D586244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277C43D7-C00C-7DE6-0BB0-C5E8CE8207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569938"/>
            <a:ext cx="3191256" cy="30777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0" name="Text Placeholder 26">
            <a:extLst>
              <a:ext uri="{FF2B5EF4-FFF2-40B4-BE49-F238E27FC236}">
                <a16:creationId xmlns:a16="http://schemas.microsoft.com/office/drawing/2014/main" id="{C0C50244-9E21-6A87-6F2A-F211E712EF6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503420" y="656457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1" name="Text Placeholder 26">
            <a:extLst>
              <a:ext uri="{FF2B5EF4-FFF2-40B4-BE49-F238E27FC236}">
                <a16:creationId xmlns:a16="http://schemas.microsoft.com/office/drawing/2014/main" id="{37FF0FC2-D0A4-C98D-6FA9-36A70B03299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394700" y="656457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2" name="Text Placeholder 26">
            <a:extLst>
              <a:ext uri="{FF2B5EF4-FFF2-40B4-BE49-F238E27FC236}">
                <a16:creationId xmlns:a16="http://schemas.microsoft.com/office/drawing/2014/main" id="{A66E84F9-7E79-CBE4-8BF0-EB295B78C84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503420" y="3542695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3" name="Text Placeholder 26">
            <a:extLst>
              <a:ext uri="{FF2B5EF4-FFF2-40B4-BE49-F238E27FC236}">
                <a16:creationId xmlns:a16="http://schemas.microsoft.com/office/drawing/2014/main" id="{71007FB7-9D94-ECE5-1BEF-E00EDE0ED88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94700" y="3542695"/>
            <a:ext cx="442911" cy="430887"/>
          </a:xfrm>
          <a:noFill/>
        </p:spPr>
        <p:txBody>
          <a:bodyPr anchor="b">
            <a:noAutofit/>
          </a:bodyPr>
          <a:lstStyle>
            <a:lvl1pPr algn="l"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" name="Footer Placeholder 13">
            <a:extLst>
              <a:ext uri="{FF2B5EF4-FFF2-40B4-BE49-F238E27FC236}">
                <a16:creationId xmlns:a16="http://schemas.microsoft.com/office/drawing/2014/main" id="{171CAC7F-5BD2-9973-E271-C4800EE8263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609600" y="656608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4" name="Slide Number Placeholder 14">
            <a:extLst>
              <a:ext uri="{FF2B5EF4-FFF2-40B4-BE49-F238E27FC236}">
                <a16:creationId xmlns:a16="http://schemas.microsoft.com/office/drawing/2014/main" id="{9B713C4B-36F9-E5DB-37B8-DF15BB99547D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248008" y="656608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01E6768F-1A5B-7106-9769-0A5AE998BB8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09600" y="136647"/>
            <a:ext cx="4076700" cy="153888"/>
          </a:xfr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000" b="0" cap="all" spc="0" baseline="0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/>
              <a:t>Industry Name / Section 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ABBED0B-B428-09B2-BF1F-6C5529E4ADB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03876" y="88565"/>
            <a:ext cx="995110" cy="252812"/>
          </a:xfrm>
          <a:prstGeom prst="rect">
            <a:avLst/>
          </a:prstGeom>
        </p:spPr>
      </p:pic>
      <p:sp>
        <p:nvSpPr>
          <p:cNvPr id="28" name="Text Placeholder 24">
            <a:extLst>
              <a:ext uri="{FF2B5EF4-FFF2-40B4-BE49-F238E27FC236}">
                <a16:creationId xmlns:a16="http://schemas.microsoft.com/office/drawing/2014/main" id="{319CB39C-37C2-D5B7-1E9F-893FF233310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03420" y="1372989"/>
            <a:ext cx="3191256" cy="61264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7AD212FF-7D10-F86A-78D8-8E030C10250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394700" y="1372989"/>
            <a:ext cx="3191256" cy="61264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D4B57AA8-A9AA-B59D-3BE9-C0653FA0097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503420" y="4259227"/>
            <a:ext cx="3191256" cy="61264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24">
            <a:extLst>
              <a:ext uri="{FF2B5EF4-FFF2-40B4-BE49-F238E27FC236}">
                <a16:creationId xmlns:a16="http://schemas.microsoft.com/office/drawing/2014/main" id="{D28E0066-694B-5AEA-9CF0-31AC10EB9A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394700" y="4259227"/>
            <a:ext cx="3191256" cy="61264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2DD06C76-DED9-CB6C-69D9-32BBA81693E2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503738" y="1997829"/>
            <a:ext cx="3190875" cy="99364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01AB02C8-83DF-C2F2-975C-29A5DE0ECCB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8391525" y="1997829"/>
            <a:ext cx="3190875" cy="99364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FF4AD7C0-4147-D089-5241-B057AA9E291E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503738" y="4892040"/>
            <a:ext cx="3190875" cy="99364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C12C4410-0BC8-E932-C599-6950BD64B279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391525" y="4892040"/>
            <a:ext cx="3190875" cy="99364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600"/>
            </a:lvl2pPr>
            <a:lvl3pPr marL="182880" indent="0">
              <a:buNone/>
              <a:defRPr sz="1600"/>
            </a:lvl3pPr>
            <a:lvl4pPr marL="365760" indent="0">
              <a:buNone/>
              <a:defRPr sz="1600"/>
            </a:lvl4pPr>
            <a:lvl5pPr marL="548640" indent="0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994392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+ Content A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D7395C30-7718-F2A9-4ACA-588234BCD773}"/>
              </a:ext>
            </a:extLst>
          </p:cNvPr>
          <p:cNvGrpSpPr/>
          <p:nvPr userDrawn="1"/>
        </p:nvGrpSpPr>
        <p:grpSpPr>
          <a:xfrm>
            <a:off x="0" y="426998"/>
            <a:ext cx="6096000" cy="6004005"/>
            <a:chOff x="0" y="426998"/>
            <a:chExt cx="4064000" cy="6004005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B63D4F01-75C5-CFBB-6DBF-04760D2C399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26998"/>
              <a:ext cx="406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72F8D0A0-25DD-860D-FA90-F42106BE618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6431003"/>
              <a:ext cx="406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420A254F-BDD5-C9AF-1DD7-05ACB129B577}"/>
              </a:ext>
            </a:extLst>
          </p:cNvPr>
          <p:cNvSpPr/>
          <p:nvPr/>
        </p:nvSpPr>
        <p:spPr>
          <a:xfrm>
            <a:off x="6096001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41C210-892D-24A5-E574-B59C507782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/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2" name="Text Placeholder 37">
            <a:extLst>
              <a:ext uri="{FF2B5EF4-FFF2-40B4-BE49-F238E27FC236}">
                <a16:creationId xmlns:a16="http://schemas.microsoft.com/office/drawing/2014/main" id="{F4AE42DD-CBC4-0669-9A85-81A01695BC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1" y="4010928"/>
            <a:ext cx="4876799" cy="1231106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42D5A6F2-908D-2D67-A69F-7F8AC3E161A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600200"/>
            <a:ext cx="4876799" cy="215444"/>
          </a:xfrm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lang="en-US" sz="1400" b="1" kern="1200" cap="all" spc="3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Optional Eyebrow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2AAAC208-B9A3-AB8D-8A3F-5267EA42C80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9601" y="2024185"/>
            <a:ext cx="4876799" cy="1354217"/>
          </a:xfrm>
        </p:spPr>
        <p:txBody>
          <a:bodyPr anchor="b">
            <a:noAutofit/>
          </a:bodyPr>
          <a:lstStyle>
            <a:lvl1pPr>
              <a:defRPr sz="4400"/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5" name="Chart Placeholder 2">
            <a:extLst>
              <a:ext uri="{FF2B5EF4-FFF2-40B4-BE49-F238E27FC236}">
                <a16:creationId xmlns:a16="http://schemas.microsoft.com/office/drawing/2014/main" id="{6F3345E8-85EF-AE93-A578-743D05885994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6705602" y="668338"/>
            <a:ext cx="4876798" cy="5503862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4">
            <a:extLst>
              <a:ext uri="{FF2B5EF4-FFF2-40B4-BE49-F238E27FC236}">
                <a16:creationId xmlns:a16="http://schemas.microsoft.com/office/drawing/2014/main" id="{9B809583-71D6-430B-A541-2B72791DEAB7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EEA19F89-1E55-4F65-A2F4-F330EB73013A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C3F1776-D765-4702-8CB4-664547CC1EB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D4B153A3-0661-E455-EE3A-3CA0317DCFF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1952414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Image + Content A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999FA53E-003A-F4D8-E720-3A0FA7F3B9C0}"/>
              </a:ext>
            </a:extLst>
          </p:cNvPr>
          <p:cNvGrpSpPr/>
          <p:nvPr userDrawn="1"/>
        </p:nvGrpSpPr>
        <p:grpSpPr>
          <a:xfrm>
            <a:off x="5981701" y="426998"/>
            <a:ext cx="6210300" cy="6004005"/>
            <a:chOff x="0" y="426998"/>
            <a:chExt cx="4064000" cy="6004005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4DC1E47-BF2C-9C0E-A6C0-BEACA87A44F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26998"/>
              <a:ext cx="406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F728009A-09CD-0E80-19F4-3753A7B6DA7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6431003"/>
              <a:ext cx="406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420A254F-BDD5-C9AF-1DD7-05ACB129B577}"/>
              </a:ext>
            </a:extLst>
          </p:cNvPr>
          <p:cNvSpPr/>
          <p:nvPr/>
        </p:nvSpPr>
        <p:spPr>
          <a:xfrm>
            <a:off x="-1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41C210-892D-24A5-E574-B59C507782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2" name="Text Placeholder 37">
            <a:extLst>
              <a:ext uri="{FF2B5EF4-FFF2-40B4-BE49-F238E27FC236}">
                <a16:creationId xmlns:a16="http://schemas.microsoft.com/office/drawing/2014/main" id="{F4AE42DD-CBC4-0669-9A85-81A01695BC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05603" y="4010928"/>
            <a:ext cx="4876799" cy="1231106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42D5A6F2-908D-2D67-A69F-7F8AC3E161A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05602" y="1600200"/>
            <a:ext cx="4876799" cy="215444"/>
          </a:xfrm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lang="en-US" sz="1400" b="1" kern="1200" cap="all" spc="3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Optional Eyebrow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2AAAC208-B9A3-AB8D-8A3F-5267EA42C80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05603" y="2024185"/>
            <a:ext cx="4876799" cy="1354217"/>
          </a:xfrm>
        </p:spPr>
        <p:txBody>
          <a:bodyPr anchor="b">
            <a:noAutofit/>
          </a:bodyPr>
          <a:lstStyle>
            <a:lvl1pPr>
              <a:defRPr sz="4400"/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5" name="Chart Placeholder 2">
            <a:extLst>
              <a:ext uri="{FF2B5EF4-FFF2-40B4-BE49-F238E27FC236}">
                <a16:creationId xmlns:a16="http://schemas.microsoft.com/office/drawing/2014/main" id="{6F3345E8-85EF-AE93-A578-743D05885994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609600" y="668338"/>
            <a:ext cx="4876798" cy="5503862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4">
            <a:extLst>
              <a:ext uri="{FF2B5EF4-FFF2-40B4-BE49-F238E27FC236}">
                <a16:creationId xmlns:a16="http://schemas.microsoft.com/office/drawing/2014/main" id="{39483F8E-539E-6FDB-EFDE-8AE61624AEE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C681CFC5-FDB9-4659-93ED-9C31C6C21403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3" name="Footer Placeholder 13">
            <a:extLst>
              <a:ext uri="{FF2B5EF4-FFF2-40B4-BE49-F238E27FC236}">
                <a16:creationId xmlns:a16="http://schemas.microsoft.com/office/drawing/2014/main" id="{2A9426C7-2F9A-A497-B558-05C626DD8682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609600" y="656608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7D9D1A8E-FFEA-17D7-1469-A803D5DBAB5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38027"/>
            <a:ext cx="2843782" cy="153888"/>
          </a:xfrm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</p:spTree>
    <p:extLst>
      <p:ext uri="{BB962C8B-B14F-4D97-AF65-F5344CB8AC3E}">
        <p14:creationId xmlns:p14="http://schemas.microsoft.com/office/powerpoint/2010/main" val="63422155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+ Content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41C210-892D-24A5-E574-B59C507782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/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2" name="Text Placeholder 37">
            <a:extLst>
              <a:ext uri="{FF2B5EF4-FFF2-40B4-BE49-F238E27FC236}">
                <a16:creationId xmlns:a16="http://schemas.microsoft.com/office/drawing/2014/main" id="{F4AE42DD-CBC4-0669-9A85-81A01695BC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61514" y="4010928"/>
            <a:ext cx="5420886" cy="1231106"/>
          </a:xfrm>
        </p:spPr>
        <p:txBody>
          <a:bodyPr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42D5A6F2-908D-2D67-A69F-7F8AC3E161A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61513" y="1600200"/>
            <a:ext cx="5420886" cy="215444"/>
          </a:xfrm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lang="en-US" sz="1400" b="1" kern="1200" cap="all" spc="300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Optional Eyebrow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2AAAC208-B9A3-AB8D-8A3F-5267EA42C80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61514" y="2024185"/>
            <a:ext cx="5420886" cy="1354217"/>
          </a:xfrm>
        </p:spPr>
        <p:txBody>
          <a:bodyPr anchor="b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2" name="Date Placeholder 4">
            <a:extLst>
              <a:ext uri="{FF2B5EF4-FFF2-40B4-BE49-F238E27FC236}">
                <a16:creationId xmlns:a16="http://schemas.microsoft.com/office/drawing/2014/main" id="{709E5C72-0B80-7784-B781-1ACADFF2CB13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EE8A1F5C-7366-40D3-992E-5B5A9A4B1C8D}" type="datetime4">
              <a:rPr lang="en-US" smtClean="0"/>
              <a:t>October 23, 2025</a:t>
            </a:fld>
            <a:endParaRPr lang="en-US"/>
          </a:p>
        </p:txBody>
      </p:sp>
      <p:pic>
        <p:nvPicPr>
          <p:cNvPr id="3" name="Picture 2" descr="A group of green and white circles&#10;&#10;Description automatically generated">
            <a:extLst>
              <a:ext uri="{FF2B5EF4-FFF2-40B4-BE49-F238E27FC236}">
                <a16:creationId xmlns:a16="http://schemas.microsoft.com/office/drawing/2014/main" id="{40A018C1-AD88-652E-E110-D0480FCEA323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11" t="10281" r="15111" b="10381"/>
          <a:stretch/>
        </p:blipFill>
        <p:spPr>
          <a:xfrm>
            <a:off x="10161" y="-8669"/>
            <a:ext cx="5069840" cy="6866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61412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ed Lis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2F6F618-CF2E-13EA-0DF7-5CBE80F733F0}"/>
              </a:ext>
            </a:extLst>
          </p:cNvPr>
          <p:cNvSpPr/>
          <p:nvPr/>
        </p:nvSpPr>
        <p:spPr>
          <a:xfrm>
            <a:off x="0" y="0"/>
            <a:ext cx="406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556BBD-E905-984B-4075-604E21C91A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2844800" cy="1000402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71143EDC-4B43-463B-C8D7-7625E5355C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813242"/>
            <a:ext cx="2843784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2" name="Text Placeholder 35">
            <a:extLst>
              <a:ext uri="{FF2B5EF4-FFF2-40B4-BE49-F238E27FC236}">
                <a16:creationId xmlns:a16="http://schemas.microsoft.com/office/drawing/2014/main" id="{6411CE3E-CF5E-1A4F-C684-DD36FC3031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" y="2476503"/>
            <a:ext cx="2843783" cy="292608"/>
          </a:xfrm>
        </p:spPr>
        <p:txBody>
          <a:bodyPr anchor="t">
            <a:noAutofit/>
          </a:bodyPr>
          <a:lstStyle>
            <a:lvl1pPr>
              <a:spcAft>
                <a:spcPts val="1200"/>
              </a:spcAft>
              <a:defRPr sz="1400" b="1" cap="all" spc="300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D3E9CE75-DDC1-172A-CEDF-9BDA4CC23F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13">
            <a:extLst>
              <a:ext uri="{FF2B5EF4-FFF2-40B4-BE49-F238E27FC236}">
                <a16:creationId xmlns:a16="http://schemas.microsoft.com/office/drawing/2014/main" id="{BB97D0C9-0DE0-7FAA-BA0B-740774724C6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609600" y="6566085"/>
            <a:ext cx="284378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E22E7FA-BD3A-A8FB-1329-A12981820EAC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4064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F8FFCB73-844B-F5B3-7A75-E7CC0A3001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38027"/>
            <a:ext cx="2843782" cy="153888"/>
          </a:xfrm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AEE6556-E5DE-AECB-1B90-3D84DB7F1903}"/>
              </a:ext>
            </a:extLst>
          </p:cNvPr>
          <p:cNvCxnSpPr>
            <a:cxnSpLocks/>
          </p:cNvCxnSpPr>
          <p:nvPr userDrawn="1"/>
        </p:nvCxnSpPr>
        <p:spPr>
          <a:xfrm>
            <a:off x="0" y="426998"/>
            <a:ext cx="4064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EF4F4A-6920-E94C-8B0A-FB283F04995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9600" y="2862072"/>
            <a:ext cx="2843213" cy="213995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  <a:lvl3pPr marL="182880" indent="0">
              <a:buNone/>
              <a:defRPr sz="1600">
                <a:solidFill>
                  <a:schemeClr val="bg1"/>
                </a:solidFill>
              </a:defRPr>
            </a:lvl3pPr>
            <a:lvl4pPr marL="365760" indent="0">
              <a:buNone/>
              <a:defRPr sz="1600">
                <a:solidFill>
                  <a:schemeClr val="bg1"/>
                </a:solidFill>
              </a:defRPr>
            </a:lvl4pPr>
            <a:lvl5pPr marL="54864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E684734-B289-4A74-3949-5159F395556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161280" y="709131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B53C653-88C9-3E91-B671-829BF45735B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61280" y="1273143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5D32DD11-9A10-39E3-B132-186EAE2740E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61280" y="1832075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120F12DA-8067-B1BB-5B5E-61D073DDABA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61280" y="2391007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B5F28DF1-6B77-FCE0-991A-5282AAED553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161280" y="2950436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CCEB4079-F621-5066-D9F4-BC0DA96F6D8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161280" y="3508098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47D6751-917D-333E-896D-483C0697D88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161280" y="4069570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27DC68C9-0396-7E3A-204E-3CBC52EAC32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161280" y="4629246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1810B557-15AD-CE33-7D45-9B8E262E064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678365" y="709131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D4B8303-F23C-6399-4089-F04D8815B8D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78365" y="1273143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0319C4D-08EE-82DD-68E8-74E07690CBB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678365" y="1832075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CAF3EE2C-8BED-737B-8328-68B109205EB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678365" y="2391007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E33CFEC2-A17F-C949-5BF3-EE01C755A4C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678365" y="2950436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E5355B9F-B50F-E888-2001-E48B6011B68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678365" y="3508098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078D5A0D-6B63-AA91-0EA2-DAF7F3405A7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678365" y="4069570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6A916165-7B0E-4454-109D-14973C674BA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678365" y="4629246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0193D19F-D3EF-547B-F979-CEB39B81A44E}"/>
              </a:ext>
            </a:extLst>
          </p:cNvPr>
          <p:cNvCxnSpPr/>
          <p:nvPr userDrawn="1"/>
        </p:nvCxnSpPr>
        <p:spPr>
          <a:xfrm>
            <a:off x="4683760" y="546377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874C04B4-16F6-FE0B-BB33-95869EB3F959}"/>
              </a:ext>
            </a:extLst>
          </p:cNvPr>
          <p:cNvCxnSpPr>
            <a:cxnSpLocks/>
          </p:cNvCxnSpPr>
          <p:nvPr userDrawn="1"/>
        </p:nvCxnSpPr>
        <p:spPr>
          <a:xfrm>
            <a:off x="4683760" y="1106605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041A2B0-D002-55D8-3391-C40A2376B973}"/>
              </a:ext>
            </a:extLst>
          </p:cNvPr>
          <p:cNvCxnSpPr>
            <a:cxnSpLocks/>
          </p:cNvCxnSpPr>
          <p:nvPr userDrawn="1"/>
        </p:nvCxnSpPr>
        <p:spPr>
          <a:xfrm>
            <a:off x="4683760" y="1666833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86BF753F-E7E1-7B8F-5D42-7A6CE933C064}"/>
              </a:ext>
            </a:extLst>
          </p:cNvPr>
          <p:cNvCxnSpPr/>
          <p:nvPr userDrawn="1"/>
        </p:nvCxnSpPr>
        <p:spPr>
          <a:xfrm>
            <a:off x="4683760" y="2227061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3D28130-FCB5-1F2F-98D2-692A8292A362}"/>
              </a:ext>
            </a:extLst>
          </p:cNvPr>
          <p:cNvCxnSpPr/>
          <p:nvPr userDrawn="1"/>
        </p:nvCxnSpPr>
        <p:spPr>
          <a:xfrm>
            <a:off x="4683760" y="2787289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C53E41A-0D10-66A1-DF0B-E9E1DBFBA413}"/>
              </a:ext>
            </a:extLst>
          </p:cNvPr>
          <p:cNvCxnSpPr/>
          <p:nvPr userDrawn="1"/>
        </p:nvCxnSpPr>
        <p:spPr>
          <a:xfrm>
            <a:off x="4683760" y="3347517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07E1043-5BF0-ECEF-46A7-1683C71199D1}"/>
              </a:ext>
            </a:extLst>
          </p:cNvPr>
          <p:cNvCxnSpPr/>
          <p:nvPr userDrawn="1"/>
        </p:nvCxnSpPr>
        <p:spPr>
          <a:xfrm>
            <a:off x="4683760" y="5028201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14496DD-EB04-CA87-D61C-45FE054D7918}"/>
              </a:ext>
            </a:extLst>
          </p:cNvPr>
          <p:cNvCxnSpPr/>
          <p:nvPr userDrawn="1"/>
        </p:nvCxnSpPr>
        <p:spPr>
          <a:xfrm>
            <a:off x="4683760" y="3907745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734A481B-FE95-0D8F-3DA0-8424085FEB02}"/>
              </a:ext>
            </a:extLst>
          </p:cNvPr>
          <p:cNvCxnSpPr/>
          <p:nvPr userDrawn="1"/>
        </p:nvCxnSpPr>
        <p:spPr>
          <a:xfrm>
            <a:off x="4683760" y="4467973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C5E58F99-4950-7E1B-730C-BBB51E0CA0EA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161280" y="5188634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FCC3E068-CB5B-9C71-7831-FF2B7AF10D7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61280" y="5748310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01048860-EBD7-1469-69CB-31F301E7AF4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678365" y="5188634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AD751179-54BF-A39B-7F47-219904227EB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678365" y="5748310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9986F41-4468-0CC2-AA85-2D97CF903A76}"/>
              </a:ext>
            </a:extLst>
          </p:cNvPr>
          <p:cNvCxnSpPr/>
          <p:nvPr userDrawn="1"/>
        </p:nvCxnSpPr>
        <p:spPr>
          <a:xfrm>
            <a:off x="4683760" y="5588426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 Placeholder 7">
            <a:extLst>
              <a:ext uri="{FF2B5EF4-FFF2-40B4-BE49-F238E27FC236}">
                <a16:creationId xmlns:a16="http://schemas.microsoft.com/office/drawing/2014/main" id="{5E47671A-7193-F115-335F-7F81F6692108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914384" y="709131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6" name="Text Placeholder 7">
            <a:extLst>
              <a:ext uri="{FF2B5EF4-FFF2-40B4-BE49-F238E27FC236}">
                <a16:creationId xmlns:a16="http://schemas.microsoft.com/office/drawing/2014/main" id="{58052F57-46BA-5BCA-646A-BF4DB2FD2A0B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914384" y="1273143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7" name="Text Placeholder 7">
            <a:extLst>
              <a:ext uri="{FF2B5EF4-FFF2-40B4-BE49-F238E27FC236}">
                <a16:creationId xmlns:a16="http://schemas.microsoft.com/office/drawing/2014/main" id="{146FB5CB-C80A-DEDC-8232-6257456AF665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8914384" y="1832075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8" name="Text Placeholder 7">
            <a:extLst>
              <a:ext uri="{FF2B5EF4-FFF2-40B4-BE49-F238E27FC236}">
                <a16:creationId xmlns:a16="http://schemas.microsoft.com/office/drawing/2014/main" id="{C5D45E84-8074-AA03-7271-25F21C58CFFE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8914384" y="2391007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9" name="Text Placeholder 7">
            <a:extLst>
              <a:ext uri="{FF2B5EF4-FFF2-40B4-BE49-F238E27FC236}">
                <a16:creationId xmlns:a16="http://schemas.microsoft.com/office/drawing/2014/main" id="{8F01BE2A-9270-E6F6-5F99-44B56DC6576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8914384" y="2950436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" name="Text Placeholder 7">
            <a:extLst>
              <a:ext uri="{FF2B5EF4-FFF2-40B4-BE49-F238E27FC236}">
                <a16:creationId xmlns:a16="http://schemas.microsoft.com/office/drawing/2014/main" id="{E58A412E-5960-202A-37D7-5031CC0F7037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8914384" y="3508098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1" name="Text Placeholder 7">
            <a:extLst>
              <a:ext uri="{FF2B5EF4-FFF2-40B4-BE49-F238E27FC236}">
                <a16:creationId xmlns:a16="http://schemas.microsoft.com/office/drawing/2014/main" id="{47876B55-ED56-0F8E-FF13-FE599A4E6501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8914384" y="4069570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2" name="Text Placeholder 7">
            <a:extLst>
              <a:ext uri="{FF2B5EF4-FFF2-40B4-BE49-F238E27FC236}">
                <a16:creationId xmlns:a16="http://schemas.microsoft.com/office/drawing/2014/main" id="{7BEE7469-6688-2E78-BB19-A3E75D35DDC7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8914384" y="4629246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Text Placeholder 7">
            <a:extLst>
              <a:ext uri="{FF2B5EF4-FFF2-40B4-BE49-F238E27FC236}">
                <a16:creationId xmlns:a16="http://schemas.microsoft.com/office/drawing/2014/main" id="{EFE62FBB-732D-F184-AD68-BDF81039DB3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431469" y="709131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84" name="Text Placeholder 7">
            <a:extLst>
              <a:ext uri="{FF2B5EF4-FFF2-40B4-BE49-F238E27FC236}">
                <a16:creationId xmlns:a16="http://schemas.microsoft.com/office/drawing/2014/main" id="{79AA1B99-A482-5D4A-E5BD-E935BAC7F6B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431469" y="1273143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85" name="Text Placeholder 7">
            <a:extLst>
              <a:ext uri="{FF2B5EF4-FFF2-40B4-BE49-F238E27FC236}">
                <a16:creationId xmlns:a16="http://schemas.microsoft.com/office/drawing/2014/main" id="{0B4E7ECE-4E17-FD12-80FD-7D8514F8651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431469" y="1832075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86" name="Text Placeholder 7">
            <a:extLst>
              <a:ext uri="{FF2B5EF4-FFF2-40B4-BE49-F238E27FC236}">
                <a16:creationId xmlns:a16="http://schemas.microsoft.com/office/drawing/2014/main" id="{26F18B21-B2B9-513D-EE56-7C123BBC30E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431469" y="2391007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87" name="Text Placeholder 7">
            <a:extLst>
              <a:ext uri="{FF2B5EF4-FFF2-40B4-BE49-F238E27FC236}">
                <a16:creationId xmlns:a16="http://schemas.microsoft.com/office/drawing/2014/main" id="{545E1A05-D18E-1B39-B130-0B5373DF3CCF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8431469" y="2950436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88" name="Text Placeholder 7">
            <a:extLst>
              <a:ext uri="{FF2B5EF4-FFF2-40B4-BE49-F238E27FC236}">
                <a16:creationId xmlns:a16="http://schemas.microsoft.com/office/drawing/2014/main" id="{53FD3FA8-F7AA-9A96-9373-2471420EDFC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431469" y="3508098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89" name="Text Placeholder 7">
            <a:extLst>
              <a:ext uri="{FF2B5EF4-FFF2-40B4-BE49-F238E27FC236}">
                <a16:creationId xmlns:a16="http://schemas.microsoft.com/office/drawing/2014/main" id="{514F6B5C-F7CA-EE6E-9D8A-889974CF144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431469" y="4069570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90" name="Text Placeholder 7">
            <a:extLst>
              <a:ext uri="{FF2B5EF4-FFF2-40B4-BE49-F238E27FC236}">
                <a16:creationId xmlns:a16="http://schemas.microsoft.com/office/drawing/2014/main" id="{AB26ACFE-390C-FA98-6F7E-30F5880F5136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431469" y="4629246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BCA728BD-EB20-0200-30AA-CC2E8BE2C31C}"/>
              </a:ext>
            </a:extLst>
          </p:cNvPr>
          <p:cNvCxnSpPr/>
          <p:nvPr userDrawn="1"/>
        </p:nvCxnSpPr>
        <p:spPr>
          <a:xfrm>
            <a:off x="8436864" y="546377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A54F484E-1062-96FB-9772-A33DDC7DB459}"/>
              </a:ext>
            </a:extLst>
          </p:cNvPr>
          <p:cNvCxnSpPr>
            <a:cxnSpLocks/>
          </p:cNvCxnSpPr>
          <p:nvPr userDrawn="1"/>
        </p:nvCxnSpPr>
        <p:spPr>
          <a:xfrm>
            <a:off x="8436864" y="1106605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BA33404F-EA55-B570-58DC-A80E91C15CD5}"/>
              </a:ext>
            </a:extLst>
          </p:cNvPr>
          <p:cNvCxnSpPr>
            <a:cxnSpLocks/>
          </p:cNvCxnSpPr>
          <p:nvPr userDrawn="1"/>
        </p:nvCxnSpPr>
        <p:spPr>
          <a:xfrm>
            <a:off x="8436864" y="1666833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04C10450-0952-FCD7-218B-B1BA64F421A9}"/>
              </a:ext>
            </a:extLst>
          </p:cNvPr>
          <p:cNvCxnSpPr/>
          <p:nvPr userDrawn="1"/>
        </p:nvCxnSpPr>
        <p:spPr>
          <a:xfrm>
            <a:off x="8436864" y="2227061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F1D5D0B1-C9B7-70FA-D9F7-DB03909DAAB7}"/>
              </a:ext>
            </a:extLst>
          </p:cNvPr>
          <p:cNvCxnSpPr/>
          <p:nvPr userDrawn="1"/>
        </p:nvCxnSpPr>
        <p:spPr>
          <a:xfrm>
            <a:off x="8436864" y="2787289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4FE577B5-4E77-70F1-C858-26D7AAE05243}"/>
              </a:ext>
            </a:extLst>
          </p:cNvPr>
          <p:cNvCxnSpPr/>
          <p:nvPr userDrawn="1"/>
        </p:nvCxnSpPr>
        <p:spPr>
          <a:xfrm>
            <a:off x="8436864" y="3347517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C297698A-53AE-29B0-F1D7-AB8AD65FF4AF}"/>
              </a:ext>
            </a:extLst>
          </p:cNvPr>
          <p:cNvCxnSpPr/>
          <p:nvPr userDrawn="1"/>
        </p:nvCxnSpPr>
        <p:spPr>
          <a:xfrm>
            <a:off x="8436864" y="5028201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D4626EA3-4976-72B0-B21B-847D38BBC037}"/>
              </a:ext>
            </a:extLst>
          </p:cNvPr>
          <p:cNvCxnSpPr/>
          <p:nvPr userDrawn="1"/>
        </p:nvCxnSpPr>
        <p:spPr>
          <a:xfrm>
            <a:off x="8436864" y="3907745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933B1D61-7000-1613-792E-D419F44A721D}"/>
              </a:ext>
            </a:extLst>
          </p:cNvPr>
          <p:cNvCxnSpPr/>
          <p:nvPr userDrawn="1"/>
        </p:nvCxnSpPr>
        <p:spPr>
          <a:xfrm>
            <a:off x="8436864" y="4467973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 Placeholder 7">
            <a:extLst>
              <a:ext uri="{FF2B5EF4-FFF2-40B4-BE49-F238E27FC236}">
                <a16:creationId xmlns:a16="http://schemas.microsoft.com/office/drawing/2014/main" id="{A9DCFA3D-2D63-9C11-626F-009081F37163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8914384" y="5188634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1" name="Text Placeholder 7">
            <a:extLst>
              <a:ext uri="{FF2B5EF4-FFF2-40B4-BE49-F238E27FC236}">
                <a16:creationId xmlns:a16="http://schemas.microsoft.com/office/drawing/2014/main" id="{A39E1836-28CF-5341-A972-EA3BA17B52BF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8914384" y="5748310"/>
            <a:ext cx="2641598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2" name="Text Placeholder 7">
            <a:extLst>
              <a:ext uri="{FF2B5EF4-FFF2-40B4-BE49-F238E27FC236}">
                <a16:creationId xmlns:a16="http://schemas.microsoft.com/office/drawing/2014/main" id="{C5053EC7-3723-6190-C161-169DC1E5DD7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431469" y="5188634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03" name="Text Placeholder 7">
            <a:extLst>
              <a:ext uri="{FF2B5EF4-FFF2-40B4-BE49-F238E27FC236}">
                <a16:creationId xmlns:a16="http://schemas.microsoft.com/office/drawing/2014/main" id="{984AB201-4E11-E823-D4F7-476E854E3AA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8431469" y="5748310"/>
            <a:ext cx="386079" cy="349250"/>
          </a:xfrm>
        </p:spPr>
        <p:txBody>
          <a:bodyPr>
            <a:noAutofit/>
          </a:bodyPr>
          <a:lstStyle>
            <a:lvl1pPr algn="l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19C9D6FF-7925-3B79-A3F7-1AF23F4C080D}"/>
              </a:ext>
            </a:extLst>
          </p:cNvPr>
          <p:cNvCxnSpPr/>
          <p:nvPr userDrawn="1"/>
        </p:nvCxnSpPr>
        <p:spPr>
          <a:xfrm>
            <a:off x="8436864" y="5588426"/>
            <a:ext cx="314553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610155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ed Lis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2F6F618-CF2E-13EA-0DF7-5CBE80F733F0}"/>
              </a:ext>
            </a:extLst>
          </p:cNvPr>
          <p:cNvSpPr/>
          <p:nvPr/>
        </p:nvSpPr>
        <p:spPr>
          <a:xfrm>
            <a:off x="0" y="0"/>
            <a:ext cx="406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556BBD-E905-984B-4075-604E21C91A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2844800" cy="1000402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71143EDC-4B43-463B-C8D7-7625E5355C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813242"/>
            <a:ext cx="2843784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2" name="Text Placeholder 35">
            <a:extLst>
              <a:ext uri="{FF2B5EF4-FFF2-40B4-BE49-F238E27FC236}">
                <a16:creationId xmlns:a16="http://schemas.microsoft.com/office/drawing/2014/main" id="{6411CE3E-CF5E-1A4F-C684-DD36FC3031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" y="2476503"/>
            <a:ext cx="2843783" cy="292608"/>
          </a:xfrm>
        </p:spPr>
        <p:txBody>
          <a:bodyPr anchor="t">
            <a:noAutofit/>
          </a:bodyPr>
          <a:lstStyle>
            <a:lvl1pPr>
              <a:spcAft>
                <a:spcPts val="1200"/>
              </a:spcAft>
              <a:defRPr sz="1400" b="1" cap="all" spc="300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DDF3BDE-4A54-41C8-10FC-69B08AE6B99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677663" y="553997"/>
            <a:ext cx="3145536" cy="5618202"/>
          </a:xfrm>
        </p:spPr>
        <p:txBody>
          <a:bodyPr>
            <a:noAutofit/>
          </a:bodyPr>
          <a:lstStyle>
            <a:lvl1pPr marL="182880" indent="-182880">
              <a:spcAft>
                <a:spcPts val="900"/>
              </a:spcAft>
              <a:buFont typeface="Arial" panose="020B0604020202020204" pitchFamily="34" charset="0"/>
              <a:buChar char="•"/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ECA029A4-033F-F1AD-7DA5-37222638AB5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436864" y="553997"/>
            <a:ext cx="3145536" cy="5618202"/>
          </a:xfrm>
        </p:spPr>
        <p:txBody>
          <a:bodyPr>
            <a:noAutofit/>
          </a:bodyPr>
          <a:lstStyle>
            <a:lvl1pPr marL="182880" indent="-182880">
              <a:spcAft>
                <a:spcPts val="900"/>
              </a:spcAft>
              <a:buFont typeface="Arial" panose="020B0604020202020204" pitchFamily="34" charset="0"/>
              <a:buChar char="•"/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13">
            <a:extLst>
              <a:ext uri="{FF2B5EF4-FFF2-40B4-BE49-F238E27FC236}">
                <a16:creationId xmlns:a16="http://schemas.microsoft.com/office/drawing/2014/main" id="{E81C2C82-98A2-C7FB-445B-86F4D738263E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609600" y="6566085"/>
            <a:ext cx="284378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3DE3797-A47A-C183-05E6-01133D289C78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4064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403BD6AD-90DB-79A5-E68E-D51E7258BC0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38027"/>
            <a:ext cx="2843782" cy="153888"/>
          </a:xfrm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5F1349B-9632-CF50-3847-363E87A5E570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4064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0B9E1423-2A39-F742-D076-4FC2FF2633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FF2EEA-635A-FFF6-FCE1-B3EF9F77088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09600" y="2862072"/>
            <a:ext cx="2843213" cy="213969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  <a:lvl3pPr marL="182880" indent="0">
              <a:buNone/>
              <a:defRPr sz="1600">
                <a:solidFill>
                  <a:schemeClr val="bg1"/>
                </a:solidFill>
              </a:defRPr>
            </a:lvl3pPr>
            <a:lvl4pPr marL="365760" indent="0">
              <a:buNone/>
              <a:defRPr sz="1600">
                <a:solidFill>
                  <a:schemeClr val="bg1"/>
                </a:solidFill>
              </a:defRPr>
            </a:lvl4pPr>
            <a:lvl5pPr marL="54864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600339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44">
            <a:extLst>
              <a:ext uri="{FF2B5EF4-FFF2-40B4-BE49-F238E27FC236}">
                <a16:creationId xmlns:a16="http://schemas.microsoft.com/office/drawing/2014/main" id="{60FE08F7-7923-25E3-9EA0-3AA8E7EDEAB2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577701" y="1981968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Picture Placeholder 44">
            <a:extLst>
              <a:ext uri="{FF2B5EF4-FFF2-40B4-BE49-F238E27FC236}">
                <a16:creationId xmlns:a16="http://schemas.microsoft.com/office/drawing/2014/main" id="{1063C6E9-E6BD-D1B4-9AC7-855E6CE8BA25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577701" y="3087755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44">
            <a:extLst>
              <a:ext uri="{FF2B5EF4-FFF2-40B4-BE49-F238E27FC236}">
                <a16:creationId xmlns:a16="http://schemas.microsoft.com/office/drawing/2014/main" id="{F499B38D-38B5-7F85-7F74-FBFA68AA8C87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577701" y="4214806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Picture Placeholder 44">
            <a:extLst>
              <a:ext uri="{FF2B5EF4-FFF2-40B4-BE49-F238E27FC236}">
                <a16:creationId xmlns:a16="http://schemas.microsoft.com/office/drawing/2014/main" id="{7F790084-AD9F-370B-0483-ECA61BE5993C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577701" y="5320592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Picture Placeholder 44">
            <a:extLst>
              <a:ext uri="{FF2B5EF4-FFF2-40B4-BE49-F238E27FC236}">
                <a16:creationId xmlns:a16="http://schemas.microsoft.com/office/drawing/2014/main" id="{AFCFF63D-D6FF-C3FF-3114-6B37AB29CA0F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6383078" y="1981968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2" name="Picture Placeholder 44">
            <a:extLst>
              <a:ext uri="{FF2B5EF4-FFF2-40B4-BE49-F238E27FC236}">
                <a16:creationId xmlns:a16="http://schemas.microsoft.com/office/drawing/2014/main" id="{6467D23E-5594-CC52-9978-CD20B41707D0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6383078" y="3087755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Picture Placeholder 44">
            <a:extLst>
              <a:ext uri="{FF2B5EF4-FFF2-40B4-BE49-F238E27FC236}">
                <a16:creationId xmlns:a16="http://schemas.microsoft.com/office/drawing/2014/main" id="{A9C41153-FFFB-B8A5-C129-F46C1642A7DD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383078" y="4214806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2" name="Picture Placeholder 44">
            <a:extLst>
              <a:ext uri="{FF2B5EF4-FFF2-40B4-BE49-F238E27FC236}">
                <a16:creationId xmlns:a16="http://schemas.microsoft.com/office/drawing/2014/main" id="{FCAABB65-6A21-2CBD-501C-D3817B751B01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6383078" y="5320592"/>
            <a:ext cx="521208" cy="52120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92DA3C-B400-7D96-D4FF-167A22E276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11A311-108E-39FF-FC73-01F17930D7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44F176-916E-708A-80E0-D930659536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E3BE2C7-99A3-5297-A35C-91C6A5C57AD8}"/>
              </a:ext>
            </a:extLst>
          </p:cNvPr>
          <p:cNvCxnSpPr>
            <a:cxnSpLocks/>
          </p:cNvCxnSpPr>
          <p:nvPr/>
        </p:nvCxnSpPr>
        <p:spPr>
          <a:xfrm flipH="1">
            <a:off x="609600" y="2792886"/>
            <a:ext cx="51816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960142E-EDAD-DFFA-9C01-1F67C216F750}"/>
              </a:ext>
            </a:extLst>
          </p:cNvPr>
          <p:cNvCxnSpPr>
            <a:cxnSpLocks/>
          </p:cNvCxnSpPr>
          <p:nvPr/>
        </p:nvCxnSpPr>
        <p:spPr>
          <a:xfrm flipH="1">
            <a:off x="609600" y="3911326"/>
            <a:ext cx="51816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0906117-86F4-9D4F-B178-CC975C116517}"/>
              </a:ext>
            </a:extLst>
          </p:cNvPr>
          <p:cNvCxnSpPr>
            <a:cxnSpLocks/>
          </p:cNvCxnSpPr>
          <p:nvPr/>
        </p:nvCxnSpPr>
        <p:spPr>
          <a:xfrm flipH="1">
            <a:off x="609600" y="5029766"/>
            <a:ext cx="51816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9B99F69-F56C-11B7-D0C6-91FE1BC33E24}"/>
              </a:ext>
            </a:extLst>
          </p:cNvPr>
          <p:cNvCxnSpPr>
            <a:cxnSpLocks/>
          </p:cNvCxnSpPr>
          <p:nvPr/>
        </p:nvCxnSpPr>
        <p:spPr>
          <a:xfrm flipH="1">
            <a:off x="6400800" y="2792886"/>
            <a:ext cx="51816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CA7D41F-C82E-2D14-195D-E005F0D8A477}"/>
              </a:ext>
            </a:extLst>
          </p:cNvPr>
          <p:cNvCxnSpPr>
            <a:cxnSpLocks/>
          </p:cNvCxnSpPr>
          <p:nvPr/>
        </p:nvCxnSpPr>
        <p:spPr>
          <a:xfrm flipH="1">
            <a:off x="6400800" y="3911326"/>
            <a:ext cx="51816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D663618-2FF9-3477-3DD8-C7DD916ECF39}"/>
              </a:ext>
            </a:extLst>
          </p:cNvPr>
          <p:cNvCxnSpPr>
            <a:cxnSpLocks/>
          </p:cNvCxnSpPr>
          <p:nvPr/>
        </p:nvCxnSpPr>
        <p:spPr>
          <a:xfrm flipH="1">
            <a:off x="6400800" y="5029766"/>
            <a:ext cx="51816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E8837E46-BA2C-9DF4-36FC-0763BF0A22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EF7D62BA-55BB-D3B6-13AD-F9D47B2F213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383792" y="1864334"/>
            <a:ext cx="4407408" cy="740664"/>
          </a:xfrm>
        </p:spPr>
        <p:txBody>
          <a:bodyPr anchor="ctr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33">
            <a:extLst>
              <a:ext uri="{FF2B5EF4-FFF2-40B4-BE49-F238E27FC236}">
                <a16:creationId xmlns:a16="http://schemas.microsoft.com/office/drawing/2014/main" id="{6C80C541-0250-9D84-391B-A21069927EB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383792" y="2980774"/>
            <a:ext cx="4407408" cy="740664"/>
          </a:xfrm>
        </p:spPr>
        <p:txBody>
          <a:bodyPr anchor="ctr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8BF74CDA-28C4-4C08-66B3-14A69F5CF3C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383792" y="4099214"/>
            <a:ext cx="4407408" cy="740664"/>
          </a:xfrm>
        </p:spPr>
        <p:txBody>
          <a:bodyPr anchor="ctr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7F33184B-9DE0-482E-55CA-0C2AE9FCEC4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383792" y="5217656"/>
            <a:ext cx="4407408" cy="740664"/>
          </a:xfrm>
        </p:spPr>
        <p:txBody>
          <a:bodyPr anchor="ctr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33">
            <a:extLst>
              <a:ext uri="{FF2B5EF4-FFF2-40B4-BE49-F238E27FC236}">
                <a16:creationId xmlns:a16="http://schemas.microsoft.com/office/drawing/2014/main" id="{276468C7-4A14-A8A8-5CE7-4B21B6E420E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174992" y="1864334"/>
            <a:ext cx="4407408" cy="740664"/>
          </a:xfrm>
        </p:spPr>
        <p:txBody>
          <a:bodyPr anchor="ctr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33">
            <a:extLst>
              <a:ext uri="{FF2B5EF4-FFF2-40B4-BE49-F238E27FC236}">
                <a16:creationId xmlns:a16="http://schemas.microsoft.com/office/drawing/2014/main" id="{E6C2CA8D-6C05-00B3-E5CA-FD18970B837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174992" y="2980774"/>
            <a:ext cx="4407408" cy="740664"/>
          </a:xfrm>
        </p:spPr>
        <p:txBody>
          <a:bodyPr anchor="ctr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33">
            <a:extLst>
              <a:ext uri="{FF2B5EF4-FFF2-40B4-BE49-F238E27FC236}">
                <a16:creationId xmlns:a16="http://schemas.microsoft.com/office/drawing/2014/main" id="{1944A092-782F-7703-C417-89A3E3F29CD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174992" y="4099214"/>
            <a:ext cx="4407408" cy="740664"/>
          </a:xfrm>
        </p:spPr>
        <p:txBody>
          <a:bodyPr anchor="ctr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33">
            <a:extLst>
              <a:ext uri="{FF2B5EF4-FFF2-40B4-BE49-F238E27FC236}">
                <a16:creationId xmlns:a16="http://schemas.microsoft.com/office/drawing/2014/main" id="{CD79B6C8-CDF7-D553-A358-90821D8DD524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174992" y="5217656"/>
            <a:ext cx="4407408" cy="740664"/>
          </a:xfrm>
        </p:spPr>
        <p:txBody>
          <a:bodyPr anchor="ctr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3A75833F-071D-1C82-482F-24D6ACC65F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CAADD96C-253C-8A15-2B0F-E9E97387A912}"/>
              </a:ext>
            </a:extLst>
          </p:cNvPr>
          <p:cNvSpPr>
            <a:spLocks noGrp="1"/>
          </p:cNvSpPr>
          <p:nvPr>
            <p:ph type="dt" sz="half" idx="44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E484552C-B576-4762-A571-B5CA76484FB7}" type="datetime4">
              <a:rPr lang="en-US" smtClean="0"/>
              <a:t>October 23, 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98924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1 - White Text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aphic 7">
            <a:extLst>
              <a:ext uri="{FF2B5EF4-FFF2-40B4-BE49-F238E27FC236}">
                <a16:creationId xmlns:a16="http://schemas.microsoft.com/office/drawing/2014/main" id="{C5A0A539-4BAC-8953-4BBA-6D59087AD769}"/>
              </a:ext>
            </a:extLst>
          </p:cNvPr>
          <p:cNvGrpSpPr/>
          <p:nvPr userDrawn="1"/>
        </p:nvGrpSpPr>
        <p:grpSpPr>
          <a:xfrm>
            <a:off x="609600" y="557212"/>
            <a:ext cx="1729317" cy="437558"/>
            <a:chOff x="609600" y="557212"/>
            <a:chExt cx="2670098" cy="675598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CABD304E-130C-E81B-7AD9-4DF1D35529F5}"/>
                </a:ext>
              </a:extLst>
            </p:cNvPr>
            <p:cNvSpPr/>
            <p:nvPr/>
          </p:nvSpPr>
          <p:spPr>
            <a:xfrm>
              <a:off x="1181182" y="790634"/>
              <a:ext cx="2098515" cy="283771"/>
            </a:xfrm>
            <a:custGeom>
              <a:avLst/>
              <a:gdLst>
                <a:gd name="connsiteX0" fmla="*/ 129551 w 2098515"/>
                <a:gd name="connsiteY0" fmla="*/ 283771 h 283771"/>
                <a:gd name="connsiteX1" fmla="*/ 77038 w 2098515"/>
                <a:gd name="connsiteY1" fmla="*/ 273817 h 283771"/>
                <a:gd name="connsiteX2" fmla="*/ 36644 w 2098515"/>
                <a:gd name="connsiteY2" fmla="*/ 245685 h 283771"/>
                <a:gd name="connsiteX3" fmla="*/ 9377 w 2098515"/>
                <a:gd name="connsiteY3" fmla="*/ 199953 h 283771"/>
                <a:gd name="connsiteX4" fmla="*/ 0 w 2098515"/>
                <a:gd name="connsiteY4" fmla="*/ 142391 h 283771"/>
                <a:gd name="connsiteX5" fmla="*/ 10531 w 2098515"/>
                <a:gd name="connsiteY5" fmla="*/ 82809 h 283771"/>
                <a:gd name="connsiteX6" fmla="*/ 40395 w 2098515"/>
                <a:gd name="connsiteY6" fmla="*/ 36211 h 283771"/>
                <a:gd name="connsiteX7" fmla="*/ 80789 w 2098515"/>
                <a:gd name="connsiteY7" fmla="*/ 9522 h 283771"/>
                <a:gd name="connsiteX8" fmla="*/ 133735 w 2098515"/>
                <a:gd name="connsiteY8" fmla="*/ 0 h 283771"/>
                <a:gd name="connsiteX9" fmla="*/ 180910 w 2098515"/>
                <a:gd name="connsiteY9" fmla="*/ 6636 h 283771"/>
                <a:gd name="connsiteX10" fmla="*/ 217121 w 2098515"/>
                <a:gd name="connsiteY10" fmla="*/ 25679 h 283771"/>
                <a:gd name="connsiteX11" fmla="*/ 241646 w 2098515"/>
                <a:gd name="connsiteY11" fmla="*/ 55542 h 283771"/>
                <a:gd name="connsiteX12" fmla="*/ 254341 w 2098515"/>
                <a:gd name="connsiteY12" fmla="*/ 94350 h 283771"/>
                <a:gd name="connsiteX13" fmla="*/ 188844 w 2098515"/>
                <a:gd name="connsiteY13" fmla="*/ 94350 h 283771"/>
                <a:gd name="connsiteX14" fmla="*/ 171677 w 2098515"/>
                <a:gd name="connsiteY14" fmla="*/ 66507 h 283771"/>
                <a:gd name="connsiteX15" fmla="*/ 135899 w 2098515"/>
                <a:gd name="connsiteY15" fmla="*/ 55398 h 283771"/>
                <a:gd name="connsiteX16" fmla="*/ 106324 w 2098515"/>
                <a:gd name="connsiteY16" fmla="*/ 62034 h 283771"/>
                <a:gd name="connsiteX17" fmla="*/ 85117 w 2098515"/>
                <a:gd name="connsiteY17" fmla="*/ 80356 h 283771"/>
                <a:gd name="connsiteX18" fmla="*/ 72566 w 2098515"/>
                <a:gd name="connsiteY18" fmla="*/ 107767 h 283771"/>
                <a:gd name="connsiteX19" fmla="*/ 68382 w 2098515"/>
                <a:gd name="connsiteY19" fmla="*/ 142246 h 283771"/>
                <a:gd name="connsiteX20" fmla="*/ 73143 w 2098515"/>
                <a:gd name="connsiteY20" fmla="*/ 176870 h 283771"/>
                <a:gd name="connsiteX21" fmla="*/ 86704 w 2098515"/>
                <a:gd name="connsiteY21" fmla="*/ 204425 h 283771"/>
                <a:gd name="connsiteX22" fmla="*/ 108200 w 2098515"/>
                <a:gd name="connsiteY22" fmla="*/ 222458 h 283771"/>
                <a:gd name="connsiteX23" fmla="*/ 136909 w 2098515"/>
                <a:gd name="connsiteY23" fmla="*/ 228950 h 283771"/>
                <a:gd name="connsiteX24" fmla="*/ 160712 w 2098515"/>
                <a:gd name="connsiteY24" fmla="*/ 224911 h 283771"/>
                <a:gd name="connsiteX25" fmla="*/ 178601 w 2098515"/>
                <a:gd name="connsiteY25" fmla="*/ 214235 h 283771"/>
                <a:gd name="connsiteX26" fmla="*/ 190431 w 2098515"/>
                <a:gd name="connsiteY26" fmla="*/ 198943 h 283771"/>
                <a:gd name="connsiteX27" fmla="*/ 195913 w 2098515"/>
                <a:gd name="connsiteY27" fmla="*/ 181198 h 283771"/>
                <a:gd name="connsiteX28" fmla="*/ 195913 w 2098515"/>
                <a:gd name="connsiteY28" fmla="*/ 180477 h 283771"/>
                <a:gd name="connsiteX29" fmla="*/ 144843 w 2098515"/>
                <a:gd name="connsiteY29" fmla="*/ 180477 h 283771"/>
                <a:gd name="connsiteX30" fmla="*/ 144843 w 2098515"/>
                <a:gd name="connsiteY30" fmla="*/ 130994 h 283771"/>
                <a:gd name="connsiteX31" fmla="*/ 258381 w 2098515"/>
                <a:gd name="connsiteY31" fmla="*/ 130994 h 283771"/>
                <a:gd name="connsiteX32" fmla="*/ 258381 w 2098515"/>
                <a:gd name="connsiteY32" fmla="*/ 277279 h 283771"/>
                <a:gd name="connsiteX33" fmla="*/ 211206 w 2098515"/>
                <a:gd name="connsiteY33" fmla="*/ 277279 h 283771"/>
                <a:gd name="connsiteX34" fmla="*/ 207455 w 2098515"/>
                <a:gd name="connsiteY34" fmla="*/ 244531 h 283771"/>
                <a:gd name="connsiteX35" fmla="*/ 206733 w 2098515"/>
                <a:gd name="connsiteY35" fmla="*/ 244531 h 283771"/>
                <a:gd name="connsiteX36" fmla="*/ 173841 w 2098515"/>
                <a:gd name="connsiteY36" fmla="*/ 274394 h 283771"/>
                <a:gd name="connsiteX37" fmla="*/ 129407 w 2098515"/>
                <a:gd name="connsiteY37" fmla="*/ 283339 h 283771"/>
                <a:gd name="connsiteX38" fmla="*/ 358357 w 2098515"/>
                <a:gd name="connsiteY38" fmla="*/ 282906 h 283771"/>
                <a:gd name="connsiteX39" fmla="*/ 307143 w 2098515"/>
                <a:gd name="connsiteY39" fmla="*/ 262853 h 283771"/>
                <a:gd name="connsiteX40" fmla="*/ 289831 w 2098515"/>
                <a:gd name="connsiteY40" fmla="*/ 210051 h 283771"/>
                <a:gd name="connsiteX41" fmla="*/ 289831 w 2098515"/>
                <a:gd name="connsiteY41" fmla="*/ 82087 h 283771"/>
                <a:gd name="connsiteX42" fmla="*/ 351577 w 2098515"/>
                <a:gd name="connsiteY42" fmla="*/ 82087 h 283771"/>
                <a:gd name="connsiteX43" fmla="*/ 351577 w 2098515"/>
                <a:gd name="connsiteY43" fmla="*/ 197212 h 283771"/>
                <a:gd name="connsiteX44" fmla="*/ 358790 w 2098515"/>
                <a:gd name="connsiteY44" fmla="*/ 221737 h 283771"/>
                <a:gd name="connsiteX45" fmla="*/ 380863 w 2098515"/>
                <a:gd name="connsiteY45" fmla="*/ 230249 h 283771"/>
                <a:gd name="connsiteX46" fmla="*/ 405965 w 2098515"/>
                <a:gd name="connsiteY46" fmla="*/ 219429 h 283771"/>
                <a:gd name="connsiteX47" fmla="*/ 415054 w 2098515"/>
                <a:gd name="connsiteY47" fmla="*/ 191008 h 283771"/>
                <a:gd name="connsiteX48" fmla="*/ 415054 w 2098515"/>
                <a:gd name="connsiteY48" fmla="*/ 82087 h 283771"/>
                <a:gd name="connsiteX49" fmla="*/ 477088 w 2098515"/>
                <a:gd name="connsiteY49" fmla="*/ 82087 h 283771"/>
                <a:gd name="connsiteX50" fmla="*/ 477088 w 2098515"/>
                <a:gd name="connsiteY50" fmla="*/ 277135 h 283771"/>
                <a:gd name="connsiteX51" fmla="*/ 417650 w 2098515"/>
                <a:gd name="connsiteY51" fmla="*/ 277135 h 283771"/>
                <a:gd name="connsiteX52" fmla="*/ 417650 w 2098515"/>
                <a:gd name="connsiteY52" fmla="*/ 253187 h 283771"/>
                <a:gd name="connsiteX53" fmla="*/ 416496 w 2098515"/>
                <a:gd name="connsiteY53" fmla="*/ 253187 h 283771"/>
                <a:gd name="connsiteX54" fmla="*/ 392260 w 2098515"/>
                <a:gd name="connsiteY54" fmla="*/ 275260 h 283771"/>
                <a:gd name="connsiteX55" fmla="*/ 358213 w 2098515"/>
                <a:gd name="connsiteY55" fmla="*/ 282906 h 283771"/>
                <a:gd name="connsiteX56" fmla="*/ 512433 w 2098515"/>
                <a:gd name="connsiteY56" fmla="*/ 2164 h 283771"/>
                <a:gd name="connsiteX57" fmla="*/ 574468 w 2098515"/>
                <a:gd name="connsiteY57" fmla="*/ 2164 h 283771"/>
                <a:gd name="connsiteX58" fmla="*/ 574468 w 2098515"/>
                <a:gd name="connsiteY58" fmla="*/ 55110 h 283771"/>
                <a:gd name="connsiteX59" fmla="*/ 512433 w 2098515"/>
                <a:gd name="connsiteY59" fmla="*/ 55110 h 283771"/>
                <a:gd name="connsiteX60" fmla="*/ 512433 w 2098515"/>
                <a:gd name="connsiteY60" fmla="*/ 2164 h 283771"/>
                <a:gd name="connsiteX61" fmla="*/ 512433 w 2098515"/>
                <a:gd name="connsiteY61" fmla="*/ 82087 h 283771"/>
                <a:gd name="connsiteX62" fmla="*/ 574468 w 2098515"/>
                <a:gd name="connsiteY62" fmla="*/ 82087 h 283771"/>
                <a:gd name="connsiteX63" fmla="*/ 574468 w 2098515"/>
                <a:gd name="connsiteY63" fmla="*/ 277135 h 283771"/>
                <a:gd name="connsiteX64" fmla="*/ 512433 w 2098515"/>
                <a:gd name="connsiteY64" fmla="*/ 277135 h 283771"/>
                <a:gd name="connsiteX65" fmla="*/ 512433 w 2098515"/>
                <a:gd name="connsiteY65" fmla="*/ 82087 h 283771"/>
                <a:gd name="connsiteX66" fmla="*/ 686563 w 2098515"/>
                <a:gd name="connsiteY66" fmla="*/ 283194 h 283771"/>
                <a:gd name="connsiteX67" fmla="*/ 652227 w 2098515"/>
                <a:gd name="connsiteY67" fmla="*/ 276125 h 283771"/>
                <a:gd name="connsiteX68" fmla="*/ 625249 w 2098515"/>
                <a:gd name="connsiteY68" fmla="*/ 255784 h 283771"/>
                <a:gd name="connsiteX69" fmla="*/ 607505 w 2098515"/>
                <a:gd name="connsiteY69" fmla="*/ 223180 h 283771"/>
                <a:gd name="connsiteX70" fmla="*/ 601157 w 2098515"/>
                <a:gd name="connsiteY70" fmla="*/ 179611 h 283771"/>
                <a:gd name="connsiteX71" fmla="*/ 607505 w 2098515"/>
                <a:gd name="connsiteY71" fmla="*/ 137630 h 283771"/>
                <a:gd name="connsiteX72" fmla="*/ 624961 w 2098515"/>
                <a:gd name="connsiteY72" fmla="*/ 105026 h 283771"/>
                <a:gd name="connsiteX73" fmla="*/ 651794 w 2098515"/>
                <a:gd name="connsiteY73" fmla="*/ 83819 h 283771"/>
                <a:gd name="connsiteX74" fmla="*/ 686418 w 2098515"/>
                <a:gd name="connsiteY74" fmla="*/ 76172 h 283771"/>
                <a:gd name="connsiteX75" fmla="*/ 719600 w 2098515"/>
                <a:gd name="connsiteY75" fmla="*/ 83963 h 283771"/>
                <a:gd name="connsiteX76" fmla="*/ 740951 w 2098515"/>
                <a:gd name="connsiteY76" fmla="*/ 104016 h 283771"/>
                <a:gd name="connsiteX77" fmla="*/ 742105 w 2098515"/>
                <a:gd name="connsiteY77" fmla="*/ 104016 h 283771"/>
                <a:gd name="connsiteX78" fmla="*/ 742105 w 2098515"/>
                <a:gd name="connsiteY78" fmla="*/ 1875 h 283771"/>
                <a:gd name="connsiteX79" fmla="*/ 804139 w 2098515"/>
                <a:gd name="connsiteY79" fmla="*/ 1875 h 283771"/>
                <a:gd name="connsiteX80" fmla="*/ 804139 w 2098515"/>
                <a:gd name="connsiteY80" fmla="*/ 276991 h 283771"/>
                <a:gd name="connsiteX81" fmla="*/ 744702 w 2098515"/>
                <a:gd name="connsiteY81" fmla="*/ 276991 h 283771"/>
                <a:gd name="connsiteX82" fmla="*/ 744702 w 2098515"/>
                <a:gd name="connsiteY82" fmla="*/ 250735 h 283771"/>
                <a:gd name="connsiteX83" fmla="*/ 743981 w 2098515"/>
                <a:gd name="connsiteY83" fmla="*/ 250735 h 283771"/>
                <a:gd name="connsiteX84" fmla="*/ 720609 w 2098515"/>
                <a:gd name="connsiteY84" fmla="*/ 274538 h 283771"/>
                <a:gd name="connsiteX85" fmla="*/ 686563 w 2098515"/>
                <a:gd name="connsiteY85" fmla="*/ 283050 h 283771"/>
                <a:gd name="connsiteX86" fmla="*/ 702576 w 2098515"/>
                <a:gd name="connsiteY86" fmla="*/ 233855 h 283771"/>
                <a:gd name="connsiteX87" fmla="*/ 732872 w 2098515"/>
                <a:gd name="connsiteY87" fmla="*/ 218563 h 283771"/>
                <a:gd name="connsiteX88" fmla="*/ 743692 w 2098515"/>
                <a:gd name="connsiteY88" fmla="*/ 179323 h 283771"/>
                <a:gd name="connsiteX89" fmla="*/ 741239 w 2098515"/>
                <a:gd name="connsiteY89" fmla="*/ 156673 h 283771"/>
                <a:gd name="connsiteX90" fmla="*/ 733593 w 2098515"/>
                <a:gd name="connsiteY90" fmla="*/ 138784 h 283771"/>
                <a:gd name="connsiteX91" fmla="*/ 721042 w 2098515"/>
                <a:gd name="connsiteY91" fmla="*/ 127098 h 283771"/>
                <a:gd name="connsiteX92" fmla="*/ 703297 w 2098515"/>
                <a:gd name="connsiteY92" fmla="*/ 122915 h 283771"/>
                <a:gd name="connsiteX93" fmla="*/ 674300 w 2098515"/>
                <a:gd name="connsiteY93" fmla="*/ 138351 h 283771"/>
                <a:gd name="connsiteX94" fmla="*/ 664057 w 2098515"/>
                <a:gd name="connsiteY94" fmla="*/ 178601 h 283771"/>
                <a:gd name="connsiteX95" fmla="*/ 674156 w 2098515"/>
                <a:gd name="connsiteY95" fmla="*/ 218996 h 283771"/>
                <a:gd name="connsiteX96" fmla="*/ 702576 w 2098515"/>
                <a:gd name="connsiteY96" fmla="*/ 233855 h 283771"/>
                <a:gd name="connsiteX97" fmla="*/ 931094 w 2098515"/>
                <a:gd name="connsiteY97" fmla="*/ 282617 h 283771"/>
                <a:gd name="connsiteX98" fmla="*/ 887670 w 2098515"/>
                <a:gd name="connsiteY98" fmla="*/ 274827 h 283771"/>
                <a:gd name="connsiteX99" fmla="*/ 854921 w 2098515"/>
                <a:gd name="connsiteY99" fmla="*/ 253043 h 283771"/>
                <a:gd name="connsiteX100" fmla="*/ 834291 w 2098515"/>
                <a:gd name="connsiteY100" fmla="*/ 220150 h 283771"/>
                <a:gd name="connsiteX101" fmla="*/ 827078 w 2098515"/>
                <a:gd name="connsiteY101" fmla="*/ 179034 h 283771"/>
                <a:gd name="connsiteX102" fmla="*/ 834291 w 2098515"/>
                <a:gd name="connsiteY102" fmla="*/ 138495 h 283771"/>
                <a:gd name="connsiteX103" fmla="*/ 854921 w 2098515"/>
                <a:gd name="connsiteY103" fmla="*/ 105747 h 283771"/>
                <a:gd name="connsiteX104" fmla="*/ 886515 w 2098515"/>
                <a:gd name="connsiteY104" fmla="*/ 84107 h 283771"/>
                <a:gd name="connsiteX105" fmla="*/ 927343 w 2098515"/>
                <a:gd name="connsiteY105" fmla="*/ 76317 h 283771"/>
                <a:gd name="connsiteX106" fmla="*/ 964852 w 2098515"/>
                <a:gd name="connsiteY106" fmla="*/ 82809 h 283771"/>
                <a:gd name="connsiteX107" fmla="*/ 993994 w 2098515"/>
                <a:gd name="connsiteY107" fmla="*/ 100698 h 283771"/>
                <a:gd name="connsiteX108" fmla="*/ 1020106 w 2098515"/>
                <a:gd name="connsiteY108" fmla="*/ 141237 h 283771"/>
                <a:gd name="connsiteX109" fmla="*/ 1028329 w 2098515"/>
                <a:gd name="connsiteY109" fmla="*/ 195481 h 283771"/>
                <a:gd name="connsiteX110" fmla="*/ 888102 w 2098515"/>
                <a:gd name="connsiteY110" fmla="*/ 195481 h 283771"/>
                <a:gd name="connsiteX111" fmla="*/ 901808 w 2098515"/>
                <a:gd name="connsiteY111" fmla="*/ 226786 h 283771"/>
                <a:gd name="connsiteX112" fmla="*/ 931959 w 2098515"/>
                <a:gd name="connsiteY112" fmla="*/ 238183 h 283771"/>
                <a:gd name="connsiteX113" fmla="*/ 952157 w 2098515"/>
                <a:gd name="connsiteY113" fmla="*/ 232990 h 283771"/>
                <a:gd name="connsiteX114" fmla="*/ 964275 w 2098515"/>
                <a:gd name="connsiteY114" fmla="*/ 218707 h 283771"/>
                <a:gd name="connsiteX115" fmla="*/ 1024867 w 2098515"/>
                <a:gd name="connsiteY115" fmla="*/ 218707 h 283771"/>
                <a:gd name="connsiteX116" fmla="*/ 1013470 w 2098515"/>
                <a:gd name="connsiteY116" fmla="*/ 244098 h 283771"/>
                <a:gd name="connsiteX117" fmla="*/ 992118 w 2098515"/>
                <a:gd name="connsiteY117" fmla="*/ 264873 h 283771"/>
                <a:gd name="connsiteX118" fmla="*/ 964852 w 2098515"/>
                <a:gd name="connsiteY118" fmla="*/ 278145 h 283771"/>
                <a:gd name="connsiteX119" fmla="*/ 931094 w 2098515"/>
                <a:gd name="connsiteY119" fmla="*/ 282762 h 283771"/>
                <a:gd name="connsiteX120" fmla="*/ 965429 w 2098515"/>
                <a:gd name="connsiteY120" fmla="*/ 158548 h 283771"/>
                <a:gd name="connsiteX121" fmla="*/ 953599 w 2098515"/>
                <a:gd name="connsiteY121" fmla="*/ 130705 h 283771"/>
                <a:gd name="connsiteX122" fmla="*/ 928497 w 2098515"/>
                <a:gd name="connsiteY122" fmla="*/ 120462 h 283771"/>
                <a:gd name="connsiteX123" fmla="*/ 901086 w 2098515"/>
                <a:gd name="connsiteY123" fmla="*/ 130705 h 283771"/>
                <a:gd name="connsiteX124" fmla="*/ 888535 w 2098515"/>
                <a:gd name="connsiteY124" fmla="*/ 158548 h 283771"/>
                <a:gd name="connsiteX125" fmla="*/ 965429 w 2098515"/>
                <a:gd name="connsiteY125" fmla="*/ 158548 h 283771"/>
                <a:gd name="connsiteX126" fmla="*/ 1051123 w 2098515"/>
                <a:gd name="connsiteY126" fmla="*/ 2020 h 283771"/>
                <a:gd name="connsiteX127" fmla="*/ 1113158 w 2098515"/>
                <a:gd name="connsiteY127" fmla="*/ 2020 h 283771"/>
                <a:gd name="connsiteX128" fmla="*/ 1113158 w 2098515"/>
                <a:gd name="connsiteY128" fmla="*/ 106036 h 283771"/>
                <a:gd name="connsiteX129" fmla="*/ 1114312 w 2098515"/>
                <a:gd name="connsiteY129" fmla="*/ 106036 h 283771"/>
                <a:gd name="connsiteX130" fmla="*/ 1138260 w 2098515"/>
                <a:gd name="connsiteY130" fmla="*/ 84107 h 283771"/>
                <a:gd name="connsiteX131" fmla="*/ 1172162 w 2098515"/>
                <a:gd name="connsiteY131" fmla="*/ 76317 h 283771"/>
                <a:gd name="connsiteX132" fmla="*/ 1200727 w 2098515"/>
                <a:gd name="connsiteY132" fmla="*/ 81799 h 283771"/>
                <a:gd name="connsiteX133" fmla="*/ 1222079 w 2098515"/>
                <a:gd name="connsiteY133" fmla="*/ 97091 h 283771"/>
                <a:gd name="connsiteX134" fmla="*/ 1235495 w 2098515"/>
                <a:gd name="connsiteY134" fmla="*/ 120318 h 283771"/>
                <a:gd name="connsiteX135" fmla="*/ 1240112 w 2098515"/>
                <a:gd name="connsiteY135" fmla="*/ 150181 h 283771"/>
                <a:gd name="connsiteX136" fmla="*/ 1240112 w 2098515"/>
                <a:gd name="connsiteY136" fmla="*/ 276991 h 283771"/>
                <a:gd name="connsiteX137" fmla="*/ 1178077 w 2098515"/>
                <a:gd name="connsiteY137" fmla="*/ 276991 h 283771"/>
                <a:gd name="connsiteX138" fmla="*/ 1178077 w 2098515"/>
                <a:gd name="connsiteY138" fmla="*/ 162732 h 283771"/>
                <a:gd name="connsiteX139" fmla="*/ 1170431 w 2098515"/>
                <a:gd name="connsiteY139" fmla="*/ 137630 h 283771"/>
                <a:gd name="connsiteX140" fmla="*/ 1147637 w 2098515"/>
                <a:gd name="connsiteY140" fmla="*/ 128108 h 283771"/>
                <a:gd name="connsiteX141" fmla="*/ 1122679 w 2098515"/>
                <a:gd name="connsiteY141" fmla="*/ 139505 h 283771"/>
                <a:gd name="connsiteX142" fmla="*/ 1113302 w 2098515"/>
                <a:gd name="connsiteY142" fmla="*/ 169224 h 283771"/>
                <a:gd name="connsiteX143" fmla="*/ 1113302 w 2098515"/>
                <a:gd name="connsiteY143" fmla="*/ 276991 h 283771"/>
                <a:gd name="connsiteX144" fmla="*/ 1051267 w 2098515"/>
                <a:gd name="connsiteY144" fmla="*/ 276991 h 283771"/>
                <a:gd name="connsiteX145" fmla="*/ 1051267 w 2098515"/>
                <a:gd name="connsiteY145" fmla="*/ 1875 h 283771"/>
                <a:gd name="connsiteX146" fmla="*/ 1363892 w 2098515"/>
                <a:gd name="connsiteY146" fmla="*/ 283194 h 283771"/>
                <a:gd name="connsiteX147" fmla="*/ 1321045 w 2098515"/>
                <a:gd name="connsiteY147" fmla="*/ 275404 h 283771"/>
                <a:gd name="connsiteX148" fmla="*/ 1288008 w 2098515"/>
                <a:gd name="connsiteY148" fmla="*/ 253620 h 283771"/>
                <a:gd name="connsiteX149" fmla="*/ 1266945 w 2098515"/>
                <a:gd name="connsiteY149" fmla="*/ 220871 h 283771"/>
                <a:gd name="connsiteX150" fmla="*/ 1259443 w 2098515"/>
                <a:gd name="connsiteY150" fmla="*/ 179900 h 283771"/>
                <a:gd name="connsiteX151" fmla="*/ 1266945 w 2098515"/>
                <a:gd name="connsiteY151" fmla="*/ 138928 h 283771"/>
                <a:gd name="connsiteX152" fmla="*/ 1288008 w 2098515"/>
                <a:gd name="connsiteY152" fmla="*/ 106180 h 283771"/>
                <a:gd name="connsiteX153" fmla="*/ 1321045 w 2098515"/>
                <a:gd name="connsiteY153" fmla="*/ 84540 h 283771"/>
                <a:gd name="connsiteX154" fmla="*/ 1363892 w 2098515"/>
                <a:gd name="connsiteY154" fmla="*/ 76750 h 283771"/>
                <a:gd name="connsiteX155" fmla="*/ 1406739 w 2098515"/>
                <a:gd name="connsiteY155" fmla="*/ 84540 h 283771"/>
                <a:gd name="connsiteX156" fmla="*/ 1439487 w 2098515"/>
                <a:gd name="connsiteY156" fmla="*/ 106180 h 283771"/>
                <a:gd name="connsiteX157" fmla="*/ 1460406 w 2098515"/>
                <a:gd name="connsiteY157" fmla="*/ 138928 h 283771"/>
                <a:gd name="connsiteX158" fmla="*/ 1467764 w 2098515"/>
                <a:gd name="connsiteY158" fmla="*/ 179900 h 283771"/>
                <a:gd name="connsiteX159" fmla="*/ 1460406 w 2098515"/>
                <a:gd name="connsiteY159" fmla="*/ 220871 h 283771"/>
                <a:gd name="connsiteX160" fmla="*/ 1439487 w 2098515"/>
                <a:gd name="connsiteY160" fmla="*/ 253620 h 283771"/>
                <a:gd name="connsiteX161" fmla="*/ 1406739 w 2098515"/>
                <a:gd name="connsiteY161" fmla="*/ 275404 h 283771"/>
                <a:gd name="connsiteX162" fmla="*/ 1363892 w 2098515"/>
                <a:gd name="connsiteY162" fmla="*/ 283194 h 283771"/>
                <a:gd name="connsiteX163" fmla="*/ 1363459 w 2098515"/>
                <a:gd name="connsiteY163" fmla="*/ 239049 h 283771"/>
                <a:gd name="connsiteX164" fmla="*/ 1394477 w 2098515"/>
                <a:gd name="connsiteY164" fmla="*/ 222891 h 283771"/>
                <a:gd name="connsiteX165" fmla="*/ 1405008 w 2098515"/>
                <a:gd name="connsiteY165" fmla="*/ 180044 h 283771"/>
                <a:gd name="connsiteX166" fmla="*/ 1394477 w 2098515"/>
                <a:gd name="connsiteY166" fmla="*/ 137053 h 283771"/>
                <a:gd name="connsiteX167" fmla="*/ 1363459 w 2098515"/>
                <a:gd name="connsiteY167" fmla="*/ 120606 h 283771"/>
                <a:gd name="connsiteX168" fmla="*/ 1332586 w 2098515"/>
                <a:gd name="connsiteY168" fmla="*/ 137053 h 283771"/>
                <a:gd name="connsiteX169" fmla="*/ 1322343 w 2098515"/>
                <a:gd name="connsiteY169" fmla="*/ 180044 h 283771"/>
                <a:gd name="connsiteX170" fmla="*/ 1332586 w 2098515"/>
                <a:gd name="connsiteY170" fmla="*/ 222891 h 283771"/>
                <a:gd name="connsiteX171" fmla="*/ 1363459 w 2098515"/>
                <a:gd name="connsiteY171" fmla="*/ 239049 h 283771"/>
                <a:gd name="connsiteX172" fmla="*/ 1555910 w 2098515"/>
                <a:gd name="connsiteY172" fmla="*/ 282906 h 283771"/>
                <a:gd name="connsiteX173" fmla="*/ 1504696 w 2098515"/>
                <a:gd name="connsiteY173" fmla="*/ 262853 h 283771"/>
                <a:gd name="connsiteX174" fmla="*/ 1487384 w 2098515"/>
                <a:gd name="connsiteY174" fmla="*/ 210051 h 283771"/>
                <a:gd name="connsiteX175" fmla="*/ 1487384 w 2098515"/>
                <a:gd name="connsiteY175" fmla="*/ 82087 h 283771"/>
                <a:gd name="connsiteX176" fmla="*/ 1549130 w 2098515"/>
                <a:gd name="connsiteY176" fmla="*/ 82087 h 283771"/>
                <a:gd name="connsiteX177" fmla="*/ 1549130 w 2098515"/>
                <a:gd name="connsiteY177" fmla="*/ 197212 h 283771"/>
                <a:gd name="connsiteX178" fmla="*/ 1556343 w 2098515"/>
                <a:gd name="connsiteY178" fmla="*/ 221737 h 283771"/>
                <a:gd name="connsiteX179" fmla="*/ 1578416 w 2098515"/>
                <a:gd name="connsiteY179" fmla="*/ 230249 h 283771"/>
                <a:gd name="connsiteX180" fmla="*/ 1603518 w 2098515"/>
                <a:gd name="connsiteY180" fmla="*/ 219429 h 283771"/>
                <a:gd name="connsiteX181" fmla="*/ 1612607 w 2098515"/>
                <a:gd name="connsiteY181" fmla="*/ 191008 h 283771"/>
                <a:gd name="connsiteX182" fmla="*/ 1612607 w 2098515"/>
                <a:gd name="connsiteY182" fmla="*/ 82087 h 283771"/>
                <a:gd name="connsiteX183" fmla="*/ 1674641 w 2098515"/>
                <a:gd name="connsiteY183" fmla="*/ 82087 h 283771"/>
                <a:gd name="connsiteX184" fmla="*/ 1674641 w 2098515"/>
                <a:gd name="connsiteY184" fmla="*/ 277135 h 283771"/>
                <a:gd name="connsiteX185" fmla="*/ 1615204 w 2098515"/>
                <a:gd name="connsiteY185" fmla="*/ 277135 h 283771"/>
                <a:gd name="connsiteX186" fmla="*/ 1615204 w 2098515"/>
                <a:gd name="connsiteY186" fmla="*/ 253187 h 283771"/>
                <a:gd name="connsiteX187" fmla="*/ 1614050 w 2098515"/>
                <a:gd name="connsiteY187" fmla="*/ 253187 h 283771"/>
                <a:gd name="connsiteX188" fmla="*/ 1589813 w 2098515"/>
                <a:gd name="connsiteY188" fmla="*/ 275260 h 283771"/>
                <a:gd name="connsiteX189" fmla="*/ 1555766 w 2098515"/>
                <a:gd name="connsiteY189" fmla="*/ 282906 h 283771"/>
                <a:gd name="connsiteX190" fmla="*/ 1791208 w 2098515"/>
                <a:gd name="connsiteY190" fmla="*/ 283339 h 283771"/>
                <a:gd name="connsiteX191" fmla="*/ 1722971 w 2098515"/>
                <a:gd name="connsiteY191" fmla="*/ 264873 h 283771"/>
                <a:gd name="connsiteX192" fmla="*/ 1696281 w 2098515"/>
                <a:gd name="connsiteY192" fmla="*/ 213947 h 283771"/>
                <a:gd name="connsiteX193" fmla="*/ 1754998 w 2098515"/>
                <a:gd name="connsiteY193" fmla="*/ 213947 h 283771"/>
                <a:gd name="connsiteX194" fmla="*/ 1766106 w 2098515"/>
                <a:gd name="connsiteY194" fmla="*/ 235731 h 283771"/>
                <a:gd name="connsiteX195" fmla="*/ 1790920 w 2098515"/>
                <a:gd name="connsiteY195" fmla="*/ 242944 h 283771"/>
                <a:gd name="connsiteX196" fmla="*/ 1813137 w 2098515"/>
                <a:gd name="connsiteY196" fmla="*/ 238039 h 283771"/>
                <a:gd name="connsiteX197" fmla="*/ 1821360 w 2098515"/>
                <a:gd name="connsiteY197" fmla="*/ 223612 h 283771"/>
                <a:gd name="connsiteX198" fmla="*/ 1817176 w 2098515"/>
                <a:gd name="connsiteY198" fmla="*/ 213081 h 283771"/>
                <a:gd name="connsiteX199" fmla="*/ 1806068 w 2098515"/>
                <a:gd name="connsiteY199" fmla="*/ 206589 h 283771"/>
                <a:gd name="connsiteX200" fmla="*/ 1790199 w 2098515"/>
                <a:gd name="connsiteY200" fmla="*/ 202838 h 283771"/>
                <a:gd name="connsiteX201" fmla="*/ 1771732 w 2098515"/>
                <a:gd name="connsiteY201" fmla="*/ 199664 h 283771"/>
                <a:gd name="connsiteX202" fmla="*/ 1746630 w 2098515"/>
                <a:gd name="connsiteY202" fmla="*/ 194182 h 283771"/>
                <a:gd name="connsiteX203" fmla="*/ 1723980 w 2098515"/>
                <a:gd name="connsiteY203" fmla="*/ 184516 h 283771"/>
                <a:gd name="connsiteX204" fmla="*/ 1707823 w 2098515"/>
                <a:gd name="connsiteY204" fmla="*/ 167204 h 283771"/>
                <a:gd name="connsiteX205" fmla="*/ 1701763 w 2098515"/>
                <a:gd name="connsiteY205" fmla="*/ 139217 h 283771"/>
                <a:gd name="connsiteX206" fmla="*/ 1708400 w 2098515"/>
                <a:gd name="connsiteY206" fmla="*/ 112095 h 283771"/>
                <a:gd name="connsiteX207" fmla="*/ 1726577 w 2098515"/>
                <a:gd name="connsiteY207" fmla="*/ 92475 h 283771"/>
                <a:gd name="connsiteX208" fmla="*/ 1753411 w 2098515"/>
                <a:gd name="connsiteY208" fmla="*/ 80645 h 283771"/>
                <a:gd name="connsiteX209" fmla="*/ 1786015 w 2098515"/>
                <a:gd name="connsiteY209" fmla="*/ 76605 h 283771"/>
                <a:gd name="connsiteX210" fmla="*/ 1849636 w 2098515"/>
                <a:gd name="connsiteY210" fmla="*/ 93340 h 283771"/>
                <a:gd name="connsiteX211" fmla="*/ 1874017 w 2098515"/>
                <a:gd name="connsiteY211" fmla="*/ 139073 h 283771"/>
                <a:gd name="connsiteX212" fmla="*/ 1816888 w 2098515"/>
                <a:gd name="connsiteY212" fmla="*/ 139073 h 283771"/>
                <a:gd name="connsiteX213" fmla="*/ 1806789 w 2098515"/>
                <a:gd name="connsiteY213" fmla="*/ 121039 h 283771"/>
                <a:gd name="connsiteX214" fmla="*/ 1785582 w 2098515"/>
                <a:gd name="connsiteY214" fmla="*/ 116278 h 283771"/>
                <a:gd name="connsiteX215" fmla="*/ 1766395 w 2098515"/>
                <a:gd name="connsiteY215" fmla="*/ 120606 h 283771"/>
                <a:gd name="connsiteX216" fmla="*/ 1758604 w 2098515"/>
                <a:gd name="connsiteY216" fmla="*/ 134167 h 283771"/>
                <a:gd name="connsiteX217" fmla="*/ 1762355 w 2098515"/>
                <a:gd name="connsiteY217" fmla="*/ 142535 h 283771"/>
                <a:gd name="connsiteX218" fmla="*/ 1772598 w 2098515"/>
                <a:gd name="connsiteY218" fmla="*/ 147728 h 283771"/>
                <a:gd name="connsiteX219" fmla="*/ 1787602 w 2098515"/>
                <a:gd name="connsiteY219" fmla="*/ 151335 h 283771"/>
                <a:gd name="connsiteX220" fmla="*/ 1805346 w 2098515"/>
                <a:gd name="connsiteY220" fmla="*/ 154365 h 283771"/>
                <a:gd name="connsiteX221" fmla="*/ 1831459 w 2098515"/>
                <a:gd name="connsiteY221" fmla="*/ 159847 h 283771"/>
                <a:gd name="connsiteX222" fmla="*/ 1855407 w 2098515"/>
                <a:gd name="connsiteY222" fmla="*/ 169945 h 283771"/>
                <a:gd name="connsiteX223" fmla="*/ 1873152 w 2098515"/>
                <a:gd name="connsiteY223" fmla="*/ 188412 h 283771"/>
                <a:gd name="connsiteX224" fmla="*/ 1880076 w 2098515"/>
                <a:gd name="connsiteY224" fmla="*/ 218707 h 283771"/>
                <a:gd name="connsiteX225" fmla="*/ 1873440 w 2098515"/>
                <a:gd name="connsiteY225" fmla="*/ 246839 h 283771"/>
                <a:gd name="connsiteX226" fmla="*/ 1854974 w 2098515"/>
                <a:gd name="connsiteY226" fmla="*/ 267037 h 283771"/>
                <a:gd name="connsiteX227" fmla="*/ 1826842 w 2098515"/>
                <a:gd name="connsiteY227" fmla="*/ 279299 h 283771"/>
                <a:gd name="connsiteX228" fmla="*/ 1791353 w 2098515"/>
                <a:gd name="connsiteY228" fmla="*/ 283483 h 283771"/>
                <a:gd name="connsiteX229" fmla="*/ 2001260 w 2098515"/>
                <a:gd name="connsiteY229" fmla="*/ 283050 h 283771"/>
                <a:gd name="connsiteX230" fmla="*/ 1957836 w 2098515"/>
                <a:gd name="connsiteY230" fmla="*/ 275260 h 283771"/>
                <a:gd name="connsiteX231" fmla="*/ 1925087 w 2098515"/>
                <a:gd name="connsiteY231" fmla="*/ 253476 h 283771"/>
                <a:gd name="connsiteX232" fmla="*/ 1904457 w 2098515"/>
                <a:gd name="connsiteY232" fmla="*/ 220583 h 283771"/>
                <a:gd name="connsiteX233" fmla="*/ 1897244 w 2098515"/>
                <a:gd name="connsiteY233" fmla="*/ 179467 h 283771"/>
                <a:gd name="connsiteX234" fmla="*/ 1904457 w 2098515"/>
                <a:gd name="connsiteY234" fmla="*/ 138928 h 283771"/>
                <a:gd name="connsiteX235" fmla="*/ 1925087 w 2098515"/>
                <a:gd name="connsiteY235" fmla="*/ 106180 h 283771"/>
                <a:gd name="connsiteX236" fmla="*/ 1956682 w 2098515"/>
                <a:gd name="connsiteY236" fmla="*/ 84540 h 283771"/>
                <a:gd name="connsiteX237" fmla="*/ 1997509 w 2098515"/>
                <a:gd name="connsiteY237" fmla="*/ 76750 h 283771"/>
                <a:gd name="connsiteX238" fmla="*/ 2035018 w 2098515"/>
                <a:gd name="connsiteY238" fmla="*/ 83242 h 283771"/>
                <a:gd name="connsiteX239" fmla="*/ 2064160 w 2098515"/>
                <a:gd name="connsiteY239" fmla="*/ 101131 h 283771"/>
                <a:gd name="connsiteX240" fmla="*/ 2090272 w 2098515"/>
                <a:gd name="connsiteY240" fmla="*/ 141669 h 283771"/>
                <a:gd name="connsiteX241" fmla="*/ 2098495 w 2098515"/>
                <a:gd name="connsiteY241" fmla="*/ 195913 h 283771"/>
                <a:gd name="connsiteX242" fmla="*/ 1958269 w 2098515"/>
                <a:gd name="connsiteY242" fmla="*/ 195913 h 283771"/>
                <a:gd name="connsiteX243" fmla="*/ 1971974 w 2098515"/>
                <a:gd name="connsiteY243" fmla="*/ 227219 h 283771"/>
                <a:gd name="connsiteX244" fmla="*/ 2002125 w 2098515"/>
                <a:gd name="connsiteY244" fmla="*/ 238616 h 283771"/>
                <a:gd name="connsiteX245" fmla="*/ 2022323 w 2098515"/>
                <a:gd name="connsiteY245" fmla="*/ 233423 h 283771"/>
                <a:gd name="connsiteX246" fmla="*/ 2034585 w 2098515"/>
                <a:gd name="connsiteY246" fmla="*/ 219140 h 283771"/>
                <a:gd name="connsiteX247" fmla="*/ 2095177 w 2098515"/>
                <a:gd name="connsiteY247" fmla="*/ 219140 h 283771"/>
                <a:gd name="connsiteX248" fmla="*/ 2083780 w 2098515"/>
                <a:gd name="connsiteY248" fmla="*/ 244531 h 283771"/>
                <a:gd name="connsiteX249" fmla="*/ 2062429 w 2098515"/>
                <a:gd name="connsiteY249" fmla="*/ 265305 h 283771"/>
                <a:gd name="connsiteX250" fmla="*/ 2035162 w 2098515"/>
                <a:gd name="connsiteY250" fmla="*/ 278578 h 283771"/>
                <a:gd name="connsiteX251" fmla="*/ 2001404 w 2098515"/>
                <a:gd name="connsiteY251" fmla="*/ 283194 h 283771"/>
                <a:gd name="connsiteX252" fmla="*/ 2035739 w 2098515"/>
                <a:gd name="connsiteY252" fmla="*/ 158981 h 283771"/>
                <a:gd name="connsiteX253" fmla="*/ 2023910 w 2098515"/>
                <a:gd name="connsiteY253" fmla="*/ 131138 h 283771"/>
                <a:gd name="connsiteX254" fmla="*/ 1998807 w 2098515"/>
                <a:gd name="connsiteY254" fmla="*/ 120895 h 283771"/>
                <a:gd name="connsiteX255" fmla="*/ 1971397 w 2098515"/>
                <a:gd name="connsiteY255" fmla="*/ 131138 h 283771"/>
                <a:gd name="connsiteX256" fmla="*/ 1958846 w 2098515"/>
                <a:gd name="connsiteY256" fmla="*/ 158981 h 283771"/>
                <a:gd name="connsiteX257" fmla="*/ 2035739 w 2098515"/>
                <a:gd name="connsiteY257" fmla="*/ 158981 h 28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</a:cxnLst>
              <a:rect l="l" t="t" r="r" b="b"/>
              <a:pathLst>
                <a:path w="2098515" h="283771">
                  <a:moveTo>
                    <a:pt x="129551" y="283771"/>
                  </a:moveTo>
                  <a:cubicBezTo>
                    <a:pt x="109931" y="283771"/>
                    <a:pt x="92475" y="280453"/>
                    <a:pt x="77038" y="273817"/>
                  </a:cubicBezTo>
                  <a:cubicBezTo>
                    <a:pt x="61602" y="267181"/>
                    <a:pt x="48041" y="257804"/>
                    <a:pt x="36644" y="245685"/>
                  </a:cubicBezTo>
                  <a:cubicBezTo>
                    <a:pt x="24670" y="232701"/>
                    <a:pt x="15581" y="217553"/>
                    <a:pt x="9377" y="199953"/>
                  </a:cubicBezTo>
                  <a:cubicBezTo>
                    <a:pt x="3174" y="182497"/>
                    <a:pt x="0" y="163309"/>
                    <a:pt x="0" y="142391"/>
                  </a:cubicBezTo>
                  <a:cubicBezTo>
                    <a:pt x="0" y="121472"/>
                    <a:pt x="3462" y="100986"/>
                    <a:pt x="10531" y="82809"/>
                  </a:cubicBezTo>
                  <a:cubicBezTo>
                    <a:pt x="17456" y="64631"/>
                    <a:pt x="27411" y="49050"/>
                    <a:pt x="40395" y="36211"/>
                  </a:cubicBezTo>
                  <a:cubicBezTo>
                    <a:pt x="51792" y="24814"/>
                    <a:pt x="65208" y="15869"/>
                    <a:pt x="80789" y="9522"/>
                  </a:cubicBezTo>
                  <a:cubicBezTo>
                    <a:pt x="96226" y="3174"/>
                    <a:pt x="113970" y="0"/>
                    <a:pt x="133735" y="0"/>
                  </a:cubicBezTo>
                  <a:cubicBezTo>
                    <a:pt x="151191" y="0"/>
                    <a:pt x="167060" y="2164"/>
                    <a:pt x="180910" y="6636"/>
                  </a:cubicBezTo>
                  <a:cubicBezTo>
                    <a:pt x="194904" y="11108"/>
                    <a:pt x="207022" y="17456"/>
                    <a:pt x="217121" y="25679"/>
                  </a:cubicBezTo>
                  <a:cubicBezTo>
                    <a:pt x="227219" y="33903"/>
                    <a:pt x="235442" y="43857"/>
                    <a:pt x="241646" y="55542"/>
                  </a:cubicBezTo>
                  <a:cubicBezTo>
                    <a:pt x="247849" y="67228"/>
                    <a:pt x="252177" y="80212"/>
                    <a:pt x="254341" y="94350"/>
                  </a:cubicBezTo>
                  <a:lnTo>
                    <a:pt x="188844" y="94350"/>
                  </a:lnTo>
                  <a:cubicBezTo>
                    <a:pt x="186248" y="83242"/>
                    <a:pt x="180621" y="73864"/>
                    <a:pt x="171677" y="66507"/>
                  </a:cubicBezTo>
                  <a:cubicBezTo>
                    <a:pt x="162732" y="59149"/>
                    <a:pt x="150902" y="55398"/>
                    <a:pt x="135899" y="55398"/>
                  </a:cubicBezTo>
                  <a:cubicBezTo>
                    <a:pt x="124646" y="55398"/>
                    <a:pt x="114836" y="57706"/>
                    <a:pt x="106324" y="62034"/>
                  </a:cubicBezTo>
                  <a:cubicBezTo>
                    <a:pt x="97812" y="66507"/>
                    <a:pt x="90743" y="72566"/>
                    <a:pt x="85117" y="80356"/>
                  </a:cubicBezTo>
                  <a:cubicBezTo>
                    <a:pt x="79491" y="88147"/>
                    <a:pt x="75307" y="97235"/>
                    <a:pt x="72566" y="107767"/>
                  </a:cubicBezTo>
                  <a:cubicBezTo>
                    <a:pt x="69825" y="118298"/>
                    <a:pt x="68382" y="129839"/>
                    <a:pt x="68382" y="142246"/>
                  </a:cubicBezTo>
                  <a:cubicBezTo>
                    <a:pt x="68382" y="154653"/>
                    <a:pt x="69969" y="166195"/>
                    <a:pt x="73143" y="176870"/>
                  </a:cubicBezTo>
                  <a:cubicBezTo>
                    <a:pt x="76317" y="187546"/>
                    <a:pt x="80789" y="196779"/>
                    <a:pt x="86704" y="204425"/>
                  </a:cubicBezTo>
                  <a:cubicBezTo>
                    <a:pt x="92619" y="212215"/>
                    <a:pt x="99688" y="218275"/>
                    <a:pt x="108200" y="222458"/>
                  </a:cubicBezTo>
                  <a:cubicBezTo>
                    <a:pt x="116711" y="226786"/>
                    <a:pt x="126233" y="228950"/>
                    <a:pt x="136909" y="228950"/>
                  </a:cubicBezTo>
                  <a:cubicBezTo>
                    <a:pt x="145709" y="228950"/>
                    <a:pt x="153788" y="227652"/>
                    <a:pt x="160712" y="224911"/>
                  </a:cubicBezTo>
                  <a:cubicBezTo>
                    <a:pt x="167637" y="222314"/>
                    <a:pt x="173696" y="218707"/>
                    <a:pt x="178601" y="214235"/>
                  </a:cubicBezTo>
                  <a:cubicBezTo>
                    <a:pt x="183507" y="209763"/>
                    <a:pt x="187546" y="204714"/>
                    <a:pt x="190431" y="198943"/>
                  </a:cubicBezTo>
                  <a:cubicBezTo>
                    <a:pt x="193317" y="193317"/>
                    <a:pt x="195192" y="187402"/>
                    <a:pt x="195913" y="181198"/>
                  </a:cubicBezTo>
                  <a:lnTo>
                    <a:pt x="195913" y="180477"/>
                  </a:lnTo>
                  <a:lnTo>
                    <a:pt x="144843" y="180477"/>
                  </a:lnTo>
                  <a:lnTo>
                    <a:pt x="144843" y="130994"/>
                  </a:lnTo>
                  <a:lnTo>
                    <a:pt x="258381" y="130994"/>
                  </a:lnTo>
                  <a:lnTo>
                    <a:pt x="258381" y="277279"/>
                  </a:lnTo>
                  <a:lnTo>
                    <a:pt x="211206" y="277279"/>
                  </a:lnTo>
                  <a:lnTo>
                    <a:pt x="207455" y="244531"/>
                  </a:lnTo>
                  <a:lnTo>
                    <a:pt x="206733" y="244531"/>
                  </a:lnTo>
                  <a:cubicBezTo>
                    <a:pt x="197789" y="258525"/>
                    <a:pt x="186825" y="268479"/>
                    <a:pt x="173841" y="274394"/>
                  </a:cubicBezTo>
                  <a:cubicBezTo>
                    <a:pt x="160712" y="280309"/>
                    <a:pt x="145997" y="283339"/>
                    <a:pt x="129407" y="283339"/>
                  </a:cubicBezTo>
                  <a:moveTo>
                    <a:pt x="358357" y="282906"/>
                  </a:moveTo>
                  <a:cubicBezTo>
                    <a:pt x="335707" y="282906"/>
                    <a:pt x="318684" y="276270"/>
                    <a:pt x="307143" y="262853"/>
                  </a:cubicBezTo>
                  <a:cubicBezTo>
                    <a:pt x="295601" y="249580"/>
                    <a:pt x="289831" y="231980"/>
                    <a:pt x="289831" y="210051"/>
                  </a:cubicBezTo>
                  <a:lnTo>
                    <a:pt x="289831" y="82087"/>
                  </a:lnTo>
                  <a:lnTo>
                    <a:pt x="351577" y="82087"/>
                  </a:lnTo>
                  <a:lnTo>
                    <a:pt x="351577" y="197212"/>
                  </a:lnTo>
                  <a:cubicBezTo>
                    <a:pt x="351577" y="207887"/>
                    <a:pt x="354029" y="216111"/>
                    <a:pt x="358790" y="221737"/>
                  </a:cubicBezTo>
                  <a:cubicBezTo>
                    <a:pt x="363551" y="227508"/>
                    <a:pt x="371052" y="230249"/>
                    <a:pt x="380863" y="230249"/>
                  </a:cubicBezTo>
                  <a:cubicBezTo>
                    <a:pt x="391538" y="230249"/>
                    <a:pt x="399906" y="226642"/>
                    <a:pt x="405965" y="219429"/>
                  </a:cubicBezTo>
                  <a:cubicBezTo>
                    <a:pt x="412024" y="212215"/>
                    <a:pt x="415054" y="202694"/>
                    <a:pt x="415054" y="191008"/>
                  </a:cubicBezTo>
                  <a:lnTo>
                    <a:pt x="415054" y="82087"/>
                  </a:lnTo>
                  <a:lnTo>
                    <a:pt x="477088" y="82087"/>
                  </a:lnTo>
                  <a:lnTo>
                    <a:pt x="477088" y="277135"/>
                  </a:lnTo>
                  <a:lnTo>
                    <a:pt x="417650" y="277135"/>
                  </a:lnTo>
                  <a:lnTo>
                    <a:pt x="417650" y="253187"/>
                  </a:lnTo>
                  <a:lnTo>
                    <a:pt x="416496" y="253187"/>
                  </a:lnTo>
                  <a:cubicBezTo>
                    <a:pt x="409427" y="262853"/>
                    <a:pt x="401348" y="270210"/>
                    <a:pt x="392260" y="275260"/>
                  </a:cubicBezTo>
                  <a:cubicBezTo>
                    <a:pt x="383315" y="280309"/>
                    <a:pt x="371918" y="282906"/>
                    <a:pt x="358213" y="282906"/>
                  </a:cubicBezTo>
                  <a:moveTo>
                    <a:pt x="512433" y="2164"/>
                  </a:moveTo>
                  <a:lnTo>
                    <a:pt x="574468" y="2164"/>
                  </a:lnTo>
                  <a:lnTo>
                    <a:pt x="574468" y="55110"/>
                  </a:lnTo>
                  <a:lnTo>
                    <a:pt x="512433" y="55110"/>
                  </a:lnTo>
                  <a:lnTo>
                    <a:pt x="512433" y="2164"/>
                  </a:lnTo>
                  <a:close/>
                  <a:moveTo>
                    <a:pt x="512433" y="82087"/>
                  </a:moveTo>
                  <a:lnTo>
                    <a:pt x="574468" y="82087"/>
                  </a:lnTo>
                  <a:lnTo>
                    <a:pt x="574468" y="277135"/>
                  </a:lnTo>
                  <a:lnTo>
                    <a:pt x="512433" y="277135"/>
                  </a:lnTo>
                  <a:lnTo>
                    <a:pt x="512433" y="82087"/>
                  </a:lnTo>
                  <a:close/>
                  <a:moveTo>
                    <a:pt x="686563" y="283194"/>
                  </a:moveTo>
                  <a:cubicBezTo>
                    <a:pt x="674156" y="283194"/>
                    <a:pt x="662614" y="280886"/>
                    <a:pt x="652227" y="276125"/>
                  </a:cubicBezTo>
                  <a:cubicBezTo>
                    <a:pt x="641840" y="271365"/>
                    <a:pt x="632751" y="264584"/>
                    <a:pt x="625249" y="255784"/>
                  </a:cubicBezTo>
                  <a:cubicBezTo>
                    <a:pt x="617603" y="246839"/>
                    <a:pt x="611688" y="236019"/>
                    <a:pt x="607505" y="223180"/>
                  </a:cubicBezTo>
                  <a:cubicBezTo>
                    <a:pt x="603321" y="210340"/>
                    <a:pt x="601157" y="195769"/>
                    <a:pt x="601157" y="179611"/>
                  </a:cubicBezTo>
                  <a:cubicBezTo>
                    <a:pt x="601157" y="164319"/>
                    <a:pt x="603321" y="150470"/>
                    <a:pt x="607505" y="137630"/>
                  </a:cubicBezTo>
                  <a:cubicBezTo>
                    <a:pt x="611688" y="124934"/>
                    <a:pt x="617603" y="114114"/>
                    <a:pt x="624961" y="105026"/>
                  </a:cubicBezTo>
                  <a:cubicBezTo>
                    <a:pt x="632463" y="96081"/>
                    <a:pt x="641407" y="89012"/>
                    <a:pt x="651794" y="83819"/>
                  </a:cubicBezTo>
                  <a:cubicBezTo>
                    <a:pt x="662182" y="78769"/>
                    <a:pt x="673723" y="76172"/>
                    <a:pt x="686418" y="76172"/>
                  </a:cubicBezTo>
                  <a:cubicBezTo>
                    <a:pt x="700124" y="76172"/>
                    <a:pt x="711232" y="78769"/>
                    <a:pt x="719600" y="83963"/>
                  </a:cubicBezTo>
                  <a:cubicBezTo>
                    <a:pt x="727967" y="89156"/>
                    <a:pt x="735036" y="95793"/>
                    <a:pt x="740951" y="104016"/>
                  </a:cubicBezTo>
                  <a:lnTo>
                    <a:pt x="742105" y="104016"/>
                  </a:lnTo>
                  <a:lnTo>
                    <a:pt x="742105" y="1875"/>
                  </a:lnTo>
                  <a:lnTo>
                    <a:pt x="804139" y="1875"/>
                  </a:lnTo>
                  <a:lnTo>
                    <a:pt x="804139" y="276991"/>
                  </a:lnTo>
                  <a:lnTo>
                    <a:pt x="744702" y="276991"/>
                  </a:lnTo>
                  <a:lnTo>
                    <a:pt x="744702" y="250735"/>
                  </a:lnTo>
                  <a:lnTo>
                    <a:pt x="743981" y="250735"/>
                  </a:lnTo>
                  <a:cubicBezTo>
                    <a:pt x="738210" y="260833"/>
                    <a:pt x="730275" y="268768"/>
                    <a:pt x="720609" y="274538"/>
                  </a:cubicBezTo>
                  <a:cubicBezTo>
                    <a:pt x="710799" y="280309"/>
                    <a:pt x="699547" y="283050"/>
                    <a:pt x="686563" y="283050"/>
                  </a:cubicBezTo>
                  <a:moveTo>
                    <a:pt x="702576" y="233855"/>
                  </a:moveTo>
                  <a:cubicBezTo>
                    <a:pt x="715560" y="233855"/>
                    <a:pt x="725659" y="228806"/>
                    <a:pt x="732872" y="218563"/>
                  </a:cubicBezTo>
                  <a:cubicBezTo>
                    <a:pt x="740085" y="208465"/>
                    <a:pt x="743692" y="195336"/>
                    <a:pt x="743692" y="179323"/>
                  </a:cubicBezTo>
                  <a:cubicBezTo>
                    <a:pt x="743692" y="171244"/>
                    <a:pt x="742826" y="163598"/>
                    <a:pt x="741239" y="156673"/>
                  </a:cubicBezTo>
                  <a:cubicBezTo>
                    <a:pt x="739653" y="149748"/>
                    <a:pt x="737056" y="143689"/>
                    <a:pt x="733593" y="138784"/>
                  </a:cubicBezTo>
                  <a:cubicBezTo>
                    <a:pt x="730131" y="133879"/>
                    <a:pt x="725947" y="129984"/>
                    <a:pt x="721042" y="127098"/>
                  </a:cubicBezTo>
                  <a:cubicBezTo>
                    <a:pt x="716137" y="124357"/>
                    <a:pt x="710222" y="122915"/>
                    <a:pt x="703297" y="122915"/>
                  </a:cubicBezTo>
                  <a:cubicBezTo>
                    <a:pt x="690891" y="122915"/>
                    <a:pt x="681225" y="128108"/>
                    <a:pt x="674300" y="138351"/>
                  </a:cubicBezTo>
                  <a:cubicBezTo>
                    <a:pt x="667375" y="148594"/>
                    <a:pt x="664057" y="162011"/>
                    <a:pt x="664057" y="178601"/>
                  </a:cubicBezTo>
                  <a:cubicBezTo>
                    <a:pt x="664057" y="195192"/>
                    <a:pt x="667375" y="209042"/>
                    <a:pt x="674156" y="218996"/>
                  </a:cubicBezTo>
                  <a:cubicBezTo>
                    <a:pt x="680936" y="228950"/>
                    <a:pt x="690314" y="233855"/>
                    <a:pt x="702576" y="233855"/>
                  </a:cubicBezTo>
                  <a:moveTo>
                    <a:pt x="931094" y="282617"/>
                  </a:moveTo>
                  <a:cubicBezTo>
                    <a:pt x="915080" y="282617"/>
                    <a:pt x="900654" y="280021"/>
                    <a:pt x="887670" y="274827"/>
                  </a:cubicBezTo>
                  <a:cubicBezTo>
                    <a:pt x="874686" y="269633"/>
                    <a:pt x="863721" y="262420"/>
                    <a:pt x="854921" y="253043"/>
                  </a:cubicBezTo>
                  <a:cubicBezTo>
                    <a:pt x="845977" y="243810"/>
                    <a:pt x="839196" y="232845"/>
                    <a:pt x="834291" y="220150"/>
                  </a:cubicBezTo>
                  <a:cubicBezTo>
                    <a:pt x="829530" y="207455"/>
                    <a:pt x="827078" y="193749"/>
                    <a:pt x="827078" y="179034"/>
                  </a:cubicBezTo>
                  <a:cubicBezTo>
                    <a:pt x="827078" y="164319"/>
                    <a:pt x="829530" y="151047"/>
                    <a:pt x="834291" y="138495"/>
                  </a:cubicBezTo>
                  <a:cubicBezTo>
                    <a:pt x="839052" y="125944"/>
                    <a:pt x="845977" y="114980"/>
                    <a:pt x="854921" y="105747"/>
                  </a:cubicBezTo>
                  <a:cubicBezTo>
                    <a:pt x="863866" y="96514"/>
                    <a:pt x="874397" y="89301"/>
                    <a:pt x="886515" y="84107"/>
                  </a:cubicBezTo>
                  <a:cubicBezTo>
                    <a:pt x="898634" y="78914"/>
                    <a:pt x="912339" y="76317"/>
                    <a:pt x="927343" y="76317"/>
                  </a:cubicBezTo>
                  <a:cubicBezTo>
                    <a:pt x="941337" y="76317"/>
                    <a:pt x="953888" y="78481"/>
                    <a:pt x="964852" y="82809"/>
                  </a:cubicBezTo>
                  <a:cubicBezTo>
                    <a:pt x="975960" y="87137"/>
                    <a:pt x="985626" y="93052"/>
                    <a:pt x="993994" y="100698"/>
                  </a:cubicBezTo>
                  <a:cubicBezTo>
                    <a:pt x="1005679" y="111373"/>
                    <a:pt x="1014335" y="124934"/>
                    <a:pt x="1020106" y="141237"/>
                  </a:cubicBezTo>
                  <a:cubicBezTo>
                    <a:pt x="1025877" y="157683"/>
                    <a:pt x="1028473" y="175716"/>
                    <a:pt x="1028329" y="195481"/>
                  </a:cubicBezTo>
                  <a:lnTo>
                    <a:pt x="888102" y="195481"/>
                  </a:lnTo>
                  <a:cubicBezTo>
                    <a:pt x="890122" y="208753"/>
                    <a:pt x="894739" y="219140"/>
                    <a:pt x="901808" y="226786"/>
                  </a:cubicBezTo>
                  <a:cubicBezTo>
                    <a:pt x="908877" y="234432"/>
                    <a:pt x="918975" y="238183"/>
                    <a:pt x="931959" y="238183"/>
                  </a:cubicBezTo>
                  <a:cubicBezTo>
                    <a:pt x="940038" y="238183"/>
                    <a:pt x="946819" y="236452"/>
                    <a:pt x="952157" y="232990"/>
                  </a:cubicBezTo>
                  <a:cubicBezTo>
                    <a:pt x="957494" y="229527"/>
                    <a:pt x="961534" y="224767"/>
                    <a:pt x="964275" y="218707"/>
                  </a:cubicBezTo>
                  <a:lnTo>
                    <a:pt x="1024867" y="218707"/>
                  </a:lnTo>
                  <a:cubicBezTo>
                    <a:pt x="1022847" y="227652"/>
                    <a:pt x="1018952" y="236019"/>
                    <a:pt x="1013470" y="244098"/>
                  </a:cubicBezTo>
                  <a:cubicBezTo>
                    <a:pt x="1007843" y="252033"/>
                    <a:pt x="1000774" y="258958"/>
                    <a:pt x="992118" y="264873"/>
                  </a:cubicBezTo>
                  <a:cubicBezTo>
                    <a:pt x="984039" y="270787"/>
                    <a:pt x="974951" y="275115"/>
                    <a:pt x="964852" y="278145"/>
                  </a:cubicBezTo>
                  <a:cubicBezTo>
                    <a:pt x="954898" y="281175"/>
                    <a:pt x="943645" y="282762"/>
                    <a:pt x="931094" y="282762"/>
                  </a:cubicBezTo>
                  <a:moveTo>
                    <a:pt x="965429" y="158548"/>
                  </a:moveTo>
                  <a:cubicBezTo>
                    <a:pt x="964131" y="146863"/>
                    <a:pt x="960235" y="137630"/>
                    <a:pt x="953599" y="130705"/>
                  </a:cubicBezTo>
                  <a:cubicBezTo>
                    <a:pt x="946963" y="123925"/>
                    <a:pt x="938596" y="120462"/>
                    <a:pt x="928497" y="120462"/>
                  </a:cubicBezTo>
                  <a:cubicBezTo>
                    <a:pt x="916523" y="120462"/>
                    <a:pt x="907434" y="123925"/>
                    <a:pt x="901086" y="130705"/>
                  </a:cubicBezTo>
                  <a:cubicBezTo>
                    <a:pt x="894739" y="137630"/>
                    <a:pt x="890555" y="146863"/>
                    <a:pt x="888535" y="158548"/>
                  </a:cubicBezTo>
                  <a:lnTo>
                    <a:pt x="965429" y="158548"/>
                  </a:lnTo>
                  <a:close/>
                  <a:moveTo>
                    <a:pt x="1051123" y="2020"/>
                  </a:moveTo>
                  <a:lnTo>
                    <a:pt x="1113158" y="2020"/>
                  </a:lnTo>
                  <a:lnTo>
                    <a:pt x="1113158" y="106036"/>
                  </a:lnTo>
                  <a:lnTo>
                    <a:pt x="1114312" y="106036"/>
                  </a:lnTo>
                  <a:cubicBezTo>
                    <a:pt x="1121381" y="96658"/>
                    <a:pt x="1129460" y="89301"/>
                    <a:pt x="1138260" y="84107"/>
                  </a:cubicBezTo>
                  <a:cubicBezTo>
                    <a:pt x="1147204" y="78914"/>
                    <a:pt x="1158457" y="76317"/>
                    <a:pt x="1172162" y="76317"/>
                  </a:cubicBezTo>
                  <a:cubicBezTo>
                    <a:pt x="1182838" y="76317"/>
                    <a:pt x="1192360" y="78192"/>
                    <a:pt x="1200727" y="81799"/>
                  </a:cubicBezTo>
                  <a:cubicBezTo>
                    <a:pt x="1209095" y="85406"/>
                    <a:pt x="1216164" y="90599"/>
                    <a:pt x="1222079" y="97091"/>
                  </a:cubicBezTo>
                  <a:cubicBezTo>
                    <a:pt x="1227993" y="103583"/>
                    <a:pt x="1232321" y="111373"/>
                    <a:pt x="1235495" y="120318"/>
                  </a:cubicBezTo>
                  <a:cubicBezTo>
                    <a:pt x="1238525" y="129262"/>
                    <a:pt x="1240112" y="139361"/>
                    <a:pt x="1240112" y="150181"/>
                  </a:cubicBezTo>
                  <a:lnTo>
                    <a:pt x="1240112" y="276991"/>
                  </a:lnTo>
                  <a:lnTo>
                    <a:pt x="1178077" y="276991"/>
                  </a:lnTo>
                  <a:lnTo>
                    <a:pt x="1178077" y="162732"/>
                  </a:lnTo>
                  <a:cubicBezTo>
                    <a:pt x="1178077" y="152345"/>
                    <a:pt x="1175481" y="143978"/>
                    <a:pt x="1170431" y="137630"/>
                  </a:cubicBezTo>
                  <a:cubicBezTo>
                    <a:pt x="1165382" y="131282"/>
                    <a:pt x="1157736" y="128108"/>
                    <a:pt x="1147637" y="128108"/>
                  </a:cubicBezTo>
                  <a:cubicBezTo>
                    <a:pt x="1137539" y="128108"/>
                    <a:pt x="1128883" y="131859"/>
                    <a:pt x="1122679" y="139505"/>
                  </a:cubicBezTo>
                  <a:cubicBezTo>
                    <a:pt x="1116476" y="147151"/>
                    <a:pt x="1113302" y="157106"/>
                    <a:pt x="1113302" y="169224"/>
                  </a:cubicBezTo>
                  <a:lnTo>
                    <a:pt x="1113302" y="276991"/>
                  </a:lnTo>
                  <a:lnTo>
                    <a:pt x="1051267" y="276991"/>
                  </a:lnTo>
                  <a:lnTo>
                    <a:pt x="1051267" y="1875"/>
                  </a:lnTo>
                  <a:close/>
                  <a:moveTo>
                    <a:pt x="1363892" y="283194"/>
                  </a:moveTo>
                  <a:cubicBezTo>
                    <a:pt x="1348167" y="283194"/>
                    <a:pt x="1333885" y="280598"/>
                    <a:pt x="1321045" y="275404"/>
                  </a:cubicBezTo>
                  <a:cubicBezTo>
                    <a:pt x="1308205" y="270210"/>
                    <a:pt x="1297241" y="262997"/>
                    <a:pt x="1288008" y="253620"/>
                  </a:cubicBezTo>
                  <a:cubicBezTo>
                    <a:pt x="1278919" y="244387"/>
                    <a:pt x="1271850" y="233423"/>
                    <a:pt x="1266945" y="220871"/>
                  </a:cubicBezTo>
                  <a:cubicBezTo>
                    <a:pt x="1262040" y="208320"/>
                    <a:pt x="1259443" y="194615"/>
                    <a:pt x="1259443" y="179900"/>
                  </a:cubicBezTo>
                  <a:cubicBezTo>
                    <a:pt x="1259443" y="165185"/>
                    <a:pt x="1261896" y="151479"/>
                    <a:pt x="1266945" y="138928"/>
                  </a:cubicBezTo>
                  <a:cubicBezTo>
                    <a:pt x="1271850" y="126377"/>
                    <a:pt x="1278919" y="115413"/>
                    <a:pt x="1288008" y="106180"/>
                  </a:cubicBezTo>
                  <a:cubicBezTo>
                    <a:pt x="1297097" y="96947"/>
                    <a:pt x="1308205" y="89734"/>
                    <a:pt x="1321045" y="84540"/>
                  </a:cubicBezTo>
                  <a:cubicBezTo>
                    <a:pt x="1333885" y="79346"/>
                    <a:pt x="1348167" y="76750"/>
                    <a:pt x="1363892" y="76750"/>
                  </a:cubicBezTo>
                  <a:cubicBezTo>
                    <a:pt x="1379617" y="76750"/>
                    <a:pt x="1393900" y="79346"/>
                    <a:pt x="1406739" y="84540"/>
                  </a:cubicBezTo>
                  <a:cubicBezTo>
                    <a:pt x="1419579" y="89734"/>
                    <a:pt x="1430543" y="96947"/>
                    <a:pt x="1439487" y="106180"/>
                  </a:cubicBezTo>
                  <a:cubicBezTo>
                    <a:pt x="1448432" y="115413"/>
                    <a:pt x="1455501" y="126377"/>
                    <a:pt x="1460406" y="138928"/>
                  </a:cubicBezTo>
                  <a:cubicBezTo>
                    <a:pt x="1465311" y="151479"/>
                    <a:pt x="1467764" y="165185"/>
                    <a:pt x="1467764" y="179900"/>
                  </a:cubicBezTo>
                  <a:cubicBezTo>
                    <a:pt x="1467764" y="194615"/>
                    <a:pt x="1465311" y="208320"/>
                    <a:pt x="1460406" y="220871"/>
                  </a:cubicBezTo>
                  <a:cubicBezTo>
                    <a:pt x="1455501" y="233423"/>
                    <a:pt x="1448432" y="244387"/>
                    <a:pt x="1439487" y="253620"/>
                  </a:cubicBezTo>
                  <a:cubicBezTo>
                    <a:pt x="1430543" y="262853"/>
                    <a:pt x="1419579" y="270066"/>
                    <a:pt x="1406739" y="275404"/>
                  </a:cubicBezTo>
                  <a:cubicBezTo>
                    <a:pt x="1393900" y="280598"/>
                    <a:pt x="1379617" y="283194"/>
                    <a:pt x="1363892" y="283194"/>
                  </a:cubicBezTo>
                  <a:moveTo>
                    <a:pt x="1363459" y="239049"/>
                  </a:moveTo>
                  <a:cubicBezTo>
                    <a:pt x="1377165" y="239049"/>
                    <a:pt x="1387552" y="233711"/>
                    <a:pt x="1394477" y="222891"/>
                  </a:cubicBezTo>
                  <a:cubicBezTo>
                    <a:pt x="1401546" y="212071"/>
                    <a:pt x="1405008" y="197789"/>
                    <a:pt x="1405008" y="180044"/>
                  </a:cubicBezTo>
                  <a:cubicBezTo>
                    <a:pt x="1405008" y="162299"/>
                    <a:pt x="1401546" y="147873"/>
                    <a:pt x="1394477" y="137053"/>
                  </a:cubicBezTo>
                  <a:cubicBezTo>
                    <a:pt x="1387552" y="126089"/>
                    <a:pt x="1377165" y="120606"/>
                    <a:pt x="1363459" y="120606"/>
                  </a:cubicBezTo>
                  <a:cubicBezTo>
                    <a:pt x="1349754" y="120606"/>
                    <a:pt x="1339511" y="126089"/>
                    <a:pt x="1332586" y="137053"/>
                  </a:cubicBezTo>
                  <a:cubicBezTo>
                    <a:pt x="1325806" y="148017"/>
                    <a:pt x="1322343" y="162299"/>
                    <a:pt x="1322343" y="180044"/>
                  </a:cubicBezTo>
                  <a:cubicBezTo>
                    <a:pt x="1322343" y="197789"/>
                    <a:pt x="1325806" y="212071"/>
                    <a:pt x="1332586" y="222891"/>
                  </a:cubicBezTo>
                  <a:cubicBezTo>
                    <a:pt x="1339511" y="233711"/>
                    <a:pt x="1349754" y="239049"/>
                    <a:pt x="1363459" y="239049"/>
                  </a:cubicBezTo>
                  <a:moveTo>
                    <a:pt x="1555910" y="282906"/>
                  </a:moveTo>
                  <a:cubicBezTo>
                    <a:pt x="1533260" y="282906"/>
                    <a:pt x="1516237" y="276270"/>
                    <a:pt x="1504696" y="262853"/>
                  </a:cubicBezTo>
                  <a:cubicBezTo>
                    <a:pt x="1493154" y="249580"/>
                    <a:pt x="1487384" y="231980"/>
                    <a:pt x="1487384" y="210051"/>
                  </a:cubicBezTo>
                  <a:lnTo>
                    <a:pt x="1487384" y="82087"/>
                  </a:lnTo>
                  <a:lnTo>
                    <a:pt x="1549130" y="82087"/>
                  </a:lnTo>
                  <a:lnTo>
                    <a:pt x="1549130" y="197212"/>
                  </a:lnTo>
                  <a:cubicBezTo>
                    <a:pt x="1549130" y="207887"/>
                    <a:pt x="1551582" y="216111"/>
                    <a:pt x="1556343" y="221737"/>
                  </a:cubicBezTo>
                  <a:cubicBezTo>
                    <a:pt x="1561104" y="227508"/>
                    <a:pt x="1568606" y="230249"/>
                    <a:pt x="1578416" y="230249"/>
                  </a:cubicBezTo>
                  <a:cubicBezTo>
                    <a:pt x="1589092" y="230249"/>
                    <a:pt x="1597459" y="226642"/>
                    <a:pt x="1603518" y="219429"/>
                  </a:cubicBezTo>
                  <a:cubicBezTo>
                    <a:pt x="1609577" y="212215"/>
                    <a:pt x="1612607" y="202694"/>
                    <a:pt x="1612607" y="191008"/>
                  </a:cubicBezTo>
                  <a:lnTo>
                    <a:pt x="1612607" y="82087"/>
                  </a:lnTo>
                  <a:lnTo>
                    <a:pt x="1674641" y="82087"/>
                  </a:lnTo>
                  <a:lnTo>
                    <a:pt x="1674641" y="277135"/>
                  </a:lnTo>
                  <a:lnTo>
                    <a:pt x="1615204" y="277135"/>
                  </a:lnTo>
                  <a:lnTo>
                    <a:pt x="1615204" y="253187"/>
                  </a:lnTo>
                  <a:lnTo>
                    <a:pt x="1614050" y="253187"/>
                  </a:lnTo>
                  <a:cubicBezTo>
                    <a:pt x="1606980" y="262853"/>
                    <a:pt x="1598902" y="270210"/>
                    <a:pt x="1589813" y="275260"/>
                  </a:cubicBezTo>
                  <a:cubicBezTo>
                    <a:pt x="1580868" y="280309"/>
                    <a:pt x="1569471" y="282906"/>
                    <a:pt x="1555766" y="282906"/>
                  </a:cubicBezTo>
                  <a:moveTo>
                    <a:pt x="1791208" y="283339"/>
                  </a:moveTo>
                  <a:cubicBezTo>
                    <a:pt x="1762499" y="283339"/>
                    <a:pt x="1739850" y="277135"/>
                    <a:pt x="1722971" y="264873"/>
                  </a:cubicBezTo>
                  <a:cubicBezTo>
                    <a:pt x="1706236" y="252610"/>
                    <a:pt x="1697291" y="235587"/>
                    <a:pt x="1696281" y="213947"/>
                  </a:cubicBezTo>
                  <a:lnTo>
                    <a:pt x="1754998" y="213947"/>
                  </a:lnTo>
                  <a:cubicBezTo>
                    <a:pt x="1756296" y="223612"/>
                    <a:pt x="1759903" y="230826"/>
                    <a:pt x="1766106" y="235731"/>
                  </a:cubicBezTo>
                  <a:cubicBezTo>
                    <a:pt x="1772165" y="240492"/>
                    <a:pt x="1780388" y="242944"/>
                    <a:pt x="1790920" y="242944"/>
                  </a:cubicBezTo>
                  <a:cubicBezTo>
                    <a:pt x="1800297" y="242944"/>
                    <a:pt x="1807799" y="241357"/>
                    <a:pt x="1813137" y="238039"/>
                  </a:cubicBezTo>
                  <a:cubicBezTo>
                    <a:pt x="1818619" y="234721"/>
                    <a:pt x="1821360" y="229960"/>
                    <a:pt x="1821360" y="223612"/>
                  </a:cubicBezTo>
                  <a:cubicBezTo>
                    <a:pt x="1821360" y="219284"/>
                    <a:pt x="1819917" y="215822"/>
                    <a:pt x="1817176" y="213081"/>
                  </a:cubicBezTo>
                  <a:cubicBezTo>
                    <a:pt x="1814435" y="210484"/>
                    <a:pt x="1810684" y="208320"/>
                    <a:pt x="1806068" y="206589"/>
                  </a:cubicBezTo>
                  <a:cubicBezTo>
                    <a:pt x="1801451" y="205002"/>
                    <a:pt x="1796258" y="203704"/>
                    <a:pt x="1790199" y="202838"/>
                  </a:cubicBezTo>
                  <a:cubicBezTo>
                    <a:pt x="1784284" y="201973"/>
                    <a:pt x="1778080" y="200818"/>
                    <a:pt x="1771732" y="199664"/>
                  </a:cubicBezTo>
                  <a:cubicBezTo>
                    <a:pt x="1763365" y="198077"/>
                    <a:pt x="1754998" y="196346"/>
                    <a:pt x="1746630" y="194182"/>
                  </a:cubicBezTo>
                  <a:cubicBezTo>
                    <a:pt x="1738263" y="192018"/>
                    <a:pt x="1730761" y="188844"/>
                    <a:pt x="1723980" y="184516"/>
                  </a:cubicBezTo>
                  <a:cubicBezTo>
                    <a:pt x="1717200" y="180188"/>
                    <a:pt x="1711862" y="174418"/>
                    <a:pt x="1707823" y="167204"/>
                  </a:cubicBezTo>
                  <a:cubicBezTo>
                    <a:pt x="1703783" y="159991"/>
                    <a:pt x="1701763" y="150614"/>
                    <a:pt x="1701763" y="139217"/>
                  </a:cubicBezTo>
                  <a:cubicBezTo>
                    <a:pt x="1701763" y="129118"/>
                    <a:pt x="1703927" y="120029"/>
                    <a:pt x="1708400" y="112095"/>
                  </a:cubicBezTo>
                  <a:cubicBezTo>
                    <a:pt x="1712872" y="104304"/>
                    <a:pt x="1718931" y="97668"/>
                    <a:pt x="1726577" y="92475"/>
                  </a:cubicBezTo>
                  <a:cubicBezTo>
                    <a:pt x="1734223" y="87281"/>
                    <a:pt x="1743168" y="83386"/>
                    <a:pt x="1753411" y="80645"/>
                  </a:cubicBezTo>
                  <a:cubicBezTo>
                    <a:pt x="1763653" y="78048"/>
                    <a:pt x="1774618" y="76605"/>
                    <a:pt x="1786015" y="76605"/>
                  </a:cubicBezTo>
                  <a:cubicBezTo>
                    <a:pt x="1813714" y="76605"/>
                    <a:pt x="1834921" y="82232"/>
                    <a:pt x="1849636" y="93340"/>
                  </a:cubicBezTo>
                  <a:cubicBezTo>
                    <a:pt x="1864351" y="104449"/>
                    <a:pt x="1872430" y="119741"/>
                    <a:pt x="1874017" y="139073"/>
                  </a:cubicBezTo>
                  <a:lnTo>
                    <a:pt x="1816888" y="139073"/>
                  </a:lnTo>
                  <a:cubicBezTo>
                    <a:pt x="1815589" y="130128"/>
                    <a:pt x="1812271" y="124213"/>
                    <a:pt x="1806789" y="121039"/>
                  </a:cubicBezTo>
                  <a:cubicBezTo>
                    <a:pt x="1801307" y="117865"/>
                    <a:pt x="1794238" y="116278"/>
                    <a:pt x="1785582" y="116278"/>
                  </a:cubicBezTo>
                  <a:cubicBezTo>
                    <a:pt x="1777936" y="116278"/>
                    <a:pt x="1771588" y="117721"/>
                    <a:pt x="1766395" y="120606"/>
                  </a:cubicBezTo>
                  <a:cubicBezTo>
                    <a:pt x="1761201" y="123492"/>
                    <a:pt x="1758604" y="127964"/>
                    <a:pt x="1758604" y="134167"/>
                  </a:cubicBezTo>
                  <a:cubicBezTo>
                    <a:pt x="1758604" y="137774"/>
                    <a:pt x="1759903" y="140515"/>
                    <a:pt x="1762355" y="142535"/>
                  </a:cubicBezTo>
                  <a:cubicBezTo>
                    <a:pt x="1764952" y="144555"/>
                    <a:pt x="1768270" y="146286"/>
                    <a:pt x="1772598" y="147728"/>
                  </a:cubicBezTo>
                  <a:cubicBezTo>
                    <a:pt x="1776926" y="149171"/>
                    <a:pt x="1781975" y="150325"/>
                    <a:pt x="1787602" y="151335"/>
                  </a:cubicBezTo>
                  <a:cubicBezTo>
                    <a:pt x="1793372" y="152345"/>
                    <a:pt x="1799287" y="153355"/>
                    <a:pt x="1805346" y="154365"/>
                  </a:cubicBezTo>
                  <a:cubicBezTo>
                    <a:pt x="1814002" y="155807"/>
                    <a:pt x="1822659" y="157683"/>
                    <a:pt x="1831459" y="159847"/>
                  </a:cubicBezTo>
                  <a:cubicBezTo>
                    <a:pt x="1840259" y="162011"/>
                    <a:pt x="1848193" y="165329"/>
                    <a:pt x="1855407" y="169945"/>
                  </a:cubicBezTo>
                  <a:cubicBezTo>
                    <a:pt x="1862620" y="174562"/>
                    <a:pt x="1868535" y="180621"/>
                    <a:pt x="1873152" y="188412"/>
                  </a:cubicBezTo>
                  <a:cubicBezTo>
                    <a:pt x="1877768" y="196202"/>
                    <a:pt x="1880076" y="206301"/>
                    <a:pt x="1880076" y="218707"/>
                  </a:cubicBezTo>
                  <a:cubicBezTo>
                    <a:pt x="1880076" y="229383"/>
                    <a:pt x="1877768" y="238760"/>
                    <a:pt x="1873440" y="246839"/>
                  </a:cubicBezTo>
                  <a:cubicBezTo>
                    <a:pt x="1868968" y="254918"/>
                    <a:pt x="1862764" y="261699"/>
                    <a:pt x="1854974" y="267037"/>
                  </a:cubicBezTo>
                  <a:cubicBezTo>
                    <a:pt x="1847039" y="272374"/>
                    <a:pt x="1837662" y="276414"/>
                    <a:pt x="1826842" y="279299"/>
                  </a:cubicBezTo>
                  <a:cubicBezTo>
                    <a:pt x="1815878" y="282040"/>
                    <a:pt x="1804048" y="283483"/>
                    <a:pt x="1791353" y="283483"/>
                  </a:cubicBezTo>
                  <a:moveTo>
                    <a:pt x="2001260" y="283050"/>
                  </a:moveTo>
                  <a:cubicBezTo>
                    <a:pt x="1985246" y="283050"/>
                    <a:pt x="1970820" y="280453"/>
                    <a:pt x="1957836" y="275260"/>
                  </a:cubicBezTo>
                  <a:cubicBezTo>
                    <a:pt x="1944852" y="270066"/>
                    <a:pt x="1934032" y="262853"/>
                    <a:pt x="1925087" y="253476"/>
                  </a:cubicBezTo>
                  <a:cubicBezTo>
                    <a:pt x="1916143" y="244243"/>
                    <a:pt x="1909362" y="233278"/>
                    <a:pt x="1904457" y="220583"/>
                  </a:cubicBezTo>
                  <a:cubicBezTo>
                    <a:pt x="1899697" y="207887"/>
                    <a:pt x="1897244" y="194182"/>
                    <a:pt x="1897244" y="179467"/>
                  </a:cubicBezTo>
                  <a:cubicBezTo>
                    <a:pt x="1897244" y="164752"/>
                    <a:pt x="1899697" y="151479"/>
                    <a:pt x="1904457" y="138928"/>
                  </a:cubicBezTo>
                  <a:cubicBezTo>
                    <a:pt x="1909218" y="126377"/>
                    <a:pt x="1916143" y="115413"/>
                    <a:pt x="1925087" y="106180"/>
                  </a:cubicBezTo>
                  <a:cubicBezTo>
                    <a:pt x="1934032" y="96947"/>
                    <a:pt x="1944563" y="89734"/>
                    <a:pt x="1956682" y="84540"/>
                  </a:cubicBezTo>
                  <a:cubicBezTo>
                    <a:pt x="1968944" y="79346"/>
                    <a:pt x="1982505" y="76750"/>
                    <a:pt x="1997509" y="76750"/>
                  </a:cubicBezTo>
                  <a:cubicBezTo>
                    <a:pt x="2011503" y="76750"/>
                    <a:pt x="2023910" y="78914"/>
                    <a:pt x="2035018" y="83242"/>
                  </a:cubicBezTo>
                  <a:cubicBezTo>
                    <a:pt x="2046127" y="87570"/>
                    <a:pt x="2055792" y="93484"/>
                    <a:pt x="2064160" y="101131"/>
                  </a:cubicBezTo>
                  <a:cubicBezTo>
                    <a:pt x="2075845" y="111806"/>
                    <a:pt x="2084501" y="125367"/>
                    <a:pt x="2090272" y="141669"/>
                  </a:cubicBezTo>
                  <a:cubicBezTo>
                    <a:pt x="2096043" y="158116"/>
                    <a:pt x="2098784" y="176149"/>
                    <a:pt x="2098495" y="195913"/>
                  </a:cubicBezTo>
                  <a:lnTo>
                    <a:pt x="1958269" y="195913"/>
                  </a:lnTo>
                  <a:cubicBezTo>
                    <a:pt x="1960288" y="209186"/>
                    <a:pt x="1964905" y="219573"/>
                    <a:pt x="1971974" y="227219"/>
                  </a:cubicBezTo>
                  <a:cubicBezTo>
                    <a:pt x="1979043" y="234865"/>
                    <a:pt x="1989142" y="238616"/>
                    <a:pt x="2002125" y="238616"/>
                  </a:cubicBezTo>
                  <a:cubicBezTo>
                    <a:pt x="2010204" y="238616"/>
                    <a:pt x="2016985" y="236885"/>
                    <a:pt x="2022323" y="233423"/>
                  </a:cubicBezTo>
                  <a:cubicBezTo>
                    <a:pt x="2027661" y="229960"/>
                    <a:pt x="2031700" y="225199"/>
                    <a:pt x="2034585" y="219140"/>
                  </a:cubicBezTo>
                  <a:lnTo>
                    <a:pt x="2095177" y="219140"/>
                  </a:lnTo>
                  <a:cubicBezTo>
                    <a:pt x="2093158" y="228085"/>
                    <a:pt x="2089406" y="236452"/>
                    <a:pt x="2083780" y="244531"/>
                  </a:cubicBezTo>
                  <a:cubicBezTo>
                    <a:pt x="2078154" y="252610"/>
                    <a:pt x="2071085" y="259390"/>
                    <a:pt x="2062429" y="265305"/>
                  </a:cubicBezTo>
                  <a:cubicBezTo>
                    <a:pt x="2054350" y="271220"/>
                    <a:pt x="2045261" y="275548"/>
                    <a:pt x="2035162" y="278578"/>
                  </a:cubicBezTo>
                  <a:cubicBezTo>
                    <a:pt x="2025064" y="281607"/>
                    <a:pt x="2013811" y="283194"/>
                    <a:pt x="2001404" y="283194"/>
                  </a:cubicBezTo>
                  <a:moveTo>
                    <a:pt x="2035739" y="158981"/>
                  </a:moveTo>
                  <a:cubicBezTo>
                    <a:pt x="2034441" y="147296"/>
                    <a:pt x="2030546" y="138063"/>
                    <a:pt x="2023910" y="131138"/>
                  </a:cubicBezTo>
                  <a:cubicBezTo>
                    <a:pt x="2017273" y="124357"/>
                    <a:pt x="2008906" y="120895"/>
                    <a:pt x="1998807" y="120895"/>
                  </a:cubicBezTo>
                  <a:cubicBezTo>
                    <a:pt x="1986833" y="120895"/>
                    <a:pt x="1977745" y="124357"/>
                    <a:pt x="1971397" y="131138"/>
                  </a:cubicBezTo>
                  <a:cubicBezTo>
                    <a:pt x="1965049" y="138063"/>
                    <a:pt x="1960865" y="147296"/>
                    <a:pt x="1958846" y="158981"/>
                  </a:cubicBezTo>
                  <a:lnTo>
                    <a:pt x="2035739" y="158981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420A9100-D517-D472-CEFD-D0D3A5BCF545}"/>
                </a:ext>
              </a:extLst>
            </p:cNvPr>
            <p:cNvSpPr/>
            <p:nvPr/>
          </p:nvSpPr>
          <p:spPr>
            <a:xfrm>
              <a:off x="883128" y="557212"/>
              <a:ext cx="273528" cy="675598"/>
            </a:xfrm>
            <a:custGeom>
              <a:avLst/>
              <a:gdLst>
                <a:gd name="connsiteX0" fmla="*/ 0 w 273528"/>
                <a:gd name="connsiteY0" fmla="*/ 0 h 675598"/>
                <a:gd name="connsiteX1" fmla="*/ 0 w 273528"/>
                <a:gd name="connsiteY1" fmla="*/ 476944 h 675598"/>
                <a:gd name="connsiteX2" fmla="*/ 272807 w 273528"/>
                <a:gd name="connsiteY2" fmla="*/ 675598 h 675598"/>
                <a:gd name="connsiteX3" fmla="*/ 273529 w 273528"/>
                <a:gd name="connsiteY3" fmla="*/ 674877 h 675598"/>
                <a:gd name="connsiteX4" fmla="*/ 0 w 273528"/>
                <a:gd name="connsiteY4" fmla="*/ 0 h 675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528" h="675598">
                  <a:moveTo>
                    <a:pt x="0" y="0"/>
                  </a:moveTo>
                  <a:lnTo>
                    <a:pt x="0" y="476944"/>
                  </a:lnTo>
                  <a:lnTo>
                    <a:pt x="272807" y="675598"/>
                  </a:lnTo>
                  <a:cubicBezTo>
                    <a:pt x="272807" y="675598"/>
                    <a:pt x="273384" y="675021"/>
                    <a:pt x="273529" y="67487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3D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AA4E6CE2-336C-0213-9FF5-26E16386C047}"/>
                </a:ext>
              </a:extLst>
            </p:cNvPr>
            <p:cNvSpPr/>
            <p:nvPr/>
          </p:nvSpPr>
          <p:spPr>
            <a:xfrm>
              <a:off x="609600" y="557212"/>
              <a:ext cx="273528" cy="675453"/>
            </a:xfrm>
            <a:custGeom>
              <a:avLst/>
              <a:gdLst>
                <a:gd name="connsiteX0" fmla="*/ 0 w 273528"/>
                <a:gd name="connsiteY0" fmla="*/ 674733 h 675453"/>
                <a:gd name="connsiteX1" fmla="*/ 721 w 273528"/>
                <a:gd name="connsiteY1" fmla="*/ 675454 h 675453"/>
                <a:gd name="connsiteX2" fmla="*/ 273529 w 273528"/>
                <a:gd name="connsiteY2" fmla="*/ 476799 h 675453"/>
                <a:gd name="connsiteX3" fmla="*/ 273529 w 273528"/>
                <a:gd name="connsiteY3" fmla="*/ 0 h 675453"/>
                <a:gd name="connsiteX4" fmla="*/ 0 w 273528"/>
                <a:gd name="connsiteY4" fmla="*/ 674733 h 675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528" h="675453">
                  <a:moveTo>
                    <a:pt x="0" y="674733"/>
                  </a:moveTo>
                  <a:cubicBezTo>
                    <a:pt x="0" y="674733"/>
                    <a:pt x="577" y="675310"/>
                    <a:pt x="721" y="675454"/>
                  </a:cubicBezTo>
                  <a:lnTo>
                    <a:pt x="273529" y="476799"/>
                  </a:lnTo>
                  <a:lnTo>
                    <a:pt x="273529" y="0"/>
                  </a:lnTo>
                  <a:lnTo>
                    <a:pt x="0" y="674733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CB1E87D-CF80-16E1-E2DA-D366BCB64A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048537"/>
            <a:ext cx="5376672" cy="2244461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ation title extends </a:t>
            </a:r>
            <a:br>
              <a:rPr lang="en-US"/>
            </a:br>
            <a:r>
              <a:rPr lang="en-US"/>
              <a:t>up to 3 line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2A9289B-23E0-657B-DF89-7F9B74F766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2648" y="1527048"/>
            <a:ext cx="2468880" cy="215444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400" b="1" cap="all" spc="300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63BBE4A5-01FB-BD6C-513D-9B06278F44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6090476"/>
            <a:ext cx="1834388" cy="210312"/>
          </a:xfrm>
          <a:prstGeom prst="rect">
            <a:avLst/>
          </a:prstGeom>
        </p:spPr>
      </p:pic>
      <p:sp>
        <p:nvSpPr>
          <p:cNvPr id="7" name="Text Placeholder 33">
            <a:extLst>
              <a:ext uri="{FF2B5EF4-FFF2-40B4-BE49-F238E27FC236}">
                <a16:creationId xmlns:a16="http://schemas.microsoft.com/office/drawing/2014/main" id="{31A9C09B-A70B-7FAF-E144-352D9BBCCE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4896099"/>
            <a:ext cx="5387082" cy="307777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8" name="Text Placeholder 33">
            <a:extLst>
              <a:ext uri="{FF2B5EF4-FFF2-40B4-BE49-F238E27FC236}">
                <a16:creationId xmlns:a16="http://schemas.microsoft.com/office/drawing/2014/main" id="{BE4ABADF-2476-619E-BCA6-A3468081358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0348" y="5236388"/>
            <a:ext cx="5387082" cy="276999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FCC54D6-1CD8-DA15-70A3-BCCDE81CDB97}"/>
              </a:ext>
            </a:extLst>
          </p:cNvPr>
          <p:cNvCxnSpPr>
            <a:cxnSpLocks/>
          </p:cNvCxnSpPr>
          <p:nvPr userDrawn="1"/>
        </p:nvCxnSpPr>
        <p:spPr>
          <a:xfrm>
            <a:off x="609600" y="4594548"/>
            <a:ext cx="537667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131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A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9B71025-0D3F-8A12-3873-64C2498801E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" y="1790700"/>
            <a:ext cx="5358384" cy="1947672"/>
          </a:xfr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0" b="0"/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5AA237-899E-FCE0-0AD4-FB2A201876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10972800" cy="5539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022DAC-57D8-FDDF-7CC8-51F8E0B898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9F2FA9-D8E4-C2EC-CC64-A86F688904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9CF9EAE-D6F8-F104-36AA-53E56737A9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E6160F4D-A315-BF53-90E4-1CAC3F7B6DB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" y="3957828"/>
            <a:ext cx="5358384" cy="1947672"/>
          </a:xfr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0" b="0"/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7027D155-A6B5-0280-283D-C141C39D8B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24016" y="1790700"/>
            <a:ext cx="5358384" cy="1947672"/>
          </a:xfr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0" b="0"/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sp>
        <p:nvSpPr>
          <p:cNvPr id="15" name="Picture Placeholder 11">
            <a:extLst>
              <a:ext uri="{FF2B5EF4-FFF2-40B4-BE49-F238E27FC236}">
                <a16:creationId xmlns:a16="http://schemas.microsoft.com/office/drawing/2014/main" id="{30C351AF-CAC4-025C-75C9-8260C7290B5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24016" y="3957828"/>
            <a:ext cx="5358384" cy="1947672"/>
          </a:xfr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0" b="0"/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D7621DF6-C14F-C882-2FEB-46261B932E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12776338-D81B-C1EF-6EC3-146EA96FB5D5}"/>
              </a:ext>
            </a:extLst>
          </p:cNvPr>
          <p:cNvSpPr>
            <a:spLocks noGrp="1"/>
          </p:cNvSpPr>
          <p:nvPr>
            <p:ph type="dt" sz="half" idx="44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802212C3-D054-41B7-B2BF-B791A8716781}" type="datetime4">
              <a:rPr lang="en-US" smtClean="0"/>
              <a:t>October 23, 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567061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s C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5AA237-899E-FCE0-0AD4-FB2A201876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10972800" cy="5539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022DAC-57D8-FDDF-7CC8-51F8E0B898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9F2FA9-D8E4-C2EC-CC64-A86F688904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D9CC79-5E2B-2168-888E-FD51C76D6E2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162C123-080F-4289-B439-5E14023B5C17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B22928A-D77F-2EB2-5612-6796E59997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9CEEA61-0AD2-17FF-8A06-DEDFDB3DD90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5FB64E0-35EB-079E-2330-CD61F7E3D5B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" y="1790700"/>
            <a:ext cx="2551176" cy="4114800"/>
          </a:xfr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0" b="0"/>
            </a:lvl1pPr>
          </a:lstStyle>
          <a:p>
            <a:pPr lvl="0" algn="ctr"/>
            <a:r>
              <a:rPr lang="en-US"/>
              <a:t>Insert Photo</a:t>
            </a:r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F1A9043B-9BCA-1269-E31C-B480E7D262D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416808" y="1790700"/>
            <a:ext cx="2551176" cy="4114800"/>
          </a:xfr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0" b="0"/>
            </a:lvl1pPr>
          </a:lstStyle>
          <a:p>
            <a:pPr lvl="0" algn="ctr"/>
            <a:r>
              <a:rPr lang="en-US"/>
              <a:t>Insert Photo</a:t>
            </a:r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4804B2A6-2190-2E08-9358-3697DADCA99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24016" y="1790700"/>
            <a:ext cx="2551176" cy="4114800"/>
          </a:xfr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0" b="0"/>
            </a:lvl1pPr>
          </a:lstStyle>
          <a:p>
            <a:pPr lvl="0" algn="ctr"/>
            <a:r>
              <a:rPr lang="en-US"/>
              <a:t>Insert Photo</a:t>
            </a:r>
          </a:p>
        </p:txBody>
      </p:sp>
      <p:sp>
        <p:nvSpPr>
          <p:cNvPr id="15" name="Picture Placeholder 11">
            <a:extLst>
              <a:ext uri="{FF2B5EF4-FFF2-40B4-BE49-F238E27FC236}">
                <a16:creationId xmlns:a16="http://schemas.microsoft.com/office/drawing/2014/main" id="{B7CB3A23-8096-7865-E664-844FE6AF8ED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031224" y="1790700"/>
            <a:ext cx="2551176" cy="4114800"/>
          </a:xfr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0" b="0" dirty="0"/>
            </a:lvl1pPr>
          </a:lstStyle>
          <a:p>
            <a:pPr lvl="0" algn="ctr"/>
            <a:r>
              <a:rPr lang="en-US"/>
              <a:t>Insert Photo</a:t>
            </a:r>
          </a:p>
        </p:txBody>
      </p:sp>
    </p:spTree>
    <p:extLst>
      <p:ext uri="{BB962C8B-B14F-4D97-AF65-F5344CB8AC3E}">
        <p14:creationId xmlns:p14="http://schemas.microsoft.com/office/powerpoint/2010/main" val="149098579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B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5AA237-899E-FCE0-0AD4-FB2A201876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10972800" cy="5539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022DAC-57D8-FDDF-7CC8-51F8E0B898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9F2FA9-D8E4-C2EC-CC64-A86F688904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D9CC79-5E2B-2168-888E-FD51C76D6E2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162C123-080F-4289-B439-5E14023B5C17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B22928A-D77F-2EB2-5612-6796E59997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9CEEA61-0AD2-17FF-8A06-DEDFDB3DD90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F49AD499-1A3B-C5ED-169F-98A43158000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" y="1790700"/>
            <a:ext cx="2551176" cy="4114800"/>
          </a:xfrm>
          <a:custGeom>
            <a:avLst/>
            <a:gdLst>
              <a:gd name="connsiteX0" fmla="*/ 0 w 2551176"/>
              <a:gd name="connsiteY0" fmla="*/ 0 h 4114800"/>
              <a:gd name="connsiteX1" fmla="*/ 2551176 w 2551176"/>
              <a:gd name="connsiteY1" fmla="*/ 0 h 4114800"/>
              <a:gd name="connsiteX2" fmla="*/ 2551176 w 2551176"/>
              <a:gd name="connsiteY2" fmla="*/ 4114800 h 4114800"/>
              <a:gd name="connsiteX3" fmla="*/ 1553088 w 2551176"/>
              <a:gd name="connsiteY3" fmla="*/ 4114800 h 4114800"/>
              <a:gd name="connsiteX4" fmla="*/ 1548786 w 2551176"/>
              <a:gd name="connsiteY4" fmla="*/ 4072131 h 4114800"/>
              <a:gd name="connsiteX5" fmla="*/ 1275588 w 2551176"/>
              <a:gd name="connsiteY5" fmla="*/ 3849459 h 4114800"/>
              <a:gd name="connsiteX6" fmla="*/ 1002391 w 2551176"/>
              <a:gd name="connsiteY6" fmla="*/ 4072131 h 4114800"/>
              <a:gd name="connsiteX7" fmla="*/ 998088 w 2551176"/>
              <a:gd name="connsiteY7" fmla="*/ 4114800 h 4114800"/>
              <a:gd name="connsiteX8" fmla="*/ 0 w 2551176"/>
              <a:gd name="connsiteY8" fmla="*/ 4114800 h 41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51176" h="4114800">
                <a:moveTo>
                  <a:pt x="0" y="0"/>
                </a:moveTo>
                <a:lnTo>
                  <a:pt x="2551176" y="0"/>
                </a:lnTo>
                <a:lnTo>
                  <a:pt x="2551176" y="4114800"/>
                </a:lnTo>
                <a:lnTo>
                  <a:pt x="1553088" y="4114800"/>
                </a:lnTo>
                <a:lnTo>
                  <a:pt x="1548786" y="4072131"/>
                </a:lnTo>
                <a:cubicBezTo>
                  <a:pt x="1522778" y="3945067"/>
                  <a:pt x="1410328" y="3849459"/>
                  <a:pt x="1275588" y="3849459"/>
                </a:cubicBezTo>
                <a:cubicBezTo>
                  <a:pt x="1140848" y="3849459"/>
                  <a:pt x="1028398" y="3945067"/>
                  <a:pt x="1002391" y="4072131"/>
                </a:cubicBezTo>
                <a:lnTo>
                  <a:pt x="998088" y="4114800"/>
                </a:lnTo>
                <a:lnTo>
                  <a:pt x="0" y="41148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0" b="0"/>
            </a:lvl1pPr>
          </a:lstStyle>
          <a:p>
            <a:pPr lvl="0" algn="ctr"/>
            <a:r>
              <a:rPr lang="en-US"/>
              <a:t>Insert Photo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0F56ADE-836D-004F-ABBC-AC5EDA9CCF2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416808" y="1790700"/>
            <a:ext cx="2551176" cy="4114800"/>
          </a:xfrm>
          <a:custGeom>
            <a:avLst/>
            <a:gdLst>
              <a:gd name="connsiteX0" fmla="*/ 0 w 2551176"/>
              <a:gd name="connsiteY0" fmla="*/ 0 h 4114800"/>
              <a:gd name="connsiteX1" fmla="*/ 2551176 w 2551176"/>
              <a:gd name="connsiteY1" fmla="*/ 0 h 4114800"/>
              <a:gd name="connsiteX2" fmla="*/ 2551176 w 2551176"/>
              <a:gd name="connsiteY2" fmla="*/ 4114800 h 4114800"/>
              <a:gd name="connsiteX3" fmla="*/ 1553088 w 2551176"/>
              <a:gd name="connsiteY3" fmla="*/ 4114800 h 4114800"/>
              <a:gd name="connsiteX4" fmla="*/ 1548786 w 2551176"/>
              <a:gd name="connsiteY4" fmla="*/ 4072131 h 4114800"/>
              <a:gd name="connsiteX5" fmla="*/ 1275589 w 2551176"/>
              <a:gd name="connsiteY5" fmla="*/ 3849459 h 4114800"/>
              <a:gd name="connsiteX6" fmla="*/ 1002391 w 2551176"/>
              <a:gd name="connsiteY6" fmla="*/ 4072131 h 4114800"/>
              <a:gd name="connsiteX7" fmla="*/ 998088 w 2551176"/>
              <a:gd name="connsiteY7" fmla="*/ 4114800 h 4114800"/>
              <a:gd name="connsiteX8" fmla="*/ 0 w 2551176"/>
              <a:gd name="connsiteY8" fmla="*/ 4114800 h 41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51176" h="4114800">
                <a:moveTo>
                  <a:pt x="0" y="0"/>
                </a:moveTo>
                <a:lnTo>
                  <a:pt x="2551176" y="0"/>
                </a:lnTo>
                <a:lnTo>
                  <a:pt x="2551176" y="4114800"/>
                </a:lnTo>
                <a:lnTo>
                  <a:pt x="1553088" y="4114800"/>
                </a:lnTo>
                <a:lnTo>
                  <a:pt x="1548786" y="4072131"/>
                </a:lnTo>
                <a:cubicBezTo>
                  <a:pt x="1522779" y="3945067"/>
                  <a:pt x="1410329" y="3849459"/>
                  <a:pt x="1275589" y="3849459"/>
                </a:cubicBezTo>
                <a:cubicBezTo>
                  <a:pt x="1140848" y="3849459"/>
                  <a:pt x="1028398" y="3945067"/>
                  <a:pt x="1002391" y="4072131"/>
                </a:cubicBezTo>
                <a:lnTo>
                  <a:pt x="998088" y="4114800"/>
                </a:lnTo>
                <a:lnTo>
                  <a:pt x="0" y="41148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0" b="0"/>
            </a:lvl1pPr>
          </a:lstStyle>
          <a:p>
            <a:pPr lvl="0" algn="ctr"/>
            <a:r>
              <a:rPr lang="en-US"/>
              <a:t>Insert Photo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1B1AAF4-337D-3CB6-B7EA-151F2D8CCC8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24016" y="1790700"/>
            <a:ext cx="2551176" cy="4114800"/>
          </a:xfrm>
          <a:custGeom>
            <a:avLst/>
            <a:gdLst>
              <a:gd name="connsiteX0" fmla="*/ 0 w 2551176"/>
              <a:gd name="connsiteY0" fmla="*/ 0 h 4114800"/>
              <a:gd name="connsiteX1" fmla="*/ 2551176 w 2551176"/>
              <a:gd name="connsiteY1" fmla="*/ 0 h 4114800"/>
              <a:gd name="connsiteX2" fmla="*/ 2551176 w 2551176"/>
              <a:gd name="connsiteY2" fmla="*/ 4114800 h 4114800"/>
              <a:gd name="connsiteX3" fmla="*/ 1553088 w 2551176"/>
              <a:gd name="connsiteY3" fmla="*/ 4114800 h 4114800"/>
              <a:gd name="connsiteX4" fmla="*/ 1548786 w 2551176"/>
              <a:gd name="connsiteY4" fmla="*/ 4072131 h 4114800"/>
              <a:gd name="connsiteX5" fmla="*/ 1275589 w 2551176"/>
              <a:gd name="connsiteY5" fmla="*/ 3849459 h 4114800"/>
              <a:gd name="connsiteX6" fmla="*/ 1002391 w 2551176"/>
              <a:gd name="connsiteY6" fmla="*/ 4072131 h 4114800"/>
              <a:gd name="connsiteX7" fmla="*/ 998088 w 2551176"/>
              <a:gd name="connsiteY7" fmla="*/ 4114800 h 4114800"/>
              <a:gd name="connsiteX8" fmla="*/ 0 w 2551176"/>
              <a:gd name="connsiteY8" fmla="*/ 4114800 h 41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51176" h="4114800">
                <a:moveTo>
                  <a:pt x="0" y="0"/>
                </a:moveTo>
                <a:lnTo>
                  <a:pt x="2551176" y="0"/>
                </a:lnTo>
                <a:lnTo>
                  <a:pt x="2551176" y="4114800"/>
                </a:lnTo>
                <a:lnTo>
                  <a:pt x="1553088" y="4114800"/>
                </a:lnTo>
                <a:lnTo>
                  <a:pt x="1548786" y="4072131"/>
                </a:lnTo>
                <a:cubicBezTo>
                  <a:pt x="1522779" y="3945067"/>
                  <a:pt x="1410329" y="3849459"/>
                  <a:pt x="1275589" y="3849459"/>
                </a:cubicBezTo>
                <a:cubicBezTo>
                  <a:pt x="1140848" y="3849459"/>
                  <a:pt x="1028398" y="3945067"/>
                  <a:pt x="1002391" y="4072131"/>
                </a:cubicBezTo>
                <a:lnTo>
                  <a:pt x="998088" y="4114800"/>
                </a:lnTo>
                <a:lnTo>
                  <a:pt x="0" y="41148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0" b="0"/>
            </a:lvl1pPr>
          </a:lstStyle>
          <a:p>
            <a:pPr lvl="0" algn="ctr"/>
            <a:r>
              <a:rPr lang="en-US"/>
              <a:t>Insert Photo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0405F5B-EBBC-8883-AEC0-0BBF8A81CF8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031224" y="1790700"/>
            <a:ext cx="2551176" cy="4114800"/>
          </a:xfrm>
          <a:custGeom>
            <a:avLst/>
            <a:gdLst>
              <a:gd name="connsiteX0" fmla="*/ 0 w 2551176"/>
              <a:gd name="connsiteY0" fmla="*/ 0 h 4114800"/>
              <a:gd name="connsiteX1" fmla="*/ 2551176 w 2551176"/>
              <a:gd name="connsiteY1" fmla="*/ 0 h 4114800"/>
              <a:gd name="connsiteX2" fmla="*/ 2551176 w 2551176"/>
              <a:gd name="connsiteY2" fmla="*/ 4114800 h 4114800"/>
              <a:gd name="connsiteX3" fmla="*/ 1554029 w 2551176"/>
              <a:gd name="connsiteY3" fmla="*/ 4114800 h 4114800"/>
              <a:gd name="connsiteX4" fmla="*/ 1548786 w 2551176"/>
              <a:gd name="connsiteY4" fmla="*/ 4062796 h 4114800"/>
              <a:gd name="connsiteX5" fmla="*/ 1275588 w 2551176"/>
              <a:gd name="connsiteY5" fmla="*/ 3840124 h 4114800"/>
              <a:gd name="connsiteX6" fmla="*/ 1002391 w 2551176"/>
              <a:gd name="connsiteY6" fmla="*/ 4062796 h 4114800"/>
              <a:gd name="connsiteX7" fmla="*/ 997147 w 2551176"/>
              <a:gd name="connsiteY7" fmla="*/ 4114800 h 4114800"/>
              <a:gd name="connsiteX8" fmla="*/ 0 w 2551176"/>
              <a:gd name="connsiteY8" fmla="*/ 4114800 h 41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51176" h="4114800">
                <a:moveTo>
                  <a:pt x="0" y="0"/>
                </a:moveTo>
                <a:lnTo>
                  <a:pt x="2551176" y="0"/>
                </a:lnTo>
                <a:lnTo>
                  <a:pt x="2551176" y="4114800"/>
                </a:lnTo>
                <a:lnTo>
                  <a:pt x="1554029" y="4114800"/>
                </a:lnTo>
                <a:lnTo>
                  <a:pt x="1548786" y="4062796"/>
                </a:lnTo>
                <a:cubicBezTo>
                  <a:pt x="1522778" y="3935732"/>
                  <a:pt x="1410328" y="3840124"/>
                  <a:pt x="1275588" y="3840124"/>
                </a:cubicBezTo>
                <a:cubicBezTo>
                  <a:pt x="1140848" y="3840124"/>
                  <a:pt x="1028398" y="3935732"/>
                  <a:pt x="1002391" y="4062796"/>
                </a:cubicBezTo>
                <a:lnTo>
                  <a:pt x="997147" y="4114800"/>
                </a:lnTo>
                <a:lnTo>
                  <a:pt x="0" y="41148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0" b="0"/>
            </a:lvl1pPr>
          </a:lstStyle>
          <a:p>
            <a:pPr lvl="0" algn="ctr"/>
            <a:r>
              <a:rPr lang="en-US"/>
              <a:t>Insert Photo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6ED5DAD-CBDE-36C0-281E-B1CD97A3F16E}"/>
              </a:ext>
            </a:extLst>
          </p:cNvPr>
          <p:cNvGrpSpPr/>
          <p:nvPr userDrawn="1"/>
        </p:nvGrpSpPr>
        <p:grpSpPr>
          <a:xfrm rot="5400000" flipV="1">
            <a:off x="1606322" y="5649685"/>
            <a:ext cx="557732" cy="557728"/>
            <a:chOff x="10790180" y="2982466"/>
            <a:chExt cx="790041" cy="790037"/>
          </a:xfrm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4A129AD9-1F5C-5825-AE7C-08A6D145B474}"/>
                </a:ext>
              </a:extLst>
            </p:cNvPr>
            <p:cNvSpPr/>
            <p:nvPr/>
          </p:nvSpPr>
          <p:spPr>
            <a:xfrm>
              <a:off x="10790180" y="2982466"/>
              <a:ext cx="395020" cy="790037"/>
            </a:xfrm>
            <a:custGeom>
              <a:avLst/>
              <a:gdLst>
                <a:gd name="connsiteX0" fmla="*/ 395021 w 395020"/>
                <a:gd name="connsiteY0" fmla="*/ 790037 h 790037"/>
                <a:gd name="connsiteX1" fmla="*/ 0 w 395020"/>
                <a:gd name="connsiteY1" fmla="*/ 395019 h 790037"/>
                <a:gd name="connsiteX2" fmla="*/ 395021 w 395020"/>
                <a:gd name="connsiteY2" fmla="*/ 0 h 790037"/>
                <a:gd name="connsiteX3" fmla="*/ 395021 w 395020"/>
                <a:gd name="connsiteY3" fmla="*/ 790037 h 790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020" h="790037">
                  <a:moveTo>
                    <a:pt x="395021" y="790037"/>
                  </a:moveTo>
                  <a:cubicBezTo>
                    <a:pt x="176890" y="790037"/>
                    <a:pt x="0" y="613148"/>
                    <a:pt x="0" y="395019"/>
                  </a:cubicBezTo>
                  <a:cubicBezTo>
                    <a:pt x="0" y="176889"/>
                    <a:pt x="176890" y="0"/>
                    <a:pt x="395021" y="0"/>
                  </a:cubicBezTo>
                  <a:lnTo>
                    <a:pt x="395021" y="790037"/>
                  </a:lnTo>
                  <a:close/>
                </a:path>
              </a:pathLst>
            </a:custGeom>
            <a:solidFill>
              <a:srgbClr val="93D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CA7AD01-D409-B276-D35E-89B5ED7B49DF}"/>
                </a:ext>
              </a:extLst>
            </p:cNvPr>
            <p:cNvSpPr/>
            <p:nvPr/>
          </p:nvSpPr>
          <p:spPr>
            <a:xfrm>
              <a:off x="11185201" y="2982466"/>
              <a:ext cx="395020" cy="790037"/>
            </a:xfrm>
            <a:custGeom>
              <a:avLst/>
              <a:gdLst>
                <a:gd name="connsiteX0" fmla="*/ 0 w 395020"/>
                <a:gd name="connsiteY0" fmla="*/ 0 h 790037"/>
                <a:gd name="connsiteX1" fmla="*/ 395021 w 395020"/>
                <a:gd name="connsiteY1" fmla="*/ 395019 h 790037"/>
                <a:gd name="connsiteX2" fmla="*/ 0 w 395020"/>
                <a:gd name="connsiteY2" fmla="*/ 790037 h 790037"/>
                <a:gd name="connsiteX3" fmla="*/ 0 w 395020"/>
                <a:gd name="connsiteY3" fmla="*/ 0 h 790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020" h="790037">
                  <a:moveTo>
                    <a:pt x="0" y="0"/>
                  </a:moveTo>
                  <a:cubicBezTo>
                    <a:pt x="218130" y="0"/>
                    <a:pt x="395021" y="176889"/>
                    <a:pt x="395021" y="395019"/>
                  </a:cubicBezTo>
                  <a:cubicBezTo>
                    <a:pt x="395021" y="613148"/>
                    <a:pt x="218130" y="790037"/>
                    <a:pt x="0" y="79003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23DF22E-6C5B-FFD9-EE32-21B34326B5FA}"/>
              </a:ext>
            </a:extLst>
          </p:cNvPr>
          <p:cNvGrpSpPr/>
          <p:nvPr userDrawn="1"/>
        </p:nvGrpSpPr>
        <p:grpSpPr>
          <a:xfrm rot="16200000">
            <a:off x="4413530" y="5649685"/>
            <a:ext cx="557732" cy="557728"/>
            <a:chOff x="10790180" y="2982466"/>
            <a:chExt cx="790041" cy="790037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A92C64A-C00A-0B29-EE39-10A9409ED893}"/>
                </a:ext>
              </a:extLst>
            </p:cNvPr>
            <p:cNvSpPr/>
            <p:nvPr/>
          </p:nvSpPr>
          <p:spPr>
            <a:xfrm>
              <a:off x="10790180" y="2982466"/>
              <a:ext cx="395020" cy="790037"/>
            </a:xfrm>
            <a:custGeom>
              <a:avLst/>
              <a:gdLst>
                <a:gd name="connsiteX0" fmla="*/ 395021 w 395020"/>
                <a:gd name="connsiteY0" fmla="*/ 790037 h 790037"/>
                <a:gd name="connsiteX1" fmla="*/ 0 w 395020"/>
                <a:gd name="connsiteY1" fmla="*/ 395019 h 790037"/>
                <a:gd name="connsiteX2" fmla="*/ 395021 w 395020"/>
                <a:gd name="connsiteY2" fmla="*/ 0 h 790037"/>
                <a:gd name="connsiteX3" fmla="*/ 395021 w 395020"/>
                <a:gd name="connsiteY3" fmla="*/ 790037 h 790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020" h="790037">
                  <a:moveTo>
                    <a:pt x="395021" y="790037"/>
                  </a:moveTo>
                  <a:cubicBezTo>
                    <a:pt x="176890" y="790037"/>
                    <a:pt x="0" y="613148"/>
                    <a:pt x="0" y="395019"/>
                  </a:cubicBezTo>
                  <a:cubicBezTo>
                    <a:pt x="0" y="176889"/>
                    <a:pt x="176890" y="0"/>
                    <a:pt x="395021" y="0"/>
                  </a:cubicBezTo>
                  <a:lnTo>
                    <a:pt x="395021" y="790037"/>
                  </a:lnTo>
                  <a:close/>
                </a:path>
              </a:pathLst>
            </a:custGeom>
            <a:solidFill>
              <a:srgbClr val="93D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719BC5A-CA11-DA4B-E611-BE90F16D668D}"/>
                </a:ext>
              </a:extLst>
            </p:cNvPr>
            <p:cNvSpPr/>
            <p:nvPr/>
          </p:nvSpPr>
          <p:spPr>
            <a:xfrm>
              <a:off x="11185201" y="2982466"/>
              <a:ext cx="395020" cy="790037"/>
            </a:xfrm>
            <a:custGeom>
              <a:avLst/>
              <a:gdLst>
                <a:gd name="connsiteX0" fmla="*/ 0 w 395020"/>
                <a:gd name="connsiteY0" fmla="*/ 0 h 790037"/>
                <a:gd name="connsiteX1" fmla="*/ 395021 w 395020"/>
                <a:gd name="connsiteY1" fmla="*/ 395019 h 790037"/>
                <a:gd name="connsiteX2" fmla="*/ 0 w 395020"/>
                <a:gd name="connsiteY2" fmla="*/ 790037 h 790037"/>
                <a:gd name="connsiteX3" fmla="*/ 0 w 395020"/>
                <a:gd name="connsiteY3" fmla="*/ 0 h 790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020" h="790037">
                  <a:moveTo>
                    <a:pt x="0" y="0"/>
                  </a:moveTo>
                  <a:cubicBezTo>
                    <a:pt x="218130" y="0"/>
                    <a:pt x="395021" y="176889"/>
                    <a:pt x="395021" y="395019"/>
                  </a:cubicBezTo>
                  <a:cubicBezTo>
                    <a:pt x="395021" y="613148"/>
                    <a:pt x="218130" y="790037"/>
                    <a:pt x="0" y="79003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C6FE544-F06F-572B-C721-23904D42AD80}"/>
              </a:ext>
            </a:extLst>
          </p:cNvPr>
          <p:cNvGrpSpPr/>
          <p:nvPr userDrawn="1"/>
        </p:nvGrpSpPr>
        <p:grpSpPr>
          <a:xfrm rot="5400000" flipV="1">
            <a:off x="7220738" y="5649685"/>
            <a:ext cx="557732" cy="557728"/>
            <a:chOff x="10790180" y="2982466"/>
            <a:chExt cx="790041" cy="790037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2598CAC-B1E6-5349-962B-36362C79F238}"/>
                </a:ext>
              </a:extLst>
            </p:cNvPr>
            <p:cNvSpPr/>
            <p:nvPr/>
          </p:nvSpPr>
          <p:spPr>
            <a:xfrm>
              <a:off x="10790180" y="2982466"/>
              <a:ext cx="395020" cy="790037"/>
            </a:xfrm>
            <a:custGeom>
              <a:avLst/>
              <a:gdLst>
                <a:gd name="connsiteX0" fmla="*/ 395021 w 395020"/>
                <a:gd name="connsiteY0" fmla="*/ 790037 h 790037"/>
                <a:gd name="connsiteX1" fmla="*/ 0 w 395020"/>
                <a:gd name="connsiteY1" fmla="*/ 395019 h 790037"/>
                <a:gd name="connsiteX2" fmla="*/ 395021 w 395020"/>
                <a:gd name="connsiteY2" fmla="*/ 0 h 790037"/>
                <a:gd name="connsiteX3" fmla="*/ 395021 w 395020"/>
                <a:gd name="connsiteY3" fmla="*/ 790037 h 790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020" h="790037">
                  <a:moveTo>
                    <a:pt x="395021" y="790037"/>
                  </a:moveTo>
                  <a:cubicBezTo>
                    <a:pt x="176890" y="790037"/>
                    <a:pt x="0" y="613148"/>
                    <a:pt x="0" y="395019"/>
                  </a:cubicBezTo>
                  <a:cubicBezTo>
                    <a:pt x="0" y="176889"/>
                    <a:pt x="176890" y="0"/>
                    <a:pt x="395021" y="0"/>
                  </a:cubicBezTo>
                  <a:lnTo>
                    <a:pt x="395021" y="790037"/>
                  </a:lnTo>
                  <a:close/>
                </a:path>
              </a:pathLst>
            </a:custGeom>
            <a:solidFill>
              <a:srgbClr val="93D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DB2245A5-FA98-894F-85CD-65806E90F958}"/>
                </a:ext>
              </a:extLst>
            </p:cNvPr>
            <p:cNvSpPr/>
            <p:nvPr/>
          </p:nvSpPr>
          <p:spPr>
            <a:xfrm>
              <a:off x="11185201" y="2982466"/>
              <a:ext cx="395020" cy="790037"/>
            </a:xfrm>
            <a:custGeom>
              <a:avLst/>
              <a:gdLst>
                <a:gd name="connsiteX0" fmla="*/ 0 w 395020"/>
                <a:gd name="connsiteY0" fmla="*/ 0 h 790037"/>
                <a:gd name="connsiteX1" fmla="*/ 395021 w 395020"/>
                <a:gd name="connsiteY1" fmla="*/ 395019 h 790037"/>
                <a:gd name="connsiteX2" fmla="*/ 0 w 395020"/>
                <a:gd name="connsiteY2" fmla="*/ 790037 h 790037"/>
                <a:gd name="connsiteX3" fmla="*/ 0 w 395020"/>
                <a:gd name="connsiteY3" fmla="*/ 0 h 790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020" h="790037">
                  <a:moveTo>
                    <a:pt x="0" y="0"/>
                  </a:moveTo>
                  <a:cubicBezTo>
                    <a:pt x="218130" y="0"/>
                    <a:pt x="395021" y="176889"/>
                    <a:pt x="395021" y="395019"/>
                  </a:cubicBezTo>
                  <a:cubicBezTo>
                    <a:pt x="395021" y="613148"/>
                    <a:pt x="218130" y="790037"/>
                    <a:pt x="0" y="79003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D7CC577-2F17-3EF7-7FD8-6F8A2A5F4651}"/>
              </a:ext>
            </a:extLst>
          </p:cNvPr>
          <p:cNvGrpSpPr/>
          <p:nvPr userDrawn="1"/>
        </p:nvGrpSpPr>
        <p:grpSpPr>
          <a:xfrm rot="16200000">
            <a:off x="10027946" y="5649685"/>
            <a:ext cx="557732" cy="557728"/>
            <a:chOff x="10790180" y="2982466"/>
            <a:chExt cx="790041" cy="790037"/>
          </a:xfrm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A6F6D48-0D01-E7AB-A30C-F1FFC17B1734}"/>
                </a:ext>
              </a:extLst>
            </p:cNvPr>
            <p:cNvSpPr/>
            <p:nvPr/>
          </p:nvSpPr>
          <p:spPr>
            <a:xfrm>
              <a:off x="10790180" y="2982466"/>
              <a:ext cx="395020" cy="790037"/>
            </a:xfrm>
            <a:custGeom>
              <a:avLst/>
              <a:gdLst>
                <a:gd name="connsiteX0" fmla="*/ 395021 w 395020"/>
                <a:gd name="connsiteY0" fmla="*/ 790037 h 790037"/>
                <a:gd name="connsiteX1" fmla="*/ 0 w 395020"/>
                <a:gd name="connsiteY1" fmla="*/ 395019 h 790037"/>
                <a:gd name="connsiteX2" fmla="*/ 395021 w 395020"/>
                <a:gd name="connsiteY2" fmla="*/ 0 h 790037"/>
                <a:gd name="connsiteX3" fmla="*/ 395021 w 395020"/>
                <a:gd name="connsiteY3" fmla="*/ 790037 h 790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020" h="790037">
                  <a:moveTo>
                    <a:pt x="395021" y="790037"/>
                  </a:moveTo>
                  <a:cubicBezTo>
                    <a:pt x="176890" y="790037"/>
                    <a:pt x="0" y="613148"/>
                    <a:pt x="0" y="395019"/>
                  </a:cubicBezTo>
                  <a:cubicBezTo>
                    <a:pt x="0" y="176889"/>
                    <a:pt x="176890" y="0"/>
                    <a:pt x="395021" y="0"/>
                  </a:cubicBezTo>
                  <a:lnTo>
                    <a:pt x="395021" y="790037"/>
                  </a:lnTo>
                  <a:close/>
                </a:path>
              </a:pathLst>
            </a:custGeom>
            <a:solidFill>
              <a:srgbClr val="93D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5985A824-D9EB-90EA-540E-42D8B6A5E602}"/>
                </a:ext>
              </a:extLst>
            </p:cNvPr>
            <p:cNvSpPr/>
            <p:nvPr/>
          </p:nvSpPr>
          <p:spPr>
            <a:xfrm>
              <a:off x="11185201" y="2982466"/>
              <a:ext cx="395020" cy="790037"/>
            </a:xfrm>
            <a:custGeom>
              <a:avLst/>
              <a:gdLst>
                <a:gd name="connsiteX0" fmla="*/ 0 w 395020"/>
                <a:gd name="connsiteY0" fmla="*/ 0 h 790037"/>
                <a:gd name="connsiteX1" fmla="*/ 395021 w 395020"/>
                <a:gd name="connsiteY1" fmla="*/ 395019 h 790037"/>
                <a:gd name="connsiteX2" fmla="*/ 0 w 395020"/>
                <a:gd name="connsiteY2" fmla="*/ 790037 h 790037"/>
                <a:gd name="connsiteX3" fmla="*/ 0 w 395020"/>
                <a:gd name="connsiteY3" fmla="*/ 0 h 790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020" h="790037">
                  <a:moveTo>
                    <a:pt x="0" y="0"/>
                  </a:moveTo>
                  <a:cubicBezTo>
                    <a:pt x="218130" y="0"/>
                    <a:pt x="395021" y="176889"/>
                    <a:pt x="395021" y="395019"/>
                  </a:cubicBezTo>
                  <a:cubicBezTo>
                    <a:pt x="395021" y="613148"/>
                    <a:pt x="218130" y="790037"/>
                    <a:pt x="0" y="79003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0124439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istics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644F2F-8058-0037-6983-DD53BBDAE6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E6CDED-3690-C823-89B5-50C27CBFD3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985037-0DF6-C09A-FF7F-5A35AE79B3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8015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8FE771C-AF3B-746F-8A25-2C5C4A4812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3" name="Text Placeholder 33">
            <a:extLst>
              <a:ext uri="{FF2B5EF4-FFF2-40B4-BE49-F238E27FC236}">
                <a16:creationId xmlns:a16="http://schemas.microsoft.com/office/drawing/2014/main" id="{7E25B57A-249F-302B-B85D-FA5ED6A06A1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9599" y="1981432"/>
            <a:ext cx="1995949" cy="1015663"/>
          </a:xfrm>
        </p:spPr>
        <p:txBody>
          <a:bodyPr lIns="0" rIns="0" anchor="ctr">
            <a:noAutofit/>
          </a:bodyPr>
          <a:lstStyle>
            <a:lvl1pPr>
              <a:defRPr lang="en-US" sz="6000" dirty="0">
                <a:latin typeface="+mj-lt"/>
              </a:defRPr>
            </a:lvl1pPr>
          </a:lstStyle>
          <a:p>
            <a:pPr lvl="0"/>
            <a:r>
              <a:rPr lang="en-US"/>
              <a:t>00M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81332B9F-1F08-F247-B712-9C3A3624ECE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9599" y="3435635"/>
            <a:ext cx="1995949" cy="1015663"/>
          </a:xfrm>
        </p:spPr>
        <p:txBody>
          <a:bodyPr lIns="0" rIns="0" anchor="ctr">
            <a:noAutofit/>
          </a:bodyPr>
          <a:lstStyle>
            <a:lvl1pPr>
              <a:defRPr lang="en-US" sz="6000" dirty="0">
                <a:latin typeface="+mj-lt"/>
              </a:defRPr>
            </a:lvl1pPr>
          </a:lstStyle>
          <a:p>
            <a:pPr lvl="0"/>
            <a:r>
              <a:rPr lang="en-US"/>
              <a:t>00M</a:t>
            </a:r>
          </a:p>
        </p:txBody>
      </p:sp>
      <p:sp>
        <p:nvSpPr>
          <p:cNvPr id="35" name="Text Placeholder 33">
            <a:extLst>
              <a:ext uri="{FF2B5EF4-FFF2-40B4-BE49-F238E27FC236}">
                <a16:creationId xmlns:a16="http://schemas.microsoft.com/office/drawing/2014/main" id="{7393CE72-B83F-00E3-F8CD-862380C62E5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599" y="4889838"/>
            <a:ext cx="1995949" cy="1015663"/>
          </a:xfrm>
        </p:spPr>
        <p:txBody>
          <a:bodyPr lIns="0" rIns="0" anchor="ctr">
            <a:noAutofit/>
          </a:bodyPr>
          <a:lstStyle>
            <a:lvl1pPr>
              <a:defRPr lang="en-US" sz="6000" dirty="0">
                <a:latin typeface="+mj-lt"/>
              </a:defRPr>
            </a:lvl1pPr>
          </a:lstStyle>
          <a:p>
            <a:pPr lvl="0"/>
            <a:r>
              <a:rPr lang="en-US"/>
              <a:t>00M</a:t>
            </a:r>
          </a:p>
        </p:txBody>
      </p:sp>
      <p:sp>
        <p:nvSpPr>
          <p:cNvPr id="41" name="Text Placeholder 33">
            <a:extLst>
              <a:ext uri="{FF2B5EF4-FFF2-40B4-BE49-F238E27FC236}">
                <a16:creationId xmlns:a16="http://schemas.microsoft.com/office/drawing/2014/main" id="{90333D83-CE3E-B927-4B86-D6DE7FF1E8D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371303" y="1981432"/>
            <a:ext cx="1995949" cy="1015663"/>
          </a:xfrm>
        </p:spPr>
        <p:txBody>
          <a:bodyPr lIns="0" rIns="0" anchor="ctr">
            <a:noAutofit/>
          </a:bodyPr>
          <a:lstStyle>
            <a:lvl1pPr>
              <a:defRPr lang="en-US" sz="6000" dirty="0">
                <a:latin typeface="+mj-lt"/>
              </a:defRPr>
            </a:lvl1pPr>
          </a:lstStyle>
          <a:p>
            <a:pPr lvl="0"/>
            <a:r>
              <a:rPr lang="en-US"/>
              <a:t>00M</a:t>
            </a:r>
          </a:p>
        </p:txBody>
      </p:sp>
      <p:sp>
        <p:nvSpPr>
          <p:cNvPr id="42" name="Text Placeholder 33">
            <a:extLst>
              <a:ext uri="{FF2B5EF4-FFF2-40B4-BE49-F238E27FC236}">
                <a16:creationId xmlns:a16="http://schemas.microsoft.com/office/drawing/2014/main" id="{431E9520-FD4B-C5E8-75B7-42F0A83BEE6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371303" y="3435635"/>
            <a:ext cx="1995949" cy="1015663"/>
          </a:xfrm>
        </p:spPr>
        <p:txBody>
          <a:bodyPr lIns="0" rIns="0" anchor="ctr">
            <a:noAutofit/>
          </a:bodyPr>
          <a:lstStyle>
            <a:lvl1pPr>
              <a:defRPr lang="en-US" sz="6000" dirty="0">
                <a:latin typeface="+mj-lt"/>
              </a:defRPr>
            </a:lvl1pPr>
          </a:lstStyle>
          <a:p>
            <a:pPr lvl="0"/>
            <a:r>
              <a:rPr lang="en-US"/>
              <a:t>00M</a:t>
            </a:r>
          </a:p>
        </p:txBody>
      </p:sp>
      <p:sp>
        <p:nvSpPr>
          <p:cNvPr id="43" name="Text Placeholder 33">
            <a:extLst>
              <a:ext uri="{FF2B5EF4-FFF2-40B4-BE49-F238E27FC236}">
                <a16:creationId xmlns:a16="http://schemas.microsoft.com/office/drawing/2014/main" id="{13A258BC-65F7-7E99-1C10-1F7A78D89A4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371303" y="4889838"/>
            <a:ext cx="1995949" cy="1015663"/>
          </a:xfrm>
        </p:spPr>
        <p:txBody>
          <a:bodyPr lIns="0" rIns="0" anchor="ctr">
            <a:noAutofit/>
          </a:bodyPr>
          <a:lstStyle>
            <a:lvl1pPr>
              <a:defRPr lang="en-US" sz="6000" dirty="0">
                <a:latin typeface="+mj-lt"/>
              </a:defRPr>
            </a:lvl1pPr>
          </a:lstStyle>
          <a:p>
            <a:pPr lvl="0"/>
            <a:r>
              <a:rPr lang="en-US"/>
              <a:t>00M</a:t>
            </a:r>
          </a:p>
        </p:txBody>
      </p:sp>
      <p:sp>
        <p:nvSpPr>
          <p:cNvPr id="7" name="Text Placeholder 33">
            <a:extLst>
              <a:ext uri="{FF2B5EF4-FFF2-40B4-BE49-F238E27FC236}">
                <a16:creationId xmlns:a16="http://schemas.microsoft.com/office/drawing/2014/main" id="{53E29BA2-2A65-DCC1-F92B-B16E116F89B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969340" y="1981432"/>
            <a:ext cx="2851356" cy="1015663"/>
          </a:xfrm>
        </p:spPr>
        <p:txBody>
          <a:bodyPr anchor="ctr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3">
            <a:extLst>
              <a:ext uri="{FF2B5EF4-FFF2-40B4-BE49-F238E27FC236}">
                <a16:creationId xmlns:a16="http://schemas.microsoft.com/office/drawing/2014/main" id="{A7555289-4122-EEDC-87E0-6D6E5178ACE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969340" y="3435635"/>
            <a:ext cx="2851356" cy="1015663"/>
          </a:xfrm>
        </p:spPr>
        <p:txBody>
          <a:bodyPr anchor="ctr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87D57193-8B70-088C-7CED-0D5D6475DF3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2969340" y="4889838"/>
            <a:ext cx="2851356" cy="1015663"/>
          </a:xfrm>
        </p:spPr>
        <p:txBody>
          <a:bodyPr anchor="ctr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3">
            <a:extLst>
              <a:ext uri="{FF2B5EF4-FFF2-40B4-BE49-F238E27FC236}">
                <a16:creationId xmlns:a16="http://schemas.microsoft.com/office/drawing/2014/main" id="{1111471C-B4BB-C16C-20B6-9EABD7911DC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731044" y="1981432"/>
            <a:ext cx="2851356" cy="1015663"/>
          </a:xfrm>
        </p:spPr>
        <p:txBody>
          <a:bodyPr anchor="ctr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3">
            <a:extLst>
              <a:ext uri="{FF2B5EF4-FFF2-40B4-BE49-F238E27FC236}">
                <a16:creationId xmlns:a16="http://schemas.microsoft.com/office/drawing/2014/main" id="{DE19B41B-36A1-A98B-A96B-28E331CA83AE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8731044" y="3435635"/>
            <a:ext cx="2851356" cy="1015663"/>
          </a:xfrm>
        </p:spPr>
        <p:txBody>
          <a:bodyPr anchor="ctr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7201346C-7F24-9A74-C424-0A91E7C05AB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8731044" y="4889838"/>
            <a:ext cx="2851356" cy="1015663"/>
          </a:xfrm>
        </p:spPr>
        <p:txBody>
          <a:bodyPr anchor="ctr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Date Placeholder 4">
            <a:extLst>
              <a:ext uri="{FF2B5EF4-FFF2-40B4-BE49-F238E27FC236}">
                <a16:creationId xmlns:a16="http://schemas.microsoft.com/office/drawing/2014/main" id="{10DD0599-157A-2B10-FC25-8F782FE55986}"/>
              </a:ext>
            </a:extLst>
          </p:cNvPr>
          <p:cNvSpPr>
            <a:spLocks noGrp="1"/>
          </p:cNvSpPr>
          <p:nvPr>
            <p:ph type="dt" sz="half" idx="44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2701F099-C06A-4FA7-B2D7-8073F5E9C3B6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966CE636-D2E8-A795-F616-7764CB50FF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1579251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tatistic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985037-0DF6-C09A-FF7F-5A35AE79B3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8015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8FE771C-AF3B-746F-8A25-2C5C4A4812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" name="Text Placeholder 33">
            <a:extLst>
              <a:ext uri="{FF2B5EF4-FFF2-40B4-BE49-F238E27FC236}">
                <a16:creationId xmlns:a16="http://schemas.microsoft.com/office/drawing/2014/main" id="{7E25B57A-249F-302B-B85D-FA5ED6A06A1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9599" y="1981432"/>
            <a:ext cx="1995949" cy="1015663"/>
          </a:xfrm>
        </p:spPr>
        <p:txBody>
          <a:bodyPr lIns="0" rIns="0" anchor="ctr">
            <a:noAutofit/>
          </a:bodyPr>
          <a:lstStyle>
            <a:lvl1pPr>
              <a:defRPr lang="en-US" sz="6000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0M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81332B9F-1F08-F247-B712-9C3A3624ECE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9599" y="3435635"/>
            <a:ext cx="1995949" cy="1015663"/>
          </a:xfrm>
        </p:spPr>
        <p:txBody>
          <a:bodyPr lIns="0" rIns="0" anchor="ctr">
            <a:noAutofit/>
          </a:bodyPr>
          <a:lstStyle>
            <a:lvl1pPr>
              <a:defRPr lang="en-US" sz="6000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0M</a:t>
            </a:r>
          </a:p>
        </p:txBody>
      </p:sp>
      <p:sp>
        <p:nvSpPr>
          <p:cNvPr id="35" name="Text Placeholder 33">
            <a:extLst>
              <a:ext uri="{FF2B5EF4-FFF2-40B4-BE49-F238E27FC236}">
                <a16:creationId xmlns:a16="http://schemas.microsoft.com/office/drawing/2014/main" id="{7393CE72-B83F-00E3-F8CD-862380C62E5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599" y="4889838"/>
            <a:ext cx="1995949" cy="1015663"/>
          </a:xfrm>
        </p:spPr>
        <p:txBody>
          <a:bodyPr lIns="0" rIns="0" anchor="ctr">
            <a:noAutofit/>
          </a:bodyPr>
          <a:lstStyle>
            <a:lvl1pPr>
              <a:defRPr lang="en-US" sz="6000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0M</a:t>
            </a:r>
          </a:p>
        </p:txBody>
      </p:sp>
      <p:sp>
        <p:nvSpPr>
          <p:cNvPr id="41" name="Text Placeholder 33">
            <a:extLst>
              <a:ext uri="{FF2B5EF4-FFF2-40B4-BE49-F238E27FC236}">
                <a16:creationId xmlns:a16="http://schemas.microsoft.com/office/drawing/2014/main" id="{90333D83-CE3E-B927-4B86-D6DE7FF1E8D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371303" y="1981432"/>
            <a:ext cx="1995949" cy="1015663"/>
          </a:xfrm>
        </p:spPr>
        <p:txBody>
          <a:bodyPr lIns="0" rIns="0" anchor="ctr">
            <a:noAutofit/>
          </a:bodyPr>
          <a:lstStyle>
            <a:lvl1pPr>
              <a:defRPr lang="en-US" sz="6000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0M</a:t>
            </a:r>
          </a:p>
        </p:txBody>
      </p:sp>
      <p:sp>
        <p:nvSpPr>
          <p:cNvPr id="42" name="Text Placeholder 33">
            <a:extLst>
              <a:ext uri="{FF2B5EF4-FFF2-40B4-BE49-F238E27FC236}">
                <a16:creationId xmlns:a16="http://schemas.microsoft.com/office/drawing/2014/main" id="{431E9520-FD4B-C5E8-75B7-42F0A83BEE6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371303" y="3435635"/>
            <a:ext cx="1995949" cy="1015663"/>
          </a:xfrm>
        </p:spPr>
        <p:txBody>
          <a:bodyPr lIns="0" rIns="0" anchor="ctr">
            <a:noAutofit/>
          </a:bodyPr>
          <a:lstStyle>
            <a:lvl1pPr>
              <a:defRPr lang="en-US" sz="6000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0M</a:t>
            </a:r>
          </a:p>
        </p:txBody>
      </p:sp>
      <p:sp>
        <p:nvSpPr>
          <p:cNvPr id="43" name="Text Placeholder 33">
            <a:extLst>
              <a:ext uri="{FF2B5EF4-FFF2-40B4-BE49-F238E27FC236}">
                <a16:creationId xmlns:a16="http://schemas.microsoft.com/office/drawing/2014/main" id="{13A258BC-65F7-7E99-1C10-1F7A78D89A4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371303" y="4889838"/>
            <a:ext cx="1995949" cy="1015663"/>
          </a:xfrm>
        </p:spPr>
        <p:txBody>
          <a:bodyPr lIns="0" rIns="0" anchor="ctr">
            <a:noAutofit/>
          </a:bodyPr>
          <a:lstStyle>
            <a:lvl1pPr>
              <a:defRPr lang="en-US" sz="6000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0M</a:t>
            </a:r>
          </a:p>
        </p:txBody>
      </p:sp>
      <p:sp>
        <p:nvSpPr>
          <p:cNvPr id="7" name="Text Placeholder 33">
            <a:extLst>
              <a:ext uri="{FF2B5EF4-FFF2-40B4-BE49-F238E27FC236}">
                <a16:creationId xmlns:a16="http://schemas.microsoft.com/office/drawing/2014/main" id="{53E29BA2-2A65-DCC1-F92B-B16E116F89B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969340" y="1981432"/>
            <a:ext cx="2851356" cy="1015663"/>
          </a:xfrm>
        </p:spPr>
        <p:txBody>
          <a:bodyPr anchor="ctr"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3">
            <a:extLst>
              <a:ext uri="{FF2B5EF4-FFF2-40B4-BE49-F238E27FC236}">
                <a16:creationId xmlns:a16="http://schemas.microsoft.com/office/drawing/2014/main" id="{A7555289-4122-EEDC-87E0-6D6E5178ACE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969340" y="3435635"/>
            <a:ext cx="2851356" cy="1015663"/>
          </a:xfrm>
        </p:spPr>
        <p:txBody>
          <a:bodyPr anchor="ctr"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87D57193-8B70-088C-7CED-0D5D6475DF3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2969340" y="4889838"/>
            <a:ext cx="2851356" cy="1015663"/>
          </a:xfrm>
        </p:spPr>
        <p:txBody>
          <a:bodyPr anchor="ctr"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3">
            <a:extLst>
              <a:ext uri="{FF2B5EF4-FFF2-40B4-BE49-F238E27FC236}">
                <a16:creationId xmlns:a16="http://schemas.microsoft.com/office/drawing/2014/main" id="{1111471C-B4BB-C16C-20B6-9EABD7911DC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731044" y="1981432"/>
            <a:ext cx="2851356" cy="1015663"/>
          </a:xfrm>
        </p:spPr>
        <p:txBody>
          <a:bodyPr anchor="ctr"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3">
            <a:extLst>
              <a:ext uri="{FF2B5EF4-FFF2-40B4-BE49-F238E27FC236}">
                <a16:creationId xmlns:a16="http://schemas.microsoft.com/office/drawing/2014/main" id="{DE19B41B-36A1-A98B-A96B-28E331CA83AE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8731044" y="3435635"/>
            <a:ext cx="2851356" cy="1015663"/>
          </a:xfrm>
        </p:spPr>
        <p:txBody>
          <a:bodyPr anchor="ctr"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7201346C-7F24-9A74-C424-0A91E7C05AB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8731044" y="4889838"/>
            <a:ext cx="2851356" cy="1015663"/>
          </a:xfrm>
        </p:spPr>
        <p:txBody>
          <a:bodyPr anchor="ctr"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CA5FE8D1-CE4A-70FF-38C5-921E263BAFD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3802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6" name="Date Placeholder 12">
            <a:extLst>
              <a:ext uri="{FF2B5EF4-FFF2-40B4-BE49-F238E27FC236}">
                <a16:creationId xmlns:a16="http://schemas.microsoft.com/office/drawing/2014/main" id="{9F001AA3-E8A3-08B5-EBAC-5BC79F1A0EF2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236555" y="13802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B7FCE19A-6763-449F-932A-B690384CB417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10" name="Footer Placeholder 13">
            <a:extLst>
              <a:ext uri="{FF2B5EF4-FFF2-40B4-BE49-F238E27FC236}">
                <a16:creationId xmlns:a16="http://schemas.microsoft.com/office/drawing/2014/main" id="{1CBB0353-FBF5-B1E3-D1C1-03E34A43B192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609600" y="656608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20" name="Slide Number Placeholder 14">
            <a:extLst>
              <a:ext uri="{FF2B5EF4-FFF2-40B4-BE49-F238E27FC236}">
                <a16:creationId xmlns:a16="http://schemas.microsoft.com/office/drawing/2014/main" id="{B51E7EAE-68E6-4D4C-35F1-39A661AF655D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248008" y="656608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668416C8-DA1C-C6E9-68D4-3F01F4C55B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03876" y="88565"/>
            <a:ext cx="995110" cy="252812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FADCDA6-711B-3677-A59A-4F39CDDCE639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38B03EF-DCA7-985D-D7DF-092FA5C3E989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BD26ABCD-AA8B-0812-FC27-ECCA4F55A68D}"/>
              </a:ext>
            </a:extLst>
          </p:cNvPr>
          <p:cNvCxnSpPr>
            <a:cxnSpLocks/>
          </p:cNvCxnSpPr>
          <p:nvPr userDrawn="1"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780444BC-6040-AD50-C04B-A7CF5F19A28D}"/>
              </a:ext>
            </a:extLst>
          </p:cNvPr>
          <p:cNvCxnSpPr>
            <a:cxnSpLocks/>
          </p:cNvCxnSpPr>
          <p:nvPr userDrawn="1"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757133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644F2F-8058-0037-6983-DD53BBDAE6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E6CDED-3690-C823-89B5-50C27CBFD3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985037-0DF6-C09A-FF7F-5A35AE79B3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8015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8FE771C-AF3B-746F-8A25-2C5C4A4812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3">
            <a:extLst>
              <a:ext uri="{FF2B5EF4-FFF2-40B4-BE49-F238E27FC236}">
                <a16:creationId xmlns:a16="http://schemas.microsoft.com/office/drawing/2014/main" id="{A3FF7FE9-7C3E-9E3F-5E98-C14306A5E66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9600" y="4007068"/>
            <a:ext cx="2019300" cy="1477407"/>
          </a:xfrm>
        </p:spPr>
        <p:txBody>
          <a:bodyPr anchor="t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33">
            <a:extLst>
              <a:ext uri="{FF2B5EF4-FFF2-40B4-BE49-F238E27FC236}">
                <a16:creationId xmlns:a16="http://schemas.microsoft.com/office/drawing/2014/main" id="{7040573E-FA4E-F880-7253-8F615D3A556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847975" y="4007068"/>
            <a:ext cx="2019300" cy="1477407"/>
          </a:xfrm>
        </p:spPr>
        <p:txBody>
          <a:bodyPr anchor="t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33">
            <a:extLst>
              <a:ext uri="{FF2B5EF4-FFF2-40B4-BE49-F238E27FC236}">
                <a16:creationId xmlns:a16="http://schemas.microsoft.com/office/drawing/2014/main" id="{FC9FDCE9-3F2A-8273-3A90-940BD2FB45C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086350" y="4007068"/>
            <a:ext cx="2019300" cy="1477407"/>
          </a:xfrm>
        </p:spPr>
        <p:txBody>
          <a:bodyPr anchor="t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C73D29D7-D2B7-C2E6-E294-7211B43A0E0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324725" y="4007068"/>
            <a:ext cx="2019300" cy="1477407"/>
          </a:xfrm>
        </p:spPr>
        <p:txBody>
          <a:bodyPr anchor="t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9E8DB932-E00E-7098-CC9F-DB7146FCD55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563100" y="4007068"/>
            <a:ext cx="2019300" cy="1477407"/>
          </a:xfrm>
        </p:spPr>
        <p:txBody>
          <a:bodyPr anchor="t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33">
            <a:extLst>
              <a:ext uri="{FF2B5EF4-FFF2-40B4-BE49-F238E27FC236}">
                <a16:creationId xmlns:a16="http://schemas.microsoft.com/office/drawing/2014/main" id="{029791F1-18D9-6ADC-173D-2DB273FF26B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09600" y="2461210"/>
            <a:ext cx="812799" cy="430887"/>
          </a:xfrm>
        </p:spPr>
        <p:txBody>
          <a:bodyPr lIns="0" anchor="ctr">
            <a:noAutofit/>
          </a:bodyPr>
          <a:lstStyle>
            <a:lvl1pPr>
              <a:defRPr lang="en-US" sz="2400" dirty="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6" name="Text Placeholder 33">
            <a:extLst>
              <a:ext uri="{FF2B5EF4-FFF2-40B4-BE49-F238E27FC236}">
                <a16:creationId xmlns:a16="http://schemas.microsoft.com/office/drawing/2014/main" id="{E648E2D6-1714-3A97-3AFB-36501C0AE41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847975" y="2461210"/>
            <a:ext cx="812799" cy="430887"/>
          </a:xfrm>
        </p:spPr>
        <p:txBody>
          <a:bodyPr lIns="0" anchor="ctr">
            <a:noAutofit/>
          </a:bodyPr>
          <a:lstStyle>
            <a:lvl1pPr>
              <a:defRPr lang="en-US" sz="2400" dirty="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1" name="Text Placeholder 33">
            <a:extLst>
              <a:ext uri="{FF2B5EF4-FFF2-40B4-BE49-F238E27FC236}">
                <a16:creationId xmlns:a16="http://schemas.microsoft.com/office/drawing/2014/main" id="{7796FB6B-A7D4-62B6-13B5-27FC13C31C6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086350" y="2461210"/>
            <a:ext cx="812799" cy="430887"/>
          </a:xfrm>
        </p:spPr>
        <p:txBody>
          <a:bodyPr lIns="0" anchor="ctr">
            <a:noAutofit/>
          </a:bodyPr>
          <a:lstStyle>
            <a:lvl1pPr>
              <a:defRPr lang="en-US" sz="2400" dirty="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33">
            <a:extLst>
              <a:ext uri="{FF2B5EF4-FFF2-40B4-BE49-F238E27FC236}">
                <a16:creationId xmlns:a16="http://schemas.microsoft.com/office/drawing/2014/main" id="{7C8A7C98-FB2F-39E1-5A63-E3CE3009615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324725" y="2461210"/>
            <a:ext cx="812799" cy="430887"/>
          </a:xfrm>
        </p:spPr>
        <p:txBody>
          <a:bodyPr lIns="0" anchor="ctr">
            <a:noAutofit/>
          </a:bodyPr>
          <a:lstStyle>
            <a:lvl1pPr>
              <a:defRPr lang="en-US" sz="2400" dirty="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33">
            <a:extLst>
              <a:ext uri="{FF2B5EF4-FFF2-40B4-BE49-F238E27FC236}">
                <a16:creationId xmlns:a16="http://schemas.microsoft.com/office/drawing/2014/main" id="{377A0E12-8209-F77D-D443-47B6CC416C9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563100" y="2461210"/>
            <a:ext cx="812799" cy="430887"/>
          </a:xfrm>
        </p:spPr>
        <p:txBody>
          <a:bodyPr lIns="0" anchor="ctr">
            <a:noAutofit/>
          </a:bodyPr>
          <a:lstStyle>
            <a:lvl1pPr>
              <a:defRPr lang="en-US" sz="2400" dirty="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11028E06-0590-49EE-428F-4F698DA8C098}"/>
              </a:ext>
            </a:extLst>
          </p:cNvPr>
          <p:cNvSpPr>
            <a:spLocks noGrp="1"/>
          </p:cNvSpPr>
          <p:nvPr>
            <p:ph type="dt" sz="half" idx="44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7E188797-EBD3-44EC-B195-8F88FB48BCB0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2370188-3E8A-4A8B-B64A-337B723DF3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24" name="Picture Placeholder 44">
            <a:extLst>
              <a:ext uri="{FF2B5EF4-FFF2-40B4-BE49-F238E27FC236}">
                <a16:creationId xmlns:a16="http://schemas.microsoft.com/office/drawing/2014/main" id="{D0A1BF89-346C-EEBA-9A68-27A8CAD66F79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98967" y="3353587"/>
            <a:ext cx="475488" cy="47548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o add picture</a:t>
            </a:r>
          </a:p>
        </p:txBody>
      </p:sp>
      <p:sp>
        <p:nvSpPr>
          <p:cNvPr id="25" name="Picture Placeholder 44">
            <a:extLst>
              <a:ext uri="{FF2B5EF4-FFF2-40B4-BE49-F238E27FC236}">
                <a16:creationId xmlns:a16="http://schemas.microsoft.com/office/drawing/2014/main" id="{FE4CEB3D-C869-490C-EFE4-65AB3D7F0E10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853067" y="3353587"/>
            <a:ext cx="475488" cy="47548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6" name="Picture Placeholder 44">
            <a:extLst>
              <a:ext uri="{FF2B5EF4-FFF2-40B4-BE49-F238E27FC236}">
                <a16:creationId xmlns:a16="http://schemas.microsoft.com/office/drawing/2014/main" id="{FECB9004-6F8E-2D42-833B-F1BDC8A2FA33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5085892" y="3353587"/>
            <a:ext cx="475488" cy="47548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Picture Placeholder 44">
            <a:extLst>
              <a:ext uri="{FF2B5EF4-FFF2-40B4-BE49-F238E27FC236}">
                <a16:creationId xmlns:a16="http://schemas.microsoft.com/office/drawing/2014/main" id="{CFDE9957-DCA0-56F8-F7F3-DDD5207EF344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7308087" y="3353587"/>
            <a:ext cx="475488" cy="47548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Picture Placeholder 44">
            <a:extLst>
              <a:ext uri="{FF2B5EF4-FFF2-40B4-BE49-F238E27FC236}">
                <a16:creationId xmlns:a16="http://schemas.microsoft.com/office/drawing/2014/main" id="{77BFB51C-3B11-D42A-30D2-2F1372EA298F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583454" y="3353587"/>
            <a:ext cx="475488" cy="475488"/>
          </a:xfrm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3399772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drant Charts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644F2F-8058-0037-6983-DD53BBDAE6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E6CDED-3690-C823-89B5-50C27CBFD3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985037-0DF6-C09A-FF7F-5A35AE79B3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8015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8FE771C-AF3B-746F-8A25-2C5C4A4812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Chart Placeholder 2">
            <a:extLst>
              <a:ext uri="{FF2B5EF4-FFF2-40B4-BE49-F238E27FC236}">
                <a16:creationId xmlns:a16="http://schemas.microsoft.com/office/drawing/2014/main" id="{0DFBDD93-FDE3-C5C5-3401-38180D1BD0DD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6172200" y="1898650"/>
            <a:ext cx="5410200" cy="1924050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7" name="Chart Placeholder 2">
            <a:extLst>
              <a:ext uri="{FF2B5EF4-FFF2-40B4-BE49-F238E27FC236}">
                <a16:creationId xmlns:a16="http://schemas.microsoft.com/office/drawing/2014/main" id="{7280B777-A22D-280B-3187-F8EABE1B0879}"/>
              </a:ext>
            </a:extLst>
          </p:cNvPr>
          <p:cNvSpPr>
            <a:spLocks noGrp="1"/>
          </p:cNvSpPr>
          <p:nvPr>
            <p:ph type="chart" sz="quarter" idx="32"/>
          </p:nvPr>
        </p:nvSpPr>
        <p:spPr>
          <a:xfrm>
            <a:off x="6172200" y="3972609"/>
            <a:ext cx="5410200" cy="1924050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4" name="Chart Placeholder 2">
            <a:extLst>
              <a:ext uri="{FF2B5EF4-FFF2-40B4-BE49-F238E27FC236}">
                <a16:creationId xmlns:a16="http://schemas.microsoft.com/office/drawing/2014/main" id="{2C11B0B6-19E8-0F46-62A9-191A5728893D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609600" y="1898650"/>
            <a:ext cx="5410200" cy="1924050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5" name="Chart Placeholder 2">
            <a:extLst>
              <a:ext uri="{FF2B5EF4-FFF2-40B4-BE49-F238E27FC236}">
                <a16:creationId xmlns:a16="http://schemas.microsoft.com/office/drawing/2014/main" id="{6AA788D3-78E3-DC72-05D2-6C3AE0CB3374}"/>
              </a:ext>
            </a:extLst>
          </p:cNvPr>
          <p:cNvSpPr>
            <a:spLocks noGrp="1"/>
          </p:cNvSpPr>
          <p:nvPr>
            <p:ph type="chart" sz="quarter" idx="34"/>
          </p:nvPr>
        </p:nvSpPr>
        <p:spPr>
          <a:xfrm>
            <a:off x="609600" y="3972609"/>
            <a:ext cx="5410200" cy="1924050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25371273-63D4-ADA3-419B-F6E1D0936929}"/>
              </a:ext>
            </a:extLst>
          </p:cNvPr>
          <p:cNvSpPr>
            <a:spLocks noGrp="1"/>
          </p:cNvSpPr>
          <p:nvPr>
            <p:ph type="dt" sz="half" idx="44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96DFA3E3-A7BE-4477-834B-06DC1C0BB938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0BE35F7-12FC-E8A7-DEBE-1ECEB88FD8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1801210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Slide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644F2F-8058-0037-6983-DD53BBDAE6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E6CDED-3690-C823-89B5-50C27CBFD3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985037-0DF6-C09A-FF7F-5A35AE79B3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8015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8FE771C-AF3B-746F-8A25-2C5C4A4812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able Placeholder 10">
            <a:extLst>
              <a:ext uri="{FF2B5EF4-FFF2-40B4-BE49-F238E27FC236}">
                <a16:creationId xmlns:a16="http://schemas.microsoft.com/office/drawing/2014/main" id="{40D724CC-2F7D-C8B4-1533-9B5820DA74FD}"/>
              </a:ext>
            </a:extLst>
          </p:cNvPr>
          <p:cNvSpPr>
            <a:spLocks noGrp="1"/>
          </p:cNvSpPr>
          <p:nvPr>
            <p:ph type="tbl" sz="quarter" idx="35"/>
          </p:nvPr>
        </p:nvSpPr>
        <p:spPr>
          <a:xfrm>
            <a:off x="609600" y="1898650"/>
            <a:ext cx="10972800" cy="400685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2" name="Date Placeholder 4">
            <a:extLst>
              <a:ext uri="{FF2B5EF4-FFF2-40B4-BE49-F238E27FC236}">
                <a16:creationId xmlns:a16="http://schemas.microsoft.com/office/drawing/2014/main" id="{18D02B29-16EA-4C5A-95FD-C3FE8CDDCD53}"/>
              </a:ext>
            </a:extLst>
          </p:cNvPr>
          <p:cNvSpPr>
            <a:spLocks noGrp="1"/>
          </p:cNvSpPr>
          <p:nvPr>
            <p:ph type="dt" sz="half" idx="44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E022535A-5A5D-499B-AEA0-D8D0837D5420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ED771DD-A8E7-36F6-47C3-66B79E0249F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</p:spTree>
    <p:extLst>
      <p:ext uri="{BB962C8B-B14F-4D97-AF65-F5344CB8AC3E}">
        <p14:creationId xmlns:p14="http://schemas.microsoft.com/office/powerpoint/2010/main" val="56952388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-column + Image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09D163-6DF6-9BE0-6173-D594B244B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5854700" cy="61555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2" name="Text Placeholder 37">
            <a:extLst>
              <a:ext uri="{FF2B5EF4-FFF2-40B4-BE49-F238E27FC236}">
                <a16:creationId xmlns:a16="http://schemas.microsoft.com/office/drawing/2014/main" id="{F4AE42DD-CBC4-0669-9A85-81A01695BC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1" y="2196559"/>
            <a:ext cx="5854700" cy="1389888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CFB9608-E818-D2BF-8BF7-6E839B8050D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C85335B-FAF2-9208-41C9-63068D2F64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E63F9C31-8332-AB06-3853-4F9BFCA2654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019924" y="0"/>
            <a:ext cx="5172076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 b="0"/>
            </a:lvl1pPr>
          </a:lstStyle>
          <a:p>
            <a:r>
              <a:rPr lang="en-US"/>
              <a:t>Insert Photo</a:t>
            </a:r>
          </a:p>
        </p:txBody>
      </p:sp>
    </p:spTree>
    <p:extLst>
      <p:ext uri="{BB962C8B-B14F-4D97-AF65-F5344CB8AC3E}">
        <p14:creationId xmlns:p14="http://schemas.microsoft.com/office/powerpoint/2010/main" val="189048999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Slide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2F6F618-CF2E-13EA-0DF7-5CBE80F733F0}"/>
              </a:ext>
            </a:extLst>
          </p:cNvPr>
          <p:cNvSpPr/>
          <p:nvPr/>
        </p:nvSpPr>
        <p:spPr>
          <a:xfrm>
            <a:off x="0" y="0"/>
            <a:ext cx="406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556BBD-E905-984B-4075-604E21C91A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030476"/>
            <a:ext cx="2844800" cy="557588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Contact U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1F2AC4-4CDC-2C50-1F85-6A0BB78D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8008" y="6504057"/>
            <a:ext cx="334392" cy="153888"/>
          </a:xfrm>
          <a:prstGeom prst="rect">
            <a:avLst/>
          </a:prstGeom>
        </p:spPr>
        <p:txBody>
          <a:bodyPr/>
          <a:lstStyle>
            <a:lvl1pPr marL="0" algn="r" defTabSz="914400" rtl="0" eaLnBrk="1" latinLnBrk="0" hangingPunct="1">
              <a:lnSpc>
                <a:spcPct val="100000"/>
              </a:lnSpc>
              <a:defRPr lang="en-US" sz="10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13">
            <a:extLst>
              <a:ext uri="{FF2B5EF4-FFF2-40B4-BE49-F238E27FC236}">
                <a16:creationId xmlns:a16="http://schemas.microsoft.com/office/drawing/2014/main" id="{921022F6-082E-070C-4DB3-B094BAC8F06A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609600" y="6566085"/>
            <a:ext cx="284378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4F8EC44-A14B-04DD-722C-DF999D485AB7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4064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79AEE561-F1DF-C182-2D00-A201CFF5B50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38027"/>
            <a:ext cx="2843782" cy="153888"/>
          </a:xfrm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4E7B4B7-4D67-15CD-FAE2-B9C5F23DD6EA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41656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Graphic 27">
            <a:extLst>
              <a:ext uri="{FF2B5EF4-FFF2-40B4-BE49-F238E27FC236}">
                <a16:creationId xmlns:a16="http://schemas.microsoft.com/office/drawing/2014/main" id="{3206FDDC-B4E4-B862-C400-9BE84AC048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0038" y="4434699"/>
            <a:ext cx="255772" cy="255772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D21F0717-32ED-EB7B-05F5-B8C9E6E6E66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600" y="5244372"/>
            <a:ext cx="256648" cy="256648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BBAB294A-E131-F955-1109-D240A2C9C3F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9955" y="4836476"/>
            <a:ext cx="255938" cy="255938"/>
          </a:xfrm>
          <a:prstGeom prst="rect">
            <a:avLst/>
          </a:prstGeom>
        </p:spPr>
      </p:pic>
      <p:sp>
        <p:nvSpPr>
          <p:cNvPr id="32" name="Freeform 43">
            <a:extLst>
              <a:ext uri="{FF2B5EF4-FFF2-40B4-BE49-F238E27FC236}">
                <a16:creationId xmlns:a16="http://schemas.microsoft.com/office/drawing/2014/main" id="{6127DE7E-C870-F0DF-B8E2-9EDEABB6E149}"/>
              </a:ext>
            </a:extLst>
          </p:cNvPr>
          <p:cNvSpPr/>
          <p:nvPr/>
        </p:nvSpPr>
        <p:spPr>
          <a:xfrm>
            <a:off x="612731" y="5655112"/>
            <a:ext cx="250388" cy="250388"/>
          </a:xfrm>
          <a:custGeom>
            <a:avLst/>
            <a:gdLst>
              <a:gd name="connsiteX0" fmla="*/ 225288 w 450576"/>
              <a:gd name="connsiteY0" fmla="*/ 0 h 450576"/>
              <a:gd name="connsiteX1" fmla="*/ 0 w 450576"/>
              <a:gd name="connsiteY1" fmla="*/ 225288 h 450576"/>
              <a:gd name="connsiteX2" fmla="*/ 225288 w 450576"/>
              <a:gd name="connsiteY2" fmla="*/ 450576 h 450576"/>
              <a:gd name="connsiteX3" fmla="*/ 450576 w 450576"/>
              <a:gd name="connsiteY3" fmla="*/ 225288 h 450576"/>
              <a:gd name="connsiteX4" fmla="*/ 225288 w 450576"/>
              <a:gd name="connsiteY4" fmla="*/ 0 h 450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0576" h="450576">
                <a:moveTo>
                  <a:pt x="225288" y="0"/>
                </a:moveTo>
                <a:cubicBezTo>
                  <a:pt x="100869" y="0"/>
                  <a:pt x="0" y="100869"/>
                  <a:pt x="0" y="225288"/>
                </a:cubicBezTo>
                <a:cubicBezTo>
                  <a:pt x="0" y="349707"/>
                  <a:pt x="100869" y="450576"/>
                  <a:pt x="225288" y="450576"/>
                </a:cubicBezTo>
                <a:cubicBezTo>
                  <a:pt x="349707" y="450576"/>
                  <a:pt x="450576" y="349707"/>
                  <a:pt x="450576" y="225288"/>
                </a:cubicBezTo>
                <a:cubicBezTo>
                  <a:pt x="450576" y="100869"/>
                  <a:pt x="349707" y="0"/>
                  <a:pt x="225288" y="0"/>
                </a:cubicBezTo>
                <a:close/>
              </a:path>
            </a:pathLst>
          </a:custGeom>
          <a:solidFill>
            <a:schemeClr val="accent2"/>
          </a:solidFill>
          <a:ln w="365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chemeClr val="bg1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E616624-F30E-25E7-BBCE-E9478B045916}"/>
              </a:ext>
            </a:extLst>
          </p:cNvPr>
          <p:cNvCxnSpPr>
            <a:cxnSpLocks/>
          </p:cNvCxnSpPr>
          <p:nvPr userDrawn="1"/>
        </p:nvCxnSpPr>
        <p:spPr>
          <a:xfrm>
            <a:off x="0" y="6431003"/>
            <a:ext cx="4064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B804AFB-D8C9-4FCF-8CBC-A80B114B9A68}"/>
              </a:ext>
            </a:extLst>
          </p:cNvPr>
          <p:cNvCxnSpPr>
            <a:cxnSpLocks/>
          </p:cNvCxnSpPr>
          <p:nvPr userDrawn="1"/>
        </p:nvCxnSpPr>
        <p:spPr>
          <a:xfrm>
            <a:off x="0" y="426998"/>
            <a:ext cx="41656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CA1DA7B2-7934-1637-79DE-26D4B8B0A234}"/>
              </a:ext>
            </a:extLst>
          </p:cNvPr>
          <p:cNvGrpSpPr/>
          <p:nvPr userDrawn="1"/>
        </p:nvGrpSpPr>
        <p:grpSpPr>
          <a:xfrm>
            <a:off x="609601" y="1921054"/>
            <a:ext cx="2843783" cy="254588"/>
            <a:chOff x="609601" y="3820887"/>
            <a:chExt cx="4876798" cy="0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22617C65-3034-A252-8D5D-4D880171BE4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9601" y="3820887"/>
              <a:ext cx="4876798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F463F618-8C33-3A96-D317-D5BC7F24CB54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1274547" y="3155941"/>
              <a:ext cx="0" cy="1329892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858712D1-1827-7705-6D36-46E29414ECF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599" y="2274130"/>
            <a:ext cx="2843785" cy="1227104"/>
          </a:xfrm>
          <a:noFill/>
        </p:spPr>
        <p:txBody>
          <a:bodyPr wrap="square" lIns="0" anchor="t">
            <a:noAutofit/>
          </a:bodyPr>
          <a:lstStyle>
            <a:lvl1pPr>
              <a:defRPr lang="en-US" sz="18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3" name="Picture 22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DFBAD531-1DE5-2FEF-5FE0-87AF88C485D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677" y="5685779"/>
            <a:ext cx="174441" cy="174441"/>
          </a:xfrm>
          <a:prstGeom prst="rect">
            <a:avLst/>
          </a:prstGeom>
        </p:spPr>
      </p:pic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3BDC7183-C322-7F39-32D6-7D94F281050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73495" y="4496375"/>
            <a:ext cx="2641598" cy="249603"/>
          </a:xfrm>
        </p:spPr>
        <p:txBody>
          <a:bodyPr>
            <a:noAutofit/>
          </a:bodyPr>
          <a:lstStyle>
            <a:lvl1pPr>
              <a:defRPr sz="1000" u="sng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@Guidehouse.com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DA457577-EF3C-20D8-129A-576EBE386A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73495" y="4885046"/>
            <a:ext cx="2641598" cy="249603"/>
          </a:xfrm>
        </p:spPr>
        <p:txBody>
          <a:bodyPr>
            <a:noAutofit/>
          </a:bodyPr>
          <a:lstStyle>
            <a:lvl1pPr>
              <a:defRPr sz="1000" u="sng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eb Address</a:t>
            </a:r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C57DEAE3-AE01-CA08-315B-36CADEA309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73495" y="5302491"/>
            <a:ext cx="2641598" cy="249603"/>
          </a:xfrm>
        </p:spPr>
        <p:txBody>
          <a:bodyPr>
            <a:noAutofit/>
          </a:bodyPr>
          <a:lstStyle>
            <a:lvl1pPr>
              <a:defRPr sz="1000" u="sng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inkedIn Page</a:t>
            </a: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1D4A47DE-32B1-7824-7BFD-27892B192A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73495" y="5707274"/>
            <a:ext cx="2641598" cy="249603"/>
          </a:xfrm>
        </p:spPr>
        <p:txBody>
          <a:bodyPr>
            <a:noAutofit/>
          </a:bodyPr>
          <a:lstStyle>
            <a:lvl1pPr>
              <a:defRPr sz="1000" u="sng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Guidehouse YouTube</a:t>
            </a:r>
          </a:p>
        </p:txBody>
      </p:sp>
      <p:sp>
        <p:nvSpPr>
          <p:cNvPr id="42" name="Picture Placeholder 11">
            <a:extLst>
              <a:ext uri="{FF2B5EF4-FFF2-40B4-BE49-F238E27FC236}">
                <a16:creationId xmlns:a16="http://schemas.microsoft.com/office/drawing/2014/main" id="{1FF9DD26-55C4-2B04-094D-64B96B73C56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062982" y="0"/>
            <a:ext cx="8129017" cy="6858000"/>
          </a:xfr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0" b="0"/>
            </a:lvl1pPr>
          </a:lstStyle>
          <a:p>
            <a:pPr lvl="0" algn="ctr"/>
            <a:r>
              <a:rPr lang="en-US"/>
              <a:t>Insert Photo</a:t>
            </a:r>
          </a:p>
        </p:txBody>
      </p:sp>
    </p:spTree>
    <p:extLst>
      <p:ext uri="{BB962C8B-B14F-4D97-AF65-F5344CB8AC3E}">
        <p14:creationId xmlns:p14="http://schemas.microsoft.com/office/powerpoint/2010/main" val="25068559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1 - Black Text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8DC4B6A-4CBA-E0F1-E91D-A6319EE1FAC8}"/>
              </a:ext>
            </a:extLst>
          </p:cNvPr>
          <p:cNvCxnSpPr>
            <a:cxnSpLocks/>
          </p:cNvCxnSpPr>
          <p:nvPr/>
        </p:nvCxnSpPr>
        <p:spPr>
          <a:xfrm>
            <a:off x="609600" y="4594548"/>
            <a:ext cx="537667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CB1E87D-CF80-16E1-E2DA-D366BCB64A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048537"/>
            <a:ext cx="5376672" cy="2244461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ation title extends </a:t>
            </a:r>
            <a:br>
              <a:rPr lang="en-US"/>
            </a:br>
            <a:r>
              <a:rPr lang="en-US"/>
              <a:t>up to 3 line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2A9289B-23E0-657B-DF89-7F9B74F766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2648" y="1527048"/>
            <a:ext cx="2468880" cy="215444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400" b="1" cap="all" spc="300" baseline="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7" name="Text Placeholder 33">
            <a:extLst>
              <a:ext uri="{FF2B5EF4-FFF2-40B4-BE49-F238E27FC236}">
                <a16:creationId xmlns:a16="http://schemas.microsoft.com/office/drawing/2014/main" id="{31A9C09B-A70B-7FAF-E144-352D9BBCCE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4896099"/>
            <a:ext cx="5387082" cy="307777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8" name="Text Placeholder 33">
            <a:extLst>
              <a:ext uri="{FF2B5EF4-FFF2-40B4-BE49-F238E27FC236}">
                <a16:creationId xmlns:a16="http://schemas.microsoft.com/office/drawing/2014/main" id="{BE4ABADF-2476-619E-BCA6-A3468081358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0348" y="5236388"/>
            <a:ext cx="5387082" cy="276999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5F145E50-2BEB-594A-B16A-E6A0CD3946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1" y="555336"/>
            <a:ext cx="1729316" cy="43934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B008AB52-CC4C-78AA-9B69-FC36D4B781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5760" y="6092319"/>
            <a:ext cx="1834388" cy="210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3930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Slide 2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DFC4F1AD-EC45-7E34-BADB-AAF710BD4B93}"/>
              </a:ext>
            </a:extLst>
          </p:cNvPr>
          <p:cNvSpPr/>
          <p:nvPr/>
        </p:nvSpPr>
        <p:spPr>
          <a:xfrm>
            <a:off x="0" y="-1"/>
            <a:ext cx="4063995" cy="685799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243C5BA8-7179-8270-C9BB-2F55B7B00C0F}"/>
              </a:ext>
            </a:extLst>
          </p:cNvPr>
          <p:cNvSpPr/>
          <p:nvPr/>
        </p:nvSpPr>
        <p:spPr>
          <a:xfrm>
            <a:off x="627177" y="5265507"/>
            <a:ext cx="221494" cy="22149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809E94E-2FFC-A969-42EF-4BAE752C498A}"/>
              </a:ext>
            </a:extLst>
          </p:cNvPr>
          <p:cNvSpPr/>
          <p:nvPr/>
        </p:nvSpPr>
        <p:spPr>
          <a:xfrm>
            <a:off x="627177" y="4860694"/>
            <a:ext cx="221494" cy="22149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A80DCDB-CF74-D037-968C-C968F2A24000}"/>
              </a:ext>
            </a:extLst>
          </p:cNvPr>
          <p:cNvSpPr/>
          <p:nvPr/>
        </p:nvSpPr>
        <p:spPr>
          <a:xfrm>
            <a:off x="627177" y="4451119"/>
            <a:ext cx="221494" cy="22149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556BBD-E905-984B-4075-604E21C91A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023088"/>
            <a:ext cx="2844800" cy="557589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ontact U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4AE3EC1-342D-FB6B-FDAF-2F58C6189DDB}"/>
              </a:ext>
            </a:extLst>
          </p:cNvPr>
          <p:cNvGrpSpPr/>
          <p:nvPr/>
        </p:nvGrpSpPr>
        <p:grpSpPr>
          <a:xfrm>
            <a:off x="609601" y="1921054"/>
            <a:ext cx="2843783" cy="254588"/>
            <a:chOff x="609601" y="3820887"/>
            <a:chExt cx="4876798" cy="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B3C93084-9653-E1AF-4113-3BB3C129DF9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9601" y="3820887"/>
              <a:ext cx="4876798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6CA2CD75-5FAC-A4AE-07DB-DE9C3B9D3512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1274547" y="3155941"/>
              <a:ext cx="0" cy="1329892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ext Placeholder 33">
            <a:extLst>
              <a:ext uri="{FF2B5EF4-FFF2-40B4-BE49-F238E27FC236}">
                <a16:creationId xmlns:a16="http://schemas.microsoft.com/office/drawing/2014/main" id="{1E8F9C8A-8AC9-0DE6-19FE-EAB935A283E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599" y="2274130"/>
            <a:ext cx="2843785" cy="1227104"/>
          </a:xfrm>
          <a:noFill/>
        </p:spPr>
        <p:txBody>
          <a:bodyPr wrap="square" lIns="0" anchor="t">
            <a:noAutofit/>
          </a:bodyPr>
          <a:lstStyle>
            <a:lvl1pPr>
              <a:defRPr lang="en-US" sz="180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B3C5C9F-C92E-B834-72C9-77EC61FB67B0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40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5A54784-CAED-1766-179C-AC6CC1A23556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40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03F72ED-D877-6AA8-3532-0EEF5C67794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9600" y="136647"/>
            <a:ext cx="2843782" cy="153888"/>
          </a:xfrm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4DF17159-DFB7-30F8-507F-ABDD81012B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284378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20" name="Date Placeholder 12">
            <a:extLst>
              <a:ext uri="{FF2B5EF4-FFF2-40B4-BE49-F238E27FC236}">
                <a16:creationId xmlns:a16="http://schemas.microsoft.com/office/drawing/2014/main" id="{219FF7E9-1687-B3C1-8EFB-348AC1E3D542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236555" y="138027"/>
            <a:ext cx="1345845" cy="153888"/>
          </a:xfr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5AFAB103-A3CA-4344-B6C7-19F361844E18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21" name="Slide Number Placeholder 14">
            <a:extLst>
              <a:ext uri="{FF2B5EF4-FFF2-40B4-BE49-F238E27FC236}">
                <a16:creationId xmlns:a16="http://schemas.microsoft.com/office/drawing/2014/main" id="{CEA6CC5D-E02E-1C35-AC63-68030821FC77}"/>
              </a:ext>
            </a:extLst>
          </p:cNvPr>
          <p:cNvSpPr txBox="1">
            <a:spLocks/>
          </p:cNvSpPr>
          <p:nvPr/>
        </p:nvSpPr>
        <p:spPr>
          <a:xfrm>
            <a:off x="11248008" y="6566085"/>
            <a:ext cx="334392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lnSpc>
                <a:spcPct val="100000"/>
              </a:lnSpc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Picture Placeholder 11">
            <a:extLst>
              <a:ext uri="{FF2B5EF4-FFF2-40B4-BE49-F238E27FC236}">
                <a16:creationId xmlns:a16="http://schemas.microsoft.com/office/drawing/2014/main" id="{A10A5E3D-27CE-9262-4C32-FE8CE26713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062982" y="0"/>
            <a:ext cx="8129017" cy="6858000"/>
          </a:xfr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0" b="0" dirty="0"/>
            </a:lvl1pPr>
          </a:lstStyle>
          <a:p>
            <a:pPr lvl="0" algn="ctr"/>
            <a:r>
              <a:rPr lang="en-US"/>
              <a:t>Insert Photo</a:t>
            </a: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3DFB2677-8D81-4667-DC9C-5569D06C79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0038" y="4434699"/>
            <a:ext cx="255772" cy="255772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FE926014-B7E9-F267-91D1-9F25679AF6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600" y="5247930"/>
            <a:ext cx="256648" cy="256648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B6DD699B-36A2-9182-CFE9-0D306C832B5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9955" y="4841212"/>
            <a:ext cx="255938" cy="255938"/>
          </a:xfrm>
          <a:prstGeom prst="rect">
            <a:avLst/>
          </a:prstGeom>
        </p:spPr>
      </p:pic>
      <p:sp>
        <p:nvSpPr>
          <p:cNvPr id="27" name="Freeform 43">
            <a:extLst>
              <a:ext uri="{FF2B5EF4-FFF2-40B4-BE49-F238E27FC236}">
                <a16:creationId xmlns:a16="http://schemas.microsoft.com/office/drawing/2014/main" id="{D80268B0-17B8-1E47-DE57-CA0612B25B42}"/>
              </a:ext>
            </a:extLst>
          </p:cNvPr>
          <p:cNvSpPr/>
          <p:nvPr/>
        </p:nvSpPr>
        <p:spPr>
          <a:xfrm>
            <a:off x="612731" y="5655112"/>
            <a:ext cx="250388" cy="250388"/>
          </a:xfrm>
          <a:custGeom>
            <a:avLst/>
            <a:gdLst>
              <a:gd name="connsiteX0" fmla="*/ 225288 w 450576"/>
              <a:gd name="connsiteY0" fmla="*/ 0 h 450576"/>
              <a:gd name="connsiteX1" fmla="*/ 0 w 450576"/>
              <a:gd name="connsiteY1" fmla="*/ 225288 h 450576"/>
              <a:gd name="connsiteX2" fmla="*/ 225288 w 450576"/>
              <a:gd name="connsiteY2" fmla="*/ 450576 h 450576"/>
              <a:gd name="connsiteX3" fmla="*/ 450576 w 450576"/>
              <a:gd name="connsiteY3" fmla="*/ 225288 h 450576"/>
              <a:gd name="connsiteX4" fmla="*/ 225288 w 450576"/>
              <a:gd name="connsiteY4" fmla="*/ 0 h 450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0576" h="450576">
                <a:moveTo>
                  <a:pt x="225288" y="0"/>
                </a:moveTo>
                <a:cubicBezTo>
                  <a:pt x="100869" y="0"/>
                  <a:pt x="0" y="100869"/>
                  <a:pt x="0" y="225288"/>
                </a:cubicBezTo>
                <a:cubicBezTo>
                  <a:pt x="0" y="349707"/>
                  <a:pt x="100869" y="450576"/>
                  <a:pt x="225288" y="450576"/>
                </a:cubicBezTo>
                <a:cubicBezTo>
                  <a:pt x="349707" y="450576"/>
                  <a:pt x="450576" y="349707"/>
                  <a:pt x="450576" y="225288"/>
                </a:cubicBezTo>
                <a:cubicBezTo>
                  <a:pt x="450576" y="100869"/>
                  <a:pt x="349707" y="0"/>
                  <a:pt x="225288" y="0"/>
                </a:cubicBezTo>
                <a:close/>
              </a:path>
            </a:pathLst>
          </a:custGeom>
          <a:solidFill>
            <a:schemeClr val="accent2"/>
          </a:solidFill>
          <a:ln w="365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37" name="Slide Number Placeholder 14">
            <a:extLst>
              <a:ext uri="{FF2B5EF4-FFF2-40B4-BE49-F238E27FC236}">
                <a16:creationId xmlns:a16="http://schemas.microsoft.com/office/drawing/2014/main" id="{7DB715CD-AAC8-4DE0-2CF6-615B258E0FBB}"/>
              </a:ext>
            </a:extLst>
          </p:cNvPr>
          <p:cNvSpPr txBox="1">
            <a:spLocks/>
          </p:cNvSpPr>
          <p:nvPr userDrawn="1"/>
        </p:nvSpPr>
        <p:spPr>
          <a:xfrm>
            <a:off x="11248008" y="6566085"/>
            <a:ext cx="334392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lnSpc>
                <a:spcPct val="100000"/>
              </a:lnSpc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E16BC054-6701-5333-7F73-290EE0139A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0038" y="4434699"/>
            <a:ext cx="255772" cy="255772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E85BEBAA-9656-9114-4EAB-75429C62C56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9955" y="4841212"/>
            <a:ext cx="255938" cy="255938"/>
          </a:xfrm>
          <a:prstGeom prst="rect">
            <a:avLst/>
          </a:prstGeom>
        </p:spPr>
      </p:pic>
      <p:pic>
        <p:nvPicPr>
          <p:cNvPr id="32" name="Picture 31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7BE7C63A-6876-037F-5D98-59BDEC67AE3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677" y="5694846"/>
            <a:ext cx="174441" cy="174441"/>
          </a:xfrm>
          <a:prstGeom prst="rect">
            <a:avLst/>
          </a:prstGeom>
        </p:spPr>
      </p:pic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1B28B1C-6151-F70E-912A-4B5C8F317EA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73495" y="4496375"/>
            <a:ext cx="2641598" cy="249603"/>
          </a:xfrm>
        </p:spPr>
        <p:txBody>
          <a:bodyPr>
            <a:noAutofit/>
          </a:bodyPr>
          <a:lstStyle>
            <a:lvl1pPr>
              <a:defRPr sz="1000" u="sng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@Guidehouse.com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A8C0C5F-DE09-41A6-96CE-2CB52349DB9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73495" y="4885046"/>
            <a:ext cx="2641598" cy="249603"/>
          </a:xfrm>
        </p:spPr>
        <p:txBody>
          <a:bodyPr>
            <a:noAutofit/>
          </a:bodyPr>
          <a:lstStyle>
            <a:lvl1pPr>
              <a:defRPr sz="1000" u="sng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Web Address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DDE61524-C943-DC13-B6C6-3FB449B2D4C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73495" y="5302491"/>
            <a:ext cx="2641598" cy="249603"/>
          </a:xfrm>
        </p:spPr>
        <p:txBody>
          <a:bodyPr>
            <a:noAutofit/>
          </a:bodyPr>
          <a:lstStyle>
            <a:lvl1pPr>
              <a:defRPr sz="1000" u="sng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inkedIn Page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79D1D1C5-B723-01B2-7FF2-2CA862FB33B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73495" y="5707274"/>
            <a:ext cx="2641598" cy="249603"/>
          </a:xfrm>
        </p:spPr>
        <p:txBody>
          <a:bodyPr>
            <a:noAutofit/>
          </a:bodyPr>
          <a:lstStyle>
            <a:lvl1pPr>
              <a:defRPr sz="1000" u="sng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Guidehouse YouTube</a:t>
            </a:r>
          </a:p>
        </p:txBody>
      </p:sp>
    </p:spTree>
    <p:extLst>
      <p:ext uri="{BB962C8B-B14F-4D97-AF65-F5344CB8AC3E}">
        <p14:creationId xmlns:p14="http://schemas.microsoft.com/office/powerpoint/2010/main" val="182386537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clusion -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AF9C81B7-A5E3-CFE9-A53F-0799F9D9D0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4922" y="4871631"/>
            <a:ext cx="6753678" cy="774308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5BAF25B-04F0-0E9E-EE99-41526B4A0F45}"/>
              </a:ext>
            </a:extLst>
          </p:cNvPr>
          <p:cNvCxnSpPr>
            <a:cxnSpLocks/>
          </p:cNvCxnSpPr>
          <p:nvPr/>
        </p:nvCxnSpPr>
        <p:spPr>
          <a:xfrm flipH="1">
            <a:off x="609600" y="0"/>
            <a:ext cx="0" cy="685799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8F80EF6-F585-EBDB-78CB-8A490CB37079}"/>
              </a:ext>
            </a:extLst>
          </p:cNvPr>
          <p:cNvCxnSpPr>
            <a:cxnSpLocks/>
          </p:cNvCxnSpPr>
          <p:nvPr/>
        </p:nvCxnSpPr>
        <p:spPr>
          <a:xfrm flipH="1">
            <a:off x="609600" y="4518121"/>
            <a:ext cx="0" cy="148132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aphic 7">
            <a:extLst>
              <a:ext uri="{FF2B5EF4-FFF2-40B4-BE49-F238E27FC236}">
                <a16:creationId xmlns:a16="http://schemas.microsoft.com/office/drawing/2014/main" id="{0071CE00-4746-CC55-5BC6-40F38BEB682E}"/>
              </a:ext>
            </a:extLst>
          </p:cNvPr>
          <p:cNvGrpSpPr/>
          <p:nvPr/>
        </p:nvGrpSpPr>
        <p:grpSpPr>
          <a:xfrm>
            <a:off x="1094922" y="618057"/>
            <a:ext cx="2338095" cy="591593"/>
            <a:chOff x="609600" y="557212"/>
            <a:chExt cx="2670098" cy="675598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3879F54-97B4-F7C3-10E6-BAA18E487EDA}"/>
                </a:ext>
              </a:extLst>
            </p:cNvPr>
            <p:cNvSpPr/>
            <p:nvPr/>
          </p:nvSpPr>
          <p:spPr>
            <a:xfrm>
              <a:off x="1181182" y="790634"/>
              <a:ext cx="2098515" cy="283771"/>
            </a:xfrm>
            <a:custGeom>
              <a:avLst/>
              <a:gdLst>
                <a:gd name="connsiteX0" fmla="*/ 129551 w 2098515"/>
                <a:gd name="connsiteY0" fmla="*/ 283771 h 283771"/>
                <a:gd name="connsiteX1" fmla="*/ 77038 w 2098515"/>
                <a:gd name="connsiteY1" fmla="*/ 273817 h 283771"/>
                <a:gd name="connsiteX2" fmla="*/ 36644 w 2098515"/>
                <a:gd name="connsiteY2" fmla="*/ 245685 h 283771"/>
                <a:gd name="connsiteX3" fmla="*/ 9377 w 2098515"/>
                <a:gd name="connsiteY3" fmla="*/ 199953 h 283771"/>
                <a:gd name="connsiteX4" fmla="*/ 0 w 2098515"/>
                <a:gd name="connsiteY4" fmla="*/ 142391 h 283771"/>
                <a:gd name="connsiteX5" fmla="*/ 10531 w 2098515"/>
                <a:gd name="connsiteY5" fmla="*/ 82809 h 283771"/>
                <a:gd name="connsiteX6" fmla="*/ 40395 w 2098515"/>
                <a:gd name="connsiteY6" fmla="*/ 36211 h 283771"/>
                <a:gd name="connsiteX7" fmla="*/ 80789 w 2098515"/>
                <a:gd name="connsiteY7" fmla="*/ 9522 h 283771"/>
                <a:gd name="connsiteX8" fmla="*/ 133735 w 2098515"/>
                <a:gd name="connsiteY8" fmla="*/ 0 h 283771"/>
                <a:gd name="connsiteX9" fmla="*/ 180910 w 2098515"/>
                <a:gd name="connsiteY9" fmla="*/ 6636 h 283771"/>
                <a:gd name="connsiteX10" fmla="*/ 217121 w 2098515"/>
                <a:gd name="connsiteY10" fmla="*/ 25679 h 283771"/>
                <a:gd name="connsiteX11" fmla="*/ 241646 w 2098515"/>
                <a:gd name="connsiteY11" fmla="*/ 55542 h 283771"/>
                <a:gd name="connsiteX12" fmla="*/ 254341 w 2098515"/>
                <a:gd name="connsiteY12" fmla="*/ 94350 h 283771"/>
                <a:gd name="connsiteX13" fmla="*/ 188844 w 2098515"/>
                <a:gd name="connsiteY13" fmla="*/ 94350 h 283771"/>
                <a:gd name="connsiteX14" fmla="*/ 171677 w 2098515"/>
                <a:gd name="connsiteY14" fmla="*/ 66507 h 283771"/>
                <a:gd name="connsiteX15" fmla="*/ 135899 w 2098515"/>
                <a:gd name="connsiteY15" fmla="*/ 55398 h 283771"/>
                <a:gd name="connsiteX16" fmla="*/ 106324 w 2098515"/>
                <a:gd name="connsiteY16" fmla="*/ 62034 h 283771"/>
                <a:gd name="connsiteX17" fmla="*/ 85117 w 2098515"/>
                <a:gd name="connsiteY17" fmla="*/ 80356 h 283771"/>
                <a:gd name="connsiteX18" fmla="*/ 72566 w 2098515"/>
                <a:gd name="connsiteY18" fmla="*/ 107767 h 283771"/>
                <a:gd name="connsiteX19" fmla="*/ 68382 w 2098515"/>
                <a:gd name="connsiteY19" fmla="*/ 142246 h 283771"/>
                <a:gd name="connsiteX20" fmla="*/ 73143 w 2098515"/>
                <a:gd name="connsiteY20" fmla="*/ 176870 h 283771"/>
                <a:gd name="connsiteX21" fmla="*/ 86704 w 2098515"/>
                <a:gd name="connsiteY21" fmla="*/ 204425 h 283771"/>
                <a:gd name="connsiteX22" fmla="*/ 108200 w 2098515"/>
                <a:gd name="connsiteY22" fmla="*/ 222458 h 283771"/>
                <a:gd name="connsiteX23" fmla="*/ 136909 w 2098515"/>
                <a:gd name="connsiteY23" fmla="*/ 228950 h 283771"/>
                <a:gd name="connsiteX24" fmla="*/ 160712 w 2098515"/>
                <a:gd name="connsiteY24" fmla="*/ 224911 h 283771"/>
                <a:gd name="connsiteX25" fmla="*/ 178601 w 2098515"/>
                <a:gd name="connsiteY25" fmla="*/ 214235 h 283771"/>
                <a:gd name="connsiteX26" fmla="*/ 190431 w 2098515"/>
                <a:gd name="connsiteY26" fmla="*/ 198943 h 283771"/>
                <a:gd name="connsiteX27" fmla="*/ 195913 w 2098515"/>
                <a:gd name="connsiteY27" fmla="*/ 181198 h 283771"/>
                <a:gd name="connsiteX28" fmla="*/ 195913 w 2098515"/>
                <a:gd name="connsiteY28" fmla="*/ 180477 h 283771"/>
                <a:gd name="connsiteX29" fmla="*/ 144843 w 2098515"/>
                <a:gd name="connsiteY29" fmla="*/ 180477 h 283771"/>
                <a:gd name="connsiteX30" fmla="*/ 144843 w 2098515"/>
                <a:gd name="connsiteY30" fmla="*/ 130994 h 283771"/>
                <a:gd name="connsiteX31" fmla="*/ 258381 w 2098515"/>
                <a:gd name="connsiteY31" fmla="*/ 130994 h 283771"/>
                <a:gd name="connsiteX32" fmla="*/ 258381 w 2098515"/>
                <a:gd name="connsiteY32" fmla="*/ 277279 h 283771"/>
                <a:gd name="connsiteX33" fmla="*/ 211206 w 2098515"/>
                <a:gd name="connsiteY33" fmla="*/ 277279 h 283771"/>
                <a:gd name="connsiteX34" fmla="*/ 207455 w 2098515"/>
                <a:gd name="connsiteY34" fmla="*/ 244531 h 283771"/>
                <a:gd name="connsiteX35" fmla="*/ 206733 w 2098515"/>
                <a:gd name="connsiteY35" fmla="*/ 244531 h 283771"/>
                <a:gd name="connsiteX36" fmla="*/ 173841 w 2098515"/>
                <a:gd name="connsiteY36" fmla="*/ 274394 h 283771"/>
                <a:gd name="connsiteX37" fmla="*/ 129407 w 2098515"/>
                <a:gd name="connsiteY37" fmla="*/ 283339 h 283771"/>
                <a:gd name="connsiteX38" fmla="*/ 358357 w 2098515"/>
                <a:gd name="connsiteY38" fmla="*/ 282906 h 283771"/>
                <a:gd name="connsiteX39" fmla="*/ 307143 w 2098515"/>
                <a:gd name="connsiteY39" fmla="*/ 262853 h 283771"/>
                <a:gd name="connsiteX40" fmla="*/ 289831 w 2098515"/>
                <a:gd name="connsiteY40" fmla="*/ 210051 h 283771"/>
                <a:gd name="connsiteX41" fmla="*/ 289831 w 2098515"/>
                <a:gd name="connsiteY41" fmla="*/ 82087 h 283771"/>
                <a:gd name="connsiteX42" fmla="*/ 351577 w 2098515"/>
                <a:gd name="connsiteY42" fmla="*/ 82087 h 283771"/>
                <a:gd name="connsiteX43" fmla="*/ 351577 w 2098515"/>
                <a:gd name="connsiteY43" fmla="*/ 197212 h 283771"/>
                <a:gd name="connsiteX44" fmla="*/ 358790 w 2098515"/>
                <a:gd name="connsiteY44" fmla="*/ 221737 h 283771"/>
                <a:gd name="connsiteX45" fmla="*/ 380863 w 2098515"/>
                <a:gd name="connsiteY45" fmla="*/ 230249 h 283771"/>
                <a:gd name="connsiteX46" fmla="*/ 405965 w 2098515"/>
                <a:gd name="connsiteY46" fmla="*/ 219429 h 283771"/>
                <a:gd name="connsiteX47" fmla="*/ 415054 w 2098515"/>
                <a:gd name="connsiteY47" fmla="*/ 191008 h 283771"/>
                <a:gd name="connsiteX48" fmla="*/ 415054 w 2098515"/>
                <a:gd name="connsiteY48" fmla="*/ 82087 h 283771"/>
                <a:gd name="connsiteX49" fmla="*/ 477088 w 2098515"/>
                <a:gd name="connsiteY49" fmla="*/ 82087 h 283771"/>
                <a:gd name="connsiteX50" fmla="*/ 477088 w 2098515"/>
                <a:gd name="connsiteY50" fmla="*/ 277135 h 283771"/>
                <a:gd name="connsiteX51" fmla="*/ 417650 w 2098515"/>
                <a:gd name="connsiteY51" fmla="*/ 277135 h 283771"/>
                <a:gd name="connsiteX52" fmla="*/ 417650 w 2098515"/>
                <a:gd name="connsiteY52" fmla="*/ 253187 h 283771"/>
                <a:gd name="connsiteX53" fmla="*/ 416496 w 2098515"/>
                <a:gd name="connsiteY53" fmla="*/ 253187 h 283771"/>
                <a:gd name="connsiteX54" fmla="*/ 392260 w 2098515"/>
                <a:gd name="connsiteY54" fmla="*/ 275260 h 283771"/>
                <a:gd name="connsiteX55" fmla="*/ 358213 w 2098515"/>
                <a:gd name="connsiteY55" fmla="*/ 282906 h 283771"/>
                <a:gd name="connsiteX56" fmla="*/ 512433 w 2098515"/>
                <a:gd name="connsiteY56" fmla="*/ 2164 h 283771"/>
                <a:gd name="connsiteX57" fmla="*/ 574468 w 2098515"/>
                <a:gd name="connsiteY57" fmla="*/ 2164 h 283771"/>
                <a:gd name="connsiteX58" fmla="*/ 574468 w 2098515"/>
                <a:gd name="connsiteY58" fmla="*/ 55110 h 283771"/>
                <a:gd name="connsiteX59" fmla="*/ 512433 w 2098515"/>
                <a:gd name="connsiteY59" fmla="*/ 55110 h 283771"/>
                <a:gd name="connsiteX60" fmla="*/ 512433 w 2098515"/>
                <a:gd name="connsiteY60" fmla="*/ 2164 h 283771"/>
                <a:gd name="connsiteX61" fmla="*/ 512433 w 2098515"/>
                <a:gd name="connsiteY61" fmla="*/ 82087 h 283771"/>
                <a:gd name="connsiteX62" fmla="*/ 574468 w 2098515"/>
                <a:gd name="connsiteY62" fmla="*/ 82087 h 283771"/>
                <a:gd name="connsiteX63" fmla="*/ 574468 w 2098515"/>
                <a:gd name="connsiteY63" fmla="*/ 277135 h 283771"/>
                <a:gd name="connsiteX64" fmla="*/ 512433 w 2098515"/>
                <a:gd name="connsiteY64" fmla="*/ 277135 h 283771"/>
                <a:gd name="connsiteX65" fmla="*/ 512433 w 2098515"/>
                <a:gd name="connsiteY65" fmla="*/ 82087 h 283771"/>
                <a:gd name="connsiteX66" fmla="*/ 686563 w 2098515"/>
                <a:gd name="connsiteY66" fmla="*/ 283194 h 283771"/>
                <a:gd name="connsiteX67" fmla="*/ 652227 w 2098515"/>
                <a:gd name="connsiteY67" fmla="*/ 276125 h 283771"/>
                <a:gd name="connsiteX68" fmla="*/ 625249 w 2098515"/>
                <a:gd name="connsiteY68" fmla="*/ 255784 h 283771"/>
                <a:gd name="connsiteX69" fmla="*/ 607505 w 2098515"/>
                <a:gd name="connsiteY69" fmla="*/ 223180 h 283771"/>
                <a:gd name="connsiteX70" fmla="*/ 601157 w 2098515"/>
                <a:gd name="connsiteY70" fmla="*/ 179611 h 283771"/>
                <a:gd name="connsiteX71" fmla="*/ 607505 w 2098515"/>
                <a:gd name="connsiteY71" fmla="*/ 137630 h 283771"/>
                <a:gd name="connsiteX72" fmla="*/ 624961 w 2098515"/>
                <a:gd name="connsiteY72" fmla="*/ 105026 h 283771"/>
                <a:gd name="connsiteX73" fmla="*/ 651794 w 2098515"/>
                <a:gd name="connsiteY73" fmla="*/ 83819 h 283771"/>
                <a:gd name="connsiteX74" fmla="*/ 686418 w 2098515"/>
                <a:gd name="connsiteY74" fmla="*/ 76172 h 283771"/>
                <a:gd name="connsiteX75" fmla="*/ 719600 w 2098515"/>
                <a:gd name="connsiteY75" fmla="*/ 83963 h 283771"/>
                <a:gd name="connsiteX76" fmla="*/ 740951 w 2098515"/>
                <a:gd name="connsiteY76" fmla="*/ 104016 h 283771"/>
                <a:gd name="connsiteX77" fmla="*/ 742105 w 2098515"/>
                <a:gd name="connsiteY77" fmla="*/ 104016 h 283771"/>
                <a:gd name="connsiteX78" fmla="*/ 742105 w 2098515"/>
                <a:gd name="connsiteY78" fmla="*/ 1875 h 283771"/>
                <a:gd name="connsiteX79" fmla="*/ 804139 w 2098515"/>
                <a:gd name="connsiteY79" fmla="*/ 1875 h 283771"/>
                <a:gd name="connsiteX80" fmla="*/ 804139 w 2098515"/>
                <a:gd name="connsiteY80" fmla="*/ 276991 h 283771"/>
                <a:gd name="connsiteX81" fmla="*/ 744702 w 2098515"/>
                <a:gd name="connsiteY81" fmla="*/ 276991 h 283771"/>
                <a:gd name="connsiteX82" fmla="*/ 744702 w 2098515"/>
                <a:gd name="connsiteY82" fmla="*/ 250735 h 283771"/>
                <a:gd name="connsiteX83" fmla="*/ 743981 w 2098515"/>
                <a:gd name="connsiteY83" fmla="*/ 250735 h 283771"/>
                <a:gd name="connsiteX84" fmla="*/ 720609 w 2098515"/>
                <a:gd name="connsiteY84" fmla="*/ 274538 h 283771"/>
                <a:gd name="connsiteX85" fmla="*/ 686563 w 2098515"/>
                <a:gd name="connsiteY85" fmla="*/ 283050 h 283771"/>
                <a:gd name="connsiteX86" fmla="*/ 702576 w 2098515"/>
                <a:gd name="connsiteY86" fmla="*/ 233855 h 283771"/>
                <a:gd name="connsiteX87" fmla="*/ 732872 w 2098515"/>
                <a:gd name="connsiteY87" fmla="*/ 218563 h 283771"/>
                <a:gd name="connsiteX88" fmla="*/ 743692 w 2098515"/>
                <a:gd name="connsiteY88" fmla="*/ 179323 h 283771"/>
                <a:gd name="connsiteX89" fmla="*/ 741239 w 2098515"/>
                <a:gd name="connsiteY89" fmla="*/ 156673 h 283771"/>
                <a:gd name="connsiteX90" fmla="*/ 733593 w 2098515"/>
                <a:gd name="connsiteY90" fmla="*/ 138784 h 283771"/>
                <a:gd name="connsiteX91" fmla="*/ 721042 w 2098515"/>
                <a:gd name="connsiteY91" fmla="*/ 127098 h 283771"/>
                <a:gd name="connsiteX92" fmla="*/ 703297 w 2098515"/>
                <a:gd name="connsiteY92" fmla="*/ 122915 h 283771"/>
                <a:gd name="connsiteX93" fmla="*/ 674300 w 2098515"/>
                <a:gd name="connsiteY93" fmla="*/ 138351 h 283771"/>
                <a:gd name="connsiteX94" fmla="*/ 664057 w 2098515"/>
                <a:gd name="connsiteY94" fmla="*/ 178601 h 283771"/>
                <a:gd name="connsiteX95" fmla="*/ 674156 w 2098515"/>
                <a:gd name="connsiteY95" fmla="*/ 218996 h 283771"/>
                <a:gd name="connsiteX96" fmla="*/ 702576 w 2098515"/>
                <a:gd name="connsiteY96" fmla="*/ 233855 h 283771"/>
                <a:gd name="connsiteX97" fmla="*/ 931094 w 2098515"/>
                <a:gd name="connsiteY97" fmla="*/ 282617 h 283771"/>
                <a:gd name="connsiteX98" fmla="*/ 887670 w 2098515"/>
                <a:gd name="connsiteY98" fmla="*/ 274827 h 283771"/>
                <a:gd name="connsiteX99" fmla="*/ 854921 w 2098515"/>
                <a:gd name="connsiteY99" fmla="*/ 253043 h 283771"/>
                <a:gd name="connsiteX100" fmla="*/ 834291 w 2098515"/>
                <a:gd name="connsiteY100" fmla="*/ 220150 h 283771"/>
                <a:gd name="connsiteX101" fmla="*/ 827078 w 2098515"/>
                <a:gd name="connsiteY101" fmla="*/ 179034 h 283771"/>
                <a:gd name="connsiteX102" fmla="*/ 834291 w 2098515"/>
                <a:gd name="connsiteY102" fmla="*/ 138495 h 283771"/>
                <a:gd name="connsiteX103" fmla="*/ 854921 w 2098515"/>
                <a:gd name="connsiteY103" fmla="*/ 105747 h 283771"/>
                <a:gd name="connsiteX104" fmla="*/ 886515 w 2098515"/>
                <a:gd name="connsiteY104" fmla="*/ 84107 h 283771"/>
                <a:gd name="connsiteX105" fmla="*/ 927343 w 2098515"/>
                <a:gd name="connsiteY105" fmla="*/ 76317 h 283771"/>
                <a:gd name="connsiteX106" fmla="*/ 964852 w 2098515"/>
                <a:gd name="connsiteY106" fmla="*/ 82809 h 283771"/>
                <a:gd name="connsiteX107" fmla="*/ 993994 w 2098515"/>
                <a:gd name="connsiteY107" fmla="*/ 100698 h 283771"/>
                <a:gd name="connsiteX108" fmla="*/ 1020106 w 2098515"/>
                <a:gd name="connsiteY108" fmla="*/ 141237 h 283771"/>
                <a:gd name="connsiteX109" fmla="*/ 1028329 w 2098515"/>
                <a:gd name="connsiteY109" fmla="*/ 195481 h 283771"/>
                <a:gd name="connsiteX110" fmla="*/ 888102 w 2098515"/>
                <a:gd name="connsiteY110" fmla="*/ 195481 h 283771"/>
                <a:gd name="connsiteX111" fmla="*/ 901808 w 2098515"/>
                <a:gd name="connsiteY111" fmla="*/ 226786 h 283771"/>
                <a:gd name="connsiteX112" fmla="*/ 931959 w 2098515"/>
                <a:gd name="connsiteY112" fmla="*/ 238183 h 283771"/>
                <a:gd name="connsiteX113" fmla="*/ 952157 w 2098515"/>
                <a:gd name="connsiteY113" fmla="*/ 232990 h 283771"/>
                <a:gd name="connsiteX114" fmla="*/ 964275 w 2098515"/>
                <a:gd name="connsiteY114" fmla="*/ 218707 h 283771"/>
                <a:gd name="connsiteX115" fmla="*/ 1024867 w 2098515"/>
                <a:gd name="connsiteY115" fmla="*/ 218707 h 283771"/>
                <a:gd name="connsiteX116" fmla="*/ 1013470 w 2098515"/>
                <a:gd name="connsiteY116" fmla="*/ 244098 h 283771"/>
                <a:gd name="connsiteX117" fmla="*/ 992118 w 2098515"/>
                <a:gd name="connsiteY117" fmla="*/ 264873 h 283771"/>
                <a:gd name="connsiteX118" fmla="*/ 964852 w 2098515"/>
                <a:gd name="connsiteY118" fmla="*/ 278145 h 283771"/>
                <a:gd name="connsiteX119" fmla="*/ 931094 w 2098515"/>
                <a:gd name="connsiteY119" fmla="*/ 282762 h 283771"/>
                <a:gd name="connsiteX120" fmla="*/ 965429 w 2098515"/>
                <a:gd name="connsiteY120" fmla="*/ 158548 h 283771"/>
                <a:gd name="connsiteX121" fmla="*/ 953599 w 2098515"/>
                <a:gd name="connsiteY121" fmla="*/ 130705 h 283771"/>
                <a:gd name="connsiteX122" fmla="*/ 928497 w 2098515"/>
                <a:gd name="connsiteY122" fmla="*/ 120462 h 283771"/>
                <a:gd name="connsiteX123" fmla="*/ 901086 w 2098515"/>
                <a:gd name="connsiteY123" fmla="*/ 130705 h 283771"/>
                <a:gd name="connsiteX124" fmla="*/ 888535 w 2098515"/>
                <a:gd name="connsiteY124" fmla="*/ 158548 h 283771"/>
                <a:gd name="connsiteX125" fmla="*/ 965429 w 2098515"/>
                <a:gd name="connsiteY125" fmla="*/ 158548 h 283771"/>
                <a:gd name="connsiteX126" fmla="*/ 1051123 w 2098515"/>
                <a:gd name="connsiteY126" fmla="*/ 2020 h 283771"/>
                <a:gd name="connsiteX127" fmla="*/ 1113158 w 2098515"/>
                <a:gd name="connsiteY127" fmla="*/ 2020 h 283771"/>
                <a:gd name="connsiteX128" fmla="*/ 1113158 w 2098515"/>
                <a:gd name="connsiteY128" fmla="*/ 106036 h 283771"/>
                <a:gd name="connsiteX129" fmla="*/ 1114312 w 2098515"/>
                <a:gd name="connsiteY129" fmla="*/ 106036 h 283771"/>
                <a:gd name="connsiteX130" fmla="*/ 1138260 w 2098515"/>
                <a:gd name="connsiteY130" fmla="*/ 84107 h 283771"/>
                <a:gd name="connsiteX131" fmla="*/ 1172162 w 2098515"/>
                <a:gd name="connsiteY131" fmla="*/ 76317 h 283771"/>
                <a:gd name="connsiteX132" fmla="*/ 1200727 w 2098515"/>
                <a:gd name="connsiteY132" fmla="*/ 81799 h 283771"/>
                <a:gd name="connsiteX133" fmla="*/ 1222079 w 2098515"/>
                <a:gd name="connsiteY133" fmla="*/ 97091 h 283771"/>
                <a:gd name="connsiteX134" fmla="*/ 1235495 w 2098515"/>
                <a:gd name="connsiteY134" fmla="*/ 120318 h 283771"/>
                <a:gd name="connsiteX135" fmla="*/ 1240112 w 2098515"/>
                <a:gd name="connsiteY135" fmla="*/ 150181 h 283771"/>
                <a:gd name="connsiteX136" fmla="*/ 1240112 w 2098515"/>
                <a:gd name="connsiteY136" fmla="*/ 276991 h 283771"/>
                <a:gd name="connsiteX137" fmla="*/ 1178077 w 2098515"/>
                <a:gd name="connsiteY137" fmla="*/ 276991 h 283771"/>
                <a:gd name="connsiteX138" fmla="*/ 1178077 w 2098515"/>
                <a:gd name="connsiteY138" fmla="*/ 162732 h 283771"/>
                <a:gd name="connsiteX139" fmla="*/ 1170431 w 2098515"/>
                <a:gd name="connsiteY139" fmla="*/ 137630 h 283771"/>
                <a:gd name="connsiteX140" fmla="*/ 1147637 w 2098515"/>
                <a:gd name="connsiteY140" fmla="*/ 128108 h 283771"/>
                <a:gd name="connsiteX141" fmla="*/ 1122679 w 2098515"/>
                <a:gd name="connsiteY141" fmla="*/ 139505 h 283771"/>
                <a:gd name="connsiteX142" fmla="*/ 1113302 w 2098515"/>
                <a:gd name="connsiteY142" fmla="*/ 169224 h 283771"/>
                <a:gd name="connsiteX143" fmla="*/ 1113302 w 2098515"/>
                <a:gd name="connsiteY143" fmla="*/ 276991 h 283771"/>
                <a:gd name="connsiteX144" fmla="*/ 1051267 w 2098515"/>
                <a:gd name="connsiteY144" fmla="*/ 276991 h 283771"/>
                <a:gd name="connsiteX145" fmla="*/ 1051267 w 2098515"/>
                <a:gd name="connsiteY145" fmla="*/ 1875 h 283771"/>
                <a:gd name="connsiteX146" fmla="*/ 1363892 w 2098515"/>
                <a:gd name="connsiteY146" fmla="*/ 283194 h 283771"/>
                <a:gd name="connsiteX147" fmla="*/ 1321045 w 2098515"/>
                <a:gd name="connsiteY147" fmla="*/ 275404 h 283771"/>
                <a:gd name="connsiteX148" fmla="*/ 1288008 w 2098515"/>
                <a:gd name="connsiteY148" fmla="*/ 253620 h 283771"/>
                <a:gd name="connsiteX149" fmla="*/ 1266945 w 2098515"/>
                <a:gd name="connsiteY149" fmla="*/ 220871 h 283771"/>
                <a:gd name="connsiteX150" fmla="*/ 1259443 w 2098515"/>
                <a:gd name="connsiteY150" fmla="*/ 179900 h 283771"/>
                <a:gd name="connsiteX151" fmla="*/ 1266945 w 2098515"/>
                <a:gd name="connsiteY151" fmla="*/ 138928 h 283771"/>
                <a:gd name="connsiteX152" fmla="*/ 1288008 w 2098515"/>
                <a:gd name="connsiteY152" fmla="*/ 106180 h 283771"/>
                <a:gd name="connsiteX153" fmla="*/ 1321045 w 2098515"/>
                <a:gd name="connsiteY153" fmla="*/ 84540 h 283771"/>
                <a:gd name="connsiteX154" fmla="*/ 1363892 w 2098515"/>
                <a:gd name="connsiteY154" fmla="*/ 76750 h 283771"/>
                <a:gd name="connsiteX155" fmla="*/ 1406739 w 2098515"/>
                <a:gd name="connsiteY155" fmla="*/ 84540 h 283771"/>
                <a:gd name="connsiteX156" fmla="*/ 1439487 w 2098515"/>
                <a:gd name="connsiteY156" fmla="*/ 106180 h 283771"/>
                <a:gd name="connsiteX157" fmla="*/ 1460406 w 2098515"/>
                <a:gd name="connsiteY157" fmla="*/ 138928 h 283771"/>
                <a:gd name="connsiteX158" fmla="*/ 1467764 w 2098515"/>
                <a:gd name="connsiteY158" fmla="*/ 179900 h 283771"/>
                <a:gd name="connsiteX159" fmla="*/ 1460406 w 2098515"/>
                <a:gd name="connsiteY159" fmla="*/ 220871 h 283771"/>
                <a:gd name="connsiteX160" fmla="*/ 1439487 w 2098515"/>
                <a:gd name="connsiteY160" fmla="*/ 253620 h 283771"/>
                <a:gd name="connsiteX161" fmla="*/ 1406739 w 2098515"/>
                <a:gd name="connsiteY161" fmla="*/ 275404 h 283771"/>
                <a:gd name="connsiteX162" fmla="*/ 1363892 w 2098515"/>
                <a:gd name="connsiteY162" fmla="*/ 283194 h 283771"/>
                <a:gd name="connsiteX163" fmla="*/ 1363459 w 2098515"/>
                <a:gd name="connsiteY163" fmla="*/ 239049 h 283771"/>
                <a:gd name="connsiteX164" fmla="*/ 1394477 w 2098515"/>
                <a:gd name="connsiteY164" fmla="*/ 222891 h 283771"/>
                <a:gd name="connsiteX165" fmla="*/ 1405008 w 2098515"/>
                <a:gd name="connsiteY165" fmla="*/ 180044 h 283771"/>
                <a:gd name="connsiteX166" fmla="*/ 1394477 w 2098515"/>
                <a:gd name="connsiteY166" fmla="*/ 137053 h 283771"/>
                <a:gd name="connsiteX167" fmla="*/ 1363459 w 2098515"/>
                <a:gd name="connsiteY167" fmla="*/ 120606 h 283771"/>
                <a:gd name="connsiteX168" fmla="*/ 1332586 w 2098515"/>
                <a:gd name="connsiteY168" fmla="*/ 137053 h 283771"/>
                <a:gd name="connsiteX169" fmla="*/ 1322343 w 2098515"/>
                <a:gd name="connsiteY169" fmla="*/ 180044 h 283771"/>
                <a:gd name="connsiteX170" fmla="*/ 1332586 w 2098515"/>
                <a:gd name="connsiteY170" fmla="*/ 222891 h 283771"/>
                <a:gd name="connsiteX171" fmla="*/ 1363459 w 2098515"/>
                <a:gd name="connsiteY171" fmla="*/ 239049 h 283771"/>
                <a:gd name="connsiteX172" fmla="*/ 1555910 w 2098515"/>
                <a:gd name="connsiteY172" fmla="*/ 282906 h 283771"/>
                <a:gd name="connsiteX173" fmla="*/ 1504696 w 2098515"/>
                <a:gd name="connsiteY173" fmla="*/ 262853 h 283771"/>
                <a:gd name="connsiteX174" fmla="*/ 1487384 w 2098515"/>
                <a:gd name="connsiteY174" fmla="*/ 210051 h 283771"/>
                <a:gd name="connsiteX175" fmla="*/ 1487384 w 2098515"/>
                <a:gd name="connsiteY175" fmla="*/ 82087 h 283771"/>
                <a:gd name="connsiteX176" fmla="*/ 1549130 w 2098515"/>
                <a:gd name="connsiteY176" fmla="*/ 82087 h 283771"/>
                <a:gd name="connsiteX177" fmla="*/ 1549130 w 2098515"/>
                <a:gd name="connsiteY177" fmla="*/ 197212 h 283771"/>
                <a:gd name="connsiteX178" fmla="*/ 1556343 w 2098515"/>
                <a:gd name="connsiteY178" fmla="*/ 221737 h 283771"/>
                <a:gd name="connsiteX179" fmla="*/ 1578416 w 2098515"/>
                <a:gd name="connsiteY179" fmla="*/ 230249 h 283771"/>
                <a:gd name="connsiteX180" fmla="*/ 1603518 w 2098515"/>
                <a:gd name="connsiteY180" fmla="*/ 219429 h 283771"/>
                <a:gd name="connsiteX181" fmla="*/ 1612607 w 2098515"/>
                <a:gd name="connsiteY181" fmla="*/ 191008 h 283771"/>
                <a:gd name="connsiteX182" fmla="*/ 1612607 w 2098515"/>
                <a:gd name="connsiteY182" fmla="*/ 82087 h 283771"/>
                <a:gd name="connsiteX183" fmla="*/ 1674641 w 2098515"/>
                <a:gd name="connsiteY183" fmla="*/ 82087 h 283771"/>
                <a:gd name="connsiteX184" fmla="*/ 1674641 w 2098515"/>
                <a:gd name="connsiteY184" fmla="*/ 277135 h 283771"/>
                <a:gd name="connsiteX185" fmla="*/ 1615204 w 2098515"/>
                <a:gd name="connsiteY185" fmla="*/ 277135 h 283771"/>
                <a:gd name="connsiteX186" fmla="*/ 1615204 w 2098515"/>
                <a:gd name="connsiteY186" fmla="*/ 253187 h 283771"/>
                <a:gd name="connsiteX187" fmla="*/ 1614050 w 2098515"/>
                <a:gd name="connsiteY187" fmla="*/ 253187 h 283771"/>
                <a:gd name="connsiteX188" fmla="*/ 1589813 w 2098515"/>
                <a:gd name="connsiteY188" fmla="*/ 275260 h 283771"/>
                <a:gd name="connsiteX189" fmla="*/ 1555766 w 2098515"/>
                <a:gd name="connsiteY189" fmla="*/ 282906 h 283771"/>
                <a:gd name="connsiteX190" fmla="*/ 1791208 w 2098515"/>
                <a:gd name="connsiteY190" fmla="*/ 283339 h 283771"/>
                <a:gd name="connsiteX191" fmla="*/ 1722971 w 2098515"/>
                <a:gd name="connsiteY191" fmla="*/ 264873 h 283771"/>
                <a:gd name="connsiteX192" fmla="*/ 1696281 w 2098515"/>
                <a:gd name="connsiteY192" fmla="*/ 213947 h 283771"/>
                <a:gd name="connsiteX193" fmla="*/ 1754998 w 2098515"/>
                <a:gd name="connsiteY193" fmla="*/ 213947 h 283771"/>
                <a:gd name="connsiteX194" fmla="*/ 1766106 w 2098515"/>
                <a:gd name="connsiteY194" fmla="*/ 235731 h 283771"/>
                <a:gd name="connsiteX195" fmla="*/ 1790920 w 2098515"/>
                <a:gd name="connsiteY195" fmla="*/ 242944 h 283771"/>
                <a:gd name="connsiteX196" fmla="*/ 1813137 w 2098515"/>
                <a:gd name="connsiteY196" fmla="*/ 238039 h 283771"/>
                <a:gd name="connsiteX197" fmla="*/ 1821360 w 2098515"/>
                <a:gd name="connsiteY197" fmla="*/ 223612 h 283771"/>
                <a:gd name="connsiteX198" fmla="*/ 1817176 w 2098515"/>
                <a:gd name="connsiteY198" fmla="*/ 213081 h 283771"/>
                <a:gd name="connsiteX199" fmla="*/ 1806068 w 2098515"/>
                <a:gd name="connsiteY199" fmla="*/ 206589 h 283771"/>
                <a:gd name="connsiteX200" fmla="*/ 1790199 w 2098515"/>
                <a:gd name="connsiteY200" fmla="*/ 202838 h 283771"/>
                <a:gd name="connsiteX201" fmla="*/ 1771732 w 2098515"/>
                <a:gd name="connsiteY201" fmla="*/ 199664 h 283771"/>
                <a:gd name="connsiteX202" fmla="*/ 1746630 w 2098515"/>
                <a:gd name="connsiteY202" fmla="*/ 194182 h 283771"/>
                <a:gd name="connsiteX203" fmla="*/ 1723980 w 2098515"/>
                <a:gd name="connsiteY203" fmla="*/ 184516 h 283771"/>
                <a:gd name="connsiteX204" fmla="*/ 1707823 w 2098515"/>
                <a:gd name="connsiteY204" fmla="*/ 167204 h 283771"/>
                <a:gd name="connsiteX205" fmla="*/ 1701763 w 2098515"/>
                <a:gd name="connsiteY205" fmla="*/ 139217 h 283771"/>
                <a:gd name="connsiteX206" fmla="*/ 1708400 w 2098515"/>
                <a:gd name="connsiteY206" fmla="*/ 112095 h 283771"/>
                <a:gd name="connsiteX207" fmla="*/ 1726577 w 2098515"/>
                <a:gd name="connsiteY207" fmla="*/ 92475 h 283771"/>
                <a:gd name="connsiteX208" fmla="*/ 1753411 w 2098515"/>
                <a:gd name="connsiteY208" fmla="*/ 80645 h 283771"/>
                <a:gd name="connsiteX209" fmla="*/ 1786015 w 2098515"/>
                <a:gd name="connsiteY209" fmla="*/ 76605 h 283771"/>
                <a:gd name="connsiteX210" fmla="*/ 1849636 w 2098515"/>
                <a:gd name="connsiteY210" fmla="*/ 93340 h 283771"/>
                <a:gd name="connsiteX211" fmla="*/ 1874017 w 2098515"/>
                <a:gd name="connsiteY211" fmla="*/ 139073 h 283771"/>
                <a:gd name="connsiteX212" fmla="*/ 1816888 w 2098515"/>
                <a:gd name="connsiteY212" fmla="*/ 139073 h 283771"/>
                <a:gd name="connsiteX213" fmla="*/ 1806789 w 2098515"/>
                <a:gd name="connsiteY213" fmla="*/ 121039 h 283771"/>
                <a:gd name="connsiteX214" fmla="*/ 1785582 w 2098515"/>
                <a:gd name="connsiteY214" fmla="*/ 116278 h 283771"/>
                <a:gd name="connsiteX215" fmla="*/ 1766395 w 2098515"/>
                <a:gd name="connsiteY215" fmla="*/ 120606 h 283771"/>
                <a:gd name="connsiteX216" fmla="*/ 1758604 w 2098515"/>
                <a:gd name="connsiteY216" fmla="*/ 134167 h 283771"/>
                <a:gd name="connsiteX217" fmla="*/ 1762355 w 2098515"/>
                <a:gd name="connsiteY217" fmla="*/ 142535 h 283771"/>
                <a:gd name="connsiteX218" fmla="*/ 1772598 w 2098515"/>
                <a:gd name="connsiteY218" fmla="*/ 147728 h 283771"/>
                <a:gd name="connsiteX219" fmla="*/ 1787602 w 2098515"/>
                <a:gd name="connsiteY219" fmla="*/ 151335 h 283771"/>
                <a:gd name="connsiteX220" fmla="*/ 1805346 w 2098515"/>
                <a:gd name="connsiteY220" fmla="*/ 154365 h 283771"/>
                <a:gd name="connsiteX221" fmla="*/ 1831459 w 2098515"/>
                <a:gd name="connsiteY221" fmla="*/ 159847 h 283771"/>
                <a:gd name="connsiteX222" fmla="*/ 1855407 w 2098515"/>
                <a:gd name="connsiteY222" fmla="*/ 169945 h 283771"/>
                <a:gd name="connsiteX223" fmla="*/ 1873152 w 2098515"/>
                <a:gd name="connsiteY223" fmla="*/ 188412 h 283771"/>
                <a:gd name="connsiteX224" fmla="*/ 1880076 w 2098515"/>
                <a:gd name="connsiteY224" fmla="*/ 218707 h 283771"/>
                <a:gd name="connsiteX225" fmla="*/ 1873440 w 2098515"/>
                <a:gd name="connsiteY225" fmla="*/ 246839 h 283771"/>
                <a:gd name="connsiteX226" fmla="*/ 1854974 w 2098515"/>
                <a:gd name="connsiteY226" fmla="*/ 267037 h 283771"/>
                <a:gd name="connsiteX227" fmla="*/ 1826842 w 2098515"/>
                <a:gd name="connsiteY227" fmla="*/ 279299 h 283771"/>
                <a:gd name="connsiteX228" fmla="*/ 1791353 w 2098515"/>
                <a:gd name="connsiteY228" fmla="*/ 283483 h 283771"/>
                <a:gd name="connsiteX229" fmla="*/ 2001260 w 2098515"/>
                <a:gd name="connsiteY229" fmla="*/ 283050 h 283771"/>
                <a:gd name="connsiteX230" fmla="*/ 1957836 w 2098515"/>
                <a:gd name="connsiteY230" fmla="*/ 275260 h 283771"/>
                <a:gd name="connsiteX231" fmla="*/ 1925087 w 2098515"/>
                <a:gd name="connsiteY231" fmla="*/ 253476 h 283771"/>
                <a:gd name="connsiteX232" fmla="*/ 1904457 w 2098515"/>
                <a:gd name="connsiteY232" fmla="*/ 220583 h 283771"/>
                <a:gd name="connsiteX233" fmla="*/ 1897244 w 2098515"/>
                <a:gd name="connsiteY233" fmla="*/ 179467 h 283771"/>
                <a:gd name="connsiteX234" fmla="*/ 1904457 w 2098515"/>
                <a:gd name="connsiteY234" fmla="*/ 138928 h 283771"/>
                <a:gd name="connsiteX235" fmla="*/ 1925087 w 2098515"/>
                <a:gd name="connsiteY235" fmla="*/ 106180 h 283771"/>
                <a:gd name="connsiteX236" fmla="*/ 1956682 w 2098515"/>
                <a:gd name="connsiteY236" fmla="*/ 84540 h 283771"/>
                <a:gd name="connsiteX237" fmla="*/ 1997509 w 2098515"/>
                <a:gd name="connsiteY237" fmla="*/ 76750 h 283771"/>
                <a:gd name="connsiteX238" fmla="*/ 2035018 w 2098515"/>
                <a:gd name="connsiteY238" fmla="*/ 83242 h 283771"/>
                <a:gd name="connsiteX239" fmla="*/ 2064160 w 2098515"/>
                <a:gd name="connsiteY239" fmla="*/ 101131 h 283771"/>
                <a:gd name="connsiteX240" fmla="*/ 2090272 w 2098515"/>
                <a:gd name="connsiteY240" fmla="*/ 141669 h 283771"/>
                <a:gd name="connsiteX241" fmla="*/ 2098495 w 2098515"/>
                <a:gd name="connsiteY241" fmla="*/ 195913 h 283771"/>
                <a:gd name="connsiteX242" fmla="*/ 1958269 w 2098515"/>
                <a:gd name="connsiteY242" fmla="*/ 195913 h 283771"/>
                <a:gd name="connsiteX243" fmla="*/ 1971974 w 2098515"/>
                <a:gd name="connsiteY243" fmla="*/ 227219 h 283771"/>
                <a:gd name="connsiteX244" fmla="*/ 2002125 w 2098515"/>
                <a:gd name="connsiteY244" fmla="*/ 238616 h 283771"/>
                <a:gd name="connsiteX245" fmla="*/ 2022323 w 2098515"/>
                <a:gd name="connsiteY245" fmla="*/ 233423 h 283771"/>
                <a:gd name="connsiteX246" fmla="*/ 2034585 w 2098515"/>
                <a:gd name="connsiteY246" fmla="*/ 219140 h 283771"/>
                <a:gd name="connsiteX247" fmla="*/ 2095177 w 2098515"/>
                <a:gd name="connsiteY247" fmla="*/ 219140 h 283771"/>
                <a:gd name="connsiteX248" fmla="*/ 2083780 w 2098515"/>
                <a:gd name="connsiteY248" fmla="*/ 244531 h 283771"/>
                <a:gd name="connsiteX249" fmla="*/ 2062429 w 2098515"/>
                <a:gd name="connsiteY249" fmla="*/ 265305 h 283771"/>
                <a:gd name="connsiteX250" fmla="*/ 2035162 w 2098515"/>
                <a:gd name="connsiteY250" fmla="*/ 278578 h 283771"/>
                <a:gd name="connsiteX251" fmla="*/ 2001404 w 2098515"/>
                <a:gd name="connsiteY251" fmla="*/ 283194 h 283771"/>
                <a:gd name="connsiteX252" fmla="*/ 2035739 w 2098515"/>
                <a:gd name="connsiteY252" fmla="*/ 158981 h 283771"/>
                <a:gd name="connsiteX253" fmla="*/ 2023910 w 2098515"/>
                <a:gd name="connsiteY253" fmla="*/ 131138 h 283771"/>
                <a:gd name="connsiteX254" fmla="*/ 1998807 w 2098515"/>
                <a:gd name="connsiteY254" fmla="*/ 120895 h 283771"/>
                <a:gd name="connsiteX255" fmla="*/ 1971397 w 2098515"/>
                <a:gd name="connsiteY255" fmla="*/ 131138 h 283771"/>
                <a:gd name="connsiteX256" fmla="*/ 1958846 w 2098515"/>
                <a:gd name="connsiteY256" fmla="*/ 158981 h 283771"/>
                <a:gd name="connsiteX257" fmla="*/ 2035739 w 2098515"/>
                <a:gd name="connsiteY257" fmla="*/ 158981 h 28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</a:cxnLst>
              <a:rect l="l" t="t" r="r" b="b"/>
              <a:pathLst>
                <a:path w="2098515" h="283771">
                  <a:moveTo>
                    <a:pt x="129551" y="283771"/>
                  </a:moveTo>
                  <a:cubicBezTo>
                    <a:pt x="109931" y="283771"/>
                    <a:pt x="92475" y="280453"/>
                    <a:pt x="77038" y="273817"/>
                  </a:cubicBezTo>
                  <a:cubicBezTo>
                    <a:pt x="61602" y="267181"/>
                    <a:pt x="48041" y="257804"/>
                    <a:pt x="36644" y="245685"/>
                  </a:cubicBezTo>
                  <a:cubicBezTo>
                    <a:pt x="24670" y="232701"/>
                    <a:pt x="15581" y="217553"/>
                    <a:pt x="9377" y="199953"/>
                  </a:cubicBezTo>
                  <a:cubicBezTo>
                    <a:pt x="3174" y="182497"/>
                    <a:pt x="0" y="163309"/>
                    <a:pt x="0" y="142391"/>
                  </a:cubicBezTo>
                  <a:cubicBezTo>
                    <a:pt x="0" y="121472"/>
                    <a:pt x="3462" y="100986"/>
                    <a:pt x="10531" y="82809"/>
                  </a:cubicBezTo>
                  <a:cubicBezTo>
                    <a:pt x="17456" y="64631"/>
                    <a:pt x="27411" y="49050"/>
                    <a:pt x="40395" y="36211"/>
                  </a:cubicBezTo>
                  <a:cubicBezTo>
                    <a:pt x="51792" y="24814"/>
                    <a:pt x="65208" y="15869"/>
                    <a:pt x="80789" y="9522"/>
                  </a:cubicBezTo>
                  <a:cubicBezTo>
                    <a:pt x="96226" y="3174"/>
                    <a:pt x="113970" y="0"/>
                    <a:pt x="133735" y="0"/>
                  </a:cubicBezTo>
                  <a:cubicBezTo>
                    <a:pt x="151191" y="0"/>
                    <a:pt x="167060" y="2164"/>
                    <a:pt x="180910" y="6636"/>
                  </a:cubicBezTo>
                  <a:cubicBezTo>
                    <a:pt x="194904" y="11108"/>
                    <a:pt x="207022" y="17456"/>
                    <a:pt x="217121" y="25679"/>
                  </a:cubicBezTo>
                  <a:cubicBezTo>
                    <a:pt x="227219" y="33903"/>
                    <a:pt x="235442" y="43857"/>
                    <a:pt x="241646" y="55542"/>
                  </a:cubicBezTo>
                  <a:cubicBezTo>
                    <a:pt x="247849" y="67228"/>
                    <a:pt x="252177" y="80212"/>
                    <a:pt x="254341" y="94350"/>
                  </a:cubicBezTo>
                  <a:lnTo>
                    <a:pt x="188844" y="94350"/>
                  </a:lnTo>
                  <a:cubicBezTo>
                    <a:pt x="186248" y="83242"/>
                    <a:pt x="180621" y="73864"/>
                    <a:pt x="171677" y="66507"/>
                  </a:cubicBezTo>
                  <a:cubicBezTo>
                    <a:pt x="162732" y="59149"/>
                    <a:pt x="150902" y="55398"/>
                    <a:pt x="135899" y="55398"/>
                  </a:cubicBezTo>
                  <a:cubicBezTo>
                    <a:pt x="124646" y="55398"/>
                    <a:pt x="114836" y="57706"/>
                    <a:pt x="106324" y="62034"/>
                  </a:cubicBezTo>
                  <a:cubicBezTo>
                    <a:pt x="97812" y="66507"/>
                    <a:pt x="90743" y="72566"/>
                    <a:pt x="85117" y="80356"/>
                  </a:cubicBezTo>
                  <a:cubicBezTo>
                    <a:pt x="79491" y="88147"/>
                    <a:pt x="75307" y="97235"/>
                    <a:pt x="72566" y="107767"/>
                  </a:cubicBezTo>
                  <a:cubicBezTo>
                    <a:pt x="69825" y="118298"/>
                    <a:pt x="68382" y="129839"/>
                    <a:pt x="68382" y="142246"/>
                  </a:cubicBezTo>
                  <a:cubicBezTo>
                    <a:pt x="68382" y="154653"/>
                    <a:pt x="69969" y="166195"/>
                    <a:pt x="73143" y="176870"/>
                  </a:cubicBezTo>
                  <a:cubicBezTo>
                    <a:pt x="76317" y="187546"/>
                    <a:pt x="80789" y="196779"/>
                    <a:pt x="86704" y="204425"/>
                  </a:cubicBezTo>
                  <a:cubicBezTo>
                    <a:pt x="92619" y="212215"/>
                    <a:pt x="99688" y="218275"/>
                    <a:pt x="108200" y="222458"/>
                  </a:cubicBezTo>
                  <a:cubicBezTo>
                    <a:pt x="116711" y="226786"/>
                    <a:pt x="126233" y="228950"/>
                    <a:pt x="136909" y="228950"/>
                  </a:cubicBezTo>
                  <a:cubicBezTo>
                    <a:pt x="145709" y="228950"/>
                    <a:pt x="153788" y="227652"/>
                    <a:pt x="160712" y="224911"/>
                  </a:cubicBezTo>
                  <a:cubicBezTo>
                    <a:pt x="167637" y="222314"/>
                    <a:pt x="173696" y="218707"/>
                    <a:pt x="178601" y="214235"/>
                  </a:cubicBezTo>
                  <a:cubicBezTo>
                    <a:pt x="183507" y="209763"/>
                    <a:pt x="187546" y="204714"/>
                    <a:pt x="190431" y="198943"/>
                  </a:cubicBezTo>
                  <a:cubicBezTo>
                    <a:pt x="193317" y="193317"/>
                    <a:pt x="195192" y="187402"/>
                    <a:pt x="195913" y="181198"/>
                  </a:cubicBezTo>
                  <a:lnTo>
                    <a:pt x="195913" y="180477"/>
                  </a:lnTo>
                  <a:lnTo>
                    <a:pt x="144843" y="180477"/>
                  </a:lnTo>
                  <a:lnTo>
                    <a:pt x="144843" y="130994"/>
                  </a:lnTo>
                  <a:lnTo>
                    <a:pt x="258381" y="130994"/>
                  </a:lnTo>
                  <a:lnTo>
                    <a:pt x="258381" y="277279"/>
                  </a:lnTo>
                  <a:lnTo>
                    <a:pt x="211206" y="277279"/>
                  </a:lnTo>
                  <a:lnTo>
                    <a:pt x="207455" y="244531"/>
                  </a:lnTo>
                  <a:lnTo>
                    <a:pt x="206733" y="244531"/>
                  </a:lnTo>
                  <a:cubicBezTo>
                    <a:pt x="197789" y="258525"/>
                    <a:pt x="186825" y="268479"/>
                    <a:pt x="173841" y="274394"/>
                  </a:cubicBezTo>
                  <a:cubicBezTo>
                    <a:pt x="160712" y="280309"/>
                    <a:pt x="145997" y="283339"/>
                    <a:pt x="129407" y="283339"/>
                  </a:cubicBezTo>
                  <a:moveTo>
                    <a:pt x="358357" y="282906"/>
                  </a:moveTo>
                  <a:cubicBezTo>
                    <a:pt x="335707" y="282906"/>
                    <a:pt x="318684" y="276270"/>
                    <a:pt x="307143" y="262853"/>
                  </a:cubicBezTo>
                  <a:cubicBezTo>
                    <a:pt x="295601" y="249580"/>
                    <a:pt x="289831" y="231980"/>
                    <a:pt x="289831" y="210051"/>
                  </a:cubicBezTo>
                  <a:lnTo>
                    <a:pt x="289831" y="82087"/>
                  </a:lnTo>
                  <a:lnTo>
                    <a:pt x="351577" y="82087"/>
                  </a:lnTo>
                  <a:lnTo>
                    <a:pt x="351577" y="197212"/>
                  </a:lnTo>
                  <a:cubicBezTo>
                    <a:pt x="351577" y="207887"/>
                    <a:pt x="354029" y="216111"/>
                    <a:pt x="358790" y="221737"/>
                  </a:cubicBezTo>
                  <a:cubicBezTo>
                    <a:pt x="363551" y="227508"/>
                    <a:pt x="371052" y="230249"/>
                    <a:pt x="380863" y="230249"/>
                  </a:cubicBezTo>
                  <a:cubicBezTo>
                    <a:pt x="391538" y="230249"/>
                    <a:pt x="399906" y="226642"/>
                    <a:pt x="405965" y="219429"/>
                  </a:cubicBezTo>
                  <a:cubicBezTo>
                    <a:pt x="412024" y="212215"/>
                    <a:pt x="415054" y="202694"/>
                    <a:pt x="415054" y="191008"/>
                  </a:cubicBezTo>
                  <a:lnTo>
                    <a:pt x="415054" y="82087"/>
                  </a:lnTo>
                  <a:lnTo>
                    <a:pt x="477088" y="82087"/>
                  </a:lnTo>
                  <a:lnTo>
                    <a:pt x="477088" y="277135"/>
                  </a:lnTo>
                  <a:lnTo>
                    <a:pt x="417650" y="277135"/>
                  </a:lnTo>
                  <a:lnTo>
                    <a:pt x="417650" y="253187"/>
                  </a:lnTo>
                  <a:lnTo>
                    <a:pt x="416496" y="253187"/>
                  </a:lnTo>
                  <a:cubicBezTo>
                    <a:pt x="409427" y="262853"/>
                    <a:pt x="401348" y="270210"/>
                    <a:pt x="392260" y="275260"/>
                  </a:cubicBezTo>
                  <a:cubicBezTo>
                    <a:pt x="383315" y="280309"/>
                    <a:pt x="371918" y="282906"/>
                    <a:pt x="358213" y="282906"/>
                  </a:cubicBezTo>
                  <a:moveTo>
                    <a:pt x="512433" y="2164"/>
                  </a:moveTo>
                  <a:lnTo>
                    <a:pt x="574468" y="2164"/>
                  </a:lnTo>
                  <a:lnTo>
                    <a:pt x="574468" y="55110"/>
                  </a:lnTo>
                  <a:lnTo>
                    <a:pt x="512433" y="55110"/>
                  </a:lnTo>
                  <a:lnTo>
                    <a:pt x="512433" y="2164"/>
                  </a:lnTo>
                  <a:close/>
                  <a:moveTo>
                    <a:pt x="512433" y="82087"/>
                  </a:moveTo>
                  <a:lnTo>
                    <a:pt x="574468" y="82087"/>
                  </a:lnTo>
                  <a:lnTo>
                    <a:pt x="574468" y="277135"/>
                  </a:lnTo>
                  <a:lnTo>
                    <a:pt x="512433" y="277135"/>
                  </a:lnTo>
                  <a:lnTo>
                    <a:pt x="512433" y="82087"/>
                  </a:lnTo>
                  <a:close/>
                  <a:moveTo>
                    <a:pt x="686563" y="283194"/>
                  </a:moveTo>
                  <a:cubicBezTo>
                    <a:pt x="674156" y="283194"/>
                    <a:pt x="662614" y="280886"/>
                    <a:pt x="652227" y="276125"/>
                  </a:cubicBezTo>
                  <a:cubicBezTo>
                    <a:pt x="641840" y="271365"/>
                    <a:pt x="632751" y="264584"/>
                    <a:pt x="625249" y="255784"/>
                  </a:cubicBezTo>
                  <a:cubicBezTo>
                    <a:pt x="617603" y="246839"/>
                    <a:pt x="611688" y="236019"/>
                    <a:pt x="607505" y="223180"/>
                  </a:cubicBezTo>
                  <a:cubicBezTo>
                    <a:pt x="603321" y="210340"/>
                    <a:pt x="601157" y="195769"/>
                    <a:pt x="601157" y="179611"/>
                  </a:cubicBezTo>
                  <a:cubicBezTo>
                    <a:pt x="601157" y="164319"/>
                    <a:pt x="603321" y="150470"/>
                    <a:pt x="607505" y="137630"/>
                  </a:cubicBezTo>
                  <a:cubicBezTo>
                    <a:pt x="611688" y="124934"/>
                    <a:pt x="617603" y="114114"/>
                    <a:pt x="624961" y="105026"/>
                  </a:cubicBezTo>
                  <a:cubicBezTo>
                    <a:pt x="632463" y="96081"/>
                    <a:pt x="641407" y="89012"/>
                    <a:pt x="651794" y="83819"/>
                  </a:cubicBezTo>
                  <a:cubicBezTo>
                    <a:pt x="662182" y="78769"/>
                    <a:pt x="673723" y="76172"/>
                    <a:pt x="686418" y="76172"/>
                  </a:cubicBezTo>
                  <a:cubicBezTo>
                    <a:pt x="700124" y="76172"/>
                    <a:pt x="711232" y="78769"/>
                    <a:pt x="719600" y="83963"/>
                  </a:cubicBezTo>
                  <a:cubicBezTo>
                    <a:pt x="727967" y="89156"/>
                    <a:pt x="735036" y="95793"/>
                    <a:pt x="740951" y="104016"/>
                  </a:cubicBezTo>
                  <a:lnTo>
                    <a:pt x="742105" y="104016"/>
                  </a:lnTo>
                  <a:lnTo>
                    <a:pt x="742105" y="1875"/>
                  </a:lnTo>
                  <a:lnTo>
                    <a:pt x="804139" y="1875"/>
                  </a:lnTo>
                  <a:lnTo>
                    <a:pt x="804139" y="276991"/>
                  </a:lnTo>
                  <a:lnTo>
                    <a:pt x="744702" y="276991"/>
                  </a:lnTo>
                  <a:lnTo>
                    <a:pt x="744702" y="250735"/>
                  </a:lnTo>
                  <a:lnTo>
                    <a:pt x="743981" y="250735"/>
                  </a:lnTo>
                  <a:cubicBezTo>
                    <a:pt x="738210" y="260833"/>
                    <a:pt x="730275" y="268768"/>
                    <a:pt x="720609" y="274538"/>
                  </a:cubicBezTo>
                  <a:cubicBezTo>
                    <a:pt x="710799" y="280309"/>
                    <a:pt x="699547" y="283050"/>
                    <a:pt x="686563" y="283050"/>
                  </a:cubicBezTo>
                  <a:moveTo>
                    <a:pt x="702576" y="233855"/>
                  </a:moveTo>
                  <a:cubicBezTo>
                    <a:pt x="715560" y="233855"/>
                    <a:pt x="725659" y="228806"/>
                    <a:pt x="732872" y="218563"/>
                  </a:cubicBezTo>
                  <a:cubicBezTo>
                    <a:pt x="740085" y="208465"/>
                    <a:pt x="743692" y="195336"/>
                    <a:pt x="743692" y="179323"/>
                  </a:cubicBezTo>
                  <a:cubicBezTo>
                    <a:pt x="743692" y="171244"/>
                    <a:pt x="742826" y="163598"/>
                    <a:pt x="741239" y="156673"/>
                  </a:cubicBezTo>
                  <a:cubicBezTo>
                    <a:pt x="739653" y="149748"/>
                    <a:pt x="737056" y="143689"/>
                    <a:pt x="733593" y="138784"/>
                  </a:cubicBezTo>
                  <a:cubicBezTo>
                    <a:pt x="730131" y="133879"/>
                    <a:pt x="725947" y="129984"/>
                    <a:pt x="721042" y="127098"/>
                  </a:cubicBezTo>
                  <a:cubicBezTo>
                    <a:pt x="716137" y="124357"/>
                    <a:pt x="710222" y="122915"/>
                    <a:pt x="703297" y="122915"/>
                  </a:cubicBezTo>
                  <a:cubicBezTo>
                    <a:pt x="690891" y="122915"/>
                    <a:pt x="681225" y="128108"/>
                    <a:pt x="674300" y="138351"/>
                  </a:cubicBezTo>
                  <a:cubicBezTo>
                    <a:pt x="667375" y="148594"/>
                    <a:pt x="664057" y="162011"/>
                    <a:pt x="664057" y="178601"/>
                  </a:cubicBezTo>
                  <a:cubicBezTo>
                    <a:pt x="664057" y="195192"/>
                    <a:pt x="667375" y="209042"/>
                    <a:pt x="674156" y="218996"/>
                  </a:cubicBezTo>
                  <a:cubicBezTo>
                    <a:pt x="680936" y="228950"/>
                    <a:pt x="690314" y="233855"/>
                    <a:pt x="702576" y="233855"/>
                  </a:cubicBezTo>
                  <a:moveTo>
                    <a:pt x="931094" y="282617"/>
                  </a:moveTo>
                  <a:cubicBezTo>
                    <a:pt x="915080" y="282617"/>
                    <a:pt x="900654" y="280021"/>
                    <a:pt x="887670" y="274827"/>
                  </a:cubicBezTo>
                  <a:cubicBezTo>
                    <a:pt x="874686" y="269633"/>
                    <a:pt x="863721" y="262420"/>
                    <a:pt x="854921" y="253043"/>
                  </a:cubicBezTo>
                  <a:cubicBezTo>
                    <a:pt x="845977" y="243810"/>
                    <a:pt x="839196" y="232845"/>
                    <a:pt x="834291" y="220150"/>
                  </a:cubicBezTo>
                  <a:cubicBezTo>
                    <a:pt x="829530" y="207455"/>
                    <a:pt x="827078" y="193749"/>
                    <a:pt x="827078" y="179034"/>
                  </a:cubicBezTo>
                  <a:cubicBezTo>
                    <a:pt x="827078" y="164319"/>
                    <a:pt x="829530" y="151047"/>
                    <a:pt x="834291" y="138495"/>
                  </a:cubicBezTo>
                  <a:cubicBezTo>
                    <a:pt x="839052" y="125944"/>
                    <a:pt x="845977" y="114980"/>
                    <a:pt x="854921" y="105747"/>
                  </a:cubicBezTo>
                  <a:cubicBezTo>
                    <a:pt x="863866" y="96514"/>
                    <a:pt x="874397" y="89301"/>
                    <a:pt x="886515" y="84107"/>
                  </a:cubicBezTo>
                  <a:cubicBezTo>
                    <a:pt x="898634" y="78914"/>
                    <a:pt x="912339" y="76317"/>
                    <a:pt x="927343" y="76317"/>
                  </a:cubicBezTo>
                  <a:cubicBezTo>
                    <a:pt x="941337" y="76317"/>
                    <a:pt x="953888" y="78481"/>
                    <a:pt x="964852" y="82809"/>
                  </a:cubicBezTo>
                  <a:cubicBezTo>
                    <a:pt x="975960" y="87137"/>
                    <a:pt x="985626" y="93052"/>
                    <a:pt x="993994" y="100698"/>
                  </a:cubicBezTo>
                  <a:cubicBezTo>
                    <a:pt x="1005679" y="111373"/>
                    <a:pt x="1014335" y="124934"/>
                    <a:pt x="1020106" y="141237"/>
                  </a:cubicBezTo>
                  <a:cubicBezTo>
                    <a:pt x="1025877" y="157683"/>
                    <a:pt x="1028473" y="175716"/>
                    <a:pt x="1028329" y="195481"/>
                  </a:cubicBezTo>
                  <a:lnTo>
                    <a:pt x="888102" y="195481"/>
                  </a:lnTo>
                  <a:cubicBezTo>
                    <a:pt x="890122" y="208753"/>
                    <a:pt x="894739" y="219140"/>
                    <a:pt x="901808" y="226786"/>
                  </a:cubicBezTo>
                  <a:cubicBezTo>
                    <a:pt x="908877" y="234432"/>
                    <a:pt x="918975" y="238183"/>
                    <a:pt x="931959" y="238183"/>
                  </a:cubicBezTo>
                  <a:cubicBezTo>
                    <a:pt x="940038" y="238183"/>
                    <a:pt x="946819" y="236452"/>
                    <a:pt x="952157" y="232990"/>
                  </a:cubicBezTo>
                  <a:cubicBezTo>
                    <a:pt x="957494" y="229527"/>
                    <a:pt x="961534" y="224767"/>
                    <a:pt x="964275" y="218707"/>
                  </a:cubicBezTo>
                  <a:lnTo>
                    <a:pt x="1024867" y="218707"/>
                  </a:lnTo>
                  <a:cubicBezTo>
                    <a:pt x="1022847" y="227652"/>
                    <a:pt x="1018952" y="236019"/>
                    <a:pt x="1013470" y="244098"/>
                  </a:cubicBezTo>
                  <a:cubicBezTo>
                    <a:pt x="1007843" y="252033"/>
                    <a:pt x="1000774" y="258958"/>
                    <a:pt x="992118" y="264873"/>
                  </a:cubicBezTo>
                  <a:cubicBezTo>
                    <a:pt x="984039" y="270787"/>
                    <a:pt x="974951" y="275115"/>
                    <a:pt x="964852" y="278145"/>
                  </a:cubicBezTo>
                  <a:cubicBezTo>
                    <a:pt x="954898" y="281175"/>
                    <a:pt x="943645" y="282762"/>
                    <a:pt x="931094" y="282762"/>
                  </a:cubicBezTo>
                  <a:moveTo>
                    <a:pt x="965429" y="158548"/>
                  </a:moveTo>
                  <a:cubicBezTo>
                    <a:pt x="964131" y="146863"/>
                    <a:pt x="960235" y="137630"/>
                    <a:pt x="953599" y="130705"/>
                  </a:cubicBezTo>
                  <a:cubicBezTo>
                    <a:pt x="946963" y="123925"/>
                    <a:pt x="938596" y="120462"/>
                    <a:pt x="928497" y="120462"/>
                  </a:cubicBezTo>
                  <a:cubicBezTo>
                    <a:pt x="916523" y="120462"/>
                    <a:pt x="907434" y="123925"/>
                    <a:pt x="901086" y="130705"/>
                  </a:cubicBezTo>
                  <a:cubicBezTo>
                    <a:pt x="894739" y="137630"/>
                    <a:pt x="890555" y="146863"/>
                    <a:pt x="888535" y="158548"/>
                  </a:cubicBezTo>
                  <a:lnTo>
                    <a:pt x="965429" y="158548"/>
                  </a:lnTo>
                  <a:close/>
                  <a:moveTo>
                    <a:pt x="1051123" y="2020"/>
                  </a:moveTo>
                  <a:lnTo>
                    <a:pt x="1113158" y="2020"/>
                  </a:lnTo>
                  <a:lnTo>
                    <a:pt x="1113158" y="106036"/>
                  </a:lnTo>
                  <a:lnTo>
                    <a:pt x="1114312" y="106036"/>
                  </a:lnTo>
                  <a:cubicBezTo>
                    <a:pt x="1121381" y="96658"/>
                    <a:pt x="1129460" y="89301"/>
                    <a:pt x="1138260" y="84107"/>
                  </a:cubicBezTo>
                  <a:cubicBezTo>
                    <a:pt x="1147204" y="78914"/>
                    <a:pt x="1158457" y="76317"/>
                    <a:pt x="1172162" y="76317"/>
                  </a:cubicBezTo>
                  <a:cubicBezTo>
                    <a:pt x="1182838" y="76317"/>
                    <a:pt x="1192360" y="78192"/>
                    <a:pt x="1200727" y="81799"/>
                  </a:cubicBezTo>
                  <a:cubicBezTo>
                    <a:pt x="1209095" y="85406"/>
                    <a:pt x="1216164" y="90599"/>
                    <a:pt x="1222079" y="97091"/>
                  </a:cubicBezTo>
                  <a:cubicBezTo>
                    <a:pt x="1227993" y="103583"/>
                    <a:pt x="1232321" y="111373"/>
                    <a:pt x="1235495" y="120318"/>
                  </a:cubicBezTo>
                  <a:cubicBezTo>
                    <a:pt x="1238525" y="129262"/>
                    <a:pt x="1240112" y="139361"/>
                    <a:pt x="1240112" y="150181"/>
                  </a:cubicBezTo>
                  <a:lnTo>
                    <a:pt x="1240112" y="276991"/>
                  </a:lnTo>
                  <a:lnTo>
                    <a:pt x="1178077" y="276991"/>
                  </a:lnTo>
                  <a:lnTo>
                    <a:pt x="1178077" y="162732"/>
                  </a:lnTo>
                  <a:cubicBezTo>
                    <a:pt x="1178077" y="152345"/>
                    <a:pt x="1175481" y="143978"/>
                    <a:pt x="1170431" y="137630"/>
                  </a:cubicBezTo>
                  <a:cubicBezTo>
                    <a:pt x="1165382" y="131282"/>
                    <a:pt x="1157736" y="128108"/>
                    <a:pt x="1147637" y="128108"/>
                  </a:cubicBezTo>
                  <a:cubicBezTo>
                    <a:pt x="1137539" y="128108"/>
                    <a:pt x="1128883" y="131859"/>
                    <a:pt x="1122679" y="139505"/>
                  </a:cubicBezTo>
                  <a:cubicBezTo>
                    <a:pt x="1116476" y="147151"/>
                    <a:pt x="1113302" y="157106"/>
                    <a:pt x="1113302" y="169224"/>
                  </a:cubicBezTo>
                  <a:lnTo>
                    <a:pt x="1113302" y="276991"/>
                  </a:lnTo>
                  <a:lnTo>
                    <a:pt x="1051267" y="276991"/>
                  </a:lnTo>
                  <a:lnTo>
                    <a:pt x="1051267" y="1875"/>
                  </a:lnTo>
                  <a:close/>
                  <a:moveTo>
                    <a:pt x="1363892" y="283194"/>
                  </a:moveTo>
                  <a:cubicBezTo>
                    <a:pt x="1348167" y="283194"/>
                    <a:pt x="1333885" y="280598"/>
                    <a:pt x="1321045" y="275404"/>
                  </a:cubicBezTo>
                  <a:cubicBezTo>
                    <a:pt x="1308205" y="270210"/>
                    <a:pt x="1297241" y="262997"/>
                    <a:pt x="1288008" y="253620"/>
                  </a:cubicBezTo>
                  <a:cubicBezTo>
                    <a:pt x="1278919" y="244387"/>
                    <a:pt x="1271850" y="233423"/>
                    <a:pt x="1266945" y="220871"/>
                  </a:cubicBezTo>
                  <a:cubicBezTo>
                    <a:pt x="1262040" y="208320"/>
                    <a:pt x="1259443" y="194615"/>
                    <a:pt x="1259443" y="179900"/>
                  </a:cubicBezTo>
                  <a:cubicBezTo>
                    <a:pt x="1259443" y="165185"/>
                    <a:pt x="1261896" y="151479"/>
                    <a:pt x="1266945" y="138928"/>
                  </a:cubicBezTo>
                  <a:cubicBezTo>
                    <a:pt x="1271850" y="126377"/>
                    <a:pt x="1278919" y="115413"/>
                    <a:pt x="1288008" y="106180"/>
                  </a:cubicBezTo>
                  <a:cubicBezTo>
                    <a:pt x="1297097" y="96947"/>
                    <a:pt x="1308205" y="89734"/>
                    <a:pt x="1321045" y="84540"/>
                  </a:cubicBezTo>
                  <a:cubicBezTo>
                    <a:pt x="1333885" y="79346"/>
                    <a:pt x="1348167" y="76750"/>
                    <a:pt x="1363892" y="76750"/>
                  </a:cubicBezTo>
                  <a:cubicBezTo>
                    <a:pt x="1379617" y="76750"/>
                    <a:pt x="1393900" y="79346"/>
                    <a:pt x="1406739" y="84540"/>
                  </a:cubicBezTo>
                  <a:cubicBezTo>
                    <a:pt x="1419579" y="89734"/>
                    <a:pt x="1430543" y="96947"/>
                    <a:pt x="1439487" y="106180"/>
                  </a:cubicBezTo>
                  <a:cubicBezTo>
                    <a:pt x="1448432" y="115413"/>
                    <a:pt x="1455501" y="126377"/>
                    <a:pt x="1460406" y="138928"/>
                  </a:cubicBezTo>
                  <a:cubicBezTo>
                    <a:pt x="1465311" y="151479"/>
                    <a:pt x="1467764" y="165185"/>
                    <a:pt x="1467764" y="179900"/>
                  </a:cubicBezTo>
                  <a:cubicBezTo>
                    <a:pt x="1467764" y="194615"/>
                    <a:pt x="1465311" y="208320"/>
                    <a:pt x="1460406" y="220871"/>
                  </a:cubicBezTo>
                  <a:cubicBezTo>
                    <a:pt x="1455501" y="233423"/>
                    <a:pt x="1448432" y="244387"/>
                    <a:pt x="1439487" y="253620"/>
                  </a:cubicBezTo>
                  <a:cubicBezTo>
                    <a:pt x="1430543" y="262853"/>
                    <a:pt x="1419579" y="270066"/>
                    <a:pt x="1406739" y="275404"/>
                  </a:cubicBezTo>
                  <a:cubicBezTo>
                    <a:pt x="1393900" y="280598"/>
                    <a:pt x="1379617" y="283194"/>
                    <a:pt x="1363892" y="283194"/>
                  </a:cubicBezTo>
                  <a:moveTo>
                    <a:pt x="1363459" y="239049"/>
                  </a:moveTo>
                  <a:cubicBezTo>
                    <a:pt x="1377165" y="239049"/>
                    <a:pt x="1387552" y="233711"/>
                    <a:pt x="1394477" y="222891"/>
                  </a:cubicBezTo>
                  <a:cubicBezTo>
                    <a:pt x="1401546" y="212071"/>
                    <a:pt x="1405008" y="197789"/>
                    <a:pt x="1405008" y="180044"/>
                  </a:cubicBezTo>
                  <a:cubicBezTo>
                    <a:pt x="1405008" y="162299"/>
                    <a:pt x="1401546" y="147873"/>
                    <a:pt x="1394477" y="137053"/>
                  </a:cubicBezTo>
                  <a:cubicBezTo>
                    <a:pt x="1387552" y="126089"/>
                    <a:pt x="1377165" y="120606"/>
                    <a:pt x="1363459" y="120606"/>
                  </a:cubicBezTo>
                  <a:cubicBezTo>
                    <a:pt x="1349754" y="120606"/>
                    <a:pt x="1339511" y="126089"/>
                    <a:pt x="1332586" y="137053"/>
                  </a:cubicBezTo>
                  <a:cubicBezTo>
                    <a:pt x="1325806" y="148017"/>
                    <a:pt x="1322343" y="162299"/>
                    <a:pt x="1322343" y="180044"/>
                  </a:cubicBezTo>
                  <a:cubicBezTo>
                    <a:pt x="1322343" y="197789"/>
                    <a:pt x="1325806" y="212071"/>
                    <a:pt x="1332586" y="222891"/>
                  </a:cubicBezTo>
                  <a:cubicBezTo>
                    <a:pt x="1339511" y="233711"/>
                    <a:pt x="1349754" y="239049"/>
                    <a:pt x="1363459" y="239049"/>
                  </a:cubicBezTo>
                  <a:moveTo>
                    <a:pt x="1555910" y="282906"/>
                  </a:moveTo>
                  <a:cubicBezTo>
                    <a:pt x="1533260" y="282906"/>
                    <a:pt x="1516237" y="276270"/>
                    <a:pt x="1504696" y="262853"/>
                  </a:cubicBezTo>
                  <a:cubicBezTo>
                    <a:pt x="1493154" y="249580"/>
                    <a:pt x="1487384" y="231980"/>
                    <a:pt x="1487384" y="210051"/>
                  </a:cubicBezTo>
                  <a:lnTo>
                    <a:pt x="1487384" y="82087"/>
                  </a:lnTo>
                  <a:lnTo>
                    <a:pt x="1549130" y="82087"/>
                  </a:lnTo>
                  <a:lnTo>
                    <a:pt x="1549130" y="197212"/>
                  </a:lnTo>
                  <a:cubicBezTo>
                    <a:pt x="1549130" y="207887"/>
                    <a:pt x="1551582" y="216111"/>
                    <a:pt x="1556343" y="221737"/>
                  </a:cubicBezTo>
                  <a:cubicBezTo>
                    <a:pt x="1561104" y="227508"/>
                    <a:pt x="1568606" y="230249"/>
                    <a:pt x="1578416" y="230249"/>
                  </a:cubicBezTo>
                  <a:cubicBezTo>
                    <a:pt x="1589092" y="230249"/>
                    <a:pt x="1597459" y="226642"/>
                    <a:pt x="1603518" y="219429"/>
                  </a:cubicBezTo>
                  <a:cubicBezTo>
                    <a:pt x="1609577" y="212215"/>
                    <a:pt x="1612607" y="202694"/>
                    <a:pt x="1612607" y="191008"/>
                  </a:cubicBezTo>
                  <a:lnTo>
                    <a:pt x="1612607" y="82087"/>
                  </a:lnTo>
                  <a:lnTo>
                    <a:pt x="1674641" y="82087"/>
                  </a:lnTo>
                  <a:lnTo>
                    <a:pt x="1674641" y="277135"/>
                  </a:lnTo>
                  <a:lnTo>
                    <a:pt x="1615204" y="277135"/>
                  </a:lnTo>
                  <a:lnTo>
                    <a:pt x="1615204" y="253187"/>
                  </a:lnTo>
                  <a:lnTo>
                    <a:pt x="1614050" y="253187"/>
                  </a:lnTo>
                  <a:cubicBezTo>
                    <a:pt x="1606980" y="262853"/>
                    <a:pt x="1598902" y="270210"/>
                    <a:pt x="1589813" y="275260"/>
                  </a:cubicBezTo>
                  <a:cubicBezTo>
                    <a:pt x="1580868" y="280309"/>
                    <a:pt x="1569471" y="282906"/>
                    <a:pt x="1555766" y="282906"/>
                  </a:cubicBezTo>
                  <a:moveTo>
                    <a:pt x="1791208" y="283339"/>
                  </a:moveTo>
                  <a:cubicBezTo>
                    <a:pt x="1762499" y="283339"/>
                    <a:pt x="1739850" y="277135"/>
                    <a:pt x="1722971" y="264873"/>
                  </a:cubicBezTo>
                  <a:cubicBezTo>
                    <a:pt x="1706236" y="252610"/>
                    <a:pt x="1697291" y="235587"/>
                    <a:pt x="1696281" y="213947"/>
                  </a:cubicBezTo>
                  <a:lnTo>
                    <a:pt x="1754998" y="213947"/>
                  </a:lnTo>
                  <a:cubicBezTo>
                    <a:pt x="1756296" y="223612"/>
                    <a:pt x="1759903" y="230826"/>
                    <a:pt x="1766106" y="235731"/>
                  </a:cubicBezTo>
                  <a:cubicBezTo>
                    <a:pt x="1772165" y="240492"/>
                    <a:pt x="1780388" y="242944"/>
                    <a:pt x="1790920" y="242944"/>
                  </a:cubicBezTo>
                  <a:cubicBezTo>
                    <a:pt x="1800297" y="242944"/>
                    <a:pt x="1807799" y="241357"/>
                    <a:pt x="1813137" y="238039"/>
                  </a:cubicBezTo>
                  <a:cubicBezTo>
                    <a:pt x="1818619" y="234721"/>
                    <a:pt x="1821360" y="229960"/>
                    <a:pt x="1821360" y="223612"/>
                  </a:cubicBezTo>
                  <a:cubicBezTo>
                    <a:pt x="1821360" y="219284"/>
                    <a:pt x="1819917" y="215822"/>
                    <a:pt x="1817176" y="213081"/>
                  </a:cubicBezTo>
                  <a:cubicBezTo>
                    <a:pt x="1814435" y="210484"/>
                    <a:pt x="1810684" y="208320"/>
                    <a:pt x="1806068" y="206589"/>
                  </a:cubicBezTo>
                  <a:cubicBezTo>
                    <a:pt x="1801451" y="205002"/>
                    <a:pt x="1796258" y="203704"/>
                    <a:pt x="1790199" y="202838"/>
                  </a:cubicBezTo>
                  <a:cubicBezTo>
                    <a:pt x="1784284" y="201973"/>
                    <a:pt x="1778080" y="200818"/>
                    <a:pt x="1771732" y="199664"/>
                  </a:cubicBezTo>
                  <a:cubicBezTo>
                    <a:pt x="1763365" y="198077"/>
                    <a:pt x="1754998" y="196346"/>
                    <a:pt x="1746630" y="194182"/>
                  </a:cubicBezTo>
                  <a:cubicBezTo>
                    <a:pt x="1738263" y="192018"/>
                    <a:pt x="1730761" y="188844"/>
                    <a:pt x="1723980" y="184516"/>
                  </a:cubicBezTo>
                  <a:cubicBezTo>
                    <a:pt x="1717200" y="180188"/>
                    <a:pt x="1711862" y="174418"/>
                    <a:pt x="1707823" y="167204"/>
                  </a:cubicBezTo>
                  <a:cubicBezTo>
                    <a:pt x="1703783" y="159991"/>
                    <a:pt x="1701763" y="150614"/>
                    <a:pt x="1701763" y="139217"/>
                  </a:cubicBezTo>
                  <a:cubicBezTo>
                    <a:pt x="1701763" y="129118"/>
                    <a:pt x="1703927" y="120029"/>
                    <a:pt x="1708400" y="112095"/>
                  </a:cubicBezTo>
                  <a:cubicBezTo>
                    <a:pt x="1712872" y="104304"/>
                    <a:pt x="1718931" y="97668"/>
                    <a:pt x="1726577" y="92475"/>
                  </a:cubicBezTo>
                  <a:cubicBezTo>
                    <a:pt x="1734223" y="87281"/>
                    <a:pt x="1743168" y="83386"/>
                    <a:pt x="1753411" y="80645"/>
                  </a:cubicBezTo>
                  <a:cubicBezTo>
                    <a:pt x="1763653" y="78048"/>
                    <a:pt x="1774618" y="76605"/>
                    <a:pt x="1786015" y="76605"/>
                  </a:cubicBezTo>
                  <a:cubicBezTo>
                    <a:pt x="1813714" y="76605"/>
                    <a:pt x="1834921" y="82232"/>
                    <a:pt x="1849636" y="93340"/>
                  </a:cubicBezTo>
                  <a:cubicBezTo>
                    <a:pt x="1864351" y="104449"/>
                    <a:pt x="1872430" y="119741"/>
                    <a:pt x="1874017" y="139073"/>
                  </a:cubicBezTo>
                  <a:lnTo>
                    <a:pt x="1816888" y="139073"/>
                  </a:lnTo>
                  <a:cubicBezTo>
                    <a:pt x="1815589" y="130128"/>
                    <a:pt x="1812271" y="124213"/>
                    <a:pt x="1806789" y="121039"/>
                  </a:cubicBezTo>
                  <a:cubicBezTo>
                    <a:pt x="1801307" y="117865"/>
                    <a:pt x="1794238" y="116278"/>
                    <a:pt x="1785582" y="116278"/>
                  </a:cubicBezTo>
                  <a:cubicBezTo>
                    <a:pt x="1777936" y="116278"/>
                    <a:pt x="1771588" y="117721"/>
                    <a:pt x="1766395" y="120606"/>
                  </a:cubicBezTo>
                  <a:cubicBezTo>
                    <a:pt x="1761201" y="123492"/>
                    <a:pt x="1758604" y="127964"/>
                    <a:pt x="1758604" y="134167"/>
                  </a:cubicBezTo>
                  <a:cubicBezTo>
                    <a:pt x="1758604" y="137774"/>
                    <a:pt x="1759903" y="140515"/>
                    <a:pt x="1762355" y="142535"/>
                  </a:cubicBezTo>
                  <a:cubicBezTo>
                    <a:pt x="1764952" y="144555"/>
                    <a:pt x="1768270" y="146286"/>
                    <a:pt x="1772598" y="147728"/>
                  </a:cubicBezTo>
                  <a:cubicBezTo>
                    <a:pt x="1776926" y="149171"/>
                    <a:pt x="1781975" y="150325"/>
                    <a:pt x="1787602" y="151335"/>
                  </a:cubicBezTo>
                  <a:cubicBezTo>
                    <a:pt x="1793372" y="152345"/>
                    <a:pt x="1799287" y="153355"/>
                    <a:pt x="1805346" y="154365"/>
                  </a:cubicBezTo>
                  <a:cubicBezTo>
                    <a:pt x="1814002" y="155807"/>
                    <a:pt x="1822659" y="157683"/>
                    <a:pt x="1831459" y="159847"/>
                  </a:cubicBezTo>
                  <a:cubicBezTo>
                    <a:pt x="1840259" y="162011"/>
                    <a:pt x="1848193" y="165329"/>
                    <a:pt x="1855407" y="169945"/>
                  </a:cubicBezTo>
                  <a:cubicBezTo>
                    <a:pt x="1862620" y="174562"/>
                    <a:pt x="1868535" y="180621"/>
                    <a:pt x="1873152" y="188412"/>
                  </a:cubicBezTo>
                  <a:cubicBezTo>
                    <a:pt x="1877768" y="196202"/>
                    <a:pt x="1880076" y="206301"/>
                    <a:pt x="1880076" y="218707"/>
                  </a:cubicBezTo>
                  <a:cubicBezTo>
                    <a:pt x="1880076" y="229383"/>
                    <a:pt x="1877768" y="238760"/>
                    <a:pt x="1873440" y="246839"/>
                  </a:cubicBezTo>
                  <a:cubicBezTo>
                    <a:pt x="1868968" y="254918"/>
                    <a:pt x="1862764" y="261699"/>
                    <a:pt x="1854974" y="267037"/>
                  </a:cubicBezTo>
                  <a:cubicBezTo>
                    <a:pt x="1847039" y="272374"/>
                    <a:pt x="1837662" y="276414"/>
                    <a:pt x="1826842" y="279299"/>
                  </a:cubicBezTo>
                  <a:cubicBezTo>
                    <a:pt x="1815878" y="282040"/>
                    <a:pt x="1804048" y="283483"/>
                    <a:pt x="1791353" y="283483"/>
                  </a:cubicBezTo>
                  <a:moveTo>
                    <a:pt x="2001260" y="283050"/>
                  </a:moveTo>
                  <a:cubicBezTo>
                    <a:pt x="1985246" y="283050"/>
                    <a:pt x="1970820" y="280453"/>
                    <a:pt x="1957836" y="275260"/>
                  </a:cubicBezTo>
                  <a:cubicBezTo>
                    <a:pt x="1944852" y="270066"/>
                    <a:pt x="1934032" y="262853"/>
                    <a:pt x="1925087" y="253476"/>
                  </a:cubicBezTo>
                  <a:cubicBezTo>
                    <a:pt x="1916143" y="244243"/>
                    <a:pt x="1909362" y="233278"/>
                    <a:pt x="1904457" y="220583"/>
                  </a:cubicBezTo>
                  <a:cubicBezTo>
                    <a:pt x="1899697" y="207887"/>
                    <a:pt x="1897244" y="194182"/>
                    <a:pt x="1897244" y="179467"/>
                  </a:cubicBezTo>
                  <a:cubicBezTo>
                    <a:pt x="1897244" y="164752"/>
                    <a:pt x="1899697" y="151479"/>
                    <a:pt x="1904457" y="138928"/>
                  </a:cubicBezTo>
                  <a:cubicBezTo>
                    <a:pt x="1909218" y="126377"/>
                    <a:pt x="1916143" y="115413"/>
                    <a:pt x="1925087" y="106180"/>
                  </a:cubicBezTo>
                  <a:cubicBezTo>
                    <a:pt x="1934032" y="96947"/>
                    <a:pt x="1944563" y="89734"/>
                    <a:pt x="1956682" y="84540"/>
                  </a:cubicBezTo>
                  <a:cubicBezTo>
                    <a:pt x="1968944" y="79346"/>
                    <a:pt x="1982505" y="76750"/>
                    <a:pt x="1997509" y="76750"/>
                  </a:cubicBezTo>
                  <a:cubicBezTo>
                    <a:pt x="2011503" y="76750"/>
                    <a:pt x="2023910" y="78914"/>
                    <a:pt x="2035018" y="83242"/>
                  </a:cubicBezTo>
                  <a:cubicBezTo>
                    <a:pt x="2046127" y="87570"/>
                    <a:pt x="2055792" y="93484"/>
                    <a:pt x="2064160" y="101131"/>
                  </a:cubicBezTo>
                  <a:cubicBezTo>
                    <a:pt x="2075845" y="111806"/>
                    <a:pt x="2084501" y="125367"/>
                    <a:pt x="2090272" y="141669"/>
                  </a:cubicBezTo>
                  <a:cubicBezTo>
                    <a:pt x="2096043" y="158116"/>
                    <a:pt x="2098784" y="176149"/>
                    <a:pt x="2098495" y="195913"/>
                  </a:cubicBezTo>
                  <a:lnTo>
                    <a:pt x="1958269" y="195913"/>
                  </a:lnTo>
                  <a:cubicBezTo>
                    <a:pt x="1960288" y="209186"/>
                    <a:pt x="1964905" y="219573"/>
                    <a:pt x="1971974" y="227219"/>
                  </a:cubicBezTo>
                  <a:cubicBezTo>
                    <a:pt x="1979043" y="234865"/>
                    <a:pt x="1989142" y="238616"/>
                    <a:pt x="2002125" y="238616"/>
                  </a:cubicBezTo>
                  <a:cubicBezTo>
                    <a:pt x="2010204" y="238616"/>
                    <a:pt x="2016985" y="236885"/>
                    <a:pt x="2022323" y="233423"/>
                  </a:cubicBezTo>
                  <a:cubicBezTo>
                    <a:pt x="2027661" y="229960"/>
                    <a:pt x="2031700" y="225199"/>
                    <a:pt x="2034585" y="219140"/>
                  </a:cubicBezTo>
                  <a:lnTo>
                    <a:pt x="2095177" y="219140"/>
                  </a:lnTo>
                  <a:cubicBezTo>
                    <a:pt x="2093158" y="228085"/>
                    <a:pt x="2089406" y="236452"/>
                    <a:pt x="2083780" y="244531"/>
                  </a:cubicBezTo>
                  <a:cubicBezTo>
                    <a:pt x="2078154" y="252610"/>
                    <a:pt x="2071085" y="259390"/>
                    <a:pt x="2062429" y="265305"/>
                  </a:cubicBezTo>
                  <a:cubicBezTo>
                    <a:pt x="2054350" y="271220"/>
                    <a:pt x="2045261" y="275548"/>
                    <a:pt x="2035162" y="278578"/>
                  </a:cubicBezTo>
                  <a:cubicBezTo>
                    <a:pt x="2025064" y="281607"/>
                    <a:pt x="2013811" y="283194"/>
                    <a:pt x="2001404" y="283194"/>
                  </a:cubicBezTo>
                  <a:moveTo>
                    <a:pt x="2035739" y="158981"/>
                  </a:moveTo>
                  <a:cubicBezTo>
                    <a:pt x="2034441" y="147296"/>
                    <a:pt x="2030546" y="138063"/>
                    <a:pt x="2023910" y="131138"/>
                  </a:cubicBezTo>
                  <a:cubicBezTo>
                    <a:pt x="2017273" y="124357"/>
                    <a:pt x="2008906" y="120895"/>
                    <a:pt x="1998807" y="120895"/>
                  </a:cubicBezTo>
                  <a:cubicBezTo>
                    <a:pt x="1986833" y="120895"/>
                    <a:pt x="1977745" y="124357"/>
                    <a:pt x="1971397" y="131138"/>
                  </a:cubicBezTo>
                  <a:cubicBezTo>
                    <a:pt x="1965049" y="138063"/>
                    <a:pt x="1960865" y="147296"/>
                    <a:pt x="1958846" y="158981"/>
                  </a:cubicBezTo>
                  <a:lnTo>
                    <a:pt x="2035739" y="158981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24B68200-DB43-792E-71EC-C6AE421B0EEF}"/>
                </a:ext>
              </a:extLst>
            </p:cNvPr>
            <p:cNvSpPr/>
            <p:nvPr/>
          </p:nvSpPr>
          <p:spPr>
            <a:xfrm>
              <a:off x="883128" y="557212"/>
              <a:ext cx="273528" cy="675598"/>
            </a:xfrm>
            <a:custGeom>
              <a:avLst/>
              <a:gdLst>
                <a:gd name="connsiteX0" fmla="*/ 0 w 273528"/>
                <a:gd name="connsiteY0" fmla="*/ 0 h 675598"/>
                <a:gd name="connsiteX1" fmla="*/ 0 w 273528"/>
                <a:gd name="connsiteY1" fmla="*/ 476944 h 675598"/>
                <a:gd name="connsiteX2" fmla="*/ 272807 w 273528"/>
                <a:gd name="connsiteY2" fmla="*/ 675598 h 675598"/>
                <a:gd name="connsiteX3" fmla="*/ 273529 w 273528"/>
                <a:gd name="connsiteY3" fmla="*/ 674877 h 675598"/>
                <a:gd name="connsiteX4" fmla="*/ 0 w 273528"/>
                <a:gd name="connsiteY4" fmla="*/ 0 h 675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528" h="675598">
                  <a:moveTo>
                    <a:pt x="0" y="0"/>
                  </a:moveTo>
                  <a:lnTo>
                    <a:pt x="0" y="476944"/>
                  </a:lnTo>
                  <a:lnTo>
                    <a:pt x="272807" y="675598"/>
                  </a:lnTo>
                  <a:cubicBezTo>
                    <a:pt x="272807" y="675598"/>
                    <a:pt x="273384" y="675021"/>
                    <a:pt x="273529" y="67487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3D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9060205-FE3B-4340-5EB2-6566F1F24035}"/>
                </a:ext>
              </a:extLst>
            </p:cNvPr>
            <p:cNvSpPr/>
            <p:nvPr/>
          </p:nvSpPr>
          <p:spPr>
            <a:xfrm>
              <a:off x="609600" y="557212"/>
              <a:ext cx="273528" cy="675453"/>
            </a:xfrm>
            <a:custGeom>
              <a:avLst/>
              <a:gdLst>
                <a:gd name="connsiteX0" fmla="*/ 0 w 273528"/>
                <a:gd name="connsiteY0" fmla="*/ 674733 h 675453"/>
                <a:gd name="connsiteX1" fmla="*/ 721 w 273528"/>
                <a:gd name="connsiteY1" fmla="*/ 675454 h 675453"/>
                <a:gd name="connsiteX2" fmla="*/ 273529 w 273528"/>
                <a:gd name="connsiteY2" fmla="*/ 476799 h 675453"/>
                <a:gd name="connsiteX3" fmla="*/ 273529 w 273528"/>
                <a:gd name="connsiteY3" fmla="*/ 0 h 675453"/>
                <a:gd name="connsiteX4" fmla="*/ 0 w 273528"/>
                <a:gd name="connsiteY4" fmla="*/ 674733 h 675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528" h="675453">
                  <a:moveTo>
                    <a:pt x="0" y="674733"/>
                  </a:moveTo>
                  <a:cubicBezTo>
                    <a:pt x="0" y="674733"/>
                    <a:pt x="577" y="675310"/>
                    <a:pt x="721" y="675454"/>
                  </a:cubicBezTo>
                  <a:lnTo>
                    <a:pt x="273529" y="476799"/>
                  </a:lnTo>
                  <a:lnTo>
                    <a:pt x="273529" y="0"/>
                  </a:lnTo>
                  <a:lnTo>
                    <a:pt x="0" y="674733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48" name="Graphic 47">
            <a:extLst>
              <a:ext uri="{FF2B5EF4-FFF2-40B4-BE49-F238E27FC236}">
                <a16:creationId xmlns:a16="http://schemas.microsoft.com/office/drawing/2014/main" id="{3C7E5846-B97D-9495-EFF3-E8E8BB25B1B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6112" r="2378"/>
          <a:stretch/>
        </p:blipFill>
        <p:spPr>
          <a:xfrm>
            <a:off x="6829137" y="0"/>
            <a:ext cx="5362864" cy="4608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21275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clusion - Ligh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EB833B88-89EF-37DD-D0B2-ADAEC5BEB8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4922" y="4871631"/>
            <a:ext cx="6753678" cy="774308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648416DC-291E-222B-2DEB-6D4A007A495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6509" r="2867" b="-1"/>
          <a:stretch/>
        </p:blipFill>
        <p:spPr>
          <a:xfrm>
            <a:off x="6819901" y="0"/>
            <a:ext cx="5372100" cy="4617631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2567EC2D-0286-8A6B-681F-A39AF8DA669A}"/>
              </a:ext>
            </a:extLst>
          </p:cNvPr>
          <p:cNvGrpSpPr/>
          <p:nvPr userDrawn="1"/>
        </p:nvGrpSpPr>
        <p:grpSpPr>
          <a:xfrm>
            <a:off x="609600" y="0"/>
            <a:ext cx="0" cy="6857999"/>
            <a:chOff x="609600" y="0"/>
            <a:chExt cx="0" cy="6857999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36D2E5ED-C185-3DC1-26E6-2864460B534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9600" y="0"/>
              <a:ext cx="0" cy="685799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4952DA0B-BA15-6F93-5059-E69C8AFAE59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9600" y="4518121"/>
              <a:ext cx="0" cy="1481328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Graphic 10">
            <a:extLst>
              <a:ext uri="{FF2B5EF4-FFF2-40B4-BE49-F238E27FC236}">
                <a16:creationId xmlns:a16="http://schemas.microsoft.com/office/drawing/2014/main" id="{944BDD3E-7F49-55AC-5477-FED2F889144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4922" y="618058"/>
            <a:ext cx="2338096" cy="594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10286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2 -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DE3CA1B0-623A-9E3F-9B2B-5EFA479D7D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38562" y="2453998"/>
            <a:ext cx="7227537" cy="1125116"/>
          </a:xfrm>
        </p:spPr>
        <p:txBody>
          <a:bodyPr wrap="square" anchor="t">
            <a:no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8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ank You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2E9ACEB-AC65-3A5B-7C63-992A9120364E}"/>
              </a:ext>
            </a:extLst>
          </p:cNvPr>
          <p:cNvGrpSpPr/>
          <p:nvPr userDrawn="1"/>
        </p:nvGrpSpPr>
        <p:grpSpPr>
          <a:xfrm>
            <a:off x="1" y="1983579"/>
            <a:ext cx="12191999" cy="0"/>
            <a:chOff x="1" y="1983579"/>
            <a:chExt cx="12191999" cy="0"/>
          </a:xfrm>
        </p:grpSpPr>
        <p:cxnSp>
          <p:nvCxnSpPr>
            <p:cNvPr id="2" name="Straight Connector 1">
              <a:extLst>
                <a:ext uri="{FF2B5EF4-FFF2-40B4-BE49-F238E27FC236}">
                  <a16:creationId xmlns:a16="http://schemas.microsoft.com/office/drawing/2014/main" id="{0E4290B1-C5D4-50D5-BCF3-3E59301DBD7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" y="1983579"/>
              <a:ext cx="12191999" cy="0"/>
            </a:xfrm>
            <a:prstGeom prst="line">
              <a:avLst/>
            </a:prstGeom>
            <a:ln>
              <a:solidFill>
                <a:schemeClr val="bg1"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67537F7F-A3FD-E47E-4415-2126205ED623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1543059" y="1379082"/>
              <a:ext cx="0" cy="1208993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Graphic 7">
            <a:extLst>
              <a:ext uri="{FF2B5EF4-FFF2-40B4-BE49-F238E27FC236}">
                <a16:creationId xmlns:a16="http://schemas.microsoft.com/office/drawing/2014/main" id="{3AB37842-EC51-8631-1C75-0B1DCCBB60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8562" y="1062569"/>
            <a:ext cx="1799617" cy="4572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3F3CE916-7E55-F8DE-3538-C3D9756ED4E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8563" y="5961888"/>
            <a:ext cx="1834388" cy="210312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B2F6610E-AA8A-AA03-9940-957C1FB8B0C9}"/>
              </a:ext>
            </a:extLst>
          </p:cNvPr>
          <p:cNvPicPr/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68938" y="2931518"/>
            <a:ext cx="2984500" cy="2978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22825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2 - Ligh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DE3CA1B0-623A-9E3F-9B2B-5EFA479D7D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38562" y="2453998"/>
            <a:ext cx="7176738" cy="1125116"/>
          </a:xfrm>
        </p:spPr>
        <p:txBody>
          <a:bodyPr wrap="square" anchor="t">
            <a:no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8800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ank You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A392F83-2467-8DF1-A072-47811A39DF5F}"/>
              </a:ext>
            </a:extLst>
          </p:cNvPr>
          <p:cNvGrpSpPr/>
          <p:nvPr/>
        </p:nvGrpSpPr>
        <p:grpSpPr>
          <a:xfrm>
            <a:off x="1" y="1983579"/>
            <a:ext cx="12191999" cy="0"/>
            <a:chOff x="1" y="1983579"/>
            <a:chExt cx="12191999" cy="0"/>
          </a:xfrm>
        </p:grpSpPr>
        <p:cxnSp>
          <p:nvCxnSpPr>
            <p:cNvPr id="2" name="Straight Connector 1">
              <a:extLst>
                <a:ext uri="{FF2B5EF4-FFF2-40B4-BE49-F238E27FC236}">
                  <a16:creationId xmlns:a16="http://schemas.microsoft.com/office/drawing/2014/main" id="{0E4290B1-C5D4-50D5-BCF3-3E59301DBD7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" y="1983579"/>
              <a:ext cx="12191999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67537F7F-A3FD-E47E-4415-2126205ED623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1543059" y="1379082"/>
              <a:ext cx="0" cy="1208993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" name="Graphic 3">
            <a:extLst>
              <a:ext uri="{FF2B5EF4-FFF2-40B4-BE49-F238E27FC236}">
                <a16:creationId xmlns:a16="http://schemas.microsoft.com/office/drawing/2014/main" id="{F6EA8AA0-F903-6C8E-6D87-56CECC2A2D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8562" y="1066649"/>
            <a:ext cx="1783555" cy="45312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E4938A9D-779B-9E93-E00C-DB40A81BC40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8563" y="5961888"/>
            <a:ext cx="1834388" cy="210312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2A060178-C7DC-1546-A061-11499B0B9C77}"/>
              </a:ext>
            </a:extLst>
          </p:cNvPr>
          <p:cNvPicPr/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68937" y="2931517"/>
            <a:ext cx="2984501" cy="2978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39218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3 -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DE3CA1B0-623A-9E3F-9B2B-5EFA479D7D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38563" y="2875002"/>
            <a:ext cx="4052538" cy="1107996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7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ank You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864A7B1-01CA-74D7-5CA7-9E6002A2544A}"/>
              </a:ext>
            </a:extLst>
          </p:cNvPr>
          <p:cNvGrpSpPr/>
          <p:nvPr userDrawn="1"/>
        </p:nvGrpSpPr>
        <p:grpSpPr>
          <a:xfrm rot="16200000">
            <a:off x="-2819401" y="3428999"/>
            <a:ext cx="6858001" cy="0"/>
            <a:chOff x="1" y="1983579"/>
            <a:chExt cx="6858001" cy="0"/>
          </a:xfrm>
        </p:grpSpPr>
        <p:cxnSp>
          <p:nvCxnSpPr>
            <p:cNvPr id="2" name="Straight Connector 1">
              <a:extLst>
                <a:ext uri="{FF2B5EF4-FFF2-40B4-BE49-F238E27FC236}">
                  <a16:creationId xmlns:a16="http://schemas.microsoft.com/office/drawing/2014/main" id="{0E4290B1-C5D4-50D5-BCF3-3E59301DBD78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429002" y="-1445422"/>
              <a:ext cx="0" cy="6858001"/>
            </a:xfrm>
            <a:prstGeom prst="line">
              <a:avLst/>
            </a:prstGeom>
            <a:ln>
              <a:solidFill>
                <a:schemeClr val="bg1"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67537F7F-A3FD-E47E-4415-2126205ED623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3429000" y="1379082"/>
              <a:ext cx="0" cy="1208993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Graphic 7">
            <a:extLst>
              <a:ext uri="{FF2B5EF4-FFF2-40B4-BE49-F238E27FC236}">
                <a16:creationId xmlns:a16="http://schemas.microsoft.com/office/drawing/2014/main" id="{3AB37842-EC51-8631-1C75-0B1DCCBB60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8562" y="1062569"/>
            <a:ext cx="1799617" cy="4572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3F3CE916-7E55-F8DE-3538-C3D9756ED4E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8563" y="5961888"/>
            <a:ext cx="1834388" cy="210312"/>
          </a:xfrm>
          <a:prstGeom prst="rect">
            <a:avLst/>
          </a:prstGeom>
        </p:spPr>
      </p:pic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19D49CF5-B256-D13A-3A62-029D9B36D9C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5999" cy="6858000"/>
          </a:xfr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1000" b="0"/>
            </a:lvl1pPr>
          </a:lstStyle>
          <a:p>
            <a:pPr lvl="0" algn="ctr"/>
            <a:r>
              <a:rPr lang="en-US"/>
              <a:t>Insert Photo</a:t>
            </a:r>
          </a:p>
        </p:txBody>
      </p:sp>
    </p:spTree>
    <p:extLst>
      <p:ext uri="{BB962C8B-B14F-4D97-AF65-F5344CB8AC3E}">
        <p14:creationId xmlns:p14="http://schemas.microsoft.com/office/powerpoint/2010/main" val="336830674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Map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BC176DF-9D05-69AA-11F1-229243D036F3}"/>
              </a:ext>
            </a:extLst>
          </p:cNvPr>
          <p:cNvGrpSpPr/>
          <p:nvPr userDrawn="1"/>
        </p:nvGrpSpPr>
        <p:grpSpPr>
          <a:xfrm>
            <a:off x="850900" y="0"/>
            <a:ext cx="10490200" cy="6314858"/>
            <a:chOff x="850900" y="0"/>
            <a:chExt cx="10490200" cy="6314858"/>
          </a:xfrm>
        </p:grpSpPr>
        <p:sp>
          <p:nvSpPr>
            <p:cNvPr id="5" name="Freeform 33">
              <a:extLst>
                <a:ext uri="{FF2B5EF4-FFF2-40B4-BE49-F238E27FC236}">
                  <a16:creationId xmlns:a16="http://schemas.microsoft.com/office/drawing/2014/main" id="{C32CC898-F0A8-4972-5297-5ED2EB060A9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50709" y="4900384"/>
              <a:ext cx="276084" cy="303320"/>
            </a:xfrm>
            <a:custGeom>
              <a:avLst/>
              <a:gdLst>
                <a:gd name="T0" fmla="*/ 0 w 518"/>
                <a:gd name="T1" fmla="*/ 2147483647 h 534"/>
                <a:gd name="T2" fmla="*/ 0 w 518"/>
                <a:gd name="T3" fmla="*/ 2147483647 h 534"/>
                <a:gd name="T4" fmla="*/ 2147483647 w 518"/>
                <a:gd name="T5" fmla="*/ 2147483647 h 534"/>
                <a:gd name="T6" fmla="*/ 2147483647 w 518"/>
                <a:gd name="T7" fmla="*/ 2147483647 h 534"/>
                <a:gd name="T8" fmla="*/ 2147483647 w 518"/>
                <a:gd name="T9" fmla="*/ 0 h 534"/>
                <a:gd name="T10" fmla="*/ 2147483647 w 518"/>
                <a:gd name="T11" fmla="*/ 0 h 534"/>
                <a:gd name="T12" fmla="*/ 2147483647 w 518"/>
                <a:gd name="T13" fmla="*/ 0 h 534"/>
                <a:gd name="T14" fmla="*/ 2147483647 w 518"/>
                <a:gd name="T15" fmla="*/ 0 h 534"/>
                <a:gd name="T16" fmla="*/ 2147483647 w 518"/>
                <a:gd name="T17" fmla="*/ 0 h 534"/>
                <a:gd name="T18" fmla="*/ 2147483647 w 518"/>
                <a:gd name="T19" fmla="*/ 0 h 534"/>
                <a:gd name="T20" fmla="*/ 2147483647 w 518"/>
                <a:gd name="T21" fmla="*/ 0 h 534"/>
                <a:gd name="T22" fmla="*/ 2147483647 w 518"/>
                <a:gd name="T23" fmla="*/ 0 h 534"/>
                <a:gd name="T24" fmla="*/ 2147483647 w 518"/>
                <a:gd name="T25" fmla="*/ 0 h 534"/>
                <a:gd name="T26" fmla="*/ 2147483647 w 518"/>
                <a:gd name="T27" fmla="*/ 0 h 534"/>
                <a:gd name="T28" fmla="*/ 2147483647 w 518"/>
                <a:gd name="T29" fmla="*/ 0 h 534"/>
                <a:gd name="T30" fmla="*/ 2147483647 w 518"/>
                <a:gd name="T31" fmla="*/ 2147483647 h 534"/>
                <a:gd name="T32" fmla="*/ 2147483647 w 518"/>
                <a:gd name="T33" fmla="*/ 2147483647 h 534"/>
                <a:gd name="T34" fmla="*/ 2147483647 w 518"/>
                <a:gd name="T35" fmla="*/ 2147483647 h 534"/>
                <a:gd name="T36" fmla="*/ 2147483647 w 518"/>
                <a:gd name="T37" fmla="*/ 2147483647 h 534"/>
                <a:gd name="T38" fmla="*/ 2147483647 w 518"/>
                <a:gd name="T39" fmla="*/ 2147483647 h 534"/>
                <a:gd name="T40" fmla="*/ 2147483647 w 518"/>
                <a:gd name="T41" fmla="*/ 2147483647 h 534"/>
                <a:gd name="T42" fmla="*/ 2147483647 w 518"/>
                <a:gd name="T43" fmla="*/ 2147483647 h 534"/>
                <a:gd name="T44" fmla="*/ 2147483647 w 518"/>
                <a:gd name="T45" fmla="*/ 2147483647 h 534"/>
                <a:gd name="T46" fmla="*/ 2147483647 w 518"/>
                <a:gd name="T47" fmla="*/ 2147483647 h 534"/>
                <a:gd name="T48" fmla="*/ 2147483647 w 518"/>
                <a:gd name="T49" fmla="*/ 2147483647 h 534"/>
                <a:gd name="T50" fmla="*/ 2147483647 w 518"/>
                <a:gd name="T51" fmla="*/ 2147483647 h 534"/>
                <a:gd name="T52" fmla="*/ 2147483647 w 518"/>
                <a:gd name="T53" fmla="*/ 2147483647 h 534"/>
                <a:gd name="T54" fmla="*/ 2147483647 w 518"/>
                <a:gd name="T55" fmla="*/ 2147483647 h 534"/>
                <a:gd name="T56" fmla="*/ 2147483647 w 518"/>
                <a:gd name="T57" fmla="*/ 2147483647 h 534"/>
                <a:gd name="T58" fmla="*/ 2147483647 w 518"/>
                <a:gd name="T59" fmla="*/ 2147483647 h 534"/>
                <a:gd name="T60" fmla="*/ 2147483647 w 518"/>
                <a:gd name="T61" fmla="*/ 2147483647 h 534"/>
                <a:gd name="T62" fmla="*/ 2147483647 w 518"/>
                <a:gd name="T63" fmla="*/ 2147483647 h 534"/>
                <a:gd name="T64" fmla="*/ 2147483647 w 518"/>
                <a:gd name="T65" fmla="*/ 2147483647 h 534"/>
                <a:gd name="T66" fmla="*/ 2147483647 w 518"/>
                <a:gd name="T67" fmla="*/ 2147483647 h 534"/>
                <a:gd name="T68" fmla="*/ 2147483647 w 518"/>
                <a:gd name="T69" fmla="*/ 2147483647 h 534"/>
                <a:gd name="T70" fmla="*/ 2147483647 w 518"/>
                <a:gd name="T71" fmla="*/ 2147483647 h 534"/>
                <a:gd name="T72" fmla="*/ 2147483647 w 518"/>
                <a:gd name="T73" fmla="*/ 2147483647 h 534"/>
                <a:gd name="T74" fmla="*/ 2147483647 w 518"/>
                <a:gd name="T75" fmla="*/ 2147483647 h 534"/>
                <a:gd name="T76" fmla="*/ 2147483647 w 518"/>
                <a:gd name="T77" fmla="*/ 2147483647 h 534"/>
                <a:gd name="T78" fmla="*/ 0 w 518"/>
                <a:gd name="T79" fmla="*/ 2147483647 h 534"/>
                <a:gd name="T80" fmla="*/ 2147483647 w 518"/>
                <a:gd name="T81" fmla="*/ 2147483647 h 534"/>
                <a:gd name="T82" fmla="*/ 2147483647 w 518"/>
                <a:gd name="T83" fmla="*/ 2147483647 h 534"/>
                <a:gd name="T84" fmla="*/ 0 w 518"/>
                <a:gd name="T85" fmla="*/ 2147483647 h 534"/>
                <a:gd name="T86" fmla="*/ 0 w 518"/>
                <a:gd name="T87" fmla="*/ 2147483647 h 534"/>
                <a:gd name="T88" fmla="*/ 0 w 518"/>
                <a:gd name="T89" fmla="*/ 2147483647 h 534"/>
                <a:gd name="T90" fmla="*/ 0 w 518"/>
                <a:gd name="T91" fmla="*/ 2147483647 h 53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518"/>
                <a:gd name="T139" fmla="*/ 0 h 534"/>
                <a:gd name="T140" fmla="*/ 518 w 518"/>
                <a:gd name="T141" fmla="*/ 534 h 53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518" h="534">
                  <a:moveTo>
                    <a:pt x="0" y="409"/>
                  </a:moveTo>
                  <a:lnTo>
                    <a:pt x="0" y="356"/>
                  </a:lnTo>
                  <a:lnTo>
                    <a:pt x="0" y="298"/>
                  </a:lnTo>
                  <a:lnTo>
                    <a:pt x="0" y="244"/>
                  </a:lnTo>
                  <a:lnTo>
                    <a:pt x="56" y="244"/>
                  </a:lnTo>
                  <a:lnTo>
                    <a:pt x="56" y="206"/>
                  </a:lnTo>
                  <a:lnTo>
                    <a:pt x="56" y="149"/>
                  </a:lnTo>
                  <a:lnTo>
                    <a:pt x="56" y="93"/>
                  </a:lnTo>
                  <a:lnTo>
                    <a:pt x="56" y="40"/>
                  </a:lnTo>
                  <a:lnTo>
                    <a:pt x="61" y="35"/>
                  </a:lnTo>
                  <a:lnTo>
                    <a:pt x="141" y="20"/>
                  </a:lnTo>
                  <a:lnTo>
                    <a:pt x="158" y="17"/>
                  </a:lnTo>
                  <a:lnTo>
                    <a:pt x="164" y="17"/>
                  </a:lnTo>
                  <a:lnTo>
                    <a:pt x="181" y="18"/>
                  </a:lnTo>
                  <a:lnTo>
                    <a:pt x="192" y="22"/>
                  </a:lnTo>
                  <a:lnTo>
                    <a:pt x="199" y="34"/>
                  </a:lnTo>
                  <a:lnTo>
                    <a:pt x="202" y="49"/>
                  </a:lnTo>
                  <a:lnTo>
                    <a:pt x="208" y="41"/>
                  </a:lnTo>
                  <a:lnTo>
                    <a:pt x="217" y="30"/>
                  </a:lnTo>
                  <a:lnTo>
                    <a:pt x="233" y="18"/>
                  </a:lnTo>
                  <a:lnTo>
                    <a:pt x="260" y="12"/>
                  </a:lnTo>
                  <a:lnTo>
                    <a:pt x="265" y="6"/>
                  </a:lnTo>
                  <a:lnTo>
                    <a:pt x="272" y="1"/>
                  </a:lnTo>
                  <a:lnTo>
                    <a:pt x="283" y="0"/>
                  </a:lnTo>
                  <a:lnTo>
                    <a:pt x="291" y="2"/>
                  </a:lnTo>
                  <a:lnTo>
                    <a:pt x="291" y="11"/>
                  </a:lnTo>
                  <a:lnTo>
                    <a:pt x="294" y="17"/>
                  </a:lnTo>
                  <a:lnTo>
                    <a:pt x="307" y="39"/>
                  </a:lnTo>
                  <a:lnTo>
                    <a:pt x="317" y="49"/>
                  </a:lnTo>
                  <a:lnTo>
                    <a:pt x="319" y="60"/>
                  </a:lnTo>
                  <a:lnTo>
                    <a:pt x="325" y="74"/>
                  </a:lnTo>
                  <a:lnTo>
                    <a:pt x="339" y="93"/>
                  </a:lnTo>
                  <a:lnTo>
                    <a:pt x="368" y="124"/>
                  </a:lnTo>
                  <a:lnTo>
                    <a:pt x="385" y="127"/>
                  </a:lnTo>
                  <a:lnTo>
                    <a:pt x="398" y="137"/>
                  </a:lnTo>
                  <a:lnTo>
                    <a:pt x="407" y="151"/>
                  </a:lnTo>
                  <a:lnTo>
                    <a:pt x="420" y="154"/>
                  </a:lnTo>
                  <a:lnTo>
                    <a:pt x="431" y="164"/>
                  </a:lnTo>
                  <a:lnTo>
                    <a:pt x="431" y="185"/>
                  </a:lnTo>
                  <a:lnTo>
                    <a:pt x="434" y="205"/>
                  </a:lnTo>
                  <a:lnTo>
                    <a:pt x="441" y="218"/>
                  </a:lnTo>
                  <a:lnTo>
                    <a:pt x="449" y="227"/>
                  </a:lnTo>
                  <a:lnTo>
                    <a:pt x="458" y="232"/>
                  </a:lnTo>
                  <a:lnTo>
                    <a:pt x="470" y="234"/>
                  </a:lnTo>
                  <a:lnTo>
                    <a:pt x="484" y="234"/>
                  </a:lnTo>
                  <a:lnTo>
                    <a:pt x="497" y="240"/>
                  </a:lnTo>
                  <a:lnTo>
                    <a:pt x="507" y="244"/>
                  </a:lnTo>
                  <a:lnTo>
                    <a:pt x="518" y="253"/>
                  </a:lnTo>
                  <a:lnTo>
                    <a:pt x="517" y="256"/>
                  </a:lnTo>
                  <a:lnTo>
                    <a:pt x="506" y="261"/>
                  </a:lnTo>
                  <a:lnTo>
                    <a:pt x="492" y="270"/>
                  </a:lnTo>
                  <a:lnTo>
                    <a:pt x="454" y="288"/>
                  </a:lnTo>
                  <a:lnTo>
                    <a:pt x="438" y="305"/>
                  </a:lnTo>
                  <a:lnTo>
                    <a:pt x="418" y="318"/>
                  </a:lnTo>
                  <a:lnTo>
                    <a:pt x="399" y="336"/>
                  </a:lnTo>
                  <a:lnTo>
                    <a:pt x="388" y="352"/>
                  </a:lnTo>
                  <a:lnTo>
                    <a:pt x="371" y="377"/>
                  </a:lnTo>
                  <a:lnTo>
                    <a:pt x="344" y="396"/>
                  </a:lnTo>
                  <a:lnTo>
                    <a:pt x="329" y="415"/>
                  </a:lnTo>
                  <a:lnTo>
                    <a:pt x="314" y="449"/>
                  </a:lnTo>
                  <a:lnTo>
                    <a:pt x="309" y="455"/>
                  </a:lnTo>
                  <a:lnTo>
                    <a:pt x="301" y="459"/>
                  </a:lnTo>
                  <a:lnTo>
                    <a:pt x="290" y="460"/>
                  </a:lnTo>
                  <a:lnTo>
                    <a:pt x="265" y="466"/>
                  </a:lnTo>
                  <a:lnTo>
                    <a:pt x="250" y="465"/>
                  </a:lnTo>
                  <a:lnTo>
                    <a:pt x="227" y="452"/>
                  </a:lnTo>
                  <a:lnTo>
                    <a:pt x="215" y="447"/>
                  </a:lnTo>
                  <a:lnTo>
                    <a:pt x="201" y="445"/>
                  </a:lnTo>
                  <a:lnTo>
                    <a:pt x="189" y="449"/>
                  </a:lnTo>
                  <a:lnTo>
                    <a:pt x="170" y="469"/>
                  </a:lnTo>
                  <a:lnTo>
                    <a:pt x="163" y="477"/>
                  </a:lnTo>
                  <a:lnTo>
                    <a:pt x="161" y="485"/>
                  </a:lnTo>
                  <a:lnTo>
                    <a:pt x="152" y="496"/>
                  </a:lnTo>
                  <a:lnTo>
                    <a:pt x="140" y="503"/>
                  </a:lnTo>
                  <a:lnTo>
                    <a:pt x="135" y="508"/>
                  </a:lnTo>
                  <a:lnTo>
                    <a:pt x="125" y="525"/>
                  </a:lnTo>
                  <a:lnTo>
                    <a:pt x="90" y="534"/>
                  </a:lnTo>
                  <a:lnTo>
                    <a:pt x="72" y="533"/>
                  </a:lnTo>
                  <a:lnTo>
                    <a:pt x="56" y="530"/>
                  </a:lnTo>
                  <a:lnTo>
                    <a:pt x="46" y="528"/>
                  </a:lnTo>
                  <a:lnTo>
                    <a:pt x="43" y="519"/>
                  </a:lnTo>
                  <a:lnTo>
                    <a:pt x="50" y="498"/>
                  </a:lnTo>
                  <a:lnTo>
                    <a:pt x="52" y="485"/>
                  </a:lnTo>
                  <a:lnTo>
                    <a:pt x="52" y="479"/>
                  </a:lnTo>
                  <a:lnTo>
                    <a:pt x="51" y="461"/>
                  </a:lnTo>
                  <a:lnTo>
                    <a:pt x="44" y="449"/>
                  </a:lnTo>
                  <a:lnTo>
                    <a:pt x="30" y="438"/>
                  </a:lnTo>
                  <a:lnTo>
                    <a:pt x="25" y="429"/>
                  </a:lnTo>
                  <a:lnTo>
                    <a:pt x="13" y="418"/>
                  </a:lnTo>
                  <a:lnTo>
                    <a:pt x="11" y="415"/>
                  </a:lnTo>
                  <a:lnTo>
                    <a:pt x="5" y="409"/>
                  </a:lnTo>
                  <a:lnTo>
                    <a:pt x="0" y="40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6" name="Freeform 23">
              <a:extLst>
                <a:ext uri="{FF2B5EF4-FFF2-40B4-BE49-F238E27FC236}">
                  <a16:creationId xmlns:a16="http://schemas.microsoft.com/office/drawing/2014/main" id="{EA1C6CBA-1809-9FC7-0DF6-96F1453AB42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728272" y="4632121"/>
              <a:ext cx="95510" cy="248448"/>
            </a:xfrm>
            <a:custGeom>
              <a:avLst/>
              <a:gdLst>
                <a:gd name="T0" fmla="*/ 2147483647 w 175"/>
                <a:gd name="T1" fmla="*/ 0 h 431"/>
                <a:gd name="T2" fmla="*/ 0 w 175"/>
                <a:gd name="T3" fmla="*/ 0 h 431"/>
                <a:gd name="T4" fmla="*/ 0 w 175"/>
                <a:gd name="T5" fmla="*/ 0 h 431"/>
                <a:gd name="T6" fmla="*/ 0 w 175"/>
                <a:gd name="T7" fmla="*/ 0 h 431"/>
                <a:gd name="T8" fmla="*/ 0 w 175"/>
                <a:gd name="T9" fmla="*/ 0 h 431"/>
                <a:gd name="T10" fmla="*/ 0 w 175"/>
                <a:gd name="T11" fmla="*/ 0 h 431"/>
                <a:gd name="T12" fmla="*/ 2147483647 w 175"/>
                <a:gd name="T13" fmla="*/ 0 h 431"/>
                <a:gd name="T14" fmla="*/ 0 w 175"/>
                <a:gd name="T15" fmla="*/ 2147483647 h 431"/>
                <a:gd name="T16" fmla="*/ 0 w 175"/>
                <a:gd name="T17" fmla="*/ 2147483647 h 431"/>
                <a:gd name="T18" fmla="*/ 0 w 175"/>
                <a:gd name="T19" fmla="*/ 2147483647 h 431"/>
                <a:gd name="T20" fmla="*/ 0 w 175"/>
                <a:gd name="T21" fmla="*/ 2147483647 h 431"/>
                <a:gd name="T22" fmla="*/ 0 w 175"/>
                <a:gd name="T23" fmla="*/ 2147483647 h 431"/>
                <a:gd name="T24" fmla="*/ 0 w 175"/>
                <a:gd name="T25" fmla="*/ 2147483647 h 431"/>
                <a:gd name="T26" fmla="*/ 0 w 175"/>
                <a:gd name="T27" fmla="*/ 2147483647 h 431"/>
                <a:gd name="T28" fmla="*/ 0 w 175"/>
                <a:gd name="T29" fmla="*/ 2147483647 h 431"/>
                <a:gd name="T30" fmla="*/ 0 w 175"/>
                <a:gd name="T31" fmla="*/ 2147483647 h 431"/>
                <a:gd name="T32" fmla="*/ 0 w 175"/>
                <a:gd name="T33" fmla="*/ 2147483647 h 431"/>
                <a:gd name="T34" fmla="*/ 0 w 175"/>
                <a:gd name="T35" fmla="*/ 2147483647 h 431"/>
                <a:gd name="T36" fmla="*/ 2147483647 w 175"/>
                <a:gd name="T37" fmla="*/ 2147483647 h 431"/>
                <a:gd name="T38" fmla="*/ 2147483647 w 175"/>
                <a:gd name="T39" fmla="*/ 2147483647 h 431"/>
                <a:gd name="T40" fmla="*/ 2147483647 w 175"/>
                <a:gd name="T41" fmla="*/ 2147483647 h 431"/>
                <a:gd name="T42" fmla="*/ 2147483647 w 175"/>
                <a:gd name="T43" fmla="*/ 2147483647 h 431"/>
                <a:gd name="T44" fmla="*/ 2147483647 w 175"/>
                <a:gd name="T45" fmla="*/ 2147483647 h 431"/>
                <a:gd name="T46" fmla="*/ 2147483647 w 175"/>
                <a:gd name="T47" fmla="*/ 2147483647 h 431"/>
                <a:gd name="T48" fmla="*/ 2147483647 w 175"/>
                <a:gd name="T49" fmla="*/ 2147483647 h 431"/>
                <a:gd name="T50" fmla="*/ 2147483647 w 175"/>
                <a:gd name="T51" fmla="*/ 2147483647 h 431"/>
                <a:gd name="T52" fmla="*/ 2147483647 w 175"/>
                <a:gd name="T53" fmla="*/ 2147483647 h 431"/>
                <a:gd name="T54" fmla="*/ 2147483647 w 175"/>
                <a:gd name="T55" fmla="*/ 2147483647 h 431"/>
                <a:gd name="T56" fmla="*/ 2147483647 w 175"/>
                <a:gd name="T57" fmla="*/ 2147483647 h 431"/>
                <a:gd name="T58" fmla="*/ 2147483647 w 175"/>
                <a:gd name="T59" fmla="*/ 2147483647 h 431"/>
                <a:gd name="T60" fmla="*/ 2147483647 w 175"/>
                <a:gd name="T61" fmla="*/ 2147483647 h 431"/>
                <a:gd name="T62" fmla="*/ 2147483647 w 175"/>
                <a:gd name="T63" fmla="*/ 2147483647 h 431"/>
                <a:gd name="T64" fmla="*/ 2147483647 w 175"/>
                <a:gd name="T65" fmla="*/ 2147483647 h 431"/>
                <a:gd name="T66" fmla="*/ 2147483647 w 175"/>
                <a:gd name="T67" fmla="*/ 2147483647 h 431"/>
                <a:gd name="T68" fmla="*/ 2147483647 w 175"/>
                <a:gd name="T69" fmla="*/ 2147483647 h 431"/>
                <a:gd name="T70" fmla="*/ 2147483647 w 175"/>
                <a:gd name="T71" fmla="*/ 2147483647 h 431"/>
                <a:gd name="T72" fmla="*/ 2147483647 w 175"/>
                <a:gd name="T73" fmla="*/ 2147483647 h 431"/>
                <a:gd name="T74" fmla="*/ 2147483647 w 175"/>
                <a:gd name="T75" fmla="*/ 2147483647 h 431"/>
                <a:gd name="T76" fmla="*/ 2147483647 w 175"/>
                <a:gd name="T77" fmla="*/ 2147483647 h 431"/>
                <a:gd name="T78" fmla="*/ 2147483647 w 175"/>
                <a:gd name="T79" fmla="*/ 2147483647 h 431"/>
                <a:gd name="T80" fmla="*/ 2147483647 w 175"/>
                <a:gd name="T81" fmla="*/ 2147483647 h 431"/>
                <a:gd name="T82" fmla="*/ 2147483647 w 175"/>
                <a:gd name="T83" fmla="*/ 2147483647 h 431"/>
                <a:gd name="T84" fmla="*/ 2147483647 w 175"/>
                <a:gd name="T85" fmla="*/ 2147483647 h 431"/>
                <a:gd name="T86" fmla="*/ 2147483647 w 175"/>
                <a:gd name="T87" fmla="*/ 2147483647 h 431"/>
                <a:gd name="T88" fmla="*/ 2147483647 w 175"/>
                <a:gd name="T89" fmla="*/ 2147483647 h 431"/>
                <a:gd name="T90" fmla="*/ 2147483647 w 175"/>
                <a:gd name="T91" fmla="*/ 2147483647 h 431"/>
                <a:gd name="T92" fmla="*/ 2147483647 w 175"/>
                <a:gd name="T93" fmla="*/ 2147483647 h 431"/>
                <a:gd name="T94" fmla="*/ 2147483647 w 175"/>
                <a:gd name="T95" fmla="*/ 2147483647 h 431"/>
                <a:gd name="T96" fmla="*/ 2147483647 w 175"/>
                <a:gd name="T97" fmla="*/ 0 h 431"/>
                <a:gd name="T98" fmla="*/ 2147483647 w 175"/>
                <a:gd name="T99" fmla="*/ 0 h 431"/>
                <a:gd name="T100" fmla="*/ 2147483647 w 175"/>
                <a:gd name="T101" fmla="*/ 0 h 431"/>
                <a:gd name="T102" fmla="*/ 2147483647 w 175"/>
                <a:gd name="T103" fmla="*/ 0 h 43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75"/>
                <a:gd name="T157" fmla="*/ 0 h 431"/>
                <a:gd name="T158" fmla="*/ 175 w 175"/>
                <a:gd name="T159" fmla="*/ 431 h 431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75" h="431">
                  <a:moveTo>
                    <a:pt x="64" y="18"/>
                  </a:moveTo>
                  <a:lnTo>
                    <a:pt x="62" y="14"/>
                  </a:lnTo>
                  <a:lnTo>
                    <a:pt x="61" y="11"/>
                  </a:lnTo>
                  <a:lnTo>
                    <a:pt x="58" y="10"/>
                  </a:lnTo>
                  <a:lnTo>
                    <a:pt x="53" y="10"/>
                  </a:lnTo>
                  <a:lnTo>
                    <a:pt x="42" y="14"/>
                  </a:lnTo>
                  <a:lnTo>
                    <a:pt x="40" y="13"/>
                  </a:lnTo>
                  <a:lnTo>
                    <a:pt x="35" y="6"/>
                  </a:lnTo>
                  <a:lnTo>
                    <a:pt x="25" y="8"/>
                  </a:lnTo>
                  <a:lnTo>
                    <a:pt x="14" y="0"/>
                  </a:lnTo>
                  <a:lnTo>
                    <a:pt x="13" y="3"/>
                  </a:lnTo>
                  <a:lnTo>
                    <a:pt x="13" y="8"/>
                  </a:lnTo>
                  <a:lnTo>
                    <a:pt x="14" y="9"/>
                  </a:lnTo>
                  <a:lnTo>
                    <a:pt x="16" y="15"/>
                  </a:lnTo>
                  <a:lnTo>
                    <a:pt x="25" y="15"/>
                  </a:lnTo>
                  <a:lnTo>
                    <a:pt x="32" y="24"/>
                  </a:lnTo>
                  <a:lnTo>
                    <a:pt x="34" y="29"/>
                  </a:lnTo>
                  <a:lnTo>
                    <a:pt x="37" y="40"/>
                  </a:lnTo>
                  <a:lnTo>
                    <a:pt x="43" y="45"/>
                  </a:lnTo>
                  <a:lnTo>
                    <a:pt x="46" y="63"/>
                  </a:lnTo>
                  <a:lnTo>
                    <a:pt x="50" y="65"/>
                  </a:lnTo>
                  <a:lnTo>
                    <a:pt x="51" y="72"/>
                  </a:lnTo>
                  <a:lnTo>
                    <a:pt x="51" y="75"/>
                  </a:lnTo>
                  <a:lnTo>
                    <a:pt x="42" y="80"/>
                  </a:lnTo>
                  <a:lnTo>
                    <a:pt x="40" y="81"/>
                  </a:lnTo>
                  <a:lnTo>
                    <a:pt x="36" y="84"/>
                  </a:lnTo>
                  <a:lnTo>
                    <a:pt x="35" y="94"/>
                  </a:lnTo>
                  <a:lnTo>
                    <a:pt x="36" y="102"/>
                  </a:lnTo>
                  <a:lnTo>
                    <a:pt x="30" y="119"/>
                  </a:lnTo>
                  <a:lnTo>
                    <a:pt x="31" y="127"/>
                  </a:lnTo>
                  <a:lnTo>
                    <a:pt x="32" y="142"/>
                  </a:lnTo>
                  <a:lnTo>
                    <a:pt x="30" y="156"/>
                  </a:lnTo>
                  <a:lnTo>
                    <a:pt x="31" y="159"/>
                  </a:lnTo>
                  <a:lnTo>
                    <a:pt x="35" y="164"/>
                  </a:lnTo>
                  <a:lnTo>
                    <a:pt x="40" y="166"/>
                  </a:lnTo>
                  <a:lnTo>
                    <a:pt x="41" y="172"/>
                  </a:lnTo>
                  <a:lnTo>
                    <a:pt x="38" y="175"/>
                  </a:lnTo>
                  <a:lnTo>
                    <a:pt x="30" y="176"/>
                  </a:lnTo>
                  <a:lnTo>
                    <a:pt x="24" y="181"/>
                  </a:lnTo>
                  <a:lnTo>
                    <a:pt x="19" y="182"/>
                  </a:lnTo>
                  <a:lnTo>
                    <a:pt x="18" y="183"/>
                  </a:lnTo>
                  <a:lnTo>
                    <a:pt x="14" y="198"/>
                  </a:lnTo>
                  <a:lnTo>
                    <a:pt x="14" y="213"/>
                  </a:lnTo>
                  <a:lnTo>
                    <a:pt x="9" y="228"/>
                  </a:lnTo>
                  <a:lnTo>
                    <a:pt x="2" y="235"/>
                  </a:lnTo>
                  <a:lnTo>
                    <a:pt x="0" y="239"/>
                  </a:lnTo>
                  <a:lnTo>
                    <a:pt x="3" y="247"/>
                  </a:lnTo>
                  <a:lnTo>
                    <a:pt x="8" y="248"/>
                  </a:lnTo>
                  <a:lnTo>
                    <a:pt x="11" y="256"/>
                  </a:lnTo>
                  <a:lnTo>
                    <a:pt x="19" y="255"/>
                  </a:lnTo>
                  <a:lnTo>
                    <a:pt x="23" y="257"/>
                  </a:lnTo>
                  <a:lnTo>
                    <a:pt x="23" y="258"/>
                  </a:lnTo>
                  <a:lnTo>
                    <a:pt x="24" y="261"/>
                  </a:lnTo>
                  <a:lnTo>
                    <a:pt x="30" y="263"/>
                  </a:lnTo>
                  <a:lnTo>
                    <a:pt x="37" y="279"/>
                  </a:lnTo>
                  <a:lnTo>
                    <a:pt x="47" y="289"/>
                  </a:lnTo>
                  <a:lnTo>
                    <a:pt x="51" y="289"/>
                  </a:lnTo>
                  <a:lnTo>
                    <a:pt x="59" y="287"/>
                  </a:lnTo>
                  <a:lnTo>
                    <a:pt x="89" y="283"/>
                  </a:lnTo>
                  <a:lnTo>
                    <a:pt x="93" y="284"/>
                  </a:lnTo>
                  <a:lnTo>
                    <a:pt x="96" y="289"/>
                  </a:lnTo>
                  <a:lnTo>
                    <a:pt x="100" y="302"/>
                  </a:lnTo>
                  <a:lnTo>
                    <a:pt x="101" y="310"/>
                  </a:lnTo>
                  <a:lnTo>
                    <a:pt x="102" y="328"/>
                  </a:lnTo>
                  <a:lnTo>
                    <a:pt x="100" y="336"/>
                  </a:lnTo>
                  <a:lnTo>
                    <a:pt x="94" y="343"/>
                  </a:lnTo>
                  <a:lnTo>
                    <a:pt x="95" y="349"/>
                  </a:lnTo>
                  <a:lnTo>
                    <a:pt x="89" y="354"/>
                  </a:lnTo>
                  <a:lnTo>
                    <a:pt x="86" y="365"/>
                  </a:lnTo>
                  <a:lnTo>
                    <a:pt x="89" y="369"/>
                  </a:lnTo>
                  <a:lnTo>
                    <a:pt x="94" y="385"/>
                  </a:lnTo>
                  <a:lnTo>
                    <a:pt x="97" y="388"/>
                  </a:lnTo>
                  <a:lnTo>
                    <a:pt x="101" y="390"/>
                  </a:lnTo>
                  <a:lnTo>
                    <a:pt x="104" y="395"/>
                  </a:lnTo>
                  <a:lnTo>
                    <a:pt x="112" y="404"/>
                  </a:lnTo>
                  <a:lnTo>
                    <a:pt x="117" y="411"/>
                  </a:lnTo>
                  <a:lnTo>
                    <a:pt x="121" y="413"/>
                  </a:lnTo>
                  <a:lnTo>
                    <a:pt x="128" y="414"/>
                  </a:lnTo>
                  <a:lnTo>
                    <a:pt x="132" y="419"/>
                  </a:lnTo>
                  <a:lnTo>
                    <a:pt x="132" y="423"/>
                  </a:lnTo>
                  <a:lnTo>
                    <a:pt x="127" y="429"/>
                  </a:lnTo>
                  <a:lnTo>
                    <a:pt x="128" y="431"/>
                  </a:lnTo>
                  <a:lnTo>
                    <a:pt x="140" y="431"/>
                  </a:lnTo>
                  <a:lnTo>
                    <a:pt x="142" y="430"/>
                  </a:lnTo>
                  <a:lnTo>
                    <a:pt x="140" y="420"/>
                  </a:lnTo>
                  <a:lnTo>
                    <a:pt x="142" y="414"/>
                  </a:lnTo>
                  <a:lnTo>
                    <a:pt x="139" y="409"/>
                  </a:lnTo>
                  <a:lnTo>
                    <a:pt x="136" y="406"/>
                  </a:lnTo>
                  <a:lnTo>
                    <a:pt x="136" y="400"/>
                  </a:lnTo>
                  <a:lnTo>
                    <a:pt x="139" y="392"/>
                  </a:lnTo>
                  <a:lnTo>
                    <a:pt x="139" y="388"/>
                  </a:lnTo>
                  <a:lnTo>
                    <a:pt x="140" y="385"/>
                  </a:lnTo>
                  <a:lnTo>
                    <a:pt x="153" y="377"/>
                  </a:lnTo>
                  <a:lnTo>
                    <a:pt x="159" y="376"/>
                  </a:lnTo>
                  <a:lnTo>
                    <a:pt x="165" y="374"/>
                  </a:lnTo>
                  <a:lnTo>
                    <a:pt x="169" y="368"/>
                  </a:lnTo>
                  <a:lnTo>
                    <a:pt x="170" y="347"/>
                  </a:lnTo>
                  <a:lnTo>
                    <a:pt x="172" y="339"/>
                  </a:lnTo>
                  <a:lnTo>
                    <a:pt x="169" y="325"/>
                  </a:lnTo>
                  <a:lnTo>
                    <a:pt x="172" y="315"/>
                  </a:lnTo>
                  <a:lnTo>
                    <a:pt x="175" y="307"/>
                  </a:lnTo>
                  <a:lnTo>
                    <a:pt x="172" y="295"/>
                  </a:lnTo>
                  <a:lnTo>
                    <a:pt x="167" y="288"/>
                  </a:lnTo>
                  <a:lnTo>
                    <a:pt x="154" y="275"/>
                  </a:lnTo>
                  <a:lnTo>
                    <a:pt x="148" y="266"/>
                  </a:lnTo>
                  <a:lnTo>
                    <a:pt x="133" y="247"/>
                  </a:lnTo>
                  <a:lnTo>
                    <a:pt x="123" y="240"/>
                  </a:lnTo>
                  <a:lnTo>
                    <a:pt x="116" y="230"/>
                  </a:lnTo>
                  <a:lnTo>
                    <a:pt x="115" y="231"/>
                  </a:lnTo>
                  <a:lnTo>
                    <a:pt x="115" y="239"/>
                  </a:lnTo>
                  <a:lnTo>
                    <a:pt x="116" y="242"/>
                  </a:lnTo>
                  <a:lnTo>
                    <a:pt x="117" y="245"/>
                  </a:lnTo>
                  <a:lnTo>
                    <a:pt x="122" y="246"/>
                  </a:lnTo>
                  <a:lnTo>
                    <a:pt x="126" y="250"/>
                  </a:lnTo>
                  <a:lnTo>
                    <a:pt x="136" y="274"/>
                  </a:lnTo>
                  <a:lnTo>
                    <a:pt x="136" y="280"/>
                  </a:lnTo>
                  <a:lnTo>
                    <a:pt x="134" y="282"/>
                  </a:lnTo>
                  <a:lnTo>
                    <a:pt x="132" y="280"/>
                  </a:lnTo>
                  <a:lnTo>
                    <a:pt x="126" y="272"/>
                  </a:lnTo>
                  <a:lnTo>
                    <a:pt x="121" y="269"/>
                  </a:lnTo>
                  <a:lnTo>
                    <a:pt x="117" y="262"/>
                  </a:lnTo>
                  <a:lnTo>
                    <a:pt x="116" y="262"/>
                  </a:lnTo>
                  <a:lnTo>
                    <a:pt x="115" y="262"/>
                  </a:lnTo>
                  <a:lnTo>
                    <a:pt x="111" y="271"/>
                  </a:lnTo>
                  <a:lnTo>
                    <a:pt x="109" y="272"/>
                  </a:lnTo>
                  <a:lnTo>
                    <a:pt x="102" y="272"/>
                  </a:lnTo>
                  <a:lnTo>
                    <a:pt x="101" y="269"/>
                  </a:lnTo>
                  <a:lnTo>
                    <a:pt x="99" y="266"/>
                  </a:lnTo>
                  <a:lnTo>
                    <a:pt x="97" y="261"/>
                  </a:lnTo>
                  <a:lnTo>
                    <a:pt x="97" y="256"/>
                  </a:lnTo>
                  <a:lnTo>
                    <a:pt x="100" y="247"/>
                  </a:lnTo>
                  <a:lnTo>
                    <a:pt x="100" y="245"/>
                  </a:lnTo>
                  <a:lnTo>
                    <a:pt x="97" y="241"/>
                  </a:lnTo>
                  <a:lnTo>
                    <a:pt x="91" y="235"/>
                  </a:lnTo>
                  <a:lnTo>
                    <a:pt x="89" y="231"/>
                  </a:lnTo>
                  <a:lnTo>
                    <a:pt x="86" y="223"/>
                  </a:lnTo>
                  <a:lnTo>
                    <a:pt x="86" y="209"/>
                  </a:lnTo>
                  <a:lnTo>
                    <a:pt x="85" y="208"/>
                  </a:lnTo>
                  <a:lnTo>
                    <a:pt x="80" y="187"/>
                  </a:lnTo>
                  <a:lnTo>
                    <a:pt x="68" y="164"/>
                  </a:lnTo>
                  <a:lnTo>
                    <a:pt x="68" y="159"/>
                  </a:lnTo>
                  <a:lnTo>
                    <a:pt x="68" y="154"/>
                  </a:lnTo>
                  <a:lnTo>
                    <a:pt x="73" y="145"/>
                  </a:lnTo>
                  <a:lnTo>
                    <a:pt x="79" y="140"/>
                  </a:lnTo>
                  <a:lnTo>
                    <a:pt x="83" y="128"/>
                  </a:lnTo>
                  <a:lnTo>
                    <a:pt x="81" y="94"/>
                  </a:lnTo>
                  <a:lnTo>
                    <a:pt x="79" y="70"/>
                  </a:lnTo>
                  <a:lnTo>
                    <a:pt x="81" y="63"/>
                  </a:lnTo>
                  <a:lnTo>
                    <a:pt x="81" y="57"/>
                  </a:lnTo>
                  <a:lnTo>
                    <a:pt x="78" y="51"/>
                  </a:lnTo>
                  <a:lnTo>
                    <a:pt x="72" y="48"/>
                  </a:lnTo>
                  <a:lnTo>
                    <a:pt x="69" y="46"/>
                  </a:lnTo>
                  <a:lnTo>
                    <a:pt x="63" y="32"/>
                  </a:lnTo>
                  <a:lnTo>
                    <a:pt x="62" y="26"/>
                  </a:lnTo>
                  <a:lnTo>
                    <a:pt x="64" y="18"/>
                  </a:lnTo>
                  <a:lnTo>
                    <a:pt x="69" y="10"/>
                  </a:lnTo>
                  <a:lnTo>
                    <a:pt x="64" y="1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7" name="Freeform 26">
              <a:extLst>
                <a:ext uri="{FF2B5EF4-FFF2-40B4-BE49-F238E27FC236}">
                  <a16:creationId xmlns:a16="http://schemas.microsoft.com/office/drawing/2014/main" id="{BF42B0B5-BDF6-F740-4CA4-FB52754FE1A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110442" y="4520854"/>
              <a:ext cx="368608" cy="387152"/>
            </a:xfrm>
            <a:custGeom>
              <a:avLst/>
              <a:gdLst>
                <a:gd name="T0" fmla="*/ 0 w 692"/>
                <a:gd name="T1" fmla="*/ 2147483647 h 684"/>
                <a:gd name="T2" fmla="*/ 0 w 692"/>
                <a:gd name="T3" fmla="*/ 2147483647 h 684"/>
                <a:gd name="T4" fmla="*/ 0 w 692"/>
                <a:gd name="T5" fmla="*/ 2147483647 h 684"/>
                <a:gd name="T6" fmla="*/ 0 w 692"/>
                <a:gd name="T7" fmla="*/ 2147483647 h 684"/>
                <a:gd name="T8" fmla="*/ 0 w 692"/>
                <a:gd name="T9" fmla="*/ 2147483647 h 684"/>
                <a:gd name="T10" fmla="*/ 0 w 692"/>
                <a:gd name="T11" fmla="*/ 2147483647 h 684"/>
                <a:gd name="T12" fmla="*/ 0 w 692"/>
                <a:gd name="T13" fmla="*/ 0 h 684"/>
                <a:gd name="T14" fmla="*/ 0 w 692"/>
                <a:gd name="T15" fmla="*/ 0 h 684"/>
                <a:gd name="T16" fmla="*/ 0 w 692"/>
                <a:gd name="T17" fmla="*/ 0 h 684"/>
                <a:gd name="T18" fmla="*/ 0 w 692"/>
                <a:gd name="T19" fmla="*/ 0 h 684"/>
                <a:gd name="T20" fmla="*/ 0 w 692"/>
                <a:gd name="T21" fmla="*/ 0 h 684"/>
                <a:gd name="T22" fmla="*/ 0 w 692"/>
                <a:gd name="T23" fmla="*/ 0 h 684"/>
                <a:gd name="T24" fmla="*/ 0 w 692"/>
                <a:gd name="T25" fmla="*/ 0 h 684"/>
                <a:gd name="T26" fmla="*/ 0 w 692"/>
                <a:gd name="T27" fmla="*/ 0 h 684"/>
                <a:gd name="T28" fmla="*/ 0 w 692"/>
                <a:gd name="T29" fmla="*/ 0 h 684"/>
                <a:gd name="T30" fmla="*/ 0 w 692"/>
                <a:gd name="T31" fmla="*/ 0 h 684"/>
                <a:gd name="T32" fmla="*/ 0 w 692"/>
                <a:gd name="T33" fmla="*/ 0 h 684"/>
                <a:gd name="T34" fmla="*/ 0 w 692"/>
                <a:gd name="T35" fmla="*/ 0 h 684"/>
                <a:gd name="T36" fmla="*/ 2147483647 w 692"/>
                <a:gd name="T37" fmla="*/ 0 h 684"/>
                <a:gd name="T38" fmla="*/ 2147483647 w 692"/>
                <a:gd name="T39" fmla="*/ 0 h 684"/>
                <a:gd name="T40" fmla="*/ 2147483647 w 692"/>
                <a:gd name="T41" fmla="*/ 0 h 684"/>
                <a:gd name="T42" fmla="*/ 2147483647 w 692"/>
                <a:gd name="T43" fmla="*/ 0 h 684"/>
                <a:gd name="T44" fmla="*/ 2147483647 w 692"/>
                <a:gd name="T45" fmla="*/ 0 h 684"/>
                <a:gd name="T46" fmla="*/ 2147483647 w 692"/>
                <a:gd name="T47" fmla="*/ 0 h 684"/>
                <a:gd name="T48" fmla="*/ 2147483647 w 692"/>
                <a:gd name="T49" fmla="*/ 0 h 684"/>
                <a:gd name="T50" fmla="*/ 2147483647 w 692"/>
                <a:gd name="T51" fmla="*/ 0 h 684"/>
                <a:gd name="T52" fmla="*/ 2147483647 w 692"/>
                <a:gd name="T53" fmla="*/ 0 h 684"/>
                <a:gd name="T54" fmla="*/ 2147483647 w 692"/>
                <a:gd name="T55" fmla="*/ 0 h 684"/>
                <a:gd name="T56" fmla="*/ 2147483647 w 692"/>
                <a:gd name="T57" fmla="*/ 0 h 684"/>
                <a:gd name="T58" fmla="*/ 2147483647 w 692"/>
                <a:gd name="T59" fmla="*/ 0 h 684"/>
                <a:gd name="T60" fmla="*/ 2147483647 w 692"/>
                <a:gd name="T61" fmla="*/ 0 h 684"/>
                <a:gd name="T62" fmla="*/ 2147483647 w 692"/>
                <a:gd name="T63" fmla="*/ 0 h 684"/>
                <a:gd name="T64" fmla="*/ 2147483647 w 692"/>
                <a:gd name="T65" fmla="*/ 0 h 684"/>
                <a:gd name="T66" fmla="*/ 2147483647 w 692"/>
                <a:gd name="T67" fmla="*/ 2147483647 h 684"/>
                <a:gd name="T68" fmla="*/ 2147483647 w 692"/>
                <a:gd name="T69" fmla="*/ 2147483647 h 684"/>
                <a:gd name="T70" fmla="*/ 2147483647 w 692"/>
                <a:gd name="T71" fmla="*/ 2147483647 h 684"/>
                <a:gd name="T72" fmla="*/ 2147483647 w 692"/>
                <a:gd name="T73" fmla="*/ 2147483647 h 684"/>
                <a:gd name="T74" fmla="*/ 2147483647 w 692"/>
                <a:gd name="T75" fmla="*/ 2147483647 h 684"/>
                <a:gd name="T76" fmla="*/ 2147483647 w 692"/>
                <a:gd name="T77" fmla="*/ 2147483647 h 684"/>
                <a:gd name="T78" fmla="*/ 2147483647 w 692"/>
                <a:gd name="T79" fmla="*/ 2147483647 h 684"/>
                <a:gd name="T80" fmla="*/ 2147483647 w 692"/>
                <a:gd name="T81" fmla="*/ 2147483647 h 684"/>
                <a:gd name="T82" fmla="*/ 2147483647 w 692"/>
                <a:gd name="T83" fmla="*/ 2147483647 h 684"/>
                <a:gd name="T84" fmla="*/ 2147483647 w 692"/>
                <a:gd name="T85" fmla="*/ 2147483647 h 684"/>
                <a:gd name="T86" fmla="*/ 0 w 692"/>
                <a:gd name="T87" fmla="*/ 2147483647 h 684"/>
                <a:gd name="T88" fmla="*/ 0 w 692"/>
                <a:gd name="T89" fmla="*/ 2147483647 h 684"/>
                <a:gd name="T90" fmla="*/ 0 w 692"/>
                <a:gd name="T91" fmla="*/ 2147483647 h 684"/>
                <a:gd name="T92" fmla="*/ 0 w 692"/>
                <a:gd name="T93" fmla="*/ 2147483647 h 684"/>
                <a:gd name="T94" fmla="*/ 0 w 692"/>
                <a:gd name="T95" fmla="*/ 2147483647 h 68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692"/>
                <a:gd name="T145" fmla="*/ 0 h 684"/>
                <a:gd name="T146" fmla="*/ 692 w 692"/>
                <a:gd name="T147" fmla="*/ 684 h 68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692" h="684">
                  <a:moveTo>
                    <a:pt x="5" y="597"/>
                  </a:moveTo>
                  <a:lnTo>
                    <a:pt x="5" y="576"/>
                  </a:lnTo>
                  <a:lnTo>
                    <a:pt x="6" y="565"/>
                  </a:lnTo>
                  <a:lnTo>
                    <a:pt x="14" y="557"/>
                  </a:lnTo>
                  <a:lnTo>
                    <a:pt x="21" y="532"/>
                  </a:lnTo>
                  <a:lnTo>
                    <a:pt x="25" y="522"/>
                  </a:lnTo>
                  <a:lnTo>
                    <a:pt x="26" y="508"/>
                  </a:lnTo>
                  <a:lnTo>
                    <a:pt x="30" y="499"/>
                  </a:lnTo>
                  <a:lnTo>
                    <a:pt x="31" y="487"/>
                  </a:lnTo>
                  <a:lnTo>
                    <a:pt x="33" y="481"/>
                  </a:lnTo>
                  <a:lnTo>
                    <a:pt x="36" y="470"/>
                  </a:lnTo>
                  <a:lnTo>
                    <a:pt x="43" y="451"/>
                  </a:lnTo>
                  <a:lnTo>
                    <a:pt x="43" y="444"/>
                  </a:lnTo>
                  <a:lnTo>
                    <a:pt x="47" y="439"/>
                  </a:lnTo>
                  <a:lnTo>
                    <a:pt x="47" y="433"/>
                  </a:lnTo>
                  <a:lnTo>
                    <a:pt x="53" y="418"/>
                  </a:lnTo>
                  <a:lnTo>
                    <a:pt x="63" y="411"/>
                  </a:lnTo>
                  <a:lnTo>
                    <a:pt x="69" y="403"/>
                  </a:lnTo>
                  <a:lnTo>
                    <a:pt x="70" y="391"/>
                  </a:lnTo>
                  <a:lnTo>
                    <a:pt x="90" y="381"/>
                  </a:lnTo>
                  <a:lnTo>
                    <a:pt x="103" y="366"/>
                  </a:lnTo>
                  <a:lnTo>
                    <a:pt x="108" y="358"/>
                  </a:lnTo>
                  <a:lnTo>
                    <a:pt x="113" y="347"/>
                  </a:lnTo>
                  <a:lnTo>
                    <a:pt x="116" y="331"/>
                  </a:lnTo>
                  <a:lnTo>
                    <a:pt x="116" y="315"/>
                  </a:lnTo>
                  <a:lnTo>
                    <a:pt x="118" y="306"/>
                  </a:lnTo>
                  <a:lnTo>
                    <a:pt x="117" y="290"/>
                  </a:lnTo>
                  <a:lnTo>
                    <a:pt x="122" y="283"/>
                  </a:lnTo>
                  <a:lnTo>
                    <a:pt x="117" y="264"/>
                  </a:lnTo>
                  <a:lnTo>
                    <a:pt x="105" y="253"/>
                  </a:lnTo>
                  <a:lnTo>
                    <a:pt x="100" y="242"/>
                  </a:lnTo>
                  <a:lnTo>
                    <a:pt x="95" y="235"/>
                  </a:lnTo>
                  <a:lnTo>
                    <a:pt x="89" y="219"/>
                  </a:lnTo>
                  <a:lnTo>
                    <a:pt x="81" y="188"/>
                  </a:lnTo>
                  <a:lnTo>
                    <a:pt x="81" y="182"/>
                  </a:lnTo>
                  <a:lnTo>
                    <a:pt x="86" y="175"/>
                  </a:lnTo>
                  <a:lnTo>
                    <a:pt x="94" y="169"/>
                  </a:lnTo>
                  <a:lnTo>
                    <a:pt x="94" y="151"/>
                  </a:lnTo>
                  <a:lnTo>
                    <a:pt x="90" y="137"/>
                  </a:lnTo>
                  <a:lnTo>
                    <a:pt x="84" y="128"/>
                  </a:lnTo>
                  <a:lnTo>
                    <a:pt x="73" y="91"/>
                  </a:lnTo>
                  <a:lnTo>
                    <a:pt x="70" y="79"/>
                  </a:lnTo>
                  <a:lnTo>
                    <a:pt x="67" y="70"/>
                  </a:lnTo>
                  <a:lnTo>
                    <a:pt x="53" y="53"/>
                  </a:lnTo>
                  <a:lnTo>
                    <a:pt x="48" y="45"/>
                  </a:lnTo>
                  <a:lnTo>
                    <a:pt x="43" y="36"/>
                  </a:lnTo>
                  <a:lnTo>
                    <a:pt x="40" y="30"/>
                  </a:lnTo>
                  <a:lnTo>
                    <a:pt x="40" y="26"/>
                  </a:lnTo>
                  <a:lnTo>
                    <a:pt x="41" y="24"/>
                  </a:lnTo>
                  <a:lnTo>
                    <a:pt x="47" y="21"/>
                  </a:lnTo>
                  <a:lnTo>
                    <a:pt x="65" y="16"/>
                  </a:lnTo>
                  <a:lnTo>
                    <a:pt x="79" y="9"/>
                  </a:lnTo>
                  <a:lnTo>
                    <a:pt x="92" y="4"/>
                  </a:lnTo>
                  <a:lnTo>
                    <a:pt x="101" y="4"/>
                  </a:lnTo>
                  <a:lnTo>
                    <a:pt x="108" y="3"/>
                  </a:lnTo>
                  <a:lnTo>
                    <a:pt x="132" y="4"/>
                  </a:lnTo>
                  <a:lnTo>
                    <a:pt x="154" y="2"/>
                  </a:lnTo>
                  <a:lnTo>
                    <a:pt x="161" y="4"/>
                  </a:lnTo>
                  <a:lnTo>
                    <a:pt x="180" y="5"/>
                  </a:lnTo>
                  <a:lnTo>
                    <a:pt x="193" y="3"/>
                  </a:lnTo>
                  <a:lnTo>
                    <a:pt x="207" y="3"/>
                  </a:lnTo>
                  <a:lnTo>
                    <a:pt x="240" y="0"/>
                  </a:lnTo>
                  <a:lnTo>
                    <a:pt x="256" y="2"/>
                  </a:lnTo>
                  <a:lnTo>
                    <a:pt x="258" y="3"/>
                  </a:lnTo>
                  <a:lnTo>
                    <a:pt x="263" y="10"/>
                  </a:lnTo>
                  <a:lnTo>
                    <a:pt x="267" y="11"/>
                  </a:lnTo>
                  <a:lnTo>
                    <a:pt x="271" y="10"/>
                  </a:lnTo>
                  <a:lnTo>
                    <a:pt x="275" y="19"/>
                  </a:lnTo>
                  <a:lnTo>
                    <a:pt x="280" y="37"/>
                  </a:lnTo>
                  <a:lnTo>
                    <a:pt x="282" y="51"/>
                  </a:lnTo>
                  <a:lnTo>
                    <a:pt x="283" y="56"/>
                  </a:lnTo>
                  <a:lnTo>
                    <a:pt x="290" y="68"/>
                  </a:lnTo>
                  <a:lnTo>
                    <a:pt x="294" y="84"/>
                  </a:lnTo>
                  <a:lnTo>
                    <a:pt x="306" y="97"/>
                  </a:lnTo>
                  <a:lnTo>
                    <a:pt x="327" y="124"/>
                  </a:lnTo>
                  <a:lnTo>
                    <a:pt x="339" y="129"/>
                  </a:lnTo>
                  <a:lnTo>
                    <a:pt x="353" y="129"/>
                  </a:lnTo>
                  <a:lnTo>
                    <a:pt x="374" y="122"/>
                  </a:lnTo>
                  <a:lnTo>
                    <a:pt x="387" y="119"/>
                  </a:lnTo>
                  <a:lnTo>
                    <a:pt x="404" y="122"/>
                  </a:lnTo>
                  <a:lnTo>
                    <a:pt x="424" y="122"/>
                  </a:lnTo>
                  <a:lnTo>
                    <a:pt x="427" y="107"/>
                  </a:lnTo>
                  <a:lnTo>
                    <a:pt x="428" y="100"/>
                  </a:lnTo>
                  <a:lnTo>
                    <a:pt x="430" y="95"/>
                  </a:lnTo>
                  <a:lnTo>
                    <a:pt x="431" y="91"/>
                  </a:lnTo>
                  <a:lnTo>
                    <a:pt x="433" y="86"/>
                  </a:lnTo>
                  <a:lnTo>
                    <a:pt x="434" y="75"/>
                  </a:lnTo>
                  <a:lnTo>
                    <a:pt x="436" y="67"/>
                  </a:lnTo>
                  <a:lnTo>
                    <a:pt x="479" y="67"/>
                  </a:lnTo>
                  <a:lnTo>
                    <a:pt x="482" y="61"/>
                  </a:lnTo>
                  <a:lnTo>
                    <a:pt x="505" y="61"/>
                  </a:lnTo>
                  <a:lnTo>
                    <a:pt x="504" y="83"/>
                  </a:lnTo>
                  <a:lnTo>
                    <a:pt x="552" y="84"/>
                  </a:lnTo>
                  <a:lnTo>
                    <a:pt x="556" y="88"/>
                  </a:lnTo>
                  <a:lnTo>
                    <a:pt x="558" y="96"/>
                  </a:lnTo>
                  <a:lnTo>
                    <a:pt x="560" y="128"/>
                  </a:lnTo>
                  <a:lnTo>
                    <a:pt x="563" y="140"/>
                  </a:lnTo>
                  <a:lnTo>
                    <a:pt x="563" y="156"/>
                  </a:lnTo>
                  <a:lnTo>
                    <a:pt x="565" y="172"/>
                  </a:lnTo>
                  <a:lnTo>
                    <a:pt x="565" y="178"/>
                  </a:lnTo>
                  <a:lnTo>
                    <a:pt x="562" y="189"/>
                  </a:lnTo>
                  <a:lnTo>
                    <a:pt x="562" y="203"/>
                  </a:lnTo>
                  <a:lnTo>
                    <a:pt x="564" y="212"/>
                  </a:lnTo>
                  <a:lnTo>
                    <a:pt x="573" y="226"/>
                  </a:lnTo>
                  <a:lnTo>
                    <a:pt x="579" y="247"/>
                  </a:lnTo>
                  <a:lnTo>
                    <a:pt x="585" y="263"/>
                  </a:lnTo>
                  <a:lnTo>
                    <a:pt x="585" y="271"/>
                  </a:lnTo>
                  <a:lnTo>
                    <a:pt x="580" y="278"/>
                  </a:lnTo>
                  <a:lnTo>
                    <a:pt x="569" y="289"/>
                  </a:lnTo>
                  <a:lnTo>
                    <a:pt x="569" y="291"/>
                  </a:lnTo>
                  <a:lnTo>
                    <a:pt x="570" y="294"/>
                  </a:lnTo>
                  <a:lnTo>
                    <a:pt x="572" y="295"/>
                  </a:lnTo>
                  <a:lnTo>
                    <a:pt x="575" y="296"/>
                  </a:lnTo>
                  <a:lnTo>
                    <a:pt x="581" y="304"/>
                  </a:lnTo>
                  <a:lnTo>
                    <a:pt x="587" y="305"/>
                  </a:lnTo>
                  <a:lnTo>
                    <a:pt x="590" y="304"/>
                  </a:lnTo>
                  <a:lnTo>
                    <a:pt x="592" y="298"/>
                  </a:lnTo>
                  <a:lnTo>
                    <a:pt x="595" y="290"/>
                  </a:lnTo>
                  <a:lnTo>
                    <a:pt x="600" y="288"/>
                  </a:lnTo>
                  <a:lnTo>
                    <a:pt x="651" y="288"/>
                  </a:lnTo>
                  <a:lnTo>
                    <a:pt x="661" y="284"/>
                  </a:lnTo>
                  <a:lnTo>
                    <a:pt x="670" y="287"/>
                  </a:lnTo>
                  <a:lnTo>
                    <a:pt x="672" y="287"/>
                  </a:lnTo>
                  <a:lnTo>
                    <a:pt x="682" y="279"/>
                  </a:lnTo>
                  <a:lnTo>
                    <a:pt x="683" y="279"/>
                  </a:lnTo>
                  <a:lnTo>
                    <a:pt x="687" y="283"/>
                  </a:lnTo>
                  <a:lnTo>
                    <a:pt x="687" y="287"/>
                  </a:lnTo>
                  <a:lnTo>
                    <a:pt x="686" y="288"/>
                  </a:lnTo>
                  <a:lnTo>
                    <a:pt x="685" y="290"/>
                  </a:lnTo>
                  <a:lnTo>
                    <a:pt x="686" y="300"/>
                  </a:lnTo>
                  <a:lnTo>
                    <a:pt x="686" y="305"/>
                  </a:lnTo>
                  <a:lnTo>
                    <a:pt x="683" y="311"/>
                  </a:lnTo>
                  <a:lnTo>
                    <a:pt x="683" y="323"/>
                  </a:lnTo>
                  <a:lnTo>
                    <a:pt x="681" y="336"/>
                  </a:lnTo>
                  <a:lnTo>
                    <a:pt x="682" y="350"/>
                  </a:lnTo>
                  <a:lnTo>
                    <a:pt x="681" y="364"/>
                  </a:lnTo>
                  <a:lnTo>
                    <a:pt x="678" y="373"/>
                  </a:lnTo>
                  <a:lnTo>
                    <a:pt x="678" y="388"/>
                  </a:lnTo>
                  <a:lnTo>
                    <a:pt x="680" y="392"/>
                  </a:lnTo>
                  <a:lnTo>
                    <a:pt x="683" y="396"/>
                  </a:lnTo>
                  <a:lnTo>
                    <a:pt x="692" y="398"/>
                  </a:lnTo>
                  <a:lnTo>
                    <a:pt x="633" y="398"/>
                  </a:lnTo>
                  <a:lnTo>
                    <a:pt x="573" y="398"/>
                  </a:lnTo>
                  <a:lnTo>
                    <a:pt x="573" y="452"/>
                  </a:lnTo>
                  <a:lnTo>
                    <a:pt x="573" y="508"/>
                  </a:lnTo>
                  <a:lnTo>
                    <a:pt x="573" y="562"/>
                  </a:lnTo>
                  <a:lnTo>
                    <a:pt x="573" y="600"/>
                  </a:lnTo>
                  <a:lnTo>
                    <a:pt x="573" y="601"/>
                  </a:lnTo>
                  <a:lnTo>
                    <a:pt x="580" y="607"/>
                  </a:lnTo>
                  <a:lnTo>
                    <a:pt x="584" y="614"/>
                  </a:lnTo>
                  <a:lnTo>
                    <a:pt x="597" y="623"/>
                  </a:lnTo>
                  <a:lnTo>
                    <a:pt x="603" y="630"/>
                  </a:lnTo>
                  <a:lnTo>
                    <a:pt x="613" y="639"/>
                  </a:lnTo>
                  <a:lnTo>
                    <a:pt x="617" y="644"/>
                  </a:lnTo>
                  <a:lnTo>
                    <a:pt x="626" y="648"/>
                  </a:lnTo>
                  <a:lnTo>
                    <a:pt x="630" y="654"/>
                  </a:lnTo>
                  <a:lnTo>
                    <a:pt x="638" y="659"/>
                  </a:lnTo>
                  <a:lnTo>
                    <a:pt x="635" y="661"/>
                  </a:lnTo>
                  <a:lnTo>
                    <a:pt x="624" y="664"/>
                  </a:lnTo>
                  <a:lnTo>
                    <a:pt x="549" y="683"/>
                  </a:lnTo>
                  <a:lnTo>
                    <a:pt x="541" y="684"/>
                  </a:lnTo>
                  <a:lnTo>
                    <a:pt x="537" y="682"/>
                  </a:lnTo>
                  <a:lnTo>
                    <a:pt x="525" y="681"/>
                  </a:lnTo>
                  <a:lnTo>
                    <a:pt x="513" y="677"/>
                  </a:lnTo>
                  <a:lnTo>
                    <a:pt x="497" y="676"/>
                  </a:lnTo>
                  <a:lnTo>
                    <a:pt x="463" y="669"/>
                  </a:lnTo>
                  <a:lnTo>
                    <a:pt x="436" y="669"/>
                  </a:lnTo>
                  <a:lnTo>
                    <a:pt x="417" y="671"/>
                  </a:lnTo>
                  <a:lnTo>
                    <a:pt x="408" y="671"/>
                  </a:lnTo>
                  <a:lnTo>
                    <a:pt x="391" y="665"/>
                  </a:lnTo>
                  <a:lnTo>
                    <a:pt x="385" y="655"/>
                  </a:lnTo>
                  <a:lnTo>
                    <a:pt x="369" y="644"/>
                  </a:lnTo>
                  <a:lnTo>
                    <a:pt x="349" y="644"/>
                  </a:lnTo>
                  <a:lnTo>
                    <a:pt x="302" y="644"/>
                  </a:lnTo>
                  <a:lnTo>
                    <a:pt x="255" y="644"/>
                  </a:lnTo>
                  <a:lnTo>
                    <a:pt x="201" y="644"/>
                  </a:lnTo>
                  <a:lnTo>
                    <a:pt x="151" y="644"/>
                  </a:lnTo>
                  <a:lnTo>
                    <a:pt x="133" y="644"/>
                  </a:lnTo>
                  <a:lnTo>
                    <a:pt x="126" y="646"/>
                  </a:lnTo>
                  <a:lnTo>
                    <a:pt x="112" y="633"/>
                  </a:lnTo>
                  <a:lnTo>
                    <a:pt x="99" y="628"/>
                  </a:lnTo>
                  <a:lnTo>
                    <a:pt x="94" y="619"/>
                  </a:lnTo>
                  <a:lnTo>
                    <a:pt x="84" y="618"/>
                  </a:lnTo>
                  <a:lnTo>
                    <a:pt x="62" y="618"/>
                  </a:lnTo>
                  <a:lnTo>
                    <a:pt x="52" y="622"/>
                  </a:lnTo>
                  <a:lnTo>
                    <a:pt x="42" y="632"/>
                  </a:lnTo>
                  <a:lnTo>
                    <a:pt x="36" y="635"/>
                  </a:lnTo>
                  <a:lnTo>
                    <a:pt x="26" y="629"/>
                  </a:lnTo>
                  <a:lnTo>
                    <a:pt x="15" y="638"/>
                  </a:lnTo>
                  <a:lnTo>
                    <a:pt x="4" y="644"/>
                  </a:lnTo>
                  <a:lnTo>
                    <a:pt x="4" y="638"/>
                  </a:lnTo>
                  <a:lnTo>
                    <a:pt x="0" y="617"/>
                  </a:lnTo>
                  <a:lnTo>
                    <a:pt x="0" y="606"/>
                  </a:lnTo>
                  <a:lnTo>
                    <a:pt x="5" y="608"/>
                  </a:lnTo>
                  <a:lnTo>
                    <a:pt x="5" y="59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4C383FE9-4EE4-DEDF-34B6-5DB0F1858C3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414880" y="4595541"/>
              <a:ext cx="341746" cy="312465"/>
            </a:xfrm>
            <a:custGeom>
              <a:avLst/>
              <a:gdLst>
                <a:gd name="T0" fmla="*/ 0 w 640"/>
                <a:gd name="T1" fmla="*/ 2147483647 h 552"/>
                <a:gd name="T2" fmla="*/ 2147483647 w 640"/>
                <a:gd name="T3" fmla="*/ 2147483647 h 552"/>
                <a:gd name="T4" fmla="*/ 2147483647 w 640"/>
                <a:gd name="T5" fmla="*/ 2147483647 h 552"/>
                <a:gd name="T6" fmla="*/ 2147483647 w 640"/>
                <a:gd name="T7" fmla="*/ 2147483647 h 552"/>
                <a:gd name="T8" fmla="*/ 2147483647 w 640"/>
                <a:gd name="T9" fmla="*/ 2147483647 h 552"/>
                <a:gd name="T10" fmla="*/ 2147483647 w 640"/>
                <a:gd name="T11" fmla="*/ 2147483647 h 552"/>
                <a:gd name="T12" fmla="*/ 2147483647 w 640"/>
                <a:gd name="T13" fmla="*/ 2147483647 h 552"/>
                <a:gd name="T14" fmla="*/ 2147483647 w 640"/>
                <a:gd name="T15" fmla="*/ 2147483647 h 552"/>
                <a:gd name="T16" fmla="*/ 2147483647 w 640"/>
                <a:gd name="T17" fmla="*/ 2147483647 h 552"/>
                <a:gd name="T18" fmla="*/ 2147483647 w 640"/>
                <a:gd name="T19" fmla="*/ 2147483647 h 552"/>
                <a:gd name="T20" fmla="*/ 2147483647 w 640"/>
                <a:gd name="T21" fmla="*/ 2147483647 h 552"/>
                <a:gd name="T22" fmla="*/ 2147483647 w 640"/>
                <a:gd name="T23" fmla="*/ 2147483647 h 552"/>
                <a:gd name="T24" fmla="*/ 2147483647 w 640"/>
                <a:gd name="T25" fmla="*/ 2147483647 h 552"/>
                <a:gd name="T26" fmla="*/ 2147483647 w 640"/>
                <a:gd name="T27" fmla="*/ 2147483647 h 552"/>
                <a:gd name="T28" fmla="*/ 2147483647 w 640"/>
                <a:gd name="T29" fmla="*/ 2147483647 h 552"/>
                <a:gd name="T30" fmla="*/ 2147483647 w 640"/>
                <a:gd name="T31" fmla="*/ 2147483647 h 552"/>
                <a:gd name="T32" fmla="*/ 2147483647 w 640"/>
                <a:gd name="T33" fmla="*/ 2147483647 h 552"/>
                <a:gd name="T34" fmla="*/ 2147483647 w 640"/>
                <a:gd name="T35" fmla="*/ 2147483647 h 552"/>
                <a:gd name="T36" fmla="*/ 2147483647 w 640"/>
                <a:gd name="T37" fmla="*/ 2147483647 h 552"/>
                <a:gd name="T38" fmla="*/ 2147483647 w 640"/>
                <a:gd name="T39" fmla="*/ 2147483647 h 552"/>
                <a:gd name="T40" fmla="*/ 2147483647 w 640"/>
                <a:gd name="T41" fmla="*/ 0 h 552"/>
                <a:gd name="T42" fmla="*/ 2147483647 w 640"/>
                <a:gd name="T43" fmla="*/ 0 h 552"/>
                <a:gd name="T44" fmla="*/ 2147483647 w 640"/>
                <a:gd name="T45" fmla="*/ 0 h 552"/>
                <a:gd name="T46" fmla="*/ 2147483647 w 640"/>
                <a:gd name="T47" fmla="*/ 0 h 552"/>
                <a:gd name="T48" fmla="*/ 2147483647 w 640"/>
                <a:gd name="T49" fmla="*/ 0 h 552"/>
                <a:gd name="T50" fmla="*/ 2147483647 w 640"/>
                <a:gd name="T51" fmla="*/ 0 h 552"/>
                <a:gd name="T52" fmla="*/ 2147483647 w 640"/>
                <a:gd name="T53" fmla="*/ 0 h 552"/>
                <a:gd name="T54" fmla="*/ 2147483647 w 640"/>
                <a:gd name="T55" fmla="*/ 0 h 552"/>
                <a:gd name="T56" fmla="*/ 2147483647 w 640"/>
                <a:gd name="T57" fmla="*/ 2147483647 h 552"/>
                <a:gd name="T58" fmla="*/ 2147483647 w 640"/>
                <a:gd name="T59" fmla="*/ 2147483647 h 552"/>
                <a:gd name="T60" fmla="*/ 2147483647 w 640"/>
                <a:gd name="T61" fmla="*/ 2147483647 h 552"/>
                <a:gd name="T62" fmla="*/ 2147483647 w 640"/>
                <a:gd name="T63" fmla="*/ 2147483647 h 552"/>
                <a:gd name="T64" fmla="*/ 2147483647 w 640"/>
                <a:gd name="T65" fmla="*/ 2147483647 h 552"/>
                <a:gd name="T66" fmla="*/ 2147483647 w 640"/>
                <a:gd name="T67" fmla="*/ 2147483647 h 552"/>
                <a:gd name="T68" fmla="*/ 2147483647 w 640"/>
                <a:gd name="T69" fmla="*/ 2147483647 h 552"/>
                <a:gd name="T70" fmla="*/ 2147483647 w 640"/>
                <a:gd name="T71" fmla="*/ 2147483647 h 552"/>
                <a:gd name="T72" fmla="*/ 2147483647 w 640"/>
                <a:gd name="T73" fmla="*/ 2147483647 h 552"/>
                <a:gd name="T74" fmla="*/ 2147483647 w 640"/>
                <a:gd name="T75" fmla="*/ 2147483647 h 552"/>
                <a:gd name="T76" fmla="*/ 2147483647 w 640"/>
                <a:gd name="T77" fmla="*/ 2147483647 h 552"/>
                <a:gd name="T78" fmla="*/ 2147483647 w 640"/>
                <a:gd name="T79" fmla="*/ 2147483647 h 552"/>
                <a:gd name="T80" fmla="*/ 2147483647 w 640"/>
                <a:gd name="T81" fmla="*/ 2147483647 h 552"/>
                <a:gd name="T82" fmla="*/ 2147483647 w 640"/>
                <a:gd name="T83" fmla="*/ 2147483647 h 552"/>
                <a:gd name="T84" fmla="*/ 2147483647 w 640"/>
                <a:gd name="T85" fmla="*/ 2147483647 h 552"/>
                <a:gd name="T86" fmla="*/ 2147483647 w 640"/>
                <a:gd name="T87" fmla="*/ 2147483647 h 552"/>
                <a:gd name="T88" fmla="*/ 2147483647 w 640"/>
                <a:gd name="T89" fmla="*/ 2147483647 h 552"/>
                <a:gd name="T90" fmla="*/ 2147483647 w 640"/>
                <a:gd name="T91" fmla="*/ 2147483647 h 552"/>
                <a:gd name="T92" fmla="*/ 2147483647 w 640"/>
                <a:gd name="T93" fmla="*/ 2147483647 h 552"/>
                <a:gd name="T94" fmla="*/ 2147483647 w 640"/>
                <a:gd name="T95" fmla="*/ 2147483647 h 552"/>
                <a:gd name="T96" fmla="*/ 2147483647 w 640"/>
                <a:gd name="T97" fmla="*/ 2147483647 h 552"/>
                <a:gd name="T98" fmla="*/ 2147483647 w 640"/>
                <a:gd name="T99" fmla="*/ 2147483647 h 552"/>
                <a:gd name="T100" fmla="*/ 2147483647 w 640"/>
                <a:gd name="T101" fmla="*/ 2147483647 h 552"/>
                <a:gd name="T102" fmla="*/ 2147483647 w 640"/>
                <a:gd name="T103" fmla="*/ 2147483647 h 552"/>
                <a:gd name="T104" fmla="*/ 2147483647 w 640"/>
                <a:gd name="T105" fmla="*/ 2147483647 h 552"/>
                <a:gd name="T106" fmla="*/ 2147483647 w 640"/>
                <a:gd name="T107" fmla="*/ 2147483647 h 552"/>
                <a:gd name="T108" fmla="*/ 0 w 640"/>
                <a:gd name="T109" fmla="*/ 2147483647 h 552"/>
                <a:gd name="T110" fmla="*/ 0 w 640"/>
                <a:gd name="T111" fmla="*/ 2147483647 h 55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40"/>
                <a:gd name="T169" fmla="*/ 0 h 552"/>
                <a:gd name="T170" fmla="*/ 640 w 640"/>
                <a:gd name="T171" fmla="*/ 552 h 55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40" h="552">
                  <a:moveTo>
                    <a:pt x="0" y="468"/>
                  </a:moveTo>
                  <a:lnTo>
                    <a:pt x="0" y="430"/>
                  </a:lnTo>
                  <a:lnTo>
                    <a:pt x="0" y="376"/>
                  </a:lnTo>
                  <a:lnTo>
                    <a:pt x="0" y="320"/>
                  </a:lnTo>
                  <a:lnTo>
                    <a:pt x="0" y="266"/>
                  </a:lnTo>
                  <a:lnTo>
                    <a:pt x="60" y="266"/>
                  </a:lnTo>
                  <a:lnTo>
                    <a:pt x="119" y="266"/>
                  </a:lnTo>
                  <a:lnTo>
                    <a:pt x="110" y="264"/>
                  </a:lnTo>
                  <a:lnTo>
                    <a:pt x="107" y="260"/>
                  </a:lnTo>
                  <a:lnTo>
                    <a:pt x="105" y="256"/>
                  </a:lnTo>
                  <a:lnTo>
                    <a:pt x="105" y="241"/>
                  </a:lnTo>
                  <a:lnTo>
                    <a:pt x="108" y="232"/>
                  </a:lnTo>
                  <a:lnTo>
                    <a:pt x="109" y="218"/>
                  </a:lnTo>
                  <a:lnTo>
                    <a:pt x="108" y="204"/>
                  </a:lnTo>
                  <a:lnTo>
                    <a:pt x="110" y="191"/>
                  </a:lnTo>
                  <a:lnTo>
                    <a:pt x="110" y="179"/>
                  </a:lnTo>
                  <a:lnTo>
                    <a:pt x="113" y="173"/>
                  </a:lnTo>
                  <a:lnTo>
                    <a:pt x="113" y="168"/>
                  </a:lnTo>
                  <a:lnTo>
                    <a:pt x="112" y="158"/>
                  </a:lnTo>
                  <a:lnTo>
                    <a:pt x="113" y="156"/>
                  </a:lnTo>
                  <a:lnTo>
                    <a:pt x="114" y="155"/>
                  </a:lnTo>
                  <a:lnTo>
                    <a:pt x="114" y="151"/>
                  </a:lnTo>
                  <a:lnTo>
                    <a:pt x="110" y="147"/>
                  </a:lnTo>
                  <a:lnTo>
                    <a:pt x="120" y="145"/>
                  </a:lnTo>
                  <a:lnTo>
                    <a:pt x="124" y="145"/>
                  </a:lnTo>
                  <a:lnTo>
                    <a:pt x="126" y="14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4" y="173"/>
                  </a:lnTo>
                  <a:lnTo>
                    <a:pt x="137" y="173"/>
                  </a:lnTo>
                  <a:lnTo>
                    <a:pt x="151" y="167"/>
                  </a:lnTo>
                  <a:lnTo>
                    <a:pt x="156" y="166"/>
                  </a:lnTo>
                  <a:lnTo>
                    <a:pt x="162" y="166"/>
                  </a:lnTo>
                  <a:lnTo>
                    <a:pt x="173" y="161"/>
                  </a:lnTo>
                  <a:lnTo>
                    <a:pt x="179" y="169"/>
                  </a:lnTo>
                  <a:lnTo>
                    <a:pt x="183" y="178"/>
                  </a:lnTo>
                  <a:lnTo>
                    <a:pt x="188" y="184"/>
                  </a:lnTo>
                  <a:lnTo>
                    <a:pt x="201" y="190"/>
                  </a:lnTo>
                  <a:lnTo>
                    <a:pt x="213" y="198"/>
                  </a:lnTo>
                  <a:lnTo>
                    <a:pt x="231" y="205"/>
                  </a:lnTo>
                  <a:lnTo>
                    <a:pt x="243" y="206"/>
                  </a:lnTo>
                  <a:lnTo>
                    <a:pt x="252" y="204"/>
                  </a:lnTo>
                  <a:lnTo>
                    <a:pt x="264" y="199"/>
                  </a:lnTo>
                  <a:lnTo>
                    <a:pt x="274" y="196"/>
                  </a:lnTo>
                  <a:lnTo>
                    <a:pt x="279" y="198"/>
                  </a:lnTo>
                  <a:lnTo>
                    <a:pt x="298" y="216"/>
                  </a:lnTo>
                  <a:lnTo>
                    <a:pt x="312" y="222"/>
                  </a:lnTo>
                  <a:lnTo>
                    <a:pt x="323" y="226"/>
                  </a:lnTo>
                  <a:lnTo>
                    <a:pt x="334" y="227"/>
                  </a:lnTo>
                  <a:lnTo>
                    <a:pt x="341" y="233"/>
                  </a:lnTo>
                  <a:lnTo>
                    <a:pt x="346" y="245"/>
                  </a:lnTo>
                  <a:lnTo>
                    <a:pt x="350" y="252"/>
                  </a:lnTo>
                  <a:lnTo>
                    <a:pt x="363" y="264"/>
                  </a:lnTo>
                  <a:lnTo>
                    <a:pt x="377" y="272"/>
                  </a:lnTo>
                  <a:lnTo>
                    <a:pt x="387" y="276"/>
                  </a:lnTo>
                  <a:lnTo>
                    <a:pt x="397" y="277"/>
                  </a:lnTo>
                  <a:lnTo>
                    <a:pt x="400" y="277"/>
                  </a:lnTo>
                  <a:lnTo>
                    <a:pt x="406" y="275"/>
                  </a:lnTo>
                  <a:lnTo>
                    <a:pt x="410" y="274"/>
                  </a:lnTo>
                  <a:lnTo>
                    <a:pt x="411" y="275"/>
                  </a:lnTo>
                  <a:lnTo>
                    <a:pt x="416" y="282"/>
                  </a:lnTo>
                  <a:lnTo>
                    <a:pt x="420" y="283"/>
                  </a:lnTo>
                  <a:lnTo>
                    <a:pt x="424" y="283"/>
                  </a:lnTo>
                  <a:lnTo>
                    <a:pt x="426" y="281"/>
                  </a:lnTo>
                  <a:lnTo>
                    <a:pt x="426" y="274"/>
                  </a:lnTo>
                  <a:lnTo>
                    <a:pt x="425" y="266"/>
                  </a:lnTo>
                  <a:lnTo>
                    <a:pt x="424" y="231"/>
                  </a:lnTo>
                  <a:lnTo>
                    <a:pt x="421" y="223"/>
                  </a:lnTo>
                  <a:lnTo>
                    <a:pt x="415" y="222"/>
                  </a:lnTo>
                  <a:lnTo>
                    <a:pt x="406" y="227"/>
                  </a:lnTo>
                  <a:lnTo>
                    <a:pt x="395" y="225"/>
                  </a:lnTo>
                  <a:lnTo>
                    <a:pt x="383" y="225"/>
                  </a:lnTo>
                  <a:lnTo>
                    <a:pt x="376" y="220"/>
                  </a:lnTo>
                  <a:lnTo>
                    <a:pt x="366" y="207"/>
                  </a:lnTo>
                  <a:lnTo>
                    <a:pt x="360" y="201"/>
                  </a:lnTo>
                  <a:lnTo>
                    <a:pt x="358" y="199"/>
                  </a:lnTo>
                  <a:lnTo>
                    <a:pt x="357" y="189"/>
                  </a:lnTo>
                  <a:lnTo>
                    <a:pt x="360" y="182"/>
                  </a:lnTo>
                  <a:lnTo>
                    <a:pt x="362" y="170"/>
                  </a:lnTo>
                  <a:lnTo>
                    <a:pt x="377" y="131"/>
                  </a:lnTo>
                  <a:lnTo>
                    <a:pt x="378" y="124"/>
                  </a:lnTo>
                  <a:lnTo>
                    <a:pt x="379" y="99"/>
                  </a:lnTo>
                  <a:lnTo>
                    <a:pt x="377" y="85"/>
                  </a:lnTo>
                  <a:lnTo>
                    <a:pt x="370" y="66"/>
                  </a:lnTo>
                  <a:lnTo>
                    <a:pt x="370" y="56"/>
                  </a:lnTo>
                  <a:lnTo>
                    <a:pt x="372" y="53"/>
                  </a:lnTo>
                  <a:lnTo>
                    <a:pt x="374" y="44"/>
                  </a:lnTo>
                  <a:lnTo>
                    <a:pt x="379" y="37"/>
                  </a:lnTo>
                  <a:lnTo>
                    <a:pt x="387" y="23"/>
                  </a:lnTo>
                  <a:lnTo>
                    <a:pt x="389" y="21"/>
                  </a:lnTo>
                  <a:lnTo>
                    <a:pt x="394" y="17"/>
                  </a:lnTo>
                  <a:lnTo>
                    <a:pt x="397" y="17"/>
                  </a:lnTo>
                  <a:lnTo>
                    <a:pt x="406" y="13"/>
                  </a:lnTo>
                  <a:lnTo>
                    <a:pt x="468" y="0"/>
                  </a:lnTo>
                  <a:lnTo>
                    <a:pt x="471" y="6"/>
                  </a:lnTo>
                  <a:lnTo>
                    <a:pt x="470" y="13"/>
                  </a:lnTo>
                  <a:lnTo>
                    <a:pt x="471" y="22"/>
                  </a:lnTo>
                  <a:lnTo>
                    <a:pt x="475" y="23"/>
                  </a:lnTo>
                  <a:lnTo>
                    <a:pt x="483" y="24"/>
                  </a:lnTo>
                  <a:lnTo>
                    <a:pt x="494" y="33"/>
                  </a:lnTo>
                  <a:lnTo>
                    <a:pt x="502" y="22"/>
                  </a:lnTo>
                  <a:lnTo>
                    <a:pt x="508" y="21"/>
                  </a:lnTo>
                  <a:lnTo>
                    <a:pt x="516" y="23"/>
                  </a:lnTo>
                  <a:lnTo>
                    <a:pt x="526" y="32"/>
                  </a:lnTo>
                  <a:lnTo>
                    <a:pt x="530" y="39"/>
                  </a:lnTo>
                  <a:lnTo>
                    <a:pt x="538" y="43"/>
                  </a:lnTo>
                  <a:lnTo>
                    <a:pt x="546" y="45"/>
                  </a:lnTo>
                  <a:lnTo>
                    <a:pt x="575" y="57"/>
                  </a:lnTo>
                  <a:lnTo>
                    <a:pt x="586" y="61"/>
                  </a:lnTo>
                  <a:lnTo>
                    <a:pt x="597" y="61"/>
                  </a:lnTo>
                  <a:lnTo>
                    <a:pt x="599" y="64"/>
                  </a:lnTo>
                  <a:lnTo>
                    <a:pt x="603" y="67"/>
                  </a:lnTo>
                  <a:lnTo>
                    <a:pt x="602" y="70"/>
                  </a:lnTo>
                  <a:lnTo>
                    <a:pt x="602" y="75"/>
                  </a:lnTo>
                  <a:lnTo>
                    <a:pt x="603" y="76"/>
                  </a:lnTo>
                  <a:lnTo>
                    <a:pt x="605" y="82"/>
                  </a:lnTo>
                  <a:lnTo>
                    <a:pt x="614" y="82"/>
                  </a:lnTo>
                  <a:lnTo>
                    <a:pt x="621" y="91"/>
                  </a:lnTo>
                  <a:lnTo>
                    <a:pt x="623" y="96"/>
                  </a:lnTo>
                  <a:lnTo>
                    <a:pt x="626" y="107"/>
                  </a:lnTo>
                  <a:lnTo>
                    <a:pt x="632" y="112"/>
                  </a:lnTo>
                  <a:lnTo>
                    <a:pt x="635" y="130"/>
                  </a:lnTo>
                  <a:lnTo>
                    <a:pt x="639" y="132"/>
                  </a:lnTo>
                  <a:lnTo>
                    <a:pt x="640" y="139"/>
                  </a:lnTo>
                  <a:lnTo>
                    <a:pt x="640" y="142"/>
                  </a:lnTo>
                  <a:lnTo>
                    <a:pt x="631" y="147"/>
                  </a:lnTo>
                  <a:lnTo>
                    <a:pt x="629" y="148"/>
                  </a:lnTo>
                  <a:lnTo>
                    <a:pt x="625" y="151"/>
                  </a:lnTo>
                  <a:lnTo>
                    <a:pt x="624" y="161"/>
                  </a:lnTo>
                  <a:lnTo>
                    <a:pt x="625" y="169"/>
                  </a:lnTo>
                  <a:lnTo>
                    <a:pt x="619" y="186"/>
                  </a:lnTo>
                  <a:lnTo>
                    <a:pt x="620" y="194"/>
                  </a:lnTo>
                  <a:lnTo>
                    <a:pt x="621" y="209"/>
                  </a:lnTo>
                  <a:lnTo>
                    <a:pt x="619" y="223"/>
                  </a:lnTo>
                  <a:lnTo>
                    <a:pt x="620" y="226"/>
                  </a:lnTo>
                  <a:lnTo>
                    <a:pt x="624" y="231"/>
                  </a:lnTo>
                  <a:lnTo>
                    <a:pt x="629" y="233"/>
                  </a:lnTo>
                  <a:lnTo>
                    <a:pt x="630" y="239"/>
                  </a:lnTo>
                  <a:lnTo>
                    <a:pt x="627" y="242"/>
                  </a:lnTo>
                  <a:lnTo>
                    <a:pt x="619" y="243"/>
                  </a:lnTo>
                  <a:lnTo>
                    <a:pt x="613" y="248"/>
                  </a:lnTo>
                  <a:lnTo>
                    <a:pt x="608" y="249"/>
                  </a:lnTo>
                  <a:lnTo>
                    <a:pt x="607" y="250"/>
                  </a:lnTo>
                  <a:lnTo>
                    <a:pt x="603" y="265"/>
                  </a:lnTo>
                  <a:lnTo>
                    <a:pt x="603" y="280"/>
                  </a:lnTo>
                  <a:lnTo>
                    <a:pt x="598" y="295"/>
                  </a:lnTo>
                  <a:lnTo>
                    <a:pt x="591" y="302"/>
                  </a:lnTo>
                  <a:lnTo>
                    <a:pt x="589" y="306"/>
                  </a:lnTo>
                  <a:lnTo>
                    <a:pt x="592" y="314"/>
                  </a:lnTo>
                  <a:lnTo>
                    <a:pt x="597" y="315"/>
                  </a:lnTo>
                  <a:lnTo>
                    <a:pt x="600" y="323"/>
                  </a:lnTo>
                  <a:lnTo>
                    <a:pt x="608" y="322"/>
                  </a:lnTo>
                  <a:lnTo>
                    <a:pt x="612" y="324"/>
                  </a:lnTo>
                  <a:lnTo>
                    <a:pt x="612" y="325"/>
                  </a:lnTo>
                  <a:lnTo>
                    <a:pt x="603" y="326"/>
                  </a:lnTo>
                  <a:lnTo>
                    <a:pt x="438" y="383"/>
                  </a:lnTo>
                  <a:lnTo>
                    <a:pt x="446" y="399"/>
                  </a:lnTo>
                  <a:lnTo>
                    <a:pt x="448" y="411"/>
                  </a:lnTo>
                  <a:lnTo>
                    <a:pt x="453" y="414"/>
                  </a:lnTo>
                  <a:lnTo>
                    <a:pt x="452" y="416"/>
                  </a:lnTo>
                  <a:lnTo>
                    <a:pt x="444" y="415"/>
                  </a:lnTo>
                  <a:lnTo>
                    <a:pt x="436" y="417"/>
                  </a:lnTo>
                  <a:lnTo>
                    <a:pt x="430" y="416"/>
                  </a:lnTo>
                  <a:lnTo>
                    <a:pt x="424" y="414"/>
                  </a:lnTo>
                  <a:lnTo>
                    <a:pt x="420" y="414"/>
                  </a:lnTo>
                  <a:lnTo>
                    <a:pt x="408" y="420"/>
                  </a:lnTo>
                  <a:lnTo>
                    <a:pt x="392" y="421"/>
                  </a:lnTo>
                  <a:lnTo>
                    <a:pt x="385" y="425"/>
                  </a:lnTo>
                  <a:lnTo>
                    <a:pt x="378" y="432"/>
                  </a:lnTo>
                  <a:lnTo>
                    <a:pt x="372" y="432"/>
                  </a:lnTo>
                  <a:lnTo>
                    <a:pt x="366" y="435"/>
                  </a:lnTo>
                  <a:lnTo>
                    <a:pt x="365" y="442"/>
                  </a:lnTo>
                  <a:lnTo>
                    <a:pt x="365" y="451"/>
                  </a:lnTo>
                  <a:lnTo>
                    <a:pt x="366" y="455"/>
                  </a:lnTo>
                  <a:lnTo>
                    <a:pt x="365" y="459"/>
                  </a:lnTo>
                  <a:lnTo>
                    <a:pt x="363" y="464"/>
                  </a:lnTo>
                  <a:lnTo>
                    <a:pt x="362" y="468"/>
                  </a:lnTo>
                  <a:lnTo>
                    <a:pt x="354" y="468"/>
                  </a:lnTo>
                  <a:lnTo>
                    <a:pt x="342" y="467"/>
                  </a:lnTo>
                  <a:lnTo>
                    <a:pt x="336" y="469"/>
                  </a:lnTo>
                  <a:lnTo>
                    <a:pt x="334" y="473"/>
                  </a:lnTo>
                  <a:lnTo>
                    <a:pt x="331" y="473"/>
                  </a:lnTo>
                  <a:lnTo>
                    <a:pt x="324" y="482"/>
                  </a:lnTo>
                  <a:lnTo>
                    <a:pt x="315" y="481"/>
                  </a:lnTo>
                  <a:lnTo>
                    <a:pt x="312" y="482"/>
                  </a:lnTo>
                  <a:lnTo>
                    <a:pt x="309" y="485"/>
                  </a:lnTo>
                  <a:lnTo>
                    <a:pt x="307" y="490"/>
                  </a:lnTo>
                  <a:lnTo>
                    <a:pt x="303" y="491"/>
                  </a:lnTo>
                  <a:lnTo>
                    <a:pt x="297" y="503"/>
                  </a:lnTo>
                  <a:lnTo>
                    <a:pt x="287" y="513"/>
                  </a:lnTo>
                  <a:lnTo>
                    <a:pt x="285" y="518"/>
                  </a:lnTo>
                  <a:lnTo>
                    <a:pt x="285" y="524"/>
                  </a:lnTo>
                  <a:lnTo>
                    <a:pt x="280" y="529"/>
                  </a:lnTo>
                  <a:lnTo>
                    <a:pt x="276" y="532"/>
                  </a:lnTo>
                  <a:lnTo>
                    <a:pt x="270" y="541"/>
                  </a:lnTo>
                  <a:lnTo>
                    <a:pt x="264" y="549"/>
                  </a:lnTo>
                  <a:lnTo>
                    <a:pt x="259" y="549"/>
                  </a:lnTo>
                  <a:lnTo>
                    <a:pt x="252" y="552"/>
                  </a:lnTo>
                  <a:lnTo>
                    <a:pt x="247" y="551"/>
                  </a:lnTo>
                  <a:lnTo>
                    <a:pt x="245" y="546"/>
                  </a:lnTo>
                  <a:lnTo>
                    <a:pt x="241" y="544"/>
                  </a:lnTo>
                  <a:lnTo>
                    <a:pt x="233" y="545"/>
                  </a:lnTo>
                  <a:lnTo>
                    <a:pt x="228" y="544"/>
                  </a:lnTo>
                  <a:lnTo>
                    <a:pt x="211" y="546"/>
                  </a:lnTo>
                  <a:lnTo>
                    <a:pt x="198" y="541"/>
                  </a:lnTo>
                  <a:lnTo>
                    <a:pt x="179" y="543"/>
                  </a:lnTo>
                  <a:lnTo>
                    <a:pt x="174" y="543"/>
                  </a:lnTo>
                  <a:lnTo>
                    <a:pt x="172" y="539"/>
                  </a:lnTo>
                  <a:lnTo>
                    <a:pt x="164" y="537"/>
                  </a:lnTo>
                  <a:lnTo>
                    <a:pt x="157" y="524"/>
                  </a:lnTo>
                  <a:lnTo>
                    <a:pt x="153" y="521"/>
                  </a:lnTo>
                  <a:lnTo>
                    <a:pt x="139" y="518"/>
                  </a:lnTo>
                  <a:lnTo>
                    <a:pt x="118" y="518"/>
                  </a:lnTo>
                  <a:lnTo>
                    <a:pt x="115" y="514"/>
                  </a:lnTo>
                  <a:lnTo>
                    <a:pt x="72" y="525"/>
                  </a:lnTo>
                  <a:lnTo>
                    <a:pt x="65" y="527"/>
                  </a:lnTo>
                  <a:lnTo>
                    <a:pt x="57" y="522"/>
                  </a:lnTo>
                  <a:lnTo>
                    <a:pt x="53" y="516"/>
                  </a:lnTo>
                  <a:lnTo>
                    <a:pt x="44" y="512"/>
                  </a:lnTo>
                  <a:lnTo>
                    <a:pt x="40" y="507"/>
                  </a:lnTo>
                  <a:lnTo>
                    <a:pt x="30" y="498"/>
                  </a:lnTo>
                  <a:lnTo>
                    <a:pt x="24" y="491"/>
                  </a:lnTo>
                  <a:lnTo>
                    <a:pt x="11" y="482"/>
                  </a:lnTo>
                  <a:lnTo>
                    <a:pt x="7" y="475"/>
                  </a:lnTo>
                  <a:lnTo>
                    <a:pt x="0" y="469"/>
                  </a:lnTo>
                  <a:lnTo>
                    <a:pt x="0" y="46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306B5B93-A9D4-EA04-ACD6-77D0BB456DE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650670" y="4667179"/>
              <a:ext cx="310407" cy="531952"/>
            </a:xfrm>
            <a:custGeom>
              <a:avLst/>
              <a:gdLst>
                <a:gd name="T0" fmla="*/ 2147483647 w 586"/>
                <a:gd name="T1" fmla="*/ 0 h 937"/>
                <a:gd name="T2" fmla="*/ 2147483647 w 586"/>
                <a:gd name="T3" fmla="*/ 0 h 937"/>
                <a:gd name="T4" fmla="*/ 2147483647 w 586"/>
                <a:gd name="T5" fmla="*/ 2147483647 h 937"/>
                <a:gd name="T6" fmla="*/ 2147483647 w 586"/>
                <a:gd name="T7" fmla="*/ 2147483647 h 937"/>
                <a:gd name="T8" fmla="*/ 2147483647 w 586"/>
                <a:gd name="T9" fmla="*/ 2147483647 h 937"/>
                <a:gd name="T10" fmla="*/ 2147483647 w 586"/>
                <a:gd name="T11" fmla="*/ 2147483647 h 937"/>
                <a:gd name="T12" fmla="*/ 2147483647 w 586"/>
                <a:gd name="T13" fmla="*/ 2147483647 h 937"/>
                <a:gd name="T14" fmla="*/ 2147483647 w 586"/>
                <a:gd name="T15" fmla="*/ 2147483647 h 937"/>
                <a:gd name="T16" fmla="*/ 2147483647 w 586"/>
                <a:gd name="T17" fmla="*/ 2147483647 h 937"/>
                <a:gd name="T18" fmla="*/ 2147483647 w 586"/>
                <a:gd name="T19" fmla="*/ 2147483647 h 937"/>
                <a:gd name="T20" fmla="*/ 2147483647 w 586"/>
                <a:gd name="T21" fmla="*/ 2147483647 h 937"/>
                <a:gd name="T22" fmla="*/ 2147483647 w 586"/>
                <a:gd name="T23" fmla="*/ 2147483647 h 937"/>
                <a:gd name="T24" fmla="*/ 2147483647 w 586"/>
                <a:gd name="T25" fmla="*/ 2147483647 h 937"/>
                <a:gd name="T26" fmla="*/ 2147483647 w 586"/>
                <a:gd name="T27" fmla="*/ 2147483647 h 937"/>
                <a:gd name="T28" fmla="*/ 2147483647 w 586"/>
                <a:gd name="T29" fmla="*/ 2147483647 h 937"/>
                <a:gd name="T30" fmla="*/ 2147483647 w 586"/>
                <a:gd name="T31" fmla="*/ 2147483647 h 937"/>
                <a:gd name="T32" fmla="*/ 2147483647 w 586"/>
                <a:gd name="T33" fmla="*/ 2147483647 h 937"/>
                <a:gd name="T34" fmla="*/ 2147483647 w 586"/>
                <a:gd name="T35" fmla="*/ 2147483647 h 937"/>
                <a:gd name="T36" fmla="*/ 2147483647 w 586"/>
                <a:gd name="T37" fmla="*/ 2147483647 h 937"/>
                <a:gd name="T38" fmla="*/ 2147483647 w 586"/>
                <a:gd name="T39" fmla="*/ 2147483647 h 937"/>
                <a:gd name="T40" fmla="*/ 2147483647 w 586"/>
                <a:gd name="T41" fmla="*/ 2147483647 h 937"/>
                <a:gd name="T42" fmla="*/ 2147483647 w 586"/>
                <a:gd name="T43" fmla="*/ 2147483647 h 937"/>
                <a:gd name="T44" fmla="*/ 2147483647 w 586"/>
                <a:gd name="T45" fmla="*/ 2147483647 h 937"/>
                <a:gd name="T46" fmla="*/ 2147483647 w 586"/>
                <a:gd name="T47" fmla="*/ 2147483647 h 937"/>
                <a:gd name="T48" fmla="*/ 2147483647 w 586"/>
                <a:gd name="T49" fmla="*/ 2147483647 h 937"/>
                <a:gd name="T50" fmla="*/ 2147483647 w 586"/>
                <a:gd name="T51" fmla="*/ 2147483647 h 937"/>
                <a:gd name="T52" fmla="*/ 2147483647 w 586"/>
                <a:gd name="T53" fmla="*/ 2147483647 h 937"/>
                <a:gd name="T54" fmla="*/ 2147483647 w 586"/>
                <a:gd name="T55" fmla="*/ 2147483647 h 937"/>
                <a:gd name="T56" fmla="*/ 2147483647 w 586"/>
                <a:gd name="T57" fmla="*/ 2147483647 h 937"/>
                <a:gd name="T58" fmla="*/ 2147483647 w 586"/>
                <a:gd name="T59" fmla="*/ 2147483647 h 937"/>
                <a:gd name="T60" fmla="*/ 2147483647 w 586"/>
                <a:gd name="T61" fmla="*/ 2147483647 h 937"/>
                <a:gd name="T62" fmla="*/ 2147483647 w 586"/>
                <a:gd name="T63" fmla="*/ 2147483647 h 937"/>
                <a:gd name="T64" fmla="*/ 2147483647 w 586"/>
                <a:gd name="T65" fmla="*/ 2147483647 h 937"/>
                <a:gd name="T66" fmla="*/ 0 w 586"/>
                <a:gd name="T67" fmla="*/ 2147483647 h 937"/>
                <a:gd name="T68" fmla="*/ 0 w 586"/>
                <a:gd name="T69" fmla="*/ 2147483647 h 937"/>
                <a:gd name="T70" fmla="*/ 2147483647 w 586"/>
                <a:gd name="T71" fmla="*/ 2147483647 h 937"/>
                <a:gd name="T72" fmla="*/ 2147483647 w 586"/>
                <a:gd name="T73" fmla="*/ 2147483647 h 937"/>
                <a:gd name="T74" fmla="*/ 2147483647 w 586"/>
                <a:gd name="T75" fmla="*/ 2147483647 h 937"/>
                <a:gd name="T76" fmla="*/ 2147483647 w 586"/>
                <a:gd name="T77" fmla="*/ 2147483647 h 937"/>
                <a:gd name="T78" fmla="*/ 2147483647 w 586"/>
                <a:gd name="T79" fmla="*/ 2147483647 h 937"/>
                <a:gd name="T80" fmla="*/ 2147483647 w 586"/>
                <a:gd name="T81" fmla="*/ 2147483647 h 937"/>
                <a:gd name="T82" fmla="*/ 2147483647 w 586"/>
                <a:gd name="T83" fmla="*/ 2147483647 h 937"/>
                <a:gd name="T84" fmla="*/ 2147483647 w 586"/>
                <a:gd name="T85" fmla="*/ 2147483647 h 937"/>
                <a:gd name="T86" fmla="*/ 2147483647 w 586"/>
                <a:gd name="T87" fmla="*/ 2147483647 h 937"/>
                <a:gd name="T88" fmla="*/ 2147483647 w 586"/>
                <a:gd name="T89" fmla="*/ 2147483647 h 937"/>
                <a:gd name="T90" fmla="*/ 2147483647 w 586"/>
                <a:gd name="T91" fmla="*/ 2147483647 h 937"/>
                <a:gd name="T92" fmla="*/ 2147483647 w 586"/>
                <a:gd name="T93" fmla="*/ 2147483647 h 937"/>
                <a:gd name="T94" fmla="*/ 2147483647 w 586"/>
                <a:gd name="T95" fmla="*/ 2147483647 h 937"/>
                <a:gd name="T96" fmla="*/ 2147483647 w 586"/>
                <a:gd name="T97" fmla="*/ 2147483647 h 937"/>
                <a:gd name="T98" fmla="*/ 2147483647 w 586"/>
                <a:gd name="T99" fmla="*/ 2147483647 h 937"/>
                <a:gd name="T100" fmla="*/ 2147483647 w 586"/>
                <a:gd name="T101" fmla="*/ 2147483647 h 937"/>
                <a:gd name="T102" fmla="*/ 2147483647 w 586"/>
                <a:gd name="T103" fmla="*/ 0 h 937"/>
                <a:gd name="T104" fmla="*/ 2147483647 w 586"/>
                <a:gd name="T105" fmla="*/ 0 h 937"/>
                <a:gd name="T106" fmla="*/ 2147483647 w 586"/>
                <a:gd name="T107" fmla="*/ 0 h 937"/>
                <a:gd name="T108" fmla="*/ 2147483647 w 586"/>
                <a:gd name="T109" fmla="*/ 0 h 937"/>
                <a:gd name="T110" fmla="*/ 2147483647 w 586"/>
                <a:gd name="T111" fmla="*/ 0 h 937"/>
                <a:gd name="T112" fmla="*/ 2147483647 w 586"/>
                <a:gd name="T113" fmla="*/ 0 h 937"/>
                <a:gd name="T114" fmla="*/ 2147483647 w 586"/>
                <a:gd name="T115" fmla="*/ 0 h 93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86"/>
                <a:gd name="T175" fmla="*/ 0 h 937"/>
                <a:gd name="T176" fmla="*/ 586 w 586"/>
                <a:gd name="T177" fmla="*/ 937 h 93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86" h="937">
                  <a:moveTo>
                    <a:pt x="580" y="0"/>
                  </a:moveTo>
                  <a:lnTo>
                    <a:pt x="584" y="2"/>
                  </a:lnTo>
                  <a:lnTo>
                    <a:pt x="586" y="7"/>
                  </a:lnTo>
                  <a:lnTo>
                    <a:pt x="584" y="10"/>
                  </a:lnTo>
                  <a:lnTo>
                    <a:pt x="585" y="27"/>
                  </a:lnTo>
                  <a:lnTo>
                    <a:pt x="583" y="33"/>
                  </a:lnTo>
                  <a:lnTo>
                    <a:pt x="578" y="42"/>
                  </a:lnTo>
                  <a:lnTo>
                    <a:pt x="570" y="56"/>
                  </a:lnTo>
                  <a:lnTo>
                    <a:pt x="567" y="70"/>
                  </a:lnTo>
                  <a:lnTo>
                    <a:pt x="568" y="95"/>
                  </a:lnTo>
                  <a:lnTo>
                    <a:pt x="570" y="113"/>
                  </a:lnTo>
                  <a:lnTo>
                    <a:pt x="572" y="128"/>
                  </a:lnTo>
                  <a:lnTo>
                    <a:pt x="565" y="133"/>
                  </a:lnTo>
                  <a:lnTo>
                    <a:pt x="568" y="142"/>
                  </a:lnTo>
                  <a:lnTo>
                    <a:pt x="570" y="142"/>
                  </a:lnTo>
                  <a:lnTo>
                    <a:pt x="569" y="176"/>
                  </a:lnTo>
                  <a:lnTo>
                    <a:pt x="572" y="196"/>
                  </a:lnTo>
                  <a:lnTo>
                    <a:pt x="570" y="205"/>
                  </a:lnTo>
                  <a:lnTo>
                    <a:pt x="574" y="208"/>
                  </a:lnTo>
                  <a:lnTo>
                    <a:pt x="578" y="205"/>
                  </a:lnTo>
                  <a:lnTo>
                    <a:pt x="581" y="212"/>
                  </a:lnTo>
                  <a:lnTo>
                    <a:pt x="575" y="220"/>
                  </a:lnTo>
                  <a:lnTo>
                    <a:pt x="580" y="220"/>
                  </a:lnTo>
                  <a:lnTo>
                    <a:pt x="585" y="224"/>
                  </a:lnTo>
                  <a:lnTo>
                    <a:pt x="585" y="232"/>
                  </a:lnTo>
                  <a:lnTo>
                    <a:pt x="580" y="242"/>
                  </a:lnTo>
                  <a:lnTo>
                    <a:pt x="576" y="253"/>
                  </a:lnTo>
                  <a:lnTo>
                    <a:pt x="568" y="263"/>
                  </a:lnTo>
                  <a:lnTo>
                    <a:pt x="575" y="265"/>
                  </a:lnTo>
                  <a:lnTo>
                    <a:pt x="574" y="274"/>
                  </a:lnTo>
                  <a:lnTo>
                    <a:pt x="573" y="280"/>
                  </a:lnTo>
                  <a:lnTo>
                    <a:pt x="564" y="285"/>
                  </a:lnTo>
                  <a:lnTo>
                    <a:pt x="547" y="305"/>
                  </a:lnTo>
                  <a:lnTo>
                    <a:pt x="543" y="313"/>
                  </a:lnTo>
                  <a:lnTo>
                    <a:pt x="526" y="323"/>
                  </a:lnTo>
                  <a:lnTo>
                    <a:pt x="532" y="328"/>
                  </a:lnTo>
                  <a:lnTo>
                    <a:pt x="527" y="337"/>
                  </a:lnTo>
                  <a:lnTo>
                    <a:pt x="517" y="344"/>
                  </a:lnTo>
                  <a:lnTo>
                    <a:pt x="505" y="351"/>
                  </a:lnTo>
                  <a:lnTo>
                    <a:pt x="497" y="355"/>
                  </a:lnTo>
                  <a:lnTo>
                    <a:pt x="490" y="366"/>
                  </a:lnTo>
                  <a:lnTo>
                    <a:pt x="477" y="373"/>
                  </a:lnTo>
                  <a:lnTo>
                    <a:pt x="460" y="373"/>
                  </a:lnTo>
                  <a:lnTo>
                    <a:pt x="447" y="378"/>
                  </a:lnTo>
                  <a:lnTo>
                    <a:pt x="403" y="398"/>
                  </a:lnTo>
                  <a:lnTo>
                    <a:pt x="375" y="420"/>
                  </a:lnTo>
                  <a:lnTo>
                    <a:pt x="373" y="430"/>
                  </a:lnTo>
                  <a:lnTo>
                    <a:pt x="368" y="434"/>
                  </a:lnTo>
                  <a:lnTo>
                    <a:pt x="360" y="435"/>
                  </a:lnTo>
                  <a:lnTo>
                    <a:pt x="355" y="436"/>
                  </a:lnTo>
                  <a:lnTo>
                    <a:pt x="361" y="442"/>
                  </a:lnTo>
                  <a:lnTo>
                    <a:pt x="345" y="462"/>
                  </a:lnTo>
                  <a:lnTo>
                    <a:pt x="338" y="473"/>
                  </a:lnTo>
                  <a:lnTo>
                    <a:pt x="333" y="470"/>
                  </a:lnTo>
                  <a:lnTo>
                    <a:pt x="330" y="461"/>
                  </a:lnTo>
                  <a:lnTo>
                    <a:pt x="323" y="477"/>
                  </a:lnTo>
                  <a:lnTo>
                    <a:pt x="315" y="480"/>
                  </a:lnTo>
                  <a:lnTo>
                    <a:pt x="305" y="493"/>
                  </a:lnTo>
                  <a:lnTo>
                    <a:pt x="287" y="512"/>
                  </a:lnTo>
                  <a:lnTo>
                    <a:pt x="273" y="521"/>
                  </a:lnTo>
                  <a:lnTo>
                    <a:pt x="266" y="529"/>
                  </a:lnTo>
                  <a:lnTo>
                    <a:pt x="255" y="533"/>
                  </a:lnTo>
                  <a:lnTo>
                    <a:pt x="252" y="563"/>
                  </a:lnTo>
                  <a:lnTo>
                    <a:pt x="253" y="572"/>
                  </a:lnTo>
                  <a:lnTo>
                    <a:pt x="267" y="582"/>
                  </a:lnTo>
                  <a:lnTo>
                    <a:pt x="271" y="588"/>
                  </a:lnTo>
                  <a:lnTo>
                    <a:pt x="272" y="597"/>
                  </a:lnTo>
                  <a:lnTo>
                    <a:pt x="273" y="598"/>
                  </a:lnTo>
                  <a:lnTo>
                    <a:pt x="274" y="608"/>
                  </a:lnTo>
                  <a:lnTo>
                    <a:pt x="287" y="642"/>
                  </a:lnTo>
                  <a:lnTo>
                    <a:pt x="288" y="662"/>
                  </a:lnTo>
                  <a:lnTo>
                    <a:pt x="289" y="667"/>
                  </a:lnTo>
                  <a:lnTo>
                    <a:pt x="295" y="662"/>
                  </a:lnTo>
                  <a:lnTo>
                    <a:pt x="299" y="666"/>
                  </a:lnTo>
                  <a:lnTo>
                    <a:pt x="299" y="688"/>
                  </a:lnTo>
                  <a:lnTo>
                    <a:pt x="295" y="725"/>
                  </a:lnTo>
                  <a:lnTo>
                    <a:pt x="283" y="771"/>
                  </a:lnTo>
                  <a:lnTo>
                    <a:pt x="285" y="782"/>
                  </a:lnTo>
                  <a:lnTo>
                    <a:pt x="289" y="774"/>
                  </a:lnTo>
                  <a:lnTo>
                    <a:pt x="295" y="764"/>
                  </a:lnTo>
                  <a:lnTo>
                    <a:pt x="295" y="768"/>
                  </a:lnTo>
                  <a:lnTo>
                    <a:pt x="293" y="781"/>
                  </a:lnTo>
                  <a:lnTo>
                    <a:pt x="288" y="792"/>
                  </a:lnTo>
                  <a:lnTo>
                    <a:pt x="273" y="811"/>
                  </a:lnTo>
                  <a:lnTo>
                    <a:pt x="258" y="822"/>
                  </a:lnTo>
                  <a:lnTo>
                    <a:pt x="240" y="829"/>
                  </a:lnTo>
                  <a:lnTo>
                    <a:pt x="228" y="830"/>
                  </a:lnTo>
                  <a:lnTo>
                    <a:pt x="192" y="843"/>
                  </a:lnTo>
                  <a:lnTo>
                    <a:pt x="183" y="849"/>
                  </a:lnTo>
                  <a:lnTo>
                    <a:pt x="176" y="855"/>
                  </a:lnTo>
                  <a:lnTo>
                    <a:pt x="166" y="861"/>
                  </a:lnTo>
                  <a:lnTo>
                    <a:pt x="156" y="863"/>
                  </a:lnTo>
                  <a:lnTo>
                    <a:pt x="151" y="868"/>
                  </a:lnTo>
                  <a:lnTo>
                    <a:pt x="144" y="881"/>
                  </a:lnTo>
                  <a:lnTo>
                    <a:pt x="135" y="893"/>
                  </a:lnTo>
                  <a:lnTo>
                    <a:pt x="134" y="893"/>
                  </a:lnTo>
                  <a:lnTo>
                    <a:pt x="142" y="900"/>
                  </a:lnTo>
                  <a:lnTo>
                    <a:pt x="148" y="910"/>
                  </a:lnTo>
                  <a:lnTo>
                    <a:pt x="154" y="905"/>
                  </a:lnTo>
                  <a:lnTo>
                    <a:pt x="158" y="899"/>
                  </a:lnTo>
                  <a:lnTo>
                    <a:pt x="154" y="937"/>
                  </a:lnTo>
                  <a:lnTo>
                    <a:pt x="148" y="936"/>
                  </a:lnTo>
                  <a:lnTo>
                    <a:pt x="112" y="936"/>
                  </a:lnTo>
                  <a:lnTo>
                    <a:pt x="110" y="908"/>
                  </a:lnTo>
                  <a:lnTo>
                    <a:pt x="110" y="887"/>
                  </a:lnTo>
                  <a:lnTo>
                    <a:pt x="108" y="879"/>
                  </a:lnTo>
                  <a:lnTo>
                    <a:pt x="105" y="786"/>
                  </a:lnTo>
                  <a:lnTo>
                    <a:pt x="92" y="742"/>
                  </a:lnTo>
                  <a:lnTo>
                    <a:pt x="86" y="710"/>
                  </a:lnTo>
                  <a:lnTo>
                    <a:pt x="84" y="689"/>
                  </a:lnTo>
                  <a:lnTo>
                    <a:pt x="85" y="688"/>
                  </a:lnTo>
                  <a:lnTo>
                    <a:pt x="85" y="673"/>
                  </a:lnTo>
                  <a:lnTo>
                    <a:pt x="89" y="661"/>
                  </a:lnTo>
                  <a:lnTo>
                    <a:pt x="95" y="651"/>
                  </a:lnTo>
                  <a:lnTo>
                    <a:pt x="106" y="644"/>
                  </a:lnTo>
                  <a:lnTo>
                    <a:pt x="113" y="636"/>
                  </a:lnTo>
                  <a:lnTo>
                    <a:pt x="132" y="602"/>
                  </a:lnTo>
                  <a:lnTo>
                    <a:pt x="139" y="571"/>
                  </a:lnTo>
                  <a:lnTo>
                    <a:pt x="156" y="535"/>
                  </a:lnTo>
                  <a:lnTo>
                    <a:pt x="153" y="508"/>
                  </a:lnTo>
                  <a:lnTo>
                    <a:pt x="148" y="495"/>
                  </a:lnTo>
                  <a:lnTo>
                    <a:pt x="146" y="478"/>
                  </a:lnTo>
                  <a:lnTo>
                    <a:pt x="156" y="459"/>
                  </a:lnTo>
                  <a:lnTo>
                    <a:pt x="158" y="451"/>
                  </a:lnTo>
                  <a:lnTo>
                    <a:pt x="162" y="435"/>
                  </a:lnTo>
                  <a:lnTo>
                    <a:pt x="161" y="424"/>
                  </a:lnTo>
                  <a:lnTo>
                    <a:pt x="162" y="389"/>
                  </a:lnTo>
                  <a:lnTo>
                    <a:pt x="158" y="367"/>
                  </a:lnTo>
                  <a:lnTo>
                    <a:pt x="154" y="357"/>
                  </a:lnTo>
                  <a:lnTo>
                    <a:pt x="153" y="344"/>
                  </a:lnTo>
                  <a:lnTo>
                    <a:pt x="144" y="334"/>
                  </a:lnTo>
                  <a:lnTo>
                    <a:pt x="113" y="323"/>
                  </a:lnTo>
                  <a:lnTo>
                    <a:pt x="85" y="311"/>
                  </a:lnTo>
                  <a:lnTo>
                    <a:pt x="70" y="307"/>
                  </a:lnTo>
                  <a:lnTo>
                    <a:pt x="56" y="303"/>
                  </a:lnTo>
                  <a:lnTo>
                    <a:pt x="33" y="305"/>
                  </a:lnTo>
                  <a:lnTo>
                    <a:pt x="15" y="303"/>
                  </a:lnTo>
                  <a:lnTo>
                    <a:pt x="15" y="284"/>
                  </a:lnTo>
                  <a:lnTo>
                    <a:pt x="10" y="281"/>
                  </a:lnTo>
                  <a:lnTo>
                    <a:pt x="8" y="269"/>
                  </a:lnTo>
                  <a:lnTo>
                    <a:pt x="0" y="253"/>
                  </a:lnTo>
                  <a:lnTo>
                    <a:pt x="165" y="196"/>
                  </a:lnTo>
                  <a:lnTo>
                    <a:pt x="174" y="195"/>
                  </a:lnTo>
                  <a:lnTo>
                    <a:pt x="175" y="198"/>
                  </a:lnTo>
                  <a:lnTo>
                    <a:pt x="181" y="200"/>
                  </a:lnTo>
                  <a:lnTo>
                    <a:pt x="188" y="216"/>
                  </a:lnTo>
                  <a:lnTo>
                    <a:pt x="198" y="226"/>
                  </a:lnTo>
                  <a:lnTo>
                    <a:pt x="202" y="226"/>
                  </a:lnTo>
                  <a:lnTo>
                    <a:pt x="210" y="224"/>
                  </a:lnTo>
                  <a:lnTo>
                    <a:pt x="240" y="220"/>
                  </a:lnTo>
                  <a:lnTo>
                    <a:pt x="244" y="221"/>
                  </a:lnTo>
                  <a:lnTo>
                    <a:pt x="247" y="226"/>
                  </a:lnTo>
                  <a:lnTo>
                    <a:pt x="251" y="239"/>
                  </a:lnTo>
                  <a:lnTo>
                    <a:pt x="252" y="247"/>
                  </a:lnTo>
                  <a:lnTo>
                    <a:pt x="253" y="265"/>
                  </a:lnTo>
                  <a:lnTo>
                    <a:pt x="251" y="273"/>
                  </a:lnTo>
                  <a:lnTo>
                    <a:pt x="245" y="280"/>
                  </a:lnTo>
                  <a:lnTo>
                    <a:pt x="246" y="286"/>
                  </a:lnTo>
                  <a:lnTo>
                    <a:pt x="240" y="291"/>
                  </a:lnTo>
                  <a:lnTo>
                    <a:pt x="236" y="302"/>
                  </a:lnTo>
                  <a:lnTo>
                    <a:pt x="240" y="306"/>
                  </a:lnTo>
                  <a:lnTo>
                    <a:pt x="245" y="322"/>
                  </a:lnTo>
                  <a:lnTo>
                    <a:pt x="248" y="325"/>
                  </a:lnTo>
                  <a:lnTo>
                    <a:pt x="252" y="327"/>
                  </a:lnTo>
                  <a:lnTo>
                    <a:pt x="255" y="332"/>
                  </a:lnTo>
                  <a:lnTo>
                    <a:pt x="263" y="341"/>
                  </a:lnTo>
                  <a:lnTo>
                    <a:pt x="268" y="348"/>
                  </a:lnTo>
                  <a:lnTo>
                    <a:pt x="272" y="350"/>
                  </a:lnTo>
                  <a:lnTo>
                    <a:pt x="279" y="351"/>
                  </a:lnTo>
                  <a:lnTo>
                    <a:pt x="283" y="356"/>
                  </a:lnTo>
                  <a:lnTo>
                    <a:pt x="283" y="360"/>
                  </a:lnTo>
                  <a:lnTo>
                    <a:pt x="278" y="366"/>
                  </a:lnTo>
                  <a:lnTo>
                    <a:pt x="279" y="368"/>
                  </a:lnTo>
                  <a:lnTo>
                    <a:pt x="291" y="368"/>
                  </a:lnTo>
                  <a:lnTo>
                    <a:pt x="293" y="367"/>
                  </a:lnTo>
                  <a:lnTo>
                    <a:pt x="291" y="357"/>
                  </a:lnTo>
                  <a:lnTo>
                    <a:pt x="293" y="351"/>
                  </a:lnTo>
                  <a:lnTo>
                    <a:pt x="290" y="346"/>
                  </a:lnTo>
                  <a:lnTo>
                    <a:pt x="287" y="343"/>
                  </a:lnTo>
                  <a:lnTo>
                    <a:pt x="287" y="337"/>
                  </a:lnTo>
                  <a:lnTo>
                    <a:pt x="290" y="329"/>
                  </a:lnTo>
                  <a:lnTo>
                    <a:pt x="290" y="325"/>
                  </a:lnTo>
                  <a:lnTo>
                    <a:pt x="291" y="322"/>
                  </a:lnTo>
                  <a:lnTo>
                    <a:pt x="304" y="314"/>
                  </a:lnTo>
                  <a:lnTo>
                    <a:pt x="310" y="313"/>
                  </a:lnTo>
                  <a:lnTo>
                    <a:pt x="316" y="311"/>
                  </a:lnTo>
                  <a:lnTo>
                    <a:pt x="320" y="305"/>
                  </a:lnTo>
                  <a:lnTo>
                    <a:pt x="321" y="284"/>
                  </a:lnTo>
                  <a:lnTo>
                    <a:pt x="323" y="276"/>
                  </a:lnTo>
                  <a:lnTo>
                    <a:pt x="320" y="262"/>
                  </a:lnTo>
                  <a:lnTo>
                    <a:pt x="323" y="252"/>
                  </a:lnTo>
                  <a:lnTo>
                    <a:pt x="326" y="244"/>
                  </a:lnTo>
                  <a:lnTo>
                    <a:pt x="323" y="232"/>
                  </a:lnTo>
                  <a:lnTo>
                    <a:pt x="318" y="225"/>
                  </a:lnTo>
                  <a:lnTo>
                    <a:pt x="305" y="212"/>
                  </a:lnTo>
                  <a:lnTo>
                    <a:pt x="299" y="203"/>
                  </a:lnTo>
                  <a:lnTo>
                    <a:pt x="284" y="184"/>
                  </a:lnTo>
                  <a:lnTo>
                    <a:pt x="274" y="177"/>
                  </a:lnTo>
                  <a:lnTo>
                    <a:pt x="267" y="167"/>
                  </a:lnTo>
                  <a:lnTo>
                    <a:pt x="266" y="167"/>
                  </a:lnTo>
                  <a:lnTo>
                    <a:pt x="263" y="156"/>
                  </a:lnTo>
                  <a:lnTo>
                    <a:pt x="263" y="146"/>
                  </a:lnTo>
                  <a:lnTo>
                    <a:pt x="262" y="138"/>
                  </a:lnTo>
                  <a:lnTo>
                    <a:pt x="262" y="123"/>
                  </a:lnTo>
                  <a:lnTo>
                    <a:pt x="258" y="115"/>
                  </a:lnTo>
                  <a:lnTo>
                    <a:pt x="258" y="107"/>
                  </a:lnTo>
                  <a:lnTo>
                    <a:pt x="262" y="92"/>
                  </a:lnTo>
                  <a:lnTo>
                    <a:pt x="269" y="76"/>
                  </a:lnTo>
                  <a:lnTo>
                    <a:pt x="273" y="58"/>
                  </a:lnTo>
                  <a:lnTo>
                    <a:pt x="314" y="59"/>
                  </a:lnTo>
                  <a:lnTo>
                    <a:pt x="317" y="58"/>
                  </a:lnTo>
                  <a:lnTo>
                    <a:pt x="323" y="53"/>
                  </a:lnTo>
                  <a:lnTo>
                    <a:pt x="331" y="53"/>
                  </a:lnTo>
                  <a:lnTo>
                    <a:pt x="338" y="55"/>
                  </a:lnTo>
                  <a:lnTo>
                    <a:pt x="344" y="61"/>
                  </a:lnTo>
                  <a:lnTo>
                    <a:pt x="349" y="65"/>
                  </a:lnTo>
                  <a:lnTo>
                    <a:pt x="354" y="66"/>
                  </a:lnTo>
                  <a:lnTo>
                    <a:pt x="361" y="64"/>
                  </a:lnTo>
                  <a:lnTo>
                    <a:pt x="370" y="64"/>
                  </a:lnTo>
                  <a:lnTo>
                    <a:pt x="381" y="56"/>
                  </a:lnTo>
                  <a:lnTo>
                    <a:pt x="412" y="58"/>
                  </a:lnTo>
                  <a:lnTo>
                    <a:pt x="419" y="58"/>
                  </a:lnTo>
                  <a:lnTo>
                    <a:pt x="423" y="56"/>
                  </a:lnTo>
                  <a:lnTo>
                    <a:pt x="436" y="43"/>
                  </a:lnTo>
                  <a:lnTo>
                    <a:pt x="450" y="42"/>
                  </a:lnTo>
                  <a:lnTo>
                    <a:pt x="459" y="39"/>
                  </a:lnTo>
                  <a:lnTo>
                    <a:pt x="472" y="45"/>
                  </a:lnTo>
                  <a:lnTo>
                    <a:pt x="482" y="45"/>
                  </a:lnTo>
                  <a:lnTo>
                    <a:pt x="490" y="44"/>
                  </a:lnTo>
                  <a:lnTo>
                    <a:pt x="524" y="32"/>
                  </a:lnTo>
                  <a:lnTo>
                    <a:pt x="543" y="27"/>
                  </a:lnTo>
                  <a:lnTo>
                    <a:pt x="547" y="25"/>
                  </a:lnTo>
                  <a:lnTo>
                    <a:pt x="562" y="11"/>
                  </a:lnTo>
                  <a:lnTo>
                    <a:pt x="576" y="1"/>
                  </a:lnTo>
                  <a:lnTo>
                    <a:pt x="580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1" name="Freeform 21">
              <a:extLst>
                <a:ext uri="{FF2B5EF4-FFF2-40B4-BE49-F238E27FC236}">
                  <a16:creationId xmlns:a16="http://schemas.microsoft.com/office/drawing/2014/main" id="{5F581DF3-9D99-3437-3B4E-577070140EE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673055" y="5167122"/>
              <a:ext cx="34324" cy="50299"/>
            </a:xfrm>
            <a:custGeom>
              <a:avLst/>
              <a:gdLst>
                <a:gd name="T0" fmla="*/ 2147483647 w 67"/>
                <a:gd name="T1" fmla="*/ 0 h 90"/>
                <a:gd name="T2" fmla="*/ 2147483647 w 67"/>
                <a:gd name="T3" fmla="*/ 0 h 90"/>
                <a:gd name="T4" fmla="*/ 2147483647 w 67"/>
                <a:gd name="T5" fmla="*/ 0 h 90"/>
                <a:gd name="T6" fmla="*/ 2147483647 w 67"/>
                <a:gd name="T7" fmla="*/ 0 h 90"/>
                <a:gd name="T8" fmla="*/ 0 w 67"/>
                <a:gd name="T9" fmla="*/ 0 h 90"/>
                <a:gd name="T10" fmla="*/ 0 w 67"/>
                <a:gd name="T11" fmla="*/ 0 h 90"/>
                <a:gd name="T12" fmla="*/ 0 w 67"/>
                <a:gd name="T13" fmla="*/ 0 h 90"/>
                <a:gd name="T14" fmla="*/ 0 w 67"/>
                <a:gd name="T15" fmla="*/ 0 h 90"/>
                <a:gd name="T16" fmla="*/ 0 w 67"/>
                <a:gd name="T17" fmla="*/ 0 h 90"/>
                <a:gd name="T18" fmla="*/ 0 w 67"/>
                <a:gd name="T19" fmla="*/ 0 h 90"/>
                <a:gd name="T20" fmla="*/ 0 w 67"/>
                <a:gd name="T21" fmla="*/ 0 h 90"/>
                <a:gd name="T22" fmla="*/ 0 w 67"/>
                <a:gd name="T23" fmla="*/ 2147483647 h 90"/>
                <a:gd name="T24" fmla="*/ 0 w 67"/>
                <a:gd name="T25" fmla="*/ 2147483647 h 90"/>
                <a:gd name="T26" fmla="*/ 0 w 67"/>
                <a:gd name="T27" fmla="*/ 2147483647 h 90"/>
                <a:gd name="T28" fmla="*/ 0 w 67"/>
                <a:gd name="T29" fmla="*/ 2147483647 h 90"/>
                <a:gd name="T30" fmla="*/ 0 w 67"/>
                <a:gd name="T31" fmla="*/ 0 h 90"/>
                <a:gd name="T32" fmla="*/ 2147483647 w 67"/>
                <a:gd name="T33" fmla="*/ 0 h 9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7"/>
                <a:gd name="T52" fmla="*/ 0 h 90"/>
                <a:gd name="T53" fmla="*/ 67 w 67"/>
                <a:gd name="T54" fmla="*/ 90 h 9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7" h="90">
                  <a:moveTo>
                    <a:pt x="67" y="63"/>
                  </a:moveTo>
                  <a:lnTo>
                    <a:pt x="65" y="35"/>
                  </a:lnTo>
                  <a:lnTo>
                    <a:pt x="65" y="14"/>
                  </a:lnTo>
                  <a:lnTo>
                    <a:pt x="63" y="6"/>
                  </a:lnTo>
                  <a:lnTo>
                    <a:pt x="56" y="15"/>
                  </a:lnTo>
                  <a:lnTo>
                    <a:pt x="33" y="0"/>
                  </a:lnTo>
                  <a:lnTo>
                    <a:pt x="19" y="9"/>
                  </a:lnTo>
                  <a:lnTo>
                    <a:pt x="12" y="21"/>
                  </a:lnTo>
                  <a:lnTo>
                    <a:pt x="4" y="38"/>
                  </a:lnTo>
                  <a:lnTo>
                    <a:pt x="0" y="54"/>
                  </a:lnTo>
                  <a:lnTo>
                    <a:pt x="2" y="67"/>
                  </a:lnTo>
                  <a:lnTo>
                    <a:pt x="12" y="86"/>
                  </a:lnTo>
                  <a:lnTo>
                    <a:pt x="35" y="89"/>
                  </a:lnTo>
                  <a:lnTo>
                    <a:pt x="47" y="90"/>
                  </a:lnTo>
                  <a:lnTo>
                    <a:pt x="55" y="81"/>
                  </a:lnTo>
                  <a:lnTo>
                    <a:pt x="61" y="67"/>
                  </a:lnTo>
                  <a:lnTo>
                    <a:pt x="67" y="6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2" name="Freeform 22">
              <a:extLst>
                <a:ext uri="{FF2B5EF4-FFF2-40B4-BE49-F238E27FC236}">
                  <a16:creationId xmlns:a16="http://schemas.microsoft.com/office/drawing/2014/main" id="{5F59AFFF-E4EE-42E6-6C42-E2DEE125312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252214" y="5043661"/>
              <a:ext cx="480534" cy="446596"/>
            </a:xfrm>
            <a:custGeom>
              <a:avLst/>
              <a:gdLst>
                <a:gd name="T0" fmla="*/ 2147483647 w 898"/>
                <a:gd name="T1" fmla="*/ 2147483647 h 791"/>
                <a:gd name="T2" fmla="*/ 2147483647 w 898"/>
                <a:gd name="T3" fmla="*/ 2147483647 h 791"/>
                <a:gd name="T4" fmla="*/ 2147483647 w 898"/>
                <a:gd name="T5" fmla="*/ 2147483647 h 791"/>
                <a:gd name="T6" fmla="*/ 2147483647 w 898"/>
                <a:gd name="T7" fmla="*/ 2147483647 h 791"/>
                <a:gd name="T8" fmla="*/ 0 w 898"/>
                <a:gd name="T9" fmla="*/ 2147483647 h 791"/>
                <a:gd name="T10" fmla="*/ 0 w 898"/>
                <a:gd name="T11" fmla="*/ 2147483647 h 791"/>
                <a:gd name="T12" fmla="*/ 0 w 898"/>
                <a:gd name="T13" fmla="*/ 2147483647 h 791"/>
                <a:gd name="T14" fmla="*/ 2147483647 w 898"/>
                <a:gd name="T15" fmla="*/ 2147483647 h 791"/>
                <a:gd name="T16" fmla="*/ 2147483647 w 898"/>
                <a:gd name="T17" fmla="*/ 2147483647 h 791"/>
                <a:gd name="T18" fmla="*/ 2147483647 w 898"/>
                <a:gd name="T19" fmla="*/ 2147483647 h 791"/>
                <a:gd name="T20" fmla="*/ 2147483647 w 898"/>
                <a:gd name="T21" fmla="*/ 2147483647 h 791"/>
                <a:gd name="T22" fmla="*/ 2147483647 w 898"/>
                <a:gd name="T23" fmla="*/ 2147483647 h 791"/>
                <a:gd name="T24" fmla="*/ 2147483647 w 898"/>
                <a:gd name="T25" fmla="*/ 2147483647 h 791"/>
                <a:gd name="T26" fmla="*/ 2147483647 w 898"/>
                <a:gd name="T27" fmla="*/ 2147483647 h 791"/>
                <a:gd name="T28" fmla="*/ 2147483647 w 898"/>
                <a:gd name="T29" fmla="*/ 2147483647 h 791"/>
                <a:gd name="T30" fmla="*/ 2147483647 w 898"/>
                <a:gd name="T31" fmla="*/ 2147483647 h 791"/>
                <a:gd name="T32" fmla="*/ 2147483647 w 898"/>
                <a:gd name="T33" fmla="*/ 2147483647 h 791"/>
                <a:gd name="T34" fmla="*/ 2147483647 w 898"/>
                <a:gd name="T35" fmla="*/ 2147483647 h 791"/>
                <a:gd name="T36" fmla="*/ 2147483647 w 898"/>
                <a:gd name="T37" fmla="*/ 2147483647 h 791"/>
                <a:gd name="T38" fmla="*/ 2147483647 w 898"/>
                <a:gd name="T39" fmla="*/ 2147483647 h 791"/>
                <a:gd name="T40" fmla="*/ 2147483647 w 898"/>
                <a:gd name="T41" fmla="*/ 2147483647 h 791"/>
                <a:gd name="T42" fmla="*/ 2147483647 w 898"/>
                <a:gd name="T43" fmla="*/ 2147483647 h 791"/>
                <a:gd name="T44" fmla="*/ 2147483647 w 898"/>
                <a:gd name="T45" fmla="*/ 2147483647 h 791"/>
                <a:gd name="T46" fmla="*/ 2147483647 w 898"/>
                <a:gd name="T47" fmla="*/ 2147483647 h 791"/>
                <a:gd name="T48" fmla="*/ 2147483647 w 898"/>
                <a:gd name="T49" fmla="*/ 2147483647 h 791"/>
                <a:gd name="T50" fmla="*/ 2147483647 w 898"/>
                <a:gd name="T51" fmla="*/ 2147483647 h 791"/>
                <a:gd name="T52" fmla="*/ 2147483647 w 898"/>
                <a:gd name="T53" fmla="*/ 2147483647 h 791"/>
                <a:gd name="T54" fmla="*/ 2147483647 w 898"/>
                <a:gd name="T55" fmla="*/ 2147483647 h 791"/>
                <a:gd name="T56" fmla="*/ 2147483647 w 898"/>
                <a:gd name="T57" fmla="*/ 2147483647 h 791"/>
                <a:gd name="T58" fmla="*/ 2147483647 w 898"/>
                <a:gd name="T59" fmla="*/ 2147483647 h 791"/>
                <a:gd name="T60" fmla="*/ 2147483647 w 898"/>
                <a:gd name="T61" fmla="*/ 2147483647 h 791"/>
                <a:gd name="T62" fmla="*/ 2147483647 w 898"/>
                <a:gd name="T63" fmla="*/ 2147483647 h 791"/>
                <a:gd name="T64" fmla="*/ 2147483647 w 898"/>
                <a:gd name="T65" fmla="*/ 2147483647 h 791"/>
                <a:gd name="T66" fmla="*/ 2147483647 w 898"/>
                <a:gd name="T67" fmla="*/ 2147483647 h 791"/>
                <a:gd name="T68" fmla="*/ 2147483647 w 898"/>
                <a:gd name="T69" fmla="*/ 2147483647 h 791"/>
                <a:gd name="T70" fmla="*/ 2147483647 w 898"/>
                <a:gd name="T71" fmla="*/ 2147483647 h 791"/>
                <a:gd name="T72" fmla="*/ 2147483647 w 898"/>
                <a:gd name="T73" fmla="*/ 0 h 791"/>
                <a:gd name="T74" fmla="*/ 2147483647 w 898"/>
                <a:gd name="T75" fmla="*/ 0 h 791"/>
                <a:gd name="T76" fmla="*/ 2147483647 w 898"/>
                <a:gd name="T77" fmla="*/ 0 h 791"/>
                <a:gd name="T78" fmla="*/ 2147483647 w 898"/>
                <a:gd name="T79" fmla="*/ 0 h 791"/>
                <a:gd name="T80" fmla="*/ 2147483647 w 898"/>
                <a:gd name="T81" fmla="*/ 0 h 791"/>
                <a:gd name="T82" fmla="*/ 2147483647 w 898"/>
                <a:gd name="T83" fmla="*/ 2147483647 h 791"/>
                <a:gd name="T84" fmla="*/ 2147483647 w 898"/>
                <a:gd name="T85" fmla="*/ 2147483647 h 791"/>
                <a:gd name="T86" fmla="*/ 2147483647 w 898"/>
                <a:gd name="T87" fmla="*/ 2147483647 h 791"/>
                <a:gd name="T88" fmla="*/ 2147483647 w 898"/>
                <a:gd name="T89" fmla="*/ 2147483647 h 791"/>
                <a:gd name="T90" fmla="*/ 2147483647 w 898"/>
                <a:gd name="T91" fmla="*/ 2147483647 h 791"/>
                <a:gd name="T92" fmla="*/ 2147483647 w 898"/>
                <a:gd name="T93" fmla="*/ 2147483647 h 791"/>
                <a:gd name="T94" fmla="*/ 2147483647 w 898"/>
                <a:gd name="T95" fmla="*/ 2147483647 h 791"/>
                <a:gd name="T96" fmla="*/ 2147483647 w 898"/>
                <a:gd name="T97" fmla="*/ 2147483647 h 791"/>
                <a:gd name="T98" fmla="*/ 2147483647 w 898"/>
                <a:gd name="T99" fmla="*/ 2147483647 h 79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98"/>
                <a:gd name="T151" fmla="*/ 0 h 791"/>
                <a:gd name="T152" fmla="*/ 898 w 898"/>
                <a:gd name="T153" fmla="*/ 791 h 791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98" h="791">
                  <a:moveTo>
                    <a:pt x="188" y="161"/>
                  </a:moveTo>
                  <a:lnTo>
                    <a:pt x="188" y="216"/>
                  </a:lnTo>
                  <a:lnTo>
                    <a:pt x="188" y="275"/>
                  </a:lnTo>
                  <a:lnTo>
                    <a:pt x="188" y="334"/>
                  </a:lnTo>
                  <a:lnTo>
                    <a:pt x="188" y="390"/>
                  </a:lnTo>
                  <a:lnTo>
                    <a:pt x="182" y="394"/>
                  </a:lnTo>
                  <a:lnTo>
                    <a:pt x="171" y="396"/>
                  </a:lnTo>
                  <a:lnTo>
                    <a:pt x="157" y="406"/>
                  </a:lnTo>
                  <a:lnTo>
                    <a:pt x="141" y="421"/>
                  </a:lnTo>
                  <a:lnTo>
                    <a:pt x="129" y="421"/>
                  </a:lnTo>
                  <a:lnTo>
                    <a:pt x="120" y="418"/>
                  </a:lnTo>
                  <a:lnTo>
                    <a:pt x="101" y="418"/>
                  </a:lnTo>
                  <a:lnTo>
                    <a:pt x="86" y="423"/>
                  </a:lnTo>
                  <a:lnTo>
                    <a:pt x="70" y="421"/>
                  </a:lnTo>
                  <a:lnTo>
                    <a:pt x="59" y="409"/>
                  </a:lnTo>
                  <a:lnTo>
                    <a:pt x="59" y="396"/>
                  </a:lnTo>
                  <a:lnTo>
                    <a:pt x="33" y="378"/>
                  </a:lnTo>
                  <a:lnTo>
                    <a:pt x="21" y="379"/>
                  </a:lnTo>
                  <a:lnTo>
                    <a:pt x="15" y="390"/>
                  </a:lnTo>
                  <a:lnTo>
                    <a:pt x="8" y="398"/>
                  </a:lnTo>
                  <a:lnTo>
                    <a:pt x="5" y="400"/>
                  </a:lnTo>
                  <a:lnTo>
                    <a:pt x="0" y="401"/>
                  </a:lnTo>
                  <a:lnTo>
                    <a:pt x="2" y="405"/>
                  </a:lnTo>
                  <a:lnTo>
                    <a:pt x="1" y="411"/>
                  </a:lnTo>
                  <a:lnTo>
                    <a:pt x="5" y="416"/>
                  </a:lnTo>
                  <a:lnTo>
                    <a:pt x="13" y="426"/>
                  </a:lnTo>
                  <a:lnTo>
                    <a:pt x="28" y="464"/>
                  </a:lnTo>
                  <a:lnTo>
                    <a:pt x="37" y="491"/>
                  </a:lnTo>
                  <a:lnTo>
                    <a:pt x="51" y="528"/>
                  </a:lnTo>
                  <a:lnTo>
                    <a:pt x="59" y="536"/>
                  </a:lnTo>
                  <a:lnTo>
                    <a:pt x="64" y="552"/>
                  </a:lnTo>
                  <a:lnTo>
                    <a:pt x="70" y="562"/>
                  </a:lnTo>
                  <a:lnTo>
                    <a:pt x="91" y="595"/>
                  </a:lnTo>
                  <a:lnTo>
                    <a:pt x="97" y="608"/>
                  </a:lnTo>
                  <a:lnTo>
                    <a:pt x="99" y="648"/>
                  </a:lnTo>
                  <a:lnTo>
                    <a:pt x="90" y="665"/>
                  </a:lnTo>
                  <a:lnTo>
                    <a:pt x="78" y="660"/>
                  </a:lnTo>
                  <a:lnTo>
                    <a:pt x="76" y="667"/>
                  </a:lnTo>
                  <a:lnTo>
                    <a:pt x="75" y="678"/>
                  </a:lnTo>
                  <a:lnTo>
                    <a:pt x="77" y="678"/>
                  </a:lnTo>
                  <a:lnTo>
                    <a:pt x="85" y="683"/>
                  </a:lnTo>
                  <a:lnTo>
                    <a:pt x="87" y="690"/>
                  </a:lnTo>
                  <a:lnTo>
                    <a:pt x="83" y="691"/>
                  </a:lnTo>
                  <a:lnTo>
                    <a:pt x="88" y="701"/>
                  </a:lnTo>
                  <a:lnTo>
                    <a:pt x="93" y="705"/>
                  </a:lnTo>
                  <a:lnTo>
                    <a:pt x="99" y="716"/>
                  </a:lnTo>
                  <a:lnTo>
                    <a:pt x="107" y="726"/>
                  </a:lnTo>
                  <a:lnTo>
                    <a:pt x="108" y="734"/>
                  </a:lnTo>
                  <a:lnTo>
                    <a:pt x="103" y="742"/>
                  </a:lnTo>
                  <a:lnTo>
                    <a:pt x="103" y="749"/>
                  </a:lnTo>
                  <a:lnTo>
                    <a:pt x="103" y="760"/>
                  </a:lnTo>
                  <a:lnTo>
                    <a:pt x="109" y="770"/>
                  </a:lnTo>
                  <a:lnTo>
                    <a:pt x="110" y="769"/>
                  </a:lnTo>
                  <a:lnTo>
                    <a:pt x="109" y="761"/>
                  </a:lnTo>
                  <a:lnTo>
                    <a:pt x="109" y="754"/>
                  </a:lnTo>
                  <a:lnTo>
                    <a:pt x="112" y="750"/>
                  </a:lnTo>
                  <a:lnTo>
                    <a:pt x="119" y="749"/>
                  </a:lnTo>
                  <a:lnTo>
                    <a:pt x="128" y="750"/>
                  </a:lnTo>
                  <a:lnTo>
                    <a:pt x="129" y="762"/>
                  </a:lnTo>
                  <a:lnTo>
                    <a:pt x="128" y="769"/>
                  </a:lnTo>
                  <a:lnTo>
                    <a:pt x="133" y="771"/>
                  </a:lnTo>
                  <a:lnTo>
                    <a:pt x="151" y="770"/>
                  </a:lnTo>
                  <a:lnTo>
                    <a:pt x="156" y="775"/>
                  </a:lnTo>
                  <a:lnTo>
                    <a:pt x="155" y="782"/>
                  </a:lnTo>
                  <a:lnTo>
                    <a:pt x="166" y="788"/>
                  </a:lnTo>
                  <a:lnTo>
                    <a:pt x="174" y="788"/>
                  </a:lnTo>
                  <a:lnTo>
                    <a:pt x="183" y="791"/>
                  </a:lnTo>
                  <a:lnTo>
                    <a:pt x="195" y="791"/>
                  </a:lnTo>
                  <a:lnTo>
                    <a:pt x="204" y="788"/>
                  </a:lnTo>
                  <a:lnTo>
                    <a:pt x="214" y="776"/>
                  </a:lnTo>
                  <a:lnTo>
                    <a:pt x="232" y="775"/>
                  </a:lnTo>
                  <a:lnTo>
                    <a:pt x="236" y="771"/>
                  </a:lnTo>
                  <a:lnTo>
                    <a:pt x="244" y="770"/>
                  </a:lnTo>
                  <a:lnTo>
                    <a:pt x="264" y="772"/>
                  </a:lnTo>
                  <a:lnTo>
                    <a:pt x="266" y="769"/>
                  </a:lnTo>
                  <a:lnTo>
                    <a:pt x="287" y="771"/>
                  </a:lnTo>
                  <a:lnTo>
                    <a:pt x="293" y="769"/>
                  </a:lnTo>
                  <a:lnTo>
                    <a:pt x="296" y="761"/>
                  </a:lnTo>
                  <a:lnTo>
                    <a:pt x="305" y="758"/>
                  </a:lnTo>
                  <a:lnTo>
                    <a:pt x="311" y="753"/>
                  </a:lnTo>
                  <a:lnTo>
                    <a:pt x="316" y="748"/>
                  </a:lnTo>
                  <a:lnTo>
                    <a:pt x="333" y="745"/>
                  </a:lnTo>
                  <a:lnTo>
                    <a:pt x="341" y="746"/>
                  </a:lnTo>
                  <a:lnTo>
                    <a:pt x="365" y="753"/>
                  </a:lnTo>
                  <a:lnTo>
                    <a:pt x="372" y="753"/>
                  </a:lnTo>
                  <a:lnTo>
                    <a:pt x="381" y="745"/>
                  </a:lnTo>
                  <a:lnTo>
                    <a:pt x="394" y="744"/>
                  </a:lnTo>
                  <a:lnTo>
                    <a:pt x="408" y="746"/>
                  </a:lnTo>
                  <a:lnTo>
                    <a:pt x="446" y="758"/>
                  </a:lnTo>
                  <a:lnTo>
                    <a:pt x="459" y="758"/>
                  </a:lnTo>
                  <a:lnTo>
                    <a:pt x="467" y="744"/>
                  </a:lnTo>
                  <a:lnTo>
                    <a:pt x="479" y="743"/>
                  </a:lnTo>
                  <a:lnTo>
                    <a:pt x="491" y="748"/>
                  </a:lnTo>
                  <a:lnTo>
                    <a:pt x="507" y="749"/>
                  </a:lnTo>
                  <a:lnTo>
                    <a:pt x="508" y="743"/>
                  </a:lnTo>
                  <a:lnTo>
                    <a:pt x="505" y="733"/>
                  </a:lnTo>
                  <a:lnTo>
                    <a:pt x="512" y="728"/>
                  </a:lnTo>
                  <a:lnTo>
                    <a:pt x="519" y="727"/>
                  </a:lnTo>
                  <a:lnTo>
                    <a:pt x="532" y="726"/>
                  </a:lnTo>
                  <a:lnTo>
                    <a:pt x="553" y="727"/>
                  </a:lnTo>
                  <a:lnTo>
                    <a:pt x="564" y="726"/>
                  </a:lnTo>
                  <a:lnTo>
                    <a:pt x="586" y="715"/>
                  </a:lnTo>
                  <a:lnTo>
                    <a:pt x="623" y="689"/>
                  </a:lnTo>
                  <a:lnTo>
                    <a:pt x="633" y="679"/>
                  </a:lnTo>
                  <a:lnTo>
                    <a:pt x="642" y="668"/>
                  </a:lnTo>
                  <a:lnTo>
                    <a:pt x="663" y="652"/>
                  </a:lnTo>
                  <a:lnTo>
                    <a:pt x="689" y="624"/>
                  </a:lnTo>
                  <a:lnTo>
                    <a:pt x="705" y="600"/>
                  </a:lnTo>
                  <a:lnTo>
                    <a:pt x="714" y="589"/>
                  </a:lnTo>
                  <a:lnTo>
                    <a:pt x="723" y="582"/>
                  </a:lnTo>
                  <a:lnTo>
                    <a:pt x="747" y="561"/>
                  </a:lnTo>
                  <a:lnTo>
                    <a:pt x="765" y="533"/>
                  </a:lnTo>
                  <a:lnTo>
                    <a:pt x="774" y="520"/>
                  </a:lnTo>
                  <a:lnTo>
                    <a:pt x="796" y="480"/>
                  </a:lnTo>
                  <a:lnTo>
                    <a:pt x="800" y="473"/>
                  </a:lnTo>
                  <a:lnTo>
                    <a:pt x="804" y="465"/>
                  </a:lnTo>
                  <a:lnTo>
                    <a:pt x="808" y="454"/>
                  </a:lnTo>
                  <a:lnTo>
                    <a:pt x="819" y="437"/>
                  </a:lnTo>
                  <a:lnTo>
                    <a:pt x="828" y="426"/>
                  </a:lnTo>
                  <a:lnTo>
                    <a:pt x="836" y="420"/>
                  </a:lnTo>
                  <a:lnTo>
                    <a:pt x="846" y="417"/>
                  </a:lnTo>
                  <a:lnTo>
                    <a:pt x="866" y="401"/>
                  </a:lnTo>
                  <a:lnTo>
                    <a:pt x="875" y="388"/>
                  </a:lnTo>
                  <a:lnTo>
                    <a:pt x="881" y="357"/>
                  </a:lnTo>
                  <a:lnTo>
                    <a:pt x="886" y="345"/>
                  </a:lnTo>
                  <a:lnTo>
                    <a:pt x="888" y="331"/>
                  </a:lnTo>
                  <a:lnTo>
                    <a:pt x="888" y="318"/>
                  </a:lnTo>
                  <a:lnTo>
                    <a:pt x="894" y="305"/>
                  </a:lnTo>
                  <a:lnTo>
                    <a:pt x="897" y="294"/>
                  </a:lnTo>
                  <a:lnTo>
                    <a:pt x="898" y="282"/>
                  </a:lnTo>
                  <a:lnTo>
                    <a:pt x="892" y="281"/>
                  </a:lnTo>
                  <a:lnTo>
                    <a:pt x="856" y="281"/>
                  </a:lnTo>
                  <a:lnTo>
                    <a:pt x="850" y="285"/>
                  </a:lnTo>
                  <a:lnTo>
                    <a:pt x="844" y="299"/>
                  </a:lnTo>
                  <a:lnTo>
                    <a:pt x="836" y="308"/>
                  </a:lnTo>
                  <a:lnTo>
                    <a:pt x="824" y="307"/>
                  </a:lnTo>
                  <a:lnTo>
                    <a:pt x="801" y="304"/>
                  </a:lnTo>
                  <a:lnTo>
                    <a:pt x="791" y="285"/>
                  </a:lnTo>
                  <a:lnTo>
                    <a:pt x="789" y="272"/>
                  </a:lnTo>
                  <a:lnTo>
                    <a:pt x="793" y="256"/>
                  </a:lnTo>
                  <a:lnTo>
                    <a:pt x="801" y="239"/>
                  </a:lnTo>
                  <a:lnTo>
                    <a:pt x="808" y="227"/>
                  </a:lnTo>
                  <a:lnTo>
                    <a:pt x="822" y="218"/>
                  </a:lnTo>
                  <a:lnTo>
                    <a:pt x="845" y="233"/>
                  </a:lnTo>
                  <a:lnTo>
                    <a:pt x="852" y="224"/>
                  </a:lnTo>
                  <a:lnTo>
                    <a:pt x="849" y="131"/>
                  </a:lnTo>
                  <a:lnTo>
                    <a:pt x="836" y="87"/>
                  </a:lnTo>
                  <a:lnTo>
                    <a:pt x="830" y="55"/>
                  </a:lnTo>
                  <a:lnTo>
                    <a:pt x="828" y="34"/>
                  </a:lnTo>
                  <a:lnTo>
                    <a:pt x="827" y="33"/>
                  </a:lnTo>
                  <a:lnTo>
                    <a:pt x="822" y="32"/>
                  </a:lnTo>
                  <a:lnTo>
                    <a:pt x="807" y="17"/>
                  </a:lnTo>
                  <a:lnTo>
                    <a:pt x="786" y="11"/>
                  </a:lnTo>
                  <a:lnTo>
                    <a:pt x="774" y="9"/>
                  </a:lnTo>
                  <a:lnTo>
                    <a:pt x="761" y="12"/>
                  </a:lnTo>
                  <a:lnTo>
                    <a:pt x="749" y="9"/>
                  </a:lnTo>
                  <a:lnTo>
                    <a:pt x="726" y="2"/>
                  </a:lnTo>
                  <a:lnTo>
                    <a:pt x="717" y="0"/>
                  </a:lnTo>
                  <a:lnTo>
                    <a:pt x="705" y="5"/>
                  </a:lnTo>
                  <a:lnTo>
                    <a:pt x="704" y="8"/>
                  </a:lnTo>
                  <a:lnTo>
                    <a:pt x="693" y="13"/>
                  </a:lnTo>
                  <a:lnTo>
                    <a:pt x="679" y="22"/>
                  </a:lnTo>
                  <a:lnTo>
                    <a:pt x="641" y="40"/>
                  </a:lnTo>
                  <a:lnTo>
                    <a:pt x="625" y="57"/>
                  </a:lnTo>
                  <a:lnTo>
                    <a:pt x="605" y="70"/>
                  </a:lnTo>
                  <a:lnTo>
                    <a:pt x="586" y="88"/>
                  </a:lnTo>
                  <a:lnTo>
                    <a:pt x="575" y="104"/>
                  </a:lnTo>
                  <a:lnTo>
                    <a:pt x="558" y="129"/>
                  </a:lnTo>
                  <a:lnTo>
                    <a:pt x="531" y="148"/>
                  </a:lnTo>
                  <a:lnTo>
                    <a:pt x="516" y="167"/>
                  </a:lnTo>
                  <a:lnTo>
                    <a:pt x="501" y="201"/>
                  </a:lnTo>
                  <a:lnTo>
                    <a:pt x="496" y="207"/>
                  </a:lnTo>
                  <a:lnTo>
                    <a:pt x="488" y="211"/>
                  </a:lnTo>
                  <a:lnTo>
                    <a:pt x="477" y="212"/>
                  </a:lnTo>
                  <a:lnTo>
                    <a:pt x="452" y="218"/>
                  </a:lnTo>
                  <a:lnTo>
                    <a:pt x="437" y="217"/>
                  </a:lnTo>
                  <a:lnTo>
                    <a:pt x="414" y="204"/>
                  </a:lnTo>
                  <a:lnTo>
                    <a:pt x="402" y="199"/>
                  </a:lnTo>
                  <a:lnTo>
                    <a:pt x="388" y="197"/>
                  </a:lnTo>
                  <a:lnTo>
                    <a:pt x="376" y="201"/>
                  </a:lnTo>
                  <a:lnTo>
                    <a:pt x="357" y="221"/>
                  </a:lnTo>
                  <a:lnTo>
                    <a:pt x="351" y="229"/>
                  </a:lnTo>
                  <a:lnTo>
                    <a:pt x="348" y="237"/>
                  </a:lnTo>
                  <a:lnTo>
                    <a:pt x="339" y="248"/>
                  </a:lnTo>
                  <a:lnTo>
                    <a:pt x="327" y="255"/>
                  </a:lnTo>
                  <a:lnTo>
                    <a:pt x="322" y="260"/>
                  </a:lnTo>
                  <a:lnTo>
                    <a:pt x="312" y="277"/>
                  </a:lnTo>
                  <a:lnTo>
                    <a:pt x="277" y="286"/>
                  </a:lnTo>
                  <a:lnTo>
                    <a:pt x="259" y="285"/>
                  </a:lnTo>
                  <a:lnTo>
                    <a:pt x="243" y="282"/>
                  </a:lnTo>
                  <a:lnTo>
                    <a:pt x="233" y="280"/>
                  </a:lnTo>
                  <a:lnTo>
                    <a:pt x="230" y="271"/>
                  </a:lnTo>
                  <a:lnTo>
                    <a:pt x="237" y="250"/>
                  </a:lnTo>
                  <a:lnTo>
                    <a:pt x="239" y="237"/>
                  </a:lnTo>
                  <a:lnTo>
                    <a:pt x="239" y="231"/>
                  </a:lnTo>
                  <a:lnTo>
                    <a:pt x="238" y="213"/>
                  </a:lnTo>
                  <a:lnTo>
                    <a:pt x="231" y="201"/>
                  </a:lnTo>
                  <a:lnTo>
                    <a:pt x="217" y="190"/>
                  </a:lnTo>
                  <a:lnTo>
                    <a:pt x="212" y="181"/>
                  </a:lnTo>
                  <a:lnTo>
                    <a:pt x="200" y="170"/>
                  </a:lnTo>
                  <a:lnTo>
                    <a:pt x="198" y="167"/>
                  </a:lnTo>
                  <a:lnTo>
                    <a:pt x="192" y="161"/>
                  </a:lnTo>
                  <a:lnTo>
                    <a:pt x="188" y="16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6" name="Freeform 24">
              <a:extLst>
                <a:ext uri="{FF2B5EF4-FFF2-40B4-BE49-F238E27FC236}">
                  <a16:creationId xmlns:a16="http://schemas.microsoft.com/office/drawing/2014/main" id="{23319402-D269-A30B-A6C5-3EA37CA8458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032709" y="4719002"/>
              <a:ext cx="208928" cy="443547"/>
            </a:xfrm>
            <a:custGeom>
              <a:avLst/>
              <a:gdLst>
                <a:gd name="T0" fmla="*/ 2147483647 w 391"/>
                <a:gd name="T1" fmla="*/ 2147483647 h 776"/>
                <a:gd name="T2" fmla="*/ 2147483647 w 391"/>
                <a:gd name="T3" fmla="*/ 2147483647 h 776"/>
                <a:gd name="T4" fmla="*/ 2147483647 w 391"/>
                <a:gd name="T5" fmla="*/ 2147483647 h 776"/>
                <a:gd name="T6" fmla="*/ 2147483647 w 391"/>
                <a:gd name="T7" fmla="*/ 2147483647 h 776"/>
                <a:gd name="T8" fmla="*/ 2147483647 w 391"/>
                <a:gd name="T9" fmla="*/ 2147483647 h 776"/>
                <a:gd name="T10" fmla="*/ 2147483647 w 391"/>
                <a:gd name="T11" fmla="*/ 2147483647 h 776"/>
                <a:gd name="T12" fmla="*/ 2147483647 w 391"/>
                <a:gd name="T13" fmla="*/ 2147483647 h 776"/>
                <a:gd name="T14" fmla="*/ 2147483647 w 391"/>
                <a:gd name="T15" fmla="*/ 2147483647 h 776"/>
                <a:gd name="T16" fmla="*/ 2147483647 w 391"/>
                <a:gd name="T17" fmla="*/ 2147483647 h 776"/>
                <a:gd name="T18" fmla="*/ 2147483647 w 391"/>
                <a:gd name="T19" fmla="*/ 2147483647 h 776"/>
                <a:gd name="T20" fmla="*/ 2147483647 w 391"/>
                <a:gd name="T21" fmla="*/ 2147483647 h 776"/>
                <a:gd name="T22" fmla="*/ 2147483647 w 391"/>
                <a:gd name="T23" fmla="*/ 2147483647 h 776"/>
                <a:gd name="T24" fmla="*/ 2147483647 w 391"/>
                <a:gd name="T25" fmla="*/ 2147483647 h 776"/>
                <a:gd name="T26" fmla="*/ 2147483647 w 391"/>
                <a:gd name="T27" fmla="*/ 2147483647 h 776"/>
                <a:gd name="T28" fmla="*/ 2147483647 w 391"/>
                <a:gd name="T29" fmla="*/ 2147483647 h 776"/>
                <a:gd name="T30" fmla="*/ 2147483647 w 391"/>
                <a:gd name="T31" fmla="*/ 2147483647 h 776"/>
                <a:gd name="T32" fmla="*/ 2147483647 w 391"/>
                <a:gd name="T33" fmla="*/ 2147483647 h 776"/>
                <a:gd name="T34" fmla="*/ 2147483647 w 391"/>
                <a:gd name="T35" fmla="*/ 0 h 776"/>
                <a:gd name="T36" fmla="*/ 2147483647 w 391"/>
                <a:gd name="T37" fmla="*/ 0 h 776"/>
                <a:gd name="T38" fmla="*/ 2147483647 w 391"/>
                <a:gd name="T39" fmla="*/ 0 h 776"/>
                <a:gd name="T40" fmla="*/ 2147483647 w 391"/>
                <a:gd name="T41" fmla="*/ 0 h 776"/>
                <a:gd name="T42" fmla="*/ 2147483647 w 391"/>
                <a:gd name="T43" fmla="*/ 0 h 776"/>
                <a:gd name="T44" fmla="*/ 2147483647 w 391"/>
                <a:gd name="T45" fmla="*/ 2147483647 h 776"/>
                <a:gd name="T46" fmla="*/ 2147483647 w 391"/>
                <a:gd name="T47" fmla="*/ 2147483647 h 776"/>
                <a:gd name="T48" fmla="*/ 2147483647 w 391"/>
                <a:gd name="T49" fmla="*/ 2147483647 h 776"/>
                <a:gd name="T50" fmla="*/ 2147483647 w 391"/>
                <a:gd name="T51" fmla="*/ 2147483647 h 776"/>
                <a:gd name="T52" fmla="*/ 2147483647 w 391"/>
                <a:gd name="T53" fmla="*/ 2147483647 h 776"/>
                <a:gd name="T54" fmla="*/ 2147483647 w 391"/>
                <a:gd name="T55" fmla="*/ 2147483647 h 776"/>
                <a:gd name="T56" fmla="*/ 2147483647 w 391"/>
                <a:gd name="T57" fmla="*/ 2147483647 h 776"/>
                <a:gd name="T58" fmla="*/ 2147483647 w 391"/>
                <a:gd name="T59" fmla="*/ 2147483647 h 776"/>
                <a:gd name="T60" fmla="*/ 2147483647 w 391"/>
                <a:gd name="T61" fmla="*/ 2147483647 h 776"/>
                <a:gd name="T62" fmla="*/ 2147483647 w 391"/>
                <a:gd name="T63" fmla="*/ 2147483647 h 776"/>
                <a:gd name="T64" fmla="*/ 2147483647 w 391"/>
                <a:gd name="T65" fmla="*/ 2147483647 h 776"/>
                <a:gd name="T66" fmla="*/ 2147483647 w 391"/>
                <a:gd name="T67" fmla="*/ 2147483647 h 776"/>
                <a:gd name="T68" fmla="*/ 2147483647 w 391"/>
                <a:gd name="T69" fmla="*/ 2147483647 h 776"/>
                <a:gd name="T70" fmla="*/ 2147483647 w 391"/>
                <a:gd name="T71" fmla="*/ 2147483647 h 776"/>
                <a:gd name="T72" fmla="*/ 2147483647 w 391"/>
                <a:gd name="T73" fmla="*/ 2147483647 h 776"/>
                <a:gd name="T74" fmla="*/ 2147483647 w 391"/>
                <a:gd name="T75" fmla="*/ 2147483647 h 776"/>
                <a:gd name="T76" fmla="*/ 0 w 391"/>
                <a:gd name="T77" fmla="*/ 2147483647 h 776"/>
                <a:gd name="T78" fmla="*/ 0 w 391"/>
                <a:gd name="T79" fmla="*/ 2147483647 h 776"/>
                <a:gd name="T80" fmla="*/ 0 w 391"/>
                <a:gd name="T81" fmla="*/ 2147483647 h 776"/>
                <a:gd name="T82" fmla="*/ 0 w 391"/>
                <a:gd name="T83" fmla="*/ 2147483647 h 776"/>
                <a:gd name="T84" fmla="*/ 0 w 391"/>
                <a:gd name="T85" fmla="*/ 2147483647 h 776"/>
                <a:gd name="T86" fmla="*/ 0 w 391"/>
                <a:gd name="T87" fmla="*/ 2147483647 h 776"/>
                <a:gd name="T88" fmla="*/ 2147483647 w 391"/>
                <a:gd name="T89" fmla="*/ 2147483647 h 776"/>
                <a:gd name="T90" fmla="*/ 2147483647 w 391"/>
                <a:gd name="T91" fmla="*/ 2147483647 h 776"/>
                <a:gd name="T92" fmla="*/ 2147483647 w 391"/>
                <a:gd name="T93" fmla="*/ 2147483647 h 776"/>
                <a:gd name="T94" fmla="*/ 2147483647 w 391"/>
                <a:gd name="T95" fmla="*/ 2147483647 h 77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91"/>
                <a:gd name="T145" fmla="*/ 0 h 776"/>
                <a:gd name="T146" fmla="*/ 391 w 391"/>
                <a:gd name="T147" fmla="*/ 776 h 77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91" h="776">
                  <a:moveTo>
                    <a:pt x="64" y="230"/>
                  </a:moveTo>
                  <a:lnTo>
                    <a:pt x="69" y="224"/>
                  </a:lnTo>
                  <a:lnTo>
                    <a:pt x="76" y="226"/>
                  </a:lnTo>
                  <a:lnTo>
                    <a:pt x="92" y="225"/>
                  </a:lnTo>
                  <a:lnTo>
                    <a:pt x="96" y="221"/>
                  </a:lnTo>
                  <a:lnTo>
                    <a:pt x="107" y="215"/>
                  </a:lnTo>
                  <a:lnTo>
                    <a:pt x="109" y="220"/>
                  </a:lnTo>
                  <a:lnTo>
                    <a:pt x="113" y="221"/>
                  </a:lnTo>
                  <a:lnTo>
                    <a:pt x="118" y="215"/>
                  </a:lnTo>
                  <a:lnTo>
                    <a:pt x="124" y="217"/>
                  </a:lnTo>
                  <a:lnTo>
                    <a:pt x="129" y="211"/>
                  </a:lnTo>
                  <a:lnTo>
                    <a:pt x="130" y="204"/>
                  </a:lnTo>
                  <a:lnTo>
                    <a:pt x="140" y="202"/>
                  </a:lnTo>
                  <a:lnTo>
                    <a:pt x="146" y="205"/>
                  </a:lnTo>
                  <a:lnTo>
                    <a:pt x="152" y="199"/>
                  </a:lnTo>
                  <a:lnTo>
                    <a:pt x="159" y="202"/>
                  </a:lnTo>
                  <a:lnTo>
                    <a:pt x="164" y="211"/>
                  </a:lnTo>
                  <a:lnTo>
                    <a:pt x="170" y="219"/>
                  </a:lnTo>
                  <a:lnTo>
                    <a:pt x="178" y="221"/>
                  </a:lnTo>
                  <a:lnTo>
                    <a:pt x="184" y="220"/>
                  </a:lnTo>
                  <a:lnTo>
                    <a:pt x="182" y="210"/>
                  </a:lnTo>
                  <a:lnTo>
                    <a:pt x="172" y="202"/>
                  </a:lnTo>
                  <a:lnTo>
                    <a:pt x="173" y="192"/>
                  </a:lnTo>
                  <a:lnTo>
                    <a:pt x="183" y="181"/>
                  </a:lnTo>
                  <a:lnTo>
                    <a:pt x="195" y="173"/>
                  </a:lnTo>
                  <a:lnTo>
                    <a:pt x="202" y="176"/>
                  </a:lnTo>
                  <a:lnTo>
                    <a:pt x="204" y="189"/>
                  </a:lnTo>
                  <a:lnTo>
                    <a:pt x="211" y="189"/>
                  </a:lnTo>
                  <a:lnTo>
                    <a:pt x="218" y="186"/>
                  </a:lnTo>
                  <a:lnTo>
                    <a:pt x="208" y="167"/>
                  </a:lnTo>
                  <a:lnTo>
                    <a:pt x="215" y="161"/>
                  </a:lnTo>
                  <a:lnTo>
                    <a:pt x="224" y="150"/>
                  </a:lnTo>
                  <a:lnTo>
                    <a:pt x="221" y="149"/>
                  </a:lnTo>
                  <a:lnTo>
                    <a:pt x="227" y="141"/>
                  </a:lnTo>
                  <a:lnTo>
                    <a:pt x="231" y="149"/>
                  </a:lnTo>
                  <a:lnTo>
                    <a:pt x="229" y="160"/>
                  </a:lnTo>
                  <a:lnTo>
                    <a:pt x="245" y="140"/>
                  </a:lnTo>
                  <a:lnTo>
                    <a:pt x="253" y="141"/>
                  </a:lnTo>
                  <a:lnTo>
                    <a:pt x="258" y="140"/>
                  </a:lnTo>
                  <a:lnTo>
                    <a:pt x="256" y="135"/>
                  </a:lnTo>
                  <a:lnTo>
                    <a:pt x="247" y="133"/>
                  </a:lnTo>
                  <a:lnTo>
                    <a:pt x="242" y="125"/>
                  </a:lnTo>
                  <a:lnTo>
                    <a:pt x="245" y="119"/>
                  </a:lnTo>
                  <a:lnTo>
                    <a:pt x="253" y="108"/>
                  </a:lnTo>
                  <a:lnTo>
                    <a:pt x="258" y="113"/>
                  </a:lnTo>
                  <a:lnTo>
                    <a:pt x="259" y="101"/>
                  </a:lnTo>
                  <a:lnTo>
                    <a:pt x="256" y="93"/>
                  </a:lnTo>
                  <a:lnTo>
                    <a:pt x="253" y="81"/>
                  </a:lnTo>
                  <a:lnTo>
                    <a:pt x="256" y="77"/>
                  </a:lnTo>
                  <a:lnTo>
                    <a:pt x="267" y="81"/>
                  </a:lnTo>
                  <a:lnTo>
                    <a:pt x="270" y="92"/>
                  </a:lnTo>
                  <a:lnTo>
                    <a:pt x="283" y="74"/>
                  </a:lnTo>
                  <a:lnTo>
                    <a:pt x="285" y="63"/>
                  </a:lnTo>
                  <a:lnTo>
                    <a:pt x="293" y="68"/>
                  </a:lnTo>
                  <a:lnTo>
                    <a:pt x="301" y="61"/>
                  </a:lnTo>
                  <a:lnTo>
                    <a:pt x="306" y="47"/>
                  </a:lnTo>
                  <a:lnTo>
                    <a:pt x="307" y="25"/>
                  </a:lnTo>
                  <a:lnTo>
                    <a:pt x="301" y="15"/>
                  </a:lnTo>
                  <a:lnTo>
                    <a:pt x="306" y="17"/>
                  </a:lnTo>
                  <a:lnTo>
                    <a:pt x="316" y="5"/>
                  </a:lnTo>
                  <a:lnTo>
                    <a:pt x="323" y="0"/>
                  </a:lnTo>
                  <a:lnTo>
                    <a:pt x="334" y="10"/>
                  </a:lnTo>
                  <a:lnTo>
                    <a:pt x="344" y="23"/>
                  </a:lnTo>
                  <a:lnTo>
                    <a:pt x="354" y="33"/>
                  </a:lnTo>
                  <a:lnTo>
                    <a:pt x="361" y="47"/>
                  </a:lnTo>
                  <a:lnTo>
                    <a:pt x="365" y="60"/>
                  </a:lnTo>
                  <a:lnTo>
                    <a:pt x="366" y="73"/>
                  </a:lnTo>
                  <a:lnTo>
                    <a:pt x="371" y="89"/>
                  </a:lnTo>
                  <a:lnTo>
                    <a:pt x="374" y="106"/>
                  </a:lnTo>
                  <a:lnTo>
                    <a:pt x="377" y="120"/>
                  </a:lnTo>
                  <a:lnTo>
                    <a:pt x="379" y="135"/>
                  </a:lnTo>
                  <a:lnTo>
                    <a:pt x="382" y="151"/>
                  </a:lnTo>
                  <a:lnTo>
                    <a:pt x="388" y="167"/>
                  </a:lnTo>
                  <a:lnTo>
                    <a:pt x="391" y="183"/>
                  </a:lnTo>
                  <a:lnTo>
                    <a:pt x="388" y="198"/>
                  </a:lnTo>
                  <a:lnTo>
                    <a:pt x="383" y="210"/>
                  </a:lnTo>
                  <a:lnTo>
                    <a:pt x="376" y="211"/>
                  </a:lnTo>
                  <a:lnTo>
                    <a:pt x="370" y="198"/>
                  </a:lnTo>
                  <a:lnTo>
                    <a:pt x="366" y="183"/>
                  </a:lnTo>
                  <a:lnTo>
                    <a:pt x="356" y="184"/>
                  </a:lnTo>
                  <a:lnTo>
                    <a:pt x="353" y="206"/>
                  </a:lnTo>
                  <a:lnTo>
                    <a:pt x="353" y="222"/>
                  </a:lnTo>
                  <a:lnTo>
                    <a:pt x="360" y="235"/>
                  </a:lnTo>
                  <a:lnTo>
                    <a:pt x="360" y="251"/>
                  </a:lnTo>
                  <a:lnTo>
                    <a:pt x="355" y="262"/>
                  </a:lnTo>
                  <a:lnTo>
                    <a:pt x="349" y="268"/>
                  </a:lnTo>
                  <a:lnTo>
                    <a:pt x="342" y="283"/>
                  </a:lnTo>
                  <a:lnTo>
                    <a:pt x="339" y="300"/>
                  </a:lnTo>
                  <a:lnTo>
                    <a:pt x="339" y="315"/>
                  </a:lnTo>
                  <a:lnTo>
                    <a:pt x="329" y="366"/>
                  </a:lnTo>
                  <a:lnTo>
                    <a:pt x="318" y="397"/>
                  </a:lnTo>
                  <a:lnTo>
                    <a:pt x="317" y="397"/>
                  </a:lnTo>
                  <a:lnTo>
                    <a:pt x="316" y="405"/>
                  </a:lnTo>
                  <a:lnTo>
                    <a:pt x="300" y="459"/>
                  </a:lnTo>
                  <a:lnTo>
                    <a:pt x="288" y="488"/>
                  </a:lnTo>
                  <a:lnTo>
                    <a:pt x="283" y="511"/>
                  </a:lnTo>
                  <a:lnTo>
                    <a:pt x="273" y="549"/>
                  </a:lnTo>
                  <a:lnTo>
                    <a:pt x="266" y="566"/>
                  </a:lnTo>
                  <a:lnTo>
                    <a:pt x="254" y="606"/>
                  </a:lnTo>
                  <a:lnTo>
                    <a:pt x="248" y="635"/>
                  </a:lnTo>
                  <a:lnTo>
                    <a:pt x="243" y="651"/>
                  </a:lnTo>
                  <a:lnTo>
                    <a:pt x="236" y="684"/>
                  </a:lnTo>
                  <a:lnTo>
                    <a:pt x="227" y="700"/>
                  </a:lnTo>
                  <a:lnTo>
                    <a:pt x="223" y="715"/>
                  </a:lnTo>
                  <a:lnTo>
                    <a:pt x="210" y="736"/>
                  </a:lnTo>
                  <a:lnTo>
                    <a:pt x="200" y="744"/>
                  </a:lnTo>
                  <a:lnTo>
                    <a:pt x="192" y="749"/>
                  </a:lnTo>
                  <a:lnTo>
                    <a:pt x="183" y="748"/>
                  </a:lnTo>
                  <a:lnTo>
                    <a:pt x="151" y="755"/>
                  </a:lnTo>
                  <a:lnTo>
                    <a:pt x="119" y="774"/>
                  </a:lnTo>
                  <a:lnTo>
                    <a:pt x="106" y="776"/>
                  </a:lnTo>
                  <a:lnTo>
                    <a:pt x="86" y="762"/>
                  </a:lnTo>
                  <a:lnTo>
                    <a:pt x="71" y="753"/>
                  </a:lnTo>
                  <a:lnTo>
                    <a:pt x="59" y="746"/>
                  </a:lnTo>
                  <a:lnTo>
                    <a:pt x="47" y="736"/>
                  </a:lnTo>
                  <a:lnTo>
                    <a:pt x="32" y="714"/>
                  </a:lnTo>
                  <a:lnTo>
                    <a:pt x="27" y="697"/>
                  </a:lnTo>
                  <a:lnTo>
                    <a:pt x="24" y="678"/>
                  </a:lnTo>
                  <a:lnTo>
                    <a:pt x="24" y="663"/>
                  </a:lnTo>
                  <a:lnTo>
                    <a:pt x="28" y="654"/>
                  </a:lnTo>
                  <a:lnTo>
                    <a:pt x="24" y="638"/>
                  </a:lnTo>
                  <a:lnTo>
                    <a:pt x="17" y="624"/>
                  </a:lnTo>
                  <a:lnTo>
                    <a:pt x="9" y="615"/>
                  </a:lnTo>
                  <a:lnTo>
                    <a:pt x="1" y="601"/>
                  </a:lnTo>
                  <a:lnTo>
                    <a:pt x="1" y="586"/>
                  </a:lnTo>
                  <a:lnTo>
                    <a:pt x="0" y="574"/>
                  </a:lnTo>
                  <a:lnTo>
                    <a:pt x="0" y="555"/>
                  </a:lnTo>
                  <a:lnTo>
                    <a:pt x="8" y="543"/>
                  </a:lnTo>
                  <a:lnTo>
                    <a:pt x="15" y="527"/>
                  </a:lnTo>
                  <a:lnTo>
                    <a:pt x="21" y="518"/>
                  </a:lnTo>
                  <a:lnTo>
                    <a:pt x="30" y="516"/>
                  </a:lnTo>
                  <a:lnTo>
                    <a:pt x="38" y="489"/>
                  </a:lnTo>
                  <a:lnTo>
                    <a:pt x="55" y="457"/>
                  </a:lnTo>
                  <a:lnTo>
                    <a:pt x="65" y="446"/>
                  </a:lnTo>
                  <a:lnTo>
                    <a:pt x="69" y="435"/>
                  </a:lnTo>
                  <a:lnTo>
                    <a:pt x="68" y="425"/>
                  </a:lnTo>
                  <a:lnTo>
                    <a:pt x="71" y="419"/>
                  </a:lnTo>
                  <a:lnTo>
                    <a:pt x="69" y="409"/>
                  </a:lnTo>
                  <a:lnTo>
                    <a:pt x="60" y="396"/>
                  </a:lnTo>
                  <a:lnTo>
                    <a:pt x="54" y="376"/>
                  </a:lnTo>
                  <a:lnTo>
                    <a:pt x="48" y="348"/>
                  </a:lnTo>
                  <a:lnTo>
                    <a:pt x="47" y="318"/>
                  </a:lnTo>
                  <a:lnTo>
                    <a:pt x="37" y="302"/>
                  </a:lnTo>
                  <a:lnTo>
                    <a:pt x="51" y="280"/>
                  </a:lnTo>
                  <a:lnTo>
                    <a:pt x="65" y="247"/>
                  </a:lnTo>
                  <a:lnTo>
                    <a:pt x="64" y="23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7" name="Freeform 28">
              <a:extLst>
                <a:ext uri="{FF2B5EF4-FFF2-40B4-BE49-F238E27FC236}">
                  <a16:creationId xmlns:a16="http://schemas.microsoft.com/office/drawing/2014/main" id="{D1A18B43-3CC1-9B3E-3003-B15B763F992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564114" y="5263147"/>
              <a:ext cx="67155" cy="73163"/>
            </a:xfrm>
            <a:custGeom>
              <a:avLst/>
              <a:gdLst>
                <a:gd name="T0" fmla="*/ 2147483647 w 127"/>
                <a:gd name="T1" fmla="*/ 0 h 131"/>
                <a:gd name="T2" fmla="*/ 2147483647 w 127"/>
                <a:gd name="T3" fmla="*/ 0 h 131"/>
                <a:gd name="T4" fmla="*/ 2147483647 w 127"/>
                <a:gd name="T5" fmla="*/ 0 h 131"/>
                <a:gd name="T6" fmla="*/ 2147483647 w 127"/>
                <a:gd name="T7" fmla="*/ 2147483647 h 131"/>
                <a:gd name="T8" fmla="*/ 2147483647 w 127"/>
                <a:gd name="T9" fmla="*/ 2147483647 h 131"/>
                <a:gd name="T10" fmla="*/ 2147483647 w 127"/>
                <a:gd name="T11" fmla="*/ 2147483647 h 131"/>
                <a:gd name="T12" fmla="*/ 0 w 127"/>
                <a:gd name="T13" fmla="*/ 2147483647 h 131"/>
                <a:gd name="T14" fmla="*/ 0 w 127"/>
                <a:gd name="T15" fmla="*/ 2147483647 h 131"/>
                <a:gd name="T16" fmla="*/ 0 w 127"/>
                <a:gd name="T17" fmla="*/ 2147483647 h 131"/>
                <a:gd name="T18" fmla="*/ 0 w 127"/>
                <a:gd name="T19" fmla="*/ 2147483647 h 131"/>
                <a:gd name="T20" fmla="*/ 0 w 127"/>
                <a:gd name="T21" fmla="*/ 2147483647 h 131"/>
                <a:gd name="T22" fmla="*/ 0 w 127"/>
                <a:gd name="T23" fmla="*/ 0 h 131"/>
                <a:gd name="T24" fmla="*/ 0 w 127"/>
                <a:gd name="T25" fmla="*/ 0 h 131"/>
                <a:gd name="T26" fmla="*/ 0 w 127"/>
                <a:gd name="T27" fmla="*/ 0 h 131"/>
                <a:gd name="T28" fmla="*/ 0 w 127"/>
                <a:gd name="T29" fmla="*/ 0 h 131"/>
                <a:gd name="T30" fmla="*/ 2147483647 w 127"/>
                <a:gd name="T31" fmla="*/ 0 h 131"/>
                <a:gd name="T32" fmla="*/ 2147483647 w 127"/>
                <a:gd name="T33" fmla="*/ 0 h 131"/>
                <a:gd name="T34" fmla="*/ 2147483647 w 127"/>
                <a:gd name="T35" fmla="*/ 0 h 131"/>
                <a:gd name="T36" fmla="*/ 2147483647 w 127"/>
                <a:gd name="T37" fmla="*/ 0 h 131"/>
                <a:gd name="T38" fmla="*/ 2147483647 w 127"/>
                <a:gd name="T39" fmla="*/ 0 h 131"/>
                <a:gd name="T40" fmla="*/ 2147483647 w 127"/>
                <a:gd name="T41" fmla="*/ 0 h 131"/>
                <a:gd name="T42" fmla="*/ 2147483647 w 127"/>
                <a:gd name="T43" fmla="*/ 0 h 13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27"/>
                <a:gd name="T67" fmla="*/ 0 h 131"/>
                <a:gd name="T68" fmla="*/ 127 w 127"/>
                <a:gd name="T69" fmla="*/ 131 h 131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27" h="131">
                  <a:moveTo>
                    <a:pt x="125" y="52"/>
                  </a:moveTo>
                  <a:lnTo>
                    <a:pt x="127" y="49"/>
                  </a:lnTo>
                  <a:lnTo>
                    <a:pt x="126" y="58"/>
                  </a:lnTo>
                  <a:lnTo>
                    <a:pt x="103" y="98"/>
                  </a:lnTo>
                  <a:lnTo>
                    <a:pt x="73" y="109"/>
                  </a:lnTo>
                  <a:lnTo>
                    <a:pt x="63" y="125"/>
                  </a:lnTo>
                  <a:lnTo>
                    <a:pt x="55" y="129"/>
                  </a:lnTo>
                  <a:lnTo>
                    <a:pt x="43" y="131"/>
                  </a:lnTo>
                  <a:lnTo>
                    <a:pt x="23" y="113"/>
                  </a:lnTo>
                  <a:lnTo>
                    <a:pt x="11" y="100"/>
                  </a:lnTo>
                  <a:lnTo>
                    <a:pt x="5" y="88"/>
                  </a:lnTo>
                  <a:lnTo>
                    <a:pt x="0" y="74"/>
                  </a:lnTo>
                  <a:lnTo>
                    <a:pt x="2" y="61"/>
                  </a:lnTo>
                  <a:lnTo>
                    <a:pt x="28" y="27"/>
                  </a:lnTo>
                  <a:lnTo>
                    <a:pt x="40" y="16"/>
                  </a:lnTo>
                  <a:lnTo>
                    <a:pt x="68" y="1"/>
                  </a:lnTo>
                  <a:lnTo>
                    <a:pt x="83" y="0"/>
                  </a:lnTo>
                  <a:lnTo>
                    <a:pt x="95" y="6"/>
                  </a:lnTo>
                  <a:lnTo>
                    <a:pt x="105" y="18"/>
                  </a:lnTo>
                  <a:lnTo>
                    <a:pt x="113" y="29"/>
                  </a:lnTo>
                  <a:lnTo>
                    <a:pt x="121" y="42"/>
                  </a:lnTo>
                  <a:lnTo>
                    <a:pt x="125" y="5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78DB743-278C-AD06-8A23-C6E68EAB7D8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508897" y="4830269"/>
              <a:ext cx="225344" cy="230157"/>
            </a:xfrm>
            <a:custGeom>
              <a:avLst/>
              <a:gdLst>
                <a:gd name="T0" fmla="*/ 2147483647 w 428"/>
                <a:gd name="T1" fmla="*/ 0 h 405"/>
                <a:gd name="T2" fmla="*/ 2147483647 w 428"/>
                <a:gd name="T3" fmla="*/ 0 h 405"/>
                <a:gd name="T4" fmla="*/ 2147483647 w 428"/>
                <a:gd name="T5" fmla="*/ 0 h 405"/>
                <a:gd name="T6" fmla="*/ 2147483647 w 428"/>
                <a:gd name="T7" fmla="*/ 0 h 405"/>
                <a:gd name="T8" fmla="*/ 2147483647 w 428"/>
                <a:gd name="T9" fmla="*/ 0 h 405"/>
                <a:gd name="T10" fmla="*/ 2147483647 w 428"/>
                <a:gd name="T11" fmla="*/ 0 h 405"/>
                <a:gd name="T12" fmla="*/ 2147483647 w 428"/>
                <a:gd name="T13" fmla="*/ 0 h 405"/>
                <a:gd name="T14" fmla="*/ 2147483647 w 428"/>
                <a:gd name="T15" fmla="*/ 2147483647 h 405"/>
                <a:gd name="T16" fmla="*/ 2147483647 w 428"/>
                <a:gd name="T17" fmla="*/ 2147483647 h 405"/>
                <a:gd name="T18" fmla="*/ 2147483647 w 428"/>
                <a:gd name="T19" fmla="*/ 2147483647 h 405"/>
                <a:gd name="T20" fmla="*/ 2147483647 w 428"/>
                <a:gd name="T21" fmla="*/ 2147483647 h 405"/>
                <a:gd name="T22" fmla="*/ 2147483647 w 428"/>
                <a:gd name="T23" fmla="*/ 2147483647 h 405"/>
                <a:gd name="T24" fmla="*/ 2147483647 w 428"/>
                <a:gd name="T25" fmla="*/ 2147483647 h 405"/>
                <a:gd name="T26" fmla="*/ 2147483647 w 428"/>
                <a:gd name="T27" fmla="*/ 2147483647 h 405"/>
                <a:gd name="T28" fmla="*/ 2147483647 w 428"/>
                <a:gd name="T29" fmla="*/ 2147483647 h 405"/>
                <a:gd name="T30" fmla="*/ 2147483647 w 428"/>
                <a:gd name="T31" fmla="*/ 2147483647 h 405"/>
                <a:gd name="T32" fmla="*/ 2147483647 w 428"/>
                <a:gd name="T33" fmla="*/ 2147483647 h 405"/>
                <a:gd name="T34" fmla="*/ 2147483647 w 428"/>
                <a:gd name="T35" fmla="*/ 2147483647 h 405"/>
                <a:gd name="T36" fmla="*/ 2147483647 w 428"/>
                <a:gd name="T37" fmla="*/ 2147483647 h 405"/>
                <a:gd name="T38" fmla="*/ 2147483647 w 428"/>
                <a:gd name="T39" fmla="*/ 2147483647 h 405"/>
                <a:gd name="T40" fmla="*/ 0 w 428"/>
                <a:gd name="T41" fmla="*/ 2147483647 h 405"/>
                <a:gd name="T42" fmla="*/ 0 w 428"/>
                <a:gd name="T43" fmla="*/ 2147483647 h 405"/>
                <a:gd name="T44" fmla="*/ 0 w 428"/>
                <a:gd name="T45" fmla="*/ 2147483647 h 405"/>
                <a:gd name="T46" fmla="*/ 0 w 428"/>
                <a:gd name="T47" fmla="*/ 2147483647 h 405"/>
                <a:gd name="T48" fmla="*/ 0 w 428"/>
                <a:gd name="T49" fmla="*/ 2147483647 h 405"/>
                <a:gd name="T50" fmla="*/ 0 w 428"/>
                <a:gd name="T51" fmla="*/ 2147483647 h 405"/>
                <a:gd name="T52" fmla="*/ 2147483647 w 428"/>
                <a:gd name="T53" fmla="*/ 2147483647 h 405"/>
                <a:gd name="T54" fmla="*/ 2147483647 w 428"/>
                <a:gd name="T55" fmla="*/ 2147483647 h 405"/>
                <a:gd name="T56" fmla="*/ 2147483647 w 428"/>
                <a:gd name="T57" fmla="*/ 2147483647 h 405"/>
                <a:gd name="T58" fmla="*/ 2147483647 w 428"/>
                <a:gd name="T59" fmla="*/ 2147483647 h 405"/>
                <a:gd name="T60" fmla="*/ 2147483647 w 428"/>
                <a:gd name="T61" fmla="*/ 2147483647 h 405"/>
                <a:gd name="T62" fmla="*/ 2147483647 w 428"/>
                <a:gd name="T63" fmla="*/ 2147483647 h 405"/>
                <a:gd name="T64" fmla="*/ 2147483647 w 428"/>
                <a:gd name="T65" fmla="*/ 2147483647 h 405"/>
                <a:gd name="T66" fmla="*/ 2147483647 w 428"/>
                <a:gd name="T67" fmla="*/ 2147483647 h 405"/>
                <a:gd name="T68" fmla="*/ 2147483647 w 428"/>
                <a:gd name="T69" fmla="*/ 2147483647 h 405"/>
                <a:gd name="T70" fmla="*/ 2147483647 w 428"/>
                <a:gd name="T71" fmla="*/ 2147483647 h 405"/>
                <a:gd name="T72" fmla="*/ 2147483647 w 428"/>
                <a:gd name="T73" fmla="*/ 2147483647 h 405"/>
                <a:gd name="T74" fmla="*/ 2147483647 w 428"/>
                <a:gd name="T75" fmla="*/ 2147483647 h 405"/>
                <a:gd name="T76" fmla="*/ 2147483647 w 428"/>
                <a:gd name="T77" fmla="*/ 2147483647 h 405"/>
                <a:gd name="T78" fmla="*/ 2147483647 w 428"/>
                <a:gd name="T79" fmla="*/ 2147483647 h 405"/>
                <a:gd name="T80" fmla="*/ 2147483647 w 428"/>
                <a:gd name="T81" fmla="*/ 2147483647 h 405"/>
                <a:gd name="T82" fmla="*/ 2147483647 w 428"/>
                <a:gd name="T83" fmla="*/ 2147483647 h 405"/>
                <a:gd name="T84" fmla="*/ 2147483647 w 428"/>
                <a:gd name="T85" fmla="*/ 2147483647 h 405"/>
                <a:gd name="T86" fmla="*/ 2147483647 w 428"/>
                <a:gd name="T87" fmla="*/ 2147483647 h 405"/>
                <a:gd name="T88" fmla="*/ 2147483647 w 428"/>
                <a:gd name="T89" fmla="*/ 2147483647 h 405"/>
                <a:gd name="T90" fmla="*/ 2147483647 w 428"/>
                <a:gd name="T91" fmla="*/ 2147483647 h 405"/>
                <a:gd name="T92" fmla="*/ 2147483647 w 428"/>
                <a:gd name="T93" fmla="*/ 2147483647 h 405"/>
                <a:gd name="T94" fmla="*/ 2147483647 w 428"/>
                <a:gd name="T95" fmla="*/ 2147483647 h 405"/>
                <a:gd name="T96" fmla="*/ 2147483647 w 428"/>
                <a:gd name="T97" fmla="*/ 0 h 405"/>
                <a:gd name="T98" fmla="*/ 2147483647 w 428"/>
                <a:gd name="T99" fmla="*/ 0 h 405"/>
                <a:gd name="T100" fmla="*/ 2147483647 w 428"/>
                <a:gd name="T101" fmla="*/ 0 h 405"/>
                <a:gd name="T102" fmla="*/ 2147483647 w 428"/>
                <a:gd name="T103" fmla="*/ 0 h 405"/>
                <a:gd name="T104" fmla="*/ 2147483647 w 428"/>
                <a:gd name="T105" fmla="*/ 0 h 405"/>
                <a:gd name="T106" fmla="*/ 2147483647 w 428"/>
                <a:gd name="T107" fmla="*/ 0 h 405"/>
                <a:gd name="T108" fmla="*/ 2147483647 w 428"/>
                <a:gd name="T109" fmla="*/ 0 h 405"/>
                <a:gd name="T110" fmla="*/ 2147483647 w 428"/>
                <a:gd name="T111" fmla="*/ 0 h 405"/>
                <a:gd name="T112" fmla="*/ 2147483647 w 428"/>
                <a:gd name="T113" fmla="*/ 0 h 405"/>
                <a:gd name="T114" fmla="*/ 2147483647 w 428"/>
                <a:gd name="T115" fmla="*/ 0 h 405"/>
                <a:gd name="T116" fmla="*/ 2147483647 w 428"/>
                <a:gd name="T117" fmla="*/ 0 h 405"/>
                <a:gd name="T118" fmla="*/ 2147483647 w 428"/>
                <a:gd name="T119" fmla="*/ 0 h 405"/>
                <a:gd name="T120" fmla="*/ 2147483647 w 428"/>
                <a:gd name="T121" fmla="*/ 0 h 405"/>
                <a:gd name="T122" fmla="*/ 2147483647 w 428"/>
                <a:gd name="T123" fmla="*/ 0 h 4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428"/>
                <a:gd name="T187" fmla="*/ 0 h 405"/>
                <a:gd name="T188" fmla="*/ 428 w 428"/>
                <a:gd name="T189" fmla="*/ 405 h 40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428" h="405">
                  <a:moveTo>
                    <a:pt x="190" y="54"/>
                  </a:moveTo>
                  <a:lnTo>
                    <a:pt x="202" y="60"/>
                  </a:lnTo>
                  <a:lnTo>
                    <a:pt x="202" y="64"/>
                  </a:lnTo>
                  <a:lnTo>
                    <a:pt x="198" y="66"/>
                  </a:lnTo>
                  <a:lnTo>
                    <a:pt x="195" y="70"/>
                  </a:lnTo>
                  <a:lnTo>
                    <a:pt x="193" y="70"/>
                  </a:lnTo>
                  <a:lnTo>
                    <a:pt x="184" y="66"/>
                  </a:lnTo>
                  <a:lnTo>
                    <a:pt x="179" y="66"/>
                  </a:lnTo>
                  <a:lnTo>
                    <a:pt x="177" y="67"/>
                  </a:lnTo>
                  <a:lnTo>
                    <a:pt x="175" y="71"/>
                  </a:lnTo>
                  <a:lnTo>
                    <a:pt x="172" y="72"/>
                  </a:lnTo>
                  <a:lnTo>
                    <a:pt x="169" y="70"/>
                  </a:lnTo>
                  <a:lnTo>
                    <a:pt x="167" y="70"/>
                  </a:lnTo>
                  <a:lnTo>
                    <a:pt x="164" y="72"/>
                  </a:lnTo>
                  <a:lnTo>
                    <a:pt x="159" y="75"/>
                  </a:lnTo>
                  <a:lnTo>
                    <a:pt x="156" y="78"/>
                  </a:lnTo>
                  <a:lnTo>
                    <a:pt x="155" y="81"/>
                  </a:lnTo>
                  <a:lnTo>
                    <a:pt x="156" y="83"/>
                  </a:lnTo>
                  <a:lnTo>
                    <a:pt x="155" y="84"/>
                  </a:lnTo>
                  <a:lnTo>
                    <a:pt x="153" y="86"/>
                  </a:lnTo>
                  <a:lnTo>
                    <a:pt x="151" y="83"/>
                  </a:lnTo>
                  <a:lnTo>
                    <a:pt x="143" y="87"/>
                  </a:lnTo>
                  <a:lnTo>
                    <a:pt x="140" y="91"/>
                  </a:lnTo>
                  <a:lnTo>
                    <a:pt x="140" y="93"/>
                  </a:lnTo>
                  <a:lnTo>
                    <a:pt x="135" y="96"/>
                  </a:lnTo>
                  <a:lnTo>
                    <a:pt x="130" y="100"/>
                  </a:lnTo>
                  <a:lnTo>
                    <a:pt x="126" y="107"/>
                  </a:lnTo>
                  <a:lnTo>
                    <a:pt x="121" y="110"/>
                  </a:lnTo>
                  <a:lnTo>
                    <a:pt x="121" y="113"/>
                  </a:lnTo>
                  <a:lnTo>
                    <a:pt x="115" y="115"/>
                  </a:lnTo>
                  <a:lnTo>
                    <a:pt x="110" y="123"/>
                  </a:lnTo>
                  <a:lnTo>
                    <a:pt x="103" y="129"/>
                  </a:lnTo>
                  <a:lnTo>
                    <a:pt x="98" y="127"/>
                  </a:lnTo>
                  <a:lnTo>
                    <a:pt x="92" y="135"/>
                  </a:lnTo>
                  <a:lnTo>
                    <a:pt x="87" y="135"/>
                  </a:lnTo>
                  <a:lnTo>
                    <a:pt x="80" y="138"/>
                  </a:lnTo>
                  <a:lnTo>
                    <a:pt x="75" y="137"/>
                  </a:lnTo>
                  <a:lnTo>
                    <a:pt x="73" y="132"/>
                  </a:lnTo>
                  <a:lnTo>
                    <a:pt x="69" y="130"/>
                  </a:lnTo>
                  <a:lnTo>
                    <a:pt x="61" y="131"/>
                  </a:lnTo>
                  <a:lnTo>
                    <a:pt x="56" y="130"/>
                  </a:lnTo>
                  <a:lnTo>
                    <a:pt x="39" y="132"/>
                  </a:lnTo>
                  <a:lnTo>
                    <a:pt x="26" y="127"/>
                  </a:lnTo>
                  <a:lnTo>
                    <a:pt x="7" y="129"/>
                  </a:lnTo>
                  <a:lnTo>
                    <a:pt x="2" y="129"/>
                  </a:lnTo>
                  <a:lnTo>
                    <a:pt x="0" y="125"/>
                  </a:lnTo>
                  <a:lnTo>
                    <a:pt x="0" y="134"/>
                  </a:lnTo>
                  <a:lnTo>
                    <a:pt x="3" y="140"/>
                  </a:lnTo>
                  <a:lnTo>
                    <a:pt x="16" y="162"/>
                  </a:lnTo>
                  <a:lnTo>
                    <a:pt x="27" y="172"/>
                  </a:lnTo>
                  <a:lnTo>
                    <a:pt x="28" y="183"/>
                  </a:lnTo>
                  <a:lnTo>
                    <a:pt x="35" y="197"/>
                  </a:lnTo>
                  <a:lnTo>
                    <a:pt x="48" y="216"/>
                  </a:lnTo>
                  <a:lnTo>
                    <a:pt x="77" y="247"/>
                  </a:lnTo>
                  <a:lnTo>
                    <a:pt x="94" y="250"/>
                  </a:lnTo>
                  <a:lnTo>
                    <a:pt x="107" y="260"/>
                  </a:lnTo>
                  <a:lnTo>
                    <a:pt x="116" y="274"/>
                  </a:lnTo>
                  <a:lnTo>
                    <a:pt x="129" y="279"/>
                  </a:lnTo>
                  <a:lnTo>
                    <a:pt x="140" y="287"/>
                  </a:lnTo>
                  <a:lnTo>
                    <a:pt x="140" y="308"/>
                  </a:lnTo>
                  <a:lnTo>
                    <a:pt x="143" y="328"/>
                  </a:lnTo>
                  <a:lnTo>
                    <a:pt x="150" y="341"/>
                  </a:lnTo>
                  <a:lnTo>
                    <a:pt x="158" y="350"/>
                  </a:lnTo>
                  <a:lnTo>
                    <a:pt x="167" y="355"/>
                  </a:lnTo>
                  <a:lnTo>
                    <a:pt x="180" y="357"/>
                  </a:lnTo>
                  <a:lnTo>
                    <a:pt x="193" y="357"/>
                  </a:lnTo>
                  <a:lnTo>
                    <a:pt x="206" y="363"/>
                  </a:lnTo>
                  <a:lnTo>
                    <a:pt x="216" y="367"/>
                  </a:lnTo>
                  <a:lnTo>
                    <a:pt x="227" y="376"/>
                  </a:lnTo>
                  <a:lnTo>
                    <a:pt x="239" y="371"/>
                  </a:lnTo>
                  <a:lnTo>
                    <a:pt x="248" y="373"/>
                  </a:lnTo>
                  <a:lnTo>
                    <a:pt x="271" y="380"/>
                  </a:lnTo>
                  <a:lnTo>
                    <a:pt x="283" y="383"/>
                  </a:lnTo>
                  <a:lnTo>
                    <a:pt x="296" y="380"/>
                  </a:lnTo>
                  <a:lnTo>
                    <a:pt x="308" y="382"/>
                  </a:lnTo>
                  <a:lnTo>
                    <a:pt x="329" y="388"/>
                  </a:lnTo>
                  <a:lnTo>
                    <a:pt x="344" y="403"/>
                  </a:lnTo>
                  <a:lnTo>
                    <a:pt x="349" y="404"/>
                  </a:lnTo>
                  <a:lnTo>
                    <a:pt x="350" y="405"/>
                  </a:lnTo>
                  <a:lnTo>
                    <a:pt x="351" y="404"/>
                  </a:lnTo>
                  <a:lnTo>
                    <a:pt x="351" y="389"/>
                  </a:lnTo>
                  <a:lnTo>
                    <a:pt x="355" y="377"/>
                  </a:lnTo>
                  <a:lnTo>
                    <a:pt x="361" y="367"/>
                  </a:lnTo>
                  <a:lnTo>
                    <a:pt x="372" y="360"/>
                  </a:lnTo>
                  <a:lnTo>
                    <a:pt x="379" y="352"/>
                  </a:lnTo>
                  <a:lnTo>
                    <a:pt x="398" y="318"/>
                  </a:lnTo>
                  <a:lnTo>
                    <a:pt x="405" y="287"/>
                  </a:lnTo>
                  <a:lnTo>
                    <a:pt x="422" y="251"/>
                  </a:lnTo>
                  <a:lnTo>
                    <a:pt x="419" y="224"/>
                  </a:lnTo>
                  <a:lnTo>
                    <a:pt x="414" y="211"/>
                  </a:lnTo>
                  <a:lnTo>
                    <a:pt x="412" y="194"/>
                  </a:lnTo>
                  <a:lnTo>
                    <a:pt x="422" y="175"/>
                  </a:lnTo>
                  <a:lnTo>
                    <a:pt x="424" y="167"/>
                  </a:lnTo>
                  <a:lnTo>
                    <a:pt x="428" y="151"/>
                  </a:lnTo>
                  <a:lnTo>
                    <a:pt x="427" y="140"/>
                  </a:lnTo>
                  <a:lnTo>
                    <a:pt x="428" y="105"/>
                  </a:lnTo>
                  <a:lnTo>
                    <a:pt x="424" y="83"/>
                  </a:lnTo>
                  <a:lnTo>
                    <a:pt x="420" y="73"/>
                  </a:lnTo>
                  <a:lnTo>
                    <a:pt x="419" y="60"/>
                  </a:lnTo>
                  <a:lnTo>
                    <a:pt x="410" y="50"/>
                  </a:lnTo>
                  <a:lnTo>
                    <a:pt x="379" y="39"/>
                  </a:lnTo>
                  <a:lnTo>
                    <a:pt x="351" y="27"/>
                  </a:lnTo>
                  <a:lnTo>
                    <a:pt x="336" y="23"/>
                  </a:lnTo>
                  <a:lnTo>
                    <a:pt x="322" y="19"/>
                  </a:lnTo>
                  <a:lnTo>
                    <a:pt x="299" y="21"/>
                  </a:lnTo>
                  <a:lnTo>
                    <a:pt x="281" y="19"/>
                  </a:lnTo>
                  <a:lnTo>
                    <a:pt x="281" y="0"/>
                  </a:lnTo>
                  <a:lnTo>
                    <a:pt x="280" y="2"/>
                  </a:lnTo>
                  <a:lnTo>
                    <a:pt x="272" y="1"/>
                  </a:lnTo>
                  <a:lnTo>
                    <a:pt x="264" y="3"/>
                  </a:lnTo>
                  <a:lnTo>
                    <a:pt x="258" y="2"/>
                  </a:lnTo>
                  <a:lnTo>
                    <a:pt x="252" y="0"/>
                  </a:lnTo>
                  <a:lnTo>
                    <a:pt x="248" y="0"/>
                  </a:lnTo>
                  <a:lnTo>
                    <a:pt x="236" y="6"/>
                  </a:lnTo>
                  <a:lnTo>
                    <a:pt x="220" y="7"/>
                  </a:lnTo>
                  <a:lnTo>
                    <a:pt x="213" y="11"/>
                  </a:lnTo>
                  <a:lnTo>
                    <a:pt x="206" y="18"/>
                  </a:lnTo>
                  <a:lnTo>
                    <a:pt x="200" y="18"/>
                  </a:lnTo>
                  <a:lnTo>
                    <a:pt x="194" y="21"/>
                  </a:lnTo>
                  <a:lnTo>
                    <a:pt x="193" y="28"/>
                  </a:lnTo>
                  <a:lnTo>
                    <a:pt x="193" y="37"/>
                  </a:lnTo>
                  <a:lnTo>
                    <a:pt x="194" y="41"/>
                  </a:lnTo>
                  <a:lnTo>
                    <a:pt x="193" y="45"/>
                  </a:lnTo>
                  <a:lnTo>
                    <a:pt x="191" y="50"/>
                  </a:lnTo>
                  <a:lnTo>
                    <a:pt x="190" y="5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2140B490-0D0C-9CBC-06A8-3FD686BAD3E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110442" y="4871424"/>
              <a:ext cx="392485" cy="411539"/>
            </a:xfrm>
            <a:custGeom>
              <a:avLst/>
              <a:gdLst>
                <a:gd name="T0" fmla="*/ 2147483647 w 734"/>
                <a:gd name="T1" fmla="*/ 0 h 722"/>
                <a:gd name="T2" fmla="*/ 2147483647 w 734"/>
                <a:gd name="T3" fmla="*/ 0 h 722"/>
                <a:gd name="T4" fmla="*/ 2147483647 w 734"/>
                <a:gd name="T5" fmla="*/ 0 h 722"/>
                <a:gd name="T6" fmla="*/ 2147483647 w 734"/>
                <a:gd name="T7" fmla="*/ 0 h 722"/>
                <a:gd name="T8" fmla="*/ 0 w 734"/>
                <a:gd name="T9" fmla="*/ 0 h 722"/>
                <a:gd name="T10" fmla="*/ 0 w 734"/>
                <a:gd name="T11" fmla="*/ 0 h 722"/>
                <a:gd name="T12" fmla="*/ 0 w 734"/>
                <a:gd name="T13" fmla="*/ 0 h 722"/>
                <a:gd name="T14" fmla="*/ 0 w 734"/>
                <a:gd name="T15" fmla="*/ 2147483647 h 722"/>
                <a:gd name="T16" fmla="*/ 0 w 734"/>
                <a:gd name="T17" fmla="*/ 2147483647 h 722"/>
                <a:gd name="T18" fmla="*/ 0 w 734"/>
                <a:gd name="T19" fmla="*/ 2147483647 h 722"/>
                <a:gd name="T20" fmla="*/ 2147483647 w 734"/>
                <a:gd name="T21" fmla="*/ 2147483647 h 722"/>
                <a:gd name="T22" fmla="*/ 2147483647 w 734"/>
                <a:gd name="T23" fmla="*/ 2147483647 h 722"/>
                <a:gd name="T24" fmla="*/ 2147483647 w 734"/>
                <a:gd name="T25" fmla="*/ 2147483647 h 722"/>
                <a:gd name="T26" fmla="*/ 2147483647 w 734"/>
                <a:gd name="T27" fmla="*/ 2147483647 h 722"/>
                <a:gd name="T28" fmla="*/ 2147483647 w 734"/>
                <a:gd name="T29" fmla="*/ 2147483647 h 722"/>
                <a:gd name="T30" fmla="*/ 2147483647 w 734"/>
                <a:gd name="T31" fmla="*/ 2147483647 h 722"/>
                <a:gd name="T32" fmla="*/ 2147483647 w 734"/>
                <a:gd name="T33" fmla="*/ 2147483647 h 722"/>
                <a:gd name="T34" fmla="*/ 2147483647 w 734"/>
                <a:gd name="T35" fmla="*/ 2147483647 h 722"/>
                <a:gd name="T36" fmla="*/ 2147483647 w 734"/>
                <a:gd name="T37" fmla="*/ 2147483647 h 722"/>
                <a:gd name="T38" fmla="*/ 2147483647 w 734"/>
                <a:gd name="T39" fmla="*/ 2147483647 h 722"/>
                <a:gd name="T40" fmla="*/ 2147483647 w 734"/>
                <a:gd name="T41" fmla="*/ 2147483647 h 722"/>
                <a:gd name="T42" fmla="*/ 2147483647 w 734"/>
                <a:gd name="T43" fmla="*/ 2147483647 h 722"/>
                <a:gd name="T44" fmla="*/ 2147483647 w 734"/>
                <a:gd name="T45" fmla="*/ 2147483647 h 722"/>
                <a:gd name="T46" fmla="*/ 2147483647 w 734"/>
                <a:gd name="T47" fmla="*/ 2147483647 h 722"/>
                <a:gd name="T48" fmla="*/ 2147483647 w 734"/>
                <a:gd name="T49" fmla="*/ 2147483647 h 722"/>
                <a:gd name="T50" fmla="*/ 2147483647 w 734"/>
                <a:gd name="T51" fmla="*/ 2147483647 h 722"/>
                <a:gd name="T52" fmla="*/ 2147483647 w 734"/>
                <a:gd name="T53" fmla="*/ 2147483647 h 722"/>
                <a:gd name="T54" fmla="*/ 2147483647 w 734"/>
                <a:gd name="T55" fmla="*/ 2147483647 h 722"/>
                <a:gd name="T56" fmla="*/ 2147483647 w 734"/>
                <a:gd name="T57" fmla="*/ 2147483647 h 722"/>
                <a:gd name="T58" fmla="*/ 2147483647 w 734"/>
                <a:gd name="T59" fmla="*/ 2147483647 h 722"/>
                <a:gd name="T60" fmla="*/ 2147483647 w 734"/>
                <a:gd name="T61" fmla="*/ 2147483647 h 722"/>
                <a:gd name="T62" fmla="*/ 2147483647 w 734"/>
                <a:gd name="T63" fmla="*/ 2147483647 h 722"/>
                <a:gd name="T64" fmla="*/ 2147483647 w 734"/>
                <a:gd name="T65" fmla="*/ 2147483647 h 722"/>
                <a:gd name="T66" fmla="*/ 2147483647 w 734"/>
                <a:gd name="T67" fmla="*/ 2147483647 h 722"/>
                <a:gd name="T68" fmla="*/ 2147483647 w 734"/>
                <a:gd name="T69" fmla="*/ 0 h 722"/>
                <a:gd name="T70" fmla="*/ 2147483647 w 734"/>
                <a:gd name="T71" fmla="*/ 2147483647 h 722"/>
                <a:gd name="T72" fmla="*/ 2147483647 w 734"/>
                <a:gd name="T73" fmla="*/ 2147483647 h 722"/>
                <a:gd name="T74" fmla="*/ 2147483647 w 734"/>
                <a:gd name="T75" fmla="*/ 0 h 722"/>
                <a:gd name="T76" fmla="*/ 2147483647 w 734"/>
                <a:gd name="T77" fmla="*/ 0 h 722"/>
                <a:gd name="T78" fmla="*/ 2147483647 w 734"/>
                <a:gd name="T79" fmla="*/ 0 h 722"/>
                <a:gd name="T80" fmla="*/ 2147483647 w 734"/>
                <a:gd name="T81" fmla="*/ 0 h 722"/>
                <a:gd name="T82" fmla="*/ 2147483647 w 734"/>
                <a:gd name="T83" fmla="*/ 0 h 722"/>
                <a:gd name="T84" fmla="*/ 2147483647 w 734"/>
                <a:gd name="T85" fmla="*/ 0 h 722"/>
                <a:gd name="T86" fmla="*/ 2147483647 w 734"/>
                <a:gd name="T87" fmla="*/ 0 h 722"/>
                <a:gd name="T88" fmla="*/ 2147483647 w 734"/>
                <a:gd name="T89" fmla="*/ 0 h 722"/>
                <a:gd name="T90" fmla="*/ 2147483647 w 734"/>
                <a:gd name="T91" fmla="*/ 0 h 72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34"/>
                <a:gd name="T139" fmla="*/ 0 h 722"/>
                <a:gd name="T140" fmla="*/ 734 w 734"/>
                <a:gd name="T141" fmla="*/ 722 h 72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34" h="722">
                  <a:moveTo>
                    <a:pt x="346" y="26"/>
                  </a:moveTo>
                  <a:lnTo>
                    <a:pt x="299" y="26"/>
                  </a:lnTo>
                  <a:lnTo>
                    <a:pt x="252" y="26"/>
                  </a:lnTo>
                  <a:lnTo>
                    <a:pt x="198" y="26"/>
                  </a:lnTo>
                  <a:lnTo>
                    <a:pt x="148" y="26"/>
                  </a:lnTo>
                  <a:lnTo>
                    <a:pt x="130" y="26"/>
                  </a:lnTo>
                  <a:lnTo>
                    <a:pt x="123" y="28"/>
                  </a:lnTo>
                  <a:lnTo>
                    <a:pt x="109" y="15"/>
                  </a:lnTo>
                  <a:lnTo>
                    <a:pt x="96" y="10"/>
                  </a:lnTo>
                  <a:lnTo>
                    <a:pt x="91" y="1"/>
                  </a:lnTo>
                  <a:lnTo>
                    <a:pt x="81" y="0"/>
                  </a:lnTo>
                  <a:lnTo>
                    <a:pt x="59" y="0"/>
                  </a:lnTo>
                  <a:lnTo>
                    <a:pt x="49" y="4"/>
                  </a:lnTo>
                  <a:lnTo>
                    <a:pt x="39" y="14"/>
                  </a:lnTo>
                  <a:lnTo>
                    <a:pt x="33" y="17"/>
                  </a:lnTo>
                  <a:lnTo>
                    <a:pt x="23" y="11"/>
                  </a:lnTo>
                  <a:lnTo>
                    <a:pt x="12" y="20"/>
                  </a:lnTo>
                  <a:lnTo>
                    <a:pt x="1" y="26"/>
                  </a:lnTo>
                  <a:lnTo>
                    <a:pt x="0" y="49"/>
                  </a:lnTo>
                  <a:lnTo>
                    <a:pt x="0" y="55"/>
                  </a:lnTo>
                  <a:lnTo>
                    <a:pt x="3" y="64"/>
                  </a:lnTo>
                  <a:lnTo>
                    <a:pt x="3" y="74"/>
                  </a:lnTo>
                  <a:lnTo>
                    <a:pt x="12" y="92"/>
                  </a:lnTo>
                  <a:lnTo>
                    <a:pt x="17" y="100"/>
                  </a:lnTo>
                  <a:lnTo>
                    <a:pt x="19" y="102"/>
                  </a:lnTo>
                  <a:lnTo>
                    <a:pt x="28" y="108"/>
                  </a:lnTo>
                  <a:lnTo>
                    <a:pt x="34" y="117"/>
                  </a:lnTo>
                  <a:lnTo>
                    <a:pt x="38" y="127"/>
                  </a:lnTo>
                  <a:lnTo>
                    <a:pt x="44" y="134"/>
                  </a:lnTo>
                  <a:lnTo>
                    <a:pt x="46" y="139"/>
                  </a:lnTo>
                  <a:lnTo>
                    <a:pt x="55" y="150"/>
                  </a:lnTo>
                  <a:lnTo>
                    <a:pt x="56" y="157"/>
                  </a:lnTo>
                  <a:lnTo>
                    <a:pt x="62" y="168"/>
                  </a:lnTo>
                  <a:lnTo>
                    <a:pt x="65" y="176"/>
                  </a:lnTo>
                  <a:lnTo>
                    <a:pt x="81" y="202"/>
                  </a:lnTo>
                  <a:lnTo>
                    <a:pt x="82" y="209"/>
                  </a:lnTo>
                  <a:lnTo>
                    <a:pt x="86" y="215"/>
                  </a:lnTo>
                  <a:lnTo>
                    <a:pt x="88" y="224"/>
                  </a:lnTo>
                  <a:lnTo>
                    <a:pt x="96" y="238"/>
                  </a:lnTo>
                  <a:lnTo>
                    <a:pt x="110" y="263"/>
                  </a:lnTo>
                  <a:lnTo>
                    <a:pt x="116" y="273"/>
                  </a:lnTo>
                  <a:lnTo>
                    <a:pt x="118" y="278"/>
                  </a:lnTo>
                  <a:lnTo>
                    <a:pt x="121" y="288"/>
                  </a:lnTo>
                  <a:lnTo>
                    <a:pt x="141" y="312"/>
                  </a:lnTo>
                  <a:lnTo>
                    <a:pt x="150" y="331"/>
                  </a:lnTo>
                  <a:lnTo>
                    <a:pt x="151" y="334"/>
                  </a:lnTo>
                  <a:lnTo>
                    <a:pt x="152" y="350"/>
                  </a:lnTo>
                  <a:lnTo>
                    <a:pt x="151" y="369"/>
                  </a:lnTo>
                  <a:lnTo>
                    <a:pt x="152" y="406"/>
                  </a:lnTo>
                  <a:lnTo>
                    <a:pt x="151" y="424"/>
                  </a:lnTo>
                  <a:lnTo>
                    <a:pt x="153" y="435"/>
                  </a:lnTo>
                  <a:lnTo>
                    <a:pt x="157" y="445"/>
                  </a:lnTo>
                  <a:lnTo>
                    <a:pt x="162" y="458"/>
                  </a:lnTo>
                  <a:lnTo>
                    <a:pt x="172" y="477"/>
                  </a:lnTo>
                  <a:lnTo>
                    <a:pt x="173" y="484"/>
                  </a:lnTo>
                  <a:lnTo>
                    <a:pt x="171" y="498"/>
                  </a:lnTo>
                  <a:lnTo>
                    <a:pt x="172" y="521"/>
                  </a:lnTo>
                  <a:lnTo>
                    <a:pt x="174" y="531"/>
                  </a:lnTo>
                  <a:lnTo>
                    <a:pt x="182" y="546"/>
                  </a:lnTo>
                  <a:lnTo>
                    <a:pt x="179" y="555"/>
                  </a:lnTo>
                  <a:lnTo>
                    <a:pt x="182" y="559"/>
                  </a:lnTo>
                  <a:lnTo>
                    <a:pt x="185" y="569"/>
                  </a:lnTo>
                  <a:lnTo>
                    <a:pt x="188" y="589"/>
                  </a:lnTo>
                  <a:lnTo>
                    <a:pt x="191" y="600"/>
                  </a:lnTo>
                  <a:lnTo>
                    <a:pt x="194" y="622"/>
                  </a:lnTo>
                  <a:lnTo>
                    <a:pt x="214" y="646"/>
                  </a:lnTo>
                  <a:lnTo>
                    <a:pt x="222" y="665"/>
                  </a:lnTo>
                  <a:lnTo>
                    <a:pt x="233" y="676"/>
                  </a:lnTo>
                  <a:lnTo>
                    <a:pt x="243" y="683"/>
                  </a:lnTo>
                  <a:lnTo>
                    <a:pt x="256" y="698"/>
                  </a:lnTo>
                  <a:lnTo>
                    <a:pt x="261" y="698"/>
                  </a:lnTo>
                  <a:lnTo>
                    <a:pt x="264" y="700"/>
                  </a:lnTo>
                  <a:lnTo>
                    <a:pt x="269" y="699"/>
                  </a:lnTo>
                  <a:lnTo>
                    <a:pt x="272" y="697"/>
                  </a:lnTo>
                  <a:lnTo>
                    <a:pt x="279" y="689"/>
                  </a:lnTo>
                  <a:lnTo>
                    <a:pt x="285" y="678"/>
                  </a:lnTo>
                  <a:lnTo>
                    <a:pt x="297" y="677"/>
                  </a:lnTo>
                  <a:lnTo>
                    <a:pt x="323" y="695"/>
                  </a:lnTo>
                  <a:lnTo>
                    <a:pt x="323" y="708"/>
                  </a:lnTo>
                  <a:lnTo>
                    <a:pt x="334" y="720"/>
                  </a:lnTo>
                  <a:lnTo>
                    <a:pt x="350" y="722"/>
                  </a:lnTo>
                  <a:lnTo>
                    <a:pt x="365" y="717"/>
                  </a:lnTo>
                  <a:lnTo>
                    <a:pt x="384" y="717"/>
                  </a:lnTo>
                  <a:lnTo>
                    <a:pt x="393" y="720"/>
                  </a:lnTo>
                  <a:lnTo>
                    <a:pt x="405" y="720"/>
                  </a:lnTo>
                  <a:lnTo>
                    <a:pt x="421" y="705"/>
                  </a:lnTo>
                  <a:lnTo>
                    <a:pt x="435" y="695"/>
                  </a:lnTo>
                  <a:lnTo>
                    <a:pt x="446" y="693"/>
                  </a:lnTo>
                  <a:lnTo>
                    <a:pt x="452" y="689"/>
                  </a:lnTo>
                  <a:lnTo>
                    <a:pt x="452" y="633"/>
                  </a:lnTo>
                  <a:lnTo>
                    <a:pt x="452" y="574"/>
                  </a:lnTo>
                  <a:lnTo>
                    <a:pt x="452" y="515"/>
                  </a:lnTo>
                  <a:lnTo>
                    <a:pt x="452" y="460"/>
                  </a:lnTo>
                  <a:lnTo>
                    <a:pt x="452" y="407"/>
                  </a:lnTo>
                  <a:lnTo>
                    <a:pt x="452" y="349"/>
                  </a:lnTo>
                  <a:lnTo>
                    <a:pt x="452" y="295"/>
                  </a:lnTo>
                  <a:lnTo>
                    <a:pt x="507" y="295"/>
                  </a:lnTo>
                  <a:lnTo>
                    <a:pt x="507" y="257"/>
                  </a:lnTo>
                  <a:lnTo>
                    <a:pt x="507" y="200"/>
                  </a:lnTo>
                  <a:lnTo>
                    <a:pt x="507" y="144"/>
                  </a:lnTo>
                  <a:lnTo>
                    <a:pt x="507" y="91"/>
                  </a:lnTo>
                  <a:lnTo>
                    <a:pt x="512" y="86"/>
                  </a:lnTo>
                  <a:lnTo>
                    <a:pt x="592" y="71"/>
                  </a:lnTo>
                  <a:lnTo>
                    <a:pt x="609" y="68"/>
                  </a:lnTo>
                  <a:lnTo>
                    <a:pt x="615" y="68"/>
                  </a:lnTo>
                  <a:lnTo>
                    <a:pt x="632" y="69"/>
                  </a:lnTo>
                  <a:lnTo>
                    <a:pt x="643" y="73"/>
                  </a:lnTo>
                  <a:lnTo>
                    <a:pt x="650" y="85"/>
                  </a:lnTo>
                  <a:lnTo>
                    <a:pt x="653" y="100"/>
                  </a:lnTo>
                  <a:lnTo>
                    <a:pt x="659" y="92"/>
                  </a:lnTo>
                  <a:lnTo>
                    <a:pt x="668" y="81"/>
                  </a:lnTo>
                  <a:lnTo>
                    <a:pt x="684" y="69"/>
                  </a:lnTo>
                  <a:lnTo>
                    <a:pt x="711" y="63"/>
                  </a:lnTo>
                  <a:lnTo>
                    <a:pt x="716" y="57"/>
                  </a:lnTo>
                  <a:lnTo>
                    <a:pt x="723" y="52"/>
                  </a:lnTo>
                  <a:lnTo>
                    <a:pt x="734" y="51"/>
                  </a:lnTo>
                  <a:lnTo>
                    <a:pt x="727" y="38"/>
                  </a:lnTo>
                  <a:lnTo>
                    <a:pt x="723" y="35"/>
                  </a:lnTo>
                  <a:lnTo>
                    <a:pt x="709" y="32"/>
                  </a:lnTo>
                  <a:lnTo>
                    <a:pt x="688" y="32"/>
                  </a:lnTo>
                  <a:lnTo>
                    <a:pt x="685" y="28"/>
                  </a:lnTo>
                  <a:lnTo>
                    <a:pt x="642" y="39"/>
                  </a:lnTo>
                  <a:lnTo>
                    <a:pt x="635" y="41"/>
                  </a:lnTo>
                  <a:lnTo>
                    <a:pt x="632" y="43"/>
                  </a:lnTo>
                  <a:lnTo>
                    <a:pt x="621" y="46"/>
                  </a:lnTo>
                  <a:lnTo>
                    <a:pt x="546" y="65"/>
                  </a:lnTo>
                  <a:lnTo>
                    <a:pt x="538" y="66"/>
                  </a:lnTo>
                  <a:lnTo>
                    <a:pt x="534" y="64"/>
                  </a:lnTo>
                  <a:lnTo>
                    <a:pt x="522" y="63"/>
                  </a:lnTo>
                  <a:lnTo>
                    <a:pt x="510" y="59"/>
                  </a:lnTo>
                  <a:lnTo>
                    <a:pt x="494" y="58"/>
                  </a:lnTo>
                  <a:lnTo>
                    <a:pt x="460" y="51"/>
                  </a:lnTo>
                  <a:lnTo>
                    <a:pt x="433" y="51"/>
                  </a:lnTo>
                  <a:lnTo>
                    <a:pt x="414" y="53"/>
                  </a:lnTo>
                  <a:lnTo>
                    <a:pt x="405" y="53"/>
                  </a:lnTo>
                  <a:lnTo>
                    <a:pt x="388" y="47"/>
                  </a:lnTo>
                  <a:lnTo>
                    <a:pt x="382" y="37"/>
                  </a:lnTo>
                  <a:lnTo>
                    <a:pt x="366" y="26"/>
                  </a:lnTo>
                  <a:lnTo>
                    <a:pt x="346" y="2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0" name="Freeform 3">
              <a:extLst>
                <a:ext uri="{FF2B5EF4-FFF2-40B4-BE49-F238E27FC236}">
                  <a16:creationId xmlns:a16="http://schemas.microsoft.com/office/drawing/2014/main" id="{9E0973C6-B4F3-A15D-08BB-8F242ED1990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677663" y="3991950"/>
              <a:ext cx="131326" cy="205770"/>
            </a:xfrm>
            <a:custGeom>
              <a:avLst/>
              <a:gdLst>
                <a:gd name="T0" fmla="*/ 2147483647 w 242"/>
                <a:gd name="T1" fmla="*/ 2147483647 h 356"/>
                <a:gd name="T2" fmla="*/ 2147483647 w 242"/>
                <a:gd name="T3" fmla="*/ 2147483647 h 356"/>
                <a:gd name="T4" fmla="*/ 2147483647 w 242"/>
                <a:gd name="T5" fmla="*/ 2147483647 h 356"/>
                <a:gd name="T6" fmla="*/ 2147483647 w 242"/>
                <a:gd name="T7" fmla="*/ 2147483647 h 356"/>
                <a:gd name="T8" fmla="*/ 2147483647 w 242"/>
                <a:gd name="T9" fmla="*/ 2147483647 h 356"/>
                <a:gd name="T10" fmla="*/ 2147483647 w 242"/>
                <a:gd name="T11" fmla="*/ 2147483647 h 356"/>
                <a:gd name="T12" fmla="*/ 2147483647 w 242"/>
                <a:gd name="T13" fmla="*/ 0 h 356"/>
                <a:gd name="T14" fmla="*/ 2147483647 w 242"/>
                <a:gd name="T15" fmla="*/ 0 h 356"/>
                <a:gd name="T16" fmla="*/ 2147483647 w 242"/>
                <a:gd name="T17" fmla="*/ 0 h 356"/>
                <a:gd name="T18" fmla="*/ 2147483647 w 242"/>
                <a:gd name="T19" fmla="*/ 0 h 356"/>
                <a:gd name="T20" fmla="*/ 2147483647 w 242"/>
                <a:gd name="T21" fmla="*/ 0 h 356"/>
                <a:gd name="T22" fmla="*/ 2147483647 w 242"/>
                <a:gd name="T23" fmla="*/ 0 h 356"/>
                <a:gd name="T24" fmla="*/ 2147483647 w 242"/>
                <a:gd name="T25" fmla="*/ 0 h 356"/>
                <a:gd name="T26" fmla="*/ 2147483647 w 242"/>
                <a:gd name="T27" fmla="*/ 0 h 356"/>
                <a:gd name="T28" fmla="*/ 2147483647 w 242"/>
                <a:gd name="T29" fmla="*/ 0 h 356"/>
                <a:gd name="T30" fmla="*/ 2147483647 w 242"/>
                <a:gd name="T31" fmla="*/ 0 h 356"/>
                <a:gd name="T32" fmla="*/ 2147483647 w 242"/>
                <a:gd name="T33" fmla="*/ 0 h 356"/>
                <a:gd name="T34" fmla="*/ 0 w 242"/>
                <a:gd name="T35" fmla="*/ 0 h 356"/>
                <a:gd name="T36" fmla="*/ 0 w 242"/>
                <a:gd name="T37" fmla="*/ 0 h 356"/>
                <a:gd name="T38" fmla="*/ 0 w 242"/>
                <a:gd name="T39" fmla="*/ 0 h 356"/>
                <a:gd name="T40" fmla="*/ 0 w 242"/>
                <a:gd name="T41" fmla="*/ 0 h 356"/>
                <a:gd name="T42" fmla="*/ 0 w 242"/>
                <a:gd name="T43" fmla="*/ 0 h 356"/>
                <a:gd name="T44" fmla="*/ 0 w 242"/>
                <a:gd name="T45" fmla="*/ 2147483647 h 356"/>
                <a:gd name="T46" fmla="*/ 0 w 242"/>
                <a:gd name="T47" fmla="*/ 2147483647 h 356"/>
                <a:gd name="T48" fmla="*/ 0 w 242"/>
                <a:gd name="T49" fmla="*/ 2147483647 h 356"/>
                <a:gd name="T50" fmla="*/ 0 w 242"/>
                <a:gd name="T51" fmla="*/ 2147483647 h 356"/>
                <a:gd name="T52" fmla="*/ 0 w 242"/>
                <a:gd name="T53" fmla="*/ 2147483647 h 356"/>
                <a:gd name="T54" fmla="*/ 0 w 242"/>
                <a:gd name="T55" fmla="*/ 2147483647 h 356"/>
                <a:gd name="T56" fmla="*/ 0 w 242"/>
                <a:gd name="T57" fmla="*/ 2147483647 h 356"/>
                <a:gd name="T58" fmla="*/ 0 w 242"/>
                <a:gd name="T59" fmla="*/ 2147483647 h 356"/>
                <a:gd name="T60" fmla="*/ 0 w 242"/>
                <a:gd name="T61" fmla="*/ 2147483647 h 356"/>
                <a:gd name="T62" fmla="*/ 0 w 242"/>
                <a:gd name="T63" fmla="*/ 2147483647 h 356"/>
                <a:gd name="T64" fmla="*/ 0 w 242"/>
                <a:gd name="T65" fmla="*/ 2147483647 h 356"/>
                <a:gd name="T66" fmla="*/ 0 w 242"/>
                <a:gd name="T67" fmla="*/ 2147483647 h 356"/>
                <a:gd name="T68" fmla="*/ 0 w 242"/>
                <a:gd name="T69" fmla="*/ 2147483647 h 356"/>
                <a:gd name="T70" fmla="*/ 0 w 242"/>
                <a:gd name="T71" fmla="*/ 2147483647 h 356"/>
                <a:gd name="T72" fmla="*/ 0 w 242"/>
                <a:gd name="T73" fmla="*/ 2147483647 h 356"/>
                <a:gd name="T74" fmla="*/ 0 w 242"/>
                <a:gd name="T75" fmla="*/ 2147483647 h 356"/>
                <a:gd name="T76" fmla="*/ 0 w 242"/>
                <a:gd name="T77" fmla="*/ 2147483647 h 356"/>
                <a:gd name="T78" fmla="*/ 0 w 242"/>
                <a:gd name="T79" fmla="*/ 2147483647 h 356"/>
                <a:gd name="T80" fmla="*/ 0 w 242"/>
                <a:gd name="T81" fmla="*/ 2147483647 h 356"/>
                <a:gd name="T82" fmla="*/ 2147483647 w 242"/>
                <a:gd name="T83" fmla="*/ 2147483647 h 356"/>
                <a:gd name="T84" fmla="*/ 2147483647 w 242"/>
                <a:gd name="T85" fmla="*/ 2147483647 h 356"/>
                <a:gd name="T86" fmla="*/ 2147483647 w 242"/>
                <a:gd name="T87" fmla="*/ 2147483647 h 356"/>
                <a:gd name="T88" fmla="*/ 2147483647 w 242"/>
                <a:gd name="T89" fmla="*/ 2147483647 h 356"/>
                <a:gd name="T90" fmla="*/ 2147483647 w 242"/>
                <a:gd name="T91" fmla="*/ 2147483647 h 356"/>
                <a:gd name="T92" fmla="*/ 2147483647 w 242"/>
                <a:gd name="T93" fmla="*/ 2147483647 h 356"/>
                <a:gd name="T94" fmla="*/ 2147483647 w 242"/>
                <a:gd name="T95" fmla="*/ 2147483647 h 35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42"/>
                <a:gd name="T145" fmla="*/ 0 h 356"/>
                <a:gd name="T146" fmla="*/ 242 w 242"/>
                <a:gd name="T147" fmla="*/ 356 h 35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42" h="356">
                  <a:moveTo>
                    <a:pt x="242" y="281"/>
                  </a:moveTo>
                  <a:lnTo>
                    <a:pt x="239" y="279"/>
                  </a:lnTo>
                  <a:lnTo>
                    <a:pt x="223" y="262"/>
                  </a:lnTo>
                  <a:lnTo>
                    <a:pt x="215" y="252"/>
                  </a:lnTo>
                  <a:lnTo>
                    <a:pt x="210" y="241"/>
                  </a:lnTo>
                  <a:lnTo>
                    <a:pt x="209" y="231"/>
                  </a:lnTo>
                  <a:lnTo>
                    <a:pt x="208" y="209"/>
                  </a:lnTo>
                  <a:lnTo>
                    <a:pt x="209" y="188"/>
                  </a:lnTo>
                  <a:lnTo>
                    <a:pt x="205" y="148"/>
                  </a:lnTo>
                  <a:lnTo>
                    <a:pt x="204" y="114"/>
                  </a:lnTo>
                  <a:lnTo>
                    <a:pt x="203" y="101"/>
                  </a:lnTo>
                  <a:lnTo>
                    <a:pt x="200" y="95"/>
                  </a:lnTo>
                  <a:lnTo>
                    <a:pt x="196" y="89"/>
                  </a:lnTo>
                  <a:lnTo>
                    <a:pt x="194" y="68"/>
                  </a:lnTo>
                  <a:lnTo>
                    <a:pt x="191" y="53"/>
                  </a:lnTo>
                  <a:lnTo>
                    <a:pt x="187" y="48"/>
                  </a:lnTo>
                  <a:lnTo>
                    <a:pt x="180" y="41"/>
                  </a:lnTo>
                  <a:lnTo>
                    <a:pt x="176" y="33"/>
                  </a:lnTo>
                  <a:lnTo>
                    <a:pt x="167" y="27"/>
                  </a:lnTo>
                  <a:lnTo>
                    <a:pt x="166" y="21"/>
                  </a:lnTo>
                  <a:lnTo>
                    <a:pt x="170" y="16"/>
                  </a:lnTo>
                  <a:lnTo>
                    <a:pt x="170" y="11"/>
                  </a:lnTo>
                  <a:lnTo>
                    <a:pt x="173" y="6"/>
                  </a:lnTo>
                  <a:lnTo>
                    <a:pt x="172" y="5"/>
                  </a:lnTo>
                  <a:lnTo>
                    <a:pt x="164" y="4"/>
                  </a:lnTo>
                  <a:lnTo>
                    <a:pt x="162" y="3"/>
                  </a:lnTo>
                  <a:lnTo>
                    <a:pt x="162" y="0"/>
                  </a:lnTo>
                  <a:lnTo>
                    <a:pt x="145" y="3"/>
                  </a:lnTo>
                  <a:lnTo>
                    <a:pt x="133" y="11"/>
                  </a:lnTo>
                  <a:lnTo>
                    <a:pt x="129" y="12"/>
                  </a:lnTo>
                  <a:lnTo>
                    <a:pt x="112" y="11"/>
                  </a:lnTo>
                  <a:lnTo>
                    <a:pt x="86" y="6"/>
                  </a:lnTo>
                  <a:lnTo>
                    <a:pt x="58" y="8"/>
                  </a:lnTo>
                  <a:lnTo>
                    <a:pt x="47" y="5"/>
                  </a:lnTo>
                  <a:lnTo>
                    <a:pt x="36" y="5"/>
                  </a:lnTo>
                  <a:lnTo>
                    <a:pt x="19" y="8"/>
                  </a:lnTo>
                  <a:lnTo>
                    <a:pt x="14" y="16"/>
                  </a:lnTo>
                  <a:lnTo>
                    <a:pt x="14" y="24"/>
                  </a:lnTo>
                  <a:lnTo>
                    <a:pt x="17" y="32"/>
                  </a:lnTo>
                  <a:lnTo>
                    <a:pt x="20" y="35"/>
                  </a:lnTo>
                  <a:lnTo>
                    <a:pt x="20" y="43"/>
                  </a:lnTo>
                  <a:lnTo>
                    <a:pt x="24" y="44"/>
                  </a:lnTo>
                  <a:lnTo>
                    <a:pt x="22" y="57"/>
                  </a:lnTo>
                  <a:lnTo>
                    <a:pt x="25" y="65"/>
                  </a:lnTo>
                  <a:lnTo>
                    <a:pt x="25" y="76"/>
                  </a:lnTo>
                  <a:lnTo>
                    <a:pt x="25" y="82"/>
                  </a:lnTo>
                  <a:lnTo>
                    <a:pt x="28" y="89"/>
                  </a:lnTo>
                  <a:lnTo>
                    <a:pt x="28" y="95"/>
                  </a:lnTo>
                  <a:lnTo>
                    <a:pt x="27" y="98"/>
                  </a:lnTo>
                  <a:lnTo>
                    <a:pt x="30" y="103"/>
                  </a:lnTo>
                  <a:lnTo>
                    <a:pt x="25" y="108"/>
                  </a:lnTo>
                  <a:lnTo>
                    <a:pt x="25" y="111"/>
                  </a:lnTo>
                  <a:lnTo>
                    <a:pt x="28" y="112"/>
                  </a:lnTo>
                  <a:lnTo>
                    <a:pt x="31" y="116"/>
                  </a:lnTo>
                  <a:lnTo>
                    <a:pt x="38" y="143"/>
                  </a:lnTo>
                  <a:lnTo>
                    <a:pt x="41" y="159"/>
                  </a:lnTo>
                  <a:lnTo>
                    <a:pt x="36" y="160"/>
                  </a:lnTo>
                  <a:lnTo>
                    <a:pt x="36" y="165"/>
                  </a:lnTo>
                  <a:lnTo>
                    <a:pt x="32" y="166"/>
                  </a:lnTo>
                  <a:lnTo>
                    <a:pt x="28" y="171"/>
                  </a:lnTo>
                  <a:lnTo>
                    <a:pt x="26" y="173"/>
                  </a:lnTo>
                  <a:lnTo>
                    <a:pt x="22" y="182"/>
                  </a:lnTo>
                  <a:lnTo>
                    <a:pt x="16" y="195"/>
                  </a:lnTo>
                  <a:lnTo>
                    <a:pt x="14" y="204"/>
                  </a:lnTo>
                  <a:lnTo>
                    <a:pt x="14" y="215"/>
                  </a:lnTo>
                  <a:lnTo>
                    <a:pt x="11" y="220"/>
                  </a:lnTo>
                  <a:lnTo>
                    <a:pt x="5" y="227"/>
                  </a:lnTo>
                  <a:lnTo>
                    <a:pt x="1" y="234"/>
                  </a:lnTo>
                  <a:lnTo>
                    <a:pt x="0" y="251"/>
                  </a:lnTo>
                  <a:lnTo>
                    <a:pt x="0" y="259"/>
                  </a:lnTo>
                  <a:lnTo>
                    <a:pt x="8" y="279"/>
                  </a:lnTo>
                  <a:lnTo>
                    <a:pt x="11" y="295"/>
                  </a:lnTo>
                  <a:lnTo>
                    <a:pt x="15" y="300"/>
                  </a:lnTo>
                  <a:lnTo>
                    <a:pt x="22" y="301"/>
                  </a:lnTo>
                  <a:lnTo>
                    <a:pt x="25" y="302"/>
                  </a:lnTo>
                  <a:lnTo>
                    <a:pt x="27" y="315"/>
                  </a:lnTo>
                  <a:lnTo>
                    <a:pt x="27" y="329"/>
                  </a:lnTo>
                  <a:lnTo>
                    <a:pt x="21" y="331"/>
                  </a:lnTo>
                  <a:lnTo>
                    <a:pt x="17" y="328"/>
                  </a:lnTo>
                  <a:lnTo>
                    <a:pt x="11" y="328"/>
                  </a:lnTo>
                  <a:lnTo>
                    <a:pt x="9" y="329"/>
                  </a:lnTo>
                  <a:lnTo>
                    <a:pt x="5" y="336"/>
                  </a:lnTo>
                  <a:lnTo>
                    <a:pt x="41" y="345"/>
                  </a:lnTo>
                  <a:lnTo>
                    <a:pt x="67" y="356"/>
                  </a:lnTo>
                  <a:lnTo>
                    <a:pt x="87" y="345"/>
                  </a:lnTo>
                  <a:lnTo>
                    <a:pt x="95" y="338"/>
                  </a:lnTo>
                  <a:lnTo>
                    <a:pt x="103" y="336"/>
                  </a:lnTo>
                  <a:lnTo>
                    <a:pt x="137" y="328"/>
                  </a:lnTo>
                  <a:lnTo>
                    <a:pt x="166" y="311"/>
                  </a:lnTo>
                  <a:lnTo>
                    <a:pt x="183" y="302"/>
                  </a:lnTo>
                  <a:lnTo>
                    <a:pt x="188" y="300"/>
                  </a:lnTo>
                  <a:lnTo>
                    <a:pt x="196" y="300"/>
                  </a:lnTo>
                  <a:lnTo>
                    <a:pt x="215" y="296"/>
                  </a:lnTo>
                  <a:lnTo>
                    <a:pt x="219" y="300"/>
                  </a:lnTo>
                  <a:lnTo>
                    <a:pt x="229" y="299"/>
                  </a:lnTo>
                  <a:lnTo>
                    <a:pt x="240" y="283"/>
                  </a:lnTo>
                  <a:lnTo>
                    <a:pt x="242" y="28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1" name="Freeform 4">
              <a:extLst>
                <a:ext uri="{FF2B5EF4-FFF2-40B4-BE49-F238E27FC236}">
                  <a16:creationId xmlns:a16="http://schemas.microsoft.com/office/drawing/2014/main" id="{22495665-FFFD-CAFA-B26E-E18CB9FAC92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619461" y="3870012"/>
              <a:ext cx="220867" cy="173761"/>
            </a:xfrm>
            <a:custGeom>
              <a:avLst/>
              <a:gdLst>
                <a:gd name="T0" fmla="*/ 2147483647 w 417"/>
                <a:gd name="T1" fmla="*/ 0 h 307"/>
                <a:gd name="T2" fmla="*/ 2147483647 w 417"/>
                <a:gd name="T3" fmla="*/ 0 h 307"/>
                <a:gd name="T4" fmla="*/ 2147483647 w 417"/>
                <a:gd name="T5" fmla="*/ 2147483647 h 307"/>
                <a:gd name="T6" fmla="*/ 2147483647 w 417"/>
                <a:gd name="T7" fmla="*/ 2147483647 h 307"/>
                <a:gd name="T8" fmla="*/ 2147483647 w 417"/>
                <a:gd name="T9" fmla="*/ 2147483647 h 307"/>
                <a:gd name="T10" fmla="*/ 0 w 417"/>
                <a:gd name="T11" fmla="*/ 2147483647 h 307"/>
                <a:gd name="T12" fmla="*/ 0 w 417"/>
                <a:gd name="T13" fmla="*/ 2147483647 h 307"/>
                <a:gd name="T14" fmla="*/ 0 w 417"/>
                <a:gd name="T15" fmla="*/ 2147483647 h 307"/>
                <a:gd name="T16" fmla="*/ 0 w 417"/>
                <a:gd name="T17" fmla="*/ 2147483647 h 307"/>
                <a:gd name="T18" fmla="*/ 0 w 417"/>
                <a:gd name="T19" fmla="*/ 2147483647 h 307"/>
                <a:gd name="T20" fmla="*/ 0 w 417"/>
                <a:gd name="T21" fmla="*/ 2147483647 h 307"/>
                <a:gd name="T22" fmla="*/ 0 w 417"/>
                <a:gd name="T23" fmla="*/ 2147483647 h 307"/>
                <a:gd name="T24" fmla="*/ 0 w 417"/>
                <a:gd name="T25" fmla="*/ 2147483647 h 307"/>
                <a:gd name="T26" fmla="*/ 0 w 417"/>
                <a:gd name="T27" fmla="*/ 2147483647 h 307"/>
                <a:gd name="T28" fmla="*/ 0 w 417"/>
                <a:gd name="T29" fmla="*/ 2147483647 h 307"/>
                <a:gd name="T30" fmla="*/ 2147483647 w 417"/>
                <a:gd name="T31" fmla="*/ 2147483647 h 307"/>
                <a:gd name="T32" fmla="*/ 2147483647 w 417"/>
                <a:gd name="T33" fmla="*/ 2147483647 h 307"/>
                <a:gd name="T34" fmla="*/ 2147483647 w 417"/>
                <a:gd name="T35" fmla="*/ 2147483647 h 307"/>
                <a:gd name="T36" fmla="*/ 2147483647 w 417"/>
                <a:gd name="T37" fmla="*/ 2147483647 h 307"/>
                <a:gd name="T38" fmla="*/ 2147483647 w 417"/>
                <a:gd name="T39" fmla="*/ 2147483647 h 307"/>
                <a:gd name="T40" fmla="*/ 2147483647 w 417"/>
                <a:gd name="T41" fmla="*/ 2147483647 h 307"/>
                <a:gd name="T42" fmla="*/ 2147483647 w 417"/>
                <a:gd name="T43" fmla="*/ 2147483647 h 307"/>
                <a:gd name="T44" fmla="*/ 2147483647 w 417"/>
                <a:gd name="T45" fmla="*/ 2147483647 h 307"/>
                <a:gd name="T46" fmla="*/ 2147483647 w 417"/>
                <a:gd name="T47" fmla="*/ 2147483647 h 307"/>
                <a:gd name="T48" fmla="*/ 2147483647 w 417"/>
                <a:gd name="T49" fmla="*/ 2147483647 h 307"/>
                <a:gd name="T50" fmla="*/ 2147483647 w 417"/>
                <a:gd name="T51" fmla="*/ 2147483647 h 307"/>
                <a:gd name="T52" fmla="*/ 2147483647 w 417"/>
                <a:gd name="T53" fmla="*/ 2147483647 h 307"/>
                <a:gd name="T54" fmla="*/ 2147483647 w 417"/>
                <a:gd name="T55" fmla="*/ 2147483647 h 307"/>
                <a:gd name="T56" fmla="*/ 2147483647 w 417"/>
                <a:gd name="T57" fmla="*/ 2147483647 h 307"/>
                <a:gd name="T58" fmla="*/ 2147483647 w 417"/>
                <a:gd name="T59" fmla="*/ 2147483647 h 307"/>
                <a:gd name="T60" fmla="*/ 2147483647 w 417"/>
                <a:gd name="T61" fmla="*/ 2147483647 h 307"/>
                <a:gd name="T62" fmla="*/ 2147483647 w 417"/>
                <a:gd name="T63" fmla="*/ 2147483647 h 307"/>
                <a:gd name="T64" fmla="*/ 2147483647 w 417"/>
                <a:gd name="T65" fmla="*/ 2147483647 h 307"/>
                <a:gd name="T66" fmla="*/ 2147483647 w 417"/>
                <a:gd name="T67" fmla="*/ 2147483647 h 307"/>
                <a:gd name="T68" fmla="*/ 2147483647 w 417"/>
                <a:gd name="T69" fmla="*/ 2147483647 h 307"/>
                <a:gd name="T70" fmla="*/ 2147483647 w 417"/>
                <a:gd name="T71" fmla="*/ 2147483647 h 307"/>
                <a:gd name="T72" fmla="*/ 2147483647 w 417"/>
                <a:gd name="T73" fmla="*/ 2147483647 h 307"/>
                <a:gd name="T74" fmla="*/ 2147483647 w 417"/>
                <a:gd name="T75" fmla="*/ 2147483647 h 307"/>
                <a:gd name="T76" fmla="*/ 2147483647 w 417"/>
                <a:gd name="T77" fmla="*/ 2147483647 h 307"/>
                <a:gd name="T78" fmla="*/ 2147483647 w 417"/>
                <a:gd name="T79" fmla="*/ 2147483647 h 307"/>
                <a:gd name="T80" fmla="*/ 2147483647 w 417"/>
                <a:gd name="T81" fmla="*/ 2147483647 h 307"/>
                <a:gd name="T82" fmla="*/ 2147483647 w 417"/>
                <a:gd name="T83" fmla="*/ 2147483647 h 307"/>
                <a:gd name="T84" fmla="*/ 2147483647 w 417"/>
                <a:gd name="T85" fmla="*/ 2147483647 h 307"/>
                <a:gd name="T86" fmla="*/ 2147483647 w 417"/>
                <a:gd name="T87" fmla="*/ 0 h 307"/>
                <a:gd name="T88" fmla="*/ 2147483647 w 417"/>
                <a:gd name="T89" fmla="*/ 0 h 307"/>
                <a:gd name="T90" fmla="*/ 2147483647 w 417"/>
                <a:gd name="T91" fmla="*/ 0 h 307"/>
                <a:gd name="T92" fmla="*/ 2147483647 w 417"/>
                <a:gd name="T93" fmla="*/ 0 h 30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17"/>
                <a:gd name="T142" fmla="*/ 0 h 307"/>
                <a:gd name="T143" fmla="*/ 417 w 417"/>
                <a:gd name="T144" fmla="*/ 307 h 30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17" h="307">
                  <a:moveTo>
                    <a:pt x="295" y="0"/>
                  </a:moveTo>
                  <a:lnTo>
                    <a:pt x="262" y="1"/>
                  </a:lnTo>
                  <a:lnTo>
                    <a:pt x="242" y="9"/>
                  </a:lnTo>
                  <a:lnTo>
                    <a:pt x="234" y="12"/>
                  </a:lnTo>
                  <a:lnTo>
                    <a:pt x="219" y="25"/>
                  </a:lnTo>
                  <a:lnTo>
                    <a:pt x="182" y="49"/>
                  </a:lnTo>
                  <a:lnTo>
                    <a:pt x="170" y="65"/>
                  </a:lnTo>
                  <a:lnTo>
                    <a:pt x="151" y="79"/>
                  </a:lnTo>
                  <a:lnTo>
                    <a:pt x="113" y="91"/>
                  </a:lnTo>
                  <a:lnTo>
                    <a:pt x="101" y="93"/>
                  </a:lnTo>
                  <a:lnTo>
                    <a:pt x="89" y="95"/>
                  </a:lnTo>
                  <a:lnTo>
                    <a:pt x="83" y="96"/>
                  </a:lnTo>
                  <a:lnTo>
                    <a:pt x="74" y="102"/>
                  </a:lnTo>
                  <a:lnTo>
                    <a:pt x="69" y="108"/>
                  </a:lnTo>
                  <a:lnTo>
                    <a:pt x="64" y="119"/>
                  </a:lnTo>
                  <a:lnTo>
                    <a:pt x="60" y="134"/>
                  </a:lnTo>
                  <a:lnTo>
                    <a:pt x="53" y="152"/>
                  </a:lnTo>
                  <a:lnTo>
                    <a:pt x="46" y="162"/>
                  </a:lnTo>
                  <a:lnTo>
                    <a:pt x="30" y="174"/>
                  </a:lnTo>
                  <a:lnTo>
                    <a:pt x="20" y="183"/>
                  </a:lnTo>
                  <a:lnTo>
                    <a:pt x="16" y="188"/>
                  </a:lnTo>
                  <a:lnTo>
                    <a:pt x="11" y="197"/>
                  </a:lnTo>
                  <a:lnTo>
                    <a:pt x="10" y="206"/>
                  </a:lnTo>
                  <a:lnTo>
                    <a:pt x="1" y="224"/>
                  </a:lnTo>
                  <a:lnTo>
                    <a:pt x="0" y="235"/>
                  </a:lnTo>
                  <a:lnTo>
                    <a:pt x="0" y="248"/>
                  </a:lnTo>
                  <a:lnTo>
                    <a:pt x="1" y="259"/>
                  </a:lnTo>
                  <a:lnTo>
                    <a:pt x="4" y="260"/>
                  </a:lnTo>
                  <a:lnTo>
                    <a:pt x="4" y="262"/>
                  </a:lnTo>
                  <a:lnTo>
                    <a:pt x="5" y="267"/>
                  </a:lnTo>
                  <a:lnTo>
                    <a:pt x="6" y="268"/>
                  </a:lnTo>
                  <a:lnTo>
                    <a:pt x="8" y="269"/>
                  </a:lnTo>
                  <a:lnTo>
                    <a:pt x="11" y="275"/>
                  </a:lnTo>
                  <a:lnTo>
                    <a:pt x="14" y="276"/>
                  </a:lnTo>
                  <a:lnTo>
                    <a:pt x="15" y="279"/>
                  </a:lnTo>
                  <a:lnTo>
                    <a:pt x="15" y="284"/>
                  </a:lnTo>
                  <a:lnTo>
                    <a:pt x="19" y="284"/>
                  </a:lnTo>
                  <a:lnTo>
                    <a:pt x="22" y="287"/>
                  </a:lnTo>
                  <a:lnTo>
                    <a:pt x="24" y="291"/>
                  </a:lnTo>
                  <a:lnTo>
                    <a:pt x="31" y="295"/>
                  </a:lnTo>
                  <a:lnTo>
                    <a:pt x="31" y="294"/>
                  </a:lnTo>
                  <a:lnTo>
                    <a:pt x="35" y="294"/>
                  </a:lnTo>
                  <a:lnTo>
                    <a:pt x="37" y="291"/>
                  </a:lnTo>
                  <a:lnTo>
                    <a:pt x="38" y="291"/>
                  </a:lnTo>
                  <a:lnTo>
                    <a:pt x="40" y="295"/>
                  </a:lnTo>
                  <a:lnTo>
                    <a:pt x="47" y="298"/>
                  </a:lnTo>
                  <a:lnTo>
                    <a:pt x="51" y="296"/>
                  </a:lnTo>
                  <a:lnTo>
                    <a:pt x="53" y="290"/>
                  </a:lnTo>
                  <a:lnTo>
                    <a:pt x="59" y="289"/>
                  </a:lnTo>
                  <a:lnTo>
                    <a:pt x="67" y="286"/>
                  </a:lnTo>
                  <a:lnTo>
                    <a:pt x="79" y="283"/>
                  </a:lnTo>
                  <a:lnTo>
                    <a:pt x="89" y="280"/>
                  </a:lnTo>
                  <a:lnTo>
                    <a:pt x="96" y="280"/>
                  </a:lnTo>
                  <a:lnTo>
                    <a:pt x="107" y="285"/>
                  </a:lnTo>
                  <a:lnTo>
                    <a:pt x="112" y="280"/>
                  </a:lnTo>
                  <a:lnTo>
                    <a:pt x="113" y="280"/>
                  </a:lnTo>
                  <a:lnTo>
                    <a:pt x="119" y="290"/>
                  </a:lnTo>
                  <a:lnTo>
                    <a:pt x="124" y="291"/>
                  </a:lnTo>
                  <a:lnTo>
                    <a:pt x="125" y="296"/>
                  </a:lnTo>
                  <a:lnTo>
                    <a:pt x="130" y="306"/>
                  </a:lnTo>
                  <a:lnTo>
                    <a:pt x="133" y="307"/>
                  </a:lnTo>
                  <a:lnTo>
                    <a:pt x="139" y="307"/>
                  </a:lnTo>
                  <a:lnTo>
                    <a:pt x="141" y="305"/>
                  </a:lnTo>
                  <a:lnTo>
                    <a:pt x="138" y="298"/>
                  </a:lnTo>
                  <a:lnTo>
                    <a:pt x="138" y="292"/>
                  </a:lnTo>
                  <a:lnTo>
                    <a:pt x="138" y="281"/>
                  </a:lnTo>
                  <a:lnTo>
                    <a:pt x="135" y="273"/>
                  </a:lnTo>
                  <a:lnTo>
                    <a:pt x="137" y="260"/>
                  </a:lnTo>
                  <a:lnTo>
                    <a:pt x="133" y="259"/>
                  </a:lnTo>
                  <a:lnTo>
                    <a:pt x="133" y="251"/>
                  </a:lnTo>
                  <a:lnTo>
                    <a:pt x="130" y="248"/>
                  </a:lnTo>
                  <a:lnTo>
                    <a:pt x="127" y="240"/>
                  </a:lnTo>
                  <a:lnTo>
                    <a:pt x="128" y="232"/>
                  </a:lnTo>
                  <a:lnTo>
                    <a:pt x="132" y="224"/>
                  </a:lnTo>
                  <a:lnTo>
                    <a:pt x="149" y="221"/>
                  </a:lnTo>
                  <a:lnTo>
                    <a:pt x="160" y="221"/>
                  </a:lnTo>
                  <a:lnTo>
                    <a:pt x="171" y="224"/>
                  </a:lnTo>
                  <a:lnTo>
                    <a:pt x="199" y="222"/>
                  </a:lnTo>
                  <a:lnTo>
                    <a:pt x="225" y="227"/>
                  </a:lnTo>
                  <a:lnTo>
                    <a:pt x="242" y="228"/>
                  </a:lnTo>
                  <a:lnTo>
                    <a:pt x="246" y="227"/>
                  </a:lnTo>
                  <a:lnTo>
                    <a:pt x="258" y="219"/>
                  </a:lnTo>
                  <a:lnTo>
                    <a:pt x="275" y="216"/>
                  </a:lnTo>
                  <a:lnTo>
                    <a:pt x="275" y="217"/>
                  </a:lnTo>
                  <a:lnTo>
                    <a:pt x="310" y="222"/>
                  </a:lnTo>
                  <a:lnTo>
                    <a:pt x="313" y="227"/>
                  </a:lnTo>
                  <a:lnTo>
                    <a:pt x="317" y="227"/>
                  </a:lnTo>
                  <a:lnTo>
                    <a:pt x="320" y="225"/>
                  </a:lnTo>
                  <a:lnTo>
                    <a:pt x="334" y="225"/>
                  </a:lnTo>
                  <a:lnTo>
                    <a:pt x="336" y="224"/>
                  </a:lnTo>
                  <a:lnTo>
                    <a:pt x="339" y="220"/>
                  </a:lnTo>
                  <a:lnTo>
                    <a:pt x="343" y="220"/>
                  </a:lnTo>
                  <a:lnTo>
                    <a:pt x="344" y="214"/>
                  </a:lnTo>
                  <a:lnTo>
                    <a:pt x="347" y="211"/>
                  </a:lnTo>
                  <a:lnTo>
                    <a:pt x="348" y="210"/>
                  </a:lnTo>
                  <a:lnTo>
                    <a:pt x="350" y="208"/>
                  </a:lnTo>
                  <a:lnTo>
                    <a:pt x="354" y="209"/>
                  </a:lnTo>
                  <a:lnTo>
                    <a:pt x="361" y="197"/>
                  </a:lnTo>
                  <a:lnTo>
                    <a:pt x="364" y="195"/>
                  </a:lnTo>
                  <a:lnTo>
                    <a:pt x="370" y="195"/>
                  </a:lnTo>
                  <a:lnTo>
                    <a:pt x="379" y="199"/>
                  </a:lnTo>
                  <a:lnTo>
                    <a:pt x="387" y="197"/>
                  </a:lnTo>
                  <a:lnTo>
                    <a:pt x="393" y="199"/>
                  </a:lnTo>
                  <a:lnTo>
                    <a:pt x="398" y="197"/>
                  </a:lnTo>
                  <a:lnTo>
                    <a:pt x="410" y="185"/>
                  </a:lnTo>
                  <a:lnTo>
                    <a:pt x="412" y="182"/>
                  </a:lnTo>
                  <a:lnTo>
                    <a:pt x="412" y="181"/>
                  </a:lnTo>
                  <a:lnTo>
                    <a:pt x="415" y="177"/>
                  </a:lnTo>
                  <a:lnTo>
                    <a:pt x="417" y="172"/>
                  </a:lnTo>
                  <a:lnTo>
                    <a:pt x="417" y="170"/>
                  </a:lnTo>
                  <a:lnTo>
                    <a:pt x="417" y="171"/>
                  </a:lnTo>
                  <a:lnTo>
                    <a:pt x="406" y="161"/>
                  </a:lnTo>
                  <a:lnTo>
                    <a:pt x="399" y="154"/>
                  </a:lnTo>
                  <a:lnTo>
                    <a:pt x="398" y="150"/>
                  </a:lnTo>
                  <a:lnTo>
                    <a:pt x="399" y="146"/>
                  </a:lnTo>
                  <a:lnTo>
                    <a:pt x="403" y="145"/>
                  </a:lnTo>
                  <a:lnTo>
                    <a:pt x="408" y="145"/>
                  </a:lnTo>
                  <a:lnTo>
                    <a:pt x="409" y="142"/>
                  </a:lnTo>
                  <a:lnTo>
                    <a:pt x="408" y="140"/>
                  </a:lnTo>
                  <a:lnTo>
                    <a:pt x="402" y="130"/>
                  </a:lnTo>
                  <a:lnTo>
                    <a:pt x="396" y="127"/>
                  </a:lnTo>
                  <a:lnTo>
                    <a:pt x="392" y="128"/>
                  </a:lnTo>
                  <a:lnTo>
                    <a:pt x="387" y="133"/>
                  </a:lnTo>
                  <a:lnTo>
                    <a:pt x="382" y="134"/>
                  </a:lnTo>
                  <a:lnTo>
                    <a:pt x="379" y="134"/>
                  </a:lnTo>
                  <a:lnTo>
                    <a:pt x="368" y="131"/>
                  </a:lnTo>
                  <a:lnTo>
                    <a:pt x="360" y="127"/>
                  </a:lnTo>
                  <a:lnTo>
                    <a:pt x="349" y="114"/>
                  </a:lnTo>
                  <a:lnTo>
                    <a:pt x="345" y="108"/>
                  </a:lnTo>
                  <a:lnTo>
                    <a:pt x="339" y="93"/>
                  </a:lnTo>
                  <a:lnTo>
                    <a:pt x="334" y="84"/>
                  </a:lnTo>
                  <a:lnTo>
                    <a:pt x="317" y="70"/>
                  </a:lnTo>
                  <a:lnTo>
                    <a:pt x="305" y="55"/>
                  </a:lnTo>
                  <a:lnTo>
                    <a:pt x="301" y="48"/>
                  </a:lnTo>
                  <a:lnTo>
                    <a:pt x="302" y="39"/>
                  </a:lnTo>
                  <a:lnTo>
                    <a:pt x="301" y="37"/>
                  </a:lnTo>
                  <a:lnTo>
                    <a:pt x="291" y="28"/>
                  </a:lnTo>
                  <a:lnTo>
                    <a:pt x="290" y="26"/>
                  </a:lnTo>
                  <a:lnTo>
                    <a:pt x="293" y="16"/>
                  </a:lnTo>
                  <a:lnTo>
                    <a:pt x="294" y="5"/>
                  </a:lnTo>
                  <a:lnTo>
                    <a:pt x="295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B58D7A6D-B4EF-7AB3-DEF2-B2A44AB7D4A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016424" y="3940127"/>
              <a:ext cx="223851" cy="350570"/>
            </a:xfrm>
            <a:custGeom>
              <a:avLst/>
              <a:gdLst>
                <a:gd name="T0" fmla="*/ 2147483647 w 420"/>
                <a:gd name="T1" fmla="*/ 2147483647 h 615"/>
                <a:gd name="T2" fmla="*/ 2147483647 w 420"/>
                <a:gd name="T3" fmla="*/ 2147483647 h 615"/>
                <a:gd name="T4" fmla="*/ 2147483647 w 420"/>
                <a:gd name="T5" fmla="*/ 2147483647 h 615"/>
                <a:gd name="T6" fmla="*/ 2147483647 w 420"/>
                <a:gd name="T7" fmla="*/ 2147483647 h 615"/>
                <a:gd name="T8" fmla="*/ 2147483647 w 420"/>
                <a:gd name="T9" fmla="*/ 2147483647 h 615"/>
                <a:gd name="T10" fmla="*/ 2147483647 w 420"/>
                <a:gd name="T11" fmla="*/ 2147483647 h 615"/>
                <a:gd name="T12" fmla="*/ 2147483647 w 420"/>
                <a:gd name="T13" fmla="*/ 2147483647 h 615"/>
                <a:gd name="T14" fmla="*/ 2147483647 w 420"/>
                <a:gd name="T15" fmla="*/ 2147483647 h 615"/>
                <a:gd name="T16" fmla="*/ 0 w 420"/>
                <a:gd name="T17" fmla="*/ 2147483647 h 615"/>
                <a:gd name="T18" fmla="*/ 0 w 420"/>
                <a:gd name="T19" fmla="*/ 2147483647 h 615"/>
                <a:gd name="T20" fmla="*/ 0 w 420"/>
                <a:gd name="T21" fmla="*/ 2147483647 h 615"/>
                <a:gd name="T22" fmla="*/ 0 w 420"/>
                <a:gd name="T23" fmla="*/ 2147483647 h 615"/>
                <a:gd name="T24" fmla="*/ 0 w 420"/>
                <a:gd name="T25" fmla="*/ 2147483647 h 615"/>
                <a:gd name="T26" fmla="*/ 0 w 420"/>
                <a:gd name="T27" fmla="*/ 2147483647 h 615"/>
                <a:gd name="T28" fmla="*/ 2147483647 w 420"/>
                <a:gd name="T29" fmla="*/ 2147483647 h 615"/>
                <a:gd name="T30" fmla="*/ 2147483647 w 420"/>
                <a:gd name="T31" fmla="*/ 2147483647 h 615"/>
                <a:gd name="T32" fmla="*/ 2147483647 w 420"/>
                <a:gd name="T33" fmla="*/ 2147483647 h 615"/>
                <a:gd name="T34" fmla="*/ 2147483647 w 420"/>
                <a:gd name="T35" fmla="*/ 2147483647 h 615"/>
                <a:gd name="T36" fmla="*/ 2147483647 w 420"/>
                <a:gd name="T37" fmla="*/ 2147483647 h 615"/>
                <a:gd name="T38" fmla="*/ 2147483647 w 420"/>
                <a:gd name="T39" fmla="*/ 2147483647 h 615"/>
                <a:gd name="T40" fmla="*/ 2147483647 w 420"/>
                <a:gd name="T41" fmla="*/ 2147483647 h 615"/>
                <a:gd name="T42" fmla="*/ 2147483647 w 420"/>
                <a:gd name="T43" fmla="*/ 2147483647 h 615"/>
                <a:gd name="T44" fmla="*/ 2147483647 w 420"/>
                <a:gd name="T45" fmla="*/ 2147483647 h 615"/>
                <a:gd name="T46" fmla="*/ 2147483647 w 420"/>
                <a:gd name="T47" fmla="*/ 2147483647 h 615"/>
                <a:gd name="T48" fmla="*/ 2147483647 w 420"/>
                <a:gd name="T49" fmla="*/ 2147483647 h 615"/>
                <a:gd name="T50" fmla="*/ 2147483647 w 420"/>
                <a:gd name="T51" fmla="*/ 2147483647 h 615"/>
                <a:gd name="T52" fmla="*/ 2147483647 w 420"/>
                <a:gd name="T53" fmla="*/ 0 h 615"/>
                <a:gd name="T54" fmla="*/ 2147483647 w 420"/>
                <a:gd name="T55" fmla="*/ 0 h 615"/>
                <a:gd name="T56" fmla="*/ 2147483647 w 420"/>
                <a:gd name="T57" fmla="*/ 0 h 615"/>
                <a:gd name="T58" fmla="*/ 2147483647 w 420"/>
                <a:gd name="T59" fmla="*/ 0 h 615"/>
                <a:gd name="T60" fmla="*/ 2147483647 w 420"/>
                <a:gd name="T61" fmla="*/ 0 h 615"/>
                <a:gd name="T62" fmla="*/ 2147483647 w 420"/>
                <a:gd name="T63" fmla="*/ 0 h 615"/>
                <a:gd name="T64" fmla="*/ 2147483647 w 420"/>
                <a:gd name="T65" fmla="*/ 2147483647 h 615"/>
                <a:gd name="T66" fmla="*/ 2147483647 w 420"/>
                <a:gd name="T67" fmla="*/ 2147483647 h 615"/>
                <a:gd name="T68" fmla="*/ 2147483647 w 420"/>
                <a:gd name="T69" fmla="*/ 2147483647 h 615"/>
                <a:gd name="T70" fmla="*/ 2147483647 w 420"/>
                <a:gd name="T71" fmla="*/ 2147483647 h 615"/>
                <a:gd name="T72" fmla="*/ 2147483647 w 420"/>
                <a:gd name="T73" fmla="*/ 2147483647 h 615"/>
                <a:gd name="T74" fmla="*/ 2147483647 w 420"/>
                <a:gd name="T75" fmla="*/ 2147483647 h 615"/>
                <a:gd name="T76" fmla="*/ 2147483647 w 420"/>
                <a:gd name="T77" fmla="*/ 2147483647 h 615"/>
                <a:gd name="T78" fmla="*/ 2147483647 w 420"/>
                <a:gd name="T79" fmla="*/ 2147483647 h 615"/>
                <a:gd name="T80" fmla="*/ 2147483647 w 420"/>
                <a:gd name="T81" fmla="*/ 2147483647 h 615"/>
                <a:gd name="T82" fmla="*/ 2147483647 w 420"/>
                <a:gd name="T83" fmla="*/ 2147483647 h 615"/>
                <a:gd name="T84" fmla="*/ 2147483647 w 420"/>
                <a:gd name="T85" fmla="*/ 2147483647 h 615"/>
                <a:gd name="T86" fmla="*/ 2147483647 w 420"/>
                <a:gd name="T87" fmla="*/ 2147483647 h 615"/>
                <a:gd name="T88" fmla="*/ 2147483647 w 420"/>
                <a:gd name="T89" fmla="*/ 2147483647 h 615"/>
                <a:gd name="T90" fmla="*/ 2147483647 w 420"/>
                <a:gd name="T91" fmla="*/ 2147483647 h 615"/>
                <a:gd name="T92" fmla="*/ 2147483647 w 420"/>
                <a:gd name="T93" fmla="*/ 2147483647 h 615"/>
                <a:gd name="T94" fmla="*/ 2147483647 w 420"/>
                <a:gd name="T95" fmla="*/ 2147483647 h 615"/>
                <a:gd name="T96" fmla="*/ 2147483647 w 420"/>
                <a:gd name="T97" fmla="*/ 2147483647 h 615"/>
                <a:gd name="T98" fmla="*/ 2147483647 w 420"/>
                <a:gd name="T99" fmla="*/ 2147483647 h 61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20"/>
                <a:gd name="T151" fmla="*/ 0 h 615"/>
                <a:gd name="T152" fmla="*/ 420 w 420"/>
                <a:gd name="T153" fmla="*/ 615 h 61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20" h="615">
                  <a:moveTo>
                    <a:pt x="264" y="585"/>
                  </a:moveTo>
                  <a:lnTo>
                    <a:pt x="256" y="582"/>
                  </a:lnTo>
                  <a:lnTo>
                    <a:pt x="220" y="581"/>
                  </a:lnTo>
                  <a:lnTo>
                    <a:pt x="204" y="577"/>
                  </a:lnTo>
                  <a:lnTo>
                    <a:pt x="184" y="581"/>
                  </a:lnTo>
                  <a:lnTo>
                    <a:pt x="170" y="579"/>
                  </a:lnTo>
                  <a:lnTo>
                    <a:pt x="156" y="582"/>
                  </a:lnTo>
                  <a:lnTo>
                    <a:pt x="116" y="582"/>
                  </a:lnTo>
                  <a:lnTo>
                    <a:pt x="74" y="585"/>
                  </a:lnTo>
                  <a:lnTo>
                    <a:pt x="70" y="586"/>
                  </a:lnTo>
                  <a:lnTo>
                    <a:pt x="74" y="552"/>
                  </a:lnTo>
                  <a:lnTo>
                    <a:pt x="79" y="536"/>
                  </a:lnTo>
                  <a:lnTo>
                    <a:pt x="79" y="529"/>
                  </a:lnTo>
                  <a:lnTo>
                    <a:pt x="81" y="527"/>
                  </a:lnTo>
                  <a:lnTo>
                    <a:pt x="75" y="520"/>
                  </a:lnTo>
                  <a:lnTo>
                    <a:pt x="69" y="513"/>
                  </a:lnTo>
                  <a:lnTo>
                    <a:pt x="66" y="509"/>
                  </a:lnTo>
                  <a:lnTo>
                    <a:pt x="63" y="502"/>
                  </a:lnTo>
                  <a:lnTo>
                    <a:pt x="63" y="500"/>
                  </a:lnTo>
                  <a:lnTo>
                    <a:pt x="66" y="499"/>
                  </a:lnTo>
                  <a:lnTo>
                    <a:pt x="68" y="494"/>
                  </a:lnTo>
                  <a:lnTo>
                    <a:pt x="68" y="485"/>
                  </a:lnTo>
                  <a:lnTo>
                    <a:pt x="64" y="483"/>
                  </a:lnTo>
                  <a:lnTo>
                    <a:pt x="58" y="484"/>
                  </a:lnTo>
                  <a:lnTo>
                    <a:pt x="57" y="488"/>
                  </a:lnTo>
                  <a:lnTo>
                    <a:pt x="52" y="489"/>
                  </a:lnTo>
                  <a:lnTo>
                    <a:pt x="32" y="480"/>
                  </a:lnTo>
                  <a:lnTo>
                    <a:pt x="27" y="471"/>
                  </a:lnTo>
                  <a:lnTo>
                    <a:pt x="21" y="456"/>
                  </a:lnTo>
                  <a:lnTo>
                    <a:pt x="11" y="456"/>
                  </a:lnTo>
                  <a:lnTo>
                    <a:pt x="6" y="458"/>
                  </a:lnTo>
                  <a:lnTo>
                    <a:pt x="1" y="455"/>
                  </a:lnTo>
                  <a:lnTo>
                    <a:pt x="3" y="448"/>
                  </a:lnTo>
                  <a:lnTo>
                    <a:pt x="0" y="446"/>
                  </a:lnTo>
                  <a:lnTo>
                    <a:pt x="0" y="439"/>
                  </a:lnTo>
                  <a:lnTo>
                    <a:pt x="7" y="432"/>
                  </a:lnTo>
                  <a:lnTo>
                    <a:pt x="14" y="423"/>
                  </a:lnTo>
                  <a:lnTo>
                    <a:pt x="17" y="414"/>
                  </a:lnTo>
                  <a:lnTo>
                    <a:pt x="19" y="400"/>
                  </a:lnTo>
                  <a:lnTo>
                    <a:pt x="22" y="385"/>
                  </a:lnTo>
                  <a:lnTo>
                    <a:pt x="31" y="369"/>
                  </a:lnTo>
                  <a:lnTo>
                    <a:pt x="39" y="358"/>
                  </a:lnTo>
                  <a:lnTo>
                    <a:pt x="47" y="350"/>
                  </a:lnTo>
                  <a:lnTo>
                    <a:pt x="58" y="345"/>
                  </a:lnTo>
                  <a:lnTo>
                    <a:pt x="62" y="328"/>
                  </a:lnTo>
                  <a:lnTo>
                    <a:pt x="64" y="328"/>
                  </a:lnTo>
                  <a:lnTo>
                    <a:pt x="79" y="328"/>
                  </a:lnTo>
                  <a:lnTo>
                    <a:pt x="101" y="323"/>
                  </a:lnTo>
                  <a:lnTo>
                    <a:pt x="116" y="324"/>
                  </a:lnTo>
                  <a:lnTo>
                    <a:pt x="127" y="334"/>
                  </a:lnTo>
                  <a:lnTo>
                    <a:pt x="130" y="339"/>
                  </a:lnTo>
                  <a:lnTo>
                    <a:pt x="130" y="340"/>
                  </a:lnTo>
                  <a:lnTo>
                    <a:pt x="134" y="343"/>
                  </a:lnTo>
                  <a:lnTo>
                    <a:pt x="143" y="350"/>
                  </a:lnTo>
                  <a:lnTo>
                    <a:pt x="156" y="351"/>
                  </a:lnTo>
                  <a:lnTo>
                    <a:pt x="165" y="348"/>
                  </a:lnTo>
                  <a:lnTo>
                    <a:pt x="168" y="342"/>
                  </a:lnTo>
                  <a:lnTo>
                    <a:pt x="170" y="333"/>
                  </a:lnTo>
                  <a:lnTo>
                    <a:pt x="188" y="302"/>
                  </a:lnTo>
                  <a:lnTo>
                    <a:pt x="198" y="280"/>
                  </a:lnTo>
                  <a:lnTo>
                    <a:pt x="200" y="273"/>
                  </a:lnTo>
                  <a:lnTo>
                    <a:pt x="204" y="257"/>
                  </a:lnTo>
                  <a:lnTo>
                    <a:pt x="210" y="241"/>
                  </a:lnTo>
                  <a:lnTo>
                    <a:pt x="221" y="229"/>
                  </a:lnTo>
                  <a:lnTo>
                    <a:pt x="236" y="222"/>
                  </a:lnTo>
                  <a:lnTo>
                    <a:pt x="238" y="217"/>
                  </a:lnTo>
                  <a:lnTo>
                    <a:pt x="240" y="211"/>
                  </a:lnTo>
                  <a:lnTo>
                    <a:pt x="241" y="199"/>
                  </a:lnTo>
                  <a:lnTo>
                    <a:pt x="249" y="171"/>
                  </a:lnTo>
                  <a:lnTo>
                    <a:pt x="251" y="160"/>
                  </a:lnTo>
                  <a:lnTo>
                    <a:pt x="254" y="149"/>
                  </a:lnTo>
                  <a:lnTo>
                    <a:pt x="263" y="131"/>
                  </a:lnTo>
                  <a:lnTo>
                    <a:pt x="270" y="108"/>
                  </a:lnTo>
                  <a:lnTo>
                    <a:pt x="274" y="101"/>
                  </a:lnTo>
                  <a:lnTo>
                    <a:pt x="279" y="95"/>
                  </a:lnTo>
                  <a:lnTo>
                    <a:pt x="288" y="85"/>
                  </a:lnTo>
                  <a:lnTo>
                    <a:pt x="291" y="84"/>
                  </a:lnTo>
                  <a:lnTo>
                    <a:pt x="307" y="77"/>
                  </a:lnTo>
                  <a:lnTo>
                    <a:pt x="310" y="74"/>
                  </a:lnTo>
                  <a:lnTo>
                    <a:pt x="329" y="61"/>
                  </a:lnTo>
                  <a:lnTo>
                    <a:pt x="327" y="48"/>
                  </a:lnTo>
                  <a:lnTo>
                    <a:pt x="328" y="31"/>
                  </a:lnTo>
                  <a:lnTo>
                    <a:pt x="326" y="26"/>
                  </a:lnTo>
                  <a:lnTo>
                    <a:pt x="323" y="23"/>
                  </a:lnTo>
                  <a:lnTo>
                    <a:pt x="322" y="22"/>
                  </a:lnTo>
                  <a:lnTo>
                    <a:pt x="311" y="18"/>
                  </a:lnTo>
                  <a:lnTo>
                    <a:pt x="310" y="15"/>
                  </a:lnTo>
                  <a:lnTo>
                    <a:pt x="315" y="15"/>
                  </a:lnTo>
                  <a:lnTo>
                    <a:pt x="323" y="3"/>
                  </a:lnTo>
                  <a:lnTo>
                    <a:pt x="332" y="0"/>
                  </a:lnTo>
                  <a:lnTo>
                    <a:pt x="338" y="0"/>
                  </a:lnTo>
                  <a:lnTo>
                    <a:pt x="340" y="1"/>
                  </a:lnTo>
                  <a:lnTo>
                    <a:pt x="340" y="4"/>
                  </a:lnTo>
                  <a:lnTo>
                    <a:pt x="347" y="32"/>
                  </a:lnTo>
                  <a:lnTo>
                    <a:pt x="353" y="41"/>
                  </a:lnTo>
                  <a:lnTo>
                    <a:pt x="355" y="48"/>
                  </a:lnTo>
                  <a:lnTo>
                    <a:pt x="354" y="68"/>
                  </a:lnTo>
                  <a:lnTo>
                    <a:pt x="353" y="79"/>
                  </a:lnTo>
                  <a:lnTo>
                    <a:pt x="349" y="90"/>
                  </a:lnTo>
                  <a:lnTo>
                    <a:pt x="349" y="98"/>
                  </a:lnTo>
                  <a:lnTo>
                    <a:pt x="359" y="119"/>
                  </a:lnTo>
                  <a:lnTo>
                    <a:pt x="374" y="140"/>
                  </a:lnTo>
                  <a:lnTo>
                    <a:pt x="376" y="146"/>
                  </a:lnTo>
                  <a:lnTo>
                    <a:pt x="377" y="155"/>
                  </a:lnTo>
                  <a:lnTo>
                    <a:pt x="376" y="157"/>
                  </a:lnTo>
                  <a:lnTo>
                    <a:pt x="372" y="160"/>
                  </a:lnTo>
                  <a:lnTo>
                    <a:pt x="353" y="156"/>
                  </a:lnTo>
                  <a:lnTo>
                    <a:pt x="337" y="154"/>
                  </a:lnTo>
                  <a:lnTo>
                    <a:pt x="322" y="155"/>
                  </a:lnTo>
                  <a:lnTo>
                    <a:pt x="318" y="156"/>
                  </a:lnTo>
                  <a:lnTo>
                    <a:pt x="315" y="159"/>
                  </a:lnTo>
                  <a:lnTo>
                    <a:pt x="310" y="165"/>
                  </a:lnTo>
                  <a:lnTo>
                    <a:pt x="310" y="179"/>
                  </a:lnTo>
                  <a:lnTo>
                    <a:pt x="311" y="192"/>
                  </a:lnTo>
                  <a:lnTo>
                    <a:pt x="322" y="205"/>
                  </a:lnTo>
                  <a:lnTo>
                    <a:pt x="329" y="211"/>
                  </a:lnTo>
                  <a:lnTo>
                    <a:pt x="338" y="215"/>
                  </a:lnTo>
                  <a:lnTo>
                    <a:pt x="350" y="217"/>
                  </a:lnTo>
                  <a:lnTo>
                    <a:pt x="354" y="220"/>
                  </a:lnTo>
                  <a:lnTo>
                    <a:pt x="360" y="230"/>
                  </a:lnTo>
                  <a:lnTo>
                    <a:pt x="370" y="257"/>
                  </a:lnTo>
                  <a:lnTo>
                    <a:pt x="375" y="275"/>
                  </a:lnTo>
                  <a:lnTo>
                    <a:pt x="376" y="292"/>
                  </a:lnTo>
                  <a:lnTo>
                    <a:pt x="377" y="295"/>
                  </a:lnTo>
                  <a:lnTo>
                    <a:pt x="380" y="297"/>
                  </a:lnTo>
                  <a:lnTo>
                    <a:pt x="370" y="323"/>
                  </a:lnTo>
                  <a:lnTo>
                    <a:pt x="360" y="338"/>
                  </a:lnTo>
                  <a:lnTo>
                    <a:pt x="353" y="354"/>
                  </a:lnTo>
                  <a:lnTo>
                    <a:pt x="343" y="369"/>
                  </a:lnTo>
                  <a:lnTo>
                    <a:pt x="332" y="380"/>
                  </a:lnTo>
                  <a:lnTo>
                    <a:pt x="332" y="393"/>
                  </a:lnTo>
                  <a:lnTo>
                    <a:pt x="335" y="407"/>
                  </a:lnTo>
                  <a:lnTo>
                    <a:pt x="334" y="424"/>
                  </a:lnTo>
                  <a:lnTo>
                    <a:pt x="335" y="440"/>
                  </a:lnTo>
                  <a:lnTo>
                    <a:pt x="345" y="458"/>
                  </a:lnTo>
                  <a:lnTo>
                    <a:pt x="354" y="469"/>
                  </a:lnTo>
                  <a:lnTo>
                    <a:pt x="378" y="516"/>
                  </a:lnTo>
                  <a:lnTo>
                    <a:pt x="390" y="528"/>
                  </a:lnTo>
                  <a:lnTo>
                    <a:pt x="413" y="548"/>
                  </a:lnTo>
                  <a:lnTo>
                    <a:pt x="420" y="548"/>
                  </a:lnTo>
                  <a:lnTo>
                    <a:pt x="418" y="559"/>
                  </a:lnTo>
                  <a:lnTo>
                    <a:pt x="420" y="602"/>
                  </a:lnTo>
                  <a:lnTo>
                    <a:pt x="418" y="612"/>
                  </a:lnTo>
                  <a:lnTo>
                    <a:pt x="413" y="615"/>
                  </a:lnTo>
                  <a:lnTo>
                    <a:pt x="390" y="597"/>
                  </a:lnTo>
                  <a:lnTo>
                    <a:pt x="380" y="597"/>
                  </a:lnTo>
                  <a:lnTo>
                    <a:pt x="366" y="592"/>
                  </a:lnTo>
                  <a:lnTo>
                    <a:pt x="351" y="591"/>
                  </a:lnTo>
                  <a:lnTo>
                    <a:pt x="340" y="585"/>
                  </a:lnTo>
                  <a:lnTo>
                    <a:pt x="264" y="58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00063A2F-AB0F-5096-7CFF-C51324DF803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792573" y="3950796"/>
              <a:ext cx="88049" cy="193575"/>
            </a:xfrm>
            <a:custGeom>
              <a:avLst/>
              <a:gdLst>
                <a:gd name="T0" fmla="*/ 2147483647 w 166"/>
                <a:gd name="T1" fmla="*/ 0 h 340"/>
                <a:gd name="T2" fmla="*/ 2147483647 w 166"/>
                <a:gd name="T3" fmla="*/ 0 h 340"/>
                <a:gd name="T4" fmla="*/ 2147483647 w 166"/>
                <a:gd name="T5" fmla="*/ 0 h 340"/>
                <a:gd name="T6" fmla="*/ 2147483647 w 166"/>
                <a:gd name="T7" fmla="*/ 0 h 340"/>
                <a:gd name="T8" fmla="*/ 2147483647 w 166"/>
                <a:gd name="T9" fmla="*/ 0 h 340"/>
                <a:gd name="T10" fmla="*/ 2147483647 w 166"/>
                <a:gd name="T11" fmla="*/ 0 h 340"/>
                <a:gd name="T12" fmla="*/ 2147483647 w 166"/>
                <a:gd name="T13" fmla="*/ 0 h 340"/>
                <a:gd name="T14" fmla="*/ 2147483647 w 166"/>
                <a:gd name="T15" fmla="*/ 0 h 340"/>
                <a:gd name="T16" fmla="*/ 2147483647 w 166"/>
                <a:gd name="T17" fmla="*/ 0 h 340"/>
                <a:gd name="T18" fmla="*/ 2147483647 w 166"/>
                <a:gd name="T19" fmla="*/ 0 h 340"/>
                <a:gd name="T20" fmla="*/ 2147483647 w 166"/>
                <a:gd name="T21" fmla="*/ 0 h 340"/>
                <a:gd name="T22" fmla="*/ 0 w 166"/>
                <a:gd name="T23" fmla="*/ 0 h 340"/>
                <a:gd name="T24" fmla="*/ 0 w 166"/>
                <a:gd name="T25" fmla="*/ 0 h 340"/>
                <a:gd name="T26" fmla="*/ 0 w 166"/>
                <a:gd name="T27" fmla="*/ 0 h 340"/>
                <a:gd name="T28" fmla="*/ 0 w 166"/>
                <a:gd name="T29" fmla="*/ 0 h 340"/>
                <a:gd name="T30" fmla="*/ 0 w 166"/>
                <a:gd name="T31" fmla="*/ 0 h 340"/>
                <a:gd name="T32" fmla="*/ 0 w 166"/>
                <a:gd name="T33" fmla="*/ 2147483647 h 340"/>
                <a:gd name="T34" fmla="*/ 0 w 166"/>
                <a:gd name="T35" fmla="*/ 2147483647 h 340"/>
                <a:gd name="T36" fmla="*/ 0 w 166"/>
                <a:gd name="T37" fmla="*/ 2147483647 h 340"/>
                <a:gd name="T38" fmla="*/ 0 w 166"/>
                <a:gd name="T39" fmla="*/ 2147483647 h 340"/>
                <a:gd name="T40" fmla="*/ 0 w 166"/>
                <a:gd name="T41" fmla="*/ 2147483647 h 340"/>
                <a:gd name="T42" fmla="*/ 0 w 166"/>
                <a:gd name="T43" fmla="*/ 2147483647 h 340"/>
                <a:gd name="T44" fmla="*/ 2147483647 w 166"/>
                <a:gd name="T45" fmla="*/ 2147483647 h 340"/>
                <a:gd name="T46" fmla="*/ 2147483647 w 166"/>
                <a:gd name="T47" fmla="*/ 2147483647 h 340"/>
                <a:gd name="T48" fmla="*/ 2147483647 w 166"/>
                <a:gd name="T49" fmla="*/ 2147483647 h 340"/>
                <a:gd name="T50" fmla="*/ 2147483647 w 166"/>
                <a:gd name="T51" fmla="*/ 2147483647 h 340"/>
                <a:gd name="T52" fmla="*/ 2147483647 w 166"/>
                <a:gd name="T53" fmla="*/ 2147483647 h 340"/>
                <a:gd name="T54" fmla="*/ 2147483647 w 166"/>
                <a:gd name="T55" fmla="*/ 2147483647 h 340"/>
                <a:gd name="T56" fmla="*/ 2147483647 w 166"/>
                <a:gd name="T57" fmla="*/ 2147483647 h 340"/>
                <a:gd name="T58" fmla="*/ 2147483647 w 166"/>
                <a:gd name="T59" fmla="*/ 2147483647 h 340"/>
                <a:gd name="T60" fmla="*/ 2147483647 w 166"/>
                <a:gd name="T61" fmla="*/ 2147483647 h 340"/>
                <a:gd name="T62" fmla="*/ 2147483647 w 166"/>
                <a:gd name="T63" fmla="*/ 2147483647 h 340"/>
                <a:gd name="T64" fmla="*/ 2147483647 w 166"/>
                <a:gd name="T65" fmla="*/ 2147483647 h 340"/>
                <a:gd name="T66" fmla="*/ 2147483647 w 166"/>
                <a:gd name="T67" fmla="*/ 2147483647 h 340"/>
                <a:gd name="T68" fmla="*/ 2147483647 w 166"/>
                <a:gd name="T69" fmla="*/ 2147483647 h 340"/>
                <a:gd name="T70" fmla="*/ 2147483647 w 166"/>
                <a:gd name="T71" fmla="*/ 2147483647 h 340"/>
                <a:gd name="T72" fmla="*/ 2147483647 w 166"/>
                <a:gd name="T73" fmla="*/ 2147483647 h 340"/>
                <a:gd name="T74" fmla="*/ 2147483647 w 166"/>
                <a:gd name="T75" fmla="*/ 2147483647 h 340"/>
                <a:gd name="T76" fmla="*/ 2147483647 w 166"/>
                <a:gd name="T77" fmla="*/ 2147483647 h 340"/>
                <a:gd name="T78" fmla="*/ 2147483647 w 166"/>
                <a:gd name="T79" fmla="*/ 2147483647 h 340"/>
                <a:gd name="T80" fmla="*/ 2147483647 w 166"/>
                <a:gd name="T81" fmla="*/ 0 h 340"/>
                <a:gd name="T82" fmla="*/ 2147483647 w 166"/>
                <a:gd name="T83" fmla="*/ 0 h 340"/>
                <a:gd name="T84" fmla="*/ 2147483647 w 166"/>
                <a:gd name="T85" fmla="*/ 0 h 34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66"/>
                <a:gd name="T130" fmla="*/ 0 h 340"/>
                <a:gd name="T131" fmla="*/ 166 w 166"/>
                <a:gd name="T132" fmla="*/ 340 h 34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66" h="340">
                  <a:moveTo>
                    <a:pt x="156" y="37"/>
                  </a:moveTo>
                  <a:lnTo>
                    <a:pt x="147" y="30"/>
                  </a:lnTo>
                  <a:lnTo>
                    <a:pt x="140" y="25"/>
                  </a:lnTo>
                  <a:lnTo>
                    <a:pt x="128" y="12"/>
                  </a:lnTo>
                  <a:lnTo>
                    <a:pt x="117" y="1"/>
                  </a:lnTo>
                  <a:lnTo>
                    <a:pt x="114" y="0"/>
                  </a:lnTo>
                  <a:lnTo>
                    <a:pt x="106" y="4"/>
                  </a:lnTo>
                  <a:lnTo>
                    <a:pt x="101" y="5"/>
                  </a:lnTo>
                  <a:lnTo>
                    <a:pt x="90" y="8"/>
                  </a:lnTo>
                  <a:lnTo>
                    <a:pt x="90" y="12"/>
                  </a:lnTo>
                  <a:lnTo>
                    <a:pt x="97" y="21"/>
                  </a:lnTo>
                  <a:lnTo>
                    <a:pt x="90" y="25"/>
                  </a:lnTo>
                  <a:lnTo>
                    <a:pt x="90" y="24"/>
                  </a:lnTo>
                  <a:lnTo>
                    <a:pt x="90" y="26"/>
                  </a:lnTo>
                  <a:lnTo>
                    <a:pt x="88" y="31"/>
                  </a:lnTo>
                  <a:lnTo>
                    <a:pt x="85" y="35"/>
                  </a:lnTo>
                  <a:lnTo>
                    <a:pt x="85" y="36"/>
                  </a:lnTo>
                  <a:lnTo>
                    <a:pt x="83" y="39"/>
                  </a:lnTo>
                  <a:lnTo>
                    <a:pt x="71" y="51"/>
                  </a:lnTo>
                  <a:lnTo>
                    <a:pt x="66" y="53"/>
                  </a:lnTo>
                  <a:lnTo>
                    <a:pt x="60" y="51"/>
                  </a:lnTo>
                  <a:lnTo>
                    <a:pt x="52" y="53"/>
                  </a:lnTo>
                  <a:lnTo>
                    <a:pt x="43" y="49"/>
                  </a:lnTo>
                  <a:lnTo>
                    <a:pt x="37" y="49"/>
                  </a:lnTo>
                  <a:lnTo>
                    <a:pt x="34" y="51"/>
                  </a:lnTo>
                  <a:lnTo>
                    <a:pt x="27" y="63"/>
                  </a:lnTo>
                  <a:lnTo>
                    <a:pt x="23" y="62"/>
                  </a:lnTo>
                  <a:lnTo>
                    <a:pt x="21" y="64"/>
                  </a:lnTo>
                  <a:lnTo>
                    <a:pt x="20" y="65"/>
                  </a:lnTo>
                  <a:lnTo>
                    <a:pt x="17" y="68"/>
                  </a:lnTo>
                  <a:lnTo>
                    <a:pt x="16" y="74"/>
                  </a:lnTo>
                  <a:lnTo>
                    <a:pt x="12" y="74"/>
                  </a:lnTo>
                  <a:lnTo>
                    <a:pt x="9" y="78"/>
                  </a:lnTo>
                  <a:lnTo>
                    <a:pt x="6" y="80"/>
                  </a:lnTo>
                  <a:lnTo>
                    <a:pt x="5" y="87"/>
                  </a:lnTo>
                  <a:lnTo>
                    <a:pt x="1" y="95"/>
                  </a:lnTo>
                  <a:lnTo>
                    <a:pt x="0" y="105"/>
                  </a:lnTo>
                  <a:lnTo>
                    <a:pt x="0" y="113"/>
                  </a:lnTo>
                  <a:lnTo>
                    <a:pt x="5" y="117"/>
                  </a:lnTo>
                  <a:lnTo>
                    <a:pt x="11" y="121"/>
                  </a:lnTo>
                  <a:lnTo>
                    <a:pt x="15" y="121"/>
                  </a:lnTo>
                  <a:lnTo>
                    <a:pt x="20" y="124"/>
                  </a:lnTo>
                  <a:lnTo>
                    <a:pt x="32" y="139"/>
                  </a:lnTo>
                  <a:lnTo>
                    <a:pt x="41" y="159"/>
                  </a:lnTo>
                  <a:lnTo>
                    <a:pt x="47" y="180"/>
                  </a:lnTo>
                  <a:lnTo>
                    <a:pt x="50" y="189"/>
                  </a:lnTo>
                  <a:lnTo>
                    <a:pt x="52" y="195"/>
                  </a:lnTo>
                  <a:lnTo>
                    <a:pt x="54" y="204"/>
                  </a:lnTo>
                  <a:lnTo>
                    <a:pt x="56" y="215"/>
                  </a:lnTo>
                  <a:lnTo>
                    <a:pt x="58" y="234"/>
                  </a:lnTo>
                  <a:lnTo>
                    <a:pt x="58" y="285"/>
                  </a:lnTo>
                  <a:lnTo>
                    <a:pt x="54" y="308"/>
                  </a:lnTo>
                  <a:lnTo>
                    <a:pt x="54" y="318"/>
                  </a:lnTo>
                  <a:lnTo>
                    <a:pt x="58" y="331"/>
                  </a:lnTo>
                  <a:lnTo>
                    <a:pt x="60" y="338"/>
                  </a:lnTo>
                  <a:lnTo>
                    <a:pt x="61" y="339"/>
                  </a:lnTo>
                  <a:lnTo>
                    <a:pt x="68" y="340"/>
                  </a:lnTo>
                  <a:lnTo>
                    <a:pt x="112" y="337"/>
                  </a:lnTo>
                  <a:lnTo>
                    <a:pt x="109" y="334"/>
                  </a:lnTo>
                  <a:lnTo>
                    <a:pt x="107" y="295"/>
                  </a:lnTo>
                  <a:lnTo>
                    <a:pt x="108" y="286"/>
                  </a:lnTo>
                  <a:lnTo>
                    <a:pt x="113" y="265"/>
                  </a:lnTo>
                  <a:lnTo>
                    <a:pt x="112" y="235"/>
                  </a:lnTo>
                  <a:lnTo>
                    <a:pt x="113" y="215"/>
                  </a:lnTo>
                  <a:lnTo>
                    <a:pt x="117" y="203"/>
                  </a:lnTo>
                  <a:lnTo>
                    <a:pt x="129" y="183"/>
                  </a:lnTo>
                  <a:lnTo>
                    <a:pt x="130" y="168"/>
                  </a:lnTo>
                  <a:lnTo>
                    <a:pt x="133" y="159"/>
                  </a:lnTo>
                  <a:lnTo>
                    <a:pt x="141" y="149"/>
                  </a:lnTo>
                  <a:lnTo>
                    <a:pt x="156" y="138"/>
                  </a:lnTo>
                  <a:lnTo>
                    <a:pt x="156" y="132"/>
                  </a:lnTo>
                  <a:lnTo>
                    <a:pt x="160" y="129"/>
                  </a:lnTo>
                  <a:lnTo>
                    <a:pt x="160" y="128"/>
                  </a:lnTo>
                  <a:lnTo>
                    <a:pt x="160" y="124"/>
                  </a:lnTo>
                  <a:lnTo>
                    <a:pt x="155" y="119"/>
                  </a:lnTo>
                  <a:lnTo>
                    <a:pt x="155" y="117"/>
                  </a:lnTo>
                  <a:lnTo>
                    <a:pt x="157" y="111"/>
                  </a:lnTo>
                  <a:lnTo>
                    <a:pt x="160" y="109"/>
                  </a:lnTo>
                  <a:lnTo>
                    <a:pt x="165" y="109"/>
                  </a:lnTo>
                  <a:lnTo>
                    <a:pt x="166" y="107"/>
                  </a:lnTo>
                  <a:lnTo>
                    <a:pt x="166" y="89"/>
                  </a:lnTo>
                  <a:lnTo>
                    <a:pt x="162" y="74"/>
                  </a:lnTo>
                  <a:lnTo>
                    <a:pt x="161" y="69"/>
                  </a:lnTo>
                  <a:lnTo>
                    <a:pt x="151" y="59"/>
                  </a:lnTo>
                  <a:lnTo>
                    <a:pt x="150" y="54"/>
                  </a:lnTo>
                  <a:lnTo>
                    <a:pt x="151" y="43"/>
                  </a:lnTo>
                  <a:lnTo>
                    <a:pt x="156" y="3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5D4B5F02-327A-A239-496E-0428CD7C855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161182" y="3595654"/>
              <a:ext cx="314884" cy="512137"/>
            </a:xfrm>
            <a:custGeom>
              <a:avLst/>
              <a:gdLst>
                <a:gd name="T0" fmla="*/ 2147483647 w 588"/>
                <a:gd name="T1" fmla="*/ 2147483647 h 905"/>
                <a:gd name="T2" fmla="*/ 2147483647 w 588"/>
                <a:gd name="T3" fmla="*/ 2147483647 h 905"/>
                <a:gd name="T4" fmla="*/ 2147483647 w 588"/>
                <a:gd name="T5" fmla="*/ 2147483647 h 905"/>
                <a:gd name="T6" fmla="*/ 2147483647 w 588"/>
                <a:gd name="T7" fmla="*/ 2147483647 h 905"/>
                <a:gd name="T8" fmla="*/ 0 w 588"/>
                <a:gd name="T9" fmla="*/ 2147483647 h 905"/>
                <a:gd name="T10" fmla="*/ 0 w 588"/>
                <a:gd name="T11" fmla="*/ 2147483647 h 905"/>
                <a:gd name="T12" fmla="*/ 0 w 588"/>
                <a:gd name="T13" fmla="*/ 2147483647 h 905"/>
                <a:gd name="T14" fmla="*/ 0 w 588"/>
                <a:gd name="T15" fmla="*/ 2147483647 h 905"/>
                <a:gd name="T16" fmla="*/ 2147483647 w 588"/>
                <a:gd name="T17" fmla="*/ 2147483647 h 905"/>
                <a:gd name="T18" fmla="*/ 2147483647 w 588"/>
                <a:gd name="T19" fmla="*/ 2147483647 h 905"/>
                <a:gd name="T20" fmla="*/ 2147483647 w 588"/>
                <a:gd name="T21" fmla="*/ 2147483647 h 905"/>
                <a:gd name="T22" fmla="*/ 2147483647 w 588"/>
                <a:gd name="T23" fmla="*/ 2147483647 h 905"/>
                <a:gd name="T24" fmla="*/ 2147483647 w 588"/>
                <a:gd name="T25" fmla="*/ 2147483647 h 905"/>
                <a:gd name="T26" fmla="*/ 2147483647 w 588"/>
                <a:gd name="T27" fmla="*/ 2147483647 h 905"/>
                <a:gd name="T28" fmla="*/ 2147483647 w 588"/>
                <a:gd name="T29" fmla="*/ 2147483647 h 905"/>
                <a:gd name="T30" fmla="*/ 2147483647 w 588"/>
                <a:gd name="T31" fmla="*/ 2147483647 h 905"/>
                <a:gd name="T32" fmla="*/ 2147483647 w 588"/>
                <a:gd name="T33" fmla="*/ 2147483647 h 905"/>
                <a:gd name="T34" fmla="*/ 2147483647 w 588"/>
                <a:gd name="T35" fmla="*/ 2147483647 h 905"/>
                <a:gd name="T36" fmla="*/ 0 w 588"/>
                <a:gd name="T37" fmla="*/ 2147483647 h 905"/>
                <a:gd name="T38" fmla="*/ 2147483647 w 588"/>
                <a:gd name="T39" fmla="*/ 2147483647 h 905"/>
                <a:gd name="T40" fmla="*/ 2147483647 w 588"/>
                <a:gd name="T41" fmla="*/ 2147483647 h 905"/>
                <a:gd name="T42" fmla="*/ 2147483647 w 588"/>
                <a:gd name="T43" fmla="*/ 2147483647 h 905"/>
                <a:gd name="T44" fmla="*/ 2147483647 w 588"/>
                <a:gd name="T45" fmla="*/ 2147483647 h 905"/>
                <a:gd name="T46" fmla="*/ 2147483647 w 588"/>
                <a:gd name="T47" fmla="*/ 2147483647 h 905"/>
                <a:gd name="T48" fmla="*/ 2147483647 w 588"/>
                <a:gd name="T49" fmla="*/ 2147483647 h 905"/>
                <a:gd name="T50" fmla="*/ 2147483647 w 588"/>
                <a:gd name="T51" fmla="*/ 2147483647 h 905"/>
                <a:gd name="T52" fmla="*/ 2147483647 w 588"/>
                <a:gd name="T53" fmla="*/ 2147483647 h 905"/>
                <a:gd name="T54" fmla="*/ 2147483647 w 588"/>
                <a:gd name="T55" fmla="*/ 2147483647 h 905"/>
                <a:gd name="T56" fmla="*/ 2147483647 w 588"/>
                <a:gd name="T57" fmla="*/ 2147483647 h 905"/>
                <a:gd name="T58" fmla="*/ 2147483647 w 588"/>
                <a:gd name="T59" fmla="*/ 2147483647 h 905"/>
                <a:gd name="T60" fmla="*/ 2147483647 w 588"/>
                <a:gd name="T61" fmla="*/ 2147483647 h 905"/>
                <a:gd name="T62" fmla="*/ 2147483647 w 588"/>
                <a:gd name="T63" fmla="*/ 2147483647 h 905"/>
                <a:gd name="T64" fmla="*/ 2147483647 w 588"/>
                <a:gd name="T65" fmla="*/ 2147483647 h 905"/>
                <a:gd name="T66" fmla="*/ 2147483647 w 588"/>
                <a:gd name="T67" fmla="*/ 2147483647 h 905"/>
                <a:gd name="T68" fmla="*/ 2147483647 w 588"/>
                <a:gd name="T69" fmla="*/ 2147483647 h 905"/>
                <a:gd name="T70" fmla="*/ 2147483647 w 588"/>
                <a:gd name="T71" fmla="*/ 2147483647 h 905"/>
                <a:gd name="T72" fmla="*/ 2147483647 w 588"/>
                <a:gd name="T73" fmla="*/ 2147483647 h 905"/>
                <a:gd name="T74" fmla="*/ 2147483647 w 588"/>
                <a:gd name="T75" fmla="*/ 2147483647 h 905"/>
                <a:gd name="T76" fmla="*/ 2147483647 w 588"/>
                <a:gd name="T77" fmla="*/ 2147483647 h 905"/>
                <a:gd name="T78" fmla="*/ 2147483647 w 588"/>
                <a:gd name="T79" fmla="*/ 2147483647 h 905"/>
                <a:gd name="T80" fmla="*/ 2147483647 w 588"/>
                <a:gd name="T81" fmla="*/ 2147483647 h 905"/>
                <a:gd name="T82" fmla="*/ 2147483647 w 588"/>
                <a:gd name="T83" fmla="*/ 2147483647 h 905"/>
                <a:gd name="T84" fmla="*/ 2147483647 w 588"/>
                <a:gd name="T85" fmla="*/ 2147483647 h 905"/>
                <a:gd name="T86" fmla="*/ 2147483647 w 588"/>
                <a:gd name="T87" fmla="*/ 2147483647 h 905"/>
                <a:gd name="T88" fmla="*/ 2147483647 w 588"/>
                <a:gd name="T89" fmla="*/ 2147483647 h 905"/>
                <a:gd name="T90" fmla="*/ 2147483647 w 588"/>
                <a:gd name="T91" fmla="*/ 2147483647 h 905"/>
                <a:gd name="T92" fmla="*/ 2147483647 w 588"/>
                <a:gd name="T93" fmla="*/ 2147483647 h 905"/>
                <a:gd name="T94" fmla="*/ 2147483647 w 588"/>
                <a:gd name="T95" fmla="*/ 2147483647 h 905"/>
                <a:gd name="T96" fmla="*/ 2147483647 w 588"/>
                <a:gd name="T97" fmla="*/ 2147483647 h 905"/>
                <a:gd name="T98" fmla="*/ 2147483647 w 588"/>
                <a:gd name="T99" fmla="*/ 2147483647 h 905"/>
                <a:gd name="T100" fmla="*/ 2147483647 w 588"/>
                <a:gd name="T101" fmla="*/ 2147483647 h 905"/>
                <a:gd name="T102" fmla="*/ 2147483647 w 588"/>
                <a:gd name="T103" fmla="*/ 2147483647 h 905"/>
                <a:gd name="T104" fmla="*/ 2147483647 w 588"/>
                <a:gd name="T105" fmla="*/ 2147483647 h 905"/>
                <a:gd name="T106" fmla="*/ 2147483647 w 588"/>
                <a:gd name="T107" fmla="*/ 2147483647 h 905"/>
                <a:gd name="T108" fmla="*/ 2147483647 w 588"/>
                <a:gd name="T109" fmla="*/ 2147483647 h 905"/>
                <a:gd name="T110" fmla="*/ 2147483647 w 588"/>
                <a:gd name="T111" fmla="*/ 2147483647 h 905"/>
                <a:gd name="T112" fmla="*/ 2147483647 w 588"/>
                <a:gd name="T113" fmla="*/ 2147483647 h 905"/>
                <a:gd name="T114" fmla="*/ 2147483647 w 588"/>
                <a:gd name="T115" fmla="*/ 2147483647 h 905"/>
                <a:gd name="T116" fmla="*/ 2147483647 w 588"/>
                <a:gd name="T117" fmla="*/ 2147483647 h 905"/>
                <a:gd name="T118" fmla="*/ 2147483647 w 588"/>
                <a:gd name="T119" fmla="*/ 2147483647 h 905"/>
                <a:gd name="T120" fmla="*/ 2147483647 w 588"/>
                <a:gd name="T121" fmla="*/ 0 h 905"/>
                <a:gd name="T122" fmla="*/ 2147483647 w 588"/>
                <a:gd name="T123" fmla="*/ 0 h 905"/>
                <a:gd name="T124" fmla="*/ 2147483647 w 588"/>
                <a:gd name="T125" fmla="*/ 2147483647 h 90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88"/>
                <a:gd name="T190" fmla="*/ 0 h 905"/>
                <a:gd name="T191" fmla="*/ 588 w 588"/>
                <a:gd name="T192" fmla="*/ 905 h 90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88" h="905">
                  <a:moveTo>
                    <a:pt x="91" y="106"/>
                  </a:moveTo>
                  <a:lnTo>
                    <a:pt x="94" y="112"/>
                  </a:lnTo>
                  <a:lnTo>
                    <a:pt x="99" y="122"/>
                  </a:lnTo>
                  <a:lnTo>
                    <a:pt x="99" y="124"/>
                  </a:lnTo>
                  <a:lnTo>
                    <a:pt x="102" y="131"/>
                  </a:lnTo>
                  <a:lnTo>
                    <a:pt x="106" y="143"/>
                  </a:lnTo>
                  <a:lnTo>
                    <a:pt x="110" y="149"/>
                  </a:lnTo>
                  <a:lnTo>
                    <a:pt x="116" y="155"/>
                  </a:lnTo>
                  <a:lnTo>
                    <a:pt x="122" y="160"/>
                  </a:lnTo>
                  <a:lnTo>
                    <a:pt x="145" y="173"/>
                  </a:lnTo>
                  <a:lnTo>
                    <a:pt x="132" y="197"/>
                  </a:lnTo>
                  <a:lnTo>
                    <a:pt x="117" y="276"/>
                  </a:lnTo>
                  <a:lnTo>
                    <a:pt x="111" y="375"/>
                  </a:lnTo>
                  <a:lnTo>
                    <a:pt x="107" y="380"/>
                  </a:lnTo>
                  <a:lnTo>
                    <a:pt x="19" y="479"/>
                  </a:lnTo>
                  <a:lnTo>
                    <a:pt x="19" y="490"/>
                  </a:lnTo>
                  <a:lnTo>
                    <a:pt x="13" y="493"/>
                  </a:lnTo>
                  <a:lnTo>
                    <a:pt x="13" y="502"/>
                  </a:lnTo>
                  <a:lnTo>
                    <a:pt x="5" y="504"/>
                  </a:lnTo>
                  <a:lnTo>
                    <a:pt x="0" y="509"/>
                  </a:lnTo>
                  <a:lnTo>
                    <a:pt x="3" y="520"/>
                  </a:lnTo>
                  <a:lnTo>
                    <a:pt x="19" y="525"/>
                  </a:lnTo>
                  <a:lnTo>
                    <a:pt x="22" y="531"/>
                  </a:lnTo>
                  <a:lnTo>
                    <a:pt x="30" y="534"/>
                  </a:lnTo>
                  <a:lnTo>
                    <a:pt x="36" y="543"/>
                  </a:lnTo>
                  <a:lnTo>
                    <a:pt x="40" y="564"/>
                  </a:lnTo>
                  <a:lnTo>
                    <a:pt x="57" y="568"/>
                  </a:lnTo>
                  <a:lnTo>
                    <a:pt x="69" y="565"/>
                  </a:lnTo>
                  <a:lnTo>
                    <a:pt x="75" y="569"/>
                  </a:lnTo>
                  <a:lnTo>
                    <a:pt x="83" y="571"/>
                  </a:lnTo>
                  <a:lnTo>
                    <a:pt x="90" y="569"/>
                  </a:lnTo>
                  <a:lnTo>
                    <a:pt x="97" y="582"/>
                  </a:lnTo>
                  <a:lnTo>
                    <a:pt x="95" y="587"/>
                  </a:lnTo>
                  <a:lnTo>
                    <a:pt x="94" y="596"/>
                  </a:lnTo>
                  <a:lnTo>
                    <a:pt x="84" y="603"/>
                  </a:lnTo>
                  <a:lnTo>
                    <a:pt x="68" y="608"/>
                  </a:lnTo>
                  <a:lnTo>
                    <a:pt x="70" y="609"/>
                  </a:lnTo>
                  <a:lnTo>
                    <a:pt x="70" y="612"/>
                  </a:lnTo>
                  <a:lnTo>
                    <a:pt x="77" y="640"/>
                  </a:lnTo>
                  <a:lnTo>
                    <a:pt x="83" y="649"/>
                  </a:lnTo>
                  <a:lnTo>
                    <a:pt x="85" y="656"/>
                  </a:lnTo>
                  <a:lnTo>
                    <a:pt x="84" y="676"/>
                  </a:lnTo>
                  <a:lnTo>
                    <a:pt x="83" y="687"/>
                  </a:lnTo>
                  <a:lnTo>
                    <a:pt x="79" y="698"/>
                  </a:lnTo>
                  <a:lnTo>
                    <a:pt x="79" y="706"/>
                  </a:lnTo>
                  <a:lnTo>
                    <a:pt x="89" y="727"/>
                  </a:lnTo>
                  <a:lnTo>
                    <a:pt x="104" y="748"/>
                  </a:lnTo>
                  <a:lnTo>
                    <a:pt x="106" y="754"/>
                  </a:lnTo>
                  <a:lnTo>
                    <a:pt x="107" y="763"/>
                  </a:lnTo>
                  <a:lnTo>
                    <a:pt x="106" y="765"/>
                  </a:lnTo>
                  <a:lnTo>
                    <a:pt x="102" y="768"/>
                  </a:lnTo>
                  <a:lnTo>
                    <a:pt x="83" y="764"/>
                  </a:lnTo>
                  <a:lnTo>
                    <a:pt x="67" y="762"/>
                  </a:lnTo>
                  <a:lnTo>
                    <a:pt x="52" y="763"/>
                  </a:lnTo>
                  <a:lnTo>
                    <a:pt x="48" y="764"/>
                  </a:lnTo>
                  <a:lnTo>
                    <a:pt x="45" y="767"/>
                  </a:lnTo>
                  <a:lnTo>
                    <a:pt x="40" y="773"/>
                  </a:lnTo>
                  <a:lnTo>
                    <a:pt x="40" y="787"/>
                  </a:lnTo>
                  <a:lnTo>
                    <a:pt x="41" y="800"/>
                  </a:lnTo>
                  <a:lnTo>
                    <a:pt x="52" y="813"/>
                  </a:lnTo>
                  <a:lnTo>
                    <a:pt x="59" y="819"/>
                  </a:lnTo>
                  <a:lnTo>
                    <a:pt x="68" y="823"/>
                  </a:lnTo>
                  <a:lnTo>
                    <a:pt x="80" y="825"/>
                  </a:lnTo>
                  <a:lnTo>
                    <a:pt x="84" y="828"/>
                  </a:lnTo>
                  <a:lnTo>
                    <a:pt x="90" y="838"/>
                  </a:lnTo>
                  <a:lnTo>
                    <a:pt x="100" y="865"/>
                  </a:lnTo>
                  <a:lnTo>
                    <a:pt x="105" y="883"/>
                  </a:lnTo>
                  <a:lnTo>
                    <a:pt x="106" y="900"/>
                  </a:lnTo>
                  <a:lnTo>
                    <a:pt x="107" y="903"/>
                  </a:lnTo>
                  <a:lnTo>
                    <a:pt x="110" y="905"/>
                  </a:lnTo>
                  <a:lnTo>
                    <a:pt x="113" y="903"/>
                  </a:lnTo>
                  <a:lnTo>
                    <a:pt x="122" y="902"/>
                  </a:lnTo>
                  <a:lnTo>
                    <a:pt x="128" y="900"/>
                  </a:lnTo>
                  <a:lnTo>
                    <a:pt x="133" y="900"/>
                  </a:lnTo>
                  <a:lnTo>
                    <a:pt x="139" y="903"/>
                  </a:lnTo>
                  <a:lnTo>
                    <a:pt x="144" y="902"/>
                  </a:lnTo>
                  <a:lnTo>
                    <a:pt x="154" y="894"/>
                  </a:lnTo>
                  <a:lnTo>
                    <a:pt x="167" y="892"/>
                  </a:lnTo>
                  <a:lnTo>
                    <a:pt x="170" y="884"/>
                  </a:lnTo>
                  <a:lnTo>
                    <a:pt x="174" y="884"/>
                  </a:lnTo>
                  <a:lnTo>
                    <a:pt x="175" y="882"/>
                  </a:lnTo>
                  <a:lnTo>
                    <a:pt x="178" y="882"/>
                  </a:lnTo>
                  <a:lnTo>
                    <a:pt x="181" y="883"/>
                  </a:lnTo>
                  <a:lnTo>
                    <a:pt x="185" y="889"/>
                  </a:lnTo>
                  <a:lnTo>
                    <a:pt x="187" y="892"/>
                  </a:lnTo>
                  <a:lnTo>
                    <a:pt x="194" y="898"/>
                  </a:lnTo>
                  <a:lnTo>
                    <a:pt x="198" y="897"/>
                  </a:lnTo>
                  <a:lnTo>
                    <a:pt x="201" y="893"/>
                  </a:lnTo>
                  <a:lnTo>
                    <a:pt x="209" y="892"/>
                  </a:lnTo>
                  <a:lnTo>
                    <a:pt x="215" y="888"/>
                  </a:lnTo>
                  <a:lnTo>
                    <a:pt x="219" y="886"/>
                  </a:lnTo>
                  <a:lnTo>
                    <a:pt x="223" y="882"/>
                  </a:lnTo>
                  <a:lnTo>
                    <a:pt x="245" y="875"/>
                  </a:lnTo>
                  <a:lnTo>
                    <a:pt x="251" y="875"/>
                  </a:lnTo>
                  <a:lnTo>
                    <a:pt x="260" y="875"/>
                  </a:lnTo>
                  <a:lnTo>
                    <a:pt x="267" y="871"/>
                  </a:lnTo>
                  <a:lnTo>
                    <a:pt x="291" y="871"/>
                  </a:lnTo>
                  <a:lnTo>
                    <a:pt x="293" y="870"/>
                  </a:lnTo>
                  <a:lnTo>
                    <a:pt x="294" y="864"/>
                  </a:lnTo>
                  <a:lnTo>
                    <a:pt x="296" y="861"/>
                  </a:lnTo>
                  <a:lnTo>
                    <a:pt x="301" y="860"/>
                  </a:lnTo>
                  <a:lnTo>
                    <a:pt x="306" y="857"/>
                  </a:lnTo>
                  <a:lnTo>
                    <a:pt x="309" y="849"/>
                  </a:lnTo>
                  <a:lnTo>
                    <a:pt x="314" y="845"/>
                  </a:lnTo>
                  <a:lnTo>
                    <a:pt x="316" y="841"/>
                  </a:lnTo>
                  <a:lnTo>
                    <a:pt x="314" y="834"/>
                  </a:lnTo>
                  <a:lnTo>
                    <a:pt x="307" y="829"/>
                  </a:lnTo>
                  <a:lnTo>
                    <a:pt x="307" y="827"/>
                  </a:lnTo>
                  <a:lnTo>
                    <a:pt x="309" y="823"/>
                  </a:lnTo>
                  <a:lnTo>
                    <a:pt x="311" y="822"/>
                  </a:lnTo>
                  <a:lnTo>
                    <a:pt x="321" y="818"/>
                  </a:lnTo>
                  <a:lnTo>
                    <a:pt x="332" y="817"/>
                  </a:lnTo>
                  <a:lnTo>
                    <a:pt x="352" y="817"/>
                  </a:lnTo>
                  <a:lnTo>
                    <a:pt x="354" y="814"/>
                  </a:lnTo>
                  <a:lnTo>
                    <a:pt x="364" y="813"/>
                  </a:lnTo>
                  <a:lnTo>
                    <a:pt x="371" y="811"/>
                  </a:lnTo>
                  <a:lnTo>
                    <a:pt x="379" y="811"/>
                  </a:lnTo>
                  <a:lnTo>
                    <a:pt x="384" y="813"/>
                  </a:lnTo>
                  <a:lnTo>
                    <a:pt x="391" y="810"/>
                  </a:lnTo>
                  <a:lnTo>
                    <a:pt x="393" y="807"/>
                  </a:lnTo>
                  <a:lnTo>
                    <a:pt x="398" y="800"/>
                  </a:lnTo>
                  <a:lnTo>
                    <a:pt x="404" y="798"/>
                  </a:lnTo>
                  <a:lnTo>
                    <a:pt x="417" y="792"/>
                  </a:lnTo>
                  <a:lnTo>
                    <a:pt x="420" y="789"/>
                  </a:lnTo>
                  <a:lnTo>
                    <a:pt x="424" y="779"/>
                  </a:lnTo>
                  <a:lnTo>
                    <a:pt x="440" y="763"/>
                  </a:lnTo>
                  <a:lnTo>
                    <a:pt x="445" y="762"/>
                  </a:lnTo>
                  <a:lnTo>
                    <a:pt x="449" y="759"/>
                  </a:lnTo>
                  <a:lnTo>
                    <a:pt x="455" y="749"/>
                  </a:lnTo>
                  <a:lnTo>
                    <a:pt x="462" y="747"/>
                  </a:lnTo>
                  <a:lnTo>
                    <a:pt x="462" y="731"/>
                  </a:lnTo>
                  <a:lnTo>
                    <a:pt x="467" y="720"/>
                  </a:lnTo>
                  <a:lnTo>
                    <a:pt x="473" y="715"/>
                  </a:lnTo>
                  <a:lnTo>
                    <a:pt x="479" y="712"/>
                  </a:lnTo>
                  <a:lnTo>
                    <a:pt x="495" y="711"/>
                  </a:lnTo>
                  <a:lnTo>
                    <a:pt x="504" y="708"/>
                  </a:lnTo>
                  <a:lnTo>
                    <a:pt x="515" y="705"/>
                  </a:lnTo>
                  <a:lnTo>
                    <a:pt x="524" y="701"/>
                  </a:lnTo>
                  <a:lnTo>
                    <a:pt x="524" y="693"/>
                  </a:lnTo>
                  <a:lnTo>
                    <a:pt x="521" y="684"/>
                  </a:lnTo>
                  <a:lnTo>
                    <a:pt x="518" y="679"/>
                  </a:lnTo>
                  <a:lnTo>
                    <a:pt x="511" y="676"/>
                  </a:lnTo>
                  <a:lnTo>
                    <a:pt x="510" y="674"/>
                  </a:lnTo>
                  <a:lnTo>
                    <a:pt x="498" y="640"/>
                  </a:lnTo>
                  <a:lnTo>
                    <a:pt x="493" y="624"/>
                  </a:lnTo>
                  <a:lnTo>
                    <a:pt x="494" y="608"/>
                  </a:lnTo>
                  <a:lnTo>
                    <a:pt x="478" y="612"/>
                  </a:lnTo>
                  <a:lnTo>
                    <a:pt x="473" y="613"/>
                  </a:lnTo>
                  <a:lnTo>
                    <a:pt x="470" y="613"/>
                  </a:lnTo>
                  <a:lnTo>
                    <a:pt x="470" y="597"/>
                  </a:lnTo>
                  <a:lnTo>
                    <a:pt x="471" y="592"/>
                  </a:lnTo>
                  <a:lnTo>
                    <a:pt x="477" y="581"/>
                  </a:lnTo>
                  <a:lnTo>
                    <a:pt x="479" y="572"/>
                  </a:lnTo>
                  <a:lnTo>
                    <a:pt x="479" y="558"/>
                  </a:lnTo>
                  <a:lnTo>
                    <a:pt x="481" y="548"/>
                  </a:lnTo>
                  <a:lnTo>
                    <a:pt x="484" y="544"/>
                  </a:lnTo>
                  <a:lnTo>
                    <a:pt x="492" y="539"/>
                  </a:lnTo>
                  <a:lnTo>
                    <a:pt x="493" y="538"/>
                  </a:lnTo>
                  <a:lnTo>
                    <a:pt x="494" y="533"/>
                  </a:lnTo>
                  <a:lnTo>
                    <a:pt x="493" y="525"/>
                  </a:lnTo>
                  <a:lnTo>
                    <a:pt x="493" y="512"/>
                  </a:lnTo>
                  <a:lnTo>
                    <a:pt x="509" y="494"/>
                  </a:lnTo>
                  <a:lnTo>
                    <a:pt x="521" y="477"/>
                  </a:lnTo>
                  <a:lnTo>
                    <a:pt x="525" y="466"/>
                  </a:lnTo>
                  <a:lnTo>
                    <a:pt x="526" y="455"/>
                  </a:lnTo>
                  <a:lnTo>
                    <a:pt x="529" y="446"/>
                  </a:lnTo>
                  <a:lnTo>
                    <a:pt x="530" y="445"/>
                  </a:lnTo>
                  <a:lnTo>
                    <a:pt x="542" y="443"/>
                  </a:lnTo>
                  <a:lnTo>
                    <a:pt x="551" y="442"/>
                  </a:lnTo>
                  <a:lnTo>
                    <a:pt x="580" y="442"/>
                  </a:lnTo>
                  <a:lnTo>
                    <a:pt x="586" y="441"/>
                  </a:lnTo>
                  <a:lnTo>
                    <a:pt x="588" y="392"/>
                  </a:lnTo>
                  <a:lnTo>
                    <a:pt x="588" y="337"/>
                  </a:lnTo>
                  <a:lnTo>
                    <a:pt x="588" y="283"/>
                  </a:lnTo>
                  <a:lnTo>
                    <a:pt x="588" y="227"/>
                  </a:lnTo>
                  <a:lnTo>
                    <a:pt x="579" y="226"/>
                  </a:lnTo>
                  <a:lnTo>
                    <a:pt x="532" y="202"/>
                  </a:lnTo>
                  <a:lnTo>
                    <a:pt x="486" y="178"/>
                  </a:lnTo>
                  <a:lnTo>
                    <a:pt x="438" y="154"/>
                  </a:lnTo>
                  <a:lnTo>
                    <a:pt x="391" y="129"/>
                  </a:lnTo>
                  <a:lnTo>
                    <a:pt x="344" y="104"/>
                  </a:lnTo>
                  <a:lnTo>
                    <a:pt x="298" y="79"/>
                  </a:lnTo>
                  <a:lnTo>
                    <a:pt x="251" y="54"/>
                  </a:lnTo>
                  <a:lnTo>
                    <a:pt x="204" y="30"/>
                  </a:lnTo>
                  <a:lnTo>
                    <a:pt x="158" y="5"/>
                  </a:lnTo>
                  <a:lnTo>
                    <a:pt x="147" y="0"/>
                  </a:lnTo>
                  <a:lnTo>
                    <a:pt x="97" y="17"/>
                  </a:lnTo>
                  <a:lnTo>
                    <a:pt x="91" y="20"/>
                  </a:lnTo>
                  <a:lnTo>
                    <a:pt x="91" y="10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C38E831E-AF79-F823-35ED-18A8AECA039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838705" y="3769414"/>
              <a:ext cx="192512" cy="185955"/>
            </a:xfrm>
            <a:custGeom>
              <a:avLst/>
              <a:gdLst>
                <a:gd name="T0" fmla="*/ 2147483647 w 360"/>
                <a:gd name="T1" fmla="*/ 0 h 324"/>
                <a:gd name="T2" fmla="*/ 2147483647 w 360"/>
                <a:gd name="T3" fmla="*/ 0 h 324"/>
                <a:gd name="T4" fmla="*/ 0 w 360"/>
                <a:gd name="T5" fmla="*/ 0 h 324"/>
                <a:gd name="T6" fmla="*/ 0 w 360"/>
                <a:gd name="T7" fmla="*/ 2147483647 h 324"/>
                <a:gd name="T8" fmla="*/ 0 w 360"/>
                <a:gd name="T9" fmla="*/ 2147483647 h 324"/>
                <a:gd name="T10" fmla="*/ 0 w 360"/>
                <a:gd name="T11" fmla="*/ 2147483647 h 324"/>
                <a:gd name="T12" fmla="*/ 0 w 360"/>
                <a:gd name="T13" fmla="*/ 2147483647 h 324"/>
                <a:gd name="T14" fmla="*/ 0 w 360"/>
                <a:gd name="T15" fmla="*/ 2147483647 h 324"/>
                <a:gd name="T16" fmla="*/ 0 w 360"/>
                <a:gd name="T17" fmla="*/ 2147483647 h 324"/>
                <a:gd name="T18" fmla="*/ 2147483647 w 360"/>
                <a:gd name="T19" fmla="*/ 2147483647 h 324"/>
                <a:gd name="T20" fmla="*/ 2147483647 w 360"/>
                <a:gd name="T21" fmla="*/ 2147483647 h 324"/>
                <a:gd name="T22" fmla="*/ 2147483647 w 360"/>
                <a:gd name="T23" fmla="*/ 2147483647 h 324"/>
                <a:gd name="T24" fmla="*/ 2147483647 w 360"/>
                <a:gd name="T25" fmla="*/ 2147483647 h 324"/>
                <a:gd name="T26" fmla="*/ 2147483647 w 360"/>
                <a:gd name="T27" fmla="*/ 2147483647 h 324"/>
                <a:gd name="T28" fmla="*/ 2147483647 w 360"/>
                <a:gd name="T29" fmla="*/ 2147483647 h 324"/>
                <a:gd name="T30" fmla="*/ 2147483647 w 360"/>
                <a:gd name="T31" fmla="*/ 2147483647 h 324"/>
                <a:gd name="T32" fmla="*/ 2147483647 w 360"/>
                <a:gd name="T33" fmla="*/ 2147483647 h 324"/>
                <a:gd name="T34" fmla="*/ 2147483647 w 360"/>
                <a:gd name="T35" fmla="*/ 2147483647 h 324"/>
                <a:gd name="T36" fmla="*/ 2147483647 w 360"/>
                <a:gd name="T37" fmla="*/ 2147483647 h 324"/>
                <a:gd name="T38" fmla="*/ 2147483647 w 360"/>
                <a:gd name="T39" fmla="*/ 2147483647 h 324"/>
                <a:gd name="T40" fmla="*/ 2147483647 w 360"/>
                <a:gd name="T41" fmla="*/ 2147483647 h 324"/>
                <a:gd name="T42" fmla="*/ 2147483647 w 360"/>
                <a:gd name="T43" fmla="*/ 2147483647 h 324"/>
                <a:gd name="T44" fmla="*/ 2147483647 w 360"/>
                <a:gd name="T45" fmla="*/ 2147483647 h 324"/>
                <a:gd name="T46" fmla="*/ 2147483647 w 360"/>
                <a:gd name="T47" fmla="*/ 2147483647 h 324"/>
                <a:gd name="T48" fmla="*/ 2147483647 w 360"/>
                <a:gd name="T49" fmla="*/ 2147483647 h 324"/>
                <a:gd name="T50" fmla="*/ 2147483647 w 360"/>
                <a:gd name="T51" fmla="*/ 2147483647 h 324"/>
                <a:gd name="T52" fmla="*/ 2147483647 w 360"/>
                <a:gd name="T53" fmla="*/ 2147483647 h 324"/>
                <a:gd name="T54" fmla="*/ 2147483647 w 360"/>
                <a:gd name="T55" fmla="*/ 2147483647 h 324"/>
                <a:gd name="T56" fmla="*/ 2147483647 w 360"/>
                <a:gd name="T57" fmla="*/ 2147483647 h 324"/>
                <a:gd name="T58" fmla="*/ 2147483647 w 360"/>
                <a:gd name="T59" fmla="*/ 2147483647 h 324"/>
                <a:gd name="T60" fmla="*/ 2147483647 w 360"/>
                <a:gd name="T61" fmla="*/ 2147483647 h 324"/>
                <a:gd name="T62" fmla="*/ 2147483647 w 360"/>
                <a:gd name="T63" fmla="*/ 2147483647 h 324"/>
                <a:gd name="T64" fmla="*/ 2147483647 w 360"/>
                <a:gd name="T65" fmla="*/ 2147483647 h 324"/>
                <a:gd name="T66" fmla="*/ 2147483647 w 360"/>
                <a:gd name="T67" fmla="*/ 2147483647 h 324"/>
                <a:gd name="T68" fmla="*/ 2147483647 w 360"/>
                <a:gd name="T69" fmla="*/ 2147483647 h 324"/>
                <a:gd name="T70" fmla="*/ 2147483647 w 360"/>
                <a:gd name="T71" fmla="*/ 2147483647 h 324"/>
                <a:gd name="T72" fmla="*/ 2147483647 w 360"/>
                <a:gd name="T73" fmla="*/ 2147483647 h 324"/>
                <a:gd name="T74" fmla="*/ 2147483647 w 360"/>
                <a:gd name="T75" fmla="*/ 2147483647 h 324"/>
                <a:gd name="T76" fmla="*/ 2147483647 w 360"/>
                <a:gd name="T77" fmla="*/ 2147483647 h 324"/>
                <a:gd name="T78" fmla="*/ 2147483647 w 360"/>
                <a:gd name="T79" fmla="*/ 2147483647 h 324"/>
                <a:gd name="T80" fmla="*/ 2147483647 w 360"/>
                <a:gd name="T81" fmla="*/ 2147483647 h 324"/>
                <a:gd name="T82" fmla="*/ 2147483647 w 360"/>
                <a:gd name="T83" fmla="*/ 2147483647 h 324"/>
                <a:gd name="T84" fmla="*/ 2147483647 w 360"/>
                <a:gd name="T85" fmla="*/ 2147483647 h 324"/>
                <a:gd name="T86" fmla="*/ 2147483647 w 360"/>
                <a:gd name="T87" fmla="*/ 2147483647 h 324"/>
                <a:gd name="T88" fmla="*/ 2147483647 w 360"/>
                <a:gd name="T89" fmla="*/ 2147483647 h 324"/>
                <a:gd name="T90" fmla="*/ 2147483647 w 360"/>
                <a:gd name="T91" fmla="*/ 0 h 324"/>
                <a:gd name="T92" fmla="*/ 2147483647 w 360"/>
                <a:gd name="T93" fmla="*/ 0 h 324"/>
                <a:gd name="T94" fmla="*/ 2147483647 w 360"/>
                <a:gd name="T95" fmla="*/ 0 h 324"/>
                <a:gd name="T96" fmla="*/ 2147483647 w 360"/>
                <a:gd name="T97" fmla="*/ 0 h 32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60"/>
                <a:gd name="T148" fmla="*/ 0 h 324"/>
                <a:gd name="T149" fmla="*/ 360 w 360"/>
                <a:gd name="T150" fmla="*/ 324 h 32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60" h="324">
                  <a:moveTo>
                    <a:pt x="109" y="0"/>
                  </a:moveTo>
                  <a:lnTo>
                    <a:pt x="107" y="9"/>
                  </a:lnTo>
                  <a:lnTo>
                    <a:pt x="100" y="24"/>
                  </a:lnTo>
                  <a:lnTo>
                    <a:pt x="87" y="30"/>
                  </a:lnTo>
                  <a:lnTo>
                    <a:pt x="79" y="33"/>
                  </a:lnTo>
                  <a:lnTo>
                    <a:pt x="58" y="43"/>
                  </a:lnTo>
                  <a:lnTo>
                    <a:pt x="53" y="50"/>
                  </a:lnTo>
                  <a:lnTo>
                    <a:pt x="44" y="55"/>
                  </a:lnTo>
                  <a:lnTo>
                    <a:pt x="31" y="56"/>
                  </a:lnTo>
                  <a:lnTo>
                    <a:pt x="27" y="65"/>
                  </a:lnTo>
                  <a:lnTo>
                    <a:pt x="23" y="86"/>
                  </a:lnTo>
                  <a:lnTo>
                    <a:pt x="23" y="94"/>
                  </a:lnTo>
                  <a:lnTo>
                    <a:pt x="20" y="115"/>
                  </a:lnTo>
                  <a:lnTo>
                    <a:pt x="11" y="149"/>
                  </a:lnTo>
                  <a:lnTo>
                    <a:pt x="4" y="163"/>
                  </a:lnTo>
                  <a:lnTo>
                    <a:pt x="0" y="180"/>
                  </a:lnTo>
                  <a:lnTo>
                    <a:pt x="0" y="200"/>
                  </a:lnTo>
                  <a:lnTo>
                    <a:pt x="3" y="216"/>
                  </a:lnTo>
                  <a:lnTo>
                    <a:pt x="5" y="217"/>
                  </a:lnTo>
                  <a:lnTo>
                    <a:pt x="20" y="217"/>
                  </a:lnTo>
                  <a:lnTo>
                    <a:pt x="23" y="219"/>
                  </a:lnTo>
                  <a:lnTo>
                    <a:pt x="27" y="219"/>
                  </a:lnTo>
                  <a:lnTo>
                    <a:pt x="30" y="216"/>
                  </a:lnTo>
                  <a:lnTo>
                    <a:pt x="31" y="213"/>
                  </a:lnTo>
                  <a:lnTo>
                    <a:pt x="34" y="210"/>
                  </a:lnTo>
                  <a:lnTo>
                    <a:pt x="42" y="210"/>
                  </a:lnTo>
                  <a:lnTo>
                    <a:pt x="47" y="215"/>
                  </a:lnTo>
                  <a:lnTo>
                    <a:pt x="47" y="218"/>
                  </a:lnTo>
                  <a:lnTo>
                    <a:pt x="55" y="228"/>
                  </a:lnTo>
                  <a:lnTo>
                    <a:pt x="75" y="184"/>
                  </a:lnTo>
                  <a:lnTo>
                    <a:pt x="79" y="189"/>
                  </a:lnTo>
                  <a:lnTo>
                    <a:pt x="85" y="195"/>
                  </a:lnTo>
                  <a:lnTo>
                    <a:pt x="92" y="195"/>
                  </a:lnTo>
                  <a:lnTo>
                    <a:pt x="95" y="196"/>
                  </a:lnTo>
                  <a:lnTo>
                    <a:pt x="95" y="199"/>
                  </a:lnTo>
                  <a:lnTo>
                    <a:pt x="103" y="210"/>
                  </a:lnTo>
                  <a:lnTo>
                    <a:pt x="112" y="210"/>
                  </a:lnTo>
                  <a:lnTo>
                    <a:pt x="116" y="208"/>
                  </a:lnTo>
                  <a:lnTo>
                    <a:pt x="129" y="206"/>
                  </a:lnTo>
                  <a:lnTo>
                    <a:pt x="135" y="201"/>
                  </a:lnTo>
                  <a:lnTo>
                    <a:pt x="135" y="197"/>
                  </a:lnTo>
                  <a:lnTo>
                    <a:pt x="140" y="197"/>
                  </a:lnTo>
                  <a:lnTo>
                    <a:pt x="145" y="202"/>
                  </a:lnTo>
                  <a:lnTo>
                    <a:pt x="148" y="208"/>
                  </a:lnTo>
                  <a:lnTo>
                    <a:pt x="150" y="208"/>
                  </a:lnTo>
                  <a:lnTo>
                    <a:pt x="151" y="207"/>
                  </a:lnTo>
                  <a:lnTo>
                    <a:pt x="159" y="206"/>
                  </a:lnTo>
                  <a:lnTo>
                    <a:pt x="163" y="202"/>
                  </a:lnTo>
                  <a:lnTo>
                    <a:pt x="167" y="202"/>
                  </a:lnTo>
                  <a:lnTo>
                    <a:pt x="172" y="206"/>
                  </a:lnTo>
                  <a:lnTo>
                    <a:pt x="182" y="206"/>
                  </a:lnTo>
                  <a:lnTo>
                    <a:pt x="184" y="210"/>
                  </a:lnTo>
                  <a:lnTo>
                    <a:pt x="187" y="210"/>
                  </a:lnTo>
                  <a:lnTo>
                    <a:pt x="189" y="208"/>
                  </a:lnTo>
                  <a:lnTo>
                    <a:pt x="202" y="207"/>
                  </a:lnTo>
                  <a:lnTo>
                    <a:pt x="214" y="218"/>
                  </a:lnTo>
                  <a:lnTo>
                    <a:pt x="224" y="223"/>
                  </a:lnTo>
                  <a:lnTo>
                    <a:pt x="231" y="224"/>
                  </a:lnTo>
                  <a:lnTo>
                    <a:pt x="243" y="235"/>
                  </a:lnTo>
                  <a:lnTo>
                    <a:pt x="251" y="246"/>
                  </a:lnTo>
                  <a:lnTo>
                    <a:pt x="256" y="255"/>
                  </a:lnTo>
                  <a:lnTo>
                    <a:pt x="273" y="267"/>
                  </a:lnTo>
                  <a:lnTo>
                    <a:pt x="285" y="277"/>
                  </a:lnTo>
                  <a:lnTo>
                    <a:pt x="291" y="283"/>
                  </a:lnTo>
                  <a:lnTo>
                    <a:pt x="294" y="292"/>
                  </a:lnTo>
                  <a:lnTo>
                    <a:pt x="297" y="299"/>
                  </a:lnTo>
                  <a:lnTo>
                    <a:pt x="306" y="303"/>
                  </a:lnTo>
                  <a:lnTo>
                    <a:pt x="313" y="309"/>
                  </a:lnTo>
                  <a:lnTo>
                    <a:pt x="317" y="316"/>
                  </a:lnTo>
                  <a:lnTo>
                    <a:pt x="323" y="324"/>
                  </a:lnTo>
                  <a:lnTo>
                    <a:pt x="328" y="318"/>
                  </a:lnTo>
                  <a:lnTo>
                    <a:pt x="343" y="310"/>
                  </a:lnTo>
                  <a:lnTo>
                    <a:pt x="360" y="299"/>
                  </a:lnTo>
                  <a:lnTo>
                    <a:pt x="356" y="293"/>
                  </a:lnTo>
                  <a:lnTo>
                    <a:pt x="350" y="296"/>
                  </a:lnTo>
                  <a:lnTo>
                    <a:pt x="344" y="292"/>
                  </a:lnTo>
                  <a:lnTo>
                    <a:pt x="342" y="289"/>
                  </a:lnTo>
                  <a:lnTo>
                    <a:pt x="340" y="282"/>
                  </a:lnTo>
                  <a:lnTo>
                    <a:pt x="339" y="281"/>
                  </a:lnTo>
                  <a:lnTo>
                    <a:pt x="331" y="280"/>
                  </a:lnTo>
                  <a:lnTo>
                    <a:pt x="326" y="277"/>
                  </a:lnTo>
                  <a:lnTo>
                    <a:pt x="324" y="274"/>
                  </a:lnTo>
                  <a:lnTo>
                    <a:pt x="322" y="264"/>
                  </a:lnTo>
                  <a:lnTo>
                    <a:pt x="318" y="261"/>
                  </a:lnTo>
                  <a:lnTo>
                    <a:pt x="317" y="256"/>
                  </a:lnTo>
                  <a:lnTo>
                    <a:pt x="311" y="255"/>
                  </a:lnTo>
                  <a:lnTo>
                    <a:pt x="307" y="253"/>
                  </a:lnTo>
                  <a:lnTo>
                    <a:pt x="302" y="243"/>
                  </a:lnTo>
                  <a:lnTo>
                    <a:pt x="301" y="240"/>
                  </a:lnTo>
                  <a:lnTo>
                    <a:pt x="296" y="242"/>
                  </a:lnTo>
                  <a:lnTo>
                    <a:pt x="291" y="239"/>
                  </a:lnTo>
                  <a:lnTo>
                    <a:pt x="289" y="239"/>
                  </a:lnTo>
                  <a:lnTo>
                    <a:pt x="286" y="237"/>
                  </a:lnTo>
                  <a:lnTo>
                    <a:pt x="286" y="232"/>
                  </a:lnTo>
                  <a:lnTo>
                    <a:pt x="279" y="223"/>
                  </a:lnTo>
                  <a:lnTo>
                    <a:pt x="264" y="201"/>
                  </a:lnTo>
                  <a:lnTo>
                    <a:pt x="256" y="196"/>
                  </a:lnTo>
                  <a:lnTo>
                    <a:pt x="246" y="196"/>
                  </a:lnTo>
                  <a:lnTo>
                    <a:pt x="240" y="192"/>
                  </a:lnTo>
                  <a:lnTo>
                    <a:pt x="236" y="192"/>
                  </a:lnTo>
                  <a:lnTo>
                    <a:pt x="232" y="189"/>
                  </a:lnTo>
                  <a:lnTo>
                    <a:pt x="229" y="181"/>
                  </a:lnTo>
                  <a:lnTo>
                    <a:pt x="226" y="179"/>
                  </a:lnTo>
                  <a:lnTo>
                    <a:pt x="221" y="176"/>
                  </a:lnTo>
                  <a:lnTo>
                    <a:pt x="215" y="176"/>
                  </a:lnTo>
                  <a:lnTo>
                    <a:pt x="213" y="180"/>
                  </a:lnTo>
                  <a:lnTo>
                    <a:pt x="209" y="181"/>
                  </a:lnTo>
                  <a:lnTo>
                    <a:pt x="205" y="179"/>
                  </a:lnTo>
                  <a:lnTo>
                    <a:pt x="199" y="170"/>
                  </a:lnTo>
                  <a:lnTo>
                    <a:pt x="195" y="165"/>
                  </a:lnTo>
                  <a:lnTo>
                    <a:pt x="194" y="162"/>
                  </a:lnTo>
                  <a:lnTo>
                    <a:pt x="197" y="157"/>
                  </a:lnTo>
                  <a:lnTo>
                    <a:pt x="195" y="154"/>
                  </a:lnTo>
                  <a:lnTo>
                    <a:pt x="192" y="153"/>
                  </a:lnTo>
                  <a:lnTo>
                    <a:pt x="188" y="149"/>
                  </a:lnTo>
                  <a:lnTo>
                    <a:pt x="184" y="151"/>
                  </a:lnTo>
                  <a:lnTo>
                    <a:pt x="182" y="153"/>
                  </a:lnTo>
                  <a:lnTo>
                    <a:pt x="182" y="158"/>
                  </a:lnTo>
                  <a:lnTo>
                    <a:pt x="186" y="162"/>
                  </a:lnTo>
                  <a:lnTo>
                    <a:pt x="184" y="168"/>
                  </a:lnTo>
                  <a:lnTo>
                    <a:pt x="182" y="168"/>
                  </a:lnTo>
                  <a:lnTo>
                    <a:pt x="177" y="165"/>
                  </a:lnTo>
                  <a:lnTo>
                    <a:pt x="176" y="163"/>
                  </a:lnTo>
                  <a:lnTo>
                    <a:pt x="176" y="158"/>
                  </a:lnTo>
                  <a:lnTo>
                    <a:pt x="173" y="156"/>
                  </a:lnTo>
                  <a:lnTo>
                    <a:pt x="171" y="145"/>
                  </a:lnTo>
                  <a:lnTo>
                    <a:pt x="170" y="143"/>
                  </a:lnTo>
                  <a:lnTo>
                    <a:pt x="165" y="142"/>
                  </a:lnTo>
                  <a:lnTo>
                    <a:pt x="162" y="141"/>
                  </a:lnTo>
                  <a:lnTo>
                    <a:pt x="162" y="137"/>
                  </a:lnTo>
                  <a:lnTo>
                    <a:pt x="160" y="136"/>
                  </a:lnTo>
                  <a:lnTo>
                    <a:pt x="160" y="129"/>
                  </a:lnTo>
                  <a:lnTo>
                    <a:pt x="154" y="125"/>
                  </a:lnTo>
                  <a:lnTo>
                    <a:pt x="150" y="120"/>
                  </a:lnTo>
                  <a:lnTo>
                    <a:pt x="145" y="104"/>
                  </a:lnTo>
                  <a:lnTo>
                    <a:pt x="144" y="94"/>
                  </a:lnTo>
                  <a:lnTo>
                    <a:pt x="141" y="84"/>
                  </a:lnTo>
                  <a:lnTo>
                    <a:pt x="139" y="68"/>
                  </a:lnTo>
                  <a:lnTo>
                    <a:pt x="138" y="63"/>
                  </a:lnTo>
                  <a:lnTo>
                    <a:pt x="134" y="49"/>
                  </a:lnTo>
                  <a:lnTo>
                    <a:pt x="132" y="38"/>
                  </a:lnTo>
                  <a:lnTo>
                    <a:pt x="130" y="30"/>
                  </a:lnTo>
                  <a:lnTo>
                    <a:pt x="125" y="20"/>
                  </a:lnTo>
                  <a:lnTo>
                    <a:pt x="120" y="16"/>
                  </a:lnTo>
                  <a:lnTo>
                    <a:pt x="118" y="8"/>
                  </a:lnTo>
                  <a:lnTo>
                    <a:pt x="114" y="1"/>
                  </a:lnTo>
                  <a:lnTo>
                    <a:pt x="113" y="0"/>
                  </a:lnTo>
                  <a:lnTo>
                    <a:pt x="109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51F64AED-AEB5-03F8-89A5-00489313A9C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417995" y="3539258"/>
              <a:ext cx="473072" cy="483177"/>
            </a:xfrm>
            <a:custGeom>
              <a:avLst/>
              <a:gdLst>
                <a:gd name="T0" fmla="*/ 2147483647 w 891"/>
                <a:gd name="T1" fmla="*/ 2147483647 h 851"/>
                <a:gd name="T2" fmla="*/ 2147483647 w 891"/>
                <a:gd name="T3" fmla="*/ 2147483647 h 851"/>
                <a:gd name="T4" fmla="*/ 2147483647 w 891"/>
                <a:gd name="T5" fmla="*/ 2147483647 h 851"/>
                <a:gd name="T6" fmla="*/ 2147483647 w 891"/>
                <a:gd name="T7" fmla="*/ 2147483647 h 851"/>
                <a:gd name="T8" fmla="*/ 2147483647 w 891"/>
                <a:gd name="T9" fmla="*/ 2147483647 h 851"/>
                <a:gd name="T10" fmla="*/ 2147483647 w 891"/>
                <a:gd name="T11" fmla="*/ 2147483647 h 851"/>
                <a:gd name="T12" fmla="*/ 2147483647 w 891"/>
                <a:gd name="T13" fmla="*/ 2147483647 h 851"/>
                <a:gd name="T14" fmla="*/ 2147483647 w 891"/>
                <a:gd name="T15" fmla="*/ 2147483647 h 851"/>
                <a:gd name="T16" fmla="*/ 2147483647 w 891"/>
                <a:gd name="T17" fmla="*/ 2147483647 h 851"/>
                <a:gd name="T18" fmla="*/ 2147483647 w 891"/>
                <a:gd name="T19" fmla="*/ 2147483647 h 851"/>
                <a:gd name="T20" fmla="*/ 2147483647 w 891"/>
                <a:gd name="T21" fmla="*/ 2147483647 h 851"/>
                <a:gd name="T22" fmla="*/ 2147483647 w 891"/>
                <a:gd name="T23" fmla="*/ 2147483647 h 851"/>
                <a:gd name="T24" fmla="*/ 2147483647 w 891"/>
                <a:gd name="T25" fmla="*/ 2147483647 h 851"/>
                <a:gd name="T26" fmla="*/ 2147483647 w 891"/>
                <a:gd name="T27" fmla="*/ 2147483647 h 851"/>
                <a:gd name="T28" fmla="*/ 2147483647 w 891"/>
                <a:gd name="T29" fmla="*/ 2147483647 h 851"/>
                <a:gd name="T30" fmla="*/ 2147483647 w 891"/>
                <a:gd name="T31" fmla="*/ 2147483647 h 851"/>
                <a:gd name="T32" fmla="*/ 2147483647 w 891"/>
                <a:gd name="T33" fmla="*/ 2147483647 h 851"/>
                <a:gd name="T34" fmla="*/ 2147483647 w 891"/>
                <a:gd name="T35" fmla="*/ 2147483647 h 851"/>
                <a:gd name="T36" fmla="*/ 2147483647 w 891"/>
                <a:gd name="T37" fmla="*/ 2147483647 h 851"/>
                <a:gd name="T38" fmla="*/ 2147483647 w 891"/>
                <a:gd name="T39" fmla="*/ 2147483647 h 851"/>
                <a:gd name="T40" fmla="*/ 2147483647 w 891"/>
                <a:gd name="T41" fmla="*/ 2147483647 h 851"/>
                <a:gd name="T42" fmla="*/ 2147483647 w 891"/>
                <a:gd name="T43" fmla="*/ 2147483647 h 851"/>
                <a:gd name="T44" fmla="*/ 2147483647 w 891"/>
                <a:gd name="T45" fmla="*/ 2147483647 h 851"/>
                <a:gd name="T46" fmla="*/ 2147483647 w 891"/>
                <a:gd name="T47" fmla="*/ 2147483647 h 851"/>
                <a:gd name="T48" fmla="*/ 2147483647 w 891"/>
                <a:gd name="T49" fmla="*/ 2147483647 h 851"/>
                <a:gd name="T50" fmla="*/ 2147483647 w 891"/>
                <a:gd name="T51" fmla="*/ 2147483647 h 851"/>
                <a:gd name="T52" fmla="*/ 2147483647 w 891"/>
                <a:gd name="T53" fmla="*/ 2147483647 h 851"/>
                <a:gd name="T54" fmla="*/ 2147483647 w 891"/>
                <a:gd name="T55" fmla="*/ 2147483647 h 851"/>
                <a:gd name="T56" fmla="*/ 2147483647 w 891"/>
                <a:gd name="T57" fmla="*/ 2147483647 h 851"/>
                <a:gd name="T58" fmla="*/ 2147483647 w 891"/>
                <a:gd name="T59" fmla="*/ 2147483647 h 851"/>
                <a:gd name="T60" fmla="*/ 2147483647 w 891"/>
                <a:gd name="T61" fmla="*/ 2147483647 h 851"/>
                <a:gd name="T62" fmla="*/ 2147483647 w 891"/>
                <a:gd name="T63" fmla="*/ 2147483647 h 851"/>
                <a:gd name="T64" fmla="*/ 2147483647 w 891"/>
                <a:gd name="T65" fmla="*/ 2147483647 h 851"/>
                <a:gd name="T66" fmla="*/ 2147483647 w 891"/>
                <a:gd name="T67" fmla="*/ 2147483647 h 851"/>
                <a:gd name="T68" fmla="*/ 2147483647 w 891"/>
                <a:gd name="T69" fmla="*/ 2147483647 h 851"/>
                <a:gd name="T70" fmla="*/ 2147483647 w 891"/>
                <a:gd name="T71" fmla="*/ 2147483647 h 851"/>
                <a:gd name="T72" fmla="*/ 2147483647 w 891"/>
                <a:gd name="T73" fmla="*/ 2147483647 h 851"/>
                <a:gd name="T74" fmla="*/ 2147483647 w 891"/>
                <a:gd name="T75" fmla="*/ 2147483647 h 851"/>
                <a:gd name="T76" fmla="*/ 2147483647 w 891"/>
                <a:gd name="T77" fmla="*/ 2147483647 h 851"/>
                <a:gd name="T78" fmla="*/ 2147483647 w 891"/>
                <a:gd name="T79" fmla="*/ 2147483647 h 851"/>
                <a:gd name="T80" fmla="*/ 0 w 891"/>
                <a:gd name="T81" fmla="*/ 2147483647 h 851"/>
                <a:gd name="T82" fmla="*/ 0 w 891"/>
                <a:gd name="T83" fmla="*/ 2147483647 h 851"/>
                <a:gd name="T84" fmla="*/ 0 w 891"/>
                <a:gd name="T85" fmla="*/ 2147483647 h 851"/>
                <a:gd name="T86" fmla="*/ 0 w 891"/>
                <a:gd name="T87" fmla="*/ 2147483647 h 851"/>
                <a:gd name="T88" fmla="*/ 0 w 891"/>
                <a:gd name="T89" fmla="*/ 2147483647 h 851"/>
                <a:gd name="T90" fmla="*/ 0 w 891"/>
                <a:gd name="T91" fmla="*/ 2147483647 h 851"/>
                <a:gd name="T92" fmla="*/ 0 w 891"/>
                <a:gd name="T93" fmla="*/ 2147483647 h 851"/>
                <a:gd name="T94" fmla="*/ 0 w 891"/>
                <a:gd name="T95" fmla="*/ 2147483647 h 851"/>
                <a:gd name="T96" fmla="*/ 0 w 891"/>
                <a:gd name="T97" fmla="*/ 2147483647 h 851"/>
                <a:gd name="T98" fmla="*/ 0 w 891"/>
                <a:gd name="T99" fmla="*/ 2147483647 h 851"/>
                <a:gd name="T100" fmla="*/ 2147483647 w 891"/>
                <a:gd name="T101" fmla="*/ 2147483647 h 851"/>
                <a:gd name="T102" fmla="*/ 2147483647 w 891"/>
                <a:gd name="T103" fmla="*/ 2147483647 h 851"/>
                <a:gd name="T104" fmla="*/ 2147483647 w 891"/>
                <a:gd name="T105" fmla="*/ 2147483647 h 851"/>
                <a:gd name="T106" fmla="*/ 2147483647 w 891"/>
                <a:gd name="T107" fmla="*/ 2147483647 h 85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91"/>
                <a:gd name="T163" fmla="*/ 0 h 851"/>
                <a:gd name="T164" fmla="*/ 891 w 891"/>
                <a:gd name="T165" fmla="*/ 851 h 851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91" h="851">
                  <a:moveTo>
                    <a:pt x="462" y="44"/>
                  </a:moveTo>
                  <a:lnTo>
                    <a:pt x="724" y="226"/>
                  </a:lnTo>
                  <a:lnTo>
                    <a:pt x="724" y="231"/>
                  </a:lnTo>
                  <a:lnTo>
                    <a:pt x="728" y="234"/>
                  </a:lnTo>
                  <a:lnTo>
                    <a:pt x="727" y="243"/>
                  </a:lnTo>
                  <a:lnTo>
                    <a:pt x="728" y="247"/>
                  </a:lnTo>
                  <a:lnTo>
                    <a:pt x="734" y="250"/>
                  </a:lnTo>
                  <a:lnTo>
                    <a:pt x="742" y="252"/>
                  </a:lnTo>
                  <a:lnTo>
                    <a:pt x="753" y="258"/>
                  </a:lnTo>
                  <a:lnTo>
                    <a:pt x="755" y="259"/>
                  </a:lnTo>
                  <a:lnTo>
                    <a:pt x="756" y="265"/>
                  </a:lnTo>
                  <a:lnTo>
                    <a:pt x="758" y="270"/>
                  </a:lnTo>
                  <a:lnTo>
                    <a:pt x="765" y="276"/>
                  </a:lnTo>
                  <a:lnTo>
                    <a:pt x="770" y="279"/>
                  </a:lnTo>
                  <a:lnTo>
                    <a:pt x="780" y="281"/>
                  </a:lnTo>
                  <a:lnTo>
                    <a:pt x="788" y="280"/>
                  </a:lnTo>
                  <a:lnTo>
                    <a:pt x="791" y="281"/>
                  </a:lnTo>
                  <a:lnTo>
                    <a:pt x="794" y="288"/>
                  </a:lnTo>
                  <a:lnTo>
                    <a:pt x="798" y="291"/>
                  </a:lnTo>
                  <a:lnTo>
                    <a:pt x="809" y="291"/>
                  </a:lnTo>
                  <a:lnTo>
                    <a:pt x="813" y="293"/>
                  </a:lnTo>
                  <a:lnTo>
                    <a:pt x="818" y="293"/>
                  </a:lnTo>
                  <a:lnTo>
                    <a:pt x="826" y="298"/>
                  </a:lnTo>
                  <a:lnTo>
                    <a:pt x="835" y="301"/>
                  </a:lnTo>
                  <a:lnTo>
                    <a:pt x="839" y="303"/>
                  </a:lnTo>
                  <a:lnTo>
                    <a:pt x="840" y="307"/>
                  </a:lnTo>
                  <a:lnTo>
                    <a:pt x="841" y="307"/>
                  </a:lnTo>
                  <a:lnTo>
                    <a:pt x="842" y="313"/>
                  </a:lnTo>
                  <a:lnTo>
                    <a:pt x="841" y="315"/>
                  </a:lnTo>
                  <a:lnTo>
                    <a:pt x="841" y="319"/>
                  </a:lnTo>
                  <a:lnTo>
                    <a:pt x="844" y="324"/>
                  </a:lnTo>
                  <a:lnTo>
                    <a:pt x="844" y="325"/>
                  </a:lnTo>
                  <a:lnTo>
                    <a:pt x="840" y="328"/>
                  </a:lnTo>
                  <a:lnTo>
                    <a:pt x="839" y="330"/>
                  </a:lnTo>
                  <a:lnTo>
                    <a:pt x="840" y="336"/>
                  </a:lnTo>
                  <a:lnTo>
                    <a:pt x="837" y="341"/>
                  </a:lnTo>
                  <a:lnTo>
                    <a:pt x="837" y="346"/>
                  </a:lnTo>
                  <a:lnTo>
                    <a:pt x="845" y="355"/>
                  </a:lnTo>
                  <a:lnTo>
                    <a:pt x="851" y="356"/>
                  </a:lnTo>
                  <a:lnTo>
                    <a:pt x="858" y="356"/>
                  </a:lnTo>
                  <a:lnTo>
                    <a:pt x="867" y="351"/>
                  </a:lnTo>
                  <a:lnTo>
                    <a:pt x="875" y="351"/>
                  </a:lnTo>
                  <a:lnTo>
                    <a:pt x="885" y="346"/>
                  </a:lnTo>
                  <a:lnTo>
                    <a:pt x="890" y="344"/>
                  </a:lnTo>
                  <a:lnTo>
                    <a:pt x="890" y="346"/>
                  </a:lnTo>
                  <a:lnTo>
                    <a:pt x="891" y="347"/>
                  </a:lnTo>
                  <a:lnTo>
                    <a:pt x="891" y="358"/>
                  </a:lnTo>
                  <a:lnTo>
                    <a:pt x="891" y="414"/>
                  </a:lnTo>
                  <a:lnTo>
                    <a:pt x="891" y="468"/>
                  </a:lnTo>
                  <a:lnTo>
                    <a:pt x="891" y="522"/>
                  </a:lnTo>
                  <a:lnTo>
                    <a:pt x="888" y="523"/>
                  </a:lnTo>
                  <a:lnTo>
                    <a:pt x="878" y="529"/>
                  </a:lnTo>
                  <a:lnTo>
                    <a:pt x="874" y="535"/>
                  </a:lnTo>
                  <a:lnTo>
                    <a:pt x="873" y="543"/>
                  </a:lnTo>
                  <a:lnTo>
                    <a:pt x="861" y="550"/>
                  </a:lnTo>
                  <a:lnTo>
                    <a:pt x="857" y="553"/>
                  </a:lnTo>
                  <a:lnTo>
                    <a:pt x="855" y="556"/>
                  </a:lnTo>
                  <a:lnTo>
                    <a:pt x="855" y="561"/>
                  </a:lnTo>
                  <a:lnTo>
                    <a:pt x="842" y="560"/>
                  </a:lnTo>
                  <a:lnTo>
                    <a:pt x="829" y="559"/>
                  </a:lnTo>
                  <a:lnTo>
                    <a:pt x="829" y="562"/>
                  </a:lnTo>
                  <a:lnTo>
                    <a:pt x="824" y="561"/>
                  </a:lnTo>
                  <a:lnTo>
                    <a:pt x="735" y="562"/>
                  </a:lnTo>
                  <a:lnTo>
                    <a:pt x="711" y="582"/>
                  </a:lnTo>
                  <a:lnTo>
                    <a:pt x="674" y="582"/>
                  </a:lnTo>
                  <a:lnTo>
                    <a:pt x="641" y="583"/>
                  </a:lnTo>
                  <a:lnTo>
                    <a:pt x="621" y="591"/>
                  </a:lnTo>
                  <a:lnTo>
                    <a:pt x="613" y="594"/>
                  </a:lnTo>
                  <a:lnTo>
                    <a:pt x="598" y="607"/>
                  </a:lnTo>
                  <a:lnTo>
                    <a:pt x="561" y="631"/>
                  </a:lnTo>
                  <a:lnTo>
                    <a:pt x="549" y="647"/>
                  </a:lnTo>
                  <a:lnTo>
                    <a:pt x="530" y="661"/>
                  </a:lnTo>
                  <a:lnTo>
                    <a:pt x="492" y="673"/>
                  </a:lnTo>
                  <a:lnTo>
                    <a:pt x="480" y="675"/>
                  </a:lnTo>
                  <a:lnTo>
                    <a:pt x="468" y="677"/>
                  </a:lnTo>
                  <a:lnTo>
                    <a:pt x="462" y="678"/>
                  </a:lnTo>
                  <a:lnTo>
                    <a:pt x="453" y="684"/>
                  </a:lnTo>
                  <a:lnTo>
                    <a:pt x="448" y="690"/>
                  </a:lnTo>
                  <a:lnTo>
                    <a:pt x="443" y="701"/>
                  </a:lnTo>
                  <a:lnTo>
                    <a:pt x="439" y="716"/>
                  </a:lnTo>
                  <a:lnTo>
                    <a:pt x="432" y="734"/>
                  </a:lnTo>
                  <a:lnTo>
                    <a:pt x="425" y="744"/>
                  </a:lnTo>
                  <a:lnTo>
                    <a:pt x="409" y="756"/>
                  </a:lnTo>
                  <a:lnTo>
                    <a:pt x="399" y="765"/>
                  </a:lnTo>
                  <a:lnTo>
                    <a:pt x="395" y="770"/>
                  </a:lnTo>
                  <a:lnTo>
                    <a:pt x="390" y="779"/>
                  </a:lnTo>
                  <a:lnTo>
                    <a:pt x="389" y="788"/>
                  </a:lnTo>
                  <a:lnTo>
                    <a:pt x="380" y="806"/>
                  </a:lnTo>
                  <a:lnTo>
                    <a:pt x="379" y="817"/>
                  </a:lnTo>
                  <a:lnTo>
                    <a:pt x="379" y="830"/>
                  </a:lnTo>
                  <a:lnTo>
                    <a:pt x="380" y="841"/>
                  </a:lnTo>
                  <a:lnTo>
                    <a:pt x="369" y="844"/>
                  </a:lnTo>
                  <a:lnTo>
                    <a:pt x="367" y="842"/>
                  </a:lnTo>
                  <a:lnTo>
                    <a:pt x="363" y="836"/>
                  </a:lnTo>
                  <a:lnTo>
                    <a:pt x="361" y="835"/>
                  </a:lnTo>
                  <a:lnTo>
                    <a:pt x="350" y="835"/>
                  </a:lnTo>
                  <a:lnTo>
                    <a:pt x="346" y="836"/>
                  </a:lnTo>
                  <a:lnTo>
                    <a:pt x="344" y="842"/>
                  </a:lnTo>
                  <a:lnTo>
                    <a:pt x="340" y="842"/>
                  </a:lnTo>
                  <a:lnTo>
                    <a:pt x="336" y="846"/>
                  </a:lnTo>
                  <a:lnTo>
                    <a:pt x="326" y="846"/>
                  </a:lnTo>
                  <a:lnTo>
                    <a:pt x="328" y="844"/>
                  </a:lnTo>
                  <a:lnTo>
                    <a:pt x="326" y="833"/>
                  </a:lnTo>
                  <a:lnTo>
                    <a:pt x="325" y="829"/>
                  </a:lnTo>
                  <a:lnTo>
                    <a:pt x="325" y="828"/>
                  </a:lnTo>
                  <a:lnTo>
                    <a:pt x="325" y="823"/>
                  </a:lnTo>
                  <a:lnTo>
                    <a:pt x="323" y="819"/>
                  </a:lnTo>
                  <a:lnTo>
                    <a:pt x="320" y="820"/>
                  </a:lnTo>
                  <a:lnTo>
                    <a:pt x="314" y="820"/>
                  </a:lnTo>
                  <a:lnTo>
                    <a:pt x="312" y="828"/>
                  </a:lnTo>
                  <a:lnTo>
                    <a:pt x="310" y="828"/>
                  </a:lnTo>
                  <a:lnTo>
                    <a:pt x="304" y="824"/>
                  </a:lnTo>
                  <a:lnTo>
                    <a:pt x="302" y="824"/>
                  </a:lnTo>
                  <a:lnTo>
                    <a:pt x="299" y="828"/>
                  </a:lnTo>
                  <a:lnTo>
                    <a:pt x="299" y="831"/>
                  </a:lnTo>
                  <a:lnTo>
                    <a:pt x="301" y="837"/>
                  </a:lnTo>
                  <a:lnTo>
                    <a:pt x="299" y="840"/>
                  </a:lnTo>
                  <a:lnTo>
                    <a:pt x="288" y="840"/>
                  </a:lnTo>
                  <a:lnTo>
                    <a:pt x="282" y="842"/>
                  </a:lnTo>
                  <a:lnTo>
                    <a:pt x="282" y="846"/>
                  </a:lnTo>
                  <a:lnTo>
                    <a:pt x="280" y="851"/>
                  </a:lnTo>
                  <a:lnTo>
                    <a:pt x="276" y="851"/>
                  </a:lnTo>
                  <a:lnTo>
                    <a:pt x="272" y="849"/>
                  </a:lnTo>
                  <a:lnTo>
                    <a:pt x="269" y="844"/>
                  </a:lnTo>
                  <a:lnTo>
                    <a:pt x="266" y="844"/>
                  </a:lnTo>
                  <a:lnTo>
                    <a:pt x="264" y="845"/>
                  </a:lnTo>
                  <a:lnTo>
                    <a:pt x="262" y="846"/>
                  </a:lnTo>
                  <a:lnTo>
                    <a:pt x="261" y="846"/>
                  </a:lnTo>
                  <a:lnTo>
                    <a:pt x="260" y="840"/>
                  </a:lnTo>
                  <a:lnTo>
                    <a:pt x="256" y="835"/>
                  </a:lnTo>
                  <a:lnTo>
                    <a:pt x="253" y="834"/>
                  </a:lnTo>
                  <a:lnTo>
                    <a:pt x="249" y="837"/>
                  </a:lnTo>
                  <a:lnTo>
                    <a:pt x="244" y="836"/>
                  </a:lnTo>
                  <a:lnTo>
                    <a:pt x="242" y="837"/>
                  </a:lnTo>
                  <a:lnTo>
                    <a:pt x="239" y="840"/>
                  </a:lnTo>
                  <a:lnTo>
                    <a:pt x="238" y="844"/>
                  </a:lnTo>
                  <a:lnTo>
                    <a:pt x="235" y="847"/>
                  </a:lnTo>
                  <a:lnTo>
                    <a:pt x="229" y="849"/>
                  </a:lnTo>
                  <a:lnTo>
                    <a:pt x="229" y="846"/>
                  </a:lnTo>
                  <a:lnTo>
                    <a:pt x="227" y="842"/>
                  </a:lnTo>
                  <a:lnTo>
                    <a:pt x="222" y="840"/>
                  </a:lnTo>
                  <a:lnTo>
                    <a:pt x="220" y="835"/>
                  </a:lnTo>
                  <a:lnTo>
                    <a:pt x="215" y="835"/>
                  </a:lnTo>
                  <a:lnTo>
                    <a:pt x="211" y="829"/>
                  </a:lnTo>
                  <a:lnTo>
                    <a:pt x="210" y="806"/>
                  </a:lnTo>
                  <a:lnTo>
                    <a:pt x="210" y="802"/>
                  </a:lnTo>
                  <a:lnTo>
                    <a:pt x="205" y="801"/>
                  </a:lnTo>
                  <a:lnTo>
                    <a:pt x="200" y="801"/>
                  </a:lnTo>
                  <a:lnTo>
                    <a:pt x="194" y="808"/>
                  </a:lnTo>
                  <a:lnTo>
                    <a:pt x="191" y="808"/>
                  </a:lnTo>
                  <a:lnTo>
                    <a:pt x="191" y="801"/>
                  </a:lnTo>
                  <a:lnTo>
                    <a:pt x="192" y="798"/>
                  </a:lnTo>
                  <a:lnTo>
                    <a:pt x="197" y="797"/>
                  </a:lnTo>
                  <a:lnTo>
                    <a:pt x="197" y="792"/>
                  </a:lnTo>
                  <a:lnTo>
                    <a:pt x="201" y="792"/>
                  </a:lnTo>
                  <a:lnTo>
                    <a:pt x="204" y="788"/>
                  </a:lnTo>
                  <a:lnTo>
                    <a:pt x="207" y="788"/>
                  </a:lnTo>
                  <a:lnTo>
                    <a:pt x="207" y="782"/>
                  </a:lnTo>
                  <a:lnTo>
                    <a:pt x="206" y="782"/>
                  </a:lnTo>
                  <a:lnTo>
                    <a:pt x="201" y="782"/>
                  </a:lnTo>
                  <a:lnTo>
                    <a:pt x="197" y="779"/>
                  </a:lnTo>
                  <a:lnTo>
                    <a:pt x="194" y="776"/>
                  </a:lnTo>
                  <a:lnTo>
                    <a:pt x="189" y="766"/>
                  </a:lnTo>
                  <a:lnTo>
                    <a:pt x="184" y="769"/>
                  </a:lnTo>
                  <a:lnTo>
                    <a:pt x="183" y="767"/>
                  </a:lnTo>
                  <a:lnTo>
                    <a:pt x="183" y="750"/>
                  </a:lnTo>
                  <a:lnTo>
                    <a:pt x="181" y="745"/>
                  </a:lnTo>
                  <a:lnTo>
                    <a:pt x="179" y="745"/>
                  </a:lnTo>
                  <a:lnTo>
                    <a:pt x="179" y="739"/>
                  </a:lnTo>
                  <a:lnTo>
                    <a:pt x="178" y="737"/>
                  </a:lnTo>
                  <a:lnTo>
                    <a:pt x="174" y="737"/>
                  </a:lnTo>
                  <a:lnTo>
                    <a:pt x="173" y="737"/>
                  </a:lnTo>
                  <a:lnTo>
                    <a:pt x="174" y="724"/>
                  </a:lnTo>
                  <a:lnTo>
                    <a:pt x="174" y="723"/>
                  </a:lnTo>
                  <a:lnTo>
                    <a:pt x="170" y="721"/>
                  </a:lnTo>
                  <a:lnTo>
                    <a:pt x="168" y="721"/>
                  </a:lnTo>
                  <a:lnTo>
                    <a:pt x="164" y="724"/>
                  </a:lnTo>
                  <a:lnTo>
                    <a:pt x="163" y="724"/>
                  </a:lnTo>
                  <a:lnTo>
                    <a:pt x="156" y="720"/>
                  </a:lnTo>
                  <a:lnTo>
                    <a:pt x="153" y="720"/>
                  </a:lnTo>
                  <a:lnTo>
                    <a:pt x="152" y="721"/>
                  </a:lnTo>
                  <a:lnTo>
                    <a:pt x="152" y="729"/>
                  </a:lnTo>
                  <a:lnTo>
                    <a:pt x="149" y="733"/>
                  </a:lnTo>
                  <a:lnTo>
                    <a:pt x="136" y="737"/>
                  </a:lnTo>
                  <a:lnTo>
                    <a:pt x="136" y="743"/>
                  </a:lnTo>
                  <a:lnTo>
                    <a:pt x="134" y="747"/>
                  </a:lnTo>
                  <a:lnTo>
                    <a:pt x="120" y="743"/>
                  </a:lnTo>
                  <a:lnTo>
                    <a:pt x="110" y="737"/>
                  </a:lnTo>
                  <a:lnTo>
                    <a:pt x="102" y="736"/>
                  </a:lnTo>
                  <a:lnTo>
                    <a:pt x="99" y="736"/>
                  </a:lnTo>
                  <a:lnTo>
                    <a:pt x="95" y="742"/>
                  </a:lnTo>
                  <a:lnTo>
                    <a:pt x="89" y="743"/>
                  </a:lnTo>
                  <a:lnTo>
                    <a:pt x="87" y="749"/>
                  </a:lnTo>
                  <a:lnTo>
                    <a:pt x="83" y="753"/>
                  </a:lnTo>
                  <a:lnTo>
                    <a:pt x="78" y="750"/>
                  </a:lnTo>
                  <a:lnTo>
                    <a:pt x="70" y="739"/>
                  </a:lnTo>
                  <a:lnTo>
                    <a:pt x="67" y="737"/>
                  </a:lnTo>
                  <a:lnTo>
                    <a:pt x="62" y="737"/>
                  </a:lnTo>
                  <a:lnTo>
                    <a:pt x="56" y="743"/>
                  </a:lnTo>
                  <a:lnTo>
                    <a:pt x="52" y="747"/>
                  </a:lnTo>
                  <a:lnTo>
                    <a:pt x="48" y="748"/>
                  </a:lnTo>
                  <a:lnTo>
                    <a:pt x="43" y="744"/>
                  </a:lnTo>
                  <a:lnTo>
                    <a:pt x="38" y="740"/>
                  </a:lnTo>
                  <a:lnTo>
                    <a:pt x="39" y="737"/>
                  </a:lnTo>
                  <a:lnTo>
                    <a:pt x="43" y="732"/>
                  </a:lnTo>
                  <a:lnTo>
                    <a:pt x="43" y="728"/>
                  </a:lnTo>
                  <a:lnTo>
                    <a:pt x="46" y="724"/>
                  </a:lnTo>
                  <a:lnTo>
                    <a:pt x="48" y="723"/>
                  </a:lnTo>
                  <a:lnTo>
                    <a:pt x="48" y="721"/>
                  </a:lnTo>
                  <a:lnTo>
                    <a:pt x="44" y="717"/>
                  </a:lnTo>
                  <a:lnTo>
                    <a:pt x="44" y="710"/>
                  </a:lnTo>
                  <a:lnTo>
                    <a:pt x="46" y="706"/>
                  </a:lnTo>
                  <a:lnTo>
                    <a:pt x="46" y="702"/>
                  </a:lnTo>
                  <a:lnTo>
                    <a:pt x="45" y="699"/>
                  </a:lnTo>
                  <a:lnTo>
                    <a:pt x="45" y="697"/>
                  </a:lnTo>
                  <a:lnTo>
                    <a:pt x="46" y="697"/>
                  </a:lnTo>
                  <a:lnTo>
                    <a:pt x="45" y="694"/>
                  </a:lnTo>
                  <a:lnTo>
                    <a:pt x="41" y="689"/>
                  </a:lnTo>
                  <a:lnTo>
                    <a:pt x="39" y="684"/>
                  </a:lnTo>
                  <a:lnTo>
                    <a:pt x="36" y="682"/>
                  </a:lnTo>
                  <a:lnTo>
                    <a:pt x="35" y="678"/>
                  </a:lnTo>
                  <a:lnTo>
                    <a:pt x="32" y="674"/>
                  </a:lnTo>
                  <a:lnTo>
                    <a:pt x="32" y="670"/>
                  </a:lnTo>
                  <a:lnTo>
                    <a:pt x="27" y="670"/>
                  </a:lnTo>
                  <a:lnTo>
                    <a:pt x="24" y="673"/>
                  </a:lnTo>
                  <a:lnTo>
                    <a:pt x="20" y="673"/>
                  </a:lnTo>
                  <a:lnTo>
                    <a:pt x="19" y="672"/>
                  </a:lnTo>
                  <a:lnTo>
                    <a:pt x="17" y="666"/>
                  </a:lnTo>
                  <a:lnTo>
                    <a:pt x="9" y="654"/>
                  </a:lnTo>
                  <a:lnTo>
                    <a:pt x="9" y="652"/>
                  </a:lnTo>
                  <a:lnTo>
                    <a:pt x="14" y="646"/>
                  </a:lnTo>
                  <a:lnTo>
                    <a:pt x="13" y="641"/>
                  </a:lnTo>
                  <a:lnTo>
                    <a:pt x="11" y="635"/>
                  </a:lnTo>
                  <a:lnTo>
                    <a:pt x="11" y="629"/>
                  </a:lnTo>
                  <a:lnTo>
                    <a:pt x="9" y="621"/>
                  </a:lnTo>
                  <a:lnTo>
                    <a:pt x="6" y="618"/>
                  </a:lnTo>
                  <a:lnTo>
                    <a:pt x="5" y="618"/>
                  </a:lnTo>
                  <a:lnTo>
                    <a:pt x="3" y="614"/>
                  </a:lnTo>
                  <a:lnTo>
                    <a:pt x="1" y="614"/>
                  </a:lnTo>
                  <a:lnTo>
                    <a:pt x="1" y="608"/>
                  </a:lnTo>
                  <a:lnTo>
                    <a:pt x="3" y="600"/>
                  </a:lnTo>
                  <a:lnTo>
                    <a:pt x="2" y="597"/>
                  </a:lnTo>
                  <a:lnTo>
                    <a:pt x="0" y="594"/>
                  </a:lnTo>
                  <a:lnTo>
                    <a:pt x="23" y="572"/>
                  </a:lnTo>
                  <a:lnTo>
                    <a:pt x="30" y="554"/>
                  </a:lnTo>
                  <a:lnTo>
                    <a:pt x="34" y="543"/>
                  </a:lnTo>
                  <a:lnTo>
                    <a:pt x="39" y="532"/>
                  </a:lnTo>
                  <a:lnTo>
                    <a:pt x="41" y="530"/>
                  </a:lnTo>
                  <a:lnTo>
                    <a:pt x="45" y="532"/>
                  </a:lnTo>
                  <a:lnTo>
                    <a:pt x="45" y="533"/>
                  </a:lnTo>
                  <a:lnTo>
                    <a:pt x="51" y="534"/>
                  </a:lnTo>
                  <a:lnTo>
                    <a:pt x="55" y="537"/>
                  </a:lnTo>
                  <a:lnTo>
                    <a:pt x="60" y="550"/>
                  </a:lnTo>
                  <a:lnTo>
                    <a:pt x="70" y="568"/>
                  </a:lnTo>
                  <a:lnTo>
                    <a:pt x="84" y="572"/>
                  </a:lnTo>
                  <a:lnTo>
                    <a:pt x="87" y="572"/>
                  </a:lnTo>
                  <a:lnTo>
                    <a:pt x="113" y="550"/>
                  </a:lnTo>
                  <a:lnTo>
                    <a:pt x="200" y="553"/>
                  </a:lnTo>
                  <a:lnTo>
                    <a:pt x="271" y="554"/>
                  </a:lnTo>
                  <a:lnTo>
                    <a:pt x="344" y="555"/>
                  </a:lnTo>
                  <a:lnTo>
                    <a:pt x="362" y="555"/>
                  </a:lnTo>
                  <a:lnTo>
                    <a:pt x="374" y="508"/>
                  </a:lnTo>
                  <a:lnTo>
                    <a:pt x="352" y="501"/>
                  </a:lnTo>
                  <a:lnTo>
                    <a:pt x="346" y="444"/>
                  </a:lnTo>
                  <a:lnTo>
                    <a:pt x="341" y="389"/>
                  </a:lnTo>
                  <a:lnTo>
                    <a:pt x="335" y="335"/>
                  </a:lnTo>
                  <a:lnTo>
                    <a:pt x="329" y="281"/>
                  </a:lnTo>
                  <a:lnTo>
                    <a:pt x="324" y="226"/>
                  </a:lnTo>
                  <a:lnTo>
                    <a:pt x="318" y="169"/>
                  </a:lnTo>
                  <a:lnTo>
                    <a:pt x="313" y="114"/>
                  </a:lnTo>
                  <a:lnTo>
                    <a:pt x="307" y="58"/>
                  </a:lnTo>
                  <a:lnTo>
                    <a:pt x="301" y="0"/>
                  </a:lnTo>
                  <a:lnTo>
                    <a:pt x="398" y="0"/>
                  </a:lnTo>
                  <a:lnTo>
                    <a:pt x="462" y="4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C5A623AD-6ED5-F17C-490E-D6870780D3D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985085" y="3089613"/>
              <a:ext cx="117895" cy="265214"/>
            </a:xfrm>
            <a:custGeom>
              <a:avLst/>
              <a:gdLst>
                <a:gd name="T0" fmla="*/ 2147483647 w 218"/>
                <a:gd name="T1" fmla="*/ 2147483647 h 462"/>
                <a:gd name="T2" fmla="*/ 2147483647 w 218"/>
                <a:gd name="T3" fmla="*/ 2147483647 h 462"/>
                <a:gd name="T4" fmla="*/ 2147483647 w 218"/>
                <a:gd name="T5" fmla="*/ 2147483647 h 462"/>
                <a:gd name="T6" fmla="*/ 2147483647 w 218"/>
                <a:gd name="T7" fmla="*/ 2147483647 h 462"/>
                <a:gd name="T8" fmla="*/ 2147483647 w 218"/>
                <a:gd name="T9" fmla="*/ 2147483647 h 462"/>
                <a:gd name="T10" fmla="*/ 2147483647 w 218"/>
                <a:gd name="T11" fmla="*/ 2147483647 h 462"/>
                <a:gd name="T12" fmla="*/ 2147483647 w 218"/>
                <a:gd name="T13" fmla="*/ 2147483647 h 462"/>
                <a:gd name="T14" fmla="*/ 2147483647 w 218"/>
                <a:gd name="T15" fmla="*/ 2147483647 h 462"/>
                <a:gd name="T16" fmla="*/ 2147483647 w 218"/>
                <a:gd name="T17" fmla="*/ 2147483647 h 462"/>
                <a:gd name="T18" fmla="*/ 2147483647 w 218"/>
                <a:gd name="T19" fmla="*/ 2147483647 h 462"/>
                <a:gd name="T20" fmla="*/ 2147483647 w 218"/>
                <a:gd name="T21" fmla="*/ 2147483647 h 462"/>
                <a:gd name="T22" fmla="*/ 2147483647 w 218"/>
                <a:gd name="T23" fmla="*/ 2147483647 h 462"/>
                <a:gd name="T24" fmla="*/ 2147483647 w 218"/>
                <a:gd name="T25" fmla="*/ 2147483647 h 462"/>
                <a:gd name="T26" fmla="*/ 2147483647 w 218"/>
                <a:gd name="T27" fmla="*/ 2147483647 h 462"/>
                <a:gd name="T28" fmla="*/ 2147483647 w 218"/>
                <a:gd name="T29" fmla="*/ 2147483647 h 462"/>
                <a:gd name="T30" fmla="*/ 2147483647 w 218"/>
                <a:gd name="T31" fmla="*/ 2147483647 h 462"/>
                <a:gd name="T32" fmla="*/ 2147483647 w 218"/>
                <a:gd name="T33" fmla="*/ 2147483647 h 462"/>
                <a:gd name="T34" fmla="*/ 2147483647 w 218"/>
                <a:gd name="T35" fmla="*/ 2147483647 h 462"/>
                <a:gd name="T36" fmla="*/ 2147483647 w 218"/>
                <a:gd name="T37" fmla="*/ 2147483647 h 462"/>
                <a:gd name="T38" fmla="*/ 2147483647 w 218"/>
                <a:gd name="T39" fmla="*/ 2147483647 h 462"/>
                <a:gd name="T40" fmla="*/ 2147483647 w 218"/>
                <a:gd name="T41" fmla="*/ 2147483647 h 462"/>
                <a:gd name="T42" fmla="*/ 2147483647 w 218"/>
                <a:gd name="T43" fmla="*/ 2147483647 h 462"/>
                <a:gd name="T44" fmla="*/ 2147483647 w 218"/>
                <a:gd name="T45" fmla="*/ 2147483647 h 462"/>
                <a:gd name="T46" fmla="*/ 2147483647 w 218"/>
                <a:gd name="T47" fmla="*/ 2147483647 h 462"/>
                <a:gd name="T48" fmla="*/ 2147483647 w 218"/>
                <a:gd name="T49" fmla="*/ 2147483647 h 462"/>
                <a:gd name="T50" fmla="*/ 2147483647 w 218"/>
                <a:gd name="T51" fmla="*/ 0 h 462"/>
                <a:gd name="T52" fmla="*/ 2147483647 w 218"/>
                <a:gd name="T53" fmla="*/ 0 h 462"/>
                <a:gd name="T54" fmla="*/ 2147483647 w 218"/>
                <a:gd name="T55" fmla="*/ 0 h 462"/>
                <a:gd name="T56" fmla="*/ 2147483647 w 218"/>
                <a:gd name="T57" fmla="*/ 0 h 462"/>
                <a:gd name="T58" fmla="*/ 2147483647 w 218"/>
                <a:gd name="T59" fmla="*/ 0 h 462"/>
                <a:gd name="T60" fmla="*/ 2147483647 w 218"/>
                <a:gd name="T61" fmla="*/ 0 h 462"/>
                <a:gd name="T62" fmla="*/ 2147483647 w 218"/>
                <a:gd name="T63" fmla="*/ 0 h 462"/>
                <a:gd name="T64" fmla="*/ 2147483647 w 218"/>
                <a:gd name="T65" fmla="*/ 0 h 462"/>
                <a:gd name="T66" fmla="*/ 2147483647 w 218"/>
                <a:gd name="T67" fmla="*/ 0 h 462"/>
                <a:gd name="T68" fmla="*/ 2147483647 w 218"/>
                <a:gd name="T69" fmla="*/ 0 h 462"/>
                <a:gd name="T70" fmla="*/ 2147483647 w 218"/>
                <a:gd name="T71" fmla="*/ 0 h 462"/>
                <a:gd name="T72" fmla="*/ 2147483647 w 218"/>
                <a:gd name="T73" fmla="*/ 0 h 462"/>
                <a:gd name="T74" fmla="*/ 2147483647 w 218"/>
                <a:gd name="T75" fmla="*/ 0 h 462"/>
                <a:gd name="T76" fmla="*/ 2147483647 w 218"/>
                <a:gd name="T77" fmla="*/ 0 h 462"/>
                <a:gd name="T78" fmla="*/ 2147483647 w 218"/>
                <a:gd name="T79" fmla="*/ 0 h 462"/>
                <a:gd name="T80" fmla="*/ 2147483647 w 218"/>
                <a:gd name="T81" fmla="*/ 2147483647 h 462"/>
                <a:gd name="T82" fmla="*/ 2147483647 w 218"/>
                <a:gd name="T83" fmla="*/ 2147483647 h 462"/>
                <a:gd name="T84" fmla="*/ 2147483647 w 218"/>
                <a:gd name="T85" fmla="*/ 2147483647 h 462"/>
                <a:gd name="T86" fmla="*/ 2147483647 w 218"/>
                <a:gd name="T87" fmla="*/ 2147483647 h 462"/>
                <a:gd name="T88" fmla="*/ 0 w 218"/>
                <a:gd name="T89" fmla="*/ 2147483647 h 462"/>
                <a:gd name="T90" fmla="*/ 0 w 218"/>
                <a:gd name="T91" fmla="*/ 2147483647 h 462"/>
                <a:gd name="T92" fmla="*/ 0 w 218"/>
                <a:gd name="T93" fmla="*/ 2147483647 h 462"/>
                <a:gd name="T94" fmla="*/ 0 w 218"/>
                <a:gd name="T95" fmla="*/ 2147483647 h 462"/>
                <a:gd name="T96" fmla="*/ 0 w 218"/>
                <a:gd name="T97" fmla="*/ 2147483647 h 462"/>
                <a:gd name="T98" fmla="*/ 0 w 218"/>
                <a:gd name="T99" fmla="*/ 2147483647 h 462"/>
                <a:gd name="T100" fmla="*/ 0 w 218"/>
                <a:gd name="T101" fmla="*/ 2147483647 h 462"/>
                <a:gd name="T102" fmla="*/ 2147483647 w 218"/>
                <a:gd name="T103" fmla="*/ 2147483647 h 462"/>
                <a:gd name="T104" fmla="*/ 2147483647 w 218"/>
                <a:gd name="T105" fmla="*/ 2147483647 h 462"/>
                <a:gd name="T106" fmla="*/ 2147483647 w 218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18"/>
                <a:gd name="T163" fmla="*/ 0 h 462"/>
                <a:gd name="T164" fmla="*/ 218 w 218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18" h="462">
                  <a:moveTo>
                    <a:pt x="111" y="462"/>
                  </a:moveTo>
                  <a:lnTo>
                    <a:pt x="123" y="461"/>
                  </a:lnTo>
                  <a:lnTo>
                    <a:pt x="135" y="452"/>
                  </a:lnTo>
                  <a:lnTo>
                    <a:pt x="145" y="444"/>
                  </a:lnTo>
                  <a:lnTo>
                    <a:pt x="151" y="434"/>
                  </a:lnTo>
                  <a:lnTo>
                    <a:pt x="151" y="424"/>
                  </a:lnTo>
                  <a:lnTo>
                    <a:pt x="145" y="396"/>
                  </a:lnTo>
                  <a:lnTo>
                    <a:pt x="147" y="387"/>
                  </a:lnTo>
                  <a:lnTo>
                    <a:pt x="151" y="379"/>
                  </a:lnTo>
                  <a:lnTo>
                    <a:pt x="164" y="373"/>
                  </a:lnTo>
                  <a:lnTo>
                    <a:pt x="174" y="365"/>
                  </a:lnTo>
                  <a:lnTo>
                    <a:pt x="178" y="355"/>
                  </a:lnTo>
                  <a:lnTo>
                    <a:pt x="207" y="336"/>
                  </a:lnTo>
                  <a:lnTo>
                    <a:pt x="213" y="331"/>
                  </a:lnTo>
                  <a:lnTo>
                    <a:pt x="218" y="320"/>
                  </a:lnTo>
                  <a:lnTo>
                    <a:pt x="217" y="284"/>
                  </a:lnTo>
                  <a:lnTo>
                    <a:pt x="218" y="281"/>
                  </a:lnTo>
                  <a:lnTo>
                    <a:pt x="212" y="277"/>
                  </a:lnTo>
                  <a:lnTo>
                    <a:pt x="208" y="278"/>
                  </a:lnTo>
                  <a:lnTo>
                    <a:pt x="202" y="278"/>
                  </a:lnTo>
                  <a:lnTo>
                    <a:pt x="198" y="273"/>
                  </a:lnTo>
                  <a:lnTo>
                    <a:pt x="198" y="269"/>
                  </a:lnTo>
                  <a:lnTo>
                    <a:pt x="191" y="251"/>
                  </a:lnTo>
                  <a:lnTo>
                    <a:pt x="186" y="251"/>
                  </a:lnTo>
                  <a:lnTo>
                    <a:pt x="177" y="257"/>
                  </a:lnTo>
                  <a:lnTo>
                    <a:pt x="172" y="252"/>
                  </a:lnTo>
                  <a:lnTo>
                    <a:pt x="170" y="246"/>
                  </a:lnTo>
                  <a:lnTo>
                    <a:pt x="164" y="249"/>
                  </a:lnTo>
                  <a:lnTo>
                    <a:pt x="159" y="249"/>
                  </a:lnTo>
                  <a:lnTo>
                    <a:pt x="153" y="246"/>
                  </a:lnTo>
                  <a:lnTo>
                    <a:pt x="142" y="239"/>
                  </a:lnTo>
                  <a:lnTo>
                    <a:pt x="138" y="226"/>
                  </a:lnTo>
                  <a:lnTo>
                    <a:pt x="138" y="215"/>
                  </a:lnTo>
                  <a:lnTo>
                    <a:pt x="150" y="219"/>
                  </a:lnTo>
                  <a:lnTo>
                    <a:pt x="150" y="210"/>
                  </a:lnTo>
                  <a:lnTo>
                    <a:pt x="153" y="203"/>
                  </a:lnTo>
                  <a:lnTo>
                    <a:pt x="160" y="201"/>
                  </a:lnTo>
                  <a:lnTo>
                    <a:pt x="166" y="195"/>
                  </a:lnTo>
                  <a:lnTo>
                    <a:pt x="172" y="192"/>
                  </a:lnTo>
                  <a:lnTo>
                    <a:pt x="185" y="181"/>
                  </a:lnTo>
                  <a:lnTo>
                    <a:pt x="192" y="174"/>
                  </a:lnTo>
                  <a:lnTo>
                    <a:pt x="198" y="163"/>
                  </a:lnTo>
                  <a:lnTo>
                    <a:pt x="207" y="140"/>
                  </a:lnTo>
                  <a:lnTo>
                    <a:pt x="204" y="132"/>
                  </a:lnTo>
                  <a:lnTo>
                    <a:pt x="202" y="116"/>
                  </a:lnTo>
                  <a:lnTo>
                    <a:pt x="194" y="111"/>
                  </a:lnTo>
                  <a:lnTo>
                    <a:pt x="191" y="104"/>
                  </a:lnTo>
                  <a:lnTo>
                    <a:pt x="181" y="101"/>
                  </a:lnTo>
                  <a:lnTo>
                    <a:pt x="176" y="95"/>
                  </a:lnTo>
                  <a:lnTo>
                    <a:pt x="172" y="79"/>
                  </a:lnTo>
                  <a:lnTo>
                    <a:pt x="175" y="66"/>
                  </a:lnTo>
                  <a:lnTo>
                    <a:pt x="183" y="59"/>
                  </a:lnTo>
                  <a:lnTo>
                    <a:pt x="194" y="55"/>
                  </a:lnTo>
                  <a:lnTo>
                    <a:pt x="207" y="31"/>
                  </a:lnTo>
                  <a:lnTo>
                    <a:pt x="201" y="19"/>
                  </a:lnTo>
                  <a:lnTo>
                    <a:pt x="194" y="19"/>
                  </a:lnTo>
                  <a:lnTo>
                    <a:pt x="188" y="27"/>
                  </a:lnTo>
                  <a:lnTo>
                    <a:pt x="182" y="32"/>
                  </a:lnTo>
                  <a:lnTo>
                    <a:pt x="175" y="35"/>
                  </a:lnTo>
                  <a:lnTo>
                    <a:pt x="171" y="39"/>
                  </a:lnTo>
                  <a:lnTo>
                    <a:pt x="160" y="35"/>
                  </a:lnTo>
                  <a:lnTo>
                    <a:pt x="161" y="24"/>
                  </a:lnTo>
                  <a:lnTo>
                    <a:pt x="156" y="15"/>
                  </a:lnTo>
                  <a:lnTo>
                    <a:pt x="155" y="9"/>
                  </a:lnTo>
                  <a:lnTo>
                    <a:pt x="156" y="7"/>
                  </a:lnTo>
                  <a:lnTo>
                    <a:pt x="138" y="0"/>
                  </a:lnTo>
                  <a:lnTo>
                    <a:pt x="128" y="0"/>
                  </a:lnTo>
                  <a:lnTo>
                    <a:pt x="115" y="2"/>
                  </a:lnTo>
                  <a:lnTo>
                    <a:pt x="104" y="7"/>
                  </a:lnTo>
                  <a:lnTo>
                    <a:pt x="91" y="13"/>
                  </a:lnTo>
                  <a:lnTo>
                    <a:pt x="83" y="19"/>
                  </a:lnTo>
                  <a:lnTo>
                    <a:pt x="79" y="24"/>
                  </a:lnTo>
                  <a:lnTo>
                    <a:pt x="75" y="25"/>
                  </a:lnTo>
                  <a:lnTo>
                    <a:pt x="73" y="31"/>
                  </a:lnTo>
                  <a:lnTo>
                    <a:pt x="68" y="35"/>
                  </a:lnTo>
                  <a:lnTo>
                    <a:pt x="62" y="41"/>
                  </a:lnTo>
                  <a:lnTo>
                    <a:pt x="53" y="50"/>
                  </a:lnTo>
                  <a:lnTo>
                    <a:pt x="51" y="55"/>
                  </a:lnTo>
                  <a:lnTo>
                    <a:pt x="57" y="57"/>
                  </a:lnTo>
                  <a:lnTo>
                    <a:pt x="58" y="61"/>
                  </a:lnTo>
                  <a:lnTo>
                    <a:pt x="53" y="93"/>
                  </a:lnTo>
                  <a:lnTo>
                    <a:pt x="52" y="101"/>
                  </a:lnTo>
                  <a:lnTo>
                    <a:pt x="54" y="111"/>
                  </a:lnTo>
                  <a:lnTo>
                    <a:pt x="56" y="134"/>
                  </a:lnTo>
                  <a:lnTo>
                    <a:pt x="59" y="140"/>
                  </a:lnTo>
                  <a:lnTo>
                    <a:pt x="59" y="147"/>
                  </a:lnTo>
                  <a:lnTo>
                    <a:pt x="53" y="171"/>
                  </a:lnTo>
                  <a:lnTo>
                    <a:pt x="49" y="185"/>
                  </a:lnTo>
                  <a:lnTo>
                    <a:pt x="30" y="197"/>
                  </a:lnTo>
                  <a:lnTo>
                    <a:pt x="27" y="208"/>
                  </a:lnTo>
                  <a:lnTo>
                    <a:pt x="19" y="212"/>
                  </a:lnTo>
                  <a:lnTo>
                    <a:pt x="14" y="217"/>
                  </a:lnTo>
                  <a:lnTo>
                    <a:pt x="13" y="220"/>
                  </a:lnTo>
                  <a:lnTo>
                    <a:pt x="3" y="226"/>
                  </a:lnTo>
                  <a:lnTo>
                    <a:pt x="0" y="226"/>
                  </a:lnTo>
                  <a:lnTo>
                    <a:pt x="3" y="234"/>
                  </a:lnTo>
                  <a:lnTo>
                    <a:pt x="8" y="246"/>
                  </a:lnTo>
                  <a:lnTo>
                    <a:pt x="14" y="272"/>
                  </a:lnTo>
                  <a:lnTo>
                    <a:pt x="32" y="279"/>
                  </a:lnTo>
                  <a:lnTo>
                    <a:pt x="37" y="285"/>
                  </a:lnTo>
                  <a:lnTo>
                    <a:pt x="46" y="305"/>
                  </a:lnTo>
                  <a:lnTo>
                    <a:pt x="46" y="323"/>
                  </a:lnTo>
                  <a:lnTo>
                    <a:pt x="64" y="336"/>
                  </a:lnTo>
                  <a:lnTo>
                    <a:pt x="89" y="348"/>
                  </a:lnTo>
                  <a:lnTo>
                    <a:pt x="91" y="348"/>
                  </a:lnTo>
                  <a:lnTo>
                    <a:pt x="91" y="349"/>
                  </a:lnTo>
                  <a:lnTo>
                    <a:pt x="105" y="422"/>
                  </a:lnTo>
                  <a:lnTo>
                    <a:pt x="110" y="459"/>
                  </a:lnTo>
                  <a:lnTo>
                    <a:pt x="111" y="46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9D5ABFED-350C-2CE3-12D6-D66C9A6CE98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489497" y="3307576"/>
              <a:ext cx="328315" cy="341424"/>
            </a:xfrm>
            <a:custGeom>
              <a:avLst/>
              <a:gdLst>
                <a:gd name="T0" fmla="*/ 0 w 612"/>
                <a:gd name="T1" fmla="*/ 2147483647 h 605"/>
                <a:gd name="T2" fmla="*/ 0 w 612"/>
                <a:gd name="T3" fmla="*/ 2147483647 h 605"/>
                <a:gd name="T4" fmla="*/ 0 w 612"/>
                <a:gd name="T5" fmla="*/ 2147483647 h 605"/>
                <a:gd name="T6" fmla="*/ 0 w 612"/>
                <a:gd name="T7" fmla="*/ 2147483647 h 605"/>
                <a:gd name="T8" fmla="*/ 0 w 612"/>
                <a:gd name="T9" fmla="*/ 2147483647 h 605"/>
                <a:gd name="T10" fmla="*/ 0 w 612"/>
                <a:gd name="T11" fmla="*/ 0 h 605"/>
                <a:gd name="T12" fmla="*/ 0 w 612"/>
                <a:gd name="T13" fmla="*/ 0 h 605"/>
                <a:gd name="T14" fmla="*/ 0 w 612"/>
                <a:gd name="T15" fmla="*/ 0 h 605"/>
                <a:gd name="T16" fmla="*/ 0 w 612"/>
                <a:gd name="T17" fmla="*/ 0 h 605"/>
                <a:gd name="T18" fmla="*/ 2147483647 w 612"/>
                <a:gd name="T19" fmla="*/ 0 h 605"/>
                <a:gd name="T20" fmla="*/ 2147483647 w 612"/>
                <a:gd name="T21" fmla="*/ 0 h 605"/>
                <a:gd name="T22" fmla="*/ 2147483647 w 612"/>
                <a:gd name="T23" fmla="*/ 0 h 605"/>
                <a:gd name="T24" fmla="*/ 2147483647 w 612"/>
                <a:gd name="T25" fmla="*/ 0 h 605"/>
                <a:gd name="T26" fmla="*/ 2147483647 w 612"/>
                <a:gd name="T27" fmla="*/ 0 h 605"/>
                <a:gd name="T28" fmla="*/ 2147483647 w 612"/>
                <a:gd name="T29" fmla="*/ 0 h 605"/>
                <a:gd name="T30" fmla="*/ 2147483647 w 612"/>
                <a:gd name="T31" fmla="*/ 0 h 605"/>
                <a:gd name="T32" fmla="*/ 2147483647 w 612"/>
                <a:gd name="T33" fmla="*/ 0 h 605"/>
                <a:gd name="T34" fmla="*/ 2147483647 w 612"/>
                <a:gd name="T35" fmla="*/ 0 h 605"/>
                <a:gd name="T36" fmla="*/ 2147483647 w 612"/>
                <a:gd name="T37" fmla="*/ 0 h 605"/>
                <a:gd name="T38" fmla="*/ 2147483647 w 612"/>
                <a:gd name="T39" fmla="*/ 0 h 605"/>
                <a:gd name="T40" fmla="*/ 2147483647 w 612"/>
                <a:gd name="T41" fmla="*/ 0 h 605"/>
                <a:gd name="T42" fmla="*/ 2147483647 w 612"/>
                <a:gd name="T43" fmla="*/ 0 h 605"/>
                <a:gd name="T44" fmla="*/ 2147483647 w 612"/>
                <a:gd name="T45" fmla="*/ 0 h 605"/>
                <a:gd name="T46" fmla="*/ 2147483647 w 612"/>
                <a:gd name="T47" fmla="*/ 0 h 605"/>
                <a:gd name="T48" fmla="*/ 2147483647 w 612"/>
                <a:gd name="T49" fmla="*/ 0 h 605"/>
                <a:gd name="T50" fmla="*/ 2147483647 w 612"/>
                <a:gd name="T51" fmla="*/ 0 h 605"/>
                <a:gd name="T52" fmla="*/ 2147483647 w 612"/>
                <a:gd name="T53" fmla="*/ 2147483647 h 605"/>
                <a:gd name="T54" fmla="*/ 2147483647 w 612"/>
                <a:gd name="T55" fmla="*/ 2147483647 h 605"/>
                <a:gd name="T56" fmla="*/ 2147483647 w 612"/>
                <a:gd name="T57" fmla="*/ 2147483647 h 605"/>
                <a:gd name="T58" fmla="*/ 2147483647 w 612"/>
                <a:gd name="T59" fmla="*/ 2147483647 h 605"/>
                <a:gd name="T60" fmla="*/ 2147483647 w 612"/>
                <a:gd name="T61" fmla="*/ 2147483647 h 605"/>
                <a:gd name="T62" fmla="*/ 2147483647 w 612"/>
                <a:gd name="T63" fmla="*/ 2147483647 h 605"/>
                <a:gd name="T64" fmla="*/ 2147483647 w 612"/>
                <a:gd name="T65" fmla="*/ 2147483647 h 605"/>
                <a:gd name="T66" fmla="*/ 2147483647 w 612"/>
                <a:gd name="T67" fmla="*/ 2147483647 h 605"/>
                <a:gd name="T68" fmla="*/ 2147483647 w 612"/>
                <a:gd name="T69" fmla="*/ 2147483647 h 605"/>
                <a:gd name="T70" fmla="*/ 2147483647 w 612"/>
                <a:gd name="T71" fmla="*/ 2147483647 h 605"/>
                <a:gd name="T72" fmla="*/ 2147483647 w 612"/>
                <a:gd name="T73" fmla="*/ 2147483647 h 605"/>
                <a:gd name="T74" fmla="*/ 2147483647 w 612"/>
                <a:gd name="T75" fmla="*/ 2147483647 h 605"/>
                <a:gd name="T76" fmla="*/ 2147483647 w 612"/>
                <a:gd name="T77" fmla="*/ 2147483647 h 605"/>
                <a:gd name="T78" fmla="*/ 2147483647 w 612"/>
                <a:gd name="T79" fmla="*/ 2147483647 h 605"/>
                <a:gd name="T80" fmla="*/ 2147483647 w 612"/>
                <a:gd name="T81" fmla="*/ 2147483647 h 605"/>
                <a:gd name="T82" fmla="*/ 2147483647 w 612"/>
                <a:gd name="T83" fmla="*/ 2147483647 h 605"/>
                <a:gd name="T84" fmla="*/ 2147483647 w 612"/>
                <a:gd name="T85" fmla="*/ 2147483647 h 605"/>
                <a:gd name="T86" fmla="*/ 2147483647 w 612"/>
                <a:gd name="T87" fmla="*/ 2147483647 h 605"/>
                <a:gd name="T88" fmla="*/ 2147483647 w 612"/>
                <a:gd name="T89" fmla="*/ 2147483647 h 605"/>
                <a:gd name="T90" fmla="*/ 2147483647 w 612"/>
                <a:gd name="T91" fmla="*/ 2147483647 h 605"/>
                <a:gd name="T92" fmla="*/ 2147483647 w 612"/>
                <a:gd name="T93" fmla="*/ 2147483647 h 605"/>
                <a:gd name="T94" fmla="*/ 2147483647 w 612"/>
                <a:gd name="T95" fmla="*/ 2147483647 h 605"/>
                <a:gd name="T96" fmla="*/ 2147483647 w 612"/>
                <a:gd name="T97" fmla="*/ 2147483647 h 605"/>
                <a:gd name="T98" fmla="*/ 2147483647 w 612"/>
                <a:gd name="T99" fmla="*/ 2147483647 h 605"/>
                <a:gd name="T100" fmla="*/ 2147483647 w 612"/>
                <a:gd name="T101" fmla="*/ 2147483647 h 605"/>
                <a:gd name="T102" fmla="*/ 2147483647 w 612"/>
                <a:gd name="T103" fmla="*/ 2147483647 h 605"/>
                <a:gd name="T104" fmla="*/ 2147483647 w 612"/>
                <a:gd name="T105" fmla="*/ 2147483647 h 605"/>
                <a:gd name="T106" fmla="*/ 2147483647 w 612"/>
                <a:gd name="T107" fmla="*/ 2147483647 h 60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12"/>
                <a:gd name="T163" fmla="*/ 0 h 605"/>
                <a:gd name="T164" fmla="*/ 612 w 612"/>
                <a:gd name="T165" fmla="*/ 605 h 60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12" h="605">
                  <a:moveTo>
                    <a:pt x="24" y="552"/>
                  </a:moveTo>
                  <a:lnTo>
                    <a:pt x="24" y="496"/>
                  </a:lnTo>
                  <a:lnTo>
                    <a:pt x="24" y="438"/>
                  </a:lnTo>
                  <a:lnTo>
                    <a:pt x="24" y="382"/>
                  </a:lnTo>
                  <a:lnTo>
                    <a:pt x="24" y="324"/>
                  </a:lnTo>
                  <a:lnTo>
                    <a:pt x="24" y="265"/>
                  </a:lnTo>
                  <a:lnTo>
                    <a:pt x="24" y="207"/>
                  </a:lnTo>
                  <a:lnTo>
                    <a:pt x="24" y="164"/>
                  </a:lnTo>
                  <a:lnTo>
                    <a:pt x="7" y="146"/>
                  </a:lnTo>
                  <a:lnTo>
                    <a:pt x="10" y="133"/>
                  </a:lnTo>
                  <a:lnTo>
                    <a:pt x="8" y="130"/>
                  </a:lnTo>
                  <a:lnTo>
                    <a:pt x="1" y="120"/>
                  </a:lnTo>
                  <a:lnTo>
                    <a:pt x="0" y="99"/>
                  </a:lnTo>
                  <a:lnTo>
                    <a:pt x="0" y="95"/>
                  </a:lnTo>
                  <a:lnTo>
                    <a:pt x="3" y="90"/>
                  </a:lnTo>
                  <a:lnTo>
                    <a:pt x="13" y="86"/>
                  </a:lnTo>
                  <a:lnTo>
                    <a:pt x="13" y="83"/>
                  </a:lnTo>
                  <a:lnTo>
                    <a:pt x="15" y="74"/>
                  </a:lnTo>
                  <a:lnTo>
                    <a:pt x="12" y="57"/>
                  </a:lnTo>
                  <a:lnTo>
                    <a:pt x="11" y="30"/>
                  </a:lnTo>
                  <a:lnTo>
                    <a:pt x="7" y="22"/>
                  </a:lnTo>
                  <a:lnTo>
                    <a:pt x="7" y="19"/>
                  </a:lnTo>
                  <a:lnTo>
                    <a:pt x="15" y="11"/>
                  </a:lnTo>
                  <a:lnTo>
                    <a:pt x="18" y="2"/>
                  </a:lnTo>
                  <a:lnTo>
                    <a:pt x="26" y="0"/>
                  </a:lnTo>
                  <a:lnTo>
                    <a:pt x="28" y="6"/>
                  </a:lnTo>
                  <a:lnTo>
                    <a:pt x="35" y="8"/>
                  </a:lnTo>
                  <a:lnTo>
                    <a:pt x="54" y="3"/>
                  </a:lnTo>
                  <a:lnTo>
                    <a:pt x="67" y="3"/>
                  </a:lnTo>
                  <a:lnTo>
                    <a:pt x="91" y="7"/>
                  </a:lnTo>
                  <a:lnTo>
                    <a:pt x="123" y="12"/>
                  </a:lnTo>
                  <a:lnTo>
                    <a:pt x="142" y="19"/>
                  </a:lnTo>
                  <a:lnTo>
                    <a:pt x="153" y="27"/>
                  </a:lnTo>
                  <a:lnTo>
                    <a:pt x="169" y="29"/>
                  </a:lnTo>
                  <a:lnTo>
                    <a:pt x="177" y="31"/>
                  </a:lnTo>
                  <a:lnTo>
                    <a:pt x="185" y="38"/>
                  </a:lnTo>
                  <a:lnTo>
                    <a:pt x="201" y="38"/>
                  </a:lnTo>
                  <a:lnTo>
                    <a:pt x="214" y="39"/>
                  </a:lnTo>
                  <a:lnTo>
                    <a:pt x="228" y="45"/>
                  </a:lnTo>
                  <a:lnTo>
                    <a:pt x="239" y="52"/>
                  </a:lnTo>
                  <a:lnTo>
                    <a:pt x="255" y="47"/>
                  </a:lnTo>
                  <a:lnTo>
                    <a:pt x="269" y="40"/>
                  </a:lnTo>
                  <a:lnTo>
                    <a:pt x="285" y="28"/>
                  </a:lnTo>
                  <a:lnTo>
                    <a:pt x="301" y="20"/>
                  </a:lnTo>
                  <a:lnTo>
                    <a:pt x="311" y="13"/>
                  </a:lnTo>
                  <a:lnTo>
                    <a:pt x="324" y="12"/>
                  </a:lnTo>
                  <a:lnTo>
                    <a:pt x="334" y="8"/>
                  </a:lnTo>
                  <a:lnTo>
                    <a:pt x="336" y="8"/>
                  </a:lnTo>
                  <a:lnTo>
                    <a:pt x="336" y="11"/>
                  </a:lnTo>
                  <a:lnTo>
                    <a:pt x="324" y="16"/>
                  </a:lnTo>
                  <a:lnTo>
                    <a:pt x="322" y="20"/>
                  </a:lnTo>
                  <a:lnTo>
                    <a:pt x="324" y="20"/>
                  </a:lnTo>
                  <a:lnTo>
                    <a:pt x="344" y="17"/>
                  </a:lnTo>
                  <a:lnTo>
                    <a:pt x="349" y="13"/>
                  </a:lnTo>
                  <a:lnTo>
                    <a:pt x="354" y="7"/>
                  </a:lnTo>
                  <a:lnTo>
                    <a:pt x="361" y="11"/>
                  </a:lnTo>
                  <a:lnTo>
                    <a:pt x="365" y="11"/>
                  </a:lnTo>
                  <a:lnTo>
                    <a:pt x="388" y="11"/>
                  </a:lnTo>
                  <a:lnTo>
                    <a:pt x="390" y="11"/>
                  </a:lnTo>
                  <a:lnTo>
                    <a:pt x="400" y="6"/>
                  </a:lnTo>
                  <a:lnTo>
                    <a:pt x="401" y="8"/>
                  </a:lnTo>
                  <a:lnTo>
                    <a:pt x="405" y="14"/>
                  </a:lnTo>
                  <a:lnTo>
                    <a:pt x="408" y="16"/>
                  </a:lnTo>
                  <a:lnTo>
                    <a:pt x="411" y="20"/>
                  </a:lnTo>
                  <a:lnTo>
                    <a:pt x="416" y="24"/>
                  </a:lnTo>
                  <a:lnTo>
                    <a:pt x="426" y="28"/>
                  </a:lnTo>
                  <a:lnTo>
                    <a:pt x="431" y="35"/>
                  </a:lnTo>
                  <a:lnTo>
                    <a:pt x="435" y="40"/>
                  </a:lnTo>
                  <a:lnTo>
                    <a:pt x="447" y="40"/>
                  </a:lnTo>
                  <a:lnTo>
                    <a:pt x="456" y="39"/>
                  </a:lnTo>
                  <a:lnTo>
                    <a:pt x="459" y="35"/>
                  </a:lnTo>
                  <a:lnTo>
                    <a:pt x="463" y="34"/>
                  </a:lnTo>
                  <a:lnTo>
                    <a:pt x="468" y="40"/>
                  </a:lnTo>
                  <a:lnTo>
                    <a:pt x="491" y="38"/>
                  </a:lnTo>
                  <a:lnTo>
                    <a:pt x="510" y="29"/>
                  </a:lnTo>
                  <a:lnTo>
                    <a:pt x="521" y="20"/>
                  </a:lnTo>
                  <a:lnTo>
                    <a:pt x="523" y="30"/>
                  </a:lnTo>
                  <a:lnTo>
                    <a:pt x="523" y="35"/>
                  </a:lnTo>
                  <a:lnTo>
                    <a:pt x="527" y="41"/>
                  </a:lnTo>
                  <a:lnTo>
                    <a:pt x="545" y="99"/>
                  </a:lnTo>
                  <a:lnTo>
                    <a:pt x="561" y="144"/>
                  </a:lnTo>
                  <a:lnTo>
                    <a:pt x="554" y="164"/>
                  </a:lnTo>
                  <a:lnTo>
                    <a:pt x="549" y="187"/>
                  </a:lnTo>
                  <a:lnTo>
                    <a:pt x="539" y="211"/>
                  </a:lnTo>
                  <a:lnTo>
                    <a:pt x="539" y="221"/>
                  </a:lnTo>
                  <a:lnTo>
                    <a:pt x="539" y="228"/>
                  </a:lnTo>
                  <a:lnTo>
                    <a:pt x="538" y="234"/>
                  </a:lnTo>
                  <a:lnTo>
                    <a:pt x="534" y="238"/>
                  </a:lnTo>
                  <a:lnTo>
                    <a:pt x="527" y="242"/>
                  </a:lnTo>
                  <a:lnTo>
                    <a:pt x="518" y="242"/>
                  </a:lnTo>
                  <a:lnTo>
                    <a:pt x="510" y="235"/>
                  </a:lnTo>
                  <a:lnTo>
                    <a:pt x="499" y="219"/>
                  </a:lnTo>
                  <a:lnTo>
                    <a:pt x="486" y="207"/>
                  </a:lnTo>
                  <a:lnTo>
                    <a:pt x="476" y="192"/>
                  </a:lnTo>
                  <a:lnTo>
                    <a:pt x="474" y="189"/>
                  </a:lnTo>
                  <a:lnTo>
                    <a:pt x="473" y="175"/>
                  </a:lnTo>
                  <a:lnTo>
                    <a:pt x="469" y="165"/>
                  </a:lnTo>
                  <a:lnTo>
                    <a:pt x="458" y="154"/>
                  </a:lnTo>
                  <a:lnTo>
                    <a:pt x="454" y="144"/>
                  </a:lnTo>
                  <a:lnTo>
                    <a:pt x="447" y="135"/>
                  </a:lnTo>
                  <a:lnTo>
                    <a:pt x="442" y="115"/>
                  </a:lnTo>
                  <a:lnTo>
                    <a:pt x="440" y="109"/>
                  </a:lnTo>
                  <a:lnTo>
                    <a:pt x="438" y="105"/>
                  </a:lnTo>
                  <a:lnTo>
                    <a:pt x="436" y="104"/>
                  </a:lnTo>
                  <a:lnTo>
                    <a:pt x="432" y="108"/>
                  </a:lnTo>
                  <a:lnTo>
                    <a:pt x="433" y="113"/>
                  </a:lnTo>
                  <a:lnTo>
                    <a:pt x="429" y="119"/>
                  </a:lnTo>
                  <a:lnTo>
                    <a:pt x="427" y="131"/>
                  </a:lnTo>
                  <a:lnTo>
                    <a:pt x="429" y="135"/>
                  </a:lnTo>
                  <a:lnTo>
                    <a:pt x="437" y="143"/>
                  </a:lnTo>
                  <a:lnTo>
                    <a:pt x="440" y="148"/>
                  </a:lnTo>
                  <a:lnTo>
                    <a:pt x="442" y="154"/>
                  </a:lnTo>
                  <a:lnTo>
                    <a:pt x="441" y="167"/>
                  </a:lnTo>
                  <a:lnTo>
                    <a:pt x="443" y="174"/>
                  </a:lnTo>
                  <a:lnTo>
                    <a:pt x="458" y="203"/>
                  </a:lnTo>
                  <a:lnTo>
                    <a:pt x="475" y="223"/>
                  </a:lnTo>
                  <a:lnTo>
                    <a:pt x="483" y="230"/>
                  </a:lnTo>
                  <a:lnTo>
                    <a:pt x="487" y="232"/>
                  </a:lnTo>
                  <a:lnTo>
                    <a:pt x="490" y="256"/>
                  </a:lnTo>
                  <a:lnTo>
                    <a:pt x="495" y="265"/>
                  </a:lnTo>
                  <a:lnTo>
                    <a:pt x="506" y="278"/>
                  </a:lnTo>
                  <a:lnTo>
                    <a:pt x="512" y="304"/>
                  </a:lnTo>
                  <a:lnTo>
                    <a:pt x="515" y="314"/>
                  </a:lnTo>
                  <a:lnTo>
                    <a:pt x="517" y="323"/>
                  </a:lnTo>
                  <a:lnTo>
                    <a:pt x="530" y="346"/>
                  </a:lnTo>
                  <a:lnTo>
                    <a:pt x="535" y="362"/>
                  </a:lnTo>
                  <a:lnTo>
                    <a:pt x="545" y="374"/>
                  </a:lnTo>
                  <a:lnTo>
                    <a:pt x="558" y="401"/>
                  </a:lnTo>
                  <a:lnTo>
                    <a:pt x="562" y="412"/>
                  </a:lnTo>
                  <a:lnTo>
                    <a:pt x="567" y="418"/>
                  </a:lnTo>
                  <a:lnTo>
                    <a:pt x="578" y="444"/>
                  </a:lnTo>
                  <a:lnTo>
                    <a:pt x="588" y="455"/>
                  </a:lnTo>
                  <a:lnTo>
                    <a:pt x="604" y="469"/>
                  </a:lnTo>
                  <a:lnTo>
                    <a:pt x="608" y="471"/>
                  </a:lnTo>
                  <a:lnTo>
                    <a:pt x="612" y="476"/>
                  </a:lnTo>
                  <a:lnTo>
                    <a:pt x="612" y="479"/>
                  </a:lnTo>
                  <a:lnTo>
                    <a:pt x="598" y="476"/>
                  </a:lnTo>
                  <a:lnTo>
                    <a:pt x="596" y="476"/>
                  </a:lnTo>
                  <a:lnTo>
                    <a:pt x="594" y="479"/>
                  </a:lnTo>
                  <a:lnTo>
                    <a:pt x="598" y="488"/>
                  </a:lnTo>
                  <a:lnTo>
                    <a:pt x="599" y="513"/>
                  </a:lnTo>
                  <a:lnTo>
                    <a:pt x="603" y="525"/>
                  </a:lnTo>
                  <a:lnTo>
                    <a:pt x="581" y="545"/>
                  </a:lnTo>
                  <a:lnTo>
                    <a:pt x="567" y="540"/>
                  </a:lnTo>
                  <a:lnTo>
                    <a:pt x="555" y="571"/>
                  </a:lnTo>
                  <a:lnTo>
                    <a:pt x="526" y="578"/>
                  </a:lnTo>
                  <a:lnTo>
                    <a:pt x="518" y="603"/>
                  </a:lnTo>
                  <a:lnTo>
                    <a:pt x="491" y="605"/>
                  </a:lnTo>
                  <a:lnTo>
                    <a:pt x="473" y="592"/>
                  </a:lnTo>
                  <a:lnTo>
                    <a:pt x="376" y="590"/>
                  </a:lnTo>
                  <a:lnTo>
                    <a:pt x="381" y="579"/>
                  </a:lnTo>
                  <a:lnTo>
                    <a:pt x="378" y="579"/>
                  </a:lnTo>
                  <a:lnTo>
                    <a:pt x="376" y="578"/>
                  </a:lnTo>
                  <a:lnTo>
                    <a:pt x="373" y="578"/>
                  </a:lnTo>
                  <a:lnTo>
                    <a:pt x="366" y="590"/>
                  </a:lnTo>
                  <a:lnTo>
                    <a:pt x="338" y="590"/>
                  </a:lnTo>
                  <a:lnTo>
                    <a:pt x="285" y="590"/>
                  </a:lnTo>
                  <a:lnTo>
                    <a:pt x="233" y="590"/>
                  </a:lnTo>
                  <a:lnTo>
                    <a:pt x="180" y="590"/>
                  </a:lnTo>
                  <a:lnTo>
                    <a:pt x="129" y="590"/>
                  </a:lnTo>
                  <a:lnTo>
                    <a:pt x="77" y="590"/>
                  </a:lnTo>
                  <a:lnTo>
                    <a:pt x="24" y="590"/>
                  </a:lnTo>
                  <a:lnTo>
                    <a:pt x="24" y="55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9" name="Freeform 12">
              <a:extLst>
                <a:ext uri="{FF2B5EF4-FFF2-40B4-BE49-F238E27FC236}">
                  <a16:creationId xmlns:a16="http://schemas.microsoft.com/office/drawing/2014/main" id="{92E05711-1AEF-4DED-7F4C-4DAAC748C8D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520967" y="3100283"/>
              <a:ext cx="592460" cy="641695"/>
            </a:xfrm>
            <a:custGeom>
              <a:avLst/>
              <a:gdLst>
                <a:gd name="T0" fmla="*/ 0 w 1112"/>
                <a:gd name="T1" fmla="*/ 2147483647 h 1129"/>
                <a:gd name="T2" fmla="*/ 2147483647 w 1112"/>
                <a:gd name="T3" fmla="*/ 2147483647 h 1129"/>
                <a:gd name="T4" fmla="*/ 2147483647 w 1112"/>
                <a:gd name="T5" fmla="*/ 2147483647 h 1129"/>
                <a:gd name="T6" fmla="*/ 2147483647 w 1112"/>
                <a:gd name="T7" fmla="*/ 2147483647 h 1129"/>
                <a:gd name="T8" fmla="*/ 2147483647 w 1112"/>
                <a:gd name="T9" fmla="*/ 2147483647 h 1129"/>
                <a:gd name="T10" fmla="*/ 2147483647 w 1112"/>
                <a:gd name="T11" fmla="*/ 2147483647 h 1129"/>
                <a:gd name="T12" fmla="*/ 2147483647 w 1112"/>
                <a:gd name="T13" fmla="*/ 2147483647 h 1129"/>
                <a:gd name="T14" fmla="*/ 2147483647 w 1112"/>
                <a:gd name="T15" fmla="*/ 2147483647 h 1129"/>
                <a:gd name="T16" fmla="*/ 2147483647 w 1112"/>
                <a:gd name="T17" fmla="*/ 2147483647 h 1129"/>
                <a:gd name="T18" fmla="*/ 2147483647 w 1112"/>
                <a:gd name="T19" fmla="*/ 2147483647 h 1129"/>
                <a:gd name="T20" fmla="*/ 2147483647 w 1112"/>
                <a:gd name="T21" fmla="*/ 2147483647 h 1129"/>
                <a:gd name="T22" fmla="*/ 2147483647 w 1112"/>
                <a:gd name="T23" fmla="*/ 2147483647 h 1129"/>
                <a:gd name="T24" fmla="*/ 2147483647 w 1112"/>
                <a:gd name="T25" fmla="*/ 2147483647 h 1129"/>
                <a:gd name="T26" fmla="*/ 2147483647 w 1112"/>
                <a:gd name="T27" fmla="*/ 2147483647 h 1129"/>
                <a:gd name="T28" fmla="*/ 2147483647 w 1112"/>
                <a:gd name="T29" fmla="*/ 2147483647 h 1129"/>
                <a:gd name="T30" fmla="*/ 2147483647 w 1112"/>
                <a:gd name="T31" fmla="*/ 2147483647 h 1129"/>
                <a:gd name="T32" fmla="*/ 2147483647 w 1112"/>
                <a:gd name="T33" fmla="*/ 2147483647 h 1129"/>
                <a:gd name="T34" fmla="*/ 2147483647 w 1112"/>
                <a:gd name="T35" fmla="*/ 2147483647 h 1129"/>
                <a:gd name="T36" fmla="*/ 2147483647 w 1112"/>
                <a:gd name="T37" fmla="*/ 2147483647 h 1129"/>
                <a:gd name="T38" fmla="*/ 2147483647 w 1112"/>
                <a:gd name="T39" fmla="*/ 2147483647 h 1129"/>
                <a:gd name="T40" fmla="*/ 2147483647 w 1112"/>
                <a:gd name="T41" fmla="*/ 2147483647 h 1129"/>
                <a:gd name="T42" fmla="*/ 2147483647 w 1112"/>
                <a:gd name="T43" fmla="*/ 2147483647 h 1129"/>
                <a:gd name="T44" fmla="*/ 2147483647 w 1112"/>
                <a:gd name="T45" fmla="*/ 0 h 1129"/>
                <a:gd name="T46" fmla="*/ 2147483647 w 1112"/>
                <a:gd name="T47" fmla="*/ 0 h 1129"/>
                <a:gd name="T48" fmla="*/ 2147483647 w 1112"/>
                <a:gd name="T49" fmla="*/ 0 h 1129"/>
                <a:gd name="T50" fmla="*/ 2147483647 w 1112"/>
                <a:gd name="T51" fmla="*/ 0 h 1129"/>
                <a:gd name="T52" fmla="*/ 2147483647 w 1112"/>
                <a:gd name="T53" fmla="*/ 0 h 1129"/>
                <a:gd name="T54" fmla="*/ 2147483647 w 1112"/>
                <a:gd name="T55" fmla="*/ 0 h 1129"/>
                <a:gd name="T56" fmla="*/ 2147483647 w 1112"/>
                <a:gd name="T57" fmla="*/ 0 h 1129"/>
                <a:gd name="T58" fmla="*/ 2147483647 w 1112"/>
                <a:gd name="T59" fmla="*/ 0 h 1129"/>
                <a:gd name="T60" fmla="*/ 2147483647 w 1112"/>
                <a:gd name="T61" fmla="*/ 0 h 1129"/>
                <a:gd name="T62" fmla="*/ 2147483647 w 1112"/>
                <a:gd name="T63" fmla="*/ 2147483647 h 1129"/>
                <a:gd name="T64" fmla="*/ 2147483647 w 1112"/>
                <a:gd name="T65" fmla="*/ 2147483647 h 1129"/>
                <a:gd name="T66" fmla="*/ 2147483647 w 1112"/>
                <a:gd name="T67" fmla="*/ 2147483647 h 1129"/>
                <a:gd name="T68" fmla="*/ 2147483647 w 1112"/>
                <a:gd name="T69" fmla="*/ 2147483647 h 1129"/>
                <a:gd name="T70" fmla="*/ 2147483647 w 1112"/>
                <a:gd name="T71" fmla="*/ 2147483647 h 1129"/>
                <a:gd name="T72" fmla="*/ 2147483647 w 1112"/>
                <a:gd name="T73" fmla="*/ 2147483647 h 1129"/>
                <a:gd name="T74" fmla="*/ 2147483647 w 1112"/>
                <a:gd name="T75" fmla="*/ 2147483647 h 1129"/>
                <a:gd name="T76" fmla="*/ 2147483647 w 1112"/>
                <a:gd name="T77" fmla="*/ 2147483647 h 1129"/>
                <a:gd name="T78" fmla="*/ 2147483647 w 1112"/>
                <a:gd name="T79" fmla="*/ 2147483647 h 1129"/>
                <a:gd name="T80" fmla="*/ 2147483647 w 1112"/>
                <a:gd name="T81" fmla="*/ 2147483647 h 1129"/>
                <a:gd name="T82" fmla="*/ 2147483647 w 1112"/>
                <a:gd name="T83" fmla="*/ 2147483647 h 1129"/>
                <a:gd name="T84" fmla="*/ 2147483647 w 1112"/>
                <a:gd name="T85" fmla="*/ 2147483647 h 1129"/>
                <a:gd name="T86" fmla="*/ 2147483647 w 1112"/>
                <a:gd name="T87" fmla="*/ 2147483647 h 1129"/>
                <a:gd name="T88" fmla="*/ 2147483647 w 1112"/>
                <a:gd name="T89" fmla="*/ 2147483647 h 1129"/>
                <a:gd name="T90" fmla="*/ 2147483647 w 1112"/>
                <a:gd name="T91" fmla="*/ 2147483647 h 1129"/>
                <a:gd name="T92" fmla="*/ 2147483647 w 1112"/>
                <a:gd name="T93" fmla="*/ 2147483647 h 1129"/>
                <a:gd name="T94" fmla="*/ 2147483647 w 1112"/>
                <a:gd name="T95" fmla="*/ 2147483647 h 1129"/>
                <a:gd name="T96" fmla="*/ 2147483647 w 1112"/>
                <a:gd name="T97" fmla="*/ 2147483647 h 1129"/>
                <a:gd name="T98" fmla="*/ 2147483647 w 1112"/>
                <a:gd name="T99" fmla="*/ 2147483647 h 1129"/>
                <a:gd name="T100" fmla="*/ 2147483647 w 1112"/>
                <a:gd name="T101" fmla="*/ 2147483647 h 1129"/>
                <a:gd name="T102" fmla="*/ 2147483647 w 1112"/>
                <a:gd name="T103" fmla="*/ 2147483647 h 1129"/>
                <a:gd name="T104" fmla="*/ 2147483647 w 1112"/>
                <a:gd name="T105" fmla="*/ 2147483647 h 1129"/>
                <a:gd name="T106" fmla="*/ 2147483647 w 1112"/>
                <a:gd name="T107" fmla="*/ 2147483647 h 112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12"/>
                <a:gd name="T163" fmla="*/ 0 h 1129"/>
                <a:gd name="T164" fmla="*/ 1112 w 1112"/>
                <a:gd name="T165" fmla="*/ 1129 h 112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12" h="1129">
                  <a:moveTo>
                    <a:pt x="203" y="773"/>
                  </a:moveTo>
                  <a:lnTo>
                    <a:pt x="126" y="722"/>
                  </a:lnTo>
                  <a:lnTo>
                    <a:pt x="67" y="684"/>
                  </a:lnTo>
                  <a:lnTo>
                    <a:pt x="0" y="640"/>
                  </a:lnTo>
                  <a:lnTo>
                    <a:pt x="0" y="608"/>
                  </a:lnTo>
                  <a:lnTo>
                    <a:pt x="0" y="539"/>
                  </a:lnTo>
                  <a:lnTo>
                    <a:pt x="26" y="519"/>
                  </a:lnTo>
                  <a:lnTo>
                    <a:pt x="47" y="505"/>
                  </a:lnTo>
                  <a:lnTo>
                    <a:pt x="59" y="505"/>
                  </a:lnTo>
                  <a:lnTo>
                    <a:pt x="66" y="499"/>
                  </a:lnTo>
                  <a:lnTo>
                    <a:pt x="72" y="495"/>
                  </a:lnTo>
                  <a:lnTo>
                    <a:pt x="79" y="489"/>
                  </a:lnTo>
                  <a:lnTo>
                    <a:pt x="83" y="485"/>
                  </a:lnTo>
                  <a:lnTo>
                    <a:pt x="90" y="487"/>
                  </a:lnTo>
                  <a:lnTo>
                    <a:pt x="97" y="485"/>
                  </a:lnTo>
                  <a:lnTo>
                    <a:pt x="102" y="488"/>
                  </a:lnTo>
                  <a:lnTo>
                    <a:pt x="110" y="488"/>
                  </a:lnTo>
                  <a:lnTo>
                    <a:pt x="113" y="487"/>
                  </a:lnTo>
                  <a:lnTo>
                    <a:pt x="113" y="478"/>
                  </a:lnTo>
                  <a:lnTo>
                    <a:pt x="114" y="474"/>
                  </a:lnTo>
                  <a:lnTo>
                    <a:pt x="131" y="476"/>
                  </a:lnTo>
                  <a:lnTo>
                    <a:pt x="136" y="473"/>
                  </a:lnTo>
                  <a:lnTo>
                    <a:pt x="145" y="473"/>
                  </a:lnTo>
                  <a:lnTo>
                    <a:pt x="161" y="471"/>
                  </a:lnTo>
                  <a:lnTo>
                    <a:pt x="178" y="463"/>
                  </a:lnTo>
                  <a:lnTo>
                    <a:pt x="184" y="458"/>
                  </a:lnTo>
                  <a:lnTo>
                    <a:pt x="190" y="453"/>
                  </a:lnTo>
                  <a:lnTo>
                    <a:pt x="193" y="447"/>
                  </a:lnTo>
                  <a:lnTo>
                    <a:pt x="193" y="445"/>
                  </a:lnTo>
                  <a:lnTo>
                    <a:pt x="196" y="437"/>
                  </a:lnTo>
                  <a:lnTo>
                    <a:pt x="206" y="430"/>
                  </a:lnTo>
                  <a:lnTo>
                    <a:pt x="221" y="424"/>
                  </a:lnTo>
                  <a:lnTo>
                    <a:pt x="227" y="424"/>
                  </a:lnTo>
                  <a:lnTo>
                    <a:pt x="253" y="407"/>
                  </a:lnTo>
                  <a:lnTo>
                    <a:pt x="274" y="403"/>
                  </a:lnTo>
                  <a:lnTo>
                    <a:pt x="276" y="399"/>
                  </a:lnTo>
                  <a:lnTo>
                    <a:pt x="275" y="396"/>
                  </a:lnTo>
                  <a:lnTo>
                    <a:pt x="270" y="392"/>
                  </a:lnTo>
                  <a:lnTo>
                    <a:pt x="269" y="390"/>
                  </a:lnTo>
                  <a:lnTo>
                    <a:pt x="267" y="390"/>
                  </a:lnTo>
                  <a:lnTo>
                    <a:pt x="264" y="391"/>
                  </a:lnTo>
                  <a:lnTo>
                    <a:pt x="263" y="391"/>
                  </a:lnTo>
                  <a:lnTo>
                    <a:pt x="264" y="380"/>
                  </a:lnTo>
                  <a:lnTo>
                    <a:pt x="269" y="375"/>
                  </a:lnTo>
                  <a:lnTo>
                    <a:pt x="268" y="372"/>
                  </a:lnTo>
                  <a:lnTo>
                    <a:pt x="263" y="372"/>
                  </a:lnTo>
                  <a:lnTo>
                    <a:pt x="262" y="370"/>
                  </a:lnTo>
                  <a:lnTo>
                    <a:pt x="262" y="364"/>
                  </a:lnTo>
                  <a:lnTo>
                    <a:pt x="263" y="359"/>
                  </a:lnTo>
                  <a:lnTo>
                    <a:pt x="268" y="355"/>
                  </a:lnTo>
                  <a:lnTo>
                    <a:pt x="273" y="355"/>
                  </a:lnTo>
                  <a:lnTo>
                    <a:pt x="280" y="356"/>
                  </a:lnTo>
                  <a:lnTo>
                    <a:pt x="287" y="355"/>
                  </a:lnTo>
                  <a:lnTo>
                    <a:pt x="295" y="354"/>
                  </a:lnTo>
                  <a:lnTo>
                    <a:pt x="308" y="348"/>
                  </a:lnTo>
                  <a:lnTo>
                    <a:pt x="311" y="345"/>
                  </a:lnTo>
                  <a:lnTo>
                    <a:pt x="312" y="339"/>
                  </a:lnTo>
                  <a:lnTo>
                    <a:pt x="311" y="334"/>
                  </a:lnTo>
                  <a:lnTo>
                    <a:pt x="313" y="329"/>
                  </a:lnTo>
                  <a:lnTo>
                    <a:pt x="316" y="328"/>
                  </a:lnTo>
                  <a:lnTo>
                    <a:pt x="323" y="331"/>
                  </a:lnTo>
                  <a:lnTo>
                    <a:pt x="327" y="329"/>
                  </a:lnTo>
                  <a:lnTo>
                    <a:pt x="330" y="327"/>
                  </a:lnTo>
                  <a:lnTo>
                    <a:pt x="340" y="324"/>
                  </a:lnTo>
                  <a:lnTo>
                    <a:pt x="371" y="324"/>
                  </a:lnTo>
                  <a:lnTo>
                    <a:pt x="376" y="323"/>
                  </a:lnTo>
                  <a:lnTo>
                    <a:pt x="387" y="324"/>
                  </a:lnTo>
                  <a:lnTo>
                    <a:pt x="399" y="324"/>
                  </a:lnTo>
                  <a:lnTo>
                    <a:pt x="407" y="328"/>
                  </a:lnTo>
                  <a:lnTo>
                    <a:pt x="409" y="327"/>
                  </a:lnTo>
                  <a:lnTo>
                    <a:pt x="409" y="324"/>
                  </a:lnTo>
                  <a:lnTo>
                    <a:pt x="407" y="320"/>
                  </a:lnTo>
                  <a:lnTo>
                    <a:pt x="408" y="313"/>
                  </a:lnTo>
                  <a:lnTo>
                    <a:pt x="411" y="306"/>
                  </a:lnTo>
                  <a:lnTo>
                    <a:pt x="416" y="304"/>
                  </a:lnTo>
                  <a:lnTo>
                    <a:pt x="416" y="302"/>
                  </a:lnTo>
                  <a:lnTo>
                    <a:pt x="409" y="297"/>
                  </a:lnTo>
                  <a:lnTo>
                    <a:pt x="400" y="289"/>
                  </a:lnTo>
                  <a:lnTo>
                    <a:pt x="393" y="274"/>
                  </a:lnTo>
                  <a:lnTo>
                    <a:pt x="393" y="268"/>
                  </a:lnTo>
                  <a:lnTo>
                    <a:pt x="391" y="261"/>
                  </a:lnTo>
                  <a:lnTo>
                    <a:pt x="388" y="253"/>
                  </a:lnTo>
                  <a:lnTo>
                    <a:pt x="389" y="248"/>
                  </a:lnTo>
                  <a:lnTo>
                    <a:pt x="391" y="242"/>
                  </a:lnTo>
                  <a:lnTo>
                    <a:pt x="391" y="238"/>
                  </a:lnTo>
                  <a:lnTo>
                    <a:pt x="391" y="234"/>
                  </a:lnTo>
                  <a:lnTo>
                    <a:pt x="383" y="226"/>
                  </a:lnTo>
                  <a:lnTo>
                    <a:pt x="386" y="223"/>
                  </a:lnTo>
                  <a:lnTo>
                    <a:pt x="386" y="213"/>
                  </a:lnTo>
                  <a:lnTo>
                    <a:pt x="387" y="204"/>
                  </a:lnTo>
                  <a:lnTo>
                    <a:pt x="384" y="193"/>
                  </a:lnTo>
                  <a:lnTo>
                    <a:pt x="382" y="186"/>
                  </a:lnTo>
                  <a:lnTo>
                    <a:pt x="386" y="178"/>
                  </a:lnTo>
                  <a:lnTo>
                    <a:pt x="380" y="170"/>
                  </a:lnTo>
                  <a:lnTo>
                    <a:pt x="381" y="167"/>
                  </a:lnTo>
                  <a:lnTo>
                    <a:pt x="382" y="167"/>
                  </a:lnTo>
                  <a:lnTo>
                    <a:pt x="383" y="165"/>
                  </a:lnTo>
                  <a:lnTo>
                    <a:pt x="381" y="161"/>
                  </a:lnTo>
                  <a:lnTo>
                    <a:pt x="377" y="160"/>
                  </a:lnTo>
                  <a:lnTo>
                    <a:pt x="373" y="155"/>
                  </a:lnTo>
                  <a:lnTo>
                    <a:pt x="372" y="153"/>
                  </a:lnTo>
                  <a:lnTo>
                    <a:pt x="366" y="148"/>
                  </a:lnTo>
                  <a:lnTo>
                    <a:pt x="364" y="143"/>
                  </a:lnTo>
                  <a:lnTo>
                    <a:pt x="364" y="138"/>
                  </a:lnTo>
                  <a:lnTo>
                    <a:pt x="371" y="137"/>
                  </a:lnTo>
                  <a:lnTo>
                    <a:pt x="384" y="132"/>
                  </a:lnTo>
                  <a:lnTo>
                    <a:pt x="399" y="123"/>
                  </a:lnTo>
                  <a:lnTo>
                    <a:pt x="418" y="100"/>
                  </a:lnTo>
                  <a:lnTo>
                    <a:pt x="429" y="92"/>
                  </a:lnTo>
                  <a:lnTo>
                    <a:pt x="438" y="91"/>
                  </a:lnTo>
                  <a:lnTo>
                    <a:pt x="445" y="92"/>
                  </a:lnTo>
                  <a:lnTo>
                    <a:pt x="456" y="82"/>
                  </a:lnTo>
                  <a:lnTo>
                    <a:pt x="467" y="87"/>
                  </a:lnTo>
                  <a:lnTo>
                    <a:pt x="478" y="82"/>
                  </a:lnTo>
                  <a:lnTo>
                    <a:pt x="484" y="73"/>
                  </a:lnTo>
                  <a:lnTo>
                    <a:pt x="491" y="65"/>
                  </a:lnTo>
                  <a:lnTo>
                    <a:pt x="497" y="62"/>
                  </a:lnTo>
                  <a:lnTo>
                    <a:pt x="505" y="59"/>
                  </a:lnTo>
                  <a:lnTo>
                    <a:pt x="516" y="51"/>
                  </a:lnTo>
                  <a:lnTo>
                    <a:pt x="543" y="41"/>
                  </a:lnTo>
                  <a:lnTo>
                    <a:pt x="555" y="37"/>
                  </a:lnTo>
                  <a:lnTo>
                    <a:pt x="608" y="33"/>
                  </a:lnTo>
                  <a:lnTo>
                    <a:pt x="620" y="33"/>
                  </a:lnTo>
                  <a:lnTo>
                    <a:pt x="630" y="28"/>
                  </a:lnTo>
                  <a:lnTo>
                    <a:pt x="640" y="20"/>
                  </a:lnTo>
                  <a:lnTo>
                    <a:pt x="646" y="22"/>
                  </a:lnTo>
                  <a:lnTo>
                    <a:pt x="658" y="21"/>
                  </a:lnTo>
                  <a:lnTo>
                    <a:pt x="663" y="24"/>
                  </a:lnTo>
                  <a:lnTo>
                    <a:pt x="673" y="21"/>
                  </a:lnTo>
                  <a:lnTo>
                    <a:pt x="689" y="14"/>
                  </a:lnTo>
                  <a:lnTo>
                    <a:pt x="705" y="14"/>
                  </a:lnTo>
                  <a:lnTo>
                    <a:pt x="720" y="12"/>
                  </a:lnTo>
                  <a:lnTo>
                    <a:pt x="744" y="15"/>
                  </a:lnTo>
                  <a:lnTo>
                    <a:pt x="753" y="24"/>
                  </a:lnTo>
                  <a:lnTo>
                    <a:pt x="764" y="27"/>
                  </a:lnTo>
                  <a:lnTo>
                    <a:pt x="775" y="25"/>
                  </a:lnTo>
                  <a:lnTo>
                    <a:pt x="784" y="20"/>
                  </a:lnTo>
                  <a:lnTo>
                    <a:pt x="801" y="16"/>
                  </a:lnTo>
                  <a:lnTo>
                    <a:pt x="812" y="12"/>
                  </a:lnTo>
                  <a:lnTo>
                    <a:pt x="819" y="0"/>
                  </a:lnTo>
                  <a:lnTo>
                    <a:pt x="832" y="4"/>
                  </a:lnTo>
                  <a:lnTo>
                    <a:pt x="840" y="10"/>
                  </a:lnTo>
                  <a:lnTo>
                    <a:pt x="846" y="10"/>
                  </a:lnTo>
                  <a:lnTo>
                    <a:pt x="855" y="14"/>
                  </a:lnTo>
                  <a:lnTo>
                    <a:pt x="866" y="9"/>
                  </a:lnTo>
                  <a:lnTo>
                    <a:pt x="872" y="1"/>
                  </a:lnTo>
                  <a:lnTo>
                    <a:pt x="892" y="9"/>
                  </a:lnTo>
                  <a:lnTo>
                    <a:pt x="900" y="15"/>
                  </a:lnTo>
                  <a:lnTo>
                    <a:pt x="913" y="14"/>
                  </a:lnTo>
                  <a:lnTo>
                    <a:pt x="921" y="10"/>
                  </a:lnTo>
                  <a:lnTo>
                    <a:pt x="935" y="12"/>
                  </a:lnTo>
                  <a:lnTo>
                    <a:pt x="948" y="10"/>
                  </a:lnTo>
                  <a:lnTo>
                    <a:pt x="946" y="16"/>
                  </a:lnTo>
                  <a:lnTo>
                    <a:pt x="941" y="20"/>
                  </a:lnTo>
                  <a:lnTo>
                    <a:pt x="935" y="26"/>
                  </a:lnTo>
                  <a:lnTo>
                    <a:pt x="926" y="35"/>
                  </a:lnTo>
                  <a:lnTo>
                    <a:pt x="924" y="40"/>
                  </a:lnTo>
                  <a:lnTo>
                    <a:pt x="930" y="42"/>
                  </a:lnTo>
                  <a:lnTo>
                    <a:pt x="931" y="46"/>
                  </a:lnTo>
                  <a:lnTo>
                    <a:pt x="926" y="78"/>
                  </a:lnTo>
                  <a:lnTo>
                    <a:pt x="925" y="86"/>
                  </a:lnTo>
                  <a:lnTo>
                    <a:pt x="927" y="96"/>
                  </a:lnTo>
                  <a:lnTo>
                    <a:pt x="929" y="119"/>
                  </a:lnTo>
                  <a:lnTo>
                    <a:pt x="932" y="125"/>
                  </a:lnTo>
                  <a:lnTo>
                    <a:pt x="932" y="132"/>
                  </a:lnTo>
                  <a:lnTo>
                    <a:pt x="926" y="156"/>
                  </a:lnTo>
                  <a:lnTo>
                    <a:pt x="922" y="170"/>
                  </a:lnTo>
                  <a:lnTo>
                    <a:pt x="903" y="182"/>
                  </a:lnTo>
                  <a:lnTo>
                    <a:pt x="900" y="193"/>
                  </a:lnTo>
                  <a:lnTo>
                    <a:pt x="892" y="197"/>
                  </a:lnTo>
                  <a:lnTo>
                    <a:pt x="887" y="202"/>
                  </a:lnTo>
                  <a:lnTo>
                    <a:pt x="886" y="205"/>
                  </a:lnTo>
                  <a:lnTo>
                    <a:pt x="876" y="211"/>
                  </a:lnTo>
                  <a:lnTo>
                    <a:pt x="873" y="211"/>
                  </a:lnTo>
                  <a:lnTo>
                    <a:pt x="876" y="219"/>
                  </a:lnTo>
                  <a:lnTo>
                    <a:pt x="881" y="231"/>
                  </a:lnTo>
                  <a:lnTo>
                    <a:pt x="887" y="257"/>
                  </a:lnTo>
                  <a:lnTo>
                    <a:pt x="905" y="264"/>
                  </a:lnTo>
                  <a:lnTo>
                    <a:pt x="910" y="270"/>
                  </a:lnTo>
                  <a:lnTo>
                    <a:pt x="919" y="290"/>
                  </a:lnTo>
                  <a:lnTo>
                    <a:pt x="919" y="308"/>
                  </a:lnTo>
                  <a:lnTo>
                    <a:pt x="937" y="321"/>
                  </a:lnTo>
                  <a:lnTo>
                    <a:pt x="962" y="333"/>
                  </a:lnTo>
                  <a:lnTo>
                    <a:pt x="964" y="333"/>
                  </a:lnTo>
                  <a:lnTo>
                    <a:pt x="964" y="334"/>
                  </a:lnTo>
                  <a:lnTo>
                    <a:pt x="978" y="407"/>
                  </a:lnTo>
                  <a:lnTo>
                    <a:pt x="983" y="444"/>
                  </a:lnTo>
                  <a:lnTo>
                    <a:pt x="984" y="447"/>
                  </a:lnTo>
                  <a:lnTo>
                    <a:pt x="983" y="450"/>
                  </a:lnTo>
                  <a:lnTo>
                    <a:pt x="973" y="457"/>
                  </a:lnTo>
                  <a:lnTo>
                    <a:pt x="972" y="473"/>
                  </a:lnTo>
                  <a:lnTo>
                    <a:pt x="983" y="487"/>
                  </a:lnTo>
                  <a:lnTo>
                    <a:pt x="995" y="509"/>
                  </a:lnTo>
                  <a:lnTo>
                    <a:pt x="1000" y="532"/>
                  </a:lnTo>
                  <a:lnTo>
                    <a:pt x="1001" y="554"/>
                  </a:lnTo>
                  <a:lnTo>
                    <a:pt x="1001" y="585"/>
                  </a:lnTo>
                  <a:lnTo>
                    <a:pt x="1004" y="593"/>
                  </a:lnTo>
                  <a:lnTo>
                    <a:pt x="1004" y="606"/>
                  </a:lnTo>
                  <a:lnTo>
                    <a:pt x="1000" y="628"/>
                  </a:lnTo>
                  <a:lnTo>
                    <a:pt x="999" y="684"/>
                  </a:lnTo>
                  <a:lnTo>
                    <a:pt x="990" y="691"/>
                  </a:lnTo>
                  <a:lnTo>
                    <a:pt x="979" y="693"/>
                  </a:lnTo>
                  <a:lnTo>
                    <a:pt x="978" y="702"/>
                  </a:lnTo>
                  <a:lnTo>
                    <a:pt x="983" y="715"/>
                  </a:lnTo>
                  <a:lnTo>
                    <a:pt x="1001" y="737"/>
                  </a:lnTo>
                  <a:lnTo>
                    <a:pt x="1011" y="753"/>
                  </a:lnTo>
                  <a:lnTo>
                    <a:pt x="1012" y="773"/>
                  </a:lnTo>
                  <a:lnTo>
                    <a:pt x="1015" y="785"/>
                  </a:lnTo>
                  <a:lnTo>
                    <a:pt x="1029" y="800"/>
                  </a:lnTo>
                  <a:lnTo>
                    <a:pt x="1048" y="801"/>
                  </a:lnTo>
                  <a:lnTo>
                    <a:pt x="1059" y="801"/>
                  </a:lnTo>
                  <a:lnTo>
                    <a:pt x="1088" y="815"/>
                  </a:lnTo>
                  <a:lnTo>
                    <a:pt x="1106" y="844"/>
                  </a:lnTo>
                  <a:lnTo>
                    <a:pt x="1110" y="858"/>
                  </a:lnTo>
                  <a:lnTo>
                    <a:pt x="1112" y="864"/>
                  </a:lnTo>
                  <a:lnTo>
                    <a:pt x="1086" y="882"/>
                  </a:lnTo>
                  <a:lnTo>
                    <a:pt x="1042" y="913"/>
                  </a:lnTo>
                  <a:lnTo>
                    <a:pt x="999" y="944"/>
                  </a:lnTo>
                  <a:lnTo>
                    <a:pt x="956" y="974"/>
                  </a:lnTo>
                  <a:lnTo>
                    <a:pt x="911" y="1005"/>
                  </a:lnTo>
                  <a:lnTo>
                    <a:pt x="867" y="1036"/>
                  </a:lnTo>
                  <a:lnTo>
                    <a:pt x="824" y="1066"/>
                  </a:lnTo>
                  <a:lnTo>
                    <a:pt x="781" y="1096"/>
                  </a:lnTo>
                  <a:lnTo>
                    <a:pt x="766" y="1101"/>
                  </a:lnTo>
                  <a:lnTo>
                    <a:pt x="704" y="1115"/>
                  </a:lnTo>
                  <a:lnTo>
                    <a:pt x="695" y="1117"/>
                  </a:lnTo>
                  <a:lnTo>
                    <a:pt x="690" y="1119"/>
                  </a:lnTo>
                  <a:lnTo>
                    <a:pt x="680" y="1124"/>
                  </a:lnTo>
                  <a:lnTo>
                    <a:pt x="672" y="1124"/>
                  </a:lnTo>
                  <a:lnTo>
                    <a:pt x="663" y="1129"/>
                  </a:lnTo>
                  <a:lnTo>
                    <a:pt x="656" y="1129"/>
                  </a:lnTo>
                  <a:lnTo>
                    <a:pt x="650" y="1128"/>
                  </a:lnTo>
                  <a:lnTo>
                    <a:pt x="642" y="1119"/>
                  </a:lnTo>
                  <a:lnTo>
                    <a:pt x="642" y="1114"/>
                  </a:lnTo>
                  <a:lnTo>
                    <a:pt x="645" y="1109"/>
                  </a:lnTo>
                  <a:lnTo>
                    <a:pt x="644" y="1103"/>
                  </a:lnTo>
                  <a:lnTo>
                    <a:pt x="645" y="1101"/>
                  </a:lnTo>
                  <a:lnTo>
                    <a:pt x="649" y="1098"/>
                  </a:lnTo>
                  <a:lnTo>
                    <a:pt x="649" y="1096"/>
                  </a:lnTo>
                  <a:lnTo>
                    <a:pt x="646" y="1092"/>
                  </a:lnTo>
                  <a:lnTo>
                    <a:pt x="646" y="1088"/>
                  </a:lnTo>
                  <a:lnTo>
                    <a:pt x="647" y="1086"/>
                  </a:lnTo>
                  <a:lnTo>
                    <a:pt x="646" y="1080"/>
                  </a:lnTo>
                  <a:lnTo>
                    <a:pt x="645" y="1080"/>
                  </a:lnTo>
                  <a:lnTo>
                    <a:pt x="644" y="1076"/>
                  </a:lnTo>
                  <a:lnTo>
                    <a:pt x="640" y="1074"/>
                  </a:lnTo>
                  <a:lnTo>
                    <a:pt x="631" y="1071"/>
                  </a:lnTo>
                  <a:lnTo>
                    <a:pt x="623" y="1066"/>
                  </a:lnTo>
                  <a:lnTo>
                    <a:pt x="618" y="1066"/>
                  </a:lnTo>
                  <a:lnTo>
                    <a:pt x="614" y="1064"/>
                  </a:lnTo>
                  <a:lnTo>
                    <a:pt x="603" y="1064"/>
                  </a:lnTo>
                  <a:lnTo>
                    <a:pt x="599" y="1061"/>
                  </a:lnTo>
                  <a:lnTo>
                    <a:pt x="596" y="1054"/>
                  </a:lnTo>
                  <a:lnTo>
                    <a:pt x="593" y="1053"/>
                  </a:lnTo>
                  <a:lnTo>
                    <a:pt x="585" y="1054"/>
                  </a:lnTo>
                  <a:lnTo>
                    <a:pt x="575" y="1052"/>
                  </a:lnTo>
                  <a:lnTo>
                    <a:pt x="570" y="1049"/>
                  </a:lnTo>
                  <a:lnTo>
                    <a:pt x="563" y="1043"/>
                  </a:lnTo>
                  <a:lnTo>
                    <a:pt x="561" y="1038"/>
                  </a:lnTo>
                  <a:lnTo>
                    <a:pt x="560" y="1032"/>
                  </a:lnTo>
                  <a:lnTo>
                    <a:pt x="558" y="1031"/>
                  </a:lnTo>
                  <a:lnTo>
                    <a:pt x="547" y="1025"/>
                  </a:lnTo>
                  <a:lnTo>
                    <a:pt x="539" y="1023"/>
                  </a:lnTo>
                  <a:lnTo>
                    <a:pt x="533" y="1020"/>
                  </a:lnTo>
                  <a:lnTo>
                    <a:pt x="532" y="1016"/>
                  </a:lnTo>
                  <a:lnTo>
                    <a:pt x="533" y="1007"/>
                  </a:lnTo>
                  <a:lnTo>
                    <a:pt x="529" y="1004"/>
                  </a:lnTo>
                  <a:lnTo>
                    <a:pt x="529" y="999"/>
                  </a:lnTo>
                  <a:lnTo>
                    <a:pt x="267" y="817"/>
                  </a:lnTo>
                  <a:lnTo>
                    <a:pt x="203" y="77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0" name="Freeform 13">
              <a:extLst>
                <a:ext uri="{FF2B5EF4-FFF2-40B4-BE49-F238E27FC236}">
                  <a16:creationId xmlns:a16="http://schemas.microsoft.com/office/drawing/2014/main" id="{A8474763-DEC4-5F99-02CF-78643773FCE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276223" y="3461522"/>
              <a:ext cx="350701" cy="416112"/>
            </a:xfrm>
            <a:custGeom>
              <a:avLst/>
              <a:gdLst>
                <a:gd name="T0" fmla="*/ 2147483647 w 661"/>
                <a:gd name="T1" fmla="*/ 2147483647 h 727"/>
                <a:gd name="T2" fmla="*/ 0 w 661"/>
                <a:gd name="T3" fmla="*/ 2147483647 h 727"/>
                <a:gd name="T4" fmla="*/ 0 w 661"/>
                <a:gd name="T5" fmla="*/ 2147483647 h 727"/>
                <a:gd name="T6" fmla="*/ 0 w 661"/>
                <a:gd name="T7" fmla="*/ 2147483647 h 727"/>
                <a:gd name="T8" fmla="*/ 0 w 661"/>
                <a:gd name="T9" fmla="*/ 2147483647 h 727"/>
                <a:gd name="T10" fmla="*/ 0 w 661"/>
                <a:gd name="T11" fmla="*/ 2147483647 h 727"/>
                <a:gd name="T12" fmla="*/ 0 w 661"/>
                <a:gd name="T13" fmla="*/ 2147483647 h 727"/>
                <a:gd name="T14" fmla="*/ 0 w 661"/>
                <a:gd name="T15" fmla="*/ 2147483647 h 727"/>
                <a:gd name="T16" fmla="*/ 2147483647 w 661"/>
                <a:gd name="T17" fmla="*/ 2147483647 h 727"/>
                <a:gd name="T18" fmla="*/ 2147483647 w 661"/>
                <a:gd name="T19" fmla="*/ 2147483647 h 727"/>
                <a:gd name="T20" fmla="*/ 0 w 661"/>
                <a:gd name="T21" fmla="*/ 2147483647 h 727"/>
                <a:gd name="T22" fmla="*/ 0 w 661"/>
                <a:gd name="T23" fmla="*/ 2147483647 h 727"/>
                <a:gd name="T24" fmla="*/ 0 w 661"/>
                <a:gd name="T25" fmla="*/ 2147483647 h 727"/>
                <a:gd name="T26" fmla="*/ 2147483647 w 661"/>
                <a:gd name="T27" fmla="*/ 2147483647 h 727"/>
                <a:gd name="T28" fmla="*/ 2147483647 w 661"/>
                <a:gd name="T29" fmla="*/ 2147483647 h 727"/>
                <a:gd name="T30" fmla="*/ 2147483647 w 661"/>
                <a:gd name="T31" fmla="*/ 2147483647 h 727"/>
                <a:gd name="T32" fmla="*/ 2147483647 w 661"/>
                <a:gd name="T33" fmla="*/ 2147483647 h 727"/>
                <a:gd name="T34" fmla="*/ 2147483647 w 661"/>
                <a:gd name="T35" fmla="*/ 2147483647 h 727"/>
                <a:gd name="T36" fmla="*/ 2147483647 w 661"/>
                <a:gd name="T37" fmla="*/ 2147483647 h 727"/>
                <a:gd name="T38" fmla="*/ 2147483647 w 661"/>
                <a:gd name="T39" fmla="*/ 2147483647 h 727"/>
                <a:gd name="T40" fmla="*/ 2147483647 w 661"/>
                <a:gd name="T41" fmla="*/ 2147483647 h 727"/>
                <a:gd name="T42" fmla="*/ 2147483647 w 661"/>
                <a:gd name="T43" fmla="*/ 2147483647 h 727"/>
                <a:gd name="T44" fmla="*/ 2147483647 w 661"/>
                <a:gd name="T45" fmla="*/ 2147483647 h 727"/>
                <a:gd name="T46" fmla="*/ 2147483647 w 661"/>
                <a:gd name="T47" fmla="*/ 2147483647 h 727"/>
                <a:gd name="T48" fmla="*/ 2147483647 w 661"/>
                <a:gd name="T49" fmla="*/ 2147483647 h 727"/>
                <a:gd name="T50" fmla="*/ 2147483647 w 661"/>
                <a:gd name="T51" fmla="*/ 2147483647 h 727"/>
                <a:gd name="T52" fmla="*/ 2147483647 w 661"/>
                <a:gd name="T53" fmla="*/ 2147483647 h 727"/>
                <a:gd name="T54" fmla="*/ 2147483647 w 661"/>
                <a:gd name="T55" fmla="*/ 2147483647 h 727"/>
                <a:gd name="T56" fmla="*/ 2147483647 w 661"/>
                <a:gd name="T57" fmla="*/ 2147483647 h 727"/>
                <a:gd name="T58" fmla="*/ 2147483647 w 661"/>
                <a:gd name="T59" fmla="*/ 2147483647 h 727"/>
                <a:gd name="T60" fmla="*/ 2147483647 w 661"/>
                <a:gd name="T61" fmla="*/ 2147483647 h 727"/>
                <a:gd name="T62" fmla="*/ 2147483647 w 661"/>
                <a:gd name="T63" fmla="*/ 2147483647 h 727"/>
                <a:gd name="T64" fmla="*/ 2147483647 w 661"/>
                <a:gd name="T65" fmla="*/ 2147483647 h 727"/>
                <a:gd name="T66" fmla="*/ 2147483647 w 661"/>
                <a:gd name="T67" fmla="*/ 2147483647 h 727"/>
                <a:gd name="T68" fmla="*/ 2147483647 w 661"/>
                <a:gd name="T69" fmla="*/ 2147483647 h 727"/>
                <a:gd name="T70" fmla="*/ 2147483647 w 661"/>
                <a:gd name="T71" fmla="*/ 2147483647 h 727"/>
                <a:gd name="T72" fmla="*/ 2147483647 w 661"/>
                <a:gd name="T73" fmla="*/ 2147483647 h 727"/>
                <a:gd name="T74" fmla="*/ 2147483647 w 661"/>
                <a:gd name="T75" fmla="*/ 2147483647 h 727"/>
                <a:gd name="T76" fmla="*/ 2147483647 w 661"/>
                <a:gd name="T77" fmla="*/ 2147483647 h 727"/>
                <a:gd name="T78" fmla="*/ 2147483647 w 661"/>
                <a:gd name="T79" fmla="*/ 2147483647 h 727"/>
                <a:gd name="T80" fmla="*/ 2147483647 w 661"/>
                <a:gd name="T81" fmla="*/ 2147483647 h 727"/>
                <a:gd name="T82" fmla="*/ 2147483647 w 661"/>
                <a:gd name="T83" fmla="*/ 0 h 727"/>
                <a:gd name="T84" fmla="*/ 2147483647 w 661"/>
                <a:gd name="T85" fmla="*/ 0 h 727"/>
                <a:gd name="T86" fmla="*/ 2147483647 w 661"/>
                <a:gd name="T87" fmla="*/ 2147483647 h 727"/>
                <a:gd name="T88" fmla="*/ 2147483647 w 661"/>
                <a:gd name="T89" fmla="*/ 2147483647 h 727"/>
                <a:gd name="T90" fmla="*/ 2147483647 w 661"/>
                <a:gd name="T91" fmla="*/ 2147483647 h 727"/>
                <a:gd name="T92" fmla="*/ 2147483647 w 661"/>
                <a:gd name="T93" fmla="*/ 2147483647 h 727"/>
                <a:gd name="T94" fmla="*/ 2147483647 w 661"/>
                <a:gd name="T95" fmla="*/ 2147483647 h 7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661"/>
                <a:gd name="T145" fmla="*/ 0 h 727"/>
                <a:gd name="T146" fmla="*/ 661 w 661"/>
                <a:gd name="T147" fmla="*/ 727 h 72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661" h="727">
                  <a:moveTo>
                    <a:pt x="196" y="347"/>
                  </a:moveTo>
                  <a:lnTo>
                    <a:pt x="148" y="347"/>
                  </a:lnTo>
                  <a:lnTo>
                    <a:pt x="96" y="347"/>
                  </a:lnTo>
                  <a:lnTo>
                    <a:pt x="45" y="347"/>
                  </a:lnTo>
                  <a:lnTo>
                    <a:pt x="16" y="347"/>
                  </a:lnTo>
                  <a:lnTo>
                    <a:pt x="14" y="353"/>
                  </a:lnTo>
                  <a:lnTo>
                    <a:pt x="6" y="360"/>
                  </a:lnTo>
                  <a:lnTo>
                    <a:pt x="2" y="365"/>
                  </a:lnTo>
                  <a:lnTo>
                    <a:pt x="5" y="364"/>
                  </a:lnTo>
                  <a:lnTo>
                    <a:pt x="0" y="369"/>
                  </a:lnTo>
                  <a:lnTo>
                    <a:pt x="0" y="371"/>
                  </a:lnTo>
                  <a:lnTo>
                    <a:pt x="0" y="369"/>
                  </a:lnTo>
                  <a:lnTo>
                    <a:pt x="10" y="365"/>
                  </a:lnTo>
                  <a:lnTo>
                    <a:pt x="12" y="369"/>
                  </a:lnTo>
                  <a:lnTo>
                    <a:pt x="22" y="391"/>
                  </a:lnTo>
                  <a:lnTo>
                    <a:pt x="23" y="393"/>
                  </a:lnTo>
                  <a:lnTo>
                    <a:pt x="30" y="391"/>
                  </a:lnTo>
                  <a:lnTo>
                    <a:pt x="40" y="409"/>
                  </a:lnTo>
                  <a:lnTo>
                    <a:pt x="41" y="414"/>
                  </a:lnTo>
                  <a:lnTo>
                    <a:pt x="41" y="429"/>
                  </a:lnTo>
                  <a:lnTo>
                    <a:pt x="41" y="437"/>
                  </a:lnTo>
                  <a:lnTo>
                    <a:pt x="35" y="455"/>
                  </a:lnTo>
                  <a:lnTo>
                    <a:pt x="33" y="458"/>
                  </a:lnTo>
                  <a:lnTo>
                    <a:pt x="28" y="460"/>
                  </a:lnTo>
                  <a:lnTo>
                    <a:pt x="27" y="463"/>
                  </a:lnTo>
                  <a:lnTo>
                    <a:pt x="45" y="488"/>
                  </a:lnTo>
                  <a:lnTo>
                    <a:pt x="49" y="501"/>
                  </a:lnTo>
                  <a:lnTo>
                    <a:pt x="50" y="515"/>
                  </a:lnTo>
                  <a:lnTo>
                    <a:pt x="51" y="527"/>
                  </a:lnTo>
                  <a:lnTo>
                    <a:pt x="50" y="563"/>
                  </a:lnTo>
                  <a:lnTo>
                    <a:pt x="46" y="577"/>
                  </a:lnTo>
                  <a:lnTo>
                    <a:pt x="32" y="614"/>
                  </a:lnTo>
                  <a:lnTo>
                    <a:pt x="30" y="623"/>
                  </a:lnTo>
                  <a:lnTo>
                    <a:pt x="24" y="639"/>
                  </a:lnTo>
                  <a:lnTo>
                    <a:pt x="23" y="651"/>
                  </a:lnTo>
                  <a:lnTo>
                    <a:pt x="24" y="650"/>
                  </a:lnTo>
                  <a:lnTo>
                    <a:pt x="28" y="647"/>
                  </a:lnTo>
                  <a:lnTo>
                    <a:pt x="32" y="640"/>
                  </a:lnTo>
                  <a:lnTo>
                    <a:pt x="37" y="627"/>
                  </a:lnTo>
                  <a:lnTo>
                    <a:pt x="40" y="627"/>
                  </a:lnTo>
                  <a:lnTo>
                    <a:pt x="43" y="625"/>
                  </a:lnTo>
                  <a:lnTo>
                    <a:pt x="50" y="627"/>
                  </a:lnTo>
                  <a:lnTo>
                    <a:pt x="59" y="627"/>
                  </a:lnTo>
                  <a:lnTo>
                    <a:pt x="69" y="629"/>
                  </a:lnTo>
                  <a:lnTo>
                    <a:pt x="76" y="628"/>
                  </a:lnTo>
                  <a:lnTo>
                    <a:pt x="78" y="625"/>
                  </a:lnTo>
                  <a:lnTo>
                    <a:pt x="89" y="623"/>
                  </a:lnTo>
                  <a:lnTo>
                    <a:pt x="98" y="624"/>
                  </a:lnTo>
                  <a:lnTo>
                    <a:pt x="100" y="623"/>
                  </a:lnTo>
                  <a:lnTo>
                    <a:pt x="100" y="619"/>
                  </a:lnTo>
                  <a:lnTo>
                    <a:pt x="102" y="619"/>
                  </a:lnTo>
                  <a:lnTo>
                    <a:pt x="108" y="619"/>
                  </a:lnTo>
                  <a:lnTo>
                    <a:pt x="113" y="618"/>
                  </a:lnTo>
                  <a:lnTo>
                    <a:pt x="119" y="620"/>
                  </a:lnTo>
                  <a:lnTo>
                    <a:pt x="135" y="620"/>
                  </a:lnTo>
                  <a:lnTo>
                    <a:pt x="136" y="622"/>
                  </a:lnTo>
                  <a:lnTo>
                    <a:pt x="141" y="620"/>
                  </a:lnTo>
                  <a:lnTo>
                    <a:pt x="143" y="625"/>
                  </a:lnTo>
                  <a:lnTo>
                    <a:pt x="150" y="627"/>
                  </a:lnTo>
                  <a:lnTo>
                    <a:pt x="161" y="635"/>
                  </a:lnTo>
                  <a:lnTo>
                    <a:pt x="162" y="641"/>
                  </a:lnTo>
                  <a:lnTo>
                    <a:pt x="169" y="649"/>
                  </a:lnTo>
                  <a:lnTo>
                    <a:pt x="173" y="647"/>
                  </a:lnTo>
                  <a:lnTo>
                    <a:pt x="179" y="646"/>
                  </a:lnTo>
                  <a:lnTo>
                    <a:pt x="179" y="650"/>
                  </a:lnTo>
                  <a:lnTo>
                    <a:pt x="183" y="651"/>
                  </a:lnTo>
                  <a:lnTo>
                    <a:pt x="188" y="647"/>
                  </a:lnTo>
                  <a:lnTo>
                    <a:pt x="190" y="647"/>
                  </a:lnTo>
                  <a:lnTo>
                    <a:pt x="200" y="662"/>
                  </a:lnTo>
                  <a:lnTo>
                    <a:pt x="205" y="672"/>
                  </a:lnTo>
                  <a:lnTo>
                    <a:pt x="205" y="676"/>
                  </a:lnTo>
                  <a:lnTo>
                    <a:pt x="209" y="677"/>
                  </a:lnTo>
                  <a:lnTo>
                    <a:pt x="212" y="682"/>
                  </a:lnTo>
                  <a:lnTo>
                    <a:pt x="212" y="684"/>
                  </a:lnTo>
                  <a:lnTo>
                    <a:pt x="215" y="686"/>
                  </a:lnTo>
                  <a:lnTo>
                    <a:pt x="218" y="684"/>
                  </a:lnTo>
                  <a:lnTo>
                    <a:pt x="220" y="684"/>
                  </a:lnTo>
                  <a:lnTo>
                    <a:pt x="222" y="692"/>
                  </a:lnTo>
                  <a:lnTo>
                    <a:pt x="225" y="693"/>
                  </a:lnTo>
                  <a:lnTo>
                    <a:pt x="227" y="697"/>
                  </a:lnTo>
                  <a:lnTo>
                    <a:pt x="223" y="698"/>
                  </a:lnTo>
                  <a:lnTo>
                    <a:pt x="223" y="699"/>
                  </a:lnTo>
                  <a:lnTo>
                    <a:pt x="228" y="700"/>
                  </a:lnTo>
                  <a:lnTo>
                    <a:pt x="231" y="704"/>
                  </a:lnTo>
                  <a:lnTo>
                    <a:pt x="234" y="706"/>
                  </a:lnTo>
                  <a:lnTo>
                    <a:pt x="238" y="706"/>
                  </a:lnTo>
                  <a:lnTo>
                    <a:pt x="244" y="709"/>
                  </a:lnTo>
                  <a:lnTo>
                    <a:pt x="247" y="713"/>
                  </a:lnTo>
                  <a:lnTo>
                    <a:pt x="248" y="717"/>
                  </a:lnTo>
                  <a:lnTo>
                    <a:pt x="250" y="719"/>
                  </a:lnTo>
                  <a:lnTo>
                    <a:pt x="256" y="721"/>
                  </a:lnTo>
                  <a:lnTo>
                    <a:pt x="263" y="727"/>
                  </a:lnTo>
                  <a:lnTo>
                    <a:pt x="286" y="705"/>
                  </a:lnTo>
                  <a:lnTo>
                    <a:pt x="293" y="687"/>
                  </a:lnTo>
                  <a:lnTo>
                    <a:pt x="297" y="676"/>
                  </a:lnTo>
                  <a:lnTo>
                    <a:pt x="302" y="665"/>
                  </a:lnTo>
                  <a:lnTo>
                    <a:pt x="304" y="663"/>
                  </a:lnTo>
                  <a:lnTo>
                    <a:pt x="307" y="665"/>
                  </a:lnTo>
                  <a:lnTo>
                    <a:pt x="308" y="666"/>
                  </a:lnTo>
                  <a:lnTo>
                    <a:pt x="314" y="667"/>
                  </a:lnTo>
                  <a:lnTo>
                    <a:pt x="318" y="670"/>
                  </a:lnTo>
                  <a:lnTo>
                    <a:pt x="323" y="683"/>
                  </a:lnTo>
                  <a:lnTo>
                    <a:pt x="333" y="701"/>
                  </a:lnTo>
                  <a:lnTo>
                    <a:pt x="347" y="705"/>
                  </a:lnTo>
                  <a:lnTo>
                    <a:pt x="350" y="705"/>
                  </a:lnTo>
                  <a:lnTo>
                    <a:pt x="376" y="683"/>
                  </a:lnTo>
                  <a:lnTo>
                    <a:pt x="463" y="686"/>
                  </a:lnTo>
                  <a:lnTo>
                    <a:pt x="534" y="687"/>
                  </a:lnTo>
                  <a:lnTo>
                    <a:pt x="607" y="688"/>
                  </a:lnTo>
                  <a:lnTo>
                    <a:pt x="625" y="688"/>
                  </a:lnTo>
                  <a:lnTo>
                    <a:pt x="637" y="641"/>
                  </a:lnTo>
                  <a:lnTo>
                    <a:pt x="615" y="634"/>
                  </a:lnTo>
                  <a:lnTo>
                    <a:pt x="609" y="577"/>
                  </a:lnTo>
                  <a:lnTo>
                    <a:pt x="604" y="522"/>
                  </a:lnTo>
                  <a:lnTo>
                    <a:pt x="598" y="468"/>
                  </a:lnTo>
                  <a:lnTo>
                    <a:pt x="592" y="414"/>
                  </a:lnTo>
                  <a:lnTo>
                    <a:pt x="587" y="359"/>
                  </a:lnTo>
                  <a:lnTo>
                    <a:pt x="581" y="302"/>
                  </a:lnTo>
                  <a:lnTo>
                    <a:pt x="576" y="247"/>
                  </a:lnTo>
                  <a:lnTo>
                    <a:pt x="570" y="191"/>
                  </a:lnTo>
                  <a:lnTo>
                    <a:pt x="564" y="133"/>
                  </a:lnTo>
                  <a:lnTo>
                    <a:pt x="661" y="133"/>
                  </a:lnTo>
                  <a:lnTo>
                    <a:pt x="584" y="82"/>
                  </a:lnTo>
                  <a:lnTo>
                    <a:pt x="525" y="44"/>
                  </a:lnTo>
                  <a:lnTo>
                    <a:pt x="458" y="0"/>
                  </a:lnTo>
                  <a:lnTo>
                    <a:pt x="458" y="70"/>
                  </a:lnTo>
                  <a:lnTo>
                    <a:pt x="405" y="70"/>
                  </a:lnTo>
                  <a:lnTo>
                    <a:pt x="352" y="70"/>
                  </a:lnTo>
                  <a:lnTo>
                    <a:pt x="299" y="70"/>
                  </a:lnTo>
                  <a:lnTo>
                    <a:pt x="281" y="70"/>
                  </a:lnTo>
                  <a:lnTo>
                    <a:pt x="281" y="128"/>
                  </a:lnTo>
                  <a:lnTo>
                    <a:pt x="281" y="187"/>
                  </a:lnTo>
                  <a:lnTo>
                    <a:pt x="281" y="222"/>
                  </a:lnTo>
                  <a:lnTo>
                    <a:pt x="261" y="229"/>
                  </a:lnTo>
                  <a:lnTo>
                    <a:pt x="244" y="231"/>
                  </a:lnTo>
                  <a:lnTo>
                    <a:pt x="228" y="236"/>
                  </a:lnTo>
                  <a:lnTo>
                    <a:pt x="223" y="240"/>
                  </a:lnTo>
                  <a:lnTo>
                    <a:pt x="220" y="245"/>
                  </a:lnTo>
                  <a:lnTo>
                    <a:pt x="215" y="256"/>
                  </a:lnTo>
                  <a:lnTo>
                    <a:pt x="213" y="264"/>
                  </a:lnTo>
                  <a:lnTo>
                    <a:pt x="215" y="290"/>
                  </a:lnTo>
                  <a:lnTo>
                    <a:pt x="218" y="310"/>
                  </a:lnTo>
                  <a:lnTo>
                    <a:pt x="218" y="331"/>
                  </a:lnTo>
                  <a:lnTo>
                    <a:pt x="222" y="347"/>
                  </a:lnTo>
                  <a:lnTo>
                    <a:pt x="196" y="34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1" name="Freeform 14">
              <a:extLst>
                <a:ext uri="{FF2B5EF4-FFF2-40B4-BE49-F238E27FC236}">
                  <a16:creationId xmlns:a16="http://schemas.microsoft.com/office/drawing/2014/main" id="{A30F728B-C683-C694-21B5-12D1E1953C2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392625" y="3149058"/>
              <a:ext cx="349208" cy="295698"/>
            </a:xfrm>
            <a:custGeom>
              <a:avLst/>
              <a:gdLst>
                <a:gd name="T0" fmla="*/ 2147483647 w 656"/>
                <a:gd name="T1" fmla="*/ 2147483647 h 526"/>
                <a:gd name="T2" fmla="*/ 2147483647 w 656"/>
                <a:gd name="T3" fmla="*/ 2147483647 h 526"/>
                <a:gd name="T4" fmla="*/ 0 w 656"/>
                <a:gd name="T5" fmla="*/ 2147483647 h 526"/>
                <a:gd name="T6" fmla="*/ 0 w 656"/>
                <a:gd name="T7" fmla="*/ 2147483647 h 526"/>
                <a:gd name="T8" fmla="*/ 2147483647 w 656"/>
                <a:gd name="T9" fmla="*/ 2147483647 h 526"/>
                <a:gd name="T10" fmla="*/ 2147483647 w 656"/>
                <a:gd name="T11" fmla="*/ 2147483647 h 526"/>
                <a:gd name="T12" fmla="*/ 2147483647 w 656"/>
                <a:gd name="T13" fmla="*/ 2147483647 h 526"/>
                <a:gd name="T14" fmla="*/ 2147483647 w 656"/>
                <a:gd name="T15" fmla="*/ 2147483647 h 526"/>
                <a:gd name="T16" fmla="*/ 2147483647 w 656"/>
                <a:gd name="T17" fmla="*/ 2147483647 h 526"/>
                <a:gd name="T18" fmla="*/ 2147483647 w 656"/>
                <a:gd name="T19" fmla="*/ 2147483647 h 526"/>
                <a:gd name="T20" fmla="*/ 2147483647 w 656"/>
                <a:gd name="T21" fmla="*/ 2147483647 h 526"/>
                <a:gd name="T22" fmla="*/ 2147483647 w 656"/>
                <a:gd name="T23" fmla="*/ 2147483647 h 526"/>
                <a:gd name="T24" fmla="*/ 2147483647 w 656"/>
                <a:gd name="T25" fmla="*/ 2147483647 h 526"/>
                <a:gd name="T26" fmla="*/ 2147483647 w 656"/>
                <a:gd name="T27" fmla="*/ 2147483647 h 526"/>
                <a:gd name="T28" fmla="*/ 2147483647 w 656"/>
                <a:gd name="T29" fmla="*/ 2147483647 h 526"/>
                <a:gd name="T30" fmla="*/ 2147483647 w 656"/>
                <a:gd name="T31" fmla="*/ 0 h 526"/>
                <a:gd name="T32" fmla="*/ 2147483647 w 656"/>
                <a:gd name="T33" fmla="*/ 0 h 526"/>
                <a:gd name="T34" fmla="*/ 2147483647 w 656"/>
                <a:gd name="T35" fmla="*/ 0 h 526"/>
                <a:gd name="T36" fmla="*/ 2147483647 w 656"/>
                <a:gd name="T37" fmla="*/ 0 h 526"/>
                <a:gd name="T38" fmla="*/ 2147483647 w 656"/>
                <a:gd name="T39" fmla="*/ 0 h 526"/>
                <a:gd name="T40" fmla="*/ 2147483647 w 656"/>
                <a:gd name="T41" fmla="*/ 0 h 526"/>
                <a:gd name="T42" fmla="*/ 2147483647 w 656"/>
                <a:gd name="T43" fmla="*/ 0 h 526"/>
                <a:gd name="T44" fmla="*/ 2147483647 w 656"/>
                <a:gd name="T45" fmla="*/ 0 h 526"/>
                <a:gd name="T46" fmla="*/ 2147483647 w 656"/>
                <a:gd name="T47" fmla="*/ 2147483647 h 526"/>
                <a:gd name="T48" fmla="*/ 2147483647 w 656"/>
                <a:gd name="T49" fmla="*/ 2147483647 h 526"/>
                <a:gd name="T50" fmla="*/ 2147483647 w 656"/>
                <a:gd name="T51" fmla="*/ 2147483647 h 526"/>
                <a:gd name="T52" fmla="*/ 2147483647 w 656"/>
                <a:gd name="T53" fmla="*/ 2147483647 h 526"/>
                <a:gd name="T54" fmla="*/ 2147483647 w 656"/>
                <a:gd name="T55" fmla="*/ 2147483647 h 526"/>
                <a:gd name="T56" fmla="*/ 2147483647 w 656"/>
                <a:gd name="T57" fmla="*/ 2147483647 h 526"/>
                <a:gd name="T58" fmla="*/ 2147483647 w 656"/>
                <a:gd name="T59" fmla="*/ 2147483647 h 526"/>
                <a:gd name="T60" fmla="*/ 2147483647 w 656"/>
                <a:gd name="T61" fmla="*/ 2147483647 h 526"/>
                <a:gd name="T62" fmla="*/ 2147483647 w 656"/>
                <a:gd name="T63" fmla="*/ 2147483647 h 526"/>
                <a:gd name="T64" fmla="*/ 2147483647 w 656"/>
                <a:gd name="T65" fmla="*/ 2147483647 h 526"/>
                <a:gd name="T66" fmla="*/ 2147483647 w 656"/>
                <a:gd name="T67" fmla="*/ 2147483647 h 526"/>
                <a:gd name="T68" fmla="*/ 2147483647 w 656"/>
                <a:gd name="T69" fmla="*/ 2147483647 h 526"/>
                <a:gd name="T70" fmla="*/ 2147483647 w 656"/>
                <a:gd name="T71" fmla="*/ 2147483647 h 526"/>
                <a:gd name="T72" fmla="*/ 2147483647 w 656"/>
                <a:gd name="T73" fmla="*/ 2147483647 h 526"/>
                <a:gd name="T74" fmla="*/ 2147483647 w 656"/>
                <a:gd name="T75" fmla="*/ 2147483647 h 526"/>
                <a:gd name="T76" fmla="*/ 2147483647 w 656"/>
                <a:gd name="T77" fmla="*/ 2147483647 h 526"/>
                <a:gd name="T78" fmla="*/ 2147483647 w 656"/>
                <a:gd name="T79" fmla="*/ 2147483647 h 526"/>
                <a:gd name="T80" fmla="*/ 2147483647 w 656"/>
                <a:gd name="T81" fmla="*/ 2147483647 h 526"/>
                <a:gd name="T82" fmla="*/ 2147483647 w 656"/>
                <a:gd name="T83" fmla="*/ 2147483647 h 526"/>
                <a:gd name="T84" fmla="*/ 2147483647 w 656"/>
                <a:gd name="T85" fmla="*/ 2147483647 h 526"/>
                <a:gd name="T86" fmla="*/ 2147483647 w 656"/>
                <a:gd name="T87" fmla="*/ 2147483647 h 526"/>
                <a:gd name="T88" fmla="*/ 2147483647 w 656"/>
                <a:gd name="T89" fmla="*/ 2147483647 h 526"/>
                <a:gd name="T90" fmla="*/ 2147483647 w 656"/>
                <a:gd name="T91" fmla="*/ 2147483647 h 526"/>
                <a:gd name="T92" fmla="*/ 2147483647 w 656"/>
                <a:gd name="T93" fmla="*/ 2147483647 h 526"/>
                <a:gd name="T94" fmla="*/ 2147483647 w 656"/>
                <a:gd name="T95" fmla="*/ 2147483647 h 526"/>
                <a:gd name="T96" fmla="*/ 2147483647 w 656"/>
                <a:gd name="T97" fmla="*/ 2147483647 h 526"/>
                <a:gd name="T98" fmla="*/ 2147483647 w 656"/>
                <a:gd name="T99" fmla="*/ 2147483647 h 526"/>
                <a:gd name="T100" fmla="*/ 2147483647 w 656"/>
                <a:gd name="T101" fmla="*/ 2147483647 h 526"/>
                <a:gd name="T102" fmla="*/ 2147483647 w 656"/>
                <a:gd name="T103" fmla="*/ 2147483647 h 526"/>
                <a:gd name="T104" fmla="*/ 2147483647 w 656"/>
                <a:gd name="T105" fmla="*/ 2147483647 h 526"/>
                <a:gd name="T106" fmla="*/ 2147483647 w 656"/>
                <a:gd name="T107" fmla="*/ 2147483647 h 52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56"/>
                <a:gd name="T163" fmla="*/ 0 h 526"/>
                <a:gd name="T164" fmla="*/ 656 w 656"/>
                <a:gd name="T165" fmla="*/ 526 h 52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56" h="526">
                  <a:moveTo>
                    <a:pt x="240" y="457"/>
                  </a:moveTo>
                  <a:lnTo>
                    <a:pt x="240" y="526"/>
                  </a:lnTo>
                  <a:lnTo>
                    <a:pt x="204" y="526"/>
                  </a:lnTo>
                  <a:lnTo>
                    <a:pt x="161" y="526"/>
                  </a:lnTo>
                  <a:lnTo>
                    <a:pt x="120" y="526"/>
                  </a:lnTo>
                  <a:lnTo>
                    <a:pt x="79" y="526"/>
                  </a:lnTo>
                  <a:lnTo>
                    <a:pt x="43" y="526"/>
                  </a:lnTo>
                  <a:lnTo>
                    <a:pt x="9" y="526"/>
                  </a:lnTo>
                  <a:lnTo>
                    <a:pt x="0" y="526"/>
                  </a:lnTo>
                  <a:lnTo>
                    <a:pt x="5" y="515"/>
                  </a:lnTo>
                  <a:lnTo>
                    <a:pt x="14" y="511"/>
                  </a:lnTo>
                  <a:lnTo>
                    <a:pt x="27" y="511"/>
                  </a:lnTo>
                  <a:lnTo>
                    <a:pt x="46" y="507"/>
                  </a:lnTo>
                  <a:lnTo>
                    <a:pt x="77" y="495"/>
                  </a:lnTo>
                  <a:lnTo>
                    <a:pt x="86" y="487"/>
                  </a:lnTo>
                  <a:lnTo>
                    <a:pt x="97" y="475"/>
                  </a:lnTo>
                  <a:lnTo>
                    <a:pt x="101" y="472"/>
                  </a:lnTo>
                  <a:lnTo>
                    <a:pt x="112" y="464"/>
                  </a:lnTo>
                  <a:lnTo>
                    <a:pt x="129" y="456"/>
                  </a:lnTo>
                  <a:lnTo>
                    <a:pt x="140" y="445"/>
                  </a:lnTo>
                  <a:lnTo>
                    <a:pt x="144" y="439"/>
                  </a:lnTo>
                  <a:lnTo>
                    <a:pt x="149" y="437"/>
                  </a:lnTo>
                  <a:lnTo>
                    <a:pt x="154" y="433"/>
                  </a:lnTo>
                  <a:lnTo>
                    <a:pt x="166" y="411"/>
                  </a:lnTo>
                  <a:lnTo>
                    <a:pt x="182" y="384"/>
                  </a:lnTo>
                  <a:lnTo>
                    <a:pt x="183" y="379"/>
                  </a:lnTo>
                  <a:lnTo>
                    <a:pt x="182" y="362"/>
                  </a:lnTo>
                  <a:lnTo>
                    <a:pt x="172" y="343"/>
                  </a:lnTo>
                  <a:lnTo>
                    <a:pt x="175" y="332"/>
                  </a:lnTo>
                  <a:lnTo>
                    <a:pt x="175" y="305"/>
                  </a:lnTo>
                  <a:lnTo>
                    <a:pt x="177" y="297"/>
                  </a:lnTo>
                  <a:lnTo>
                    <a:pt x="194" y="267"/>
                  </a:lnTo>
                  <a:lnTo>
                    <a:pt x="194" y="263"/>
                  </a:lnTo>
                  <a:lnTo>
                    <a:pt x="207" y="256"/>
                  </a:lnTo>
                  <a:lnTo>
                    <a:pt x="204" y="258"/>
                  </a:lnTo>
                  <a:lnTo>
                    <a:pt x="214" y="235"/>
                  </a:lnTo>
                  <a:lnTo>
                    <a:pt x="213" y="224"/>
                  </a:lnTo>
                  <a:lnTo>
                    <a:pt x="235" y="198"/>
                  </a:lnTo>
                  <a:lnTo>
                    <a:pt x="244" y="184"/>
                  </a:lnTo>
                  <a:lnTo>
                    <a:pt x="253" y="175"/>
                  </a:lnTo>
                  <a:lnTo>
                    <a:pt x="271" y="166"/>
                  </a:lnTo>
                  <a:lnTo>
                    <a:pt x="299" y="155"/>
                  </a:lnTo>
                  <a:lnTo>
                    <a:pt x="314" y="148"/>
                  </a:lnTo>
                  <a:lnTo>
                    <a:pt x="337" y="132"/>
                  </a:lnTo>
                  <a:lnTo>
                    <a:pt x="348" y="120"/>
                  </a:lnTo>
                  <a:lnTo>
                    <a:pt x="354" y="102"/>
                  </a:lnTo>
                  <a:lnTo>
                    <a:pt x="365" y="89"/>
                  </a:lnTo>
                  <a:lnTo>
                    <a:pt x="376" y="56"/>
                  </a:lnTo>
                  <a:lnTo>
                    <a:pt x="392" y="12"/>
                  </a:lnTo>
                  <a:lnTo>
                    <a:pt x="398" y="7"/>
                  </a:lnTo>
                  <a:lnTo>
                    <a:pt x="419" y="0"/>
                  </a:lnTo>
                  <a:lnTo>
                    <a:pt x="429" y="18"/>
                  </a:lnTo>
                  <a:lnTo>
                    <a:pt x="443" y="32"/>
                  </a:lnTo>
                  <a:lnTo>
                    <a:pt x="465" y="48"/>
                  </a:lnTo>
                  <a:lnTo>
                    <a:pt x="475" y="51"/>
                  </a:lnTo>
                  <a:lnTo>
                    <a:pt x="499" y="42"/>
                  </a:lnTo>
                  <a:lnTo>
                    <a:pt x="507" y="45"/>
                  </a:lnTo>
                  <a:lnTo>
                    <a:pt x="525" y="45"/>
                  </a:lnTo>
                  <a:lnTo>
                    <a:pt x="541" y="43"/>
                  </a:lnTo>
                  <a:lnTo>
                    <a:pt x="548" y="40"/>
                  </a:lnTo>
                  <a:lnTo>
                    <a:pt x="557" y="45"/>
                  </a:lnTo>
                  <a:lnTo>
                    <a:pt x="564" y="51"/>
                  </a:lnTo>
                  <a:lnTo>
                    <a:pt x="574" y="53"/>
                  </a:lnTo>
                  <a:lnTo>
                    <a:pt x="580" y="53"/>
                  </a:lnTo>
                  <a:lnTo>
                    <a:pt x="585" y="52"/>
                  </a:lnTo>
                  <a:lnTo>
                    <a:pt x="604" y="56"/>
                  </a:lnTo>
                  <a:lnTo>
                    <a:pt x="604" y="61"/>
                  </a:lnTo>
                  <a:lnTo>
                    <a:pt x="606" y="66"/>
                  </a:lnTo>
                  <a:lnTo>
                    <a:pt x="612" y="71"/>
                  </a:lnTo>
                  <a:lnTo>
                    <a:pt x="613" y="73"/>
                  </a:lnTo>
                  <a:lnTo>
                    <a:pt x="617" y="78"/>
                  </a:lnTo>
                  <a:lnTo>
                    <a:pt x="621" y="79"/>
                  </a:lnTo>
                  <a:lnTo>
                    <a:pt x="623" y="83"/>
                  </a:lnTo>
                  <a:lnTo>
                    <a:pt x="622" y="85"/>
                  </a:lnTo>
                  <a:lnTo>
                    <a:pt x="621" y="85"/>
                  </a:lnTo>
                  <a:lnTo>
                    <a:pt x="620" y="88"/>
                  </a:lnTo>
                  <a:lnTo>
                    <a:pt x="626" y="96"/>
                  </a:lnTo>
                  <a:lnTo>
                    <a:pt x="622" y="104"/>
                  </a:lnTo>
                  <a:lnTo>
                    <a:pt x="624" y="111"/>
                  </a:lnTo>
                  <a:lnTo>
                    <a:pt x="627" y="122"/>
                  </a:lnTo>
                  <a:lnTo>
                    <a:pt x="626" y="131"/>
                  </a:lnTo>
                  <a:lnTo>
                    <a:pt x="626" y="141"/>
                  </a:lnTo>
                  <a:lnTo>
                    <a:pt x="623" y="144"/>
                  </a:lnTo>
                  <a:lnTo>
                    <a:pt x="631" y="152"/>
                  </a:lnTo>
                  <a:lnTo>
                    <a:pt x="631" y="156"/>
                  </a:lnTo>
                  <a:lnTo>
                    <a:pt x="631" y="160"/>
                  </a:lnTo>
                  <a:lnTo>
                    <a:pt x="629" y="166"/>
                  </a:lnTo>
                  <a:lnTo>
                    <a:pt x="628" y="171"/>
                  </a:lnTo>
                  <a:lnTo>
                    <a:pt x="631" y="179"/>
                  </a:lnTo>
                  <a:lnTo>
                    <a:pt x="633" y="186"/>
                  </a:lnTo>
                  <a:lnTo>
                    <a:pt x="633" y="192"/>
                  </a:lnTo>
                  <a:lnTo>
                    <a:pt x="640" y="207"/>
                  </a:lnTo>
                  <a:lnTo>
                    <a:pt x="649" y="215"/>
                  </a:lnTo>
                  <a:lnTo>
                    <a:pt x="656" y="220"/>
                  </a:lnTo>
                  <a:lnTo>
                    <a:pt x="656" y="222"/>
                  </a:lnTo>
                  <a:lnTo>
                    <a:pt x="651" y="224"/>
                  </a:lnTo>
                  <a:lnTo>
                    <a:pt x="648" y="231"/>
                  </a:lnTo>
                  <a:lnTo>
                    <a:pt x="647" y="238"/>
                  </a:lnTo>
                  <a:lnTo>
                    <a:pt x="649" y="242"/>
                  </a:lnTo>
                  <a:lnTo>
                    <a:pt x="649" y="245"/>
                  </a:lnTo>
                  <a:lnTo>
                    <a:pt x="647" y="246"/>
                  </a:lnTo>
                  <a:lnTo>
                    <a:pt x="639" y="242"/>
                  </a:lnTo>
                  <a:lnTo>
                    <a:pt x="627" y="242"/>
                  </a:lnTo>
                  <a:lnTo>
                    <a:pt x="616" y="241"/>
                  </a:lnTo>
                  <a:lnTo>
                    <a:pt x="611" y="242"/>
                  </a:lnTo>
                  <a:lnTo>
                    <a:pt x="580" y="242"/>
                  </a:lnTo>
                  <a:lnTo>
                    <a:pt x="570" y="245"/>
                  </a:lnTo>
                  <a:lnTo>
                    <a:pt x="567" y="247"/>
                  </a:lnTo>
                  <a:lnTo>
                    <a:pt x="563" y="249"/>
                  </a:lnTo>
                  <a:lnTo>
                    <a:pt x="556" y="246"/>
                  </a:lnTo>
                  <a:lnTo>
                    <a:pt x="553" y="247"/>
                  </a:lnTo>
                  <a:lnTo>
                    <a:pt x="551" y="252"/>
                  </a:lnTo>
                  <a:lnTo>
                    <a:pt x="552" y="257"/>
                  </a:lnTo>
                  <a:lnTo>
                    <a:pt x="551" y="263"/>
                  </a:lnTo>
                  <a:lnTo>
                    <a:pt x="548" y="266"/>
                  </a:lnTo>
                  <a:lnTo>
                    <a:pt x="535" y="272"/>
                  </a:lnTo>
                  <a:lnTo>
                    <a:pt x="527" y="273"/>
                  </a:lnTo>
                  <a:lnTo>
                    <a:pt x="520" y="274"/>
                  </a:lnTo>
                  <a:lnTo>
                    <a:pt x="513" y="273"/>
                  </a:lnTo>
                  <a:lnTo>
                    <a:pt x="508" y="273"/>
                  </a:lnTo>
                  <a:lnTo>
                    <a:pt x="503" y="277"/>
                  </a:lnTo>
                  <a:lnTo>
                    <a:pt x="502" y="282"/>
                  </a:lnTo>
                  <a:lnTo>
                    <a:pt x="502" y="288"/>
                  </a:lnTo>
                  <a:lnTo>
                    <a:pt x="503" y="290"/>
                  </a:lnTo>
                  <a:lnTo>
                    <a:pt x="508" y="290"/>
                  </a:lnTo>
                  <a:lnTo>
                    <a:pt x="509" y="293"/>
                  </a:lnTo>
                  <a:lnTo>
                    <a:pt x="504" y="298"/>
                  </a:lnTo>
                  <a:lnTo>
                    <a:pt x="503" y="309"/>
                  </a:lnTo>
                  <a:lnTo>
                    <a:pt x="504" y="309"/>
                  </a:lnTo>
                  <a:lnTo>
                    <a:pt x="507" y="308"/>
                  </a:lnTo>
                  <a:lnTo>
                    <a:pt x="509" y="308"/>
                  </a:lnTo>
                  <a:lnTo>
                    <a:pt x="510" y="310"/>
                  </a:lnTo>
                  <a:lnTo>
                    <a:pt x="515" y="314"/>
                  </a:lnTo>
                  <a:lnTo>
                    <a:pt x="516" y="317"/>
                  </a:lnTo>
                  <a:lnTo>
                    <a:pt x="514" y="321"/>
                  </a:lnTo>
                  <a:lnTo>
                    <a:pt x="493" y="325"/>
                  </a:lnTo>
                  <a:lnTo>
                    <a:pt x="467" y="342"/>
                  </a:lnTo>
                  <a:lnTo>
                    <a:pt x="461" y="342"/>
                  </a:lnTo>
                  <a:lnTo>
                    <a:pt x="446" y="348"/>
                  </a:lnTo>
                  <a:lnTo>
                    <a:pt x="436" y="355"/>
                  </a:lnTo>
                  <a:lnTo>
                    <a:pt x="433" y="363"/>
                  </a:lnTo>
                  <a:lnTo>
                    <a:pt x="433" y="365"/>
                  </a:lnTo>
                  <a:lnTo>
                    <a:pt x="430" y="371"/>
                  </a:lnTo>
                  <a:lnTo>
                    <a:pt x="424" y="376"/>
                  </a:lnTo>
                  <a:lnTo>
                    <a:pt x="418" y="381"/>
                  </a:lnTo>
                  <a:lnTo>
                    <a:pt x="401" y="389"/>
                  </a:lnTo>
                  <a:lnTo>
                    <a:pt x="385" y="391"/>
                  </a:lnTo>
                  <a:lnTo>
                    <a:pt x="376" y="391"/>
                  </a:lnTo>
                  <a:lnTo>
                    <a:pt x="371" y="394"/>
                  </a:lnTo>
                  <a:lnTo>
                    <a:pt x="354" y="392"/>
                  </a:lnTo>
                  <a:lnTo>
                    <a:pt x="353" y="396"/>
                  </a:lnTo>
                  <a:lnTo>
                    <a:pt x="353" y="405"/>
                  </a:lnTo>
                  <a:lnTo>
                    <a:pt x="350" y="406"/>
                  </a:lnTo>
                  <a:lnTo>
                    <a:pt x="342" y="406"/>
                  </a:lnTo>
                  <a:lnTo>
                    <a:pt x="337" y="403"/>
                  </a:lnTo>
                  <a:lnTo>
                    <a:pt x="330" y="405"/>
                  </a:lnTo>
                  <a:lnTo>
                    <a:pt x="323" y="403"/>
                  </a:lnTo>
                  <a:lnTo>
                    <a:pt x="319" y="407"/>
                  </a:lnTo>
                  <a:lnTo>
                    <a:pt x="312" y="413"/>
                  </a:lnTo>
                  <a:lnTo>
                    <a:pt x="306" y="417"/>
                  </a:lnTo>
                  <a:lnTo>
                    <a:pt x="299" y="423"/>
                  </a:lnTo>
                  <a:lnTo>
                    <a:pt x="287" y="423"/>
                  </a:lnTo>
                  <a:lnTo>
                    <a:pt x="266" y="437"/>
                  </a:lnTo>
                  <a:lnTo>
                    <a:pt x="240" y="45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2" name="Freeform 15">
              <a:extLst>
                <a:ext uri="{FF2B5EF4-FFF2-40B4-BE49-F238E27FC236}">
                  <a16:creationId xmlns:a16="http://schemas.microsoft.com/office/drawing/2014/main" id="{4F93F652-97C5-E593-EEC9-9364A8E7FF8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971523" y="3969087"/>
              <a:ext cx="299961" cy="422208"/>
            </a:xfrm>
            <a:custGeom>
              <a:avLst/>
              <a:gdLst>
                <a:gd name="T0" fmla="*/ 0 w 561"/>
                <a:gd name="T1" fmla="*/ 2147483647 h 740"/>
                <a:gd name="T2" fmla="*/ 0 w 561"/>
                <a:gd name="T3" fmla="*/ 2147483647 h 740"/>
                <a:gd name="T4" fmla="*/ 0 w 561"/>
                <a:gd name="T5" fmla="*/ 2147483647 h 740"/>
                <a:gd name="T6" fmla="*/ 2147483647 w 561"/>
                <a:gd name="T7" fmla="*/ 2147483647 h 740"/>
                <a:gd name="T8" fmla="*/ 2147483647 w 561"/>
                <a:gd name="T9" fmla="*/ 2147483647 h 740"/>
                <a:gd name="T10" fmla="*/ 2147483647 w 561"/>
                <a:gd name="T11" fmla="*/ 2147483647 h 740"/>
                <a:gd name="T12" fmla="*/ 2147483647 w 561"/>
                <a:gd name="T13" fmla="*/ 2147483647 h 740"/>
                <a:gd name="T14" fmla="*/ 2147483647 w 561"/>
                <a:gd name="T15" fmla="*/ 2147483647 h 740"/>
                <a:gd name="T16" fmla="*/ 2147483647 w 561"/>
                <a:gd name="T17" fmla="*/ 2147483647 h 740"/>
                <a:gd name="T18" fmla="*/ 2147483647 w 561"/>
                <a:gd name="T19" fmla="*/ 2147483647 h 740"/>
                <a:gd name="T20" fmla="*/ 2147483647 w 561"/>
                <a:gd name="T21" fmla="*/ 2147483647 h 740"/>
                <a:gd name="T22" fmla="*/ 2147483647 w 561"/>
                <a:gd name="T23" fmla="*/ 2147483647 h 740"/>
                <a:gd name="T24" fmla="*/ 2147483647 w 561"/>
                <a:gd name="T25" fmla="*/ 0 h 740"/>
                <a:gd name="T26" fmla="*/ 2147483647 w 561"/>
                <a:gd name="T27" fmla="*/ 0 h 740"/>
                <a:gd name="T28" fmla="*/ 2147483647 w 561"/>
                <a:gd name="T29" fmla="*/ 0 h 740"/>
                <a:gd name="T30" fmla="*/ 2147483647 w 561"/>
                <a:gd name="T31" fmla="*/ 0 h 740"/>
                <a:gd name="T32" fmla="*/ 2147483647 w 561"/>
                <a:gd name="T33" fmla="*/ 2147483647 h 740"/>
                <a:gd name="T34" fmla="*/ 2147483647 w 561"/>
                <a:gd name="T35" fmla="*/ 2147483647 h 740"/>
                <a:gd name="T36" fmla="*/ 2147483647 w 561"/>
                <a:gd name="T37" fmla="*/ 0 h 740"/>
                <a:gd name="T38" fmla="*/ 2147483647 w 561"/>
                <a:gd name="T39" fmla="*/ 0 h 740"/>
                <a:gd name="T40" fmla="*/ 2147483647 w 561"/>
                <a:gd name="T41" fmla="*/ 0 h 740"/>
                <a:gd name="T42" fmla="*/ 2147483647 w 561"/>
                <a:gd name="T43" fmla="*/ 0 h 740"/>
                <a:gd name="T44" fmla="*/ 2147483647 w 561"/>
                <a:gd name="T45" fmla="*/ 0 h 740"/>
                <a:gd name="T46" fmla="*/ 2147483647 w 561"/>
                <a:gd name="T47" fmla="*/ 0 h 740"/>
                <a:gd name="T48" fmla="*/ 2147483647 w 561"/>
                <a:gd name="T49" fmla="*/ 0 h 740"/>
                <a:gd name="T50" fmla="*/ 2147483647 w 561"/>
                <a:gd name="T51" fmla="*/ 0 h 740"/>
                <a:gd name="T52" fmla="*/ 2147483647 w 561"/>
                <a:gd name="T53" fmla="*/ 0 h 740"/>
                <a:gd name="T54" fmla="*/ 2147483647 w 561"/>
                <a:gd name="T55" fmla="*/ 0 h 740"/>
                <a:gd name="T56" fmla="*/ 2147483647 w 561"/>
                <a:gd name="T57" fmla="*/ 0 h 740"/>
                <a:gd name="T58" fmla="*/ 2147483647 w 561"/>
                <a:gd name="T59" fmla="*/ 0 h 740"/>
                <a:gd name="T60" fmla="*/ 2147483647 w 561"/>
                <a:gd name="T61" fmla="*/ 0 h 740"/>
                <a:gd name="T62" fmla="*/ 2147483647 w 561"/>
                <a:gd name="T63" fmla="*/ 0 h 740"/>
                <a:gd name="T64" fmla="*/ 2147483647 w 561"/>
                <a:gd name="T65" fmla="*/ 0 h 740"/>
                <a:gd name="T66" fmla="*/ 2147483647 w 561"/>
                <a:gd name="T67" fmla="*/ 0 h 740"/>
                <a:gd name="T68" fmla="*/ 2147483647 w 561"/>
                <a:gd name="T69" fmla="*/ 0 h 740"/>
                <a:gd name="T70" fmla="*/ 2147483647 w 561"/>
                <a:gd name="T71" fmla="*/ 2147483647 h 740"/>
                <a:gd name="T72" fmla="*/ 2147483647 w 561"/>
                <a:gd name="T73" fmla="*/ 2147483647 h 740"/>
                <a:gd name="T74" fmla="*/ 2147483647 w 561"/>
                <a:gd name="T75" fmla="*/ 2147483647 h 740"/>
                <a:gd name="T76" fmla="*/ 2147483647 w 561"/>
                <a:gd name="T77" fmla="*/ 2147483647 h 740"/>
                <a:gd name="T78" fmla="*/ 2147483647 w 561"/>
                <a:gd name="T79" fmla="*/ 2147483647 h 740"/>
                <a:gd name="T80" fmla="*/ 2147483647 w 561"/>
                <a:gd name="T81" fmla="*/ 2147483647 h 740"/>
                <a:gd name="T82" fmla="*/ 2147483647 w 561"/>
                <a:gd name="T83" fmla="*/ 2147483647 h 740"/>
                <a:gd name="T84" fmla="*/ 2147483647 w 561"/>
                <a:gd name="T85" fmla="*/ 2147483647 h 740"/>
                <a:gd name="T86" fmla="*/ 2147483647 w 561"/>
                <a:gd name="T87" fmla="*/ 2147483647 h 740"/>
                <a:gd name="T88" fmla="*/ 2147483647 w 561"/>
                <a:gd name="T89" fmla="*/ 2147483647 h 740"/>
                <a:gd name="T90" fmla="*/ 2147483647 w 561"/>
                <a:gd name="T91" fmla="*/ 2147483647 h 740"/>
                <a:gd name="T92" fmla="*/ 2147483647 w 561"/>
                <a:gd name="T93" fmla="*/ 2147483647 h 740"/>
                <a:gd name="T94" fmla="*/ 2147483647 w 561"/>
                <a:gd name="T95" fmla="*/ 2147483647 h 740"/>
                <a:gd name="T96" fmla="*/ 2147483647 w 561"/>
                <a:gd name="T97" fmla="*/ 2147483647 h 740"/>
                <a:gd name="T98" fmla="*/ 2147483647 w 561"/>
                <a:gd name="T99" fmla="*/ 2147483647 h 740"/>
                <a:gd name="T100" fmla="*/ 2147483647 w 561"/>
                <a:gd name="T101" fmla="*/ 2147483647 h 740"/>
                <a:gd name="T102" fmla="*/ 2147483647 w 561"/>
                <a:gd name="T103" fmla="*/ 2147483647 h 740"/>
                <a:gd name="T104" fmla="*/ 2147483647 w 561"/>
                <a:gd name="T105" fmla="*/ 2147483647 h 740"/>
                <a:gd name="T106" fmla="*/ 2147483647 w 561"/>
                <a:gd name="T107" fmla="*/ 2147483647 h 740"/>
                <a:gd name="T108" fmla="*/ 2147483647 w 561"/>
                <a:gd name="T109" fmla="*/ 2147483647 h 740"/>
                <a:gd name="T110" fmla="*/ 2147483647 w 561"/>
                <a:gd name="T111" fmla="*/ 2147483647 h 740"/>
                <a:gd name="T112" fmla="*/ 2147483647 w 561"/>
                <a:gd name="T113" fmla="*/ 2147483647 h 740"/>
                <a:gd name="T114" fmla="*/ 2147483647 w 561"/>
                <a:gd name="T115" fmla="*/ 2147483647 h 740"/>
                <a:gd name="T116" fmla="*/ 2147483647 w 561"/>
                <a:gd name="T117" fmla="*/ 2147483647 h 740"/>
                <a:gd name="T118" fmla="*/ 2147483647 w 561"/>
                <a:gd name="T119" fmla="*/ 2147483647 h 740"/>
                <a:gd name="T120" fmla="*/ 2147483647 w 561"/>
                <a:gd name="T121" fmla="*/ 2147483647 h 740"/>
                <a:gd name="T122" fmla="*/ 2147483647 w 561"/>
                <a:gd name="T123" fmla="*/ 2147483647 h 740"/>
                <a:gd name="T124" fmla="*/ 0 w 561"/>
                <a:gd name="T125" fmla="*/ 2147483647 h 7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61"/>
                <a:gd name="T190" fmla="*/ 0 h 740"/>
                <a:gd name="T191" fmla="*/ 561 w 561"/>
                <a:gd name="T192" fmla="*/ 740 h 7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61" h="740">
                  <a:moveTo>
                    <a:pt x="30" y="740"/>
                  </a:moveTo>
                  <a:lnTo>
                    <a:pt x="29" y="737"/>
                  </a:lnTo>
                  <a:lnTo>
                    <a:pt x="6" y="708"/>
                  </a:lnTo>
                  <a:lnTo>
                    <a:pt x="0" y="700"/>
                  </a:lnTo>
                  <a:lnTo>
                    <a:pt x="0" y="657"/>
                  </a:lnTo>
                  <a:lnTo>
                    <a:pt x="0" y="604"/>
                  </a:lnTo>
                  <a:lnTo>
                    <a:pt x="0" y="551"/>
                  </a:lnTo>
                  <a:lnTo>
                    <a:pt x="0" y="498"/>
                  </a:lnTo>
                  <a:lnTo>
                    <a:pt x="3" y="496"/>
                  </a:lnTo>
                  <a:lnTo>
                    <a:pt x="25" y="474"/>
                  </a:lnTo>
                  <a:lnTo>
                    <a:pt x="46" y="442"/>
                  </a:lnTo>
                  <a:lnTo>
                    <a:pt x="48" y="437"/>
                  </a:lnTo>
                  <a:lnTo>
                    <a:pt x="51" y="433"/>
                  </a:lnTo>
                  <a:lnTo>
                    <a:pt x="66" y="426"/>
                  </a:lnTo>
                  <a:lnTo>
                    <a:pt x="102" y="414"/>
                  </a:lnTo>
                  <a:lnTo>
                    <a:pt x="114" y="401"/>
                  </a:lnTo>
                  <a:lnTo>
                    <a:pt x="127" y="393"/>
                  </a:lnTo>
                  <a:lnTo>
                    <a:pt x="148" y="384"/>
                  </a:lnTo>
                  <a:lnTo>
                    <a:pt x="157" y="379"/>
                  </a:lnTo>
                  <a:lnTo>
                    <a:pt x="221" y="379"/>
                  </a:lnTo>
                  <a:lnTo>
                    <a:pt x="302" y="297"/>
                  </a:lnTo>
                  <a:lnTo>
                    <a:pt x="373" y="227"/>
                  </a:lnTo>
                  <a:lnTo>
                    <a:pt x="383" y="215"/>
                  </a:lnTo>
                  <a:lnTo>
                    <a:pt x="384" y="212"/>
                  </a:lnTo>
                  <a:lnTo>
                    <a:pt x="331" y="213"/>
                  </a:lnTo>
                  <a:lnTo>
                    <a:pt x="244" y="181"/>
                  </a:lnTo>
                  <a:lnTo>
                    <a:pt x="166" y="154"/>
                  </a:lnTo>
                  <a:lnTo>
                    <a:pt x="159" y="147"/>
                  </a:lnTo>
                  <a:lnTo>
                    <a:pt x="140" y="132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4" y="110"/>
                  </a:lnTo>
                  <a:lnTo>
                    <a:pt x="119" y="107"/>
                  </a:lnTo>
                  <a:lnTo>
                    <a:pt x="113" y="100"/>
                  </a:lnTo>
                  <a:lnTo>
                    <a:pt x="110" y="95"/>
                  </a:lnTo>
                  <a:lnTo>
                    <a:pt x="103" y="88"/>
                  </a:lnTo>
                  <a:lnTo>
                    <a:pt x="98" y="65"/>
                  </a:lnTo>
                  <a:lnTo>
                    <a:pt x="99" y="60"/>
                  </a:lnTo>
                  <a:lnTo>
                    <a:pt x="103" y="55"/>
                  </a:lnTo>
                  <a:lnTo>
                    <a:pt x="105" y="49"/>
                  </a:lnTo>
                  <a:lnTo>
                    <a:pt x="115" y="37"/>
                  </a:lnTo>
                  <a:lnTo>
                    <a:pt x="120" y="25"/>
                  </a:lnTo>
                  <a:lnTo>
                    <a:pt x="123" y="23"/>
                  </a:lnTo>
                  <a:lnTo>
                    <a:pt x="125" y="27"/>
                  </a:lnTo>
                  <a:lnTo>
                    <a:pt x="130" y="29"/>
                  </a:lnTo>
                  <a:lnTo>
                    <a:pt x="135" y="38"/>
                  </a:lnTo>
                  <a:lnTo>
                    <a:pt x="140" y="41"/>
                  </a:lnTo>
                  <a:lnTo>
                    <a:pt x="151" y="57"/>
                  </a:lnTo>
                  <a:lnTo>
                    <a:pt x="167" y="73"/>
                  </a:lnTo>
                  <a:lnTo>
                    <a:pt x="179" y="82"/>
                  </a:lnTo>
                  <a:lnTo>
                    <a:pt x="186" y="84"/>
                  </a:lnTo>
                  <a:lnTo>
                    <a:pt x="193" y="82"/>
                  </a:lnTo>
                  <a:lnTo>
                    <a:pt x="215" y="83"/>
                  </a:lnTo>
                  <a:lnTo>
                    <a:pt x="222" y="77"/>
                  </a:lnTo>
                  <a:lnTo>
                    <a:pt x="231" y="72"/>
                  </a:lnTo>
                  <a:lnTo>
                    <a:pt x="238" y="70"/>
                  </a:lnTo>
                  <a:lnTo>
                    <a:pt x="248" y="64"/>
                  </a:lnTo>
                  <a:lnTo>
                    <a:pt x="253" y="62"/>
                  </a:lnTo>
                  <a:lnTo>
                    <a:pt x="255" y="60"/>
                  </a:lnTo>
                  <a:lnTo>
                    <a:pt x="258" y="57"/>
                  </a:lnTo>
                  <a:lnTo>
                    <a:pt x="260" y="57"/>
                  </a:lnTo>
                  <a:lnTo>
                    <a:pt x="265" y="61"/>
                  </a:lnTo>
                  <a:lnTo>
                    <a:pt x="269" y="61"/>
                  </a:lnTo>
                  <a:lnTo>
                    <a:pt x="271" y="62"/>
                  </a:lnTo>
                  <a:lnTo>
                    <a:pt x="283" y="61"/>
                  </a:lnTo>
                  <a:lnTo>
                    <a:pt x="291" y="67"/>
                  </a:lnTo>
                  <a:lnTo>
                    <a:pt x="302" y="67"/>
                  </a:lnTo>
                  <a:lnTo>
                    <a:pt x="312" y="65"/>
                  </a:lnTo>
                  <a:lnTo>
                    <a:pt x="317" y="61"/>
                  </a:lnTo>
                  <a:lnTo>
                    <a:pt x="322" y="56"/>
                  </a:lnTo>
                  <a:lnTo>
                    <a:pt x="331" y="54"/>
                  </a:lnTo>
                  <a:lnTo>
                    <a:pt x="336" y="48"/>
                  </a:lnTo>
                  <a:lnTo>
                    <a:pt x="342" y="44"/>
                  </a:lnTo>
                  <a:lnTo>
                    <a:pt x="353" y="41"/>
                  </a:lnTo>
                  <a:lnTo>
                    <a:pt x="365" y="46"/>
                  </a:lnTo>
                  <a:lnTo>
                    <a:pt x="372" y="45"/>
                  </a:lnTo>
                  <a:lnTo>
                    <a:pt x="382" y="44"/>
                  </a:lnTo>
                  <a:lnTo>
                    <a:pt x="393" y="43"/>
                  </a:lnTo>
                  <a:lnTo>
                    <a:pt x="398" y="41"/>
                  </a:lnTo>
                  <a:lnTo>
                    <a:pt x="411" y="33"/>
                  </a:lnTo>
                  <a:lnTo>
                    <a:pt x="417" y="33"/>
                  </a:lnTo>
                  <a:lnTo>
                    <a:pt x="430" y="37"/>
                  </a:lnTo>
                  <a:lnTo>
                    <a:pt x="447" y="29"/>
                  </a:lnTo>
                  <a:lnTo>
                    <a:pt x="451" y="28"/>
                  </a:lnTo>
                  <a:lnTo>
                    <a:pt x="458" y="29"/>
                  </a:lnTo>
                  <a:lnTo>
                    <a:pt x="462" y="24"/>
                  </a:lnTo>
                  <a:lnTo>
                    <a:pt x="473" y="25"/>
                  </a:lnTo>
                  <a:lnTo>
                    <a:pt x="481" y="24"/>
                  </a:lnTo>
                  <a:lnTo>
                    <a:pt x="496" y="21"/>
                  </a:lnTo>
                  <a:lnTo>
                    <a:pt x="501" y="17"/>
                  </a:lnTo>
                  <a:lnTo>
                    <a:pt x="514" y="12"/>
                  </a:lnTo>
                  <a:lnTo>
                    <a:pt x="518" y="2"/>
                  </a:lnTo>
                  <a:lnTo>
                    <a:pt x="527" y="0"/>
                  </a:lnTo>
                  <a:lnTo>
                    <a:pt x="535" y="0"/>
                  </a:lnTo>
                  <a:lnTo>
                    <a:pt x="546" y="7"/>
                  </a:lnTo>
                  <a:lnTo>
                    <a:pt x="555" y="7"/>
                  </a:lnTo>
                  <a:lnTo>
                    <a:pt x="556" y="8"/>
                  </a:lnTo>
                  <a:lnTo>
                    <a:pt x="555" y="14"/>
                  </a:lnTo>
                  <a:lnTo>
                    <a:pt x="555" y="19"/>
                  </a:lnTo>
                  <a:lnTo>
                    <a:pt x="549" y="27"/>
                  </a:lnTo>
                  <a:lnTo>
                    <a:pt x="548" y="33"/>
                  </a:lnTo>
                  <a:lnTo>
                    <a:pt x="548" y="41"/>
                  </a:lnTo>
                  <a:lnTo>
                    <a:pt x="554" y="46"/>
                  </a:lnTo>
                  <a:lnTo>
                    <a:pt x="551" y="52"/>
                  </a:lnTo>
                  <a:lnTo>
                    <a:pt x="552" y="59"/>
                  </a:lnTo>
                  <a:lnTo>
                    <a:pt x="551" y="66"/>
                  </a:lnTo>
                  <a:lnTo>
                    <a:pt x="552" y="75"/>
                  </a:lnTo>
                  <a:lnTo>
                    <a:pt x="551" y="78"/>
                  </a:lnTo>
                  <a:lnTo>
                    <a:pt x="544" y="83"/>
                  </a:lnTo>
                  <a:lnTo>
                    <a:pt x="545" y="86"/>
                  </a:lnTo>
                  <a:lnTo>
                    <a:pt x="551" y="84"/>
                  </a:lnTo>
                  <a:lnTo>
                    <a:pt x="552" y="82"/>
                  </a:lnTo>
                  <a:lnTo>
                    <a:pt x="554" y="82"/>
                  </a:lnTo>
                  <a:lnTo>
                    <a:pt x="556" y="84"/>
                  </a:lnTo>
                  <a:lnTo>
                    <a:pt x="561" y="86"/>
                  </a:lnTo>
                  <a:lnTo>
                    <a:pt x="561" y="89"/>
                  </a:lnTo>
                  <a:lnTo>
                    <a:pt x="560" y="91"/>
                  </a:lnTo>
                  <a:lnTo>
                    <a:pt x="559" y="91"/>
                  </a:lnTo>
                  <a:lnTo>
                    <a:pt x="552" y="88"/>
                  </a:lnTo>
                  <a:lnTo>
                    <a:pt x="545" y="88"/>
                  </a:lnTo>
                  <a:lnTo>
                    <a:pt x="540" y="91"/>
                  </a:lnTo>
                  <a:lnTo>
                    <a:pt x="539" y="92"/>
                  </a:lnTo>
                  <a:lnTo>
                    <a:pt x="539" y="99"/>
                  </a:lnTo>
                  <a:lnTo>
                    <a:pt x="533" y="125"/>
                  </a:lnTo>
                  <a:lnTo>
                    <a:pt x="533" y="141"/>
                  </a:lnTo>
                  <a:lnTo>
                    <a:pt x="530" y="145"/>
                  </a:lnTo>
                  <a:lnTo>
                    <a:pt x="528" y="156"/>
                  </a:lnTo>
                  <a:lnTo>
                    <a:pt x="524" y="159"/>
                  </a:lnTo>
                  <a:lnTo>
                    <a:pt x="518" y="164"/>
                  </a:lnTo>
                  <a:lnTo>
                    <a:pt x="511" y="181"/>
                  </a:lnTo>
                  <a:lnTo>
                    <a:pt x="502" y="190"/>
                  </a:lnTo>
                  <a:lnTo>
                    <a:pt x="497" y="202"/>
                  </a:lnTo>
                  <a:lnTo>
                    <a:pt x="497" y="204"/>
                  </a:lnTo>
                  <a:lnTo>
                    <a:pt x="492" y="207"/>
                  </a:lnTo>
                  <a:lnTo>
                    <a:pt x="485" y="215"/>
                  </a:lnTo>
                  <a:lnTo>
                    <a:pt x="482" y="220"/>
                  </a:lnTo>
                  <a:lnTo>
                    <a:pt x="480" y="226"/>
                  </a:lnTo>
                  <a:lnTo>
                    <a:pt x="479" y="237"/>
                  </a:lnTo>
                  <a:lnTo>
                    <a:pt x="462" y="271"/>
                  </a:lnTo>
                  <a:lnTo>
                    <a:pt x="447" y="296"/>
                  </a:lnTo>
                  <a:lnTo>
                    <a:pt x="444" y="303"/>
                  </a:lnTo>
                  <a:lnTo>
                    <a:pt x="438" y="325"/>
                  </a:lnTo>
                  <a:lnTo>
                    <a:pt x="431" y="344"/>
                  </a:lnTo>
                  <a:lnTo>
                    <a:pt x="422" y="351"/>
                  </a:lnTo>
                  <a:lnTo>
                    <a:pt x="419" y="353"/>
                  </a:lnTo>
                  <a:lnTo>
                    <a:pt x="416" y="357"/>
                  </a:lnTo>
                  <a:lnTo>
                    <a:pt x="414" y="358"/>
                  </a:lnTo>
                  <a:lnTo>
                    <a:pt x="409" y="363"/>
                  </a:lnTo>
                  <a:lnTo>
                    <a:pt x="394" y="378"/>
                  </a:lnTo>
                  <a:lnTo>
                    <a:pt x="389" y="389"/>
                  </a:lnTo>
                  <a:lnTo>
                    <a:pt x="389" y="390"/>
                  </a:lnTo>
                  <a:lnTo>
                    <a:pt x="388" y="395"/>
                  </a:lnTo>
                  <a:lnTo>
                    <a:pt x="382" y="405"/>
                  </a:lnTo>
                  <a:lnTo>
                    <a:pt x="373" y="420"/>
                  </a:lnTo>
                  <a:lnTo>
                    <a:pt x="362" y="432"/>
                  </a:lnTo>
                  <a:lnTo>
                    <a:pt x="363" y="432"/>
                  </a:lnTo>
                  <a:lnTo>
                    <a:pt x="352" y="442"/>
                  </a:lnTo>
                  <a:lnTo>
                    <a:pt x="340" y="453"/>
                  </a:lnTo>
                  <a:lnTo>
                    <a:pt x="334" y="461"/>
                  </a:lnTo>
                  <a:lnTo>
                    <a:pt x="323" y="474"/>
                  </a:lnTo>
                  <a:lnTo>
                    <a:pt x="306" y="486"/>
                  </a:lnTo>
                  <a:lnTo>
                    <a:pt x="297" y="492"/>
                  </a:lnTo>
                  <a:lnTo>
                    <a:pt x="297" y="495"/>
                  </a:lnTo>
                  <a:lnTo>
                    <a:pt x="290" y="506"/>
                  </a:lnTo>
                  <a:lnTo>
                    <a:pt x="277" y="520"/>
                  </a:lnTo>
                  <a:lnTo>
                    <a:pt x="264" y="532"/>
                  </a:lnTo>
                  <a:lnTo>
                    <a:pt x="249" y="541"/>
                  </a:lnTo>
                  <a:lnTo>
                    <a:pt x="243" y="545"/>
                  </a:lnTo>
                  <a:lnTo>
                    <a:pt x="231" y="549"/>
                  </a:lnTo>
                  <a:lnTo>
                    <a:pt x="223" y="550"/>
                  </a:lnTo>
                  <a:lnTo>
                    <a:pt x="216" y="554"/>
                  </a:lnTo>
                  <a:lnTo>
                    <a:pt x="193" y="572"/>
                  </a:lnTo>
                  <a:lnTo>
                    <a:pt x="139" y="620"/>
                  </a:lnTo>
                  <a:lnTo>
                    <a:pt x="120" y="640"/>
                  </a:lnTo>
                  <a:lnTo>
                    <a:pt x="113" y="648"/>
                  </a:lnTo>
                  <a:lnTo>
                    <a:pt x="103" y="659"/>
                  </a:lnTo>
                  <a:lnTo>
                    <a:pt x="91" y="663"/>
                  </a:lnTo>
                  <a:lnTo>
                    <a:pt x="87" y="660"/>
                  </a:lnTo>
                  <a:lnTo>
                    <a:pt x="84" y="665"/>
                  </a:lnTo>
                  <a:lnTo>
                    <a:pt x="87" y="665"/>
                  </a:lnTo>
                  <a:lnTo>
                    <a:pt x="88" y="669"/>
                  </a:lnTo>
                  <a:lnTo>
                    <a:pt x="87" y="672"/>
                  </a:lnTo>
                  <a:lnTo>
                    <a:pt x="83" y="674"/>
                  </a:lnTo>
                  <a:lnTo>
                    <a:pt x="81" y="681"/>
                  </a:lnTo>
                  <a:lnTo>
                    <a:pt x="75" y="691"/>
                  </a:lnTo>
                  <a:lnTo>
                    <a:pt x="61" y="705"/>
                  </a:lnTo>
                  <a:lnTo>
                    <a:pt x="50" y="718"/>
                  </a:lnTo>
                  <a:lnTo>
                    <a:pt x="37" y="730"/>
                  </a:lnTo>
                  <a:lnTo>
                    <a:pt x="32" y="739"/>
                  </a:lnTo>
                  <a:lnTo>
                    <a:pt x="30" y="74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3" name="Freeform 16">
              <a:extLst>
                <a:ext uri="{FF2B5EF4-FFF2-40B4-BE49-F238E27FC236}">
                  <a16:creationId xmlns:a16="http://schemas.microsoft.com/office/drawing/2014/main" id="{B9176D25-3699-85BA-EF1C-28C23AA445C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411895" y="3604798"/>
              <a:ext cx="483519" cy="623405"/>
            </a:xfrm>
            <a:custGeom>
              <a:avLst/>
              <a:gdLst>
                <a:gd name="T0" fmla="*/ 2147483647 w 907"/>
                <a:gd name="T1" fmla="*/ 2147483647 h 1097"/>
                <a:gd name="T2" fmla="*/ 2147483647 w 907"/>
                <a:gd name="T3" fmla="*/ 2147483647 h 1097"/>
                <a:gd name="T4" fmla="*/ 2147483647 w 907"/>
                <a:gd name="T5" fmla="*/ 2147483647 h 1097"/>
                <a:gd name="T6" fmla="*/ 0 w 907"/>
                <a:gd name="T7" fmla="*/ 2147483647 h 1097"/>
                <a:gd name="T8" fmla="*/ 0 w 907"/>
                <a:gd name="T9" fmla="*/ 2147483647 h 1097"/>
                <a:gd name="T10" fmla="*/ 0 w 907"/>
                <a:gd name="T11" fmla="*/ 2147483647 h 1097"/>
                <a:gd name="T12" fmla="*/ 0 w 907"/>
                <a:gd name="T13" fmla="*/ 2147483647 h 1097"/>
                <a:gd name="T14" fmla="*/ 0 w 907"/>
                <a:gd name="T15" fmla="*/ 2147483647 h 1097"/>
                <a:gd name="T16" fmla="*/ 2147483647 w 907"/>
                <a:gd name="T17" fmla="*/ 2147483647 h 1097"/>
                <a:gd name="T18" fmla="*/ 2147483647 w 907"/>
                <a:gd name="T19" fmla="*/ 2147483647 h 1097"/>
                <a:gd name="T20" fmla="*/ 2147483647 w 907"/>
                <a:gd name="T21" fmla="*/ 2147483647 h 1097"/>
                <a:gd name="T22" fmla="*/ 2147483647 w 907"/>
                <a:gd name="T23" fmla="*/ 2147483647 h 1097"/>
                <a:gd name="T24" fmla="*/ 2147483647 w 907"/>
                <a:gd name="T25" fmla="*/ 2147483647 h 1097"/>
                <a:gd name="T26" fmla="*/ 2147483647 w 907"/>
                <a:gd name="T27" fmla="*/ 2147483647 h 1097"/>
                <a:gd name="T28" fmla="*/ 2147483647 w 907"/>
                <a:gd name="T29" fmla="*/ 2147483647 h 1097"/>
                <a:gd name="T30" fmla="*/ 2147483647 w 907"/>
                <a:gd name="T31" fmla="*/ 2147483647 h 1097"/>
                <a:gd name="T32" fmla="*/ 2147483647 w 907"/>
                <a:gd name="T33" fmla="*/ 2147483647 h 1097"/>
                <a:gd name="T34" fmla="*/ 2147483647 w 907"/>
                <a:gd name="T35" fmla="*/ 2147483647 h 1097"/>
                <a:gd name="T36" fmla="*/ 2147483647 w 907"/>
                <a:gd name="T37" fmla="*/ 2147483647 h 1097"/>
                <a:gd name="T38" fmla="*/ 2147483647 w 907"/>
                <a:gd name="T39" fmla="*/ 2147483647 h 1097"/>
                <a:gd name="T40" fmla="*/ 2147483647 w 907"/>
                <a:gd name="T41" fmla="*/ 2147483647 h 1097"/>
                <a:gd name="T42" fmla="*/ 2147483647 w 907"/>
                <a:gd name="T43" fmla="*/ 2147483647 h 1097"/>
                <a:gd name="T44" fmla="*/ 2147483647 w 907"/>
                <a:gd name="T45" fmla="*/ 2147483647 h 1097"/>
                <a:gd name="T46" fmla="*/ 2147483647 w 907"/>
                <a:gd name="T47" fmla="*/ 2147483647 h 1097"/>
                <a:gd name="T48" fmla="*/ 2147483647 w 907"/>
                <a:gd name="T49" fmla="*/ 2147483647 h 1097"/>
                <a:gd name="T50" fmla="*/ 2147483647 w 907"/>
                <a:gd name="T51" fmla="*/ 2147483647 h 1097"/>
                <a:gd name="T52" fmla="*/ 2147483647 w 907"/>
                <a:gd name="T53" fmla="*/ 2147483647 h 1097"/>
                <a:gd name="T54" fmla="*/ 2147483647 w 907"/>
                <a:gd name="T55" fmla="*/ 2147483647 h 1097"/>
                <a:gd name="T56" fmla="*/ 2147483647 w 907"/>
                <a:gd name="T57" fmla="*/ 2147483647 h 1097"/>
                <a:gd name="T58" fmla="*/ 2147483647 w 907"/>
                <a:gd name="T59" fmla="*/ 2147483647 h 1097"/>
                <a:gd name="T60" fmla="*/ 2147483647 w 907"/>
                <a:gd name="T61" fmla="*/ 2147483647 h 1097"/>
                <a:gd name="T62" fmla="*/ 2147483647 w 907"/>
                <a:gd name="T63" fmla="*/ 2147483647 h 1097"/>
                <a:gd name="T64" fmla="*/ 2147483647 w 907"/>
                <a:gd name="T65" fmla="*/ 2147483647 h 1097"/>
                <a:gd name="T66" fmla="*/ 2147483647 w 907"/>
                <a:gd name="T67" fmla="*/ 2147483647 h 1097"/>
                <a:gd name="T68" fmla="*/ 2147483647 w 907"/>
                <a:gd name="T69" fmla="*/ 2147483647 h 1097"/>
                <a:gd name="T70" fmla="*/ 2147483647 w 907"/>
                <a:gd name="T71" fmla="*/ 2147483647 h 1097"/>
                <a:gd name="T72" fmla="*/ 2147483647 w 907"/>
                <a:gd name="T73" fmla="*/ 2147483647 h 1097"/>
                <a:gd name="T74" fmla="*/ 2147483647 w 907"/>
                <a:gd name="T75" fmla="*/ 2147483647 h 1097"/>
                <a:gd name="T76" fmla="*/ 2147483647 w 907"/>
                <a:gd name="T77" fmla="*/ 2147483647 h 1097"/>
                <a:gd name="T78" fmla="*/ 2147483647 w 907"/>
                <a:gd name="T79" fmla="*/ 2147483647 h 1097"/>
                <a:gd name="T80" fmla="*/ 2147483647 w 907"/>
                <a:gd name="T81" fmla="*/ 2147483647 h 1097"/>
                <a:gd name="T82" fmla="*/ 2147483647 w 907"/>
                <a:gd name="T83" fmla="*/ 2147483647 h 1097"/>
                <a:gd name="T84" fmla="*/ 2147483647 w 907"/>
                <a:gd name="T85" fmla="*/ 2147483647 h 1097"/>
                <a:gd name="T86" fmla="*/ 2147483647 w 907"/>
                <a:gd name="T87" fmla="*/ 2147483647 h 1097"/>
                <a:gd name="T88" fmla="*/ 2147483647 w 907"/>
                <a:gd name="T89" fmla="*/ 2147483647 h 1097"/>
                <a:gd name="T90" fmla="*/ 2147483647 w 907"/>
                <a:gd name="T91" fmla="*/ 2147483647 h 1097"/>
                <a:gd name="T92" fmla="*/ 2147483647 w 907"/>
                <a:gd name="T93" fmla="*/ 2147483647 h 1097"/>
                <a:gd name="T94" fmla="*/ 2147483647 w 907"/>
                <a:gd name="T95" fmla="*/ 0 h 1097"/>
                <a:gd name="T96" fmla="*/ 2147483647 w 907"/>
                <a:gd name="T97" fmla="*/ 0 h 1097"/>
                <a:gd name="T98" fmla="*/ 2147483647 w 907"/>
                <a:gd name="T99" fmla="*/ 0 h 1097"/>
                <a:gd name="T100" fmla="*/ 2147483647 w 907"/>
                <a:gd name="T101" fmla="*/ 0 h 1097"/>
                <a:gd name="T102" fmla="*/ 2147483647 w 907"/>
                <a:gd name="T103" fmla="*/ 0 h 1097"/>
                <a:gd name="T104" fmla="*/ 2147483647 w 907"/>
                <a:gd name="T105" fmla="*/ 0 h 1097"/>
                <a:gd name="T106" fmla="*/ 2147483647 w 907"/>
                <a:gd name="T107" fmla="*/ 0 h 1097"/>
                <a:gd name="T108" fmla="*/ 2147483647 w 907"/>
                <a:gd name="T109" fmla="*/ 2147483647 h 1097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7"/>
                <a:gd name="T166" fmla="*/ 0 h 1097"/>
                <a:gd name="T167" fmla="*/ 907 w 907"/>
                <a:gd name="T168" fmla="*/ 1097 h 1097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7" h="1097">
                  <a:moveTo>
                    <a:pt x="118" y="210"/>
                  </a:moveTo>
                  <a:lnTo>
                    <a:pt x="118" y="266"/>
                  </a:lnTo>
                  <a:lnTo>
                    <a:pt x="118" y="320"/>
                  </a:lnTo>
                  <a:lnTo>
                    <a:pt x="118" y="375"/>
                  </a:lnTo>
                  <a:lnTo>
                    <a:pt x="116" y="424"/>
                  </a:lnTo>
                  <a:lnTo>
                    <a:pt x="110" y="425"/>
                  </a:lnTo>
                  <a:lnTo>
                    <a:pt x="81" y="425"/>
                  </a:lnTo>
                  <a:lnTo>
                    <a:pt x="72" y="426"/>
                  </a:lnTo>
                  <a:lnTo>
                    <a:pt x="60" y="428"/>
                  </a:lnTo>
                  <a:lnTo>
                    <a:pt x="59" y="429"/>
                  </a:lnTo>
                  <a:lnTo>
                    <a:pt x="56" y="438"/>
                  </a:lnTo>
                  <a:lnTo>
                    <a:pt x="55" y="449"/>
                  </a:lnTo>
                  <a:lnTo>
                    <a:pt x="51" y="460"/>
                  </a:lnTo>
                  <a:lnTo>
                    <a:pt x="39" y="477"/>
                  </a:lnTo>
                  <a:lnTo>
                    <a:pt x="23" y="495"/>
                  </a:lnTo>
                  <a:lnTo>
                    <a:pt x="23" y="508"/>
                  </a:lnTo>
                  <a:lnTo>
                    <a:pt x="24" y="516"/>
                  </a:lnTo>
                  <a:lnTo>
                    <a:pt x="23" y="521"/>
                  </a:lnTo>
                  <a:lnTo>
                    <a:pt x="22" y="522"/>
                  </a:lnTo>
                  <a:lnTo>
                    <a:pt x="14" y="527"/>
                  </a:lnTo>
                  <a:lnTo>
                    <a:pt x="11" y="531"/>
                  </a:lnTo>
                  <a:lnTo>
                    <a:pt x="9" y="541"/>
                  </a:lnTo>
                  <a:lnTo>
                    <a:pt x="9" y="555"/>
                  </a:lnTo>
                  <a:lnTo>
                    <a:pt x="7" y="564"/>
                  </a:lnTo>
                  <a:lnTo>
                    <a:pt x="1" y="575"/>
                  </a:lnTo>
                  <a:lnTo>
                    <a:pt x="0" y="580"/>
                  </a:lnTo>
                  <a:lnTo>
                    <a:pt x="0" y="596"/>
                  </a:lnTo>
                  <a:lnTo>
                    <a:pt x="3" y="596"/>
                  </a:lnTo>
                  <a:lnTo>
                    <a:pt x="8" y="595"/>
                  </a:lnTo>
                  <a:lnTo>
                    <a:pt x="24" y="591"/>
                  </a:lnTo>
                  <a:lnTo>
                    <a:pt x="23" y="607"/>
                  </a:lnTo>
                  <a:lnTo>
                    <a:pt x="28" y="623"/>
                  </a:lnTo>
                  <a:lnTo>
                    <a:pt x="40" y="657"/>
                  </a:lnTo>
                  <a:lnTo>
                    <a:pt x="41" y="659"/>
                  </a:lnTo>
                  <a:lnTo>
                    <a:pt x="48" y="662"/>
                  </a:lnTo>
                  <a:lnTo>
                    <a:pt x="51" y="667"/>
                  </a:lnTo>
                  <a:lnTo>
                    <a:pt x="54" y="676"/>
                  </a:lnTo>
                  <a:lnTo>
                    <a:pt x="54" y="684"/>
                  </a:lnTo>
                  <a:lnTo>
                    <a:pt x="45" y="688"/>
                  </a:lnTo>
                  <a:lnTo>
                    <a:pt x="55" y="703"/>
                  </a:lnTo>
                  <a:lnTo>
                    <a:pt x="72" y="722"/>
                  </a:lnTo>
                  <a:lnTo>
                    <a:pt x="88" y="743"/>
                  </a:lnTo>
                  <a:lnTo>
                    <a:pt x="93" y="759"/>
                  </a:lnTo>
                  <a:lnTo>
                    <a:pt x="88" y="777"/>
                  </a:lnTo>
                  <a:lnTo>
                    <a:pt x="86" y="793"/>
                  </a:lnTo>
                  <a:lnTo>
                    <a:pt x="88" y="806"/>
                  </a:lnTo>
                  <a:lnTo>
                    <a:pt x="98" y="816"/>
                  </a:lnTo>
                  <a:lnTo>
                    <a:pt x="109" y="817"/>
                  </a:lnTo>
                  <a:lnTo>
                    <a:pt x="122" y="821"/>
                  </a:lnTo>
                  <a:lnTo>
                    <a:pt x="127" y="836"/>
                  </a:lnTo>
                  <a:lnTo>
                    <a:pt x="138" y="840"/>
                  </a:lnTo>
                  <a:lnTo>
                    <a:pt x="161" y="840"/>
                  </a:lnTo>
                  <a:lnTo>
                    <a:pt x="169" y="847"/>
                  </a:lnTo>
                  <a:lnTo>
                    <a:pt x="179" y="854"/>
                  </a:lnTo>
                  <a:lnTo>
                    <a:pt x="180" y="859"/>
                  </a:lnTo>
                  <a:lnTo>
                    <a:pt x="179" y="869"/>
                  </a:lnTo>
                  <a:lnTo>
                    <a:pt x="185" y="880"/>
                  </a:lnTo>
                  <a:lnTo>
                    <a:pt x="204" y="892"/>
                  </a:lnTo>
                  <a:lnTo>
                    <a:pt x="222" y="904"/>
                  </a:lnTo>
                  <a:lnTo>
                    <a:pt x="229" y="914"/>
                  </a:lnTo>
                  <a:lnTo>
                    <a:pt x="240" y="920"/>
                  </a:lnTo>
                  <a:lnTo>
                    <a:pt x="245" y="930"/>
                  </a:lnTo>
                  <a:lnTo>
                    <a:pt x="249" y="941"/>
                  </a:lnTo>
                  <a:lnTo>
                    <a:pt x="256" y="950"/>
                  </a:lnTo>
                  <a:lnTo>
                    <a:pt x="258" y="961"/>
                  </a:lnTo>
                  <a:lnTo>
                    <a:pt x="267" y="964"/>
                  </a:lnTo>
                  <a:lnTo>
                    <a:pt x="297" y="984"/>
                  </a:lnTo>
                  <a:lnTo>
                    <a:pt x="303" y="993"/>
                  </a:lnTo>
                  <a:lnTo>
                    <a:pt x="304" y="1004"/>
                  </a:lnTo>
                  <a:lnTo>
                    <a:pt x="310" y="1011"/>
                  </a:lnTo>
                  <a:lnTo>
                    <a:pt x="317" y="1022"/>
                  </a:lnTo>
                  <a:lnTo>
                    <a:pt x="329" y="1031"/>
                  </a:lnTo>
                  <a:lnTo>
                    <a:pt x="335" y="1039"/>
                  </a:lnTo>
                  <a:lnTo>
                    <a:pt x="340" y="1049"/>
                  </a:lnTo>
                  <a:lnTo>
                    <a:pt x="363" y="1058"/>
                  </a:lnTo>
                  <a:lnTo>
                    <a:pt x="369" y="1055"/>
                  </a:lnTo>
                  <a:lnTo>
                    <a:pt x="376" y="1047"/>
                  </a:lnTo>
                  <a:lnTo>
                    <a:pt x="403" y="1053"/>
                  </a:lnTo>
                  <a:lnTo>
                    <a:pt x="414" y="1052"/>
                  </a:lnTo>
                  <a:lnTo>
                    <a:pt x="426" y="1042"/>
                  </a:lnTo>
                  <a:lnTo>
                    <a:pt x="437" y="1048"/>
                  </a:lnTo>
                  <a:lnTo>
                    <a:pt x="461" y="1074"/>
                  </a:lnTo>
                  <a:lnTo>
                    <a:pt x="475" y="1082"/>
                  </a:lnTo>
                  <a:lnTo>
                    <a:pt x="484" y="1091"/>
                  </a:lnTo>
                  <a:lnTo>
                    <a:pt x="490" y="1096"/>
                  </a:lnTo>
                  <a:lnTo>
                    <a:pt x="496" y="1096"/>
                  </a:lnTo>
                  <a:lnTo>
                    <a:pt x="503" y="1091"/>
                  </a:lnTo>
                  <a:lnTo>
                    <a:pt x="517" y="1090"/>
                  </a:lnTo>
                  <a:lnTo>
                    <a:pt x="528" y="1093"/>
                  </a:lnTo>
                  <a:lnTo>
                    <a:pt x="538" y="1091"/>
                  </a:lnTo>
                  <a:lnTo>
                    <a:pt x="550" y="1090"/>
                  </a:lnTo>
                  <a:lnTo>
                    <a:pt x="556" y="1097"/>
                  </a:lnTo>
                  <a:lnTo>
                    <a:pt x="573" y="1093"/>
                  </a:lnTo>
                  <a:lnTo>
                    <a:pt x="587" y="1092"/>
                  </a:lnTo>
                  <a:lnTo>
                    <a:pt x="600" y="1087"/>
                  </a:lnTo>
                  <a:lnTo>
                    <a:pt x="616" y="1089"/>
                  </a:lnTo>
                  <a:lnTo>
                    <a:pt x="635" y="1089"/>
                  </a:lnTo>
                  <a:lnTo>
                    <a:pt x="662" y="1071"/>
                  </a:lnTo>
                  <a:lnTo>
                    <a:pt x="662" y="1068"/>
                  </a:lnTo>
                  <a:lnTo>
                    <a:pt x="662" y="1071"/>
                  </a:lnTo>
                  <a:lnTo>
                    <a:pt x="678" y="1052"/>
                  </a:lnTo>
                  <a:lnTo>
                    <a:pt x="690" y="1044"/>
                  </a:lnTo>
                  <a:lnTo>
                    <a:pt x="701" y="1043"/>
                  </a:lnTo>
                  <a:lnTo>
                    <a:pt x="731" y="1046"/>
                  </a:lnTo>
                  <a:lnTo>
                    <a:pt x="744" y="1046"/>
                  </a:lnTo>
                  <a:lnTo>
                    <a:pt x="765" y="1043"/>
                  </a:lnTo>
                  <a:lnTo>
                    <a:pt x="766" y="1021"/>
                  </a:lnTo>
                  <a:lnTo>
                    <a:pt x="767" y="1011"/>
                  </a:lnTo>
                  <a:lnTo>
                    <a:pt x="766" y="1004"/>
                  </a:lnTo>
                  <a:lnTo>
                    <a:pt x="759" y="999"/>
                  </a:lnTo>
                  <a:lnTo>
                    <a:pt x="735" y="994"/>
                  </a:lnTo>
                  <a:lnTo>
                    <a:pt x="727" y="988"/>
                  </a:lnTo>
                  <a:lnTo>
                    <a:pt x="722" y="979"/>
                  </a:lnTo>
                  <a:lnTo>
                    <a:pt x="712" y="952"/>
                  </a:lnTo>
                  <a:lnTo>
                    <a:pt x="707" y="940"/>
                  </a:lnTo>
                  <a:lnTo>
                    <a:pt x="702" y="930"/>
                  </a:lnTo>
                  <a:lnTo>
                    <a:pt x="680" y="917"/>
                  </a:lnTo>
                  <a:lnTo>
                    <a:pt x="673" y="909"/>
                  </a:lnTo>
                  <a:lnTo>
                    <a:pt x="667" y="901"/>
                  </a:lnTo>
                  <a:lnTo>
                    <a:pt x="665" y="891"/>
                  </a:lnTo>
                  <a:lnTo>
                    <a:pt x="657" y="881"/>
                  </a:lnTo>
                  <a:lnTo>
                    <a:pt x="648" y="876"/>
                  </a:lnTo>
                  <a:lnTo>
                    <a:pt x="637" y="872"/>
                  </a:lnTo>
                  <a:lnTo>
                    <a:pt x="629" y="874"/>
                  </a:lnTo>
                  <a:lnTo>
                    <a:pt x="621" y="867"/>
                  </a:lnTo>
                  <a:lnTo>
                    <a:pt x="615" y="867"/>
                  </a:lnTo>
                  <a:lnTo>
                    <a:pt x="609" y="863"/>
                  </a:lnTo>
                  <a:lnTo>
                    <a:pt x="614" y="855"/>
                  </a:lnTo>
                  <a:lnTo>
                    <a:pt x="620" y="850"/>
                  </a:lnTo>
                  <a:lnTo>
                    <a:pt x="620" y="836"/>
                  </a:lnTo>
                  <a:lnTo>
                    <a:pt x="630" y="832"/>
                  </a:lnTo>
                  <a:lnTo>
                    <a:pt x="652" y="834"/>
                  </a:lnTo>
                  <a:lnTo>
                    <a:pt x="663" y="829"/>
                  </a:lnTo>
                  <a:lnTo>
                    <a:pt x="670" y="823"/>
                  </a:lnTo>
                  <a:lnTo>
                    <a:pt x="672" y="808"/>
                  </a:lnTo>
                  <a:lnTo>
                    <a:pt x="672" y="763"/>
                  </a:lnTo>
                  <a:lnTo>
                    <a:pt x="676" y="747"/>
                  </a:lnTo>
                  <a:lnTo>
                    <a:pt x="678" y="736"/>
                  </a:lnTo>
                  <a:lnTo>
                    <a:pt x="676" y="730"/>
                  </a:lnTo>
                  <a:lnTo>
                    <a:pt x="676" y="719"/>
                  </a:lnTo>
                  <a:lnTo>
                    <a:pt x="680" y="721"/>
                  </a:lnTo>
                  <a:lnTo>
                    <a:pt x="683" y="714"/>
                  </a:lnTo>
                  <a:lnTo>
                    <a:pt x="690" y="702"/>
                  </a:lnTo>
                  <a:lnTo>
                    <a:pt x="697" y="697"/>
                  </a:lnTo>
                  <a:lnTo>
                    <a:pt x="708" y="697"/>
                  </a:lnTo>
                  <a:lnTo>
                    <a:pt x="713" y="692"/>
                  </a:lnTo>
                  <a:lnTo>
                    <a:pt x="718" y="665"/>
                  </a:lnTo>
                  <a:lnTo>
                    <a:pt x="723" y="651"/>
                  </a:lnTo>
                  <a:lnTo>
                    <a:pt x="758" y="602"/>
                  </a:lnTo>
                  <a:lnTo>
                    <a:pt x="767" y="592"/>
                  </a:lnTo>
                  <a:lnTo>
                    <a:pt x="776" y="590"/>
                  </a:lnTo>
                  <a:lnTo>
                    <a:pt x="783" y="582"/>
                  </a:lnTo>
                  <a:lnTo>
                    <a:pt x="801" y="525"/>
                  </a:lnTo>
                  <a:lnTo>
                    <a:pt x="801" y="509"/>
                  </a:lnTo>
                  <a:lnTo>
                    <a:pt x="798" y="493"/>
                  </a:lnTo>
                  <a:lnTo>
                    <a:pt x="798" y="473"/>
                  </a:lnTo>
                  <a:lnTo>
                    <a:pt x="802" y="456"/>
                  </a:lnTo>
                  <a:lnTo>
                    <a:pt x="809" y="442"/>
                  </a:lnTo>
                  <a:lnTo>
                    <a:pt x="818" y="408"/>
                  </a:lnTo>
                  <a:lnTo>
                    <a:pt x="821" y="387"/>
                  </a:lnTo>
                  <a:lnTo>
                    <a:pt x="821" y="379"/>
                  </a:lnTo>
                  <a:lnTo>
                    <a:pt x="825" y="358"/>
                  </a:lnTo>
                  <a:lnTo>
                    <a:pt x="829" y="349"/>
                  </a:lnTo>
                  <a:lnTo>
                    <a:pt x="842" y="348"/>
                  </a:lnTo>
                  <a:lnTo>
                    <a:pt x="851" y="343"/>
                  </a:lnTo>
                  <a:lnTo>
                    <a:pt x="856" y="336"/>
                  </a:lnTo>
                  <a:lnTo>
                    <a:pt x="877" y="326"/>
                  </a:lnTo>
                  <a:lnTo>
                    <a:pt x="885" y="323"/>
                  </a:lnTo>
                  <a:lnTo>
                    <a:pt x="898" y="317"/>
                  </a:lnTo>
                  <a:lnTo>
                    <a:pt x="905" y="302"/>
                  </a:lnTo>
                  <a:lnTo>
                    <a:pt x="907" y="293"/>
                  </a:lnTo>
                  <a:lnTo>
                    <a:pt x="904" y="284"/>
                  </a:lnTo>
                  <a:lnTo>
                    <a:pt x="899" y="284"/>
                  </a:lnTo>
                  <a:lnTo>
                    <a:pt x="896" y="280"/>
                  </a:lnTo>
                  <a:lnTo>
                    <a:pt x="891" y="282"/>
                  </a:lnTo>
                  <a:lnTo>
                    <a:pt x="887" y="270"/>
                  </a:lnTo>
                  <a:lnTo>
                    <a:pt x="880" y="264"/>
                  </a:lnTo>
                  <a:lnTo>
                    <a:pt x="873" y="263"/>
                  </a:lnTo>
                  <a:lnTo>
                    <a:pt x="858" y="257"/>
                  </a:lnTo>
                  <a:lnTo>
                    <a:pt x="852" y="252"/>
                  </a:lnTo>
                  <a:lnTo>
                    <a:pt x="847" y="245"/>
                  </a:lnTo>
                  <a:lnTo>
                    <a:pt x="840" y="214"/>
                  </a:lnTo>
                  <a:lnTo>
                    <a:pt x="837" y="191"/>
                  </a:lnTo>
                  <a:lnTo>
                    <a:pt x="837" y="157"/>
                  </a:lnTo>
                  <a:lnTo>
                    <a:pt x="836" y="117"/>
                  </a:lnTo>
                  <a:lnTo>
                    <a:pt x="839" y="118"/>
                  </a:lnTo>
                  <a:lnTo>
                    <a:pt x="836" y="111"/>
                  </a:lnTo>
                  <a:lnTo>
                    <a:pt x="821" y="94"/>
                  </a:lnTo>
                  <a:lnTo>
                    <a:pt x="820" y="81"/>
                  </a:lnTo>
                  <a:lnTo>
                    <a:pt x="819" y="65"/>
                  </a:lnTo>
                  <a:lnTo>
                    <a:pt x="808" y="49"/>
                  </a:lnTo>
                  <a:lnTo>
                    <a:pt x="798" y="44"/>
                  </a:lnTo>
                  <a:lnTo>
                    <a:pt x="787" y="31"/>
                  </a:lnTo>
                  <a:lnTo>
                    <a:pt x="776" y="25"/>
                  </a:lnTo>
                  <a:lnTo>
                    <a:pt x="761" y="19"/>
                  </a:lnTo>
                  <a:lnTo>
                    <a:pt x="749" y="0"/>
                  </a:lnTo>
                  <a:lnTo>
                    <a:pt x="727" y="20"/>
                  </a:lnTo>
                  <a:lnTo>
                    <a:pt x="713" y="15"/>
                  </a:lnTo>
                  <a:lnTo>
                    <a:pt x="701" y="46"/>
                  </a:lnTo>
                  <a:lnTo>
                    <a:pt x="672" y="53"/>
                  </a:lnTo>
                  <a:lnTo>
                    <a:pt x="664" y="78"/>
                  </a:lnTo>
                  <a:lnTo>
                    <a:pt x="637" y="80"/>
                  </a:lnTo>
                  <a:lnTo>
                    <a:pt x="619" y="67"/>
                  </a:lnTo>
                  <a:lnTo>
                    <a:pt x="522" y="65"/>
                  </a:lnTo>
                  <a:lnTo>
                    <a:pt x="527" y="54"/>
                  </a:lnTo>
                  <a:lnTo>
                    <a:pt x="524" y="54"/>
                  </a:lnTo>
                  <a:lnTo>
                    <a:pt x="522" y="53"/>
                  </a:lnTo>
                  <a:lnTo>
                    <a:pt x="519" y="53"/>
                  </a:lnTo>
                  <a:lnTo>
                    <a:pt x="512" y="65"/>
                  </a:lnTo>
                  <a:lnTo>
                    <a:pt x="484" y="65"/>
                  </a:lnTo>
                  <a:lnTo>
                    <a:pt x="431" y="65"/>
                  </a:lnTo>
                  <a:lnTo>
                    <a:pt x="379" y="65"/>
                  </a:lnTo>
                  <a:lnTo>
                    <a:pt x="326" y="65"/>
                  </a:lnTo>
                  <a:lnTo>
                    <a:pt x="275" y="65"/>
                  </a:lnTo>
                  <a:lnTo>
                    <a:pt x="223" y="65"/>
                  </a:lnTo>
                  <a:lnTo>
                    <a:pt x="170" y="65"/>
                  </a:lnTo>
                  <a:lnTo>
                    <a:pt x="170" y="118"/>
                  </a:lnTo>
                  <a:lnTo>
                    <a:pt x="170" y="177"/>
                  </a:lnTo>
                  <a:lnTo>
                    <a:pt x="118" y="177"/>
                  </a:lnTo>
                  <a:lnTo>
                    <a:pt x="118" y="21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4" name="Freeform 17">
              <a:extLst>
                <a:ext uri="{FF2B5EF4-FFF2-40B4-BE49-F238E27FC236}">
                  <a16:creationId xmlns:a16="http://schemas.microsoft.com/office/drawing/2014/main" id="{1AD7A36B-7360-DCFA-9D2E-7C1C92CDDD3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774665" y="3588032"/>
              <a:ext cx="464119" cy="387152"/>
            </a:xfrm>
            <a:custGeom>
              <a:avLst/>
              <a:gdLst>
                <a:gd name="T0" fmla="*/ 2147483647 w 872"/>
                <a:gd name="T1" fmla="*/ 2147483647 h 678"/>
                <a:gd name="T2" fmla="*/ 2147483647 w 872"/>
                <a:gd name="T3" fmla="*/ 2147483647 h 678"/>
                <a:gd name="T4" fmla="*/ 2147483647 w 872"/>
                <a:gd name="T5" fmla="*/ 2147483647 h 678"/>
                <a:gd name="T6" fmla="*/ 2147483647 w 872"/>
                <a:gd name="T7" fmla="*/ 2147483647 h 678"/>
                <a:gd name="T8" fmla="*/ 2147483647 w 872"/>
                <a:gd name="T9" fmla="*/ 2147483647 h 678"/>
                <a:gd name="T10" fmla="*/ 0 w 872"/>
                <a:gd name="T11" fmla="*/ 2147483647 h 678"/>
                <a:gd name="T12" fmla="*/ 0 w 872"/>
                <a:gd name="T13" fmla="*/ 2147483647 h 678"/>
                <a:gd name="T14" fmla="*/ 0 w 872"/>
                <a:gd name="T15" fmla="*/ 2147483647 h 678"/>
                <a:gd name="T16" fmla="*/ 0 w 872"/>
                <a:gd name="T17" fmla="*/ 2147483647 h 678"/>
                <a:gd name="T18" fmla="*/ 2147483647 w 872"/>
                <a:gd name="T19" fmla="*/ 2147483647 h 678"/>
                <a:gd name="T20" fmla="*/ 2147483647 w 872"/>
                <a:gd name="T21" fmla="*/ 2147483647 h 678"/>
                <a:gd name="T22" fmla="*/ 2147483647 w 872"/>
                <a:gd name="T23" fmla="*/ 2147483647 h 678"/>
                <a:gd name="T24" fmla="*/ 2147483647 w 872"/>
                <a:gd name="T25" fmla="*/ 2147483647 h 678"/>
                <a:gd name="T26" fmla="*/ 2147483647 w 872"/>
                <a:gd name="T27" fmla="*/ 2147483647 h 678"/>
                <a:gd name="T28" fmla="*/ 2147483647 w 872"/>
                <a:gd name="T29" fmla="*/ 2147483647 h 678"/>
                <a:gd name="T30" fmla="*/ 2147483647 w 872"/>
                <a:gd name="T31" fmla="*/ 2147483647 h 678"/>
                <a:gd name="T32" fmla="*/ 2147483647 w 872"/>
                <a:gd name="T33" fmla="*/ 2147483647 h 678"/>
                <a:gd name="T34" fmla="*/ 2147483647 w 872"/>
                <a:gd name="T35" fmla="*/ 2147483647 h 678"/>
                <a:gd name="T36" fmla="*/ 2147483647 w 872"/>
                <a:gd name="T37" fmla="*/ 2147483647 h 678"/>
                <a:gd name="T38" fmla="*/ 2147483647 w 872"/>
                <a:gd name="T39" fmla="*/ 2147483647 h 678"/>
                <a:gd name="T40" fmla="*/ 2147483647 w 872"/>
                <a:gd name="T41" fmla="*/ 2147483647 h 678"/>
                <a:gd name="T42" fmla="*/ 2147483647 w 872"/>
                <a:gd name="T43" fmla="*/ 2147483647 h 678"/>
                <a:gd name="T44" fmla="*/ 2147483647 w 872"/>
                <a:gd name="T45" fmla="*/ 2147483647 h 678"/>
                <a:gd name="T46" fmla="*/ 2147483647 w 872"/>
                <a:gd name="T47" fmla="*/ 2147483647 h 678"/>
                <a:gd name="T48" fmla="*/ 2147483647 w 872"/>
                <a:gd name="T49" fmla="*/ 2147483647 h 678"/>
                <a:gd name="T50" fmla="*/ 2147483647 w 872"/>
                <a:gd name="T51" fmla="*/ 2147483647 h 678"/>
                <a:gd name="T52" fmla="*/ 2147483647 w 872"/>
                <a:gd name="T53" fmla="*/ 2147483647 h 678"/>
                <a:gd name="T54" fmla="*/ 2147483647 w 872"/>
                <a:gd name="T55" fmla="*/ 2147483647 h 678"/>
                <a:gd name="T56" fmla="*/ 2147483647 w 872"/>
                <a:gd name="T57" fmla="*/ 2147483647 h 678"/>
                <a:gd name="T58" fmla="*/ 2147483647 w 872"/>
                <a:gd name="T59" fmla="*/ 2147483647 h 678"/>
                <a:gd name="T60" fmla="*/ 2147483647 w 872"/>
                <a:gd name="T61" fmla="*/ 2147483647 h 678"/>
                <a:gd name="T62" fmla="*/ 2147483647 w 872"/>
                <a:gd name="T63" fmla="*/ 2147483647 h 678"/>
                <a:gd name="T64" fmla="*/ 2147483647 w 872"/>
                <a:gd name="T65" fmla="*/ 2147483647 h 678"/>
                <a:gd name="T66" fmla="*/ 2147483647 w 872"/>
                <a:gd name="T67" fmla="*/ 2147483647 h 678"/>
                <a:gd name="T68" fmla="*/ 2147483647 w 872"/>
                <a:gd name="T69" fmla="*/ 2147483647 h 678"/>
                <a:gd name="T70" fmla="*/ 2147483647 w 872"/>
                <a:gd name="T71" fmla="*/ 2147483647 h 678"/>
                <a:gd name="T72" fmla="*/ 2147483647 w 872"/>
                <a:gd name="T73" fmla="*/ 2147483647 h 678"/>
                <a:gd name="T74" fmla="*/ 2147483647 w 872"/>
                <a:gd name="T75" fmla="*/ 2147483647 h 678"/>
                <a:gd name="T76" fmla="*/ 2147483647 w 872"/>
                <a:gd name="T77" fmla="*/ 2147483647 h 678"/>
                <a:gd name="T78" fmla="*/ 2147483647 w 872"/>
                <a:gd name="T79" fmla="*/ 2147483647 h 678"/>
                <a:gd name="T80" fmla="*/ 2147483647 w 872"/>
                <a:gd name="T81" fmla="*/ 2147483647 h 678"/>
                <a:gd name="T82" fmla="*/ 2147483647 w 872"/>
                <a:gd name="T83" fmla="*/ 2147483647 h 678"/>
                <a:gd name="T84" fmla="*/ 2147483647 w 872"/>
                <a:gd name="T85" fmla="*/ 2147483647 h 678"/>
                <a:gd name="T86" fmla="*/ 2147483647 w 872"/>
                <a:gd name="T87" fmla="*/ 2147483647 h 678"/>
                <a:gd name="T88" fmla="*/ 2147483647 w 872"/>
                <a:gd name="T89" fmla="*/ 2147483647 h 678"/>
                <a:gd name="T90" fmla="*/ 2147483647 w 872"/>
                <a:gd name="T91" fmla="*/ 2147483647 h 678"/>
                <a:gd name="T92" fmla="*/ 2147483647 w 872"/>
                <a:gd name="T93" fmla="*/ 0 h 678"/>
                <a:gd name="T94" fmla="*/ 2147483647 w 872"/>
                <a:gd name="T95" fmla="*/ 0 h 678"/>
                <a:gd name="T96" fmla="*/ 2147483647 w 872"/>
                <a:gd name="T97" fmla="*/ 0 h 678"/>
                <a:gd name="T98" fmla="*/ 2147483647 w 872"/>
                <a:gd name="T99" fmla="*/ 0 h 678"/>
                <a:gd name="T100" fmla="*/ 2147483647 w 872"/>
                <a:gd name="T101" fmla="*/ 0 h 678"/>
                <a:gd name="T102" fmla="*/ 2147483647 w 872"/>
                <a:gd name="T103" fmla="*/ 2147483647 h 678"/>
                <a:gd name="T104" fmla="*/ 2147483647 w 872"/>
                <a:gd name="T105" fmla="*/ 2147483647 h 678"/>
                <a:gd name="T106" fmla="*/ 2147483647 w 872"/>
                <a:gd name="T107" fmla="*/ 2147483647 h 678"/>
                <a:gd name="T108" fmla="*/ 2147483647 w 872"/>
                <a:gd name="T109" fmla="*/ 2147483647 h 67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2"/>
                <a:gd name="T166" fmla="*/ 0 h 678"/>
                <a:gd name="T167" fmla="*/ 872 w 872"/>
                <a:gd name="T168" fmla="*/ 678 h 67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2" h="678">
                  <a:moveTo>
                    <a:pt x="222" y="271"/>
                  </a:moveTo>
                  <a:lnTo>
                    <a:pt x="222" y="327"/>
                  </a:lnTo>
                  <a:lnTo>
                    <a:pt x="222" y="381"/>
                  </a:lnTo>
                  <a:lnTo>
                    <a:pt x="222" y="435"/>
                  </a:lnTo>
                  <a:lnTo>
                    <a:pt x="219" y="436"/>
                  </a:lnTo>
                  <a:lnTo>
                    <a:pt x="209" y="442"/>
                  </a:lnTo>
                  <a:lnTo>
                    <a:pt x="205" y="448"/>
                  </a:lnTo>
                  <a:lnTo>
                    <a:pt x="204" y="456"/>
                  </a:lnTo>
                  <a:lnTo>
                    <a:pt x="192" y="463"/>
                  </a:lnTo>
                  <a:lnTo>
                    <a:pt x="188" y="466"/>
                  </a:lnTo>
                  <a:lnTo>
                    <a:pt x="186" y="469"/>
                  </a:lnTo>
                  <a:lnTo>
                    <a:pt x="186" y="474"/>
                  </a:lnTo>
                  <a:lnTo>
                    <a:pt x="173" y="473"/>
                  </a:lnTo>
                  <a:lnTo>
                    <a:pt x="160" y="472"/>
                  </a:lnTo>
                  <a:lnTo>
                    <a:pt x="160" y="475"/>
                  </a:lnTo>
                  <a:lnTo>
                    <a:pt x="155" y="474"/>
                  </a:lnTo>
                  <a:lnTo>
                    <a:pt x="66" y="475"/>
                  </a:lnTo>
                  <a:lnTo>
                    <a:pt x="42" y="495"/>
                  </a:lnTo>
                  <a:lnTo>
                    <a:pt x="5" y="495"/>
                  </a:lnTo>
                  <a:lnTo>
                    <a:pt x="4" y="499"/>
                  </a:lnTo>
                  <a:lnTo>
                    <a:pt x="3" y="511"/>
                  </a:lnTo>
                  <a:lnTo>
                    <a:pt x="0" y="521"/>
                  </a:lnTo>
                  <a:lnTo>
                    <a:pt x="1" y="523"/>
                  </a:lnTo>
                  <a:lnTo>
                    <a:pt x="11" y="532"/>
                  </a:lnTo>
                  <a:lnTo>
                    <a:pt x="12" y="534"/>
                  </a:lnTo>
                  <a:lnTo>
                    <a:pt x="11" y="543"/>
                  </a:lnTo>
                  <a:lnTo>
                    <a:pt x="15" y="550"/>
                  </a:lnTo>
                  <a:lnTo>
                    <a:pt x="27" y="565"/>
                  </a:lnTo>
                  <a:lnTo>
                    <a:pt x="44" y="579"/>
                  </a:lnTo>
                  <a:lnTo>
                    <a:pt x="49" y="588"/>
                  </a:lnTo>
                  <a:lnTo>
                    <a:pt x="55" y="603"/>
                  </a:lnTo>
                  <a:lnTo>
                    <a:pt x="59" y="609"/>
                  </a:lnTo>
                  <a:lnTo>
                    <a:pt x="70" y="622"/>
                  </a:lnTo>
                  <a:lnTo>
                    <a:pt x="78" y="626"/>
                  </a:lnTo>
                  <a:lnTo>
                    <a:pt x="89" y="629"/>
                  </a:lnTo>
                  <a:lnTo>
                    <a:pt x="92" y="629"/>
                  </a:lnTo>
                  <a:lnTo>
                    <a:pt x="97" y="628"/>
                  </a:lnTo>
                  <a:lnTo>
                    <a:pt x="102" y="623"/>
                  </a:lnTo>
                  <a:lnTo>
                    <a:pt x="106" y="622"/>
                  </a:lnTo>
                  <a:lnTo>
                    <a:pt x="112" y="625"/>
                  </a:lnTo>
                  <a:lnTo>
                    <a:pt x="118" y="635"/>
                  </a:lnTo>
                  <a:lnTo>
                    <a:pt x="119" y="637"/>
                  </a:lnTo>
                  <a:lnTo>
                    <a:pt x="118" y="640"/>
                  </a:lnTo>
                  <a:lnTo>
                    <a:pt x="113" y="640"/>
                  </a:lnTo>
                  <a:lnTo>
                    <a:pt x="109" y="641"/>
                  </a:lnTo>
                  <a:lnTo>
                    <a:pt x="108" y="645"/>
                  </a:lnTo>
                  <a:lnTo>
                    <a:pt x="109" y="649"/>
                  </a:lnTo>
                  <a:lnTo>
                    <a:pt x="116" y="656"/>
                  </a:lnTo>
                  <a:lnTo>
                    <a:pt x="127" y="666"/>
                  </a:lnTo>
                  <a:lnTo>
                    <a:pt x="134" y="662"/>
                  </a:lnTo>
                  <a:lnTo>
                    <a:pt x="127" y="653"/>
                  </a:lnTo>
                  <a:lnTo>
                    <a:pt x="127" y="649"/>
                  </a:lnTo>
                  <a:lnTo>
                    <a:pt x="138" y="646"/>
                  </a:lnTo>
                  <a:lnTo>
                    <a:pt x="143" y="645"/>
                  </a:lnTo>
                  <a:lnTo>
                    <a:pt x="151" y="641"/>
                  </a:lnTo>
                  <a:lnTo>
                    <a:pt x="154" y="642"/>
                  </a:lnTo>
                  <a:lnTo>
                    <a:pt x="165" y="653"/>
                  </a:lnTo>
                  <a:lnTo>
                    <a:pt x="177" y="666"/>
                  </a:lnTo>
                  <a:lnTo>
                    <a:pt x="184" y="671"/>
                  </a:lnTo>
                  <a:lnTo>
                    <a:pt x="193" y="678"/>
                  </a:lnTo>
                  <a:lnTo>
                    <a:pt x="194" y="671"/>
                  </a:lnTo>
                  <a:lnTo>
                    <a:pt x="192" y="646"/>
                  </a:lnTo>
                  <a:lnTo>
                    <a:pt x="193" y="637"/>
                  </a:lnTo>
                  <a:lnTo>
                    <a:pt x="195" y="633"/>
                  </a:lnTo>
                  <a:lnTo>
                    <a:pt x="199" y="628"/>
                  </a:lnTo>
                  <a:lnTo>
                    <a:pt x="206" y="624"/>
                  </a:lnTo>
                  <a:lnTo>
                    <a:pt x="211" y="618"/>
                  </a:lnTo>
                  <a:lnTo>
                    <a:pt x="219" y="604"/>
                  </a:lnTo>
                  <a:lnTo>
                    <a:pt x="221" y="586"/>
                  </a:lnTo>
                  <a:lnTo>
                    <a:pt x="222" y="582"/>
                  </a:lnTo>
                  <a:lnTo>
                    <a:pt x="240" y="570"/>
                  </a:lnTo>
                  <a:lnTo>
                    <a:pt x="259" y="565"/>
                  </a:lnTo>
                  <a:lnTo>
                    <a:pt x="277" y="565"/>
                  </a:lnTo>
                  <a:lnTo>
                    <a:pt x="283" y="564"/>
                  </a:lnTo>
                  <a:lnTo>
                    <a:pt x="291" y="561"/>
                  </a:lnTo>
                  <a:lnTo>
                    <a:pt x="306" y="563"/>
                  </a:lnTo>
                  <a:lnTo>
                    <a:pt x="343" y="581"/>
                  </a:lnTo>
                  <a:lnTo>
                    <a:pt x="365" y="602"/>
                  </a:lnTo>
                  <a:lnTo>
                    <a:pt x="372" y="607"/>
                  </a:lnTo>
                  <a:lnTo>
                    <a:pt x="377" y="609"/>
                  </a:lnTo>
                  <a:lnTo>
                    <a:pt x="386" y="609"/>
                  </a:lnTo>
                  <a:lnTo>
                    <a:pt x="392" y="599"/>
                  </a:lnTo>
                  <a:lnTo>
                    <a:pt x="408" y="591"/>
                  </a:lnTo>
                  <a:lnTo>
                    <a:pt x="418" y="588"/>
                  </a:lnTo>
                  <a:lnTo>
                    <a:pt x="430" y="588"/>
                  </a:lnTo>
                  <a:lnTo>
                    <a:pt x="447" y="598"/>
                  </a:lnTo>
                  <a:lnTo>
                    <a:pt x="471" y="613"/>
                  </a:lnTo>
                  <a:lnTo>
                    <a:pt x="483" y="617"/>
                  </a:lnTo>
                  <a:lnTo>
                    <a:pt x="506" y="619"/>
                  </a:lnTo>
                  <a:lnTo>
                    <a:pt x="519" y="618"/>
                  </a:lnTo>
                  <a:lnTo>
                    <a:pt x="533" y="608"/>
                  </a:lnTo>
                  <a:lnTo>
                    <a:pt x="550" y="593"/>
                  </a:lnTo>
                  <a:lnTo>
                    <a:pt x="559" y="588"/>
                  </a:lnTo>
                  <a:lnTo>
                    <a:pt x="585" y="588"/>
                  </a:lnTo>
                  <a:lnTo>
                    <a:pt x="603" y="591"/>
                  </a:lnTo>
                  <a:lnTo>
                    <a:pt x="613" y="587"/>
                  </a:lnTo>
                  <a:lnTo>
                    <a:pt x="633" y="585"/>
                  </a:lnTo>
                  <a:lnTo>
                    <a:pt x="640" y="587"/>
                  </a:lnTo>
                  <a:lnTo>
                    <a:pt x="647" y="591"/>
                  </a:lnTo>
                  <a:lnTo>
                    <a:pt x="655" y="593"/>
                  </a:lnTo>
                  <a:lnTo>
                    <a:pt x="661" y="597"/>
                  </a:lnTo>
                  <a:lnTo>
                    <a:pt x="672" y="597"/>
                  </a:lnTo>
                  <a:lnTo>
                    <a:pt x="678" y="593"/>
                  </a:lnTo>
                  <a:lnTo>
                    <a:pt x="688" y="583"/>
                  </a:lnTo>
                  <a:lnTo>
                    <a:pt x="688" y="582"/>
                  </a:lnTo>
                  <a:lnTo>
                    <a:pt x="694" y="577"/>
                  </a:lnTo>
                  <a:lnTo>
                    <a:pt x="702" y="576"/>
                  </a:lnTo>
                  <a:lnTo>
                    <a:pt x="708" y="576"/>
                  </a:lnTo>
                  <a:lnTo>
                    <a:pt x="714" y="564"/>
                  </a:lnTo>
                  <a:lnTo>
                    <a:pt x="715" y="564"/>
                  </a:lnTo>
                  <a:lnTo>
                    <a:pt x="718" y="561"/>
                  </a:lnTo>
                  <a:lnTo>
                    <a:pt x="713" y="556"/>
                  </a:lnTo>
                  <a:lnTo>
                    <a:pt x="709" y="550"/>
                  </a:lnTo>
                  <a:lnTo>
                    <a:pt x="709" y="545"/>
                  </a:lnTo>
                  <a:lnTo>
                    <a:pt x="714" y="538"/>
                  </a:lnTo>
                  <a:lnTo>
                    <a:pt x="720" y="534"/>
                  </a:lnTo>
                  <a:lnTo>
                    <a:pt x="725" y="533"/>
                  </a:lnTo>
                  <a:lnTo>
                    <a:pt x="730" y="531"/>
                  </a:lnTo>
                  <a:lnTo>
                    <a:pt x="727" y="520"/>
                  </a:lnTo>
                  <a:lnTo>
                    <a:pt x="732" y="515"/>
                  </a:lnTo>
                  <a:lnTo>
                    <a:pt x="740" y="513"/>
                  </a:lnTo>
                  <a:lnTo>
                    <a:pt x="740" y="504"/>
                  </a:lnTo>
                  <a:lnTo>
                    <a:pt x="746" y="501"/>
                  </a:lnTo>
                  <a:lnTo>
                    <a:pt x="746" y="490"/>
                  </a:lnTo>
                  <a:lnTo>
                    <a:pt x="834" y="391"/>
                  </a:lnTo>
                  <a:lnTo>
                    <a:pt x="838" y="386"/>
                  </a:lnTo>
                  <a:lnTo>
                    <a:pt x="844" y="287"/>
                  </a:lnTo>
                  <a:lnTo>
                    <a:pt x="859" y="208"/>
                  </a:lnTo>
                  <a:lnTo>
                    <a:pt x="872" y="184"/>
                  </a:lnTo>
                  <a:lnTo>
                    <a:pt x="849" y="171"/>
                  </a:lnTo>
                  <a:lnTo>
                    <a:pt x="843" y="166"/>
                  </a:lnTo>
                  <a:lnTo>
                    <a:pt x="837" y="160"/>
                  </a:lnTo>
                  <a:lnTo>
                    <a:pt x="833" y="154"/>
                  </a:lnTo>
                  <a:lnTo>
                    <a:pt x="829" y="142"/>
                  </a:lnTo>
                  <a:lnTo>
                    <a:pt x="826" y="135"/>
                  </a:lnTo>
                  <a:lnTo>
                    <a:pt x="826" y="133"/>
                  </a:lnTo>
                  <a:lnTo>
                    <a:pt x="821" y="123"/>
                  </a:lnTo>
                  <a:lnTo>
                    <a:pt x="818" y="117"/>
                  </a:lnTo>
                  <a:lnTo>
                    <a:pt x="818" y="31"/>
                  </a:lnTo>
                  <a:lnTo>
                    <a:pt x="801" y="36"/>
                  </a:lnTo>
                  <a:lnTo>
                    <a:pt x="795" y="26"/>
                  </a:lnTo>
                  <a:lnTo>
                    <a:pt x="791" y="22"/>
                  </a:lnTo>
                  <a:lnTo>
                    <a:pt x="776" y="15"/>
                  </a:lnTo>
                  <a:lnTo>
                    <a:pt x="773" y="11"/>
                  </a:lnTo>
                  <a:lnTo>
                    <a:pt x="768" y="7"/>
                  </a:lnTo>
                  <a:lnTo>
                    <a:pt x="759" y="5"/>
                  </a:lnTo>
                  <a:lnTo>
                    <a:pt x="720" y="1"/>
                  </a:lnTo>
                  <a:lnTo>
                    <a:pt x="677" y="2"/>
                  </a:lnTo>
                  <a:lnTo>
                    <a:pt x="646" y="0"/>
                  </a:lnTo>
                  <a:lnTo>
                    <a:pt x="643" y="1"/>
                  </a:lnTo>
                  <a:lnTo>
                    <a:pt x="638" y="4"/>
                  </a:lnTo>
                  <a:lnTo>
                    <a:pt x="612" y="22"/>
                  </a:lnTo>
                  <a:lnTo>
                    <a:pt x="568" y="53"/>
                  </a:lnTo>
                  <a:lnTo>
                    <a:pt x="525" y="84"/>
                  </a:lnTo>
                  <a:lnTo>
                    <a:pt x="482" y="114"/>
                  </a:lnTo>
                  <a:lnTo>
                    <a:pt x="437" y="145"/>
                  </a:lnTo>
                  <a:lnTo>
                    <a:pt x="393" y="176"/>
                  </a:lnTo>
                  <a:lnTo>
                    <a:pt x="350" y="206"/>
                  </a:lnTo>
                  <a:lnTo>
                    <a:pt x="307" y="236"/>
                  </a:lnTo>
                  <a:lnTo>
                    <a:pt x="292" y="241"/>
                  </a:lnTo>
                  <a:lnTo>
                    <a:pt x="230" y="255"/>
                  </a:lnTo>
                  <a:lnTo>
                    <a:pt x="221" y="257"/>
                  </a:lnTo>
                  <a:lnTo>
                    <a:pt x="221" y="259"/>
                  </a:lnTo>
                  <a:lnTo>
                    <a:pt x="222" y="260"/>
                  </a:lnTo>
                  <a:lnTo>
                    <a:pt x="222" y="27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5" name="Freeform 18">
              <a:extLst>
                <a:ext uri="{FF2B5EF4-FFF2-40B4-BE49-F238E27FC236}">
                  <a16:creationId xmlns:a16="http://schemas.microsoft.com/office/drawing/2014/main" id="{B0BC75DA-4E1D-5A7F-A409-12B965F0FFD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737226" y="3876110"/>
              <a:ext cx="441733" cy="353619"/>
            </a:xfrm>
            <a:custGeom>
              <a:avLst/>
              <a:gdLst>
                <a:gd name="T0" fmla="*/ 2147483647 w 824"/>
                <a:gd name="T1" fmla="*/ 2147483647 h 626"/>
                <a:gd name="T2" fmla="*/ 2147483647 w 824"/>
                <a:gd name="T3" fmla="*/ 2147483647 h 626"/>
                <a:gd name="T4" fmla="*/ 2147483647 w 824"/>
                <a:gd name="T5" fmla="*/ 2147483647 h 626"/>
                <a:gd name="T6" fmla="*/ 2147483647 w 824"/>
                <a:gd name="T7" fmla="*/ 2147483647 h 626"/>
                <a:gd name="T8" fmla="*/ 2147483647 w 824"/>
                <a:gd name="T9" fmla="*/ 2147483647 h 626"/>
                <a:gd name="T10" fmla="*/ 2147483647 w 824"/>
                <a:gd name="T11" fmla="*/ 2147483647 h 626"/>
                <a:gd name="T12" fmla="*/ 2147483647 w 824"/>
                <a:gd name="T13" fmla="*/ 2147483647 h 626"/>
                <a:gd name="T14" fmla="*/ 0 w 824"/>
                <a:gd name="T15" fmla="*/ 2147483647 h 626"/>
                <a:gd name="T16" fmla="*/ 0 w 824"/>
                <a:gd name="T17" fmla="*/ 2147483647 h 626"/>
                <a:gd name="T18" fmla="*/ 0 w 824"/>
                <a:gd name="T19" fmla="*/ 2147483647 h 626"/>
                <a:gd name="T20" fmla="*/ 0 w 824"/>
                <a:gd name="T21" fmla="*/ 2147483647 h 626"/>
                <a:gd name="T22" fmla="*/ 2147483647 w 824"/>
                <a:gd name="T23" fmla="*/ 2147483647 h 626"/>
                <a:gd name="T24" fmla="*/ 2147483647 w 824"/>
                <a:gd name="T25" fmla="*/ 2147483647 h 626"/>
                <a:gd name="T26" fmla="*/ 2147483647 w 824"/>
                <a:gd name="T27" fmla="*/ 2147483647 h 626"/>
                <a:gd name="T28" fmla="*/ 2147483647 w 824"/>
                <a:gd name="T29" fmla="*/ 2147483647 h 626"/>
                <a:gd name="T30" fmla="*/ 2147483647 w 824"/>
                <a:gd name="T31" fmla="*/ 2147483647 h 626"/>
                <a:gd name="T32" fmla="*/ 2147483647 w 824"/>
                <a:gd name="T33" fmla="*/ 2147483647 h 626"/>
                <a:gd name="T34" fmla="*/ 2147483647 w 824"/>
                <a:gd name="T35" fmla="*/ 2147483647 h 626"/>
                <a:gd name="T36" fmla="*/ 2147483647 w 824"/>
                <a:gd name="T37" fmla="*/ 2147483647 h 626"/>
                <a:gd name="T38" fmla="*/ 2147483647 w 824"/>
                <a:gd name="T39" fmla="*/ 2147483647 h 626"/>
                <a:gd name="T40" fmla="*/ 2147483647 w 824"/>
                <a:gd name="T41" fmla="*/ 2147483647 h 626"/>
                <a:gd name="T42" fmla="*/ 2147483647 w 824"/>
                <a:gd name="T43" fmla="*/ 2147483647 h 626"/>
                <a:gd name="T44" fmla="*/ 2147483647 w 824"/>
                <a:gd name="T45" fmla="*/ 2147483647 h 626"/>
                <a:gd name="T46" fmla="*/ 2147483647 w 824"/>
                <a:gd name="T47" fmla="*/ 2147483647 h 626"/>
                <a:gd name="T48" fmla="*/ 2147483647 w 824"/>
                <a:gd name="T49" fmla="*/ 2147483647 h 626"/>
                <a:gd name="T50" fmla="*/ 2147483647 w 824"/>
                <a:gd name="T51" fmla="*/ 2147483647 h 626"/>
                <a:gd name="T52" fmla="*/ 2147483647 w 824"/>
                <a:gd name="T53" fmla="*/ 2147483647 h 626"/>
                <a:gd name="T54" fmla="*/ 2147483647 w 824"/>
                <a:gd name="T55" fmla="*/ 2147483647 h 626"/>
                <a:gd name="T56" fmla="*/ 2147483647 w 824"/>
                <a:gd name="T57" fmla="*/ 2147483647 h 626"/>
                <a:gd name="T58" fmla="*/ 2147483647 w 824"/>
                <a:gd name="T59" fmla="*/ 2147483647 h 626"/>
                <a:gd name="T60" fmla="*/ 2147483647 w 824"/>
                <a:gd name="T61" fmla="*/ 2147483647 h 626"/>
                <a:gd name="T62" fmla="*/ 2147483647 w 824"/>
                <a:gd name="T63" fmla="*/ 2147483647 h 626"/>
                <a:gd name="T64" fmla="*/ 2147483647 w 824"/>
                <a:gd name="T65" fmla="*/ 2147483647 h 626"/>
                <a:gd name="T66" fmla="*/ 2147483647 w 824"/>
                <a:gd name="T67" fmla="*/ 2147483647 h 626"/>
                <a:gd name="T68" fmla="*/ 2147483647 w 824"/>
                <a:gd name="T69" fmla="*/ 2147483647 h 626"/>
                <a:gd name="T70" fmla="*/ 2147483647 w 824"/>
                <a:gd name="T71" fmla="*/ 2147483647 h 626"/>
                <a:gd name="T72" fmla="*/ 2147483647 w 824"/>
                <a:gd name="T73" fmla="*/ 2147483647 h 626"/>
                <a:gd name="T74" fmla="*/ 2147483647 w 824"/>
                <a:gd name="T75" fmla="*/ 2147483647 h 626"/>
                <a:gd name="T76" fmla="*/ 2147483647 w 824"/>
                <a:gd name="T77" fmla="*/ 2147483647 h 626"/>
                <a:gd name="T78" fmla="*/ 2147483647 w 824"/>
                <a:gd name="T79" fmla="*/ 0 h 626"/>
                <a:gd name="T80" fmla="*/ 2147483647 w 824"/>
                <a:gd name="T81" fmla="*/ 0 h 626"/>
                <a:gd name="T82" fmla="*/ 2147483647 w 824"/>
                <a:gd name="T83" fmla="*/ 0 h 626"/>
                <a:gd name="T84" fmla="*/ 2147483647 w 824"/>
                <a:gd name="T85" fmla="*/ 0 h 626"/>
                <a:gd name="T86" fmla="*/ 2147483647 w 824"/>
                <a:gd name="T87" fmla="*/ 0 h 626"/>
                <a:gd name="T88" fmla="*/ 2147483647 w 824"/>
                <a:gd name="T89" fmla="*/ 0 h 626"/>
                <a:gd name="T90" fmla="*/ 2147483647 w 824"/>
                <a:gd name="T91" fmla="*/ 0 h 626"/>
                <a:gd name="T92" fmla="*/ 2147483647 w 824"/>
                <a:gd name="T93" fmla="*/ 0 h 626"/>
                <a:gd name="T94" fmla="*/ 2147483647 w 824"/>
                <a:gd name="T95" fmla="*/ 0 h 626"/>
                <a:gd name="T96" fmla="*/ 2147483647 w 824"/>
                <a:gd name="T97" fmla="*/ 0 h 626"/>
                <a:gd name="T98" fmla="*/ 2147483647 w 824"/>
                <a:gd name="T99" fmla="*/ 0 h 626"/>
                <a:gd name="T100" fmla="*/ 2147483647 w 824"/>
                <a:gd name="T101" fmla="*/ 0 h 626"/>
                <a:gd name="T102" fmla="*/ 2147483647 w 824"/>
                <a:gd name="T103" fmla="*/ 0 h 626"/>
                <a:gd name="T104" fmla="*/ 2147483647 w 824"/>
                <a:gd name="T105" fmla="*/ 0 h 626"/>
                <a:gd name="T106" fmla="*/ 2147483647 w 824"/>
                <a:gd name="T107" fmla="*/ 0 h 62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24"/>
                <a:gd name="T163" fmla="*/ 0 h 626"/>
                <a:gd name="T164" fmla="*/ 824 w 824"/>
                <a:gd name="T165" fmla="*/ 626 h 62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24" h="626">
                  <a:moveTo>
                    <a:pt x="192" y="32"/>
                  </a:moveTo>
                  <a:lnTo>
                    <a:pt x="192" y="48"/>
                  </a:lnTo>
                  <a:lnTo>
                    <a:pt x="174" y="105"/>
                  </a:lnTo>
                  <a:lnTo>
                    <a:pt x="167" y="113"/>
                  </a:lnTo>
                  <a:lnTo>
                    <a:pt x="158" y="115"/>
                  </a:lnTo>
                  <a:lnTo>
                    <a:pt x="149" y="125"/>
                  </a:lnTo>
                  <a:lnTo>
                    <a:pt x="114" y="174"/>
                  </a:lnTo>
                  <a:lnTo>
                    <a:pt x="109" y="188"/>
                  </a:lnTo>
                  <a:lnTo>
                    <a:pt x="104" y="215"/>
                  </a:lnTo>
                  <a:lnTo>
                    <a:pt x="99" y="220"/>
                  </a:lnTo>
                  <a:lnTo>
                    <a:pt x="88" y="220"/>
                  </a:lnTo>
                  <a:lnTo>
                    <a:pt x="81" y="225"/>
                  </a:lnTo>
                  <a:lnTo>
                    <a:pt x="74" y="237"/>
                  </a:lnTo>
                  <a:lnTo>
                    <a:pt x="71" y="244"/>
                  </a:lnTo>
                  <a:lnTo>
                    <a:pt x="67" y="242"/>
                  </a:lnTo>
                  <a:lnTo>
                    <a:pt x="67" y="253"/>
                  </a:lnTo>
                  <a:lnTo>
                    <a:pt x="69" y="259"/>
                  </a:lnTo>
                  <a:lnTo>
                    <a:pt x="67" y="270"/>
                  </a:lnTo>
                  <a:lnTo>
                    <a:pt x="63" y="286"/>
                  </a:lnTo>
                  <a:lnTo>
                    <a:pt x="63" y="331"/>
                  </a:lnTo>
                  <a:lnTo>
                    <a:pt x="61" y="346"/>
                  </a:lnTo>
                  <a:lnTo>
                    <a:pt x="54" y="352"/>
                  </a:lnTo>
                  <a:lnTo>
                    <a:pt x="43" y="357"/>
                  </a:lnTo>
                  <a:lnTo>
                    <a:pt x="21" y="355"/>
                  </a:lnTo>
                  <a:lnTo>
                    <a:pt x="11" y="359"/>
                  </a:lnTo>
                  <a:lnTo>
                    <a:pt x="11" y="373"/>
                  </a:lnTo>
                  <a:lnTo>
                    <a:pt x="5" y="378"/>
                  </a:lnTo>
                  <a:lnTo>
                    <a:pt x="0" y="386"/>
                  </a:lnTo>
                  <a:lnTo>
                    <a:pt x="6" y="390"/>
                  </a:lnTo>
                  <a:lnTo>
                    <a:pt x="12" y="390"/>
                  </a:lnTo>
                  <a:lnTo>
                    <a:pt x="20" y="397"/>
                  </a:lnTo>
                  <a:lnTo>
                    <a:pt x="28" y="395"/>
                  </a:lnTo>
                  <a:lnTo>
                    <a:pt x="39" y="399"/>
                  </a:lnTo>
                  <a:lnTo>
                    <a:pt x="48" y="404"/>
                  </a:lnTo>
                  <a:lnTo>
                    <a:pt x="56" y="414"/>
                  </a:lnTo>
                  <a:lnTo>
                    <a:pt x="58" y="424"/>
                  </a:lnTo>
                  <a:lnTo>
                    <a:pt x="64" y="432"/>
                  </a:lnTo>
                  <a:lnTo>
                    <a:pt x="71" y="440"/>
                  </a:lnTo>
                  <a:lnTo>
                    <a:pt x="93" y="453"/>
                  </a:lnTo>
                  <a:lnTo>
                    <a:pt x="98" y="463"/>
                  </a:lnTo>
                  <a:lnTo>
                    <a:pt x="103" y="475"/>
                  </a:lnTo>
                  <a:lnTo>
                    <a:pt x="113" y="502"/>
                  </a:lnTo>
                  <a:lnTo>
                    <a:pt x="118" y="511"/>
                  </a:lnTo>
                  <a:lnTo>
                    <a:pt x="126" y="517"/>
                  </a:lnTo>
                  <a:lnTo>
                    <a:pt x="150" y="522"/>
                  </a:lnTo>
                  <a:lnTo>
                    <a:pt x="157" y="527"/>
                  </a:lnTo>
                  <a:lnTo>
                    <a:pt x="158" y="534"/>
                  </a:lnTo>
                  <a:lnTo>
                    <a:pt x="157" y="544"/>
                  </a:lnTo>
                  <a:lnTo>
                    <a:pt x="156" y="566"/>
                  </a:lnTo>
                  <a:lnTo>
                    <a:pt x="169" y="571"/>
                  </a:lnTo>
                  <a:lnTo>
                    <a:pt x="185" y="569"/>
                  </a:lnTo>
                  <a:lnTo>
                    <a:pt x="200" y="570"/>
                  </a:lnTo>
                  <a:lnTo>
                    <a:pt x="217" y="578"/>
                  </a:lnTo>
                  <a:lnTo>
                    <a:pt x="255" y="600"/>
                  </a:lnTo>
                  <a:lnTo>
                    <a:pt x="266" y="613"/>
                  </a:lnTo>
                  <a:lnTo>
                    <a:pt x="286" y="619"/>
                  </a:lnTo>
                  <a:lnTo>
                    <a:pt x="303" y="619"/>
                  </a:lnTo>
                  <a:lnTo>
                    <a:pt x="325" y="625"/>
                  </a:lnTo>
                  <a:lnTo>
                    <a:pt x="350" y="626"/>
                  </a:lnTo>
                  <a:lnTo>
                    <a:pt x="373" y="614"/>
                  </a:lnTo>
                  <a:lnTo>
                    <a:pt x="389" y="598"/>
                  </a:lnTo>
                  <a:lnTo>
                    <a:pt x="408" y="592"/>
                  </a:lnTo>
                  <a:lnTo>
                    <a:pt x="427" y="588"/>
                  </a:lnTo>
                  <a:lnTo>
                    <a:pt x="461" y="604"/>
                  </a:lnTo>
                  <a:lnTo>
                    <a:pt x="474" y="603"/>
                  </a:lnTo>
                  <a:lnTo>
                    <a:pt x="483" y="604"/>
                  </a:lnTo>
                  <a:lnTo>
                    <a:pt x="488" y="603"/>
                  </a:lnTo>
                  <a:lnTo>
                    <a:pt x="491" y="599"/>
                  </a:lnTo>
                  <a:lnTo>
                    <a:pt x="506" y="592"/>
                  </a:lnTo>
                  <a:lnTo>
                    <a:pt x="542" y="580"/>
                  </a:lnTo>
                  <a:lnTo>
                    <a:pt x="554" y="567"/>
                  </a:lnTo>
                  <a:lnTo>
                    <a:pt x="567" y="559"/>
                  </a:lnTo>
                  <a:lnTo>
                    <a:pt x="588" y="550"/>
                  </a:lnTo>
                  <a:lnTo>
                    <a:pt x="596" y="545"/>
                  </a:lnTo>
                  <a:lnTo>
                    <a:pt x="661" y="545"/>
                  </a:lnTo>
                  <a:lnTo>
                    <a:pt x="742" y="463"/>
                  </a:lnTo>
                  <a:lnTo>
                    <a:pt x="813" y="393"/>
                  </a:lnTo>
                  <a:lnTo>
                    <a:pt x="823" y="381"/>
                  </a:lnTo>
                  <a:lnTo>
                    <a:pt x="824" y="378"/>
                  </a:lnTo>
                  <a:lnTo>
                    <a:pt x="771" y="379"/>
                  </a:lnTo>
                  <a:lnTo>
                    <a:pt x="684" y="347"/>
                  </a:lnTo>
                  <a:lnTo>
                    <a:pt x="606" y="320"/>
                  </a:lnTo>
                  <a:lnTo>
                    <a:pt x="599" y="313"/>
                  </a:lnTo>
                  <a:lnTo>
                    <a:pt x="579" y="298"/>
                  </a:lnTo>
                  <a:lnTo>
                    <a:pt x="572" y="288"/>
                  </a:lnTo>
                  <a:lnTo>
                    <a:pt x="566" y="282"/>
                  </a:lnTo>
                  <a:lnTo>
                    <a:pt x="564" y="276"/>
                  </a:lnTo>
                  <a:lnTo>
                    <a:pt x="559" y="273"/>
                  </a:lnTo>
                  <a:lnTo>
                    <a:pt x="553" y="266"/>
                  </a:lnTo>
                  <a:lnTo>
                    <a:pt x="550" y="261"/>
                  </a:lnTo>
                  <a:lnTo>
                    <a:pt x="543" y="254"/>
                  </a:lnTo>
                  <a:lnTo>
                    <a:pt x="538" y="231"/>
                  </a:lnTo>
                  <a:lnTo>
                    <a:pt x="539" y="226"/>
                  </a:lnTo>
                  <a:lnTo>
                    <a:pt x="543" y="221"/>
                  </a:lnTo>
                  <a:lnTo>
                    <a:pt x="543" y="220"/>
                  </a:lnTo>
                  <a:lnTo>
                    <a:pt x="534" y="212"/>
                  </a:lnTo>
                  <a:lnTo>
                    <a:pt x="529" y="211"/>
                  </a:lnTo>
                  <a:lnTo>
                    <a:pt x="517" y="216"/>
                  </a:lnTo>
                  <a:lnTo>
                    <a:pt x="516" y="218"/>
                  </a:lnTo>
                  <a:lnTo>
                    <a:pt x="515" y="220"/>
                  </a:lnTo>
                  <a:lnTo>
                    <a:pt x="508" y="217"/>
                  </a:lnTo>
                  <a:lnTo>
                    <a:pt x="504" y="220"/>
                  </a:lnTo>
                  <a:lnTo>
                    <a:pt x="491" y="218"/>
                  </a:lnTo>
                  <a:lnTo>
                    <a:pt x="485" y="212"/>
                  </a:lnTo>
                  <a:lnTo>
                    <a:pt x="484" y="203"/>
                  </a:lnTo>
                  <a:lnTo>
                    <a:pt x="484" y="200"/>
                  </a:lnTo>
                  <a:lnTo>
                    <a:pt x="493" y="190"/>
                  </a:lnTo>
                  <a:lnTo>
                    <a:pt x="499" y="177"/>
                  </a:lnTo>
                  <a:lnTo>
                    <a:pt x="501" y="166"/>
                  </a:lnTo>
                  <a:lnTo>
                    <a:pt x="506" y="144"/>
                  </a:lnTo>
                  <a:lnTo>
                    <a:pt x="512" y="140"/>
                  </a:lnTo>
                  <a:lnTo>
                    <a:pt x="506" y="132"/>
                  </a:lnTo>
                  <a:lnTo>
                    <a:pt x="502" y="125"/>
                  </a:lnTo>
                  <a:lnTo>
                    <a:pt x="495" y="119"/>
                  </a:lnTo>
                  <a:lnTo>
                    <a:pt x="486" y="115"/>
                  </a:lnTo>
                  <a:lnTo>
                    <a:pt x="483" y="109"/>
                  </a:lnTo>
                  <a:lnTo>
                    <a:pt x="480" y="99"/>
                  </a:lnTo>
                  <a:lnTo>
                    <a:pt x="474" y="93"/>
                  </a:lnTo>
                  <a:lnTo>
                    <a:pt x="462" y="83"/>
                  </a:lnTo>
                  <a:lnTo>
                    <a:pt x="445" y="71"/>
                  </a:lnTo>
                  <a:lnTo>
                    <a:pt x="440" y="62"/>
                  </a:lnTo>
                  <a:lnTo>
                    <a:pt x="432" y="51"/>
                  </a:lnTo>
                  <a:lnTo>
                    <a:pt x="420" y="40"/>
                  </a:lnTo>
                  <a:lnTo>
                    <a:pt x="413" y="39"/>
                  </a:lnTo>
                  <a:lnTo>
                    <a:pt x="403" y="34"/>
                  </a:lnTo>
                  <a:lnTo>
                    <a:pt x="389" y="23"/>
                  </a:lnTo>
                  <a:lnTo>
                    <a:pt x="378" y="24"/>
                  </a:lnTo>
                  <a:lnTo>
                    <a:pt x="376" y="26"/>
                  </a:lnTo>
                  <a:lnTo>
                    <a:pt x="372" y="26"/>
                  </a:lnTo>
                  <a:lnTo>
                    <a:pt x="371" y="22"/>
                  </a:lnTo>
                  <a:lnTo>
                    <a:pt x="361" y="22"/>
                  </a:lnTo>
                  <a:lnTo>
                    <a:pt x="356" y="18"/>
                  </a:lnTo>
                  <a:lnTo>
                    <a:pt x="352" y="18"/>
                  </a:lnTo>
                  <a:lnTo>
                    <a:pt x="348" y="22"/>
                  </a:lnTo>
                  <a:lnTo>
                    <a:pt x="340" y="23"/>
                  </a:lnTo>
                  <a:lnTo>
                    <a:pt x="339" y="24"/>
                  </a:lnTo>
                  <a:lnTo>
                    <a:pt x="337" y="24"/>
                  </a:lnTo>
                  <a:lnTo>
                    <a:pt x="334" y="18"/>
                  </a:lnTo>
                  <a:lnTo>
                    <a:pt x="329" y="13"/>
                  </a:lnTo>
                  <a:lnTo>
                    <a:pt x="324" y="13"/>
                  </a:lnTo>
                  <a:lnTo>
                    <a:pt x="324" y="17"/>
                  </a:lnTo>
                  <a:lnTo>
                    <a:pt x="318" y="22"/>
                  </a:lnTo>
                  <a:lnTo>
                    <a:pt x="305" y="24"/>
                  </a:lnTo>
                  <a:lnTo>
                    <a:pt x="301" y="26"/>
                  </a:lnTo>
                  <a:lnTo>
                    <a:pt x="292" y="26"/>
                  </a:lnTo>
                  <a:lnTo>
                    <a:pt x="284" y="15"/>
                  </a:lnTo>
                  <a:lnTo>
                    <a:pt x="284" y="12"/>
                  </a:lnTo>
                  <a:lnTo>
                    <a:pt x="281" y="11"/>
                  </a:lnTo>
                  <a:lnTo>
                    <a:pt x="274" y="11"/>
                  </a:lnTo>
                  <a:lnTo>
                    <a:pt x="268" y="5"/>
                  </a:lnTo>
                  <a:lnTo>
                    <a:pt x="264" y="0"/>
                  </a:lnTo>
                  <a:lnTo>
                    <a:pt x="244" y="44"/>
                  </a:lnTo>
                  <a:lnTo>
                    <a:pt x="236" y="34"/>
                  </a:lnTo>
                  <a:lnTo>
                    <a:pt x="236" y="31"/>
                  </a:lnTo>
                  <a:lnTo>
                    <a:pt x="231" y="26"/>
                  </a:lnTo>
                  <a:lnTo>
                    <a:pt x="223" y="26"/>
                  </a:lnTo>
                  <a:lnTo>
                    <a:pt x="220" y="29"/>
                  </a:lnTo>
                  <a:lnTo>
                    <a:pt x="219" y="33"/>
                  </a:lnTo>
                  <a:lnTo>
                    <a:pt x="216" y="35"/>
                  </a:lnTo>
                  <a:lnTo>
                    <a:pt x="212" y="35"/>
                  </a:lnTo>
                  <a:lnTo>
                    <a:pt x="208" y="33"/>
                  </a:lnTo>
                  <a:lnTo>
                    <a:pt x="194" y="33"/>
                  </a:lnTo>
                  <a:lnTo>
                    <a:pt x="192" y="3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6" name="Freeform 19">
              <a:extLst>
                <a:ext uri="{FF2B5EF4-FFF2-40B4-BE49-F238E27FC236}">
                  <a16:creationId xmlns:a16="http://schemas.microsoft.com/office/drawing/2014/main" id="{EE7CCEE4-67FB-58A6-C1DF-5C7ED68B805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038810" y="3249657"/>
              <a:ext cx="464118" cy="475556"/>
            </a:xfrm>
            <a:custGeom>
              <a:avLst/>
              <a:gdLst>
                <a:gd name="T0" fmla="*/ 2147483647 w 871"/>
                <a:gd name="T1" fmla="*/ 2147483647 h 832"/>
                <a:gd name="T2" fmla="*/ 2147483647 w 871"/>
                <a:gd name="T3" fmla="*/ 2147483647 h 832"/>
                <a:gd name="T4" fmla="*/ 0 w 871"/>
                <a:gd name="T5" fmla="*/ 2147483647 h 832"/>
                <a:gd name="T6" fmla="*/ 0 w 871"/>
                <a:gd name="T7" fmla="*/ 2147483647 h 832"/>
                <a:gd name="T8" fmla="*/ 0 w 871"/>
                <a:gd name="T9" fmla="*/ 2147483647 h 832"/>
                <a:gd name="T10" fmla="*/ 0 w 871"/>
                <a:gd name="T11" fmla="*/ 2147483647 h 832"/>
                <a:gd name="T12" fmla="*/ 0 w 871"/>
                <a:gd name="T13" fmla="*/ 2147483647 h 832"/>
                <a:gd name="T14" fmla="*/ 0 w 871"/>
                <a:gd name="T15" fmla="*/ 2147483647 h 832"/>
                <a:gd name="T16" fmla="*/ 0 w 871"/>
                <a:gd name="T17" fmla="*/ 2147483647 h 832"/>
                <a:gd name="T18" fmla="*/ 0 w 871"/>
                <a:gd name="T19" fmla="*/ 2147483647 h 832"/>
                <a:gd name="T20" fmla="*/ 2147483647 w 871"/>
                <a:gd name="T21" fmla="*/ 2147483647 h 832"/>
                <a:gd name="T22" fmla="*/ 2147483647 w 871"/>
                <a:gd name="T23" fmla="*/ 2147483647 h 832"/>
                <a:gd name="T24" fmla="*/ 2147483647 w 871"/>
                <a:gd name="T25" fmla="*/ 0 h 832"/>
                <a:gd name="T26" fmla="*/ 2147483647 w 871"/>
                <a:gd name="T27" fmla="*/ 0 h 832"/>
                <a:gd name="T28" fmla="*/ 2147483647 w 871"/>
                <a:gd name="T29" fmla="*/ 0 h 832"/>
                <a:gd name="T30" fmla="*/ 2147483647 w 871"/>
                <a:gd name="T31" fmla="*/ 0 h 832"/>
                <a:gd name="T32" fmla="*/ 2147483647 w 871"/>
                <a:gd name="T33" fmla="*/ 0 h 832"/>
                <a:gd name="T34" fmla="*/ 2147483647 w 871"/>
                <a:gd name="T35" fmla="*/ 0 h 832"/>
                <a:gd name="T36" fmla="*/ 2147483647 w 871"/>
                <a:gd name="T37" fmla="*/ 0 h 832"/>
                <a:gd name="T38" fmla="*/ 2147483647 w 871"/>
                <a:gd name="T39" fmla="*/ 2147483647 h 832"/>
                <a:gd name="T40" fmla="*/ 2147483647 w 871"/>
                <a:gd name="T41" fmla="*/ 2147483647 h 832"/>
                <a:gd name="T42" fmla="*/ 2147483647 w 871"/>
                <a:gd name="T43" fmla="*/ 2147483647 h 832"/>
                <a:gd name="T44" fmla="*/ 2147483647 w 871"/>
                <a:gd name="T45" fmla="*/ 2147483647 h 832"/>
                <a:gd name="T46" fmla="*/ 2147483647 w 871"/>
                <a:gd name="T47" fmla="*/ 2147483647 h 832"/>
                <a:gd name="T48" fmla="*/ 2147483647 w 871"/>
                <a:gd name="T49" fmla="*/ 2147483647 h 832"/>
                <a:gd name="T50" fmla="*/ 2147483647 w 871"/>
                <a:gd name="T51" fmla="*/ 2147483647 h 832"/>
                <a:gd name="T52" fmla="*/ 2147483647 w 871"/>
                <a:gd name="T53" fmla="*/ 2147483647 h 832"/>
                <a:gd name="T54" fmla="*/ 2147483647 w 871"/>
                <a:gd name="T55" fmla="*/ 2147483647 h 832"/>
                <a:gd name="T56" fmla="*/ 2147483647 w 871"/>
                <a:gd name="T57" fmla="*/ 0 h 832"/>
                <a:gd name="T58" fmla="*/ 2147483647 w 871"/>
                <a:gd name="T59" fmla="*/ 0 h 832"/>
                <a:gd name="T60" fmla="*/ 2147483647 w 871"/>
                <a:gd name="T61" fmla="*/ 0 h 832"/>
                <a:gd name="T62" fmla="*/ 2147483647 w 871"/>
                <a:gd name="T63" fmla="*/ 0 h 832"/>
                <a:gd name="T64" fmla="*/ 2147483647 w 871"/>
                <a:gd name="T65" fmla="*/ 0 h 832"/>
                <a:gd name="T66" fmla="*/ 2147483647 w 871"/>
                <a:gd name="T67" fmla="*/ 0 h 832"/>
                <a:gd name="T68" fmla="*/ 2147483647 w 871"/>
                <a:gd name="T69" fmla="*/ 0 h 832"/>
                <a:gd name="T70" fmla="*/ 2147483647 w 871"/>
                <a:gd name="T71" fmla="*/ 2147483647 h 832"/>
                <a:gd name="T72" fmla="*/ 2147483647 w 871"/>
                <a:gd name="T73" fmla="*/ 2147483647 h 832"/>
                <a:gd name="T74" fmla="*/ 2147483647 w 871"/>
                <a:gd name="T75" fmla="*/ 2147483647 h 832"/>
                <a:gd name="T76" fmla="*/ 2147483647 w 871"/>
                <a:gd name="T77" fmla="*/ 2147483647 h 832"/>
                <a:gd name="T78" fmla="*/ 2147483647 w 871"/>
                <a:gd name="T79" fmla="*/ 2147483647 h 832"/>
                <a:gd name="T80" fmla="*/ 2147483647 w 871"/>
                <a:gd name="T81" fmla="*/ 2147483647 h 832"/>
                <a:gd name="T82" fmla="*/ 2147483647 w 871"/>
                <a:gd name="T83" fmla="*/ 2147483647 h 832"/>
                <a:gd name="T84" fmla="*/ 2147483647 w 871"/>
                <a:gd name="T85" fmla="*/ 2147483647 h 832"/>
                <a:gd name="T86" fmla="*/ 2147483647 w 871"/>
                <a:gd name="T87" fmla="*/ 2147483647 h 832"/>
                <a:gd name="T88" fmla="*/ 2147483647 w 871"/>
                <a:gd name="T89" fmla="*/ 2147483647 h 832"/>
                <a:gd name="T90" fmla="*/ 2147483647 w 871"/>
                <a:gd name="T91" fmla="*/ 2147483647 h 832"/>
                <a:gd name="T92" fmla="*/ 2147483647 w 871"/>
                <a:gd name="T93" fmla="*/ 2147483647 h 832"/>
                <a:gd name="T94" fmla="*/ 2147483647 w 871"/>
                <a:gd name="T95" fmla="*/ 2147483647 h 832"/>
                <a:gd name="T96" fmla="*/ 2147483647 w 871"/>
                <a:gd name="T97" fmla="*/ 2147483647 h 832"/>
                <a:gd name="T98" fmla="*/ 2147483647 w 871"/>
                <a:gd name="T99" fmla="*/ 2147483647 h 832"/>
                <a:gd name="T100" fmla="*/ 2147483647 w 871"/>
                <a:gd name="T101" fmla="*/ 2147483647 h 832"/>
                <a:gd name="T102" fmla="*/ 2147483647 w 871"/>
                <a:gd name="T103" fmla="*/ 2147483647 h 832"/>
                <a:gd name="T104" fmla="*/ 2147483647 w 871"/>
                <a:gd name="T105" fmla="*/ 2147483647 h 832"/>
                <a:gd name="T106" fmla="*/ 2147483647 w 871"/>
                <a:gd name="T107" fmla="*/ 2147483647 h 832"/>
                <a:gd name="T108" fmla="*/ 2147483647 w 871"/>
                <a:gd name="T109" fmla="*/ 2147483647 h 83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1"/>
                <a:gd name="T166" fmla="*/ 0 h 832"/>
                <a:gd name="T167" fmla="*/ 871 w 871"/>
                <a:gd name="T168" fmla="*/ 832 h 83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1" h="832">
                  <a:moveTo>
                    <a:pt x="140" y="598"/>
                  </a:moveTo>
                  <a:lnTo>
                    <a:pt x="138" y="592"/>
                  </a:lnTo>
                  <a:lnTo>
                    <a:pt x="134" y="578"/>
                  </a:lnTo>
                  <a:lnTo>
                    <a:pt x="116" y="549"/>
                  </a:lnTo>
                  <a:lnTo>
                    <a:pt x="87" y="535"/>
                  </a:lnTo>
                  <a:lnTo>
                    <a:pt x="76" y="535"/>
                  </a:lnTo>
                  <a:lnTo>
                    <a:pt x="57" y="534"/>
                  </a:lnTo>
                  <a:lnTo>
                    <a:pt x="43" y="519"/>
                  </a:lnTo>
                  <a:lnTo>
                    <a:pt x="40" y="507"/>
                  </a:lnTo>
                  <a:lnTo>
                    <a:pt x="39" y="487"/>
                  </a:lnTo>
                  <a:lnTo>
                    <a:pt x="29" y="471"/>
                  </a:lnTo>
                  <a:lnTo>
                    <a:pt x="11" y="449"/>
                  </a:lnTo>
                  <a:lnTo>
                    <a:pt x="6" y="436"/>
                  </a:lnTo>
                  <a:lnTo>
                    <a:pt x="7" y="428"/>
                  </a:lnTo>
                  <a:lnTo>
                    <a:pt x="18" y="425"/>
                  </a:lnTo>
                  <a:lnTo>
                    <a:pt x="27" y="418"/>
                  </a:lnTo>
                  <a:lnTo>
                    <a:pt x="28" y="362"/>
                  </a:lnTo>
                  <a:lnTo>
                    <a:pt x="32" y="340"/>
                  </a:lnTo>
                  <a:lnTo>
                    <a:pt x="32" y="327"/>
                  </a:lnTo>
                  <a:lnTo>
                    <a:pt x="29" y="319"/>
                  </a:lnTo>
                  <a:lnTo>
                    <a:pt x="29" y="288"/>
                  </a:lnTo>
                  <a:lnTo>
                    <a:pt x="28" y="266"/>
                  </a:lnTo>
                  <a:lnTo>
                    <a:pt x="23" y="243"/>
                  </a:lnTo>
                  <a:lnTo>
                    <a:pt x="11" y="222"/>
                  </a:lnTo>
                  <a:lnTo>
                    <a:pt x="0" y="207"/>
                  </a:lnTo>
                  <a:lnTo>
                    <a:pt x="1" y="191"/>
                  </a:lnTo>
                  <a:lnTo>
                    <a:pt x="11" y="184"/>
                  </a:lnTo>
                  <a:lnTo>
                    <a:pt x="12" y="181"/>
                  </a:lnTo>
                  <a:lnTo>
                    <a:pt x="24" y="180"/>
                  </a:lnTo>
                  <a:lnTo>
                    <a:pt x="36" y="171"/>
                  </a:lnTo>
                  <a:lnTo>
                    <a:pt x="46" y="163"/>
                  </a:lnTo>
                  <a:lnTo>
                    <a:pt x="52" y="153"/>
                  </a:lnTo>
                  <a:lnTo>
                    <a:pt x="52" y="143"/>
                  </a:lnTo>
                  <a:lnTo>
                    <a:pt x="46" y="115"/>
                  </a:lnTo>
                  <a:lnTo>
                    <a:pt x="48" y="106"/>
                  </a:lnTo>
                  <a:lnTo>
                    <a:pt x="52" y="98"/>
                  </a:lnTo>
                  <a:lnTo>
                    <a:pt x="65" y="92"/>
                  </a:lnTo>
                  <a:lnTo>
                    <a:pt x="75" y="85"/>
                  </a:lnTo>
                  <a:lnTo>
                    <a:pt x="79" y="74"/>
                  </a:lnTo>
                  <a:lnTo>
                    <a:pt x="108" y="55"/>
                  </a:lnTo>
                  <a:lnTo>
                    <a:pt x="114" y="50"/>
                  </a:lnTo>
                  <a:lnTo>
                    <a:pt x="119" y="39"/>
                  </a:lnTo>
                  <a:lnTo>
                    <a:pt x="118" y="3"/>
                  </a:lnTo>
                  <a:lnTo>
                    <a:pt x="119" y="0"/>
                  </a:lnTo>
                  <a:lnTo>
                    <a:pt x="130" y="2"/>
                  </a:lnTo>
                  <a:lnTo>
                    <a:pt x="142" y="9"/>
                  </a:lnTo>
                  <a:lnTo>
                    <a:pt x="169" y="20"/>
                  </a:lnTo>
                  <a:lnTo>
                    <a:pt x="190" y="22"/>
                  </a:lnTo>
                  <a:lnTo>
                    <a:pt x="211" y="17"/>
                  </a:lnTo>
                  <a:lnTo>
                    <a:pt x="226" y="18"/>
                  </a:lnTo>
                  <a:lnTo>
                    <a:pt x="237" y="23"/>
                  </a:lnTo>
                  <a:lnTo>
                    <a:pt x="250" y="24"/>
                  </a:lnTo>
                  <a:lnTo>
                    <a:pt x="267" y="29"/>
                  </a:lnTo>
                  <a:lnTo>
                    <a:pt x="276" y="35"/>
                  </a:lnTo>
                  <a:lnTo>
                    <a:pt x="297" y="45"/>
                  </a:lnTo>
                  <a:lnTo>
                    <a:pt x="309" y="47"/>
                  </a:lnTo>
                  <a:lnTo>
                    <a:pt x="323" y="52"/>
                  </a:lnTo>
                  <a:lnTo>
                    <a:pt x="329" y="58"/>
                  </a:lnTo>
                  <a:lnTo>
                    <a:pt x="333" y="71"/>
                  </a:lnTo>
                  <a:lnTo>
                    <a:pt x="333" y="84"/>
                  </a:lnTo>
                  <a:lnTo>
                    <a:pt x="342" y="99"/>
                  </a:lnTo>
                  <a:lnTo>
                    <a:pt x="358" y="115"/>
                  </a:lnTo>
                  <a:lnTo>
                    <a:pt x="371" y="121"/>
                  </a:lnTo>
                  <a:lnTo>
                    <a:pt x="379" y="124"/>
                  </a:lnTo>
                  <a:lnTo>
                    <a:pt x="415" y="125"/>
                  </a:lnTo>
                  <a:lnTo>
                    <a:pt x="431" y="130"/>
                  </a:lnTo>
                  <a:lnTo>
                    <a:pt x="459" y="140"/>
                  </a:lnTo>
                  <a:lnTo>
                    <a:pt x="474" y="149"/>
                  </a:lnTo>
                  <a:lnTo>
                    <a:pt x="482" y="151"/>
                  </a:lnTo>
                  <a:lnTo>
                    <a:pt x="490" y="154"/>
                  </a:lnTo>
                  <a:lnTo>
                    <a:pt x="496" y="162"/>
                  </a:lnTo>
                  <a:lnTo>
                    <a:pt x="514" y="178"/>
                  </a:lnTo>
                  <a:lnTo>
                    <a:pt x="529" y="184"/>
                  </a:lnTo>
                  <a:lnTo>
                    <a:pt x="543" y="184"/>
                  </a:lnTo>
                  <a:lnTo>
                    <a:pt x="561" y="176"/>
                  </a:lnTo>
                  <a:lnTo>
                    <a:pt x="571" y="170"/>
                  </a:lnTo>
                  <a:lnTo>
                    <a:pt x="581" y="159"/>
                  </a:lnTo>
                  <a:lnTo>
                    <a:pt x="587" y="148"/>
                  </a:lnTo>
                  <a:lnTo>
                    <a:pt x="593" y="138"/>
                  </a:lnTo>
                  <a:lnTo>
                    <a:pt x="594" y="130"/>
                  </a:lnTo>
                  <a:lnTo>
                    <a:pt x="589" y="117"/>
                  </a:lnTo>
                  <a:lnTo>
                    <a:pt x="588" y="108"/>
                  </a:lnTo>
                  <a:lnTo>
                    <a:pt x="582" y="98"/>
                  </a:lnTo>
                  <a:lnTo>
                    <a:pt x="582" y="83"/>
                  </a:lnTo>
                  <a:lnTo>
                    <a:pt x="586" y="70"/>
                  </a:lnTo>
                  <a:lnTo>
                    <a:pt x="598" y="55"/>
                  </a:lnTo>
                  <a:lnTo>
                    <a:pt x="606" y="47"/>
                  </a:lnTo>
                  <a:lnTo>
                    <a:pt x="625" y="33"/>
                  </a:lnTo>
                  <a:lnTo>
                    <a:pt x="641" y="24"/>
                  </a:lnTo>
                  <a:lnTo>
                    <a:pt x="658" y="22"/>
                  </a:lnTo>
                  <a:lnTo>
                    <a:pt x="670" y="17"/>
                  </a:lnTo>
                  <a:lnTo>
                    <a:pt x="701" y="15"/>
                  </a:lnTo>
                  <a:lnTo>
                    <a:pt x="729" y="25"/>
                  </a:lnTo>
                  <a:lnTo>
                    <a:pt x="737" y="29"/>
                  </a:lnTo>
                  <a:lnTo>
                    <a:pt x="745" y="30"/>
                  </a:lnTo>
                  <a:lnTo>
                    <a:pt x="754" y="35"/>
                  </a:lnTo>
                  <a:lnTo>
                    <a:pt x="755" y="45"/>
                  </a:lnTo>
                  <a:lnTo>
                    <a:pt x="754" y="47"/>
                  </a:lnTo>
                  <a:lnTo>
                    <a:pt x="751" y="46"/>
                  </a:lnTo>
                  <a:lnTo>
                    <a:pt x="753" y="54"/>
                  </a:lnTo>
                  <a:lnTo>
                    <a:pt x="762" y="61"/>
                  </a:lnTo>
                  <a:lnTo>
                    <a:pt x="767" y="63"/>
                  </a:lnTo>
                  <a:lnTo>
                    <a:pt x="772" y="62"/>
                  </a:lnTo>
                  <a:lnTo>
                    <a:pt x="787" y="65"/>
                  </a:lnTo>
                  <a:lnTo>
                    <a:pt x="797" y="67"/>
                  </a:lnTo>
                  <a:lnTo>
                    <a:pt x="801" y="68"/>
                  </a:lnTo>
                  <a:lnTo>
                    <a:pt x="815" y="74"/>
                  </a:lnTo>
                  <a:lnTo>
                    <a:pt x="831" y="77"/>
                  </a:lnTo>
                  <a:lnTo>
                    <a:pt x="856" y="78"/>
                  </a:lnTo>
                  <a:lnTo>
                    <a:pt x="864" y="83"/>
                  </a:lnTo>
                  <a:lnTo>
                    <a:pt x="868" y="95"/>
                  </a:lnTo>
                  <a:lnTo>
                    <a:pt x="871" y="97"/>
                  </a:lnTo>
                  <a:lnTo>
                    <a:pt x="863" y="99"/>
                  </a:lnTo>
                  <a:lnTo>
                    <a:pt x="860" y="108"/>
                  </a:lnTo>
                  <a:lnTo>
                    <a:pt x="852" y="116"/>
                  </a:lnTo>
                  <a:lnTo>
                    <a:pt x="852" y="119"/>
                  </a:lnTo>
                  <a:lnTo>
                    <a:pt x="856" y="127"/>
                  </a:lnTo>
                  <a:lnTo>
                    <a:pt x="857" y="154"/>
                  </a:lnTo>
                  <a:lnTo>
                    <a:pt x="860" y="171"/>
                  </a:lnTo>
                  <a:lnTo>
                    <a:pt x="858" y="180"/>
                  </a:lnTo>
                  <a:lnTo>
                    <a:pt x="858" y="183"/>
                  </a:lnTo>
                  <a:lnTo>
                    <a:pt x="848" y="187"/>
                  </a:lnTo>
                  <a:lnTo>
                    <a:pt x="845" y="192"/>
                  </a:lnTo>
                  <a:lnTo>
                    <a:pt x="845" y="196"/>
                  </a:lnTo>
                  <a:lnTo>
                    <a:pt x="846" y="217"/>
                  </a:lnTo>
                  <a:lnTo>
                    <a:pt x="853" y="227"/>
                  </a:lnTo>
                  <a:lnTo>
                    <a:pt x="855" y="230"/>
                  </a:lnTo>
                  <a:lnTo>
                    <a:pt x="852" y="243"/>
                  </a:lnTo>
                  <a:lnTo>
                    <a:pt x="869" y="261"/>
                  </a:lnTo>
                  <a:lnTo>
                    <a:pt x="869" y="304"/>
                  </a:lnTo>
                  <a:lnTo>
                    <a:pt x="869" y="362"/>
                  </a:lnTo>
                  <a:lnTo>
                    <a:pt x="869" y="421"/>
                  </a:lnTo>
                  <a:lnTo>
                    <a:pt x="869" y="479"/>
                  </a:lnTo>
                  <a:lnTo>
                    <a:pt x="869" y="535"/>
                  </a:lnTo>
                  <a:lnTo>
                    <a:pt x="869" y="593"/>
                  </a:lnTo>
                  <a:lnTo>
                    <a:pt x="869" y="649"/>
                  </a:lnTo>
                  <a:lnTo>
                    <a:pt x="869" y="687"/>
                  </a:lnTo>
                  <a:lnTo>
                    <a:pt x="869" y="740"/>
                  </a:lnTo>
                  <a:lnTo>
                    <a:pt x="869" y="799"/>
                  </a:lnTo>
                  <a:lnTo>
                    <a:pt x="817" y="799"/>
                  </a:lnTo>
                  <a:lnTo>
                    <a:pt x="817" y="832"/>
                  </a:lnTo>
                  <a:lnTo>
                    <a:pt x="808" y="831"/>
                  </a:lnTo>
                  <a:lnTo>
                    <a:pt x="761" y="807"/>
                  </a:lnTo>
                  <a:lnTo>
                    <a:pt x="715" y="783"/>
                  </a:lnTo>
                  <a:lnTo>
                    <a:pt x="667" y="759"/>
                  </a:lnTo>
                  <a:lnTo>
                    <a:pt x="620" y="734"/>
                  </a:lnTo>
                  <a:lnTo>
                    <a:pt x="573" y="709"/>
                  </a:lnTo>
                  <a:lnTo>
                    <a:pt x="527" y="685"/>
                  </a:lnTo>
                  <a:lnTo>
                    <a:pt x="480" y="659"/>
                  </a:lnTo>
                  <a:lnTo>
                    <a:pt x="433" y="635"/>
                  </a:lnTo>
                  <a:lnTo>
                    <a:pt x="387" y="610"/>
                  </a:lnTo>
                  <a:lnTo>
                    <a:pt x="376" y="605"/>
                  </a:lnTo>
                  <a:lnTo>
                    <a:pt x="326" y="622"/>
                  </a:lnTo>
                  <a:lnTo>
                    <a:pt x="320" y="625"/>
                  </a:lnTo>
                  <a:lnTo>
                    <a:pt x="303" y="630"/>
                  </a:lnTo>
                  <a:lnTo>
                    <a:pt x="297" y="620"/>
                  </a:lnTo>
                  <a:lnTo>
                    <a:pt x="293" y="616"/>
                  </a:lnTo>
                  <a:lnTo>
                    <a:pt x="278" y="609"/>
                  </a:lnTo>
                  <a:lnTo>
                    <a:pt x="275" y="605"/>
                  </a:lnTo>
                  <a:lnTo>
                    <a:pt x="270" y="601"/>
                  </a:lnTo>
                  <a:lnTo>
                    <a:pt x="261" y="599"/>
                  </a:lnTo>
                  <a:lnTo>
                    <a:pt x="222" y="595"/>
                  </a:lnTo>
                  <a:lnTo>
                    <a:pt x="179" y="596"/>
                  </a:lnTo>
                  <a:lnTo>
                    <a:pt x="148" y="594"/>
                  </a:lnTo>
                  <a:lnTo>
                    <a:pt x="145" y="595"/>
                  </a:lnTo>
                  <a:lnTo>
                    <a:pt x="140" y="59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7" name="Freeform 20">
              <a:extLst>
                <a:ext uri="{FF2B5EF4-FFF2-40B4-BE49-F238E27FC236}">
                  <a16:creationId xmlns:a16="http://schemas.microsoft.com/office/drawing/2014/main" id="{29329213-75A7-F8DE-11E3-C4E65A25D46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276223" y="3444756"/>
              <a:ext cx="244744" cy="228632"/>
            </a:xfrm>
            <a:custGeom>
              <a:avLst/>
              <a:gdLst>
                <a:gd name="T0" fmla="*/ 2147483647 w 459"/>
                <a:gd name="T1" fmla="*/ 2147483647 h 401"/>
                <a:gd name="T2" fmla="*/ 2147483647 w 459"/>
                <a:gd name="T3" fmla="*/ 2147483647 h 401"/>
                <a:gd name="T4" fmla="*/ 2147483647 w 459"/>
                <a:gd name="T5" fmla="*/ 2147483647 h 401"/>
                <a:gd name="T6" fmla="*/ 0 w 459"/>
                <a:gd name="T7" fmla="*/ 2147483647 h 401"/>
                <a:gd name="T8" fmla="*/ 0 w 459"/>
                <a:gd name="T9" fmla="*/ 2147483647 h 401"/>
                <a:gd name="T10" fmla="*/ 0 w 459"/>
                <a:gd name="T11" fmla="*/ 2147483647 h 401"/>
                <a:gd name="T12" fmla="*/ 0 w 459"/>
                <a:gd name="T13" fmla="*/ 2147483647 h 401"/>
                <a:gd name="T14" fmla="*/ 0 w 459"/>
                <a:gd name="T15" fmla="*/ 2147483647 h 401"/>
                <a:gd name="T16" fmla="*/ 0 w 459"/>
                <a:gd name="T17" fmla="*/ 2147483647 h 401"/>
                <a:gd name="T18" fmla="*/ 0 w 459"/>
                <a:gd name="T19" fmla="*/ 2147483647 h 401"/>
                <a:gd name="T20" fmla="*/ 0 w 459"/>
                <a:gd name="T21" fmla="*/ 2147483647 h 401"/>
                <a:gd name="T22" fmla="*/ 0 w 459"/>
                <a:gd name="T23" fmla="*/ 2147483647 h 401"/>
                <a:gd name="T24" fmla="*/ 0 w 459"/>
                <a:gd name="T25" fmla="*/ 2147483647 h 401"/>
                <a:gd name="T26" fmla="*/ 0 w 459"/>
                <a:gd name="T27" fmla="*/ 2147483647 h 401"/>
                <a:gd name="T28" fmla="*/ 0 w 459"/>
                <a:gd name="T29" fmla="*/ 2147483647 h 401"/>
                <a:gd name="T30" fmla="*/ 2147483647 w 459"/>
                <a:gd name="T31" fmla="*/ 2147483647 h 401"/>
                <a:gd name="T32" fmla="*/ 0 w 459"/>
                <a:gd name="T33" fmla="*/ 2147483647 h 401"/>
                <a:gd name="T34" fmla="*/ 2147483647 w 459"/>
                <a:gd name="T35" fmla="*/ 2147483647 h 401"/>
                <a:gd name="T36" fmla="*/ 2147483647 w 459"/>
                <a:gd name="T37" fmla="*/ 2147483647 h 401"/>
                <a:gd name="T38" fmla="*/ 2147483647 w 459"/>
                <a:gd name="T39" fmla="*/ 2147483647 h 401"/>
                <a:gd name="T40" fmla="*/ 2147483647 w 459"/>
                <a:gd name="T41" fmla="*/ 2147483647 h 401"/>
                <a:gd name="T42" fmla="*/ 2147483647 w 459"/>
                <a:gd name="T43" fmla="*/ 2147483647 h 401"/>
                <a:gd name="T44" fmla="*/ 2147483647 w 459"/>
                <a:gd name="T45" fmla="*/ 2147483647 h 401"/>
                <a:gd name="T46" fmla="*/ 2147483647 w 459"/>
                <a:gd name="T47" fmla="*/ 2147483647 h 401"/>
                <a:gd name="T48" fmla="*/ 2147483647 w 459"/>
                <a:gd name="T49" fmla="*/ 2147483647 h 401"/>
                <a:gd name="T50" fmla="*/ 2147483647 w 459"/>
                <a:gd name="T51" fmla="*/ 2147483647 h 401"/>
                <a:gd name="T52" fmla="*/ 2147483647 w 459"/>
                <a:gd name="T53" fmla="*/ 2147483647 h 401"/>
                <a:gd name="T54" fmla="*/ 2147483647 w 459"/>
                <a:gd name="T55" fmla="*/ 0 h 401"/>
                <a:gd name="T56" fmla="*/ 2147483647 w 459"/>
                <a:gd name="T57" fmla="*/ 0 h 401"/>
                <a:gd name="T58" fmla="*/ 2147483647 w 459"/>
                <a:gd name="T59" fmla="*/ 0 h 401"/>
                <a:gd name="T60" fmla="*/ 2147483647 w 459"/>
                <a:gd name="T61" fmla="*/ 0 h 401"/>
                <a:gd name="T62" fmla="*/ 2147483647 w 459"/>
                <a:gd name="T63" fmla="*/ 0 h 401"/>
                <a:gd name="T64" fmla="*/ 2147483647 w 459"/>
                <a:gd name="T65" fmla="*/ 0 h 401"/>
                <a:gd name="T66" fmla="*/ 2147483647 w 459"/>
                <a:gd name="T67" fmla="*/ 0 h 401"/>
                <a:gd name="T68" fmla="*/ 2147483647 w 459"/>
                <a:gd name="T69" fmla="*/ 0 h 401"/>
                <a:gd name="T70" fmla="*/ 2147483647 w 459"/>
                <a:gd name="T71" fmla="*/ 0 h 401"/>
                <a:gd name="T72" fmla="*/ 2147483647 w 459"/>
                <a:gd name="T73" fmla="*/ 0 h 401"/>
                <a:gd name="T74" fmla="*/ 2147483647 w 459"/>
                <a:gd name="T75" fmla="*/ 0 h 401"/>
                <a:gd name="T76" fmla="*/ 2147483647 w 459"/>
                <a:gd name="T77" fmla="*/ 0 h 401"/>
                <a:gd name="T78" fmla="*/ 2147483647 w 459"/>
                <a:gd name="T79" fmla="*/ 0 h 401"/>
                <a:gd name="T80" fmla="*/ 2147483647 w 459"/>
                <a:gd name="T81" fmla="*/ 0 h 401"/>
                <a:gd name="T82" fmla="*/ 2147483647 w 459"/>
                <a:gd name="T83" fmla="*/ 0 h 401"/>
                <a:gd name="T84" fmla="*/ 2147483647 w 459"/>
                <a:gd name="T85" fmla="*/ 2147483647 h 401"/>
                <a:gd name="T86" fmla="*/ 2147483647 w 459"/>
                <a:gd name="T87" fmla="*/ 2147483647 h 401"/>
                <a:gd name="T88" fmla="*/ 2147483647 w 459"/>
                <a:gd name="T89" fmla="*/ 2147483647 h 401"/>
                <a:gd name="T90" fmla="*/ 2147483647 w 459"/>
                <a:gd name="T91" fmla="*/ 2147483647 h 401"/>
                <a:gd name="T92" fmla="*/ 2147483647 w 459"/>
                <a:gd name="T93" fmla="*/ 2147483647 h 401"/>
                <a:gd name="T94" fmla="*/ 2147483647 w 459"/>
                <a:gd name="T95" fmla="*/ 2147483647 h 401"/>
                <a:gd name="T96" fmla="*/ 2147483647 w 459"/>
                <a:gd name="T97" fmla="*/ 2147483647 h 401"/>
                <a:gd name="T98" fmla="*/ 2147483647 w 459"/>
                <a:gd name="T99" fmla="*/ 2147483647 h 401"/>
                <a:gd name="T100" fmla="*/ 2147483647 w 459"/>
                <a:gd name="T101" fmla="*/ 2147483647 h 401"/>
                <a:gd name="T102" fmla="*/ 2147483647 w 459"/>
                <a:gd name="T103" fmla="*/ 2147483647 h 401"/>
                <a:gd name="T104" fmla="*/ 2147483647 w 459"/>
                <a:gd name="T105" fmla="*/ 2147483647 h 401"/>
                <a:gd name="T106" fmla="*/ 2147483647 w 459"/>
                <a:gd name="T107" fmla="*/ 2147483647 h 401"/>
                <a:gd name="T108" fmla="*/ 2147483647 w 459"/>
                <a:gd name="T109" fmla="*/ 2147483647 h 401"/>
                <a:gd name="T110" fmla="*/ 2147483647 w 459"/>
                <a:gd name="T111" fmla="*/ 2147483647 h 401"/>
                <a:gd name="T112" fmla="*/ 2147483647 w 459"/>
                <a:gd name="T113" fmla="*/ 2147483647 h 401"/>
                <a:gd name="T114" fmla="*/ 2147483647 w 459"/>
                <a:gd name="T115" fmla="*/ 2147483647 h 401"/>
                <a:gd name="T116" fmla="*/ 2147483647 w 459"/>
                <a:gd name="T117" fmla="*/ 2147483647 h 401"/>
                <a:gd name="T118" fmla="*/ 2147483647 w 459"/>
                <a:gd name="T119" fmla="*/ 2147483647 h 401"/>
                <a:gd name="T120" fmla="*/ 2147483647 w 459"/>
                <a:gd name="T121" fmla="*/ 2147483647 h 401"/>
                <a:gd name="T122" fmla="*/ 2147483647 w 459"/>
                <a:gd name="T123" fmla="*/ 2147483647 h 40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459"/>
                <a:gd name="T187" fmla="*/ 0 h 401"/>
                <a:gd name="T188" fmla="*/ 459 w 459"/>
                <a:gd name="T189" fmla="*/ 401 h 401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459" h="401">
                  <a:moveTo>
                    <a:pt x="196" y="379"/>
                  </a:moveTo>
                  <a:lnTo>
                    <a:pt x="148" y="379"/>
                  </a:lnTo>
                  <a:lnTo>
                    <a:pt x="96" y="379"/>
                  </a:lnTo>
                  <a:lnTo>
                    <a:pt x="45" y="379"/>
                  </a:lnTo>
                  <a:lnTo>
                    <a:pt x="16" y="379"/>
                  </a:lnTo>
                  <a:lnTo>
                    <a:pt x="14" y="385"/>
                  </a:lnTo>
                  <a:lnTo>
                    <a:pt x="6" y="392"/>
                  </a:lnTo>
                  <a:lnTo>
                    <a:pt x="2" y="397"/>
                  </a:lnTo>
                  <a:lnTo>
                    <a:pt x="5" y="396"/>
                  </a:lnTo>
                  <a:lnTo>
                    <a:pt x="0" y="401"/>
                  </a:lnTo>
                  <a:lnTo>
                    <a:pt x="0" y="392"/>
                  </a:lnTo>
                  <a:lnTo>
                    <a:pt x="5" y="355"/>
                  </a:lnTo>
                  <a:lnTo>
                    <a:pt x="16" y="329"/>
                  </a:lnTo>
                  <a:lnTo>
                    <a:pt x="28" y="323"/>
                  </a:lnTo>
                  <a:lnTo>
                    <a:pt x="40" y="296"/>
                  </a:lnTo>
                  <a:lnTo>
                    <a:pt x="48" y="284"/>
                  </a:lnTo>
                  <a:lnTo>
                    <a:pt x="45" y="275"/>
                  </a:lnTo>
                  <a:lnTo>
                    <a:pt x="65" y="246"/>
                  </a:lnTo>
                  <a:lnTo>
                    <a:pt x="69" y="240"/>
                  </a:lnTo>
                  <a:lnTo>
                    <a:pt x="71" y="229"/>
                  </a:lnTo>
                  <a:lnTo>
                    <a:pt x="76" y="221"/>
                  </a:lnTo>
                  <a:lnTo>
                    <a:pt x="105" y="188"/>
                  </a:lnTo>
                  <a:lnTo>
                    <a:pt x="120" y="164"/>
                  </a:lnTo>
                  <a:lnTo>
                    <a:pt x="123" y="145"/>
                  </a:lnTo>
                  <a:lnTo>
                    <a:pt x="132" y="122"/>
                  </a:lnTo>
                  <a:lnTo>
                    <a:pt x="139" y="100"/>
                  </a:lnTo>
                  <a:lnTo>
                    <a:pt x="155" y="80"/>
                  </a:lnTo>
                  <a:lnTo>
                    <a:pt x="174" y="70"/>
                  </a:lnTo>
                  <a:lnTo>
                    <a:pt x="190" y="57"/>
                  </a:lnTo>
                  <a:lnTo>
                    <a:pt x="196" y="38"/>
                  </a:lnTo>
                  <a:lnTo>
                    <a:pt x="199" y="33"/>
                  </a:lnTo>
                  <a:lnTo>
                    <a:pt x="204" y="22"/>
                  </a:lnTo>
                  <a:lnTo>
                    <a:pt x="213" y="6"/>
                  </a:lnTo>
                  <a:lnTo>
                    <a:pt x="218" y="0"/>
                  </a:lnTo>
                  <a:lnTo>
                    <a:pt x="227" y="0"/>
                  </a:lnTo>
                  <a:lnTo>
                    <a:pt x="261" y="0"/>
                  </a:lnTo>
                  <a:lnTo>
                    <a:pt x="297" y="0"/>
                  </a:lnTo>
                  <a:lnTo>
                    <a:pt x="338" y="0"/>
                  </a:lnTo>
                  <a:lnTo>
                    <a:pt x="379" y="0"/>
                  </a:lnTo>
                  <a:lnTo>
                    <a:pt x="422" y="0"/>
                  </a:lnTo>
                  <a:lnTo>
                    <a:pt x="459" y="0"/>
                  </a:lnTo>
                  <a:lnTo>
                    <a:pt x="459" y="32"/>
                  </a:lnTo>
                  <a:lnTo>
                    <a:pt x="459" y="102"/>
                  </a:lnTo>
                  <a:lnTo>
                    <a:pt x="405" y="102"/>
                  </a:lnTo>
                  <a:lnTo>
                    <a:pt x="352" y="102"/>
                  </a:lnTo>
                  <a:lnTo>
                    <a:pt x="299" y="102"/>
                  </a:lnTo>
                  <a:lnTo>
                    <a:pt x="281" y="102"/>
                  </a:lnTo>
                  <a:lnTo>
                    <a:pt x="281" y="160"/>
                  </a:lnTo>
                  <a:lnTo>
                    <a:pt x="281" y="219"/>
                  </a:lnTo>
                  <a:lnTo>
                    <a:pt x="281" y="254"/>
                  </a:lnTo>
                  <a:lnTo>
                    <a:pt x="261" y="261"/>
                  </a:lnTo>
                  <a:lnTo>
                    <a:pt x="244" y="263"/>
                  </a:lnTo>
                  <a:lnTo>
                    <a:pt x="228" y="268"/>
                  </a:lnTo>
                  <a:lnTo>
                    <a:pt x="223" y="272"/>
                  </a:lnTo>
                  <a:lnTo>
                    <a:pt x="220" y="277"/>
                  </a:lnTo>
                  <a:lnTo>
                    <a:pt x="215" y="288"/>
                  </a:lnTo>
                  <a:lnTo>
                    <a:pt x="213" y="296"/>
                  </a:lnTo>
                  <a:lnTo>
                    <a:pt x="215" y="322"/>
                  </a:lnTo>
                  <a:lnTo>
                    <a:pt x="218" y="342"/>
                  </a:lnTo>
                  <a:lnTo>
                    <a:pt x="218" y="363"/>
                  </a:lnTo>
                  <a:lnTo>
                    <a:pt x="222" y="379"/>
                  </a:lnTo>
                  <a:lnTo>
                    <a:pt x="196" y="37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8" name="Freeform 27">
              <a:extLst>
                <a:ext uri="{FF2B5EF4-FFF2-40B4-BE49-F238E27FC236}">
                  <a16:creationId xmlns:a16="http://schemas.microsoft.com/office/drawing/2014/main" id="{89273B56-35A2-3B0C-3655-1A02EAE5FED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120888" y="4478176"/>
              <a:ext cx="29847" cy="45726"/>
            </a:xfrm>
            <a:custGeom>
              <a:avLst/>
              <a:gdLst>
                <a:gd name="T0" fmla="*/ 0 w 56"/>
                <a:gd name="T1" fmla="*/ 0 h 78"/>
                <a:gd name="T2" fmla="*/ 0 w 56"/>
                <a:gd name="T3" fmla="*/ 0 h 78"/>
                <a:gd name="T4" fmla="*/ 0 w 56"/>
                <a:gd name="T5" fmla="*/ 0 h 78"/>
                <a:gd name="T6" fmla="*/ 0 w 56"/>
                <a:gd name="T7" fmla="*/ 0 h 78"/>
                <a:gd name="T8" fmla="*/ 0 w 56"/>
                <a:gd name="T9" fmla="*/ 0 h 78"/>
                <a:gd name="T10" fmla="*/ 0 w 56"/>
                <a:gd name="T11" fmla="*/ 0 h 78"/>
                <a:gd name="T12" fmla="*/ 0 w 56"/>
                <a:gd name="T13" fmla="*/ 0 h 78"/>
                <a:gd name="T14" fmla="*/ 0 w 56"/>
                <a:gd name="T15" fmla="*/ 0 h 78"/>
                <a:gd name="T16" fmla="*/ 0 w 56"/>
                <a:gd name="T17" fmla="*/ 0 h 78"/>
                <a:gd name="T18" fmla="*/ 0 w 56"/>
                <a:gd name="T19" fmla="*/ 0 h 78"/>
                <a:gd name="T20" fmla="*/ 0 w 56"/>
                <a:gd name="T21" fmla="*/ 0 h 78"/>
                <a:gd name="T22" fmla="*/ 0 w 56"/>
                <a:gd name="T23" fmla="*/ 0 h 78"/>
                <a:gd name="T24" fmla="*/ 0 w 56"/>
                <a:gd name="T25" fmla="*/ 0 h 78"/>
                <a:gd name="T26" fmla="*/ 0 w 56"/>
                <a:gd name="T27" fmla="*/ 0 h 78"/>
                <a:gd name="T28" fmla="*/ 0 w 56"/>
                <a:gd name="T29" fmla="*/ 0 h 78"/>
                <a:gd name="T30" fmla="*/ 0 w 56"/>
                <a:gd name="T31" fmla="*/ 0 h 78"/>
                <a:gd name="T32" fmla="*/ 0 w 56"/>
                <a:gd name="T33" fmla="*/ 0 h 78"/>
                <a:gd name="T34" fmla="*/ 0 w 56"/>
                <a:gd name="T35" fmla="*/ 0 h 78"/>
                <a:gd name="T36" fmla="*/ 0 w 56"/>
                <a:gd name="T37" fmla="*/ 0 h 7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6"/>
                <a:gd name="T58" fmla="*/ 0 h 78"/>
                <a:gd name="T59" fmla="*/ 56 w 56"/>
                <a:gd name="T60" fmla="*/ 78 h 7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6" h="78">
                  <a:moveTo>
                    <a:pt x="56" y="14"/>
                  </a:moveTo>
                  <a:lnTo>
                    <a:pt x="51" y="3"/>
                  </a:lnTo>
                  <a:lnTo>
                    <a:pt x="41" y="0"/>
                  </a:lnTo>
                  <a:lnTo>
                    <a:pt x="31" y="5"/>
                  </a:lnTo>
                  <a:lnTo>
                    <a:pt x="24" y="19"/>
                  </a:lnTo>
                  <a:lnTo>
                    <a:pt x="14" y="25"/>
                  </a:lnTo>
                  <a:lnTo>
                    <a:pt x="0" y="35"/>
                  </a:lnTo>
                  <a:lnTo>
                    <a:pt x="5" y="40"/>
                  </a:lnTo>
                  <a:lnTo>
                    <a:pt x="8" y="55"/>
                  </a:lnTo>
                  <a:lnTo>
                    <a:pt x="8" y="64"/>
                  </a:lnTo>
                  <a:lnTo>
                    <a:pt x="9" y="71"/>
                  </a:lnTo>
                  <a:lnTo>
                    <a:pt x="18" y="78"/>
                  </a:lnTo>
                  <a:lnTo>
                    <a:pt x="26" y="73"/>
                  </a:lnTo>
                  <a:lnTo>
                    <a:pt x="27" y="61"/>
                  </a:lnTo>
                  <a:lnTo>
                    <a:pt x="30" y="46"/>
                  </a:lnTo>
                  <a:lnTo>
                    <a:pt x="34" y="30"/>
                  </a:lnTo>
                  <a:lnTo>
                    <a:pt x="43" y="22"/>
                  </a:lnTo>
                  <a:lnTo>
                    <a:pt x="52" y="16"/>
                  </a:lnTo>
                  <a:lnTo>
                    <a:pt x="56" y="1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9" name="Freeform 34">
              <a:extLst>
                <a:ext uri="{FF2B5EF4-FFF2-40B4-BE49-F238E27FC236}">
                  <a16:creationId xmlns:a16="http://schemas.microsoft.com/office/drawing/2014/main" id="{2B292449-6606-4BCD-B249-3B7DC7463AF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331440" y="3941651"/>
              <a:ext cx="214897" cy="176809"/>
            </a:xfrm>
            <a:custGeom>
              <a:avLst/>
              <a:gdLst>
                <a:gd name="T0" fmla="*/ 2147483647 w 404"/>
                <a:gd name="T1" fmla="*/ 0 h 307"/>
                <a:gd name="T2" fmla="*/ 2147483647 w 404"/>
                <a:gd name="T3" fmla="*/ 0 h 307"/>
                <a:gd name="T4" fmla="*/ 2147483647 w 404"/>
                <a:gd name="T5" fmla="*/ 0 h 307"/>
                <a:gd name="T6" fmla="*/ 2147483647 w 404"/>
                <a:gd name="T7" fmla="*/ 0 h 307"/>
                <a:gd name="T8" fmla="*/ 2147483647 w 404"/>
                <a:gd name="T9" fmla="*/ 0 h 307"/>
                <a:gd name="T10" fmla="*/ 2147483647 w 404"/>
                <a:gd name="T11" fmla="*/ 0 h 307"/>
                <a:gd name="T12" fmla="*/ 2147483647 w 404"/>
                <a:gd name="T13" fmla="*/ 0 h 307"/>
                <a:gd name="T14" fmla="*/ 0 w 404"/>
                <a:gd name="T15" fmla="*/ 2147483647 h 307"/>
                <a:gd name="T16" fmla="*/ 0 w 404"/>
                <a:gd name="T17" fmla="*/ 2147483647 h 307"/>
                <a:gd name="T18" fmla="*/ 0 w 404"/>
                <a:gd name="T19" fmla="*/ 2147483647 h 307"/>
                <a:gd name="T20" fmla="*/ 0 w 404"/>
                <a:gd name="T21" fmla="*/ 2147483647 h 307"/>
                <a:gd name="T22" fmla="*/ 2147483647 w 404"/>
                <a:gd name="T23" fmla="*/ 2147483647 h 307"/>
                <a:gd name="T24" fmla="*/ 2147483647 w 404"/>
                <a:gd name="T25" fmla="*/ 2147483647 h 307"/>
                <a:gd name="T26" fmla="*/ 2147483647 w 404"/>
                <a:gd name="T27" fmla="*/ 2147483647 h 307"/>
                <a:gd name="T28" fmla="*/ 2147483647 w 404"/>
                <a:gd name="T29" fmla="*/ 2147483647 h 307"/>
                <a:gd name="T30" fmla="*/ 2147483647 w 404"/>
                <a:gd name="T31" fmla="*/ 2147483647 h 307"/>
                <a:gd name="T32" fmla="*/ 2147483647 w 404"/>
                <a:gd name="T33" fmla="*/ 2147483647 h 307"/>
                <a:gd name="T34" fmla="*/ 2147483647 w 404"/>
                <a:gd name="T35" fmla="*/ 2147483647 h 307"/>
                <a:gd name="T36" fmla="*/ 2147483647 w 404"/>
                <a:gd name="T37" fmla="*/ 2147483647 h 307"/>
                <a:gd name="T38" fmla="*/ 2147483647 w 404"/>
                <a:gd name="T39" fmla="*/ 2147483647 h 307"/>
                <a:gd name="T40" fmla="*/ 2147483647 w 404"/>
                <a:gd name="T41" fmla="*/ 2147483647 h 307"/>
                <a:gd name="T42" fmla="*/ 2147483647 w 404"/>
                <a:gd name="T43" fmla="*/ 2147483647 h 307"/>
                <a:gd name="T44" fmla="*/ 2147483647 w 404"/>
                <a:gd name="T45" fmla="*/ 2147483647 h 307"/>
                <a:gd name="T46" fmla="*/ 2147483647 w 404"/>
                <a:gd name="T47" fmla="*/ 2147483647 h 307"/>
                <a:gd name="T48" fmla="*/ 2147483647 w 404"/>
                <a:gd name="T49" fmla="*/ 2147483647 h 307"/>
                <a:gd name="T50" fmla="*/ 2147483647 w 404"/>
                <a:gd name="T51" fmla="*/ 2147483647 h 307"/>
                <a:gd name="T52" fmla="*/ 2147483647 w 404"/>
                <a:gd name="T53" fmla="*/ 2147483647 h 307"/>
                <a:gd name="T54" fmla="*/ 2147483647 w 404"/>
                <a:gd name="T55" fmla="*/ 2147483647 h 307"/>
                <a:gd name="T56" fmla="*/ 2147483647 w 404"/>
                <a:gd name="T57" fmla="*/ 2147483647 h 307"/>
                <a:gd name="T58" fmla="*/ 2147483647 w 404"/>
                <a:gd name="T59" fmla="*/ 2147483647 h 307"/>
                <a:gd name="T60" fmla="*/ 2147483647 w 404"/>
                <a:gd name="T61" fmla="*/ 2147483647 h 307"/>
                <a:gd name="T62" fmla="*/ 2147483647 w 404"/>
                <a:gd name="T63" fmla="*/ 2147483647 h 307"/>
                <a:gd name="T64" fmla="*/ 2147483647 w 404"/>
                <a:gd name="T65" fmla="*/ 2147483647 h 307"/>
                <a:gd name="T66" fmla="*/ 2147483647 w 404"/>
                <a:gd name="T67" fmla="*/ 2147483647 h 307"/>
                <a:gd name="T68" fmla="*/ 2147483647 w 404"/>
                <a:gd name="T69" fmla="*/ 2147483647 h 307"/>
                <a:gd name="T70" fmla="*/ 2147483647 w 404"/>
                <a:gd name="T71" fmla="*/ 2147483647 h 307"/>
                <a:gd name="T72" fmla="*/ 2147483647 w 404"/>
                <a:gd name="T73" fmla="*/ 2147483647 h 307"/>
                <a:gd name="T74" fmla="*/ 2147483647 w 404"/>
                <a:gd name="T75" fmla="*/ 2147483647 h 307"/>
                <a:gd name="T76" fmla="*/ 2147483647 w 404"/>
                <a:gd name="T77" fmla="*/ 2147483647 h 307"/>
                <a:gd name="T78" fmla="*/ 2147483647 w 404"/>
                <a:gd name="T79" fmla="*/ 2147483647 h 307"/>
                <a:gd name="T80" fmla="*/ 2147483647 w 404"/>
                <a:gd name="T81" fmla="*/ 2147483647 h 307"/>
                <a:gd name="T82" fmla="*/ 2147483647 w 404"/>
                <a:gd name="T83" fmla="*/ 2147483647 h 307"/>
                <a:gd name="T84" fmla="*/ 2147483647 w 404"/>
                <a:gd name="T85" fmla="*/ 2147483647 h 307"/>
                <a:gd name="T86" fmla="*/ 2147483647 w 404"/>
                <a:gd name="T87" fmla="*/ 2147483647 h 307"/>
                <a:gd name="T88" fmla="*/ 2147483647 w 404"/>
                <a:gd name="T89" fmla="*/ 0 h 307"/>
                <a:gd name="T90" fmla="*/ 2147483647 w 404"/>
                <a:gd name="T91" fmla="*/ 0 h 307"/>
                <a:gd name="T92" fmla="*/ 2147483647 w 404"/>
                <a:gd name="T93" fmla="*/ 0 h 307"/>
                <a:gd name="T94" fmla="*/ 2147483647 w 404"/>
                <a:gd name="T95" fmla="*/ 0 h 307"/>
                <a:gd name="T96" fmla="*/ 2147483647 w 404"/>
                <a:gd name="T97" fmla="*/ 0 h 307"/>
                <a:gd name="T98" fmla="*/ 2147483647 w 404"/>
                <a:gd name="T99" fmla="*/ 0 h 307"/>
                <a:gd name="T100" fmla="*/ 2147483647 w 404"/>
                <a:gd name="T101" fmla="*/ 0 h 307"/>
                <a:gd name="T102" fmla="*/ 2147483647 w 404"/>
                <a:gd name="T103" fmla="*/ 0 h 307"/>
                <a:gd name="T104" fmla="*/ 2147483647 w 404"/>
                <a:gd name="T105" fmla="*/ 0 h 307"/>
                <a:gd name="T106" fmla="*/ 2147483647 w 404"/>
                <a:gd name="T107" fmla="*/ 0 h 30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404"/>
                <a:gd name="T163" fmla="*/ 0 h 307"/>
                <a:gd name="T164" fmla="*/ 404 w 404"/>
                <a:gd name="T165" fmla="*/ 307 h 30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404" h="307">
                  <a:moveTo>
                    <a:pt x="205" y="15"/>
                  </a:moveTo>
                  <a:lnTo>
                    <a:pt x="195" y="15"/>
                  </a:lnTo>
                  <a:lnTo>
                    <a:pt x="189" y="18"/>
                  </a:lnTo>
                  <a:lnTo>
                    <a:pt x="185" y="18"/>
                  </a:lnTo>
                  <a:lnTo>
                    <a:pt x="174" y="17"/>
                  </a:lnTo>
                  <a:lnTo>
                    <a:pt x="172" y="18"/>
                  </a:lnTo>
                  <a:lnTo>
                    <a:pt x="165" y="18"/>
                  </a:lnTo>
                  <a:lnTo>
                    <a:pt x="157" y="20"/>
                  </a:lnTo>
                  <a:lnTo>
                    <a:pt x="151" y="20"/>
                  </a:lnTo>
                  <a:lnTo>
                    <a:pt x="146" y="18"/>
                  </a:lnTo>
                  <a:lnTo>
                    <a:pt x="142" y="18"/>
                  </a:lnTo>
                  <a:lnTo>
                    <a:pt x="135" y="15"/>
                  </a:lnTo>
                  <a:lnTo>
                    <a:pt x="128" y="15"/>
                  </a:lnTo>
                  <a:lnTo>
                    <a:pt x="122" y="9"/>
                  </a:lnTo>
                  <a:lnTo>
                    <a:pt x="119" y="11"/>
                  </a:lnTo>
                  <a:lnTo>
                    <a:pt x="119" y="14"/>
                  </a:lnTo>
                  <a:lnTo>
                    <a:pt x="112" y="13"/>
                  </a:lnTo>
                  <a:lnTo>
                    <a:pt x="112" y="7"/>
                  </a:lnTo>
                  <a:lnTo>
                    <a:pt x="109" y="4"/>
                  </a:lnTo>
                  <a:lnTo>
                    <a:pt x="101" y="3"/>
                  </a:lnTo>
                  <a:lnTo>
                    <a:pt x="95" y="4"/>
                  </a:lnTo>
                  <a:lnTo>
                    <a:pt x="90" y="1"/>
                  </a:lnTo>
                  <a:lnTo>
                    <a:pt x="76" y="0"/>
                  </a:lnTo>
                  <a:lnTo>
                    <a:pt x="76" y="7"/>
                  </a:lnTo>
                  <a:lnTo>
                    <a:pt x="80" y="14"/>
                  </a:lnTo>
                  <a:lnTo>
                    <a:pt x="80" y="18"/>
                  </a:lnTo>
                  <a:lnTo>
                    <a:pt x="77" y="24"/>
                  </a:lnTo>
                  <a:lnTo>
                    <a:pt x="75" y="25"/>
                  </a:lnTo>
                  <a:lnTo>
                    <a:pt x="69" y="25"/>
                  </a:lnTo>
                  <a:lnTo>
                    <a:pt x="67" y="27"/>
                  </a:lnTo>
                  <a:lnTo>
                    <a:pt x="65" y="30"/>
                  </a:lnTo>
                  <a:lnTo>
                    <a:pt x="71" y="34"/>
                  </a:lnTo>
                  <a:lnTo>
                    <a:pt x="74" y="39"/>
                  </a:lnTo>
                  <a:lnTo>
                    <a:pt x="75" y="57"/>
                  </a:lnTo>
                  <a:lnTo>
                    <a:pt x="69" y="57"/>
                  </a:lnTo>
                  <a:lnTo>
                    <a:pt x="65" y="60"/>
                  </a:lnTo>
                  <a:lnTo>
                    <a:pt x="45" y="60"/>
                  </a:lnTo>
                  <a:lnTo>
                    <a:pt x="28" y="67"/>
                  </a:lnTo>
                  <a:lnTo>
                    <a:pt x="21" y="73"/>
                  </a:lnTo>
                  <a:lnTo>
                    <a:pt x="17" y="81"/>
                  </a:lnTo>
                  <a:lnTo>
                    <a:pt x="13" y="89"/>
                  </a:lnTo>
                  <a:lnTo>
                    <a:pt x="11" y="93"/>
                  </a:lnTo>
                  <a:lnTo>
                    <a:pt x="6" y="97"/>
                  </a:lnTo>
                  <a:lnTo>
                    <a:pt x="0" y="99"/>
                  </a:lnTo>
                  <a:lnTo>
                    <a:pt x="1" y="109"/>
                  </a:lnTo>
                  <a:lnTo>
                    <a:pt x="5" y="110"/>
                  </a:lnTo>
                  <a:lnTo>
                    <a:pt x="7" y="110"/>
                  </a:lnTo>
                  <a:lnTo>
                    <a:pt x="10" y="109"/>
                  </a:lnTo>
                  <a:lnTo>
                    <a:pt x="13" y="101"/>
                  </a:lnTo>
                  <a:lnTo>
                    <a:pt x="17" y="100"/>
                  </a:lnTo>
                  <a:lnTo>
                    <a:pt x="21" y="114"/>
                  </a:lnTo>
                  <a:lnTo>
                    <a:pt x="29" y="115"/>
                  </a:lnTo>
                  <a:lnTo>
                    <a:pt x="31" y="116"/>
                  </a:lnTo>
                  <a:lnTo>
                    <a:pt x="31" y="128"/>
                  </a:lnTo>
                  <a:lnTo>
                    <a:pt x="36" y="141"/>
                  </a:lnTo>
                  <a:lnTo>
                    <a:pt x="39" y="146"/>
                  </a:lnTo>
                  <a:lnTo>
                    <a:pt x="47" y="148"/>
                  </a:lnTo>
                  <a:lnTo>
                    <a:pt x="55" y="154"/>
                  </a:lnTo>
                  <a:lnTo>
                    <a:pt x="66" y="159"/>
                  </a:lnTo>
                  <a:lnTo>
                    <a:pt x="74" y="168"/>
                  </a:lnTo>
                  <a:lnTo>
                    <a:pt x="75" y="179"/>
                  </a:lnTo>
                  <a:lnTo>
                    <a:pt x="83" y="183"/>
                  </a:lnTo>
                  <a:lnTo>
                    <a:pt x="86" y="187"/>
                  </a:lnTo>
                  <a:lnTo>
                    <a:pt x="88" y="190"/>
                  </a:lnTo>
                  <a:lnTo>
                    <a:pt x="88" y="192"/>
                  </a:lnTo>
                  <a:lnTo>
                    <a:pt x="93" y="195"/>
                  </a:lnTo>
                  <a:lnTo>
                    <a:pt x="97" y="200"/>
                  </a:lnTo>
                  <a:lnTo>
                    <a:pt x="98" y="201"/>
                  </a:lnTo>
                  <a:lnTo>
                    <a:pt x="104" y="203"/>
                  </a:lnTo>
                  <a:lnTo>
                    <a:pt x="110" y="203"/>
                  </a:lnTo>
                  <a:lnTo>
                    <a:pt x="113" y="202"/>
                  </a:lnTo>
                  <a:lnTo>
                    <a:pt x="115" y="201"/>
                  </a:lnTo>
                  <a:lnTo>
                    <a:pt x="119" y="191"/>
                  </a:lnTo>
                  <a:lnTo>
                    <a:pt x="124" y="191"/>
                  </a:lnTo>
                  <a:lnTo>
                    <a:pt x="128" y="189"/>
                  </a:lnTo>
                  <a:lnTo>
                    <a:pt x="128" y="184"/>
                  </a:lnTo>
                  <a:lnTo>
                    <a:pt x="133" y="183"/>
                  </a:lnTo>
                  <a:lnTo>
                    <a:pt x="139" y="175"/>
                  </a:lnTo>
                  <a:lnTo>
                    <a:pt x="142" y="168"/>
                  </a:lnTo>
                  <a:lnTo>
                    <a:pt x="141" y="159"/>
                  </a:lnTo>
                  <a:lnTo>
                    <a:pt x="145" y="158"/>
                  </a:lnTo>
                  <a:lnTo>
                    <a:pt x="153" y="157"/>
                  </a:lnTo>
                  <a:lnTo>
                    <a:pt x="157" y="159"/>
                  </a:lnTo>
                  <a:lnTo>
                    <a:pt x="161" y="159"/>
                  </a:lnTo>
                  <a:lnTo>
                    <a:pt x="166" y="157"/>
                  </a:lnTo>
                  <a:lnTo>
                    <a:pt x="172" y="157"/>
                  </a:lnTo>
                  <a:lnTo>
                    <a:pt x="172" y="152"/>
                  </a:lnTo>
                  <a:lnTo>
                    <a:pt x="198" y="152"/>
                  </a:lnTo>
                  <a:lnTo>
                    <a:pt x="211" y="153"/>
                  </a:lnTo>
                  <a:lnTo>
                    <a:pt x="215" y="160"/>
                  </a:lnTo>
                  <a:lnTo>
                    <a:pt x="221" y="164"/>
                  </a:lnTo>
                  <a:lnTo>
                    <a:pt x="225" y="169"/>
                  </a:lnTo>
                  <a:lnTo>
                    <a:pt x="230" y="173"/>
                  </a:lnTo>
                  <a:lnTo>
                    <a:pt x="230" y="175"/>
                  </a:lnTo>
                  <a:lnTo>
                    <a:pt x="232" y="179"/>
                  </a:lnTo>
                  <a:lnTo>
                    <a:pt x="231" y="181"/>
                  </a:lnTo>
                  <a:lnTo>
                    <a:pt x="231" y="184"/>
                  </a:lnTo>
                  <a:lnTo>
                    <a:pt x="238" y="186"/>
                  </a:lnTo>
                  <a:lnTo>
                    <a:pt x="241" y="187"/>
                  </a:lnTo>
                  <a:lnTo>
                    <a:pt x="241" y="190"/>
                  </a:lnTo>
                  <a:lnTo>
                    <a:pt x="239" y="192"/>
                  </a:lnTo>
                  <a:lnTo>
                    <a:pt x="241" y="197"/>
                  </a:lnTo>
                  <a:lnTo>
                    <a:pt x="239" y="197"/>
                  </a:lnTo>
                  <a:lnTo>
                    <a:pt x="241" y="202"/>
                  </a:lnTo>
                  <a:lnTo>
                    <a:pt x="242" y="205"/>
                  </a:lnTo>
                  <a:lnTo>
                    <a:pt x="247" y="208"/>
                  </a:lnTo>
                  <a:lnTo>
                    <a:pt x="248" y="212"/>
                  </a:lnTo>
                  <a:lnTo>
                    <a:pt x="251" y="222"/>
                  </a:lnTo>
                  <a:lnTo>
                    <a:pt x="249" y="223"/>
                  </a:lnTo>
                  <a:lnTo>
                    <a:pt x="244" y="226"/>
                  </a:lnTo>
                  <a:lnTo>
                    <a:pt x="242" y="237"/>
                  </a:lnTo>
                  <a:lnTo>
                    <a:pt x="239" y="242"/>
                  </a:lnTo>
                  <a:lnTo>
                    <a:pt x="239" y="244"/>
                  </a:lnTo>
                  <a:lnTo>
                    <a:pt x="252" y="239"/>
                  </a:lnTo>
                  <a:lnTo>
                    <a:pt x="258" y="234"/>
                  </a:lnTo>
                  <a:lnTo>
                    <a:pt x="259" y="234"/>
                  </a:lnTo>
                  <a:lnTo>
                    <a:pt x="260" y="237"/>
                  </a:lnTo>
                  <a:lnTo>
                    <a:pt x="260" y="240"/>
                  </a:lnTo>
                  <a:lnTo>
                    <a:pt x="264" y="240"/>
                  </a:lnTo>
                  <a:lnTo>
                    <a:pt x="266" y="234"/>
                  </a:lnTo>
                  <a:lnTo>
                    <a:pt x="270" y="232"/>
                  </a:lnTo>
                  <a:lnTo>
                    <a:pt x="274" y="233"/>
                  </a:lnTo>
                  <a:lnTo>
                    <a:pt x="280" y="238"/>
                  </a:lnTo>
                  <a:lnTo>
                    <a:pt x="281" y="238"/>
                  </a:lnTo>
                  <a:lnTo>
                    <a:pt x="284" y="235"/>
                  </a:lnTo>
                  <a:lnTo>
                    <a:pt x="292" y="233"/>
                  </a:lnTo>
                  <a:lnTo>
                    <a:pt x="295" y="234"/>
                  </a:lnTo>
                  <a:lnTo>
                    <a:pt x="295" y="235"/>
                  </a:lnTo>
                  <a:lnTo>
                    <a:pt x="297" y="239"/>
                  </a:lnTo>
                  <a:lnTo>
                    <a:pt x="305" y="244"/>
                  </a:lnTo>
                  <a:lnTo>
                    <a:pt x="305" y="251"/>
                  </a:lnTo>
                  <a:lnTo>
                    <a:pt x="309" y="257"/>
                  </a:lnTo>
                  <a:lnTo>
                    <a:pt x="311" y="271"/>
                  </a:lnTo>
                  <a:lnTo>
                    <a:pt x="313" y="273"/>
                  </a:lnTo>
                  <a:lnTo>
                    <a:pt x="312" y="288"/>
                  </a:lnTo>
                  <a:lnTo>
                    <a:pt x="309" y="292"/>
                  </a:lnTo>
                  <a:lnTo>
                    <a:pt x="306" y="294"/>
                  </a:lnTo>
                  <a:lnTo>
                    <a:pt x="305" y="297"/>
                  </a:lnTo>
                  <a:lnTo>
                    <a:pt x="306" y="298"/>
                  </a:lnTo>
                  <a:lnTo>
                    <a:pt x="311" y="298"/>
                  </a:lnTo>
                  <a:lnTo>
                    <a:pt x="314" y="294"/>
                  </a:lnTo>
                  <a:lnTo>
                    <a:pt x="317" y="296"/>
                  </a:lnTo>
                  <a:lnTo>
                    <a:pt x="322" y="299"/>
                  </a:lnTo>
                  <a:lnTo>
                    <a:pt x="327" y="307"/>
                  </a:lnTo>
                  <a:lnTo>
                    <a:pt x="332" y="305"/>
                  </a:lnTo>
                  <a:lnTo>
                    <a:pt x="334" y="303"/>
                  </a:lnTo>
                  <a:lnTo>
                    <a:pt x="341" y="302"/>
                  </a:lnTo>
                  <a:lnTo>
                    <a:pt x="343" y="298"/>
                  </a:lnTo>
                  <a:lnTo>
                    <a:pt x="348" y="292"/>
                  </a:lnTo>
                  <a:lnTo>
                    <a:pt x="348" y="283"/>
                  </a:lnTo>
                  <a:lnTo>
                    <a:pt x="351" y="281"/>
                  </a:lnTo>
                  <a:lnTo>
                    <a:pt x="357" y="282"/>
                  </a:lnTo>
                  <a:lnTo>
                    <a:pt x="361" y="288"/>
                  </a:lnTo>
                  <a:lnTo>
                    <a:pt x="365" y="286"/>
                  </a:lnTo>
                  <a:lnTo>
                    <a:pt x="378" y="287"/>
                  </a:lnTo>
                  <a:lnTo>
                    <a:pt x="378" y="282"/>
                  </a:lnTo>
                  <a:lnTo>
                    <a:pt x="383" y="276"/>
                  </a:lnTo>
                  <a:lnTo>
                    <a:pt x="383" y="267"/>
                  </a:lnTo>
                  <a:lnTo>
                    <a:pt x="384" y="262"/>
                  </a:lnTo>
                  <a:lnTo>
                    <a:pt x="389" y="260"/>
                  </a:lnTo>
                  <a:lnTo>
                    <a:pt x="388" y="257"/>
                  </a:lnTo>
                  <a:lnTo>
                    <a:pt x="386" y="257"/>
                  </a:lnTo>
                  <a:lnTo>
                    <a:pt x="387" y="255"/>
                  </a:lnTo>
                  <a:lnTo>
                    <a:pt x="386" y="251"/>
                  </a:lnTo>
                  <a:lnTo>
                    <a:pt x="382" y="251"/>
                  </a:lnTo>
                  <a:lnTo>
                    <a:pt x="376" y="251"/>
                  </a:lnTo>
                  <a:lnTo>
                    <a:pt x="373" y="249"/>
                  </a:lnTo>
                  <a:lnTo>
                    <a:pt x="376" y="244"/>
                  </a:lnTo>
                  <a:lnTo>
                    <a:pt x="375" y="239"/>
                  </a:lnTo>
                  <a:lnTo>
                    <a:pt x="373" y="239"/>
                  </a:lnTo>
                  <a:lnTo>
                    <a:pt x="373" y="238"/>
                  </a:lnTo>
                  <a:lnTo>
                    <a:pt x="382" y="234"/>
                  </a:lnTo>
                  <a:lnTo>
                    <a:pt x="391" y="235"/>
                  </a:lnTo>
                  <a:lnTo>
                    <a:pt x="394" y="239"/>
                  </a:lnTo>
                  <a:lnTo>
                    <a:pt x="397" y="239"/>
                  </a:lnTo>
                  <a:lnTo>
                    <a:pt x="400" y="238"/>
                  </a:lnTo>
                  <a:lnTo>
                    <a:pt x="403" y="244"/>
                  </a:lnTo>
                  <a:lnTo>
                    <a:pt x="404" y="244"/>
                  </a:lnTo>
                  <a:lnTo>
                    <a:pt x="403" y="235"/>
                  </a:lnTo>
                  <a:lnTo>
                    <a:pt x="403" y="230"/>
                  </a:lnTo>
                  <a:lnTo>
                    <a:pt x="400" y="227"/>
                  </a:lnTo>
                  <a:lnTo>
                    <a:pt x="400" y="221"/>
                  </a:lnTo>
                  <a:lnTo>
                    <a:pt x="397" y="221"/>
                  </a:lnTo>
                  <a:lnTo>
                    <a:pt x="393" y="219"/>
                  </a:lnTo>
                  <a:lnTo>
                    <a:pt x="391" y="219"/>
                  </a:lnTo>
                  <a:lnTo>
                    <a:pt x="394" y="211"/>
                  </a:lnTo>
                  <a:lnTo>
                    <a:pt x="398" y="207"/>
                  </a:lnTo>
                  <a:lnTo>
                    <a:pt x="400" y="206"/>
                  </a:lnTo>
                  <a:lnTo>
                    <a:pt x="400" y="203"/>
                  </a:lnTo>
                  <a:lnTo>
                    <a:pt x="397" y="199"/>
                  </a:lnTo>
                  <a:lnTo>
                    <a:pt x="393" y="200"/>
                  </a:lnTo>
                  <a:lnTo>
                    <a:pt x="394" y="186"/>
                  </a:lnTo>
                  <a:lnTo>
                    <a:pt x="387" y="186"/>
                  </a:lnTo>
                  <a:lnTo>
                    <a:pt x="380" y="183"/>
                  </a:lnTo>
                  <a:lnTo>
                    <a:pt x="380" y="180"/>
                  </a:lnTo>
                  <a:lnTo>
                    <a:pt x="380" y="163"/>
                  </a:lnTo>
                  <a:lnTo>
                    <a:pt x="378" y="154"/>
                  </a:lnTo>
                  <a:lnTo>
                    <a:pt x="381" y="152"/>
                  </a:lnTo>
                  <a:lnTo>
                    <a:pt x="382" y="149"/>
                  </a:lnTo>
                  <a:lnTo>
                    <a:pt x="388" y="142"/>
                  </a:lnTo>
                  <a:lnTo>
                    <a:pt x="389" y="140"/>
                  </a:lnTo>
                  <a:lnTo>
                    <a:pt x="389" y="137"/>
                  </a:lnTo>
                  <a:lnTo>
                    <a:pt x="387" y="133"/>
                  </a:lnTo>
                  <a:lnTo>
                    <a:pt x="382" y="131"/>
                  </a:lnTo>
                  <a:lnTo>
                    <a:pt x="380" y="126"/>
                  </a:lnTo>
                  <a:lnTo>
                    <a:pt x="375" y="126"/>
                  </a:lnTo>
                  <a:lnTo>
                    <a:pt x="371" y="120"/>
                  </a:lnTo>
                  <a:lnTo>
                    <a:pt x="370" y="97"/>
                  </a:lnTo>
                  <a:lnTo>
                    <a:pt x="370" y="93"/>
                  </a:lnTo>
                  <a:lnTo>
                    <a:pt x="365" y="92"/>
                  </a:lnTo>
                  <a:lnTo>
                    <a:pt x="360" y="92"/>
                  </a:lnTo>
                  <a:lnTo>
                    <a:pt x="354" y="99"/>
                  </a:lnTo>
                  <a:lnTo>
                    <a:pt x="351" y="99"/>
                  </a:lnTo>
                  <a:lnTo>
                    <a:pt x="351" y="92"/>
                  </a:lnTo>
                  <a:lnTo>
                    <a:pt x="352" y="89"/>
                  </a:lnTo>
                  <a:lnTo>
                    <a:pt x="357" y="88"/>
                  </a:lnTo>
                  <a:lnTo>
                    <a:pt x="357" y="83"/>
                  </a:lnTo>
                  <a:lnTo>
                    <a:pt x="361" y="83"/>
                  </a:lnTo>
                  <a:lnTo>
                    <a:pt x="364" y="79"/>
                  </a:lnTo>
                  <a:lnTo>
                    <a:pt x="367" y="79"/>
                  </a:lnTo>
                  <a:lnTo>
                    <a:pt x="367" y="73"/>
                  </a:lnTo>
                  <a:lnTo>
                    <a:pt x="366" y="72"/>
                  </a:lnTo>
                  <a:lnTo>
                    <a:pt x="361" y="72"/>
                  </a:lnTo>
                  <a:lnTo>
                    <a:pt x="357" y="70"/>
                  </a:lnTo>
                  <a:lnTo>
                    <a:pt x="354" y="67"/>
                  </a:lnTo>
                  <a:lnTo>
                    <a:pt x="349" y="57"/>
                  </a:lnTo>
                  <a:lnTo>
                    <a:pt x="344" y="60"/>
                  </a:lnTo>
                  <a:lnTo>
                    <a:pt x="343" y="58"/>
                  </a:lnTo>
                  <a:lnTo>
                    <a:pt x="343" y="41"/>
                  </a:lnTo>
                  <a:lnTo>
                    <a:pt x="341" y="36"/>
                  </a:lnTo>
                  <a:lnTo>
                    <a:pt x="339" y="36"/>
                  </a:lnTo>
                  <a:lnTo>
                    <a:pt x="339" y="30"/>
                  </a:lnTo>
                  <a:lnTo>
                    <a:pt x="338" y="28"/>
                  </a:lnTo>
                  <a:lnTo>
                    <a:pt x="334" y="28"/>
                  </a:lnTo>
                  <a:lnTo>
                    <a:pt x="333" y="28"/>
                  </a:lnTo>
                  <a:lnTo>
                    <a:pt x="334" y="15"/>
                  </a:lnTo>
                  <a:lnTo>
                    <a:pt x="334" y="14"/>
                  </a:lnTo>
                  <a:lnTo>
                    <a:pt x="330" y="12"/>
                  </a:lnTo>
                  <a:lnTo>
                    <a:pt x="328" y="12"/>
                  </a:lnTo>
                  <a:lnTo>
                    <a:pt x="324" y="15"/>
                  </a:lnTo>
                  <a:lnTo>
                    <a:pt x="323" y="15"/>
                  </a:lnTo>
                  <a:lnTo>
                    <a:pt x="316" y="11"/>
                  </a:lnTo>
                  <a:lnTo>
                    <a:pt x="313" y="11"/>
                  </a:lnTo>
                  <a:lnTo>
                    <a:pt x="312" y="12"/>
                  </a:lnTo>
                  <a:lnTo>
                    <a:pt x="312" y="20"/>
                  </a:lnTo>
                  <a:lnTo>
                    <a:pt x="309" y="24"/>
                  </a:lnTo>
                  <a:lnTo>
                    <a:pt x="296" y="28"/>
                  </a:lnTo>
                  <a:lnTo>
                    <a:pt x="296" y="34"/>
                  </a:lnTo>
                  <a:lnTo>
                    <a:pt x="294" y="38"/>
                  </a:lnTo>
                  <a:lnTo>
                    <a:pt x="280" y="34"/>
                  </a:lnTo>
                  <a:lnTo>
                    <a:pt x="270" y="28"/>
                  </a:lnTo>
                  <a:lnTo>
                    <a:pt x="262" y="27"/>
                  </a:lnTo>
                  <a:lnTo>
                    <a:pt x="259" y="27"/>
                  </a:lnTo>
                  <a:lnTo>
                    <a:pt x="255" y="33"/>
                  </a:lnTo>
                  <a:lnTo>
                    <a:pt x="249" y="34"/>
                  </a:lnTo>
                  <a:lnTo>
                    <a:pt x="247" y="40"/>
                  </a:lnTo>
                  <a:lnTo>
                    <a:pt x="243" y="44"/>
                  </a:lnTo>
                  <a:lnTo>
                    <a:pt x="238" y="41"/>
                  </a:lnTo>
                  <a:lnTo>
                    <a:pt x="230" y="30"/>
                  </a:lnTo>
                  <a:lnTo>
                    <a:pt x="227" y="28"/>
                  </a:lnTo>
                  <a:lnTo>
                    <a:pt x="222" y="28"/>
                  </a:lnTo>
                  <a:lnTo>
                    <a:pt x="216" y="34"/>
                  </a:lnTo>
                  <a:lnTo>
                    <a:pt x="212" y="38"/>
                  </a:lnTo>
                  <a:lnTo>
                    <a:pt x="208" y="39"/>
                  </a:lnTo>
                  <a:lnTo>
                    <a:pt x="203" y="35"/>
                  </a:lnTo>
                  <a:lnTo>
                    <a:pt x="198" y="31"/>
                  </a:lnTo>
                  <a:lnTo>
                    <a:pt x="199" y="28"/>
                  </a:lnTo>
                  <a:lnTo>
                    <a:pt x="203" y="23"/>
                  </a:lnTo>
                  <a:lnTo>
                    <a:pt x="203" y="19"/>
                  </a:lnTo>
                  <a:lnTo>
                    <a:pt x="205" y="1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40" name="Freeform 35">
              <a:extLst>
                <a:ext uri="{FF2B5EF4-FFF2-40B4-BE49-F238E27FC236}">
                  <a16:creationId xmlns:a16="http://schemas.microsoft.com/office/drawing/2014/main" id="{CFED2725-5A9F-171C-DA37-83F9F31C38D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194013" y="3993475"/>
              <a:ext cx="383531" cy="260641"/>
            </a:xfrm>
            <a:custGeom>
              <a:avLst/>
              <a:gdLst>
                <a:gd name="T0" fmla="*/ 2147483647 w 718"/>
                <a:gd name="T1" fmla="*/ 0 h 451"/>
                <a:gd name="T2" fmla="*/ 2147483647 w 718"/>
                <a:gd name="T3" fmla="*/ 0 h 451"/>
                <a:gd name="T4" fmla="*/ 2147483647 w 718"/>
                <a:gd name="T5" fmla="*/ 0 h 451"/>
                <a:gd name="T6" fmla="*/ 2147483647 w 718"/>
                <a:gd name="T7" fmla="*/ 0 h 451"/>
                <a:gd name="T8" fmla="*/ 2147483647 w 718"/>
                <a:gd name="T9" fmla="*/ 2147483647 h 451"/>
                <a:gd name="T10" fmla="*/ 2147483647 w 718"/>
                <a:gd name="T11" fmla="*/ 2147483647 h 451"/>
                <a:gd name="T12" fmla="*/ 2147483647 w 718"/>
                <a:gd name="T13" fmla="*/ 2147483647 h 451"/>
                <a:gd name="T14" fmla="*/ 2147483647 w 718"/>
                <a:gd name="T15" fmla="*/ 2147483647 h 451"/>
                <a:gd name="T16" fmla="*/ 2147483647 w 718"/>
                <a:gd name="T17" fmla="*/ 2147483647 h 451"/>
                <a:gd name="T18" fmla="*/ 2147483647 w 718"/>
                <a:gd name="T19" fmla="*/ 2147483647 h 451"/>
                <a:gd name="T20" fmla="*/ 2147483647 w 718"/>
                <a:gd name="T21" fmla="*/ 2147483647 h 451"/>
                <a:gd name="T22" fmla="*/ 2147483647 w 718"/>
                <a:gd name="T23" fmla="*/ 2147483647 h 451"/>
                <a:gd name="T24" fmla="*/ 2147483647 w 718"/>
                <a:gd name="T25" fmla="*/ 2147483647 h 451"/>
                <a:gd name="T26" fmla="*/ 2147483647 w 718"/>
                <a:gd name="T27" fmla="*/ 2147483647 h 451"/>
                <a:gd name="T28" fmla="*/ 2147483647 w 718"/>
                <a:gd name="T29" fmla="*/ 2147483647 h 451"/>
                <a:gd name="T30" fmla="*/ 2147483647 w 718"/>
                <a:gd name="T31" fmla="*/ 2147483647 h 451"/>
                <a:gd name="T32" fmla="*/ 2147483647 w 718"/>
                <a:gd name="T33" fmla="*/ 2147483647 h 451"/>
                <a:gd name="T34" fmla="*/ 2147483647 w 718"/>
                <a:gd name="T35" fmla="*/ 2147483647 h 451"/>
                <a:gd name="T36" fmla="*/ 2147483647 w 718"/>
                <a:gd name="T37" fmla="*/ 2147483647 h 451"/>
                <a:gd name="T38" fmla="*/ 2147483647 w 718"/>
                <a:gd name="T39" fmla="*/ 2147483647 h 451"/>
                <a:gd name="T40" fmla="*/ 2147483647 w 718"/>
                <a:gd name="T41" fmla="*/ 2147483647 h 451"/>
                <a:gd name="T42" fmla="*/ 2147483647 w 718"/>
                <a:gd name="T43" fmla="*/ 2147483647 h 451"/>
                <a:gd name="T44" fmla="*/ 0 w 718"/>
                <a:gd name="T45" fmla="*/ 2147483647 h 451"/>
                <a:gd name="T46" fmla="*/ 0 w 718"/>
                <a:gd name="T47" fmla="*/ 2147483647 h 451"/>
                <a:gd name="T48" fmla="*/ 0 w 718"/>
                <a:gd name="T49" fmla="*/ 2147483647 h 451"/>
                <a:gd name="T50" fmla="*/ 0 w 718"/>
                <a:gd name="T51" fmla="*/ 2147483647 h 451"/>
                <a:gd name="T52" fmla="*/ 2147483647 w 718"/>
                <a:gd name="T53" fmla="*/ 2147483647 h 451"/>
                <a:gd name="T54" fmla="*/ 2147483647 w 718"/>
                <a:gd name="T55" fmla="*/ 2147483647 h 451"/>
                <a:gd name="T56" fmla="*/ 2147483647 w 718"/>
                <a:gd name="T57" fmla="*/ 2147483647 h 451"/>
                <a:gd name="T58" fmla="*/ 2147483647 w 718"/>
                <a:gd name="T59" fmla="*/ 2147483647 h 451"/>
                <a:gd name="T60" fmla="*/ 2147483647 w 718"/>
                <a:gd name="T61" fmla="*/ 2147483647 h 451"/>
                <a:gd name="T62" fmla="*/ 2147483647 w 718"/>
                <a:gd name="T63" fmla="*/ 2147483647 h 451"/>
                <a:gd name="T64" fmla="*/ 2147483647 w 718"/>
                <a:gd name="T65" fmla="*/ 2147483647 h 451"/>
                <a:gd name="T66" fmla="*/ 2147483647 w 718"/>
                <a:gd name="T67" fmla="*/ 2147483647 h 451"/>
                <a:gd name="T68" fmla="*/ 2147483647 w 718"/>
                <a:gd name="T69" fmla="*/ 2147483647 h 451"/>
                <a:gd name="T70" fmla="*/ 2147483647 w 718"/>
                <a:gd name="T71" fmla="*/ 2147483647 h 451"/>
                <a:gd name="T72" fmla="*/ 2147483647 w 718"/>
                <a:gd name="T73" fmla="*/ 2147483647 h 451"/>
                <a:gd name="T74" fmla="*/ 2147483647 w 718"/>
                <a:gd name="T75" fmla="*/ 2147483647 h 451"/>
                <a:gd name="T76" fmla="*/ 2147483647 w 718"/>
                <a:gd name="T77" fmla="*/ 2147483647 h 451"/>
                <a:gd name="T78" fmla="*/ 2147483647 w 718"/>
                <a:gd name="T79" fmla="*/ 2147483647 h 451"/>
                <a:gd name="T80" fmla="*/ 2147483647 w 718"/>
                <a:gd name="T81" fmla="*/ 2147483647 h 451"/>
                <a:gd name="T82" fmla="*/ 2147483647 w 718"/>
                <a:gd name="T83" fmla="*/ 2147483647 h 451"/>
                <a:gd name="T84" fmla="*/ 2147483647 w 718"/>
                <a:gd name="T85" fmla="*/ 2147483647 h 451"/>
                <a:gd name="T86" fmla="*/ 2147483647 w 718"/>
                <a:gd name="T87" fmla="*/ 2147483647 h 451"/>
                <a:gd name="T88" fmla="*/ 2147483647 w 718"/>
                <a:gd name="T89" fmla="*/ 2147483647 h 451"/>
                <a:gd name="T90" fmla="*/ 2147483647 w 718"/>
                <a:gd name="T91" fmla="*/ 2147483647 h 451"/>
                <a:gd name="T92" fmla="*/ 2147483647 w 718"/>
                <a:gd name="T93" fmla="*/ 2147483647 h 451"/>
                <a:gd name="T94" fmla="*/ 2147483647 w 718"/>
                <a:gd name="T95" fmla="*/ 2147483647 h 451"/>
                <a:gd name="T96" fmla="*/ 2147483647 w 718"/>
                <a:gd name="T97" fmla="*/ 2147483647 h 451"/>
                <a:gd name="T98" fmla="*/ 2147483647 w 718"/>
                <a:gd name="T99" fmla="*/ 2147483647 h 451"/>
                <a:gd name="T100" fmla="*/ 2147483647 w 718"/>
                <a:gd name="T101" fmla="*/ 2147483647 h 451"/>
                <a:gd name="T102" fmla="*/ 2147483647 w 718"/>
                <a:gd name="T103" fmla="*/ 2147483647 h 451"/>
                <a:gd name="T104" fmla="*/ 2147483647 w 718"/>
                <a:gd name="T105" fmla="*/ 2147483647 h 451"/>
                <a:gd name="T106" fmla="*/ 2147483647 w 718"/>
                <a:gd name="T107" fmla="*/ 0 h 451"/>
                <a:gd name="T108" fmla="*/ 2147483647 w 718"/>
                <a:gd name="T109" fmla="*/ 0 h 45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18"/>
                <a:gd name="T166" fmla="*/ 0 h 451"/>
                <a:gd name="T167" fmla="*/ 718 w 718"/>
                <a:gd name="T168" fmla="*/ 451 h 45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18" h="451">
                  <a:moveTo>
                    <a:pt x="453" y="0"/>
                  </a:moveTo>
                  <a:lnTo>
                    <a:pt x="442" y="3"/>
                  </a:lnTo>
                  <a:lnTo>
                    <a:pt x="433" y="6"/>
                  </a:lnTo>
                  <a:lnTo>
                    <a:pt x="417" y="7"/>
                  </a:lnTo>
                  <a:lnTo>
                    <a:pt x="411" y="10"/>
                  </a:lnTo>
                  <a:lnTo>
                    <a:pt x="405" y="15"/>
                  </a:lnTo>
                  <a:lnTo>
                    <a:pt x="400" y="26"/>
                  </a:lnTo>
                  <a:lnTo>
                    <a:pt x="400" y="42"/>
                  </a:lnTo>
                  <a:lnTo>
                    <a:pt x="393" y="44"/>
                  </a:lnTo>
                  <a:lnTo>
                    <a:pt x="387" y="54"/>
                  </a:lnTo>
                  <a:lnTo>
                    <a:pt x="383" y="57"/>
                  </a:lnTo>
                  <a:lnTo>
                    <a:pt x="378" y="58"/>
                  </a:lnTo>
                  <a:lnTo>
                    <a:pt x="362" y="74"/>
                  </a:lnTo>
                  <a:lnTo>
                    <a:pt x="358" y="84"/>
                  </a:lnTo>
                  <a:lnTo>
                    <a:pt x="355" y="87"/>
                  </a:lnTo>
                  <a:lnTo>
                    <a:pt x="342" y="93"/>
                  </a:lnTo>
                  <a:lnTo>
                    <a:pt x="336" y="95"/>
                  </a:lnTo>
                  <a:lnTo>
                    <a:pt x="331" y="102"/>
                  </a:lnTo>
                  <a:lnTo>
                    <a:pt x="329" y="105"/>
                  </a:lnTo>
                  <a:lnTo>
                    <a:pt x="322" y="108"/>
                  </a:lnTo>
                  <a:lnTo>
                    <a:pt x="317" y="106"/>
                  </a:lnTo>
                  <a:lnTo>
                    <a:pt x="309" y="106"/>
                  </a:lnTo>
                  <a:lnTo>
                    <a:pt x="302" y="108"/>
                  </a:lnTo>
                  <a:lnTo>
                    <a:pt x="292" y="109"/>
                  </a:lnTo>
                  <a:lnTo>
                    <a:pt x="290" y="112"/>
                  </a:lnTo>
                  <a:lnTo>
                    <a:pt x="270" y="112"/>
                  </a:lnTo>
                  <a:lnTo>
                    <a:pt x="259" y="113"/>
                  </a:lnTo>
                  <a:lnTo>
                    <a:pt x="249" y="117"/>
                  </a:lnTo>
                  <a:lnTo>
                    <a:pt x="247" y="118"/>
                  </a:lnTo>
                  <a:lnTo>
                    <a:pt x="245" y="122"/>
                  </a:lnTo>
                  <a:lnTo>
                    <a:pt x="245" y="124"/>
                  </a:lnTo>
                  <a:lnTo>
                    <a:pt x="252" y="129"/>
                  </a:lnTo>
                  <a:lnTo>
                    <a:pt x="254" y="136"/>
                  </a:lnTo>
                  <a:lnTo>
                    <a:pt x="252" y="140"/>
                  </a:lnTo>
                  <a:lnTo>
                    <a:pt x="247" y="144"/>
                  </a:lnTo>
                  <a:lnTo>
                    <a:pt x="244" y="152"/>
                  </a:lnTo>
                  <a:lnTo>
                    <a:pt x="239" y="155"/>
                  </a:lnTo>
                  <a:lnTo>
                    <a:pt x="234" y="156"/>
                  </a:lnTo>
                  <a:lnTo>
                    <a:pt x="232" y="159"/>
                  </a:lnTo>
                  <a:lnTo>
                    <a:pt x="231" y="165"/>
                  </a:lnTo>
                  <a:lnTo>
                    <a:pt x="229" y="166"/>
                  </a:lnTo>
                  <a:lnTo>
                    <a:pt x="205" y="166"/>
                  </a:lnTo>
                  <a:lnTo>
                    <a:pt x="198" y="170"/>
                  </a:lnTo>
                  <a:lnTo>
                    <a:pt x="189" y="170"/>
                  </a:lnTo>
                  <a:lnTo>
                    <a:pt x="183" y="170"/>
                  </a:lnTo>
                  <a:lnTo>
                    <a:pt x="161" y="177"/>
                  </a:lnTo>
                  <a:lnTo>
                    <a:pt x="157" y="181"/>
                  </a:lnTo>
                  <a:lnTo>
                    <a:pt x="153" y="183"/>
                  </a:lnTo>
                  <a:lnTo>
                    <a:pt x="147" y="187"/>
                  </a:lnTo>
                  <a:lnTo>
                    <a:pt x="139" y="188"/>
                  </a:lnTo>
                  <a:lnTo>
                    <a:pt x="136" y="192"/>
                  </a:lnTo>
                  <a:lnTo>
                    <a:pt x="132" y="193"/>
                  </a:lnTo>
                  <a:lnTo>
                    <a:pt x="125" y="187"/>
                  </a:lnTo>
                  <a:lnTo>
                    <a:pt x="123" y="184"/>
                  </a:lnTo>
                  <a:lnTo>
                    <a:pt x="119" y="178"/>
                  </a:lnTo>
                  <a:lnTo>
                    <a:pt x="116" y="177"/>
                  </a:lnTo>
                  <a:lnTo>
                    <a:pt x="113" y="177"/>
                  </a:lnTo>
                  <a:lnTo>
                    <a:pt x="112" y="179"/>
                  </a:lnTo>
                  <a:lnTo>
                    <a:pt x="108" y="179"/>
                  </a:lnTo>
                  <a:lnTo>
                    <a:pt x="105" y="187"/>
                  </a:lnTo>
                  <a:lnTo>
                    <a:pt x="92" y="189"/>
                  </a:lnTo>
                  <a:lnTo>
                    <a:pt x="82" y="197"/>
                  </a:lnTo>
                  <a:lnTo>
                    <a:pt x="77" y="198"/>
                  </a:lnTo>
                  <a:lnTo>
                    <a:pt x="71" y="195"/>
                  </a:lnTo>
                  <a:lnTo>
                    <a:pt x="66" y="195"/>
                  </a:lnTo>
                  <a:lnTo>
                    <a:pt x="60" y="197"/>
                  </a:lnTo>
                  <a:lnTo>
                    <a:pt x="51" y="198"/>
                  </a:lnTo>
                  <a:lnTo>
                    <a:pt x="48" y="200"/>
                  </a:lnTo>
                  <a:lnTo>
                    <a:pt x="38" y="226"/>
                  </a:lnTo>
                  <a:lnTo>
                    <a:pt x="28" y="241"/>
                  </a:lnTo>
                  <a:lnTo>
                    <a:pt x="21" y="257"/>
                  </a:lnTo>
                  <a:lnTo>
                    <a:pt x="11" y="272"/>
                  </a:lnTo>
                  <a:lnTo>
                    <a:pt x="0" y="283"/>
                  </a:lnTo>
                  <a:lnTo>
                    <a:pt x="0" y="296"/>
                  </a:lnTo>
                  <a:lnTo>
                    <a:pt x="3" y="310"/>
                  </a:lnTo>
                  <a:lnTo>
                    <a:pt x="2" y="327"/>
                  </a:lnTo>
                  <a:lnTo>
                    <a:pt x="3" y="343"/>
                  </a:lnTo>
                  <a:lnTo>
                    <a:pt x="13" y="361"/>
                  </a:lnTo>
                  <a:lnTo>
                    <a:pt x="22" y="372"/>
                  </a:lnTo>
                  <a:lnTo>
                    <a:pt x="46" y="419"/>
                  </a:lnTo>
                  <a:lnTo>
                    <a:pt x="58" y="431"/>
                  </a:lnTo>
                  <a:lnTo>
                    <a:pt x="81" y="451"/>
                  </a:lnTo>
                  <a:lnTo>
                    <a:pt x="88" y="451"/>
                  </a:lnTo>
                  <a:lnTo>
                    <a:pt x="97" y="437"/>
                  </a:lnTo>
                  <a:lnTo>
                    <a:pt x="114" y="421"/>
                  </a:lnTo>
                  <a:lnTo>
                    <a:pt x="137" y="407"/>
                  </a:lnTo>
                  <a:lnTo>
                    <a:pt x="157" y="404"/>
                  </a:lnTo>
                  <a:lnTo>
                    <a:pt x="174" y="414"/>
                  </a:lnTo>
                  <a:lnTo>
                    <a:pt x="191" y="420"/>
                  </a:lnTo>
                  <a:lnTo>
                    <a:pt x="207" y="416"/>
                  </a:lnTo>
                  <a:lnTo>
                    <a:pt x="222" y="409"/>
                  </a:lnTo>
                  <a:lnTo>
                    <a:pt x="228" y="404"/>
                  </a:lnTo>
                  <a:lnTo>
                    <a:pt x="241" y="402"/>
                  </a:lnTo>
                  <a:lnTo>
                    <a:pt x="238" y="393"/>
                  </a:lnTo>
                  <a:lnTo>
                    <a:pt x="239" y="374"/>
                  </a:lnTo>
                  <a:lnTo>
                    <a:pt x="242" y="360"/>
                  </a:lnTo>
                  <a:lnTo>
                    <a:pt x="250" y="355"/>
                  </a:lnTo>
                  <a:lnTo>
                    <a:pt x="257" y="340"/>
                  </a:lnTo>
                  <a:lnTo>
                    <a:pt x="263" y="334"/>
                  </a:lnTo>
                  <a:lnTo>
                    <a:pt x="276" y="323"/>
                  </a:lnTo>
                  <a:lnTo>
                    <a:pt x="290" y="323"/>
                  </a:lnTo>
                  <a:lnTo>
                    <a:pt x="306" y="324"/>
                  </a:lnTo>
                  <a:lnTo>
                    <a:pt x="313" y="334"/>
                  </a:lnTo>
                  <a:lnTo>
                    <a:pt x="315" y="343"/>
                  </a:lnTo>
                  <a:lnTo>
                    <a:pt x="336" y="361"/>
                  </a:lnTo>
                  <a:lnTo>
                    <a:pt x="344" y="364"/>
                  </a:lnTo>
                  <a:lnTo>
                    <a:pt x="351" y="355"/>
                  </a:lnTo>
                  <a:lnTo>
                    <a:pt x="365" y="365"/>
                  </a:lnTo>
                  <a:lnTo>
                    <a:pt x="388" y="371"/>
                  </a:lnTo>
                  <a:lnTo>
                    <a:pt x="438" y="371"/>
                  </a:lnTo>
                  <a:lnTo>
                    <a:pt x="446" y="367"/>
                  </a:lnTo>
                  <a:lnTo>
                    <a:pt x="448" y="350"/>
                  </a:lnTo>
                  <a:lnTo>
                    <a:pt x="462" y="342"/>
                  </a:lnTo>
                  <a:lnTo>
                    <a:pt x="480" y="345"/>
                  </a:lnTo>
                  <a:lnTo>
                    <a:pt x="489" y="350"/>
                  </a:lnTo>
                  <a:lnTo>
                    <a:pt x="507" y="345"/>
                  </a:lnTo>
                  <a:lnTo>
                    <a:pt x="518" y="339"/>
                  </a:lnTo>
                  <a:lnTo>
                    <a:pt x="544" y="334"/>
                  </a:lnTo>
                  <a:lnTo>
                    <a:pt x="555" y="328"/>
                  </a:lnTo>
                  <a:lnTo>
                    <a:pt x="561" y="328"/>
                  </a:lnTo>
                  <a:lnTo>
                    <a:pt x="562" y="334"/>
                  </a:lnTo>
                  <a:lnTo>
                    <a:pt x="561" y="334"/>
                  </a:lnTo>
                  <a:lnTo>
                    <a:pt x="569" y="337"/>
                  </a:lnTo>
                  <a:lnTo>
                    <a:pt x="576" y="334"/>
                  </a:lnTo>
                  <a:lnTo>
                    <a:pt x="588" y="334"/>
                  </a:lnTo>
                  <a:lnTo>
                    <a:pt x="592" y="322"/>
                  </a:lnTo>
                  <a:lnTo>
                    <a:pt x="612" y="327"/>
                  </a:lnTo>
                  <a:lnTo>
                    <a:pt x="635" y="323"/>
                  </a:lnTo>
                  <a:lnTo>
                    <a:pt x="650" y="318"/>
                  </a:lnTo>
                  <a:lnTo>
                    <a:pt x="663" y="334"/>
                  </a:lnTo>
                  <a:lnTo>
                    <a:pt x="670" y="327"/>
                  </a:lnTo>
                  <a:lnTo>
                    <a:pt x="682" y="334"/>
                  </a:lnTo>
                  <a:lnTo>
                    <a:pt x="690" y="323"/>
                  </a:lnTo>
                  <a:lnTo>
                    <a:pt x="718" y="323"/>
                  </a:lnTo>
                  <a:lnTo>
                    <a:pt x="712" y="316"/>
                  </a:lnTo>
                  <a:lnTo>
                    <a:pt x="711" y="305"/>
                  </a:lnTo>
                  <a:lnTo>
                    <a:pt x="705" y="296"/>
                  </a:lnTo>
                  <a:lnTo>
                    <a:pt x="675" y="276"/>
                  </a:lnTo>
                  <a:lnTo>
                    <a:pt x="666" y="273"/>
                  </a:lnTo>
                  <a:lnTo>
                    <a:pt x="664" y="262"/>
                  </a:lnTo>
                  <a:lnTo>
                    <a:pt x="657" y="253"/>
                  </a:lnTo>
                  <a:lnTo>
                    <a:pt x="653" y="242"/>
                  </a:lnTo>
                  <a:lnTo>
                    <a:pt x="648" y="232"/>
                  </a:lnTo>
                  <a:lnTo>
                    <a:pt x="637" y="226"/>
                  </a:lnTo>
                  <a:lnTo>
                    <a:pt x="630" y="216"/>
                  </a:lnTo>
                  <a:lnTo>
                    <a:pt x="612" y="204"/>
                  </a:lnTo>
                  <a:lnTo>
                    <a:pt x="593" y="192"/>
                  </a:lnTo>
                  <a:lnTo>
                    <a:pt x="587" y="181"/>
                  </a:lnTo>
                  <a:lnTo>
                    <a:pt x="588" y="171"/>
                  </a:lnTo>
                  <a:lnTo>
                    <a:pt x="587" y="166"/>
                  </a:lnTo>
                  <a:lnTo>
                    <a:pt x="577" y="159"/>
                  </a:lnTo>
                  <a:lnTo>
                    <a:pt x="569" y="152"/>
                  </a:lnTo>
                  <a:lnTo>
                    <a:pt x="546" y="152"/>
                  </a:lnTo>
                  <a:lnTo>
                    <a:pt x="535" y="148"/>
                  </a:lnTo>
                  <a:lnTo>
                    <a:pt x="530" y="133"/>
                  </a:lnTo>
                  <a:lnTo>
                    <a:pt x="517" y="129"/>
                  </a:lnTo>
                  <a:lnTo>
                    <a:pt x="506" y="128"/>
                  </a:lnTo>
                  <a:lnTo>
                    <a:pt x="496" y="118"/>
                  </a:lnTo>
                  <a:lnTo>
                    <a:pt x="494" y="105"/>
                  </a:lnTo>
                  <a:lnTo>
                    <a:pt x="496" y="89"/>
                  </a:lnTo>
                  <a:lnTo>
                    <a:pt x="501" y="71"/>
                  </a:lnTo>
                  <a:lnTo>
                    <a:pt x="496" y="55"/>
                  </a:lnTo>
                  <a:lnTo>
                    <a:pt x="480" y="34"/>
                  </a:lnTo>
                  <a:lnTo>
                    <a:pt x="463" y="15"/>
                  </a:lnTo>
                  <a:lnTo>
                    <a:pt x="453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41" name="Freeform 36">
              <a:extLst>
                <a:ext uri="{FF2B5EF4-FFF2-40B4-BE49-F238E27FC236}">
                  <a16:creationId xmlns:a16="http://schemas.microsoft.com/office/drawing/2014/main" id="{D09D3937-A778-8802-57FF-2BFAE4CB2D1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028363" y="4266309"/>
              <a:ext cx="162666" cy="198148"/>
            </a:xfrm>
            <a:custGeom>
              <a:avLst/>
              <a:gdLst>
                <a:gd name="T0" fmla="*/ 2147483647 w 304"/>
                <a:gd name="T1" fmla="*/ 2147483647 h 343"/>
                <a:gd name="T2" fmla="*/ 2147483647 w 304"/>
                <a:gd name="T3" fmla="*/ 2147483647 h 343"/>
                <a:gd name="T4" fmla="*/ 2147483647 w 304"/>
                <a:gd name="T5" fmla="*/ 2147483647 h 343"/>
                <a:gd name="T6" fmla="*/ 0 w 304"/>
                <a:gd name="T7" fmla="*/ 2147483647 h 343"/>
                <a:gd name="T8" fmla="*/ 0 w 304"/>
                <a:gd name="T9" fmla="*/ 2147483647 h 343"/>
                <a:gd name="T10" fmla="*/ 0 w 304"/>
                <a:gd name="T11" fmla="*/ 2147483647 h 343"/>
                <a:gd name="T12" fmla="*/ 0 w 304"/>
                <a:gd name="T13" fmla="*/ 2147483647 h 343"/>
                <a:gd name="T14" fmla="*/ 0 w 304"/>
                <a:gd name="T15" fmla="*/ 2147483647 h 343"/>
                <a:gd name="T16" fmla="*/ 0 w 304"/>
                <a:gd name="T17" fmla="*/ 2147483647 h 343"/>
                <a:gd name="T18" fmla="*/ 0 w 304"/>
                <a:gd name="T19" fmla="*/ 2147483647 h 343"/>
                <a:gd name="T20" fmla="*/ 0 w 304"/>
                <a:gd name="T21" fmla="*/ 2147483647 h 343"/>
                <a:gd name="T22" fmla="*/ 2147483647 w 304"/>
                <a:gd name="T23" fmla="*/ 2147483647 h 343"/>
                <a:gd name="T24" fmla="*/ 0 w 304"/>
                <a:gd name="T25" fmla="*/ 2147483647 h 343"/>
                <a:gd name="T26" fmla="*/ 0 w 304"/>
                <a:gd name="T27" fmla="*/ 2147483647 h 343"/>
                <a:gd name="T28" fmla="*/ 0 w 304"/>
                <a:gd name="T29" fmla="*/ 2147483647 h 343"/>
                <a:gd name="T30" fmla="*/ 0 w 304"/>
                <a:gd name="T31" fmla="*/ 2147483647 h 343"/>
                <a:gd name="T32" fmla="*/ 2147483647 w 304"/>
                <a:gd name="T33" fmla="*/ 0 h 343"/>
                <a:gd name="T34" fmla="*/ 2147483647 w 304"/>
                <a:gd name="T35" fmla="*/ 0 h 343"/>
                <a:gd name="T36" fmla="*/ 2147483647 w 304"/>
                <a:gd name="T37" fmla="*/ 0 h 343"/>
                <a:gd name="T38" fmla="*/ 2147483647 w 304"/>
                <a:gd name="T39" fmla="*/ 0 h 343"/>
                <a:gd name="T40" fmla="*/ 2147483647 w 304"/>
                <a:gd name="T41" fmla="*/ 0 h 343"/>
                <a:gd name="T42" fmla="*/ 2147483647 w 304"/>
                <a:gd name="T43" fmla="*/ 0 h 343"/>
                <a:gd name="T44" fmla="*/ 2147483647 w 304"/>
                <a:gd name="T45" fmla="*/ 0 h 343"/>
                <a:gd name="T46" fmla="*/ 2147483647 w 304"/>
                <a:gd name="T47" fmla="*/ 0 h 343"/>
                <a:gd name="T48" fmla="*/ 2147483647 w 304"/>
                <a:gd name="T49" fmla="*/ 0 h 343"/>
                <a:gd name="T50" fmla="*/ 2147483647 w 304"/>
                <a:gd name="T51" fmla="*/ 0 h 343"/>
                <a:gd name="T52" fmla="*/ 2147483647 w 304"/>
                <a:gd name="T53" fmla="*/ 2147483647 h 343"/>
                <a:gd name="T54" fmla="*/ 2147483647 w 304"/>
                <a:gd name="T55" fmla="*/ 2147483647 h 343"/>
                <a:gd name="T56" fmla="*/ 2147483647 w 304"/>
                <a:gd name="T57" fmla="*/ 2147483647 h 343"/>
                <a:gd name="T58" fmla="*/ 2147483647 w 304"/>
                <a:gd name="T59" fmla="*/ 2147483647 h 343"/>
                <a:gd name="T60" fmla="*/ 2147483647 w 304"/>
                <a:gd name="T61" fmla="*/ 2147483647 h 343"/>
                <a:gd name="T62" fmla="*/ 2147483647 w 304"/>
                <a:gd name="T63" fmla="*/ 2147483647 h 343"/>
                <a:gd name="T64" fmla="*/ 2147483647 w 304"/>
                <a:gd name="T65" fmla="*/ 2147483647 h 343"/>
                <a:gd name="T66" fmla="*/ 2147483647 w 304"/>
                <a:gd name="T67" fmla="*/ 2147483647 h 343"/>
                <a:gd name="T68" fmla="*/ 2147483647 w 304"/>
                <a:gd name="T69" fmla="*/ 2147483647 h 343"/>
                <a:gd name="T70" fmla="*/ 2147483647 w 304"/>
                <a:gd name="T71" fmla="*/ 2147483647 h 343"/>
                <a:gd name="T72" fmla="*/ 2147483647 w 304"/>
                <a:gd name="T73" fmla="*/ 2147483647 h 343"/>
                <a:gd name="T74" fmla="*/ 2147483647 w 304"/>
                <a:gd name="T75" fmla="*/ 2147483647 h 343"/>
                <a:gd name="T76" fmla="*/ 2147483647 w 304"/>
                <a:gd name="T77" fmla="*/ 2147483647 h 34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04"/>
                <a:gd name="T118" fmla="*/ 0 h 343"/>
                <a:gd name="T119" fmla="*/ 304 w 304"/>
                <a:gd name="T120" fmla="*/ 343 h 34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04" h="343">
                  <a:moveTo>
                    <a:pt x="127" y="343"/>
                  </a:moveTo>
                  <a:lnTo>
                    <a:pt x="120" y="330"/>
                  </a:lnTo>
                  <a:lnTo>
                    <a:pt x="110" y="320"/>
                  </a:lnTo>
                  <a:lnTo>
                    <a:pt x="97" y="305"/>
                  </a:lnTo>
                  <a:lnTo>
                    <a:pt x="61" y="274"/>
                  </a:lnTo>
                  <a:lnTo>
                    <a:pt x="54" y="262"/>
                  </a:lnTo>
                  <a:lnTo>
                    <a:pt x="45" y="251"/>
                  </a:lnTo>
                  <a:lnTo>
                    <a:pt x="34" y="237"/>
                  </a:lnTo>
                  <a:lnTo>
                    <a:pt x="27" y="231"/>
                  </a:lnTo>
                  <a:lnTo>
                    <a:pt x="17" y="208"/>
                  </a:lnTo>
                  <a:lnTo>
                    <a:pt x="13" y="194"/>
                  </a:lnTo>
                  <a:lnTo>
                    <a:pt x="4" y="177"/>
                  </a:lnTo>
                  <a:lnTo>
                    <a:pt x="0" y="169"/>
                  </a:lnTo>
                  <a:lnTo>
                    <a:pt x="4" y="167"/>
                  </a:lnTo>
                  <a:lnTo>
                    <a:pt x="12" y="165"/>
                  </a:lnTo>
                  <a:lnTo>
                    <a:pt x="17" y="156"/>
                  </a:lnTo>
                  <a:lnTo>
                    <a:pt x="24" y="150"/>
                  </a:lnTo>
                  <a:lnTo>
                    <a:pt x="27" y="138"/>
                  </a:lnTo>
                  <a:lnTo>
                    <a:pt x="28" y="113"/>
                  </a:lnTo>
                  <a:lnTo>
                    <a:pt x="31" y="113"/>
                  </a:lnTo>
                  <a:lnTo>
                    <a:pt x="36" y="118"/>
                  </a:lnTo>
                  <a:lnTo>
                    <a:pt x="45" y="122"/>
                  </a:lnTo>
                  <a:lnTo>
                    <a:pt x="57" y="122"/>
                  </a:lnTo>
                  <a:lnTo>
                    <a:pt x="60" y="120"/>
                  </a:lnTo>
                  <a:lnTo>
                    <a:pt x="56" y="117"/>
                  </a:lnTo>
                  <a:lnTo>
                    <a:pt x="47" y="115"/>
                  </a:lnTo>
                  <a:lnTo>
                    <a:pt x="40" y="110"/>
                  </a:lnTo>
                  <a:lnTo>
                    <a:pt x="34" y="105"/>
                  </a:lnTo>
                  <a:lnTo>
                    <a:pt x="30" y="99"/>
                  </a:lnTo>
                  <a:lnTo>
                    <a:pt x="33" y="94"/>
                  </a:lnTo>
                  <a:lnTo>
                    <a:pt x="40" y="94"/>
                  </a:lnTo>
                  <a:lnTo>
                    <a:pt x="43" y="89"/>
                  </a:lnTo>
                  <a:lnTo>
                    <a:pt x="43" y="73"/>
                  </a:lnTo>
                  <a:lnTo>
                    <a:pt x="66" y="68"/>
                  </a:lnTo>
                  <a:lnTo>
                    <a:pt x="137" y="65"/>
                  </a:lnTo>
                  <a:lnTo>
                    <a:pt x="135" y="63"/>
                  </a:lnTo>
                  <a:lnTo>
                    <a:pt x="132" y="43"/>
                  </a:lnTo>
                  <a:lnTo>
                    <a:pt x="131" y="20"/>
                  </a:lnTo>
                  <a:lnTo>
                    <a:pt x="137" y="5"/>
                  </a:lnTo>
                  <a:lnTo>
                    <a:pt x="151" y="2"/>
                  </a:lnTo>
                  <a:lnTo>
                    <a:pt x="165" y="4"/>
                  </a:lnTo>
                  <a:lnTo>
                    <a:pt x="185" y="0"/>
                  </a:lnTo>
                  <a:lnTo>
                    <a:pt x="201" y="4"/>
                  </a:lnTo>
                  <a:lnTo>
                    <a:pt x="237" y="5"/>
                  </a:lnTo>
                  <a:lnTo>
                    <a:pt x="245" y="8"/>
                  </a:lnTo>
                  <a:lnTo>
                    <a:pt x="239" y="22"/>
                  </a:lnTo>
                  <a:lnTo>
                    <a:pt x="238" y="41"/>
                  </a:lnTo>
                  <a:lnTo>
                    <a:pt x="239" y="59"/>
                  </a:lnTo>
                  <a:lnTo>
                    <a:pt x="248" y="64"/>
                  </a:lnTo>
                  <a:lnTo>
                    <a:pt x="264" y="41"/>
                  </a:lnTo>
                  <a:lnTo>
                    <a:pt x="293" y="48"/>
                  </a:lnTo>
                  <a:lnTo>
                    <a:pt x="303" y="61"/>
                  </a:lnTo>
                  <a:lnTo>
                    <a:pt x="304" y="81"/>
                  </a:lnTo>
                  <a:lnTo>
                    <a:pt x="286" y="111"/>
                  </a:lnTo>
                  <a:lnTo>
                    <a:pt x="285" y="128"/>
                  </a:lnTo>
                  <a:lnTo>
                    <a:pt x="289" y="142"/>
                  </a:lnTo>
                  <a:lnTo>
                    <a:pt x="300" y="170"/>
                  </a:lnTo>
                  <a:lnTo>
                    <a:pt x="299" y="186"/>
                  </a:lnTo>
                  <a:lnTo>
                    <a:pt x="296" y="199"/>
                  </a:lnTo>
                  <a:lnTo>
                    <a:pt x="293" y="236"/>
                  </a:lnTo>
                  <a:lnTo>
                    <a:pt x="288" y="253"/>
                  </a:lnTo>
                  <a:lnTo>
                    <a:pt x="272" y="258"/>
                  </a:lnTo>
                  <a:lnTo>
                    <a:pt x="254" y="242"/>
                  </a:lnTo>
                  <a:lnTo>
                    <a:pt x="229" y="245"/>
                  </a:lnTo>
                  <a:lnTo>
                    <a:pt x="219" y="234"/>
                  </a:lnTo>
                  <a:lnTo>
                    <a:pt x="212" y="229"/>
                  </a:lnTo>
                  <a:lnTo>
                    <a:pt x="201" y="237"/>
                  </a:lnTo>
                  <a:lnTo>
                    <a:pt x="192" y="248"/>
                  </a:lnTo>
                  <a:lnTo>
                    <a:pt x="169" y="257"/>
                  </a:lnTo>
                  <a:lnTo>
                    <a:pt x="159" y="266"/>
                  </a:lnTo>
                  <a:lnTo>
                    <a:pt x="154" y="274"/>
                  </a:lnTo>
                  <a:lnTo>
                    <a:pt x="153" y="287"/>
                  </a:lnTo>
                  <a:lnTo>
                    <a:pt x="158" y="299"/>
                  </a:lnTo>
                  <a:lnTo>
                    <a:pt x="160" y="314"/>
                  </a:lnTo>
                  <a:lnTo>
                    <a:pt x="158" y="318"/>
                  </a:lnTo>
                  <a:lnTo>
                    <a:pt x="146" y="318"/>
                  </a:lnTo>
                  <a:lnTo>
                    <a:pt x="135" y="321"/>
                  </a:lnTo>
                  <a:lnTo>
                    <a:pt x="129" y="328"/>
                  </a:lnTo>
                  <a:lnTo>
                    <a:pt x="127" y="34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42" name="Freeform 37">
              <a:extLst>
                <a:ext uri="{FF2B5EF4-FFF2-40B4-BE49-F238E27FC236}">
                  <a16:creationId xmlns:a16="http://schemas.microsoft.com/office/drawing/2014/main" id="{A09067E3-792C-59BF-01DB-A197C57B2D3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277715" y="3906594"/>
              <a:ext cx="91032" cy="25912"/>
            </a:xfrm>
            <a:custGeom>
              <a:avLst/>
              <a:gdLst>
                <a:gd name="T0" fmla="*/ 0 w 168"/>
                <a:gd name="T1" fmla="*/ 0 h 45"/>
                <a:gd name="T2" fmla="*/ 0 w 168"/>
                <a:gd name="T3" fmla="*/ 0 h 45"/>
                <a:gd name="T4" fmla="*/ 2147483647 w 168"/>
                <a:gd name="T5" fmla="*/ 0 h 45"/>
                <a:gd name="T6" fmla="*/ 2147483647 w 168"/>
                <a:gd name="T7" fmla="*/ 0 h 45"/>
                <a:gd name="T8" fmla="*/ 2147483647 w 168"/>
                <a:gd name="T9" fmla="*/ 0 h 45"/>
                <a:gd name="T10" fmla="*/ 2147483647 w 168"/>
                <a:gd name="T11" fmla="*/ 0 h 45"/>
                <a:gd name="T12" fmla="*/ 2147483647 w 168"/>
                <a:gd name="T13" fmla="*/ 0 h 45"/>
                <a:gd name="T14" fmla="*/ 2147483647 w 168"/>
                <a:gd name="T15" fmla="*/ 0 h 45"/>
                <a:gd name="T16" fmla="*/ 2147483647 w 168"/>
                <a:gd name="T17" fmla="*/ 0 h 45"/>
                <a:gd name="T18" fmla="*/ 2147483647 w 168"/>
                <a:gd name="T19" fmla="*/ 0 h 45"/>
                <a:gd name="T20" fmla="*/ 2147483647 w 168"/>
                <a:gd name="T21" fmla="*/ 0 h 45"/>
                <a:gd name="T22" fmla="*/ 2147483647 w 168"/>
                <a:gd name="T23" fmla="*/ 0 h 45"/>
                <a:gd name="T24" fmla="*/ 2147483647 w 168"/>
                <a:gd name="T25" fmla="*/ 0 h 45"/>
                <a:gd name="T26" fmla="*/ 2147483647 w 168"/>
                <a:gd name="T27" fmla="*/ 0 h 45"/>
                <a:gd name="T28" fmla="*/ 2147483647 w 168"/>
                <a:gd name="T29" fmla="*/ 0 h 45"/>
                <a:gd name="T30" fmla="*/ 2147483647 w 168"/>
                <a:gd name="T31" fmla="*/ 0 h 45"/>
                <a:gd name="T32" fmla="*/ 2147483647 w 168"/>
                <a:gd name="T33" fmla="*/ 0 h 45"/>
                <a:gd name="T34" fmla="*/ 2147483647 w 168"/>
                <a:gd name="T35" fmla="*/ 0 h 45"/>
                <a:gd name="T36" fmla="*/ 2147483647 w 168"/>
                <a:gd name="T37" fmla="*/ 0 h 45"/>
                <a:gd name="T38" fmla="*/ 2147483647 w 168"/>
                <a:gd name="T39" fmla="*/ 0 h 45"/>
                <a:gd name="T40" fmla="*/ 2147483647 w 168"/>
                <a:gd name="T41" fmla="*/ 0 h 45"/>
                <a:gd name="T42" fmla="*/ 2147483647 w 168"/>
                <a:gd name="T43" fmla="*/ 0 h 45"/>
                <a:gd name="T44" fmla="*/ 2147483647 w 168"/>
                <a:gd name="T45" fmla="*/ 0 h 45"/>
                <a:gd name="T46" fmla="*/ 2147483647 w 168"/>
                <a:gd name="T47" fmla="*/ 0 h 45"/>
                <a:gd name="T48" fmla="*/ 2147483647 w 168"/>
                <a:gd name="T49" fmla="*/ 0 h 45"/>
                <a:gd name="T50" fmla="*/ 2147483647 w 168"/>
                <a:gd name="T51" fmla="*/ 0 h 45"/>
                <a:gd name="T52" fmla="*/ 2147483647 w 168"/>
                <a:gd name="T53" fmla="*/ 0 h 45"/>
                <a:gd name="T54" fmla="*/ 2147483647 w 168"/>
                <a:gd name="T55" fmla="*/ 0 h 45"/>
                <a:gd name="T56" fmla="*/ 2147483647 w 168"/>
                <a:gd name="T57" fmla="*/ 0 h 45"/>
                <a:gd name="T58" fmla="*/ 2147483647 w 168"/>
                <a:gd name="T59" fmla="*/ 0 h 45"/>
                <a:gd name="T60" fmla="*/ 2147483647 w 168"/>
                <a:gd name="T61" fmla="*/ 0 h 45"/>
                <a:gd name="T62" fmla="*/ 2147483647 w 168"/>
                <a:gd name="T63" fmla="*/ 0 h 45"/>
                <a:gd name="T64" fmla="*/ 2147483647 w 168"/>
                <a:gd name="T65" fmla="*/ 0 h 45"/>
                <a:gd name="T66" fmla="*/ 2147483647 w 168"/>
                <a:gd name="T67" fmla="*/ 0 h 45"/>
                <a:gd name="T68" fmla="*/ 2147483647 w 168"/>
                <a:gd name="T69" fmla="*/ 0 h 45"/>
                <a:gd name="T70" fmla="*/ 2147483647 w 168"/>
                <a:gd name="T71" fmla="*/ 0 h 45"/>
                <a:gd name="T72" fmla="*/ 2147483647 w 168"/>
                <a:gd name="T73" fmla="*/ 0 h 45"/>
                <a:gd name="T74" fmla="*/ 2147483647 w 168"/>
                <a:gd name="T75" fmla="*/ 0 h 45"/>
                <a:gd name="T76" fmla="*/ 2147483647 w 168"/>
                <a:gd name="T77" fmla="*/ 0 h 45"/>
                <a:gd name="T78" fmla="*/ 2147483647 w 168"/>
                <a:gd name="T79" fmla="*/ 0 h 45"/>
                <a:gd name="T80" fmla="*/ 2147483647 w 168"/>
                <a:gd name="T81" fmla="*/ 0 h 45"/>
                <a:gd name="T82" fmla="*/ 2147483647 w 168"/>
                <a:gd name="T83" fmla="*/ 0 h 45"/>
                <a:gd name="T84" fmla="*/ 2147483647 w 168"/>
                <a:gd name="T85" fmla="*/ 0 h 45"/>
                <a:gd name="T86" fmla="*/ 2147483647 w 168"/>
                <a:gd name="T87" fmla="*/ 0 h 45"/>
                <a:gd name="T88" fmla="*/ 0 w 168"/>
                <a:gd name="T89" fmla="*/ 0 h 45"/>
                <a:gd name="T90" fmla="*/ 0 w 168"/>
                <a:gd name="T91" fmla="*/ 0 h 45"/>
                <a:gd name="T92" fmla="*/ 0 w 168"/>
                <a:gd name="T93" fmla="*/ 0 h 45"/>
                <a:gd name="T94" fmla="*/ 0 w 168"/>
                <a:gd name="T95" fmla="*/ 0 h 45"/>
                <a:gd name="T96" fmla="*/ 0 w 168"/>
                <a:gd name="T97" fmla="*/ 0 h 45"/>
                <a:gd name="T98" fmla="*/ 0 w 168"/>
                <a:gd name="T99" fmla="*/ 0 h 45"/>
                <a:gd name="T100" fmla="*/ 0 w 168"/>
                <a:gd name="T101" fmla="*/ 0 h 45"/>
                <a:gd name="T102" fmla="*/ 0 w 168"/>
                <a:gd name="T103" fmla="*/ 0 h 45"/>
                <a:gd name="T104" fmla="*/ 0 w 168"/>
                <a:gd name="T105" fmla="*/ 0 h 45"/>
                <a:gd name="T106" fmla="*/ 0 w 168"/>
                <a:gd name="T107" fmla="*/ 0 h 45"/>
                <a:gd name="T108" fmla="*/ 0 w 168"/>
                <a:gd name="T109" fmla="*/ 0 h 45"/>
                <a:gd name="T110" fmla="*/ 0 w 168"/>
                <a:gd name="T111" fmla="*/ 0 h 4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68"/>
                <a:gd name="T169" fmla="*/ 0 h 45"/>
                <a:gd name="T170" fmla="*/ 168 w 168"/>
                <a:gd name="T171" fmla="*/ 45 h 4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68" h="45">
                  <a:moveTo>
                    <a:pt x="4" y="44"/>
                  </a:moveTo>
                  <a:lnTo>
                    <a:pt x="8" y="38"/>
                  </a:lnTo>
                  <a:lnTo>
                    <a:pt x="47" y="34"/>
                  </a:lnTo>
                  <a:lnTo>
                    <a:pt x="55" y="34"/>
                  </a:lnTo>
                  <a:lnTo>
                    <a:pt x="56" y="34"/>
                  </a:lnTo>
                  <a:lnTo>
                    <a:pt x="59" y="27"/>
                  </a:lnTo>
                  <a:lnTo>
                    <a:pt x="64" y="26"/>
                  </a:lnTo>
                  <a:lnTo>
                    <a:pt x="67" y="27"/>
                  </a:lnTo>
                  <a:lnTo>
                    <a:pt x="80" y="26"/>
                  </a:lnTo>
                  <a:lnTo>
                    <a:pt x="88" y="22"/>
                  </a:lnTo>
                  <a:lnTo>
                    <a:pt x="92" y="17"/>
                  </a:lnTo>
                  <a:lnTo>
                    <a:pt x="94" y="16"/>
                  </a:lnTo>
                  <a:lnTo>
                    <a:pt x="101" y="17"/>
                  </a:lnTo>
                  <a:lnTo>
                    <a:pt x="104" y="21"/>
                  </a:lnTo>
                  <a:lnTo>
                    <a:pt x="112" y="23"/>
                  </a:lnTo>
                  <a:lnTo>
                    <a:pt x="120" y="28"/>
                  </a:lnTo>
                  <a:lnTo>
                    <a:pt x="128" y="29"/>
                  </a:lnTo>
                  <a:lnTo>
                    <a:pt x="136" y="33"/>
                  </a:lnTo>
                  <a:lnTo>
                    <a:pt x="144" y="33"/>
                  </a:lnTo>
                  <a:lnTo>
                    <a:pt x="146" y="34"/>
                  </a:lnTo>
                  <a:lnTo>
                    <a:pt x="152" y="31"/>
                  </a:lnTo>
                  <a:lnTo>
                    <a:pt x="164" y="28"/>
                  </a:lnTo>
                  <a:lnTo>
                    <a:pt x="168" y="24"/>
                  </a:lnTo>
                  <a:lnTo>
                    <a:pt x="168" y="21"/>
                  </a:lnTo>
                  <a:lnTo>
                    <a:pt x="168" y="16"/>
                  </a:lnTo>
                  <a:lnTo>
                    <a:pt x="167" y="16"/>
                  </a:lnTo>
                  <a:lnTo>
                    <a:pt x="164" y="16"/>
                  </a:lnTo>
                  <a:lnTo>
                    <a:pt x="161" y="15"/>
                  </a:lnTo>
                  <a:lnTo>
                    <a:pt x="156" y="15"/>
                  </a:lnTo>
                  <a:lnTo>
                    <a:pt x="152" y="16"/>
                  </a:lnTo>
                  <a:lnTo>
                    <a:pt x="141" y="21"/>
                  </a:lnTo>
                  <a:lnTo>
                    <a:pt x="136" y="20"/>
                  </a:lnTo>
                  <a:lnTo>
                    <a:pt x="130" y="17"/>
                  </a:lnTo>
                  <a:lnTo>
                    <a:pt x="126" y="11"/>
                  </a:lnTo>
                  <a:lnTo>
                    <a:pt x="125" y="10"/>
                  </a:lnTo>
                  <a:lnTo>
                    <a:pt x="113" y="10"/>
                  </a:lnTo>
                  <a:lnTo>
                    <a:pt x="107" y="2"/>
                  </a:lnTo>
                  <a:lnTo>
                    <a:pt x="101" y="1"/>
                  </a:lnTo>
                  <a:lnTo>
                    <a:pt x="98" y="0"/>
                  </a:lnTo>
                  <a:lnTo>
                    <a:pt x="92" y="1"/>
                  </a:lnTo>
                  <a:lnTo>
                    <a:pt x="87" y="4"/>
                  </a:lnTo>
                  <a:lnTo>
                    <a:pt x="81" y="2"/>
                  </a:lnTo>
                  <a:lnTo>
                    <a:pt x="76" y="7"/>
                  </a:lnTo>
                  <a:lnTo>
                    <a:pt x="72" y="13"/>
                  </a:lnTo>
                  <a:lnTo>
                    <a:pt x="16" y="13"/>
                  </a:lnTo>
                  <a:lnTo>
                    <a:pt x="15" y="13"/>
                  </a:lnTo>
                  <a:lnTo>
                    <a:pt x="13" y="17"/>
                  </a:lnTo>
                  <a:lnTo>
                    <a:pt x="15" y="21"/>
                  </a:lnTo>
                  <a:lnTo>
                    <a:pt x="8" y="20"/>
                  </a:lnTo>
                  <a:lnTo>
                    <a:pt x="6" y="21"/>
                  </a:lnTo>
                  <a:lnTo>
                    <a:pt x="4" y="26"/>
                  </a:lnTo>
                  <a:lnTo>
                    <a:pt x="1" y="28"/>
                  </a:lnTo>
                  <a:lnTo>
                    <a:pt x="0" y="34"/>
                  </a:lnTo>
                  <a:lnTo>
                    <a:pt x="1" y="44"/>
                  </a:lnTo>
                  <a:lnTo>
                    <a:pt x="2" y="45"/>
                  </a:lnTo>
                  <a:lnTo>
                    <a:pt x="4" y="4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43" name="Freeform 38">
              <a:extLst>
                <a:ext uri="{FF2B5EF4-FFF2-40B4-BE49-F238E27FC236}">
                  <a16:creationId xmlns:a16="http://schemas.microsoft.com/office/drawing/2014/main" id="{8185C850-3EF8-F8DF-150D-14C5815CE5E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280700" y="3941651"/>
              <a:ext cx="92525" cy="56396"/>
            </a:xfrm>
            <a:custGeom>
              <a:avLst/>
              <a:gdLst>
                <a:gd name="T0" fmla="*/ 2147483647 w 173"/>
                <a:gd name="T1" fmla="*/ 0 h 99"/>
                <a:gd name="T2" fmla="*/ 2147483647 w 173"/>
                <a:gd name="T3" fmla="*/ 0 h 99"/>
                <a:gd name="T4" fmla="*/ 2147483647 w 173"/>
                <a:gd name="T5" fmla="*/ 0 h 99"/>
                <a:gd name="T6" fmla="*/ 2147483647 w 173"/>
                <a:gd name="T7" fmla="*/ 0 h 99"/>
                <a:gd name="T8" fmla="*/ 2147483647 w 173"/>
                <a:gd name="T9" fmla="*/ 0 h 99"/>
                <a:gd name="T10" fmla="*/ 2147483647 w 173"/>
                <a:gd name="T11" fmla="*/ 0 h 99"/>
                <a:gd name="T12" fmla="*/ 2147483647 w 173"/>
                <a:gd name="T13" fmla="*/ 0 h 99"/>
                <a:gd name="T14" fmla="*/ 2147483647 w 173"/>
                <a:gd name="T15" fmla="*/ 0 h 99"/>
                <a:gd name="T16" fmla="*/ 2147483647 w 173"/>
                <a:gd name="T17" fmla="*/ 0 h 99"/>
                <a:gd name="T18" fmla="*/ 2147483647 w 173"/>
                <a:gd name="T19" fmla="*/ 0 h 99"/>
                <a:gd name="T20" fmla="*/ 2147483647 w 173"/>
                <a:gd name="T21" fmla="*/ 0 h 99"/>
                <a:gd name="T22" fmla="*/ 2147483647 w 173"/>
                <a:gd name="T23" fmla="*/ 0 h 99"/>
                <a:gd name="T24" fmla="*/ 2147483647 w 173"/>
                <a:gd name="T25" fmla="*/ 0 h 99"/>
                <a:gd name="T26" fmla="*/ 2147483647 w 173"/>
                <a:gd name="T27" fmla="*/ 0 h 99"/>
                <a:gd name="T28" fmla="*/ 2147483647 w 173"/>
                <a:gd name="T29" fmla="*/ 0 h 99"/>
                <a:gd name="T30" fmla="*/ 2147483647 w 173"/>
                <a:gd name="T31" fmla="*/ 0 h 99"/>
                <a:gd name="T32" fmla="*/ 2147483647 w 173"/>
                <a:gd name="T33" fmla="*/ 0 h 99"/>
                <a:gd name="T34" fmla="*/ 2147483647 w 173"/>
                <a:gd name="T35" fmla="*/ 2147483647 h 99"/>
                <a:gd name="T36" fmla="*/ 2147483647 w 173"/>
                <a:gd name="T37" fmla="*/ 2147483647 h 99"/>
                <a:gd name="T38" fmla="*/ 2147483647 w 173"/>
                <a:gd name="T39" fmla="*/ 2147483647 h 99"/>
                <a:gd name="T40" fmla="*/ 2147483647 w 173"/>
                <a:gd name="T41" fmla="*/ 2147483647 h 99"/>
                <a:gd name="T42" fmla="*/ 2147483647 w 173"/>
                <a:gd name="T43" fmla="*/ 2147483647 h 99"/>
                <a:gd name="T44" fmla="*/ 2147483647 w 173"/>
                <a:gd name="T45" fmla="*/ 2147483647 h 99"/>
                <a:gd name="T46" fmla="*/ 2147483647 w 173"/>
                <a:gd name="T47" fmla="*/ 2147483647 h 99"/>
                <a:gd name="T48" fmla="*/ 2147483647 w 173"/>
                <a:gd name="T49" fmla="*/ 2147483647 h 99"/>
                <a:gd name="T50" fmla="*/ 2147483647 w 173"/>
                <a:gd name="T51" fmla="*/ 2147483647 h 99"/>
                <a:gd name="T52" fmla="*/ 2147483647 w 173"/>
                <a:gd name="T53" fmla="*/ 2147483647 h 99"/>
                <a:gd name="T54" fmla="*/ 2147483647 w 173"/>
                <a:gd name="T55" fmla="*/ 2147483647 h 99"/>
                <a:gd name="T56" fmla="*/ 2147483647 w 173"/>
                <a:gd name="T57" fmla="*/ 0 h 99"/>
                <a:gd name="T58" fmla="*/ 2147483647 w 173"/>
                <a:gd name="T59" fmla="*/ 0 h 99"/>
                <a:gd name="T60" fmla="*/ 2147483647 w 173"/>
                <a:gd name="T61" fmla="*/ 0 h 99"/>
                <a:gd name="T62" fmla="*/ 2147483647 w 173"/>
                <a:gd name="T63" fmla="*/ 0 h 99"/>
                <a:gd name="T64" fmla="*/ 2147483647 w 173"/>
                <a:gd name="T65" fmla="*/ 0 h 99"/>
                <a:gd name="T66" fmla="*/ 2147483647 w 173"/>
                <a:gd name="T67" fmla="*/ 0 h 99"/>
                <a:gd name="T68" fmla="*/ 2147483647 w 173"/>
                <a:gd name="T69" fmla="*/ 0 h 99"/>
                <a:gd name="T70" fmla="*/ 2147483647 w 173"/>
                <a:gd name="T71" fmla="*/ 0 h 99"/>
                <a:gd name="T72" fmla="*/ 2147483647 w 173"/>
                <a:gd name="T73" fmla="*/ 0 h 99"/>
                <a:gd name="T74" fmla="*/ 2147483647 w 173"/>
                <a:gd name="T75" fmla="*/ 0 h 99"/>
                <a:gd name="T76" fmla="*/ 0 w 173"/>
                <a:gd name="T77" fmla="*/ 0 h 99"/>
                <a:gd name="T78" fmla="*/ 0 w 173"/>
                <a:gd name="T79" fmla="*/ 0 h 99"/>
                <a:gd name="T80" fmla="*/ 0 w 173"/>
                <a:gd name="T81" fmla="*/ 0 h 99"/>
                <a:gd name="T82" fmla="*/ 0 w 173"/>
                <a:gd name="T83" fmla="*/ 0 h 99"/>
                <a:gd name="T84" fmla="*/ 0 w 173"/>
                <a:gd name="T85" fmla="*/ 0 h 99"/>
                <a:gd name="T86" fmla="*/ 0 w 173"/>
                <a:gd name="T87" fmla="*/ 0 h 99"/>
                <a:gd name="T88" fmla="*/ 0 w 173"/>
                <a:gd name="T89" fmla="*/ 0 h 99"/>
                <a:gd name="T90" fmla="*/ 0 w 173"/>
                <a:gd name="T91" fmla="*/ 0 h 99"/>
                <a:gd name="T92" fmla="*/ 0 w 173"/>
                <a:gd name="T93" fmla="*/ 0 h 99"/>
                <a:gd name="T94" fmla="*/ 0 w 173"/>
                <a:gd name="T95" fmla="*/ 0 h 99"/>
                <a:gd name="T96" fmla="*/ 0 w 173"/>
                <a:gd name="T97" fmla="*/ 0 h 99"/>
                <a:gd name="T98" fmla="*/ 0 w 173"/>
                <a:gd name="T99" fmla="*/ 0 h 99"/>
                <a:gd name="T100" fmla="*/ 0 w 173"/>
                <a:gd name="T101" fmla="*/ 0 h 99"/>
                <a:gd name="T102" fmla="*/ 0 w 173"/>
                <a:gd name="T103" fmla="*/ 0 h 99"/>
                <a:gd name="T104" fmla="*/ 2147483647 w 173"/>
                <a:gd name="T105" fmla="*/ 0 h 99"/>
                <a:gd name="T106" fmla="*/ 2147483647 w 173"/>
                <a:gd name="T107" fmla="*/ 0 h 99"/>
                <a:gd name="T108" fmla="*/ 2147483647 w 173"/>
                <a:gd name="T109" fmla="*/ 0 h 99"/>
                <a:gd name="T110" fmla="*/ 2147483647 w 173"/>
                <a:gd name="T111" fmla="*/ 0 h 99"/>
                <a:gd name="T112" fmla="*/ 2147483647 w 173"/>
                <a:gd name="T113" fmla="*/ 0 h 99"/>
                <a:gd name="T114" fmla="*/ 2147483647 w 173"/>
                <a:gd name="T115" fmla="*/ 0 h 99"/>
                <a:gd name="T116" fmla="*/ 2147483647 w 173"/>
                <a:gd name="T117" fmla="*/ 0 h 9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73"/>
                <a:gd name="T178" fmla="*/ 0 h 99"/>
                <a:gd name="T179" fmla="*/ 173 w 173"/>
                <a:gd name="T180" fmla="*/ 99 h 9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73" h="99">
                  <a:moveTo>
                    <a:pt x="169" y="0"/>
                  </a:moveTo>
                  <a:lnTo>
                    <a:pt x="169" y="7"/>
                  </a:lnTo>
                  <a:lnTo>
                    <a:pt x="173" y="14"/>
                  </a:lnTo>
                  <a:lnTo>
                    <a:pt x="173" y="18"/>
                  </a:lnTo>
                  <a:lnTo>
                    <a:pt x="170" y="24"/>
                  </a:lnTo>
                  <a:lnTo>
                    <a:pt x="168" y="25"/>
                  </a:lnTo>
                  <a:lnTo>
                    <a:pt x="162" y="25"/>
                  </a:lnTo>
                  <a:lnTo>
                    <a:pt x="160" y="27"/>
                  </a:lnTo>
                  <a:lnTo>
                    <a:pt x="158" y="30"/>
                  </a:lnTo>
                  <a:lnTo>
                    <a:pt x="164" y="34"/>
                  </a:lnTo>
                  <a:lnTo>
                    <a:pt x="167" y="39"/>
                  </a:lnTo>
                  <a:lnTo>
                    <a:pt x="168" y="57"/>
                  </a:lnTo>
                  <a:lnTo>
                    <a:pt x="162" y="57"/>
                  </a:lnTo>
                  <a:lnTo>
                    <a:pt x="158" y="60"/>
                  </a:lnTo>
                  <a:lnTo>
                    <a:pt x="138" y="60"/>
                  </a:lnTo>
                  <a:lnTo>
                    <a:pt x="121" y="67"/>
                  </a:lnTo>
                  <a:lnTo>
                    <a:pt x="114" y="73"/>
                  </a:lnTo>
                  <a:lnTo>
                    <a:pt x="110" y="81"/>
                  </a:lnTo>
                  <a:lnTo>
                    <a:pt x="106" y="89"/>
                  </a:lnTo>
                  <a:lnTo>
                    <a:pt x="104" y="93"/>
                  </a:lnTo>
                  <a:lnTo>
                    <a:pt x="99" y="97"/>
                  </a:lnTo>
                  <a:lnTo>
                    <a:pt x="93" y="99"/>
                  </a:lnTo>
                  <a:lnTo>
                    <a:pt x="93" y="95"/>
                  </a:lnTo>
                  <a:lnTo>
                    <a:pt x="94" y="93"/>
                  </a:lnTo>
                  <a:lnTo>
                    <a:pt x="86" y="94"/>
                  </a:lnTo>
                  <a:lnTo>
                    <a:pt x="81" y="93"/>
                  </a:lnTo>
                  <a:lnTo>
                    <a:pt x="76" y="87"/>
                  </a:lnTo>
                  <a:lnTo>
                    <a:pt x="74" y="79"/>
                  </a:lnTo>
                  <a:lnTo>
                    <a:pt x="77" y="70"/>
                  </a:lnTo>
                  <a:lnTo>
                    <a:pt x="72" y="58"/>
                  </a:lnTo>
                  <a:lnTo>
                    <a:pt x="79" y="54"/>
                  </a:lnTo>
                  <a:lnTo>
                    <a:pt x="84" y="51"/>
                  </a:lnTo>
                  <a:lnTo>
                    <a:pt x="103" y="50"/>
                  </a:lnTo>
                  <a:lnTo>
                    <a:pt x="104" y="45"/>
                  </a:lnTo>
                  <a:lnTo>
                    <a:pt x="81" y="47"/>
                  </a:lnTo>
                  <a:lnTo>
                    <a:pt x="72" y="50"/>
                  </a:lnTo>
                  <a:lnTo>
                    <a:pt x="59" y="57"/>
                  </a:lnTo>
                  <a:lnTo>
                    <a:pt x="51" y="58"/>
                  </a:lnTo>
                  <a:lnTo>
                    <a:pt x="47" y="57"/>
                  </a:lnTo>
                  <a:lnTo>
                    <a:pt x="46" y="49"/>
                  </a:lnTo>
                  <a:lnTo>
                    <a:pt x="40" y="50"/>
                  </a:lnTo>
                  <a:lnTo>
                    <a:pt x="30" y="47"/>
                  </a:lnTo>
                  <a:lnTo>
                    <a:pt x="27" y="43"/>
                  </a:lnTo>
                  <a:lnTo>
                    <a:pt x="25" y="34"/>
                  </a:lnTo>
                  <a:lnTo>
                    <a:pt x="4" y="28"/>
                  </a:lnTo>
                  <a:lnTo>
                    <a:pt x="0" y="20"/>
                  </a:lnTo>
                  <a:lnTo>
                    <a:pt x="2" y="17"/>
                  </a:lnTo>
                  <a:lnTo>
                    <a:pt x="3" y="19"/>
                  </a:lnTo>
                  <a:lnTo>
                    <a:pt x="7" y="20"/>
                  </a:lnTo>
                  <a:lnTo>
                    <a:pt x="14" y="20"/>
                  </a:lnTo>
                  <a:lnTo>
                    <a:pt x="25" y="15"/>
                  </a:lnTo>
                  <a:lnTo>
                    <a:pt x="29" y="13"/>
                  </a:lnTo>
                  <a:lnTo>
                    <a:pt x="59" y="14"/>
                  </a:lnTo>
                  <a:lnTo>
                    <a:pt x="68" y="12"/>
                  </a:lnTo>
                  <a:lnTo>
                    <a:pt x="79" y="7"/>
                  </a:lnTo>
                  <a:lnTo>
                    <a:pt x="92" y="1"/>
                  </a:lnTo>
                  <a:lnTo>
                    <a:pt x="116" y="1"/>
                  </a:lnTo>
                  <a:lnTo>
                    <a:pt x="119" y="0"/>
                  </a:lnTo>
                  <a:lnTo>
                    <a:pt x="169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44" name="Freeform 39">
              <a:extLst>
                <a:ext uri="{FF2B5EF4-FFF2-40B4-BE49-F238E27FC236}">
                  <a16:creationId xmlns:a16="http://schemas.microsoft.com/office/drawing/2014/main" id="{A3ADEF05-4187-CFCA-6828-D1EB39C26A7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434411" y="4075783"/>
              <a:ext cx="120880" cy="129558"/>
            </a:xfrm>
            <a:custGeom>
              <a:avLst/>
              <a:gdLst>
                <a:gd name="T0" fmla="*/ 0 w 227"/>
                <a:gd name="T1" fmla="*/ 2147483647 h 228"/>
                <a:gd name="T2" fmla="*/ 0 w 227"/>
                <a:gd name="T3" fmla="*/ 2147483647 h 228"/>
                <a:gd name="T4" fmla="*/ 0 w 227"/>
                <a:gd name="T5" fmla="*/ 0 h 228"/>
                <a:gd name="T6" fmla="*/ 0 w 227"/>
                <a:gd name="T7" fmla="*/ 0 h 228"/>
                <a:gd name="T8" fmla="*/ 0 w 227"/>
                <a:gd name="T9" fmla="*/ 0 h 228"/>
                <a:gd name="T10" fmla="*/ 0 w 227"/>
                <a:gd name="T11" fmla="*/ 0 h 228"/>
                <a:gd name="T12" fmla="*/ 0 w 227"/>
                <a:gd name="T13" fmla="*/ 0 h 228"/>
                <a:gd name="T14" fmla="*/ 2147483647 w 227"/>
                <a:gd name="T15" fmla="*/ 0 h 228"/>
                <a:gd name="T16" fmla="*/ 2147483647 w 227"/>
                <a:gd name="T17" fmla="*/ 0 h 228"/>
                <a:gd name="T18" fmla="*/ 2147483647 w 227"/>
                <a:gd name="T19" fmla="*/ 0 h 228"/>
                <a:gd name="T20" fmla="*/ 2147483647 w 227"/>
                <a:gd name="T21" fmla="*/ 0 h 228"/>
                <a:gd name="T22" fmla="*/ 2147483647 w 227"/>
                <a:gd name="T23" fmla="*/ 0 h 228"/>
                <a:gd name="T24" fmla="*/ 2147483647 w 227"/>
                <a:gd name="T25" fmla="*/ 0 h 228"/>
                <a:gd name="T26" fmla="*/ 2147483647 w 227"/>
                <a:gd name="T27" fmla="*/ 0 h 228"/>
                <a:gd name="T28" fmla="*/ 2147483647 w 227"/>
                <a:gd name="T29" fmla="*/ 0 h 228"/>
                <a:gd name="T30" fmla="*/ 2147483647 w 227"/>
                <a:gd name="T31" fmla="*/ 0 h 228"/>
                <a:gd name="T32" fmla="*/ 2147483647 w 227"/>
                <a:gd name="T33" fmla="*/ 0 h 228"/>
                <a:gd name="T34" fmla="*/ 2147483647 w 227"/>
                <a:gd name="T35" fmla="*/ 0 h 228"/>
                <a:gd name="T36" fmla="*/ 2147483647 w 227"/>
                <a:gd name="T37" fmla="*/ 0 h 228"/>
                <a:gd name="T38" fmla="*/ 2147483647 w 227"/>
                <a:gd name="T39" fmla="*/ 0 h 228"/>
                <a:gd name="T40" fmla="*/ 2147483647 w 227"/>
                <a:gd name="T41" fmla="*/ 0 h 228"/>
                <a:gd name="T42" fmla="*/ 2147483647 w 227"/>
                <a:gd name="T43" fmla="*/ 0 h 228"/>
                <a:gd name="T44" fmla="*/ 2147483647 w 227"/>
                <a:gd name="T45" fmla="*/ 0 h 228"/>
                <a:gd name="T46" fmla="*/ 2147483647 w 227"/>
                <a:gd name="T47" fmla="*/ 0 h 228"/>
                <a:gd name="T48" fmla="*/ 2147483647 w 227"/>
                <a:gd name="T49" fmla="*/ 0 h 228"/>
                <a:gd name="T50" fmla="*/ 2147483647 w 227"/>
                <a:gd name="T51" fmla="*/ 0 h 228"/>
                <a:gd name="T52" fmla="*/ 2147483647 w 227"/>
                <a:gd name="T53" fmla="*/ 0 h 228"/>
                <a:gd name="T54" fmla="*/ 2147483647 w 227"/>
                <a:gd name="T55" fmla="*/ 0 h 228"/>
                <a:gd name="T56" fmla="*/ 2147483647 w 227"/>
                <a:gd name="T57" fmla="*/ 0 h 228"/>
                <a:gd name="T58" fmla="*/ 2147483647 w 227"/>
                <a:gd name="T59" fmla="*/ 0 h 228"/>
                <a:gd name="T60" fmla="*/ 2147483647 w 227"/>
                <a:gd name="T61" fmla="*/ 0 h 228"/>
                <a:gd name="T62" fmla="*/ 2147483647 w 227"/>
                <a:gd name="T63" fmla="*/ 2147483647 h 228"/>
                <a:gd name="T64" fmla="*/ 2147483647 w 227"/>
                <a:gd name="T65" fmla="*/ 2147483647 h 228"/>
                <a:gd name="T66" fmla="*/ 2147483647 w 227"/>
                <a:gd name="T67" fmla="*/ 2147483647 h 228"/>
                <a:gd name="T68" fmla="*/ 2147483647 w 227"/>
                <a:gd name="T69" fmla="*/ 2147483647 h 228"/>
                <a:gd name="T70" fmla="*/ 2147483647 w 227"/>
                <a:gd name="T71" fmla="*/ 2147483647 h 228"/>
                <a:gd name="T72" fmla="*/ 2147483647 w 227"/>
                <a:gd name="T73" fmla="*/ 2147483647 h 228"/>
                <a:gd name="T74" fmla="*/ 2147483647 w 227"/>
                <a:gd name="T75" fmla="*/ 2147483647 h 228"/>
                <a:gd name="T76" fmla="*/ 2147483647 w 227"/>
                <a:gd name="T77" fmla="*/ 2147483647 h 228"/>
                <a:gd name="T78" fmla="*/ 2147483647 w 227"/>
                <a:gd name="T79" fmla="*/ 2147483647 h 228"/>
                <a:gd name="T80" fmla="*/ 2147483647 w 227"/>
                <a:gd name="T81" fmla="*/ 2147483647 h 228"/>
                <a:gd name="T82" fmla="*/ 2147483647 w 227"/>
                <a:gd name="T83" fmla="*/ 2147483647 h 228"/>
                <a:gd name="T84" fmla="*/ 2147483647 w 227"/>
                <a:gd name="T85" fmla="*/ 2147483647 h 228"/>
                <a:gd name="T86" fmla="*/ 2147483647 w 227"/>
                <a:gd name="T87" fmla="*/ 2147483647 h 228"/>
                <a:gd name="T88" fmla="*/ 2147483647 w 227"/>
                <a:gd name="T89" fmla="*/ 2147483647 h 228"/>
                <a:gd name="T90" fmla="*/ 2147483647 w 227"/>
                <a:gd name="T91" fmla="*/ 2147483647 h 228"/>
                <a:gd name="T92" fmla="*/ 2147483647 w 227"/>
                <a:gd name="T93" fmla="*/ 2147483647 h 228"/>
                <a:gd name="T94" fmla="*/ 2147483647 w 227"/>
                <a:gd name="T95" fmla="*/ 2147483647 h 228"/>
                <a:gd name="T96" fmla="*/ 2147483647 w 227"/>
                <a:gd name="T97" fmla="*/ 2147483647 h 228"/>
                <a:gd name="T98" fmla="*/ 2147483647 w 227"/>
                <a:gd name="T99" fmla="*/ 2147483647 h 228"/>
                <a:gd name="T100" fmla="*/ 2147483647 w 227"/>
                <a:gd name="T101" fmla="*/ 2147483647 h 228"/>
                <a:gd name="T102" fmla="*/ 2147483647 w 227"/>
                <a:gd name="T103" fmla="*/ 2147483647 h 228"/>
                <a:gd name="T104" fmla="*/ 2147483647 w 227"/>
                <a:gd name="T105" fmla="*/ 2147483647 h 228"/>
                <a:gd name="T106" fmla="*/ 2147483647 w 227"/>
                <a:gd name="T107" fmla="*/ 2147483647 h 228"/>
                <a:gd name="T108" fmla="*/ 2147483647 w 227"/>
                <a:gd name="T109" fmla="*/ 2147483647 h 228"/>
                <a:gd name="T110" fmla="*/ 2147483647 w 227"/>
                <a:gd name="T111" fmla="*/ 2147483647 h 228"/>
                <a:gd name="T112" fmla="*/ 2147483647 w 227"/>
                <a:gd name="T113" fmla="*/ 2147483647 h 228"/>
                <a:gd name="T114" fmla="*/ 0 w 227"/>
                <a:gd name="T115" fmla="*/ 2147483647 h 228"/>
                <a:gd name="T116" fmla="*/ 0 w 227"/>
                <a:gd name="T117" fmla="*/ 2147483647 h 228"/>
                <a:gd name="T118" fmla="*/ 0 w 227"/>
                <a:gd name="T119" fmla="*/ 2147483647 h 228"/>
                <a:gd name="T120" fmla="*/ 0 w 227"/>
                <a:gd name="T121" fmla="*/ 2147483647 h 228"/>
                <a:gd name="T122" fmla="*/ 0 w 227"/>
                <a:gd name="T123" fmla="*/ 2147483647 h 22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27"/>
                <a:gd name="T187" fmla="*/ 0 h 228"/>
                <a:gd name="T188" fmla="*/ 227 w 227"/>
                <a:gd name="T189" fmla="*/ 228 h 22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27" h="228">
                  <a:moveTo>
                    <a:pt x="3" y="86"/>
                  </a:moveTo>
                  <a:lnTo>
                    <a:pt x="4" y="86"/>
                  </a:lnTo>
                  <a:lnTo>
                    <a:pt x="9" y="83"/>
                  </a:lnTo>
                  <a:lnTo>
                    <a:pt x="10" y="77"/>
                  </a:lnTo>
                  <a:lnTo>
                    <a:pt x="13" y="76"/>
                  </a:lnTo>
                  <a:lnTo>
                    <a:pt x="13" y="71"/>
                  </a:lnTo>
                  <a:lnTo>
                    <a:pt x="14" y="68"/>
                  </a:lnTo>
                  <a:lnTo>
                    <a:pt x="19" y="68"/>
                  </a:lnTo>
                  <a:lnTo>
                    <a:pt x="22" y="66"/>
                  </a:lnTo>
                  <a:lnTo>
                    <a:pt x="31" y="57"/>
                  </a:lnTo>
                  <a:lnTo>
                    <a:pt x="37" y="56"/>
                  </a:lnTo>
                  <a:lnTo>
                    <a:pt x="41" y="49"/>
                  </a:lnTo>
                  <a:lnTo>
                    <a:pt x="44" y="49"/>
                  </a:lnTo>
                  <a:lnTo>
                    <a:pt x="47" y="44"/>
                  </a:lnTo>
                  <a:lnTo>
                    <a:pt x="51" y="43"/>
                  </a:lnTo>
                  <a:lnTo>
                    <a:pt x="51" y="27"/>
                  </a:lnTo>
                  <a:lnTo>
                    <a:pt x="53" y="25"/>
                  </a:lnTo>
                  <a:lnTo>
                    <a:pt x="58" y="19"/>
                  </a:lnTo>
                  <a:lnTo>
                    <a:pt x="68" y="18"/>
                  </a:lnTo>
                  <a:lnTo>
                    <a:pt x="68" y="17"/>
                  </a:lnTo>
                  <a:lnTo>
                    <a:pt x="64" y="13"/>
                  </a:lnTo>
                  <a:lnTo>
                    <a:pt x="65" y="8"/>
                  </a:lnTo>
                  <a:lnTo>
                    <a:pt x="69" y="8"/>
                  </a:lnTo>
                  <a:lnTo>
                    <a:pt x="71" y="2"/>
                  </a:lnTo>
                  <a:lnTo>
                    <a:pt x="75" y="0"/>
                  </a:lnTo>
                  <a:lnTo>
                    <a:pt x="79" y="1"/>
                  </a:lnTo>
                  <a:lnTo>
                    <a:pt x="85" y="6"/>
                  </a:lnTo>
                  <a:lnTo>
                    <a:pt x="86" y="6"/>
                  </a:lnTo>
                  <a:lnTo>
                    <a:pt x="89" y="3"/>
                  </a:lnTo>
                  <a:lnTo>
                    <a:pt x="97" y="1"/>
                  </a:lnTo>
                  <a:lnTo>
                    <a:pt x="100" y="2"/>
                  </a:lnTo>
                  <a:lnTo>
                    <a:pt x="100" y="3"/>
                  </a:lnTo>
                  <a:lnTo>
                    <a:pt x="102" y="7"/>
                  </a:lnTo>
                  <a:lnTo>
                    <a:pt x="110" y="12"/>
                  </a:lnTo>
                  <a:lnTo>
                    <a:pt x="110" y="19"/>
                  </a:lnTo>
                  <a:lnTo>
                    <a:pt x="114" y="25"/>
                  </a:lnTo>
                  <a:lnTo>
                    <a:pt x="116" y="39"/>
                  </a:lnTo>
                  <a:lnTo>
                    <a:pt x="118" y="41"/>
                  </a:lnTo>
                  <a:lnTo>
                    <a:pt x="117" y="56"/>
                  </a:lnTo>
                  <a:lnTo>
                    <a:pt x="114" y="60"/>
                  </a:lnTo>
                  <a:lnTo>
                    <a:pt x="111" y="62"/>
                  </a:lnTo>
                  <a:lnTo>
                    <a:pt x="110" y="65"/>
                  </a:lnTo>
                  <a:lnTo>
                    <a:pt x="111" y="66"/>
                  </a:lnTo>
                  <a:lnTo>
                    <a:pt x="116" y="66"/>
                  </a:lnTo>
                  <a:lnTo>
                    <a:pt x="119" y="62"/>
                  </a:lnTo>
                  <a:lnTo>
                    <a:pt x="122" y="64"/>
                  </a:lnTo>
                  <a:lnTo>
                    <a:pt x="127" y="67"/>
                  </a:lnTo>
                  <a:lnTo>
                    <a:pt x="132" y="75"/>
                  </a:lnTo>
                  <a:lnTo>
                    <a:pt x="137" y="73"/>
                  </a:lnTo>
                  <a:lnTo>
                    <a:pt x="139" y="71"/>
                  </a:lnTo>
                  <a:lnTo>
                    <a:pt x="146" y="70"/>
                  </a:lnTo>
                  <a:lnTo>
                    <a:pt x="148" y="66"/>
                  </a:lnTo>
                  <a:lnTo>
                    <a:pt x="153" y="60"/>
                  </a:lnTo>
                  <a:lnTo>
                    <a:pt x="153" y="51"/>
                  </a:lnTo>
                  <a:lnTo>
                    <a:pt x="156" y="49"/>
                  </a:lnTo>
                  <a:lnTo>
                    <a:pt x="162" y="50"/>
                  </a:lnTo>
                  <a:lnTo>
                    <a:pt x="166" y="56"/>
                  </a:lnTo>
                  <a:lnTo>
                    <a:pt x="167" y="61"/>
                  </a:lnTo>
                  <a:lnTo>
                    <a:pt x="169" y="70"/>
                  </a:lnTo>
                  <a:lnTo>
                    <a:pt x="171" y="71"/>
                  </a:lnTo>
                  <a:lnTo>
                    <a:pt x="173" y="75"/>
                  </a:lnTo>
                  <a:lnTo>
                    <a:pt x="173" y="76"/>
                  </a:lnTo>
                  <a:lnTo>
                    <a:pt x="178" y="80"/>
                  </a:lnTo>
                  <a:lnTo>
                    <a:pt x="175" y="95"/>
                  </a:lnTo>
                  <a:lnTo>
                    <a:pt x="173" y="98"/>
                  </a:lnTo>
                  <a:lnTo>
                    <a:pt x="165" y="105"/>
                  </a:lnTo>
                  <a:lnTo>
                    <a:pt x="161" y="111"/>
                  </a:lnTo>
                  <a:lnTo>
                    <a:pt x="161" y="113"/>
                  </a:lnTo>
                  <a:lnTo>
                    <a:pt x="164" y="113"/>
                  </a:lnTo>
                  <a:lnTo>
                    <a:pt x="165" y="115"/>
                  </a:lnTo>
                  <a:lnTo>
                    <a:pt x="169" y="114"/>
                  </a:lnTo>
                  <a:lnTo>
                    <a:pt x="170" y="116"/>
                  </a:lnTo>
                  <a:lnTo>
                    <a:pt x="172" y="118"/>
                  </a:lnTo>
                  <a:lnTo>
                    <a:pt x="176" y="118"/>
                  </a:lnTo>
                  <a:lnTo>
                    <a:pt x="183" y="123"/>
                  </a:lnTo>
                  <a:lnTo>
                    <a:pt x="193" y="123"/>
                  </a:lnTo>
                  <a:lnTo>
                    <a:pt x="196" y="123"/>
                  </a:lnTo>
                  <a:lnTo>
                    <a:pt x="199" y="130"/>
                  </a:lnTo>
                  <a:lnTo>
                    <a:pt x="199" y="134"/>
                  </a:lnTo>
                  <a:lnTo>
                    <a:pt x="202" y="135"/>
                  </a:lnTo>
                  <a:lnTo>
                    <a:pt x="205" y="140"/>
                  </a:lnTo>
                  <a:lnTo>
                    <a:pt x="207" y="143"/>
                  </a:lnTo>
                  <a:lnTo>
                    <a:pt x="213" y="145"/>
                  </a:lnTo>
                  <a:lnTo>
                    <a:pt x="218" y="150"/>
                  </a:lnTo>
                  <a:lnTo>
                    <a:pt x="224" y="148"/>
                  </a:lnTo>
                  <a:lnTo>
                    <a:pt x="224" y="153"/>
                  </a:lnTo>
                  <a:lnTo>
                    <a:pt x="226" y="158"/>
                  </a:lnTo>
                  <a:lnTo>
                    <a:pt x="227" y="164"/>
                  </a:lnTo>
                  <a:lnTo>
                    <a:pt x="225" y="172"/>
                  </a:lnTo>
                  <a:lnTo>
                    <a:pt x="227" y="177"/>
                  </a:lnTo>
                  <a:lnTo>
                    <a:pt x="227" y="178"/>
                  </a:lnTo>
                  <a:lnTo>
                    <a:pt x="223" y="178"/>
                  </a:lnTo>
                  <a:lnTo>
                    <a:pt x="221" y="181"/>
                  </a:lnTo>
                  <a:lnTo>
                    <a:pt x="221" y="189"/>
                  </a:lnTo>
                  <a:lnTo>
                    <a:pt x="218" y="189"/>
                  </a:lnTo>
                  <a:lnTo>
                    <a:pt x="218" y="191"/>
                  </a:lnTo>
                  <a:lnTo>
                    <a:pt x="218" y="196"/>
                  </a:lnTo>
                  <a:lnTo>
                    <a:pt x="216" y="201"/>
                  </a:lnTo>
                  <a:lnTo>
                    <a:pt x="218" y="228"/>
                  </a:lnTo>
                  <a:lnTo>
                    <a:pt x="196" y="224"/>
                  </a:lnTo>
                  <a:lnTo>
                    <a:pt x="189" y="220"/>
                  </a:lnTo>
                  <a:lnTo>
                    <a:pt x="186" y="217"/>
                  </a:lnTo>
                  <a:lnTo>
                    <a:pt x="180" y="217"/>
                  </a:lnTo>
                  <a:lnTo>
                    <a:pt x="169" y="215"/>
                  </a:lnTo>
                  <a:lnTo>
                    <a:pt x="160" y="210"/>
                  </a:lnTo>
                  <a:lnTo>
                    <a:pt x="154" y="206"/>
                  </a:lnTo>
                  <a:lnTo>
                    <a:pt x="144" y="201"/>
                  </a:lnTo>
                  <a:lnTo>
                    <a:pt x="133" y="193"/>
                  </a:lnTo>
                  <a:lnTo>
                    <a:pt x="119" y="188"/>
                  </a:lnTo>
                  <a:lnTo>
                    <a:pt x="105" y="169"/>
                  </a:lnTo>
                  <a:lnTo>
                    <a:pt x="69" y="141"/>
                  </a:lnTo>
                  <a:lnTo>
                    <a:pt x="64" y="135"/>
                  </a:lnTo>
                  <a:lnTo>
                    <a:pt x="59" y="131"/>
                  </a:lnTo>
                  <a:lnTo>
                    <a:pt x="49" y="129"/>
                  </a:lnTo>
                  <a:lnTo>
                    <a:pt x="36" y="123"/>
                  </a:lnTo>
                  <a:lnTo>
                    <a:pt x="28" y="109"/>
                  </a:lnTo>
                  <a:lnTo>
                    <a:pt x="19" y="105"/>
                  </a:lnTo>
                  <a:lnTo>
                    <a:pt x="16" y="103"/>
                  </a:lnTo>
                  <a:lnTo>
                    <a:pt x="16" y="98"/>
                  </a:lnTo>
                  <a:lnTo>
                    <a:pt x="15" y="95"/>
                  </a:lnTo>
                  <a:lnTo>
                    <a:pt x="4" y="92"/>
                  </a:lnTo>
                  <a:lnTo>
                    <a:pt x="3" y="88"/>
                  </a:lnTo>
                  <a:lnTo>
                    <a:pt x="0" y="88"/>
                  </a:lnTo>
                  <a:lnTo>
                    <a:pt x="3" y="87"/>
                  </a:lnTo>
                  <a:lnTo>
                    <a:pt x="3" y="8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45" name="Freeform 40">
              <a:extLst>
                <a:ext uri="{FF2B5EF4-FFF2-40B4-BE49-F238E27FC236}">
                  <a16:creationId xmlns:a16="http://schemas.microsoft.com/office/drawing/2014/main" id="{5BDB0716-1892-54FD-8D4B-EAD8960E75B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849282" y="3906594"/>
              <a:ext cx="344731" cy="304844"/>
            </a:xfrm>
            <a:custGeom>
              <a:avLst/>
              <a:gdLst>
                <a:gd name="T0" fmla="*/ 2147483647 w 642"/>
                <a:gd name="T1" fmla="*/ 2147483647 h 532"/>
                <a:gd name="T2" fmla="*/ 2147483647 w 642"/>
                <a:gd name="T3" fmla="*/ 0 h 532"/>
                <a:gd name="T4" fmla="*/ 2147483647 w 642"/>
                <a:gd name="T5" fmla="*/ 0 h 532"/>
                <a:gd name="T6" fmla="*/ 2147483647 w 642"/>
                <a:gd name="T7" fmla="*/ 0 h 532"/>
                <a:gd name="T8" fmla="*/ 2147483647 w 642"/>
                <a:gd name="T9" fmla="*/ 0 h 532"/>
                <a:gd name="T10" fmla="*/ 2147483647 w 642"/>
                <a:gd name="T11" fmla="*/ 0 h 532"/>
                <a:gd name="T12" fmla="*/ 2147483647 w 642"/>
                <a:gd name="T13" fmla="*/ 0 h 532"/>
                <a:gd name="T14" fmla="*/ 2147483647 w 642"/>
                <a:gd name="T15" fmla="*/ 0 h 532"/>
                <a:gd name="T16" fmla="*/ 2147483647 w 642"/>
                <a:gd name="T17" fmla="*/ 0 h 532"/>
                <a:gd name="T18" fmla="*/ 2147483647 w 642"/>
                <a:gd name="T19" fmla="*/ 0 h 532"/>
                <a:gd name="T20" fmla="*/ 2147483647 w 642"/>
                <a:gd name="T21" fmla="*/ 0 h 532"/>
                <a:gd name="T22" fmla="*/ 2147483647 w 642"/>
                <a:gd name="T23" fmla="*/ 0 h 532"/>
                <a:gd name="T24" fmla="*/ 2147483647 w 642"/>
                <a:gd name="T25" fmla="*/ 0 h 532"/>
                <a:gd name="T26" fmla="*/ 2147483647 w 642"/>
                <a:gd name="T27" fmla="*/ 0 h 532"/>
                <a:gd name="T28" fmla="*/ 2147483647 w 642"/>
                <a:gd name="T29" fmla="*/ 0 h 532"/>
                <a:gd name="T30" fmla="*/ 2147483647 w 642"/>
                <a:gd name="T31" fmla="*/ 0 h 532"/>
                <a:gd name="T32" fmla="*/ 2147483647 w 642"/>
                <a:gd name="T33" fmla="*/ 0 h 532"/>
                <a:gd name="T34" fmla="*/ 2147483647 w 642"/>
                <a:gd name="T35" fmla="*/ 0 h 532"/>
                <a:gd name="T36" fmla="*/ 2147483647 w 642"/>
                <a:gd name="T37" fmla="*/ 0 h 532"/>
                <a:gd name="T38" fmla="*/ 2147483647 w 642"/>
                <a:gd name="T39" fmla="*/ 0 h 532"/>
                <a:gd name="T40" fmla="*/ 2147483647 w 642"/>
                <a:gd name="T41" fmla="*/ 2147483647 h 532"/>
                <a:gd name="T42" fmla="*/ 2147483647 w 642"/>
                <a:gd name="T43" fmla="*/ 2147483647 h 532"/>
                <a:gd name="T44" fmla="*/ 2147483647 w 642"/>
                <a:gd name="T45" fmla="*/ 2147483647 h 532"/>
                <a:gd name="T46" fmla="*/ 2147483647 w 642"/>
                <a:gd name="T47" fmla="*/ 2147483647 h 532"/>
                <a:gd name="T48" fmla="*/ 2147483647 w 642"/>
                <a:gd name="T49" fmla="*/ 2147483647 h 532"/>
                <a:gd name="T50" fmla="*/ 2147483647 w 642"/>
                <a:gd name="T51" fmla="*/ 2147483647 h 532"/>
                <a:gd name="T52" fmla="*/ 2147483647 w 642"/>
                <a:gd name="T53" fmla="*/ 2147483647 h 532"/>
                <a:gd name="T54" fmla="*/ 2147483647 w 642"/>
                <a:gd name="T55" fmla="*/ 2147483647 h 532"/>
                <a:gd name="T56" fmla="*/ 2147483647 w 642"/>
                <a:gd name="T57" fmla="*/ 2147483647 h 532"/>
                <a:gd name="T58" fmla="*/ 2147483647 w 642"/>
                <a:gd name="T59" fmla="*/ 2147483647 h 532"/>
                <a:gd name="T60" fmla="*/ 2147483647 w 642"/>
                <a:gd name="T61" fmla="*/ 2147483647 h 532"/>
                <a:gd name="T62" fmla="*/ 2147483647 w 642"/>
                <a:gd name="T63" fmla="*/ 2147483647 h 532"/>
                <a:gd name="T64" fmla="*/ 2147483647 w 642"/>
                <a:gd name="T65" fmla="*/ 2147483647 h 532"/>
                <a:gd name="T66" fmla="*/ 2147483647 w 642"/>
                <a:gd name="T67" fmla="*/ 2147483647 h 532"/>
                <a:gd name="T68" fmla="*/ 2147483647 w 642"/>
                <a:gd name="T69" fmla="*/ 2147483647 h 532"/>
                <a:gd name="T70" fmla="*/ 2147483647 w 642"/>
                <a:gd name="T71" fmla="*/ 2147483647 h 532"/>
                <a:gd name="T72" fmla="*/ 2147483647 w 642"/>
                <a:gd name="T73" fmla="*/ 2147483647 h 532"/>
                <a:gd name="T74" fmla="*/ 2147483647 w 642"/>
                <a:gd name="T75" fmla="*/ 2147483647 h 532"/>
                <a:gd name="T76" fmla="*/ 2147483647 w 642"/>
                <a:gd name="T77" fmla="*/ 2147483647 h 532"/>
                <a:gd name="T78" fmla="*/ 2147483647 w 642"/>
                <a:gd name="T79" fmla="*/ 2147483647 h 532"/>
                <a:gd name="T80" fmla="*/ 2147483647 w 642"/>
                <a:gd name="T81" fmla="*/ 2147483647 h 532"/>
                <a:gd name="T82" fmla="*/ 2147483647 w 642"/>
                <a:gd name="T83" fmla="*/ 2147483647 h 532"/>
                <a:gd name="T84" fmla="*/ 2147483647 w 642"/>
                <a:gd name="T85" fmla="*/ 2147483647 h 532"/>
                <a:gd name="T86" fmla="*/ 2147483647 w 642"/>
                <a:gd name="T87" fmla="*/ 2147483647 h 532"/>
                <a:gd name="T88" fmla="*/ 2147483647 w 642"/>
                <a:gd name="T89" fmla="*/ 2147483647 h 532"/>
                <a:gd name="T90" fmla="*/ 2147483647 w 642"/>
                <a:gd name="T91" fmla="*/ 2147483647 h 532"/>
                <a:gd name="T92" fmla="*/ 2147483647 w 642"/>
                <a:gd name="T93" fmla="*/ 2147483647 h 532"/>
                <a:gd name="T94" fmla="*/ 2147483647 w 642"/>
                <a:gd name="T95" fmla="*/ 2147483647 h 532"/>
                <a:gd name="T96" fmla="*/ 2147483647 w 642"/>
                <a:gd name="T97" fmla="*/ 2147483647 h 532"/>
                <a:gd name="T98" fmla="*/ 0 w 642"/>
                <a:gd name="T99" fmla="*/ 2147483647 h 532"/>
                <a:gd name="T100" fmla="*/ 0 w 642"/>
                <a:gd name="T101" fmla="*/ 2147483647 h 532"/>
                <a:gd name="T102" fmla="*/ 0 w 642"/>
                <a:gd name="T103" fmla="*/ 2147483647 h 532"/>
                <a:gd name="T104" fmla="*/ 0 w 642"/>
                <a:gd name="T105" fmla="*/ 2147483647 h 532"/>
                <a:gd name="T106" fmla="*/ 2147483647 w 642"/>
                <a:gd name="T107" fmla="*/ 2147483647 h 532"/>
                <a:gd name="T108" fmla="*/ 2147483647 w 642"/>
                <a:gd name="T109" fmla="*/ 2147483647 h 532"/>
                <a:gd name="T110" fmla="*/ 2147483647 w 642"/>
                <a:gd name="T111" fmla="*/ 2147483647 h 532"/>
                <a:gd name="T112" fmla="*/ 2147483647 w 642"/>
                <a:gd name="T113" fmla="*/ 2147483647 h 532"/>
                <a:gd name="T114" fmla="*/ 2147483647 w 642"/>
                <a:gd name="T115" fmla="*/ 2147483647 h 532"/>
                <a:gd name="T116" fmla="*/ 0 w 642"/>
                <a:gd name="T117" fmla="*/ 2147483647 h 53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42"/>
                <a:gd name="T178" fmla="*/ 0 h 532"/>
                <a:gd name="T179" fmla="*/ 642 w 642"/>
                <a:gd name="T180" fmla="*/ 532 h 53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42" h="532">
                  <a:moveTo>
                    <a:pt x="49" y="117"/>
                  </a:moveTo>
                  <a:lnTo>
                    <a:pt x="50" y="110"/>
                  </a:lnTo>
                  <a:lnTo>
                    <a:pt x="48" y="85"/>
                  </a:lnTo>
                  <a:lnTo>
                    <a:pt x="49" y="76"/>
                  </a:lnTo>
                  <a:lnTo>
                    <a:pt x="51" y="72"/>
                  </a:lnTo>
                  <a:lnTo>
                    <a:pt x="55" y="67"/>
                  </a:lnTo>
                  <a:lnTo>
                    <a:pt x="62" y="63"/>
                  </a:lnTo>
                  <a:lnTo>
                    <a:pt x="67" y="57"/>
                  </a:lnTo>
                  <a:lnTo>
                    <a:pt x="75" y="43"/>
                  </a:lnTo>
                  <a:lnTo>
                    <a:pt x="77" y="25"/>
                  </a:lnTo>
                  <a:lnTo>
                    <a:pt x="78" y="21"/>
                  </a:lnTo>
                  <a:lnTo>
                    <a:pt x="96" y="9"/>
                  </a:lnTo>
                  <a:lnTo>
                    <a:pt x="115" y="4"/>
                  </a:lnTo>
                  <a:lnTo>
                    <a:pt x="133" y="4"/>
                  </a:lnTo>
                  <a:lnTo>
                    <a:pt x="139" y="3"/>
                  </a:lnTo>
                  <a:lnTo>
                    <a:pt x="147" y="0"/>
                  </a:lnTo>
                  <a:lnTo>
                    <a:pt x="162" y="2"/>
                  </a:lnTo>
                  <a:lnTo>
                    <a:pt x="199" y="20"/>
                  </a:lnTo>
                  <a:lnTo>
                    <a:pt x="221" y="41"/>
                  </a:lnTo>
                  <a:lnTo>
                    <a:pt x="228" y="46"/>
                  </a:lnTo>
                  <a:lnTo>
                    <a:pt x="233" y="48"/>
                  </a:lnTo>
                  <a:lnTo>
                    <a:pt x="242" y="48"/>
                  </a:lnTo>
                  <a:lnTo>
                    <a:pt x="248" y="38"/>
                  </a:lnTo>
                  <a:lnTo>
                    <a:pt x="264" y="30"/>
                  </a:lnTo>
                  <a:lnTo>
                    <a:pt x="274" y="27"/>
                  </a:lnTo>
                  <a:lnTo>
                    <a:pt x="286" y="27"/>
                  </a:lnTo>
                  <a:lnTo>
                    <a:pt x="303" y="37"/>
                  </a:lnTo>
                  <a:lnTo>
                    <a:pt x="327" y="52"/>
                  </a:lnTo>
                  <a:lnTo>
                    <a:pt x="339" y="56"/>
                  </a:lnTo>
                  <a:lnTo>
                    <a:pt x="362" y="58"/>
                  </a:lnTo>
                  <a:lnTo>
                    <a:pt x="375" y="57"/>
                  </a:lnTo>
                  <a:lnTo>
                    <a:pt x="389" y="47"/>
                  </a:lnTo>
                  <a:lnTo>
                    <a:pt x="406" y="32"/>
                  </a:lnTo>
                  <a:lnTo>
                    <a:pt x="415" y="27"/>
                  </a:lnTo>
                  <a:lnTo>
                    <a:pt x="441" y="27"/>
                  </a:lnTo>
                  <a:lnTo>
                    <a:pt x="459" y="30"/>
                  </a:lnTo>
                  <a:lnTo>
                    <a:pt x="469" y="26"/>
                  </a:lnTo>
                  <a:lnTo>
                    <a:pt x="489" y="24"/>
                  </a:lnTo>
                  <a:lnTo>
                    <a:pt x="496" y="26"/>
                  </a:lnTo>
                  <a:lnTo>
                    <a:pt x="503" y="30"/>
                  </a:lnTo>
                  <a:lnTo>
                    <a:pt x="511" y="32"/>
                  </a:lnTo>
                  <a:lnTo>
                    <a:pt x="517" y="36"/>
                  </a:lnTo>
                  <a:lnTo>
                    <a:pt x="528" y="36"/>
                  </a:lnTo>
                  <a:lnTo>
                    <a:pt x="534" y="32"/>
                  </a:lnTo>
                  <a:lnTo>
                    <a:pt x="544" y="22"/>
                  </a:lnTo>
                  <a:lnTo>
                    <a:pt x="544" y="21"/>
                  </a:lnTo>
                  <a:lnTo>
                    <a:pt x="550" y="16"/>
                  </a:lnTo>
                  <a:lnTo>
                    <a:pt x="558" y="15"/>
                  </a:lnTo>
                  <a:lnTo>
                    <a:pt x="564" y="15"/>
                  </a:lnTo>
                  <a:lnTo>
                    <a:pt x="570" y="3"/>
                  </a:lnTo>
                  <a:lnTo>
                    <a:pt x="571" y="3"/>
                  </a:lnTo>
                  <a:lnTo>
                    <a:pt x="574" y="0"/>
                  </a:lnTo>
                  <a:lnTo>
                    <a:pt x="577" y="11"/>
                  </a:lnTo>
                  <a:lnTo>
                    <a:pt x="581" y="20"/>
                  </a:lnTo>
                  <a:lnTo>
                    <a:pt x="588" y="30"/>
                  </a:lnTo>
                  <a:lnTo>
                    <a:pt x="599" y="36"/>
                  </a:lnTo>
                  <a:lnTo>
                    <a:pt x="604" y="43"/>
                  </a:lnTo>
                  <a:lnTo>
                    <a:pt x="613" y="65"/>
                  </a:lnTo>
                  <a:lnTo>
                    <a:pt x="623" y="73"/>
                  </a:lnTo>
                  <a:lnTo>
                    <a:pt x="624" y="76"/>
                  </a:lnTo>
                  <a:lnTo>
                    <a:pt x="635" y="80"/>
                  </a:lnTo>
                  <a:lnTo>
                    <a:pt x="636" y="81"/>
                  </a:lnTo>
                  <a:lnTo>
                    <a:pt x="639" y="84"/>
                  </a:lnTo>
                  <a:lnTo>
                    <a:pt x="641" y="89"/>
                  </a:lnTo>
                  <a:lnTo>
                    <a:pt x="640" y="106"/>
                  </a:lnTo>
                  <a:lnTo>
                    <a:pt x="642" y="119"/>
                  </a:lnTo>
                  <a:lnTo>
                    <a:pt x="623" y="132"/>
                  </a:lnTo>
                  <a:lnTo>
                    <a:pt x="620" y="135"/>
                  </a:lnTo>
                  <a:lnTo>
                    <a:pt x="604" y="142"/>
                  </a:lnTo>
                  <a:lnTo>
                    <a:pt x="601" y="143"/>
                  </a:lnTo>
                  <a:lnTo>
                    <a:pt x="592" y="153"/>
                  </a:lnTo>
                  <a:lnTo>
                    <a:pt x="587" y="159"/>
                  </a:lnTo>
                  <a:lnTo>
                    <a:pt x="583" y="166"/>
                  </a:lnTo>
                  <a:lnTo>
                    <a:pt x="576" y="189"/>
                  </a:lnTo>
                  <a:lnTo>
                    <a:pt x="567" y="207"/>
                  </a:lnTo>
                  <a:lnTo>
                    <a:pt x="564" y="218"/>
                  </a:lnTo>
                  <a:lnTo>
                    <a:pt x="562" y="229"/>
                  </a:lnTo>
                  <a:lnTo>
                    <a:pt x="554" y="257"/>
                  </a:lnTo>
                  <a:lnTo>
                    <a:pt x="553" y="269"/>
                  </a:lnTo>
                  <a:lnTo>
                    <a:pt x="551" y="275"/>
                  </a:lnTo>
                  <a:lnTo>
                    <a:pt x="549" y="280"/>
                  </a:lnTo>
                  <a:lnTo>
                    <a:pt x="534" y="287"/>
                  </a:lnTo>
                  <a:lnTo>
                    <a:pt x="523" y="299"/>
                  </a:lnTo>
                  <a:lnTo>
                    <a:pt x="517" y="315"/>
                  </a:lnTo>
                  <a:lnTo>
                    <a:pt x="513" y="331"/>
                  </a:lnTo>
                  <a:lnTo>
                    <a:pt x="511" y="338"/>
                  </a:lnTo>
                  <a:lnTo>
                    <a:pt x="501" y="360"/>
                  </a:lnTo>
                  <a:lnTo>
                    <a:pt x="483" y="391"/>
                  </a:lnTo>
                  <a:lnTo>
                    <a:pt x="481" y="400"/>
                  </a:lnTo>
                  <a:lnTo>
                    <a:pt x="478" y="406"/>
                  </a:lnTo>
                  <a:lnTo>
                    <a:pt x="469" y="409"/>
                  </a:lnTo>
                  <a:lnTo>
                    <a:pt x="456" y="408"/>
                  </a:lnTo>
                  <a:lnTo>
                    <a:pt x="447" y="401"/>
                  </a:lnTo>
                  <a:lnTo>
                    <a:pt x="443" y="398"/>
                  </a:lnTo>
                  <a:lnTo>
                    <a:pt x="443" y="397"/>
                  </a:lnTo>
                  <a:lnTo>
                    <a:pt x="440" y="392"/>
                  </a:lnTo>
                  <a:lnTo>
                    <a:pt x="429" y="382"/>
                  </a:lnTo>
                  <a:lnTo>
                    <a:pt x="414" y="381"/>
                  </a:lnTo>
                  <a:lnTo>
                    <a:pt x="392" y="386"/>
                  </a:lnTo>
                  <a:lnTo>
                    <a:pt x="377" y="386"/>
                  </a:lnTo>
                  <a:lnTo>
                    <a:pt x="375" y="386"/>
                  </a:lnTo>
                  <a:lnTo>
                    <a:pt x="371" y="403"/>
                  </a:lnTo>
                  <a:lnTo>
                    <a:pt x="360" y="408"/>
                  </a:lnTo>
                  <a:lnTo>
                    <a:pt x="352" y="416"/>
                  </a:lnTo>
                  <a:lnTo>
                    <a:pt x="344" y="427"/>
                  </a:lnTo>
                  <a:lnTo>
                    <a:pt x="335" y="443"/>
                  </a:lnTo>
                  <a:lnTo>
                    <a:pt x="332" y="458"/>
                  </a:lnTo>
                  <a:lnTo>
                    <a:pt x="330" y="472"/>
                  </a:lnTo>
                  <a:lnTo>
                    <a:pt x="327" y="481"/>
                  </a:lnTo>
                  <a:lnTo>
                    <a:pt x="320" y="490"/>
                  </a:lnTo>
                  <a:lnTo>
                    <a:pt x="313" y="497"/>
                  </a:lnTo>
                  <a:lnTo>
                    <a:pt x="313" y="504"/>
                  </a:lnTo>
                  <a:lnTo>
                    <a:pt x="309" y="498"/>
                  </a:lnTo>
                  <a:lnTo>
                    <a:pt x="304" y="497"/>
                  </a:lnTo>
                  <a:lnTo>
                    <a:pt x="301" y="505"/>
                  </a:lnTo>
                  <a:lnTo>
                    <a:pt x="300" y="517"/>
                  </a:lnTo>
                  <a:lnTo>
                    <a:pt x="276" y="516"/>
                  </a:lnTo>
                  <a:lnTo>
                    <a:pt x="265" y="517"/>
                  </a:lnTo>
                  <a:lnTo>
                    <a:pt x="242" y="508"/>
                  </a:lnTo>
                  <a:lnTo>
                    <a:pt x="237" y="515"/>
                  </a:lnTo>
                  <a:lnTo>
                    <a:pt x="234" y="516"/>
                  </a:lnTo>
                  <a:lnTo>
                    <a:pt x="231" y="521"/>
                  </a:lnTo>
                  <a:lnTo>
                    <a:pt x="227" y="524"/>
                  </a:lnTo>
                  <a:lnTo>
                    <a:pt x="225" y="524"/>
                  </a:lnTo>
                  <a:lnTo>
                    <a:pt x="221" y="525"/>
                  </a:lnTo>
                  <a:lnTo>
                    <a:pt x="216" y="522"/>
                  </a:lnTo>
                  <a:lnTo>
                    <a:pt x="212" y="525"/>
                  </a:lnTo>
                  <a:lnTo>
                    <a:pt x="210" y="524"/>
                  </a:lnTo>
                  <a:lnTo>
                    <a:pt x="193" y="532"/>
                  </a:lnTo>
                  <a:lnTo>
                    <a:pt x="190" y="524"/>
                  </a:lnTo>
                  <a:lnTo>
                    <a:pt x="182" y="524"/>
                  </a:lnTo>
                  <a:lnTo>
                    <a:pt x="180" y="524"/>
                  </a:lnTo>
                  <a:lnTo>
                    <a:pt x="168" y="521"/>
                  </a:lnTo>
                  <a:lnTo>
                    <a:pt x="163" y="513"/>
                  </a:lnTo>
                  <a:lnTo>
                    <a:pt x="151" y="500"/>
                  </a:lnTo>
                  <a:lnTo>
                    <a:pt x="146" y="482"/>
                  </a:lnTo>
                  <a:lnTo>
                    <a:pt x="146" y="471"/>
                  </a:lnTo>
                  <a:lnTo>
                    <a:pt x="151" y="467"/>
                  </a:lnTo>
                  <a:lnTo>
                    <a:pt x="147" y="467"/>
                  </a:lnTo>
                  <a:lnTo>
                    <a:pt x="140" y="465"/>
                  </a:lnTo>
                  <a:lnTo>
                    <a:pt x="136" y="454"/>
                  </a:lnTo>
                  <a:lnTo>
                    <a:pt x="133" y="451"/>
                  </a:lnTo>
                  <a:lnTo>
                    <a:pt x="130" y="445"/>
                  </a:lnTo>
                  <a:lnTo>
                    <a:pt x="126" y="444"/>
                  </a:lnTo>
                  <a:lnTo>
                    <a:pt x="124" y="439"/>
                  </a:lnTo>
                  <a:lnTo>
                    <a:pt x="117" y="429"/>
                  </a:lnTo>
                  <a:lnTo>
                    <a:pt x="96" y="417"/>
                  </a:lnTo>
                  <a:lnTo>
                    <a:pt x="86" y="416"/>
                  </a:lnTo>
                  <a:lnTo>
                    <a:pt x="64" y="413"/>
                  </a:lnTo>
                  <a:lnTo>
                    <a:pt x="5" y="417"/>
                  </a:lnTo>
                  <a:lnTo>
                    <a:pt x="2" y="414"/>
                  </a:lnTo>
                  <a:lnTo>
                    <a:pt x="0" y="375"/>
                  </a:lnTo>
                  <a:lnTo>
                    <a:pt x="1" y="366"/>
                  </a:lnTo>
                  <a:lnTo>
                    <a:pt x="6" y="345"/>
                  </a:lnTo>
                  <a:lnTo>
                    <a:pt x="5" y="315"/>
                  </a:lnTo>
                  <a:lnTo>
                    <a:pt x="6" y="295"/>
                  </a:lnTo>
                  <a:lnTo>
                    <a:pt x="10" y="283"/>
                  </a:lnTo>
                  <a:lnTo>
                    <a:pt x="22" y="263"/>
                  </a:lnTo>
                  <a:lnTo>
                    <a:pt x="23" y="248"/>
                  </a:lnTo>
                  <a:lnTo>
                    <a:pt x="26" y="239"/>
                  </a:lnTo>
                  <a:lnTo>
                    <a:pt x="34" y="229"/>
                  </a:lnTo>
                  <a:lnTo>
                    <a:pt x="49" y="218"/>
                  </a:lnTo>
                  <a:lnTo>
                    <a:pt x="49" y="212"/>
                  </a:lnTo>
                  <a:lnTo>
                    <a:pt x="53" y="209"/>
                  </a:lnTo>
                  <a:lnTo>
                    <a:pt x="53" y="208"/>
                  </a:lnTo>
                  <a:lnTo>
                    <a:pt x="53" y="204"/>
                  </a:lnTo>
                  <a:lnTo>
                    <a:pt x="48" y="199"/>
                  </a:lnTo>
                  <a:lnTo>
                    <a:pt x="48" y="197"/>
                  </a:lnTo>
                  <a:lnTo>
                    <a:pt x="50" y="191"/>
                  </a:lnTo>
                  <a:lnTo>
                    <a:pt x="53" y="189"/>
                  </a:lnTo>
                  <a:lnTo>
                    <a:pt x="58" y="189"/>
                  </a:lnTo>
                  <a:lnTo>
                    <a:pt x="59" y="187"/>
                  </a:lnTo>
                  <a:lnTo>
                    <a:pt x="59" y="169"/>
                  </a:lnTo>
                  <a:lnTo>
                    <a:pt x="55" y="154"/>
                  </a:lnTo>
                  <a:lnTo>
                    <a:pt x="54" y="149"/>
                  </a:lnTo>
                  <a:lnTo>
                    <a:pt x="44" y="139"/>
                  </a:lnTo>
                  <a:lnTo>
                    <a:pt x="43" y="134"/>
                  </a:lnTo>
                  <a:lnTo>
                    <a:pt x="44" y="123"/>
                  </a:lnTo>
                  <a:lnTo>
                    <a:pt x="49" y="11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46" name="Freeform 41">
              <a:extLst>
                <a:ext uri="{FF2B5EF4-FFF2-40B4-BE49-F238E27FC236}">
                  <a16:creationId xmlns:a16="http://schemas.microsoft.com/office/drawing/2014/main" id="{AC45B1DB-EC4B-D803-D16A-A3F78BD3BEE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094026" y="4223631"/>
              <a:ext cx="223851" cy="272836"/>
            </a:xfrm>
            <a:custGeom>
              <a:avLst/>
              <a:gdLst>
                <a:gd name="T0" fmla="*/ 2147483647 w 417"/>
                <a:gd name="T1" fmla="*/ 0 h 479"/>
                <a:gd name="T2" fmla="*/ 2147483647 w 417"/>
                <a:gd name="T3" fmla="*/ 0 h 479"/>
                <a:gd name="T4" fmla="*/ 2147483647 w 417"/>
                <a:gd name="T5" fmla="*/ 0 h 479"/>
                <a:gd name="T6" fmla="*/ 2147483647 w 417"/>
                <a:gd name="T7" fmla="*/ 0 h 479"/>
                <a:gd name="T8" fmla="*/ 2147483647 w 417"/>
                <a:gd name="T9" fmla="*/ 0 h 479"/>
                <a:gd name="T10" fmla="*/ 2147483647 w 417"/>
                <a:gd name="T11" fmla="*/ 2147483647 h 479"/>
                <a:gd name="T12" fmla="*/ 2147483647 w 417"/>
                <a:gd name="T13" fmla="*/ 2147483647 h 479"/>
                <a:gd name="T14" fmla="*/ 2147483647 w 417"/>
                <a:gd name="T15" fmla="*/ 2147483647 h 479"/>
                <a:gd name="T16" fmla="*/ 2147483647 w 417"/>
                <a:gd name="T17" fmla="*/ 2147483647 h 479"/>
                <a:gd name="T18" fmla="*/ 2147483647 w 417"/>
                <a:gd name="T19" fmla="*/ 2147483647 h 479"/>
                <a:gd name="T20" fmla="*/ 2147483647 w 417"/>
                <a:gd name="T21" fmla="*/ 2147483647 h 479"/>
                <a:gd name="T22" fmla="*/ 2147483647 w 417"/>
                <a:gd name="T23" fmla="*/ 2147483647 h 479"/>
                <a:gd name="T24" fmla="*/ 2147483647 w 417"/>
                <a:gd name="T25" fmla="*/ 2147483647 h 479"/>
                <a:gd name="T26" fmla="*/ 2147483647 w 417"/>
                <a:gd name="T27" fmla="*/ 2147483647 h 479"/>
                <a:gd name="T28" fmla="*/ 2147483647 w 417"/>
                <a:gd name="T29" fmla="*/ 2147483647 h 479"/>
                <a:gd name="T30" fmla="*/ 2147483647 w 417"/>
                <a:gd name="T31" fmla="*/ 2147483647 h 479"/>
                <a:gd name="T32" fmla="*/ 2147483647 w 417"/>
                <a:gd name="T33" fmla="*/ 2147483647 h 479"/>
                <a:gd name="T34" fmla="*/ 2147483647 w 417"/>
                <a:gd name="T35" fmla="*/ 2147483647 h 479"/>
                <a:gd name="T36" fmla="*/ 2147483647 w 417"/>
                <a:gd name="T37" fmla="*/ 2147483647 h 479"/>
                <a:gd name="T38" fmla="*/ 2147483647 w 417"/>
                <a:gd name="T39" fmla="*/ 2147483647 h 479"/>
                <a:gd name="T40" fmla="*/ 2147483647 w 417"/>
                <a:gd name="T41" fmla="*/ 2147483647 h 479"/>
                <a:gd name="T42" fmla="*/ 0 w 417"/>
                <a:gd name="T43" fmla="*/ 2147483647 h 479"/>
                <a:gd name="T44" fmla="*/ 0 w 417"/>
                <a:gd name="T45" fmla="*/ 2147483647 h 479"/>
                <a:gd name="T46" fmla="*/ 0 w 417"/>
                <a:gd name="T47" fmla="*/ 2147483647 h 479"/>
                <a:gd name="T48" fmla="*/ 0 w 417"/>
                <a:gd name="T49" fmla="*/ 2147483647 h 479"/>
                <a:gd name="T50" fmla="*/ 0 w 417"/>
                <a:gd name="T51" fmla="*/ 2147483647 h 479"/>
                <a:gd name="T52" fmla="*/ 0 w 417"/>
                <a:gd name="T53" fmla="*/ 2147483647 h 479"/>
                <a:gd name="T54" fmla="*/ 0 w 417"/>
                <a:gd name="T55" fmla="*/ 2147483647 h 479"/>
                <a:gd name="T56" fmla="*/ 0 w 417"/>
                <a:gd name="T57" fmla="*/ 2147483647 h 479"/>
                <a:gd name="T58" fmla="*/ 2147483647 w 417"/>
                <a:gd name="T59" fmla="*/ 2147483647 h 479"/>
                <a:gd name="T60" fmla="*/ 2147483647 w 417"/>
                <a:gd name="T61" fmla="*/ 2147483647 h 479"/>
                <a:gd name="T62" fmla="*/ 2147483647 w 417"/>
                <a:gd name="T63" fmla="*/ 2147483647 h 479"/>
                <a:gd name="T64" fmla="*/ 2147483647 w 417"/>
                <a:gd name="T65" fmla="*/ 2147483647 h 479"/>
                <a:gd name="T66" fmla="*/ 2147483647 w 417"/>
                <a:gd name="T67" fmla="*/ 2147483647 h 479"/>
                <a:gd name="T68" fmla="*/ 2147483647 w 417"/>
                <a:gd name="T69" fmla="*/ 2147483647 h 479"/>
                <a:gd name="T70" fmla="*/ 2147483647 w 417"/>
                <a:gd name="T71" fmla="*/ 2147483647 h 479"/>
                <a:gd name="T72" fmla="*/ 2147483647 w 417"/>
                <a:gd name="T73" fmla="*/ 2147483647 h 479"/>
                <a:gd name="T74" fmla="*/ 2147483647 w 417"/>
                <a:gd name="T75" fmla="*/ 2147483647 h 479"/>
                <a:gd name="T76" fmla="*/ 2147483647 w 417"/>
                <a:gd name="T77" fmla="*/ 2147483647 h 479"/>
                <a:gd name="T78" fmla="*/ 2147483647 w 417"/>
                <a:gd name="T79" fmla="*/ 2147483647 h 479"/>
                <a:gd name="T80" fmla="*/ 2147483647 w 417"/>
                <a:gd name="T81" fmla="*/ 2147483647 h 479"/>
                <a:gd name="T82" fmla="*/ 2147483647 w 417"/>
                <a:gd name="T83" fmla="*/ 2147483647 h 479"/>
                <a:gd name="T84" fmla="*/ 2147483647 w 417"/>
                <a:gd name="T85" fmla="*/ 2147483647 h 479"/>
                <a:gd name="T86" fmla="*/ 2147483647 w 417"/>
                <a:gd name="T87" fmla="*/ 2147483647 h 479"/>
                <a:gd name="T88" fmla="*/ 2147483647 w 417"/>
                <a:gd name="T89" fmla="*/ 2147483647 h 479"/>
                <a:gd name="T90" fmla="*/ 2147483647 w 417"/>
                <a:gd name="T91" fmla="*/ 0 h 479"/>
                <a:gd name="T92" fmla="*/ 2147483647 w 417"/>
                <a:gd name="T93" fmla="*/ 0 h 479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17"/>
                <a:gd name="T142" fmla="*/ 0 h 479"/>
                <a:gd name="T143" fmla="*/ 417 w 417"/>
                <a:gd name="T144" fmla="*/ 479 h 479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17" h="479">
                  <a:moveTo>
                    <a:pt x="414" y="0"/>
                  </a:moveTo>
                  <a:lnTo>
                    <a:pt x="408" y="5"/>
                  </a:lnTo>
                  <a:lnTo>
                    <a:pt x="393" y="12"/>
                  </a:lnTo>
                  <a:lnTo>
                    <a:pt x="377" y="16"/>
                  </a:lnTo>
                  <a:lnTo>
                    <a:pt x="360" y="10"/>
                  </a:lnTo>
                  <a:lnTo>
                    <a:pt x="343" y="0"/>
                  </a:lnTo>
                  <a:lnTo>
                    <a:pt x="323" y="3"/>
                  </a:lnTo>
                  <a:lnTo>
                    <a:pt x="300" y="17"/>
                  </a:lnTo>
                  <a:lnTo>
                    <a:pt x="283" y="33"/>
                  </a:lnTo>
                  <a:lnTo>
                    <a:pt x="274" y="47"/>
                  </a:lnTo>
                  <a:lnTo>
                    <a:pt x="272" y="58"/>
                  </a:lnTo>
                  <a:lnTo>
                    <a:pt x="274" y="101"/>
                  </a:lnTo>
                  <a:lnTo>
                    <a:pt x="272" y="111"/>
                  </a:lnTo>
                  <a:lnTo>
                    <a:pt x="267" y="114"/>
                  </a:lnTo>
                  <a:lnTo>
                    <a:pt x="244" y="96"/>
                  </a:lnTo>
                  <a:lnTo>
                    <a:pt x="234" y="96"/>
                  </a:lnTo>
                  <a:lnTo>
                    <a:pt x="220" y="91"/>
                  </a:lnTo>
                  <a:lnTo>
                    <a:pt x="205" y="90"/>
                  </a:lnTo>
                  <a:lnTo>
                    <a:pt x="194" y="84"/>
                  </a:lnTo>
                  <a:lnTo>
                    <a:pt x="118" y="84"/>
                  </a:lnTo>
                  <a:lnTo>
                    <a:pt x="112" y="98"/>
                  </a:lnTo>
                  <a:lnTo>
                    <a:pt x="111" y="117"/>
                  </a:lnTo>
                  <a:lnTo>
                    <a:pt x="112" y="135"/>
                  </a:lnTo>
                  <a:lnTo>
                    <a:pt x="121" y="140"/>
                  </a:lnTo>
                  <a:lnTo>
                    <a:pt x="137" y="117"/>
                  </a:lnTo>
                  <a:lnTo>
                    <a:pt x="166" y="124"/>
                  </a:lnTo>
                  <a:lnTo>
                    <a:pt x="176" y="137"/>
                  </a:lnTo>
                  <a:lnTo>
                    <a:pt x="177" y="157"/>
                  </a:lnTo>
                  <a:lnTo>
                    <a:pt x="159" y="187"/>
                  </a:lnTo>
                  <a:lnTo>
                    <a:pt x="158" y="204"/>
                  </a:lnTo>
                  <a:lnTo>
                    <a:pt x="162" y="218"/>
                  </a:lnTo>
                  <a:lnTo>
                    <a:pt x="173" y="246"/>
                  </a:lnTo>
                  <a:lnTo>
                    <a:pt x="172" y="262"/>
                  </a:lnTo>
                  <a:lnTo>
                    <a:pt x="169" y="275"/>
                  </a:lnTo>
                  <a:lnTo>
                    <a:pt x="166" y="312"/>
                  </a:lnTo>
                  <a:lnTo>
                    <a:pt x="161" y="329"/>
                  </a:lnTo>
                  <a:lnTo>
                    <a:pt x="145" y="334"/>
                  </a:lnTo>
                  <a:lnTo>
                    <a:pt x="127" y="318"/>
                  </a:lnTo>
                  <a:lnTo>
                    <a:pt x="102" y="321"/>
                  </a:lnTo>
                  <a:lnTo>
                    <a:pt x="92" y="310"/>
                  </a:lnTo>
                  <a:lnTo>
                    <a:pt x="85" y="305"/>
                  </a:lnTo>
                  <a:lnTo>
                    <a:pt x="74" y="313"/>
                  </a:lnTo>
                  <a:lnTo>
                    <a:pt x="65" y="324"/>
                  </a:lnTo>
                  <a:lnTo>
                    <a:pt x="42" y="333"/>
                  </a:lnTo>
                  <a:lnTo>
                    <a:pt x="32" y="342"/>
                  </a:lnTo>
                  <a:lnTo>
                    <a:pt x="27" y="350"/>
                  </a:lnTo>
                  <a:lnTo>
                    <a:pt x="26" y="363"/>
                  </a:lnTo>
                  <a:lnTo>
                    <a:pt x="31" y="375"/>
                  </a:lnTo>
                  <a:lnTo>
                    <a:pt x="33" y="390"/>
                  </a:lnTo>
                  <a:lnTo>
                    <a:pt x="31" y="394"/>
                  </a:lnTo>
                  <a:lnTo>
                    <a:pt x="19" y="394"/>
                  </a:lnTo>
                  <a:lnTo>
                    <a:pt x="8" y="397"/>
                  </a:lnTo>
                  <a:lnTo>
                    <a:pt x="2" y="404"/>
                  </a:lnTo>
                  <a:lnTo>
                    <a:pt x="0" y="419"/>
                  </a:lnTo>
                  <a:lnTo>
                    <a:pt x="13" y="425"/>
                  </a:lnTo>
                  <a:lnTo>
                    <a:pt x="19" y="434"/>
                  </a:lnTo>
                  <a:lnTo>
                    <a:pt x="33" y="449"/>
                  </a:lnTo>
                  <a:lnTo>
                    <a:pt x="40" y="456"/>
                  </a:lnTo>
                  <a:lnTo>
                    <a:pt x="49" y="479"/>
                  </a:lnTo>
                  <a:lnTo>
                    <a:pt x="63" y="469"/>
                  </a:lnTo>
                  <a:lnTo>
                    <a:pt x="73" y="463"/>
                  </a:lnTo>
                  <a:lnTo>
                    <a:pt x="80" y="449"/>
                  </a:lnTo>
                  <a:lnTo>
                    <a:pt x="90" y="444"/>
                  </a:lnTo>
                  <a:lnTo>
                    <a:pt x="100" y="447"/>
                  </a:lnTo>
                  <a:lnTo>
                    <a:pt x="105" y="458"/>
                  </a:lnTo>
                  <a:lnTo>
                    <a:pt x="121" y="468"/>
                  </a:lnTo>
                  <a:lnTo>
                    <a:pt x="133" y="465"/>
                  </a:lnTo>
                  <a:lnTo>
                    <a:pt x="140" y="452"/>
                  </a:lnTo>
                  <a:lnTo>
                    <a:pt x="148" y="446"/>
                  </a:lnTo>
                  <a:lnTo>
                    <a:pt x="161" y="444"/>
                  </a:lnTo>
                  <a:lnTo>
                    <a:pt x="175" y="440"/>
                  </a:lnTo>
                  <a:lnTo>
                    <a:pt x="177" y="445"/>
                  </a:lnTo>
                  <a:lnTo>
                    <a:pt x="178" y="463"/>
                  </a:lnTo>
                  <a:lnTo>
                    <a:pt x="188" y="466"/>
                  </a:lnTo>
                  <a:lnTo>
                    <a:pt x="209" y="458"/>
                  </a:lnTo>
                  <a:lnTo>
                    <a:pt x="232" y="437"/>
                  </a:lnTo>
                  <a:lnTo>
                    <a:pt x="246" y="430"/>
                  </a:lnTo>
                  <a:lnTo>
                    <a:pt x="261" y="415"/>
                  </a:lnTo>
                  <a:lnTo>
                    <a:pt x="274" y="394"/>
                  </a:lnTo>
                  <a:lnTo>
                    <a:pt x="278" y="376"/>
                  </a:lnTo>
                  <a:lnTo>
                    <a:pt x="278" y="358"/>
                  </a:lnTo>
                  <a:lnTo>
                    <a:pt x="282" y="337"/>
                  </a:lnTo>
                  <a:lnTo>
                    <a:pt x="289" y="316"/>
                  </a:lnTo>
                  <a:lnTo>
                    <a:pt x="312" y="280"/>
                  </a:lnTo>
                  <a:lnTo>
                    <a:pt x="329" y="264"/>
                  </a:lnTo>
                  <a:lnTo>
                    <a:pt x="348" y="254"/>
                  </a:lnTo>
                  <a:lnTo>
                    <a:pt x="363" y="241"/>
                  </a:lnTo>
                  <a:lnTo>
                    <a:pt x="364" y="237"/>
                  </a:lnTo>
                  <a:lnTo>
                    <a:pt x="371" y="207"/>
                  </a:lnTo>
                  <a:lnTo>
                    <a:pt x="372" y="141"/>
                  </a:lnTo>
                  <a:lnTo>
                    <a:pt x="381" y="97"/>
                  </a:lnTo>
                  <a:lnTo>
                    <a:pt x="391" y="73"/>
                  </a:lnTo>
                  <a:lnTo>
                    <a:pt x="412" y="36"/>
                  </a:lnTo>
                  <a:lnTo>
                    <a:pt x="417" y="17"/>
                  </a:lnTo>
                  <a:lnTo>
                    <a:pt x="414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47" name="Freeform 42">
              <a:extLst>
                <a:ext uri="{FF2B5EF4-FFF2-40B4-BE49-F238E27FC236}">
                  <a16:creationId xmlns:a16="http://schemas.microsoft.com/office/drawing/2014/main" id="{94B608D2-EA2E-1AFC-1CEE-6D38DF53AFD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043286" y="4270882"/>
              <a:ext cx="56709" cy="38105"/>
            </a:xfrm>
            <a:custGeom>
              <a:avLst/>
              <a:gdLst>
                <a:gd name="T0" fmla="*/ 2147483647 w 107"/>
                <a:gd name="T1" fmla="*/ 0 h 69"/>
                <a:gd name="T2" fmla="*/ 2147483647 w 107"/>
                <a:gd name="T3" fmla="*/ 0 h 69"/>
                <a:gd name="T4" fmla="*/ 0 w 107"/>
                <a:gd name="T5" fmla="*/ 0 h 69"/>
                <a:gd name="T6" fmla="*/ 0 w 107"/>
                <a:gd name="T7" fmla="*/ 0 h 69"/>
                <a:gd name="T8" fmla="*/ 0 w 107"/>
                <a:gd name="T9" fmla="*/ 0 h 69"/>
                <a:gd name="T10" fmla="*/ 0 w 107"/>
                <a:gd name="T11" fmla="*/ 0 h 69"/>
                <a:gd name="T12" fmla="*/ 0 w 107"/>
                <a:gd name="T13" fmla="*/ 0 h 69"/>
                <a:gd name="T14" fmla="*/ 0 w 107"/>
                <a:gd name="T15" fmla="*/ 0 h 69"/>
                <a:gd name="T16" fmla="*/ 0 w 107"/>
                <a:gd name="T17" fmla="*/ 0 h 69"/>
                <a:gd name="T18" fmla="*/ 0 w 107"/>
                <a:gd name="T19" fmla="*/ 0 h 69"/>
                <a:gd name="T20" fmla="*/ 0 w 107"/>
                <a:gd name="T21" fmla="*/ 0 h 69"/>
                <a:gd name="T22" fmla="*/ 0 w 107"/>
                <a:gd name="T23" fmla="*/ 0 h 69"/>
                <a:gd name="T24" fmla="*/ 0 w 107"/>
                <a:gd name="T25" fmla="*/ 0 h 69"/>
                <a:gd name="T26" fmla="*/ 2147483647 w 107"/>
                <a:gd name="T27" fmla="*/ 0 h 69"/>
                <a:gd name="T28" fmla="*/ 2147483647 w 107"/>
                <a:gd name="T29" fmla="*/ 0 h 69"/>
                <a:gd name="T30" fmla="*/ 2147483647 w 107"/>
                <a:gd name="T31" fmla="*/ 0 h 69"/>
                <a:gd name="T32" fmla="*/ 2147483647 w 107"/>
                <a:gd name="T33" fmla="*/ 0 h 69"/>
                <a:gd name="T34" fmla="*/ 2147483647 w 107"/>
                <a:gd name="T35" fmla="*/ 0 h 6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07"/>
                <a:gd name="T55" fmla="*/ 0 h 69"/>
                <a:gd name="T56" fmla="*/ 107 w 107"/>
                <a:gd name="T57" fmla="*/ 69 h 6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07" h="69">
                  <a:moveTo>
                    <a:pt x="107" y="0"/>
                  </a:moveTo>
                  <a:lnTo>
                    <a:pt x="67" y="0"/>
                  </a:lnTo>
                  <a:lnTo>
                    <a:pt x="25" y="3"/>
                  </a:lnTo>
                  <a:lnTo>
                    <a:pt x="21" y="4"/>
                  </a:lnTo>
                  <a:lnTo>
                    <a:pt x="21" y="14"/>
                  </a:lnTo>
                  <a:lnTo>
                    <a:pt x="14" y="26"/>
                  </a:lnTo>
                  <a:lnTo>
                    <a:pt x="11" y="37"/>
                  </a:lnTo>
                  <a:lnTo>
                    <a:pt x="0" y="56"/>
                  </a:lnTo>
                  <a:lnTo>
                    <a:pt x="15" y="63"/>
                  </a:lnTo>
                  <a:lnTo>
                    <a:pt x="15" y="65"/>
                  </a:lnTo>
                  <a:lnTo>
                    <a:pt x="13" y="69"/>
                  </a:lnTo>
                  <a:lnTo>
                    <a:pt x="13" y="68"/>
                  </a:lnTo>
                  <a:lnTo>
                    <a:pt x="36" y="63"/>
                  </a:lnTo>
                  <a:lnTo>
                    <a:pt x="107" y="60"/>
                  </a:lnTo>
                  <a:lnTo>
                    <a:pt x="105" y="58"/>
                  </a:lnTo>
                  <a:lnTo>
                    <a:pt x="102" y="38"/>
                  </a:lnTo>
                  <a:lnTo>
                    <a:pt x="101" y="15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48" name="Freeform 43">
              <a:extLst>
                <a:ext uri="{FF2B5EF4-FFF2-40B4-BE49-F238E27FC236}">
                  <a16:creationId xmlns:a16="http://schemas.microsoft.com/office/drawing/2014/main" id="{0A0E60B3-320B-D909-4AEC-29633CF5DCF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625300" y="4412634"/>
              <a:ext cx="47755" cy="64017"/>
            </a:xfrm>
            <a:custGeom>
              <a:avLst/>
              <a:gdLst>
                <a:gd name="T0" fmla="*/ 2147483647 w 93"/>
                <a:gd name="T1" fmla="*/ 0 h 114"/>
                <a:gd name="T2" fmla="*/ 2147483647 w 93"/>
                <a:gd name="T3" fmla="*/ 0 h 114"/>
                <a:gd name="T4" fmla="*/ 2147483647 w 93"/>
                <a:gd name="T5" fmla="*/ 0 h 114"/>
                <a:gd name="T6" fmla="*/ 2147483647 w 93"/>
                <a:gd name="T7" fmla="*/ 0 h 114"/>
                <a:gd name="T8" fmla="*/ 2147483647 w 93"/>
                <a:gd name="T9" fmla="*/ 0 h 114"/>
                <a:gd name="T10" fmla="*/ 0 w 93"/>
                <a:gd name="T11" fmla="*/ 0 h 114"/>
                <a:gd name="T12" fmla="*/ 0 w 93"/>
                <a:gd name="T13" fmla="*/ 0 h 114"/>
                <a:gd name="T14" fmla="*/ 0 w 93"/>
                <a:gd name="T15" fmla="*/ 0 h 114"/>
                <a:gd name="T16" fmla="*/ 0 w 93"/>
                <a:gd name="T17" fmla="*/ 0 h 114"/>
                <a:gd name="T18" fmla="*/ 0 w 93"/>
                <a:gd name="T19" fmla="*/ 0 h 114"/>
                <a:gd name="T20" fmla="*/ 0 w 93"/>
                <a:gd name="T21" fmla="*/ 0 h 114"/>
                <a:gd name="T22" fmla="*/ 0 w 93"/>
                <a:gd name="T23" fmla="*/ 0 h 114"/>
                <a:gd name="T24" fmla="*/ 0 w 93"/>
                <a:gd name="T25" fmla="*/ 0 h 114"/>
                <a:gd name="T26" fmla="*/ 0 w 93"/>
                <a:gd name="T27" fmla="*/ 0 h 114"/>
                <a:gd name="T28" fmla="*/ 0 w 93"/>
                <a:gd name="T29" fmla="*/ 0 h 114"/>
                <a:gd name="T30" fmla="*/ 0 w 93"/>
                <a:gd name="T31" fmla="*/ 0 h 114"/>
                <a:gd name="T32" fmla="*/ 0 w 93"/>
                <a:gd name="T33" fmla="*/ 0 h 114"/>
                <a:gd name="T34" fmla="*/ 0 w 93"/>
                <a:gd name="T35" fmla="*/ 0 h 114"/>
                <a:gd name="T36" fmla="*/ 0 w 93"/>
                <a:gd name="T37" fmla="*/ 0 h 114"/>
                <a:gd name="T38" fmla="*/ 0 w 93"/>
                <a:gd name="T39" fmla="*/ 0 h 114"/>
                <a:gd name="T40" fmla="*/ 0 w 93"/>
                <a:gd name="T41" fmla="*/ 0 h 114"/>
                <a:gd name="T42" fmla="*/ 0 w 93"/>
                <a:gd name="T43" fmla="*/ 0 h 114"/>
                <a:gd name="T44" fmla="*/ 0 w 93"/>
                <a:gd name="T45" fmla="*/ 0 h 114"/>
                <a:gd name="T46" fmla="*/ 0 w 93"/>
                <a:gd name="T47" fmla="*/ 0 h 114"/>
                <a:gd name="T48" fmla="*/ 0 w 93"/>
                <a:gd name="T49" fmla="*/ 0 h 114"/>
                <a:gd name="T50" fmla="*/ 0 w 93"/>
                <a:gd name="T51" fmla="*/ 0 h 114"/>
                <a:gd name="T52" fmla="*/ 0 w 93"/>
                <a:gd name="T53" fmla="*/ 0 h 114"/>
                <a:gd name="T54" fmla="*/ 0 w 93"/>
                <a:gd name="T55" fmla="*/ 2147483647 h 114"/>
                <a:gd name="T56" fmla="*/ 0 w 93"/>
                <a:gd name="T57" fmla="*/ 2147483647 h 114"/>
                <a:gd name="T58" fmla="*/ 0 w 93"/>
                <a:gd name="T59" fmla="*/ 2147483647 h 114"/>
                <a:gd name="T60" fmla="*/ 0 w 93"/>
                <a:gd name="T61" fmla="*/ 2147483647 h 114"/>
                <a:gd name="T62" fmla="*/ 0 w 93"/>
                <a:gd name="T63" fmla="*/ 2147483647 h 114"/>
                <a:gd name="T64" fmla="*/ 0 w 93"/>
                <a:gd name="T65" fmla="*/ 2147483647 h 114"/>
                <a:gd name="T66" fmla="*/ 0 w 93"/>
                <a:gd name="T67" fmla="*/ 2147483647 h 114"/>
                <a:gd name="T68" fmla="*/ 0 w 93"/>
                <a:gd name="T69" fmla="*/ 2147483647 h 114"/>
                <a:gd name="T70" fmla="*/ 2147483647 w 93"/>
                <a:gd name="T71" fmla="*/ 2147483647 h 114"/>
                <a:gd name="T72" fmla="*/ 2147483647 w 93"/>
                <a:gd name="T73" fmla="*/ 2147483647 h 114"/>
                <a:gd name="T74" fmla="*/ 2147483647 w 93"/>
                <a:gd name="T75" fmla="*/ 0 h 114"/>
                <a:gd name="T76" fmla="*/ 2147483647 w 93"/>
                <a:gd name="T77" fmla="*/ 0 h 114"/>
                <a:gd name="T78" fmla="*/ 2147483647 w 93"/>
                <a:gd name="T79" fmla="*/ 0 h 114"/>
                <a:gd name="T80" fmla="*/ 2147483647 w 93"/>
                <a:gd name="T81" fmla="*/ 0 h 114"/>
                <a:gd name="T82" fmla="*/ 2147483647 w 93"/>
                <a:gd name="T83" fmla="*/ 0 h 114"/>
                <a:gd name="T84" fmla="*/ 2147483647 w 93"/>
                <a:gd name="T85" fmla="*/ 0 h 114"/>
                <a:gd name="T86" fmla="*/ 2147483647 w 93"/>
                <a:gd name="T87" fmla="*/ 0 h 114"/>
                <a:gd name="T88" fmla="*/ 2147483647 w 93"/>
                <a:gd name="T89" fmla="*/ 0 h 114"/>
                <a:gd name="T90" fmla="*/ 2147483647 w 93"/>
                <a:gd name="T91" fmla="*/ 0 h 114"/>
                <a:gd name="T92" fmla="*/ 2147483647 w 93"/>
                <a:gd name="T93" fmla="*/ 0 h 114"/>
                <a:gd name="T94" fmla="*/ 2147483647 w 93"/>
                <a:gd name="T95" fmla="*/ 0 h 114"/>
                <a:gd name="T96" fmla="*/ 2147483647 w 93"/>
                <a:gd name="T97" fmla="*/ 0 h 1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93"/>
                <a:gd name="T148" fmla="*/ 0 h 114"/>
                <a:gd name="T149" fmla="*/ 93 w 93"/>
                <a:gd name="T150" fmla="*/ 114 h 1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93" h="114">
                  <a:moveTo>
                    <a:pt x="83" y="5"/>
                  </a:moveTo>
                  <a:lnTo>
                    <a:pt x="81" y="1"/>
                  </a:lnTo>
                  <a:lnTo>
                    <a:pt x="76" y="1"/>
                  </a:lnTo>
                  <a:lnTo>
                    <a:pt x="76" y="0"/>
                  </a:lnTo>
                  <a:lnTo>
                    <a:pt x="71" y="0"/>
                  </a:lnTo>
                  <a:lnTo>
                    <a:pt x="59" y="4"/>
                  </a:lnTo>
                  <a:lnTo>
                    <a:pt x="49" y="4"/>
                  </a:lnTo>
                  <a:lnTo>
                    <a:pt x="46" y="6"/>
                  </a:lnTo>
                  <a:lnTo>
                    <a:pt x="45" y="9"/>
                  </a:lnTo>
                  <a:lnTo>
                    <a:pt x="45" y="17"/>
                  </a:lnTo>
                  <a:lnTo>
                    <a:pt x="41" y="22"/>
                  </a:lnTo>
                  <a:lnTo>
                    <a:pt x="33" y="22"/>
                  </a:lnTo>
                  <a:lnTo>
                    <a:pt x="28" y="25"/>
                  </a:lnTo>
                  <a:lnTo>
                    <a:pt x="22" y="26"/>
                  </a:lnTo>
                  <a:lnTo>
                    <a:pt x="19" y="25"/>
                  </a:lnTo>
                  <a:lnTo>
                    <a:pt x="16" y="16"/>
                  </a:lnTo>
                  <a:lnTo>
                    <a:pt x="13" y="11"/>
                  </a:lnTo>
                  <a:lnTo>
                    <a:pt x="11" y="10"/>
                  </a:lnTo>
                  <a:lnTo>
                    <a:pt x="6" y="10"/>
                  </a:lnTo>
                  <a:lnTo>
                    <a:pt x="1" y="13"/>
                  </a:lnTo>
                  <a:lnTo>
                    <a:pt x="1" y="22"/>
                  </a:lnTo>
                  <a:lnTo>
                    <a:pt x="0" y="22"/>
                  </a:lnTo>
                  <a:lnTo>
                    <a:pt x="6" y="28"/>
                  </a:lnTo>
                  <a:lnTo>
                    <a:pt x="8" y="34"/>
                  </a:lnTo>
                  <a:lnTo>
                    <a:pt x="11" y="58"/>
                  </a:lnTo>
                  <a:lnTo>
                    <a:pt x="13" y="61"/>
                  </a:lnTo>
                  <a:lnTo>
                    <a:pt x="16" y="69"/>
                  </a:lnTo>
                  <a:lnTo>
                    <a:pt x="17" y="79"/>
                  </a:lnTo>
                  <a:lnTo>
                    <a:pt x="17" y="91"/>
                  </a:lnTo>
                  <a:lnTo>
                    <a:pt x="18" y="101"/>
                  </a:lnTo>
                  <a:lnTo>
                    <a:pt x="23" y="108"/>
                  </a:lnTo>
                  <a:lnTo>
                    <a:pt x="29" y="114"/>
                  </a:lnTo>
                  <a:lnTo>
                    <a:pt x="32" y="113"/>
                  </a:lnTo>
                  <a:lnTo>
                    <a:pt x="43" y="110"/>
                  </a:lnTo>
                  <a:lnTo>
                    <a:pt x="57" y="106"/>
                  </a:lnTo>
                  <a:lnTo>
                    <a:pt x="68" y="86"/>
                  </a:lnTo>
                  <a:lnTo>
                    <a:pt x="73" y="80"/>
                  </a:lnTo>
                  <a:lnTo>
                    <a:pt x="79" y="66"/>
                  </a:lnTo>
                  <a:lnTo>
                    <a:pt x="89" y="54"/>
                  </a:lnTo>
                  <a:lnTo>
                    <a:pt x="93" y="48"/>
                  </a:lnTo>
                  <a:lnTo>
                    <a:pt x="93" y="40"/>
                  </a:lnTo>
                  <a:lnTo>
                    <a:pt x="91" y="34"/>
                  </a:lnTo>
                  <a:lnTo>
                    <a:pt x="87" y="31"/>
                  </a:lnTo>
                  <a:lnTo>
                    <a:pt x="81" y="29"/>
                  </a:lnTo>
                  <a:lnTo>
                    <a:pt x="77" y="26"/>
                  </a:lnTo>
                  <a:lnTo>
                    <a:pt x="77" y="22"/>
                  </a:lnTo>
                  <a:lnTo>
                    <a:pt x="77" y="16"/>
                  </a:lnTo>
                  <a:lnTo>
                    <a:pt x="78" y="10"/>
                  </a:lnTo>
                  <a:lnTo>
                    <a:pt x="83" y="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49" name="Freeform 44">
              <a:extLst>
                <a:ext uri="{FF2B5EF4-FFF2-40B4-BE49-F238E27FC236}">
                  <a16:creationId xmlns:a16="http://schemas.microsoft.com/office/drawing/2014/main" id="{08A2C7B3-B55C-A57A-91F8-3E90BCA90D4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641716" y="4211438"/>
              <a:ext cx="155204" cy="173761"/>
            </a:xfrm>
            <a:custGeom>
              <a:avLst/>
              <a:gdLst>
                <a:gd name="T0" fmla="*/ 2147483647 w 289"/>
                <a:gd name="T1" fmla="*/ 0 h 302"/>
                <a:gd name="T2" fmla="*/ 2147483647 w 289"/>
                <a:gd name="T3" fmla="*/ 0 h 302"/>
                <a:gd name="T4" fmla="*/ 2147483647 w 289"/>
                <a:gd name="T5" fmla="*/ 0 h 302"/>
                <a:gd name="T6" fmla="*/ 2147483647 w 289"/>
                <a:gd name="T7" fmla="*/ 0 h 302"/>
                <a:gd name="T8" fmla="*/ 2147483647 w 289"/>
                <a:gd name="T9" fmla="*/ 0 h 302"/>
                <a:gd name="T10" fmla="*/ 2147483647 w 289"/>
                <a:gd name="T11" fmla="*/ 0 h 302"/>
                <a:gd name="T12" fmla="*/ 2147483647 w 289"/>
                <a:gd name="T13" fmla="*/ 0 h 302"/>
                <a:gd name="T14" fmla="*/ 2147483647 w 289"/>
                <a:gd name="T15" fmla="*/ 0 h 302"/>
                <a:gd name="T16" fmla="*/ 2147483647 w 289"/>
                <a:gd name="T17" fmla="*/ 0 h 302"/>
                <a:gd name="T18" fmla="*/ 2147483647 w 289"/>
                <a:gd name="T19" fmla="*/ 2147483647 h 302"/>
                <a:gd name="T20" fmla="*/ 2147483647 w 289"/>
                <a:gd name="T21" fmla="*/ 2147483647 h 302"/>
                <a:gd name="T22" fmla="*/ 2147483647 w 289"/>
                <a:gd name="T23" fmla="*/ 2147483647 h 302"/>
                <a:gd name="T24" fmla="*/ 2147483647 w 289"/>
                <a:gd name="T25" fmla="*/ 2147483647 h 302"/>
                <a:gd name="T26" fmla="*/ 2147483647 w 289"/>
                <a:gd name="T27" fmla="*/ 2147483647 h 302"/>
                <a:gd name="T28" fmla="*/ 2147483647 w 289"/>
                <a:gd name="T29" fmla="*/ 2147483647 h 302"/>
                <a:gd name="T30" fmla="*/ 0 w 289"/>
                <a:gd name="T31" fmla="*/ 2147483647 h 302"/>
                <a:gd name="T32" fmla="*/ 0 w 289"/>
                <a:gd name="T33" fmla="*/ 2147483647 h 302"/>
                <a:gd name="T34" fmla="*/ 0 w 289"/>
                <a:gd name="T35" fmla="*/ 2147483647 h 302"/>
                <a:gd name="T36" fmla="*/ 0 w 289"/>
                <a:gd name="T37" fmla="*/ 2147483647 h 302"/>
                <a:gd name="T38" fmla="*/ 0 w 289"/>
                <a:gd name="T39" fmla="*/ 2147483647 h 302"/>
                <a:gd name="T40" fmla="*/ 0 w 289"/>
                <a:gd name="T41" fmla="*/ 2147483647 h 302"/>
                <a:gd name="T42" fmla="*/ 0 w 289"/>
                <a:gd name="T43" fmla="*/ 2147483647 h 302"/>
                <a:gd name="T44" fmla="*/ 0 w 289"/>
                <a:gd name="T45" fmla="*/ 2147483647 h 302"/>
                <a:gd name="T46" fmla="*/ 2147483647 w 289"/>
                <a:gd name="T47" fmla="*/ 2147483647 h 302"/>
                <a:gd name="T48" fmla="*/ 2147483647 w 289"/>
                <a:gd name="T49" fmla="*/ 2147483647 h 302"/>
                <a:gd name="T50" fmla="*/ 2147483647 w 289"/>
                <a:gd name="T51" fmla="*/ 2147483647 h 302"/>
                <a:gd name="T52" fmla="*/ 2147483647 w 289"/>
                <a:gd name="T53" fmla="*/ 2147483647 h 302"/>
                <a:gd name="T54" fmla="*/ 2147483647 w 289"/>
                <a:gd name="T55" fmla="*/ 2147483647 h 302"/>
                <a:gd name="T56" fmla="*/ 2147483647 w 289"/>
                <a:gd name="T57" fmla="*/ 2147483647 h 302"/>
                <a:gd name="T58" fmla="*/ 2147483647 w 289"/>
                <a:gd name="T59" fmla="*/ 2147483647 h 302"/>
                <a:gd name="T60" fmla="*/ 2147483647 w 289"/>
                <a:gd name="T61" fmla="*/ 2147483647 h 302"/>
                <a:gd name="T62" fmla="*/ 2147483647 w 289"/>
                <a:gd name="T63" fmla="*/ 2147483647 h 302"/>
                <a:gd name="T64" fmla="*/ 2147483647 w 289"/>
                <a:gd name="T65" fmla="*/ 2147483647 h 302"/>
                <a:gd name="T66" fmla="*/ 2147483647 w 289"/>
                <a:gd name="T67" fmla="*/ 2147483647 h 302"/>
                <a:gd name="T68" fmla="*/ 2147483647 w 289"/>
                <a:gd name="T69" fmla="*/ 2147483647 h 302"/>
                <a:gd name="T70" fmla="*/ 2147483647 w 289"/>
                <a:gd name="T71" fmla="*/ 2147483647 h 302"/>
                <a:gd name="T72" fmla="*/ 2147483647 w 289"/>
                <a:gd name="T73" fmla="*/ 2147483647 h 302"/>
                <a:gd name="T74" fmla="*/ 2147483647 w 289"/>
                <a:gd name="T75" fmla="*/ 2147483647 h 302"/>
                <a:gd name="T76" fmla="*/ 2147483647 w 289"/>
                <a:gd name="T77" fmla="*/ 2147483647 h 302"/>
                <a:gd name="T78" fmla="*/ 2147483647 w 289"/>
                <a:gd name="T79" fmla="*/ 2147483647 h 302"/>
                <a:gd name="T80" fmla="*/ 2147483647 w 289"/>
                <a:gd name="T81" fmla="*/ 0 h 302"/>
                <a:gd name="T82" fmla="*/ 2147483647 w 289"/>
                <a:gd name="T83" fmla="*/ 0 h 302"/>
                <a:gd name="T84" fmla="*/ 2147483647 w 289"/>
                <a:gd name="T85" fmla="*/ 0 h 302"/>
                <a:gd name="T86" fmla="*/ 2147483647 w 289"/>
                <a:gd name="T87" fmla="*/ 0 h 302"/>
                <a:gd name="T88" fmla="*/ 2147483647 w 289"/>
                <a:gd name="T89" fmla="*/ 0 h 302"/>
                <a:gd name="T90" fmla="*/ 2147483647 w 289"/>
                <a:gd name="T91" fmla="*/ 0 h 302"/>
                <a:gd name="T92" fmla="*/ 2147483647 w 289"/>
                <a:gd name="T93" fmla="*/ 0 h 30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89"/>
                <a:gd name="T142" fmla="*/ 0 h 302"/>
                <a:gd name="T143" fmla="*/ 289 w 289"/>
                <a:gd name="T144" fmla="*/ 302 h 30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89" h="302">
                  <a:moveTo>
                    <a:pt x="232" y="3"/>
                  </a:moveTo>
                  <a:lnTo>
                    <a:pt x="232" y="0"/>
                  </a:lnTo>
                  <a:lnTo>
                    <a:pt x="232" y="3"/>
                  </a:lnTo>
                  <a:lnTo>
                    <a:pt x="205" y="21"/>
                  </a:lnTo>
                  <a:lnTo>
                    <a:pt x="186" y="21"/>
                  </a:lnTo>
                  <a:lnTo>
                    <a:pt x="170" y="19"/>
                  </a:lnTo>
                  <a:lnTo>
                    <a:pt x="157" y="24"/>
                  </a:lnTo>
                  <a:lnTo>
                    <a:pt x="143" y="25"/>
                  </a:lnTo>
                  <a:lnTo>
                    <a:pt x="126" y="29"/>
                  </a:lnTo>
                  <a:lnTo>
                    <a:pt x="120" y="22"/>
                  </a:lnTo>
                  <a:lnTo>
                    <a:pt x="108" y="23"/>
                  </a:lnTo>
                  <a:lnTo>
                    <a:pt x="98" y="25"/>
                  </a:lnTo>
                  <a:lnTo>
                    <a:pt x="87" y="22"/>
                  </a:lnTo>
                  <a:lnTo>
                    <a:pt x="73" y="23"/>
                  </a:lnTo>
                  <a:lnTo>
                    <a:pt x="66" y="28"/>
                  </a:lnTo>
                  <a:lnTo>
                    <a:pt x="66" y="32"/>
                  </a:lnTo>
                  <a:lnTo>
                    <a:pt x="63" y="41"/>
                  </a:lnTo>
                  <a:lnTo>
                    <a:pt x="60" y="59"/>
                  </a:lnTo>
                  <a:lnTo>
                    <a:pt x="61" y="81"/>
                  </a:lnTo>
                  <a:lnTo>
                    <a:pt x="63" y="89"/>
                  </a:lnTo>
                  <a:lnTo>
                    <a:pt x="68" y="94"/>
                  </a:lnTo>
                  <a:lnTo>
                    <a:pt x="73" y="98"/>
                  </a:lnTo>
                  <a:lnTo>
                    <a:pt x="82" y="100"/>
                  </a:lnTo>
                  <a:lnTo>
                    <a:pt x="84" y="105"/>
                  </a:lnTo>
                  <a:lnTo>
                    <a:pt x="86" y="113"/>
                  </a:lnTo>
                  <a:lnTo>
                    <a:pt x="82" y="121"/>
                  </a:lnTo>
                  <a:lnTo>
                    <a:pt x="73" y="130"/>
                  </a:lnTo>
                  <a:lnTo>
                    <a:pt x="67" y="135"/>
                  </a:lnTo>
                  <a:lnTo>
                    <a:pt x="56" y="140"/>
                  </a:lnTo>
                  <a:lnTo>
                    <a:pt x="52" y="147"/>
                  </a:lnTo>
                  <a:lnTo>
                    <a:pt x="50" y="153"/>
                  </a:lnTo>
                  <a:lnTo>
                    <a:pt x="44" y="159"/>
                  </a:lnTo>
                  <a:lnTo>
                    <a:pt x="33" y="172"/>
                  </a:lnTo>
                  <a:lnTo>
                    <a:pt x="20" y="186"/>
                  </a:lnTo>
                  <a:lnTo>
                    <a:pt x="17" y="191"/>
                  </a:lnTo>
                  <a:lnTo>
                    <a:pt x="11" y="202"/>
                  </a:lnTo>
                  <a:lnTo>
                    <a:pt x="3" y="233"/>
                  </a:lnTo>
                  <a:lnTo>
                    <a:pt x="3" y="247"/>
                  </a:lnTo>
                  <a:lnTo>
                    <a:pt x="1" y="275"/>
                  </a:lnTo>
                  <a:lnTo>
                    <a:pt x="0" y="296"/>
                  </a:lnTo>
                  <a:lnTo>
                    <a:pt x="4" y="299"/>
                  </a:lnTo>
                  <a:lnTo>
                    <a:pt x="11" y="302"/>
                  </a:lnTo>
                  <a:lnTo>
                    <a:pt x="19" y="301"/>
                  </a:lnTo>
                  <a:lnTo>
                    <a:pt x="25" y="290"/>
                  </a:lnTo>
                  <a:lnTo>
                    <a:pt x="29" y="286"/>
                  </a:lnTo>
                  <a:lnTo>
                    <a:pt x="36" y="285"/>
                  </a:lnTo>
                  <a:lnTo>
                    <a:pt x="41" y="281"/>
                  </a:lnTo>
                  <a:lnTo>
                    <a:pt x="63" y="283"/>
                  </a:lnTo>
                  <a:lnTo>
                    <a:pt x="70" y="280"/>
                  </a:lnTo>
                  <a:lnTo>
                    <a:pt x="70" y="278"/>
                  </a:lnTo>
                  <a:lnTo>
                    <a:pt x="115" y="278"/>
                  </a:lnTo>
                  <a:lnTo>
                    <a:pt x="110" y="274"/>
                  </a:lnTo>
                  <a:lnTo>
                    <a:pt x="122" y="247"/>
                  </a:lnTo>
                  <a:lnTo>
                    <a:pt x="120" y="240"/>
                  </a:lnTo>
                  <a:lnTo>
                    <a:pt x="121" y="234"/>
                  </a:lnTo>
                  <a:lnTo>
                    <a:pt x="132" y="232"/>
                  </a:lnTo>
                  <a:lnTo>
                    <a:pt x="142" y="228"/>
                  </a:lnTo>
                  <a:lnTo>
                    <a:pt x="147" y="221"/>
                  </a:lnTo>
                  <a:lnTo>
                    <a:pt x="153" y="223"/>
                  </a:lnTo>
                  <a:lnTo>
                    <a:pt x="157" y="222"/>
                  </a:lnTo>
                  <a:lnTo>
                    <a:pt x="159" y="216"/>
                  </a:lnTo>
                  <a:lnTo>
                    <a:pt x="164" y="218"/>
                  </a:lnTo>
                  <a:lnTo>
                    <a:pt x="175" y="220"/>
                  </a:lnTo>
                  <a:lnTo>
                    <a:pt x="183" y="223"/>
                  </a:lnTo>
                  <a:lnTo>
                    <a:pt x="195" y="207"/>
                  </a:lnTo>
                  <a:lnTo>
                    <a:pt x="201" y="211"/>
                  </a:lnTo>
                  <a:lnTo>
                    <a:pt x="215" y="216"/>
                  </a:lnTo>
                  <a:lnTo>
                    <a:pt x="223" y="213"/>
                  </a:lnTo>
                  <a:lnTo>
                    <a:pt x="232" y="216"/>
                  </a:lnTo>
                  <a:lnTo>
                    <a:pt x="234" y="213"/>
                  </a:lnTo>
                  <a:lnTo>
                    <a:pt x="240" y="208"/>
                  </a:lnTo>
                  <a:lnTo>
                    <a:pt x="258" y="181"/>
                  </a:lnTo>
                  <a:lnTo>
                    <a:pt x="267" y="170"/>
                  </a:lnTo>
                  <a:lnTo>
                    <a:pt x="270" y="167"/>
                  </a:lnTo>
                  <a:lnTo>
                    <a:pt x="278" y="156"/>
                  </a:lnTo>
                  <a:lnTo>
                    <a:pt x="286" y="143"/>
                  </a:lnTo>
                  <a:lnTo>
                    <a:pt x="288" y="130"/>
                  </a:lnTo>
                  <a:lnTo>
                    <a:pt x="289" y="110"/>
                  </a:lnTo>
                  <a:lnTo>
                    <a:pt x="287" y="100"/>
                  </a:lnTo>
                  <a:lnTo>
                    <a:pt x="287" y="82"/>
                  </a:lnTo>
                  <a:lnTo>
                    <a:pt x="286" y="76"/>
                  </a:lnTo>
                  <a:lnTo>
                    <a:pt x="278" y="67"/>
                  </a:lnTo>
                  <a:lnTo>
                    <a:pt x="274" y="65"/>
                  </a:lnTo>
                  <a:lnTo>
                    <a:pt x="267" y="61"/>
                  </a:lnTo>
                  <a:lnTo>
                    <a:pt x="262" y="56"/>
                  </a:lnTo>
                  <a:lnTo>
                    <a:pt x="260" y="50"/>
                  </a:lnTo>
                  <a:lnTo>
                    <a:pt x="255" y="23"/>
                  </a:lnTo>
                  <a:lnTo>
                    <a:pt x="253" y="21"/>
                  </a:lnTo>
                  <a:lnTo>
                    <a:pt x="251" y="18"/>
                  </a:lnTo>
                  <a:lnTo>
                    <a:pt x="251" y="11"/>
                  </a:lnTo>
                  <a:lnTo>
                    <a:pt x="249" y="9"/>
                  </a:lnTo>
                  <a:lnTo>
                    <a:pt x="237" y="7"/>
                  </a:lnTo>
                  <a:lnTo>
                    <a:pt x="234" y="5"/>
                  </a:lnTo>
                  <a:lnTo>
                    <a:pt x="232" y="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50" name="Freeform 45">
              <a:extLst>
                <a:ext uri="{FF2B5EF4-FFF2-40B4-BE49-F238E27FC236}">
                  <a16:creationId xmlns:a16="http://schemas.microsoft.com/office/drawing/2014/main" id="{1D5C735A-4D87-8B52-79D9-3564DFCBFA1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620823" y="4373004"/>
              <a:ext cx="55216" cy="54872"/>
            </a:xfrm>
            <a:custGeom>
              <a:avLst/>
              <a:gdLst>
                <a:gd name="T0" fmla="*/ 0 w 104"/>
                <a:gd name="T1" fmla="*/ 2147483647 h 96"/>
                <a:gd name="T2" fmla="*/ 0 w 104"/>
                <a:gd name="T3" fmla="*/ 2147483647 h 96"/>
                <a:gd name="T4" fmla="*/ 0 w 104"/>
                <a:gd name="T5" fmla="*/ 2147483647 h 96"/>
                <a:gd name="T6" fmla="*/ 0 w 104"/>
                <a:gd name="T7" fmla="*/ 0 h 96"/>
                <a:gd name="T8" fmla="*/ 0 w 104"/>
                <a:gd name="T9" fmla="*/ 0 h 96"/>
                <a:gd name="T10" fmla="*/ 0 w 104"/>
                <a:gd name="T11" fmla="*/ 0 h 96"/>
                <a:gd name="T12" fmla="*/ 0 w 104"/>
                <a:gd name="T13" fmla="*/ 2147483647 h 96"/>
                <a:gd name="T14" fmla="*/ 0 w 104"/>
                <a:gd name="T15" fmla="*/ 2147483647 h 96"/>
                <a:gd name="T16" fmla="*/ 0 w 104"/>
                <a:gd name="T17" fmla="*/ 2147483647 h 96"/>
                <a:gd name="T18" fmla="*/ 0 w 104"/>
                <a:gd name="T19" fmla="*/ 2147483647 h 96"/>
                <a:gd name="T20" fmla="*/ 0 w 104"/>
                <a:gd name="T21" fmla="*/ 2147483647 h 96"/>
                <a:gd name="T22" fmla="*/ 2147483647 w 104"/>
                <a:gd name="T23" fmla="*/ 2147483647 h 96"/>
                <a:gd name="T24" fmla="*/ 2147483647 w 104"/>
                <a:gd name="T25" fmla="*/ 2147483647 h 96"/>
                <a:gd name="T26" fmla="*/ 2147483647 w 104"/>
                <a:gd name="T27" fmla="*/ 0 h 96"/>
                <a:gd name="T28" fmla="*/ 2147483647 w 104"/>
                <a:gd name="T29" fmla="*/ 0 h 96"/>
                <a:gd name="T30" fmla="*/ 2147483647 w 104"/>
                <a:gd name="T31" fmla="*/ 0 h 96"/>
                <a:gd name="T32" fmla="*/ 2147483647 w 104"/>
                <a:gd name="T33" fmla="*/ 0 h 96"/>
                <a:gd name="T34" fmla="*/ 2147483647 w 104"/>
                <a:gd name="T35" fmla="*/ 0 h 96"/>
                <a:gd name="T36" fmla="*/ 2147483647 w 104"/>
                <a:gd name="T37" fmla="*/ 0 h 96"/>
                <a:gd name="T38" fmla="*/ 2147483647 w 104"/>
                <a:gd name="T39" fmla="*/ 0 h 96"/>
                <a:gd name="T40" fmla="*/ 2147483647 w 104"/>
                <a:gd name="T41" fmla="*/ 0 h 96"/>
                <a:gd name="T42" fmla="*/ 2147483647 w 104"/>
                <a:gd name="T43" fmla="*/ 0 h 96"/>
                <a:gd name="T44" fmla="*/ 2147483647 w 104"/>
                <a:gd name="T45" fmla="*/ 0 h 96"/>
                <a:gd name="T46" fmla="*/ 2147483647 w 104"/>
                <a:gd name="T47" fmla="*/ 0 h 96"/>
                <a:gd name="T48" fmla="*/ 2147483647 w 104"/>
                <a:gd name="T49" fmla="*/ 0 h 96"/>
                <a:gd name="T50" fmla="*/ 2147483647 w 104"/>
                <a:gd name="T51" fmla="*/ 0 h 96"/>
                <a:gd name="T52" fmla="*/ 2147483647 w 104"/>
                <a:gd name="T53" fmla="*/ 0 h 96"/>
                <a:gd name="T54" fmla="*/ 2147483647 w 104"/>
                <a:gd name="T55" fmla="*/ 0 h 96"/>
                <a:gd name="T56" fmla="*/ 2147483647 w 104"/>
                <a:gd name="T57" fmla="*/ 0 h 96"/>
                <a:gd name="T58" fmla="*/ 2147483647 w 104"/>
                <a:gd name="T59" fmla="*/ 0 h 96"/>
                <a:gd name="T60" fmla="*/ 2147483647 w 104"/>
                <a:gd name="T61" fmla="*/ 0 h 96"/>
                <a:gd name="T62" fmla="*/ 2147483647 w 104"/>
                <a:gd name="T63" fmla="*/ 0 h 96"/>
                <a:gd name="T64" fmla="*/ 2147483647 w 104"/>
                <a:gd name="T65" fmla="*/ 0 h 96"/>
                <a:gd name="T66" fmla="*/ 0 w 104"/>
                <a:gd name="T67" fmla="*/ 0 h 96"/>
                <a:gd name="T68" fmla="*/ 0 w 104"/>
                <a:gd name="T69" fmla="*/ 0 h 96"/>
                <a:gd name="T70" fmla="*/ 0 w 104"/>
                <a:gd name="T71" fmla="*/ 0 h 96"/>
                <a:gd name="T72" fmla="*/ 0 w 104"/>
                <a:gd name="T73" fmla="*/ 0 h 96"/>
                <a:gd name="T74" fmla="*/ 0 w 104"/>
                <a:gd name="T75" fmla="*/ 0 h 96"/>
                <a:gd name="T76" fmla="*/ 0 w 104"/>
                <a:gd name="T77" fmla="*/ 0 h 96"/>
                <a:gd name="T78" fmla="*/ 0 w 104"/>
                <a:gd name="T79" fmla="*/ 0 h 96"/>
                <a:gd name="T80" fmla="*/ 0 w 104"/>
                <a:gd name="T81" fmla="*/ 0 h 96"/>
                <a:gd name="T82" fmla="*/ 0 w 104"/>
                <a:gd name="T83" fmla="*/ 0 h 96"/>
                <a:gd name="T84" fmla="*/ 0 w 104"/>
                <a:gd name="T85" fmla="*/ 2147483647 h 96"/>
                <a:gd name="T86" fmla="*/ 0 w 104"/>
                <a:gd name="T87" fmla="*/ 2147483647 h 9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04"/>
                <a:gd name="T133" fmla="*/ 0 h 96"/>
                <a:gd name="T134" fmla="*/ 104 w 104"/>
                <a:gd name="T135" fmla="*/ 96 h 9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04" h="96">
                  <a:moveTo>
                    <a:pt x="7" y="92"/>
                  </a:moveTo>
                  <a:lnTo>
                    <a:pt x="8" y="92"/>
                  </a:lnTo>
                  <a:lnTo>
                    <a:pt x="8" y="83"/>
                  </a:lnTo>
                  <a:lnTo>
                    <a:pt x="13" y="80"/>
                  </a:lnTo>
                  <a:lnTo>
                    <a:pt x="18" y="80"/>
                  </a:lnTo>
                  <a:lnTo>
                    <a:pt x="20" y="81"/>
                  </a:lnTo>
                  <a:lnTo>
                    <a:pt x="23" y="86"/>
                  </a:lnTo>
                  <a:lnTo>
                    <a:pt x="26" y="95"/>
                  </a:lnTo>
                  <a:lnTo>
                    <a:pt x="29" y="96"/>
                  </a:lnTo>
                  <a:lnTo>
                    <a:pt x="35" y="95"/>
                  </a:lnTo>
                  <a:lnTo>
                    <a:pt x="40" y="92"/>
                  </a:lnTo>
                  <a:lnTo>
                    <a:pt x="48" y="92"/>
                  </a:lnTo>
                  <a:lnTo>
                    <a:pt x="52" y="87"/>
                  </a:lnTo>
                  <a:lnTo>
                    <a:pt x="52" y="79"/>
                  </a:lnTo>
                  <a:lnTo>
                    <a:pt x="53" y="76"/>
                  </a:lnTo>
                  <a:lnTo>
                    <a:pt x="56" y="74"/>
                  </a:lnTo>
                  <a:lnTo>
                    <a:pt x="66" y="74"/>
                  </a:lnTo>
                  <a:lnTo>
                    <a:pt x="78" y="70"/>
                  </a:lnTo>
                  <a:lnTo>
                    <a:pt x="83" y="70"/>
                  </a:lnTo>
                  <a:lnTo>
                    <a:pt x="83" y="71"/>
                  </a:lnTo>
                  <a:lnTo>
                    <a:pt x="88" y="71"/>
                  </a:lnTo>
                  <a:lnTo>
                    <a:pt x="90" y="75"/>
                  </a:lnTo>
                  <a:lnTo>
                    <a:pt x="101" y="60"/>
                  </a:lnTo>
                  <a:lnTo>
                    <a:pt x="104" y="50"/>
                  </a:lnTo>
                  <a:lnTo>
                    <a:pt x="102" y="43"/>
                  </a:lnTo>
                  <a:lnTo>
                    <a:pt x="98" y="28"/>
                  </a:lnTo>
                  <a:lnTo>
                    <a:pt x="85" y="7"/>
                  </a:lnTo>
                  <a:lnTo>
                    <a:pt x="80" y="0"/>
                  </a:lnTo>
                  <a:lnTo>
                    <a:pt x="75" y="4"/>
                  </a:lnTo>
                  <a:lnTo>
                    <a:pt x="68" y="5"/>
                  </a:lnTo>
                  <a:lnTo>
                    <a:pt x="64" y="9"/>
                  </a:lnTo>
                  <a:lnTo>
                    <a:pt x="58" y="20"/>
                  </a:lnTo>
                  <a:lnTo>
                    <a:pt x="50" y="21"/>
                  </a:lnTo>
                  <a:lnTo>
                    <a:pt x="43" y="18"/>
                  </a:lnTo>
                  <a:lnTo>
                    <a:pt x="39" y="15"/>
                  </a:lnTo>
                  <a:lnTo>
                    <a:pt x="36" y="17"/>
                  </a:lnTo>
                  <a:lnTo>
                    <a:pt x="29" y="24"/>
                  </a:lnTo>
                  <a:lnTo>
                    <a:pt x="21" y="36"/>
                  </a:lnTo>
                  <a:lnTo>
                    <a:pt x="14" y="49"/>
                  </a:lnTo>
                  <a:lnTo>
                    <a:pt x="10" y="60"/>
                  </a:lnTo>
                  <a:lnTo>
                    <a:pt x="0" y="74"/>
                  </a:lnTo>
                  <a:lnTo>
                    <a:pt x="0" y="81"/>
                  </a:lnTo>
                  <a:lnTo>
                    <a:pt x="2" y="85"/>
                  </a:lnTo>
                  <a:lnTo>
                    <a:pt x="7" y="9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51" name="Freeform 46">
              <a:extLst>
                <a:ext uri="{FF2B5EF4-FFF2-40B4-BE49-F238E27FC236}">
                  <a16:creationId xmlns:a16="http://schemas.microsoft.com/office/drawing/2014/main" id="{D0D9E2F6-082D-E55A-7FFA-50D6EA17941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764088" y="4197720"/>
              <a:ext cx="232805" cy="288077"/>
            </a:xfrm>
            <a:custGeom>
              <a:avLst/>
              <a:gdLst>
                <a:gd name="T0" fmla="*/ 2147483647 w 435"/>
                <a:gd name="T1" fmla="*/ 2147483647 h 504"/>
                <a:gd name="T2" fmla="*/ 2147483647 w 435"/>
                <a:gd name="T3" fmla="*/ 2147483647 h 504"/>
                <a:gd name="T4" fmla="*/ 2147483647 w 435"/>
                <a:gd name="T5" fmla="*/ 0 h 504"/>
                <a:gd name="T6" fmla="*/ 2147483647 w 435"/>
                <a:gd name="T7" fmla="*/ 0 h 504"/>
                <a:gd name="T8" fmla="*/ 2147483647 w 435"/>
                <a:gd name="T9" fmla="*/ 0 h 504"/>
                <a:gd name="T10" fmla="*/ 2147483647 w 435"/>
                <a:gd name="T11" fmla="*/ 0 h 504"/>
                <a:gd name="T12" fmla="*/ 2147483647 w 435"/>
                <a:gd name="T13" fmla="*/ 0 h 504"/>
                <a:gd name="T14" fmla="*/ 2147483647 w 435"/>
                <a:gd name="T15" fmla="*/ 0 h 504"/>
                <a:gd name="T16" fmla="*/ 2147483647 w 435"/>
                <a:gd name="T17" fmla="*/ 0 h 504"/>
                <a:gd name="T18" fmla="*/ 2147483647 w 435"/>
                <a:gd name="T19" fmla="*/ 0 h 504"/>
                <a:gd name="T20" fmla="*/ 2147483647 w 435"/>
                <a:gd name="T21" fmla="*/ 0 h 504"/>
                <a:gd name="T22" fmla="*/ 2147483647 w 435"/>
                <a:gd name="T23" fmla="*/ 0 h 504"/>
                <a:gd name="T24" fmla="*/ 2147483647 w 435"/>
                <a:gd name="T25" fmla="*/ 0 h 504"/>
                <a:gd name="T26" fmla="*/ 2147483647 w 435"/>
                <a:gd name="T27" fmla="*/ 0 h 504"/>
                <a:gd name="T28" fmla="*/ 0 w 435"/>
                <a:gd name="T29" fmla="*/ 0 h 504"/>
                <a:gd name="T30" fmla="*/ 0 w 435"/>
                <a:gd name="T31" fmla="*/ 0 h 504"/>
                <a:gd name="T32" fmla="*/ 0 w 435"/>
                <a:gd name="T33" fmla="*/ 0 h 504"/>
                <a:gd name="T34" fmla="*/ 0 w 435"/>
                <a:gd name="T35" fmla="*/ 0 h 504"/>
                <a:gd name="T36" fmla="*/ 0 w 435"/>
                <a:gd name="T37" fmla="*/ 0 h 504"/>
                <a:gd name="T38" fmla="*/ 0 w 435"/>
                <a:gd name="T39" fmla="*/ 0 h 504"/>
                <a:gd name="T40" fmla="*/ 0 w 435"/>
                <a:gd name="T41" fmla="*/ 2147483647 h 504"/>
                <a:gd name="T42" fmla="*/ 0 w 435"/>
                <a:gd name="T43" fmla="*/ 2147483647 h 504"/>
                <a:gd name="T44" fmla="*/ 2147483647 w 435"/>
                <a:gd name="T45" fmla="*/ 2147483647 h 504"/>
                <a:gd name="T46" fmla="*/ 2147483647 w 435"/>
                <a:gd name="T47" fmla="*/ 2147483647 h 504"/>
                <a:gd name="T48" fmla="*/ 2147483647 w 435"/>
                <a:gd name="T49" fmla="*/ 2147483647 h 504"/>
                <a:gd name="T50" fmla="*/ 0 w 435"/>
                <a:gd name="T51" fmla="*/ 2147483647 h 504"/>
                <a:gd name="T52" fmla="*/ 0 w 435"/>
                <a:gd name="T53" fmla="*/ 2147483647 h 504"/>
                <a:gd name="T54" fmla="*/ 0 w 435"/>
                <a:gd name="T55" fmla="*/ 2147483647 h 504"/>
                <a:gd name="T56" fmla="*/ 0 w 435"/>
                <a:gd name="T57" fmla="*/ 2147483647 h 504"/>
                <a:gd name="T58" fmla="*/ 0 w 435"/>
                <a:gd name="T59" fmla="*/ 2147483647 h 504"/>
                <a:gd name="T60" fmla="*/ 0 w 435"/>
                <a:gd name="T61" fmla="*/ 2147483647 h 504"/>
                <a:gd name="T62" fmla="*/ 0 w 435"/>
                <a:gd name="T63" fmla="*/ 2147483647 h 504"/>
                <a:gd name="T64" fmla="*/ 0 w 435"/>
                <a:gd name="T65" fmla="*/ 2147483647 h 504"/>
                <a:gd name="T66" fmla="*/ 0 w 435"/>
                <a:gd name="T67" fmla="*/ 2147483647 h 504"/>
                <a:gd name="T68" fmla="*/ 2147483647 w 435"/>
                <a:gd name="T69" fmla="*/ 2147483647 h 504"/>
                <a:gd name="T70" fmla="*/ 2147483647 w 435"/>
                <a:gd name="T71" fmla="*/ 2147483647 h 504"/>
                <a:gd name="T72" fmla="*/ 2147483647 w 435"/>
                <a:gd name="T73" fmla="*/ 2147483647 h 504"/>
                <a:gd name="T74" fmla="*/ 2147483647 w 435"/>
                <a:gd name="T75" fmla="*/ 2147483647 h 504"/>
                <a:gd name="T76" fmla="*/ 2147483647 w 435"/>
                <a:gd name="T77" fmla="*/ 2147483647 h 504"/>
                <a:gd name="T78" fmla="*/ 2147483647 w 435"/>
                <a:gd name="T79" fmla="*/ 2147483647 h 504"/>
                <a:gd name="T80" fmla="*/ 2147483647 w 435"/>
                <a:gd name="T81" fmla="*/ 2147483647 h 504"/>
                <a:gd name="T82" fmla="*/ 2147483647 w 435"/>
                <a:gd name="T83" fmla="*/ 2147483647 h 504"/>
                <a:gd name="T84" fmla="*/ 2147483647 w 435"/>
                <a:gd name="T85" fmla="*/ 2147483647 h 504"/>
                <a:gd name="T86" fmla="*/ 2147483647 w 435"/>
                <a:gd name="T87" fmla="*/ 2147483647 h 504"/>
                <a:gd name="T88" fmla="*/ 2147483647 w 435"/>
                <a:gd name="T89" fmla="*/ 2147483647 h 504"/>
                <a:gd name="T90" fmla="*/ 2147483647 w 435"/>
                <a:gd name="T91" fmla="*/ 2147483647 h 504"/>
                <a:gd name="T92" fmla="*/ 2147483647 w 435"/>
                <a:gd name="T93" fmla="*/ 2147483647 h 504"/>
                <a:gd name="T94" fmla="*/ 2147483647 w 435"/>
                <a:gd name="T95" fmla="*/ 2147483647 h 504"/>
                <a:gd name="T96" fmla="*/ 2147483647 w 435"/>
                <a:gd name="T97" fmla="*/ 2147483647 h 5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35"/>
                <a:gd name="T148" fmla="*/ 0 h 504"/>
                <a:gd name="T149" fmla="*/ 435 w 435"/>
                <a:gd name="T150" fmla="*/ 504 h 50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35" h="504">
                  <a:moveTo>
                    <a:pt x="387" y="257"/>
                  </a:moveTo>
                  <a:lnTo>
                    <a:pt x="387" y="204"/>
                  </a:lnTo>
                  <a:lnTo>
                    <a:pt x="387" y="151"/>
                  </a:lnTo>
                  <a:lnTo>
                    <a:pt x="387" y="98"/>
                  </a:lnTo>
                  <a:lnTo>
                    <a:pt x="390" y="96"/>
                  </a:lnTo>
                  <a:lnTo>
                    <a:pt x="412" y="74"/>
                  </a:lnTo>
                  <a:lnTo>
                    <a:pt x="433" y="42"/>
                  </a:lnTo>
                  <a:lnTo>
                    <a:pt x="435" y="37"/>
                  </a:lnTo>
                  <a:lnTo>
                    <a:pt x="430" y="38"/>
                  </a:lnTo>
                  <a:lnTo>
                    <a:pt x="421" y="37"/>
                  </a:lnTo>
                  <a:lnTo>
                    <a:pt x="408" y="38"/>
                  </a:lnTo>
                  <a:lnTo>
                    <a:pt x="374" y="22"/>
                  </a:lnTo>
                  <a:lnTo>
                    <a:pt x="355" y="26"/>
                  </a:lnTo>
                  <a:lnTo>
                    <a:pt x="336" y="32"/>
                  </a:lnTo>
                  <a:lnTo>
                    <a:pt x="320" y="48"/>
                  </a:lnTo>
                  <a:lnTo>
                    <a:pt x="297" y="60"/>
                  </a:lnTo>
                  <a:lnTo>
                    <a:pt x="272" y="59"/>
                  </a:lnTo>
                  <a:lnTo>
                    <a:pt x="250" y="53"/>
                  </a:lnTo>
                  <a:lnTo>
                    <a:pt x="233" y="53"/>
                  </a:lnTo>
                  <a:lnTo>
                    <a:pt x="213" y="47"/>
                  </a:lnTo>
                  <a:lnTo>
                    <a:pt x="202" y="34"/>
                  </a:lnTo>
                  <a:lnTo>
                    <a:pt x="164" y="12"/>
                  </a:lnTo>
                  <a:lnTo>
                    <a:pt x="147" y="4"/>
                  </a:lnTo>
                  <a:lnTo>
                    <a:pt x="132" y="3"/>
                  </a:lnTo>
                  <a:lnTo>
                    <a:pt x="116" y="5"/>
                  </a:lnTo>
                  <a:lnTo>
                    <a:pt x="103" y="0"/>
                  </a:lnTo>
                  <a:lnTo>
                    <a:pt x="82" y="3"/>
                  </a:lnTo>
                  <a:lnTo>
                    <a:pt x="69" y="3"/>
                  </a:lnTo>
                  <a:lnTo>
                    <a:pt x="39" y="0"/>
                  </a:lnTo>
                  <a:lnTo>
                    <a:pt x="28" y="1"/>
                  </a:lnTo>
                  <a:lnTo>
                    <a:pt x="16" y="9"/>
                  </a:lnTo>
                  <a:lnTo>
                    <a:pt x="0" y="28"/>
                  </a:lnTo>
                  <a:lnTo>
                    <a:pt x="2" y="30"/>
                  </a:lnTo>
                  <a:lnTo>
                    <a:pt x="5" y="32"/>
                  </a:lnTo>
                  <a:lnTo>
                    <a:pt x="17" y="34"/>
                  </a:lnTo>
                  <a:lnTo>
                    <a:pt x="19" y="36"/>
                  </a:lnTo>
                  <a:lnTo>
                    <a:pt x="19" y="43"/>
                  </a:lnTo>
                  <a:lnTo>
                    <a:pt x="21" y="46"/>
                  </a:lnTo>
                  <a:lnTo>
                    <a:pt x="23" y="48"/>
                  </a:lnTo>
                  <a:lnTo>
                    <a:pt x="28" y="75"/>
                  </a:lnTo>
                  <a:lnTo>
                    <a:pt x="30" y="81"/>
                  </a:lnTo>
                  <a:lnTo>
                    <a:pt x="35" y="86"/>
                  </a:lnTo>
                  <a:lnTo>
                    <a:pt x="42" y="90"/>
                  </a:lnTo>
                  <a:lnTo>
                    <a:pt x="46" y="92"/>
                  </a:lnTo>
                  <a:lnTo>
                    <a:pt x="54" y="101"/>
                  </a:lnTo>
                  <a:lnTo>
                    <a:pt x="55" y="107"/>
                  </a:lnTo>
                  <a:lnTo>
                    <a:pt x="55" y="125"/>
                  </a:lnTo>
                  <a:lnTo>
                    <a:pt x="57" y="135"/>
                  </a:lnTo>
                  <a:lnTo>
                    <a:pt x="56" y="155"/>
                  </a:lnTo>
                  <a:lnTo>
                    <a:pt x="54" y="168"/>
                  </a:lnTo>
                  <a:lnTo>
                    <a:pt x="46" y="181"/>
                  </a:lnTo>
                  <a:lnTo>
                    <a:pt x="38" y="192"/>
                  </a:lnTo>
                  <a:lnTo>
                    <a:pt x="35" y="195"/>
                  </a:lnTo>
                  <a:lnTo>
                    <a:pt x="26" y="206"/>
                  </a:lnTo>
                  <a:lnTo>
                    <a:pt x="8" y="233"/>
                  </a:lnTo>
                  <a:lnTo>
                    <a:pt x="2" y="238"/>
                  </a:lnTo>
                  <a:lnTo>
                    <a:pt x="1" y="253"/>
                  </a:lnTo>
                  <a:lnTo>
                    <a:pt x="8" y="263"/>
                  </a:lnTo>
                  <a:lnTo>
                    <a:pt x="12" y="272"/>
                  </a:lnTo>
                  <a:lnTo>
                    <a:pt x="18" y="270"/>
                  </a:lnTo>
                  <a:lnTo>
                    <a:pt x="26" y="267"/>
                  </a:lnTo>
                  <a:lnTo>
                    <a:pt x="35" y="265"/>
                  </a:lnTo>
                  <a:lnTo>
                    <a:pt x="45" y="265"/>
                  </a:lnTo>
                  <a:lnTo>
                    <a:pt x="45" y="270"/>
                  </a:lnTo>
                  <a:lnTo>
                    <a:pt x="34" y="274"/>
                  </a:lnTo>
                  <a:lnTo>
                    <a:pt x="26" y="281"/>
                  </a:lnTo>
                  <a:lnTo>
                    <a:pt x="14" y="281"/>
                  </a:lnTo>
                  <a:lnTo>
                    <a:pt x="7" y="295"/>
                  </a:lnTo>
                  <a:lnTo>
                    <a:pt x="16" y="303"/>
                  </a:lnTo>
                  <a:lnTo>
                    <a:pt x="207" y="415"/>
                  </a:lnTo>
                  <a:lnTo>
                    <a:pt x="210" y="420"/>
                  </a:lnTo>
                  <a:lnTo>
                    <a:pt x="210" y="428"/>
                  </a:lnTo>
                  <a:lnTo>
                    <a:pt x="215" y="447"/>
                  </a:lnTo>
                  <a:lnTo>
                    <a:pt x="218" y="458"/>
                  </a:lnTo>
                  <a:lnTo>
                    <a:pt x="296" y="504"/>
                  </a:lnTo>
                  <a:lnTo>
                    <a:pt x="306" y="499"/>
                  </a:lnTo>
                  <a:lnTo>
                    <a:pt x="309" y="495"/>
                  </a:lnTo>
                  <a:lnTo>
                    <a:pt x="314" y="488"/>
                  </a:lnTo>
                  <a:lnTo>
                    <a:pt x="318" y="479"/>
                  </a:lnTo>
                  <a:lnTo>
                    <a:pt x="324" y="463"/>
                  </a:lnTo>
                  <a:lnTo>
                    <a:pt x="333" y="450"/>
                  </a:lnTo>
                  <a:lnTo>
                    <a:pt x="342" y="429"/>
                  </a:lnTo>
                  <a:lnTo>
                    <a:pt x="346" y="413"/>
                  </a:lnTo>
                  <a:lnTo>
                    <a:pt x="352" y="399"/>
                  </a:lnTo>
                  <a:lnTo>
                    <a:pt x="357" y="392"/>
                  </a:lnTo>
                  <a:lnTo>
                    <a:pt x="360" y="391"/>
                  </a:lnTo>
                  <a:lnTo>
                    <a:pt x="378" y="382"/>
                  </a:lnTo>
                  <a:lnTo>
                    <a:pt x="379" y="376"/>
                  </a:lnTo>
                  <a:lnTo>
                    <a:pt x="382" y="370"/>
                  </a:lnTo>
                  <a:lnTo>
                    <a:pt x="388" y="361"/>
                  </a:lnTo>
                  <a:lnTo>
                    <a:pt x="394" y="358"/>
                  </a:lnTo>
                  <a:lnTo>
                    <a:pt x="403" y="358"/>
                  </a:lnTo>
                  <a:lnTo>
                    <a:pt x="414" y="346"/>
                  </a:lnTo>
                  <a:lnTo>
                    <a:pt x="417" y="340"/>
                  </a:lnTo>
                  <a:lnTo>
                    <a:pt x="416" y="337"/>
                  </a:lnTo>
                  <a:lnTo>
                    <a:pt x="393" y="308"/>
                  </a:lnTo>
                  <a:lnTo>
                    <a:pt x="387" y="300"/>
                  </a:lnTo>
                  <a:lnTo>
                    <a:pt x="387" y="25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52" name="Freeform 47">
              <a:extLst>
                <a:ext uri="{FF2B5EF4-FFF2-40B4-BE49-F238E27FC236}">
                  <a16:creationId xmlns:a16="http://schemas.microsoft.com/office/drawing/2014/main" id="{146F5472-B941-ECA5-53B0-ED7A89179BE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259807" y="3816666"/>
              <a:ext cx="180573" cy="138704"/>
            </a:xfrm>
            <a:custGeom>
              <a:avLst/>
              <a:gdLst>
                <a:gd name="T0" fmla="*/ 0 w 344"/>
                <a:gd name="T1" fmla="*/ 2147483647 h 244"/>
                <a:gd name="T2" fmla="*/ 0 w 344"/>
                <a:gd name="T3" fmla="*/ 2147483647 h 244"/>
                <a:gd name="T4" fmla="*/ 0 w 344"/>
                <a:gd name="T5" fmla="*/ 2147483647 h 244"/>
                <a:gd name="T6" fmla="*/ 0 w 344"/>
                <a:gd name="T7" fmla="*/ 2147483647 h 244"/>
                <a:gd name="T8" fmla="*/ 0 w 344"/>
                <a:gd name="T9" fmla="*/ 2147483647 h 244"/>
                <a:gd name="T10" fmla="*/ 0 w 344"/>
                <a:gd name="T11" fmla="*/ 0 h 244"/>
                <a:gd name="T12" fmla="*/ 2147483647 w 344"/>
                <a:gd name="T13" fmla="*/ 0 h 244"/>
                <a:gd name="T14" fmla="*/ 2147483647 w 344"/>
                <a:gd name="T15" fmla="*/ 0 h 244"/>
                <a:gd name="T16" fmla="*/ 2147483647 w 344"/>
                <a:gd name="T17" fmla="*/ 0 h 244"/>
                <a:gd name="T18" fmla="*/ 2147483647 w 344"/>
                <a:gd name="T19" fmla="*/ 0 h 244"/>
                <a:gd name="T20" fmla="*/ 2147483647 w 344"/>
                <a:gd name="T21" fmla="*/ 0 h 244"/>
                <a:gd name="T22" fmla="*/ 2147483647 w 344"/>
                <a:gd name="T23" fmla="*/ 0 h 244"/>
                <a:gd name="T24" fmla="*/ 2147483647 w 344"/>
                <a:gd name="T25" fmla="*/ 0 h 244"/>
                <a:gd name="T26" fmla="*/ 2147483647 w 344"/>
                <a:gd name="T27" fmla="*/ 0 h 244"/>
                <a:gd name="T28" fmla="*/ 2147483647 w 344"/>
                <a:gd name="T29" fmla="*/ 0 h 244"/>
                <a:gd name="T30" fmla="*/ 2147483647 w 344"/>
                <a:gd name="T31" fmla="*/ 0 h 244"/>
                <a:gd name="T32" fmla="*/ 2147483647 w 344"/>
                <a:gd name="T33" fmla="*/ 0 h 244"/>
                <a:gd name="T34" fmla="*/ 2147483647 w 344"/>
                <a:gd name="T35" fmla="*/ 2147483647 h 244"/>
                <a:gd name="T36" fmla="*/ 2147483647 w 344"/>
                <a:gd name="T37" fmla="*/ 2147483647 h 244"/>
                <a:gd name="T38" fmla="*/ 2147483647 w 344"/>
                <a:gd name="T39" fmla="*/ 2147483647 h 244"/>
                <a:gd name="T40" fmla="*/ 2147483647 w 344"/>
                <a:gd name="T41" fmla="*/ 2147483647 h 244"/>
                <a:gd name="T42" fmla="*/ 2147483647 w 344"/>
                <a:gd name="T43" fmla="*/ 2147483647 h 244"/>
                <a:gd name="T44" fmla="*/ 2147483647 w 344"/>
                <a:gd name="T45" fmla="*/ 2147483647 h 244"/>
                <a:gd name="T46" fmla="*/ 2147483647 w 344"/>
                <a:gd name="T47" fmla="*/ 2147483647 h 244"/>
                <a:gd name="T48" fmla="*/ 2147483647 w 344"/>
                <a:gd name="T49" fmla="*/ 2147483647 h 244"/>
                <a:gd name="T50" fmla="*/ 2147483647 w 344"/>
                <a:gd name="T51" fmla="*/ 2147483647 h 244"/>
                <a:gd name="T52" fmla="*/ 2147483647 w 344"/>
                <a:gd name="T53" fmla="*/ 2147483647 h 244"/>
                <a:gd name="T54" fmla="*/ 2147483647 w 344"/>
                <a:gd name="T55" fmla="*/ 2147483647 h 244"/>
                <a:gd name="T56" fmla="*/ 2147483647 w 344"/>
                <a:gd name="T57" fmla="*/ 2147483647 h 244"/>
                <a:gd name="T58" fmla="*/ 2147483647 w 344"/>
                <a:gd name="T59" fmla="*/ 2147483647 h 244"/>
                <a:gd name="T60" fmla="*/ 2147483647 w 344"/>
                <a:gd name="T61" fmla="*/ 2147483647 h 244"/>
                <a:gd name="T62" fmla="*/ 2147483647 w 344"/>
                <a:gd name="T63" fmla="*/ 2147483647 h 244"/>
                <a:gd name="T64" fmla="*/ 2147483647 w 344"/>
                <a:gd name="T65" fmla="*/ 2147483647 h 244"/>
                <a:gd name="T66" fmla="*/ 2147483647 w 344"/>
                <a:gd name="T67" fmla="*/ 2147483647 h 244"/>
                <a:gd name="T68" fmla="*/ 2147483647 w 344"/>
                <a:gd name="T69" fmla="*/ 2147483647 h 244"/>
                <a:gd name="T70" fmla="*/ 2147483647 w 344"/>
                <a:gd name="T71" fmla="*/ 2147483647 h 244"/>
                <a:gd name="T72" fmla="*/ 0 w 344"/>
                <a:gd name="T73" fmla="*/ 2147483647 h 244"/>
                <a:gd name="T74" fmla="*/ 0 w 344"/>
                <a:gd name="T75" fmla="*/ 2147483647 h 244"/>
                <a:gd name="T76" fmla="*/ 0 w 344"/>
                <a:gd name="T77" fmla="*/ 2147483647 h 244"/>
                <a:gd name="T78" fmla="*/ 2147483647 w 344"/>
                <a:gd name="T79" fmla="*/ 2147483647 h 244"/>
                <a:gd name="T80" fmla="*/ 2147483647 w 344"/>
                <a:gd name="T81" fmla="*/ 2147483647 h 244"/>
                <a:gd name="T82" fmla="*/ 2147483647 w 344"/>
                <a:gd name="T83" fmla="*/ 2147483647 h 244"/>
                <a:gd name="T84" fmla="*/ 2147483647 w 344"/>
                <a:gd name="T85" fmla="*/ 2147483647 h 244"/>
                <a:gd name="T86" fmla="*/ 2147483647 w 344"/>
                <a:gd name="T87" fmla="*/ 2147483647 h 244"/>
                <a:gd name="T88" fmla="*/ 2147483647 w 344"/>
                <a:gd name="T89" fmla="*/ 2147483647 h 244"/>
                <a:gd name="T90" fmla="*/ 2147483647 w 344"/>
                <a:gd name="T91" fmla="*/ 2147483647 h 244"/>
                <a:gd name="T92" fmla="*/ 2147483647 w 344"/>
                <a:gd name="T93" fmla="*/ 2147483647 h 244"/>
                <a:gd name="T94" fmla="*/ 2147483647 w 344"/>
                <a:gd name="T95" fmla="*/ 2147483647 h 244"/>
                <a:gd name="T96" fmla="*/ 2147483647 w 344"/>
                <a:gd name="T97" fmla="*/ 2147483647 h 24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44"/>
                <a:gd name="T148" fmla="*/ 0 h 244"/>
                <a:gd name="T149" fmla="*/ 344 w 344"/>
                <a:gd name="T150" fmla="*/ 244 h 24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44" h="244">
                  <a:moveTo>
                    <a:pt x="55" y="174"/>
                  </a:moveTo>
                  <a:lnTo>
                    <a:pt x="54" y="174"/>
                  </a:lnTo>
                  <a:lnTo>
                    <a:pt x="50" y="168"/>
                  </a:lnTo>
                  <a:lnTo>
                    <a:pt x="43" y="160"/>
                  </a:lnTo>
                  <a:lnTo>
                    <a:pt x="41" y="147"/>
                  </a:lnTo>
                  <a:lnTo>
                    <a:pt x="39" y="144"/>
                  </a:lnTo>
                  <a:lnTo>
                    <a:pt x="33" y="138"/>
                  </a:lnTo>
                  <a:lnTo>
                    <a:pt x="28" y="129"/>
                  </a:lnTo>
                  <a:lnTo>
                    <a:pt x="18" y="119"/>
                  </a:lnTo>
                  <a:lnTo>
                    <a:pt x="14" y="112"/>
                  </a:lnTo>
                  <a:lnTo>
                    <a:pt x="9" y="112"/>
                  </a:lnTo>
                  <a:lnTo>
                    <a:pt x="7" y="113"/>
                  </a:lnTo>
                  <a:lnTo>
                    <a:pt x="4" y="117"/>
                  </a:lnTo>
                  <a:lnTo>
                    <a:pt x="1" y="112"/>
                  </a:lnTo>
                  <a:lnTo>
                    <a:pt x="0" y="109"/>
                  </a:lnTo>
                  <a:lnTo>
                    <a:pt x="1" y="107"/>
                  </a:lnTo>
                  <a:lnTo>
                    <a:pt x="6" y="107"/>
                  </a:lnTo>
                  <a:lnTo>
                    <a:pt x="17" y="103"/>
                  </a:lnTo>
                  <a:lnTo>
                    <a:pt x="31" y="91"/>
                  </a:lnTo>
                  <a:lnTo>
                    <a:pt x="35" y="86"/>
                  </a:lnTo>
                  <a:lnTo>
                    <a:pt x="40" y="77"/>
                  </a:lnTo>
                  <a:lnTo>
                    <a:pt x="55" y="56"/>
                  </a:lnTo>
                  <a:lnTo>
                    <a:pt x="56" y="50"/>
                  </a:lnTo>
                  <a:lnTo>
                    <a:pt x="56" y="33"/>
                  </a:lnTo>
                  <a:lnTo>
                    <a:pt x="57" y="32"/>
                  </a:lnTo>
                  <a:lnTo>
                    <a:pt x="61" y="29"/>
                  </a:lnTo>
                  <a:lnTo>
                    <a:pt x="65" y="22"/>
                  </a:lnTo>
                  <a:lnTo>
                    <a:pt x="70" y="9"/>
                  </a:lnTo>
                  <a:lnTo>
                    <a:pt x="73" y="9"/>
                  </a:lnTo>
                  <a:lnTo>
                    <a:pt x="76" y="7"/>
                  </a:lnTo>
                  <a:lnTo>
                    <a:pt x="83" y="9"/>
                  </a:lnTo>
                  <a:lnTo>
                    <a:pt x="92" y="9"/>
                  </a:lnTo>
                  <a:lnTo>
                    <a:pt x="102" y="11"/>
                  </a:lnTo>
                  <a:lnTo>
                    <a:pt x="109" y="10"/>
                  </a:lnTo>
                  <a:lnTo>
                    <a:pt x="111" y="7"/>
                  </a:lnTo>
                  <a:lnTo>
                    <a:pt x="122" y="5"/>
                  </a:lnTo>
                  <a:lnTo>
                    <a:pt x="131" y="6"/>
                  </a:lnTo>
                  <a:lnTo>
                    <a:pt x="133" y="5"/>
                  </a:lnTo>
                  <a:lnTo>
                    <a:pt x="133" y="1"/>
                  </a:lnTo>
                  <a:lnTo>
                    <a:pt x="135" y="1"/>
                  </a:lnTo>
                  <a:lnTo>
                    <a:pt x="141" y="1"/>
                  </a:lnTo>
                  <a:lnTo>
                    <a:pt x="146" y="0"/>
                  </a:lnTo>
                  <a:lnTo>
                    <a:pt x="152" y="2"/>
                  </a:lnTo>
                  <a:lnTo>
                    <a:pt x="168" y="2"/>
                  </a:lnTo>
                  <a:lnTo>
                    <a:pt x="169" y="4"/>
                  </a:lnTo>
                  <a:lnTo>
                    <a:pt x="174" y="2"/>
                  </a:lnTo>
                  <a:lnTo>
                    <a:pt x="176" y="7"/>
                  </a:lnTo>
                  <a:lnTo>
                    <a:pt x="183" y="9"/>
                  </a:lnTo>
                  <a:lnTo>
                    <a:pt x="194" y="17"/>
                  </a:lnTo>
                  <a:lnTo>
                    <a:pt x="195" y="23"/>
                  </a:lnTo>
                  <a:lnTo>
                    <a:pt x="202" y="31"/>
                  </a:lnTo>
                  <a:lnTo>
                    <a:pt x="206" y="29"/>
                  </a:lnTo>
                  <a:lnTo>
                    <a:pt x="212" y="28"/>
                  </a:lnTo>
                  <a:lnTo>
                    <a:pt x="212" y="32"/>
                  </a:lnTo>
                  <a:lnTo>
                    <a:pt x="216" y="33"/>
                  </a:lnTo>
                  <a:lnTo>
                    <a:pt x="221" y="29"/>
                  </a:lnTo>
                  <a:lnTo>
                    <a:pt x="223" y="29"/>
                  </a:lnTo>
                  <a:lnTo>
                    <a:pt x="233" y="44"/>
                  </a:lnTo>
                  <a:lnTo>
                    <a:pt x="238" y="54"/>
                  </a:lnTo>
                  <a:lnTo>
                    <a:pt x="238" y="58"/>
                  </a:lnTo>
                  <a:lnTo>
                    <a:pt x="242" y="59"/>
                  </a:lnTo>
                  <a:lnTo>
                    <a:pt x="245" y="64"/>
                  </a:lnTo>
                  <a:lnTo>
                    <a:pt x="245" y="66"/>
                  </a:lnTo>
                  <a:lnTo>
                    <a:pt x="248" y="68"/>
                  </a:lnTo>
                  <a:lnTo>
                    <a:pt x="251" y="66"/>
                  </a:lnTo>
                  <a:lnTo>
                    <a:pt x="253" y="66"/>
                  </a:lnTo>
                  <a:lnTo>
                    <a:pt x="255" y="74"/>
                  </a:lnTo>
                  <a:lnTo>
                    <a:pt x="258" y="75"/>
                  </a:lnTo>
                  <a:lnTo>
                    <a:pt x="260" y="79"/>
                  </a:lnTo>
                  <a:lnTo>
                    <a:pt x="256" y="80"/>
                  </a:lnTo>
                  <a:lnTo>
                    <a:pt x="256" y="81"/>
                  </a:lnTo>
                  <a:lnTo>
                    <a:pt x="261" y="82"/>
                  </a:lnTo>
                  <a:lnTo>
                    <a:pt x="264" y="86"/>
                  </a:lnTo>
                  <a:lnTo>
                    <a:pt x="267" y="88"/>
                  </a:lnTo>
                  <a:lnTo>
                    <a:pt x="271" y="88"/>
                  </a:lnTo>
                  <a:lnTo>
                    <a:pt x="277" y="91"/>
                  </a:lnTo>
                  <a:lnTo>
                    <a:pt x="280" y="95"/>
                  </a:lnTo>
                  <a:lnTo>
                    <a:pt x="281" y="99"/>
                  </a:lnTo>
                  <a:lnTo>
                    <a:pt x="283" y="101"/>
                  </a:lnTo>
                  <a:lnTo>
                    <a:pt x="289" y="103"/>
                  </a:lnTo>
                  <a:lnTo>
                    <a:pt x="296" y="109"/>
                  </a:lnTo>
                  <a:lnTo>
                    <a:pt x="298" y="112"/>
                  </a:lnTo>
                  <a:lnTo>
                    <a:pt x="299" y="115"/>
                  </a:lnTo>
                  <a:lnTo>
                    <a:pt x="297" y="123"/>
                  </a:lnTo>
                  <a:lnTo>
                    <a:pt x="297" y="129"/>
                  </a:lnTo>
                  <a:lnTo>
                    <a:pt x="299" y="129"/>
                  </a:lnTo>
                  <a:lnTo>
                    <a:pt x="301" y="133"/>
                  </a:lnTo>
                  <a:lnTo>
                    <a:pt x="302" y="133"/>
                  </a:lnTo>
                  <a:lnTo>
                    <a:pt x="305" y="136"/>
                  </a:lnTo>
                  <a:lnTo>
                    <a:pt x="307" y="144"/>
                  </a:lnTo>
                  <a:lnTo>
                    <a:pt x="307" y="150"/>
                  </a:lnTo>
                  <a:lnTo>
                    <a:pt x="309" y="156"/>
                  </a:lnTo>
                  <a:lnTo>
                    <a:pt x="310" y="160"/>
                  </a:lnTo>
                  <a:lnTo>
                    <a:pt x="305" y="167"/>
                  </a:lnTo>
                  <a:lnTo>
                    <a:pt x="305" y="169"/>
                  </a:lnTo>
                  <a:lnTo>
                    <a:pt x="313" y="181"/>
                  </a:lnTo>
                  <a:lnTo>
                    <a:pt x="315" y="187"/>
                  </a:lnTo>
                  <a:lnTo>
                    <a:pt x="316" y="188"/>
                  </a:lnTo>
                  <a:lnTo>
                    <a:pt x="320" y="188"/>
                  </a:lnTo>
                  <a:lnTo>
                    <a:pt x="323" y="185"/>
                  </a:lnTo>
                  <a:lnTo>
                    <a:pt x="328" y="185"/>
                  </a:lnTo>
                  <a:lnTo>
                    <a:pt x="328" y="189"/>
                  </a:lnTo>
                  <a:lnTo>
                    <a:pt x="331" y="193"/>
                  </a:lnTo>
                  <a:lnTo>
                    <a:pt x="332" y="197"/>
                  </a:lnTo>
                  <a:lnTo>
                    <a:pt x="335" y="199"/>
                  </a:lnTo>
                  <a:lnTo>
                    <a:pt x="337" y="204"/>
                  </a:lnTo>
                  <a:lnTo>
                    <a:pt x="341" y="209"/>
                  </a:lnTo>
                  <a:lnTo>
                    <a:pt x="342" y="212"/>
                  </a:lnTo>
                  <a:lnTo>
                    <a:pt x="341" y="212"/>
                  </a:lnTo>
                  <a:lnTo>
                    <a:pt x="340" y="214"/>
                  </a:lnTo>
                  <a:lnTo>
                    <a:pt x="342" y="217"/>
                  </a:lnTo>
                  <a:lnTo>
                    <a:pt x="342" y="221"/>
                  </a:lnTo>
                  <a:lnTo>
                    <a:pt x="339" y="225"/>
                  </a:lnTo>
                  <a:lnTo>
                    <a:pt x="340" y="232"/>
                  </a:lnTo>
                  <a:lnTo>
                    <a:pt x="344" y="236"/>
                  </a:lnTo>
                  <a:lnTo>
                    <a:pt x="344" y="238"/>
                  </a:lnTo>
                  <a:lnTo>
                    <a:pt x="341" y="239"/>
                  </a:lnTo>
                  <a:lnTo>
                    <a:pt x="331" y="239"/>
                  </a:lnTo>
                  <a:lnTo>
                    <a:pt x="325" y="242"/>
                  </a:lnTo>
                  <a:lnTo>
                    <a:pt x="321" y="242"/>
                  </a:lnTo>
                  <a:lnTo>
                    <a:pt x="310" y="241"/>
                  </a:lnTo>
                  <a:lnTo>
                    <a:pt x="308" y="242"/>
                  </a:lnTo>
                  <a:lnTo>
                    <a:pt x="301" y="242"/>
                  </a:lnTo>
                  <a:lnTo>
                    <a:pt x="293" y="244"/>
                  </a:lnTo>
                  <a:lnTo>
                    <a:pt x="287" y="244"/>
                  </a:lnTo>
                  <a:lnTo>
                    <a:pt x="282" y="242"/>
                  </a:lnTo>
                  <a:lnTo>
                    <a:pt x="278" y="242"/>
                  </a:lnTo>
                  <a:lnTo>
                    <a:pt x="271" y="239"/>
                  </a:lnTo>
                  <a:lnTo>
                    <a:pt x="264" y="239"/>
                  </a:lnTo>
                  <a:lnTo>
                    <a:pt x="258" y="233"/>
                  </a:lnTo>
                  <a:lnTo>
                    <a:pt x="255" y="235"/>
                  </a:lnTo>
                  <a:lnTo>
                    <a:pt x="255" y="238"/>
                  </a:lnTo>
                  <a:lnTo>
                    <a:pt x="248" y="237"/>
                  </a:lnTo>
                  <a:lnTo>
                    <a:pt x="248" y="231"/>
                  </a:lnTo>
                  <a:lnTo>
                    <a:pt x="245" y="228"/>
                  </a:lnTo>
                  <a:lnTo>
                    <a:pt x="237" y="227"/>
                  </a:lnTo>
                  <a:lnTo>
                    <a:pt x="231" y="228"/>
                  </a:lnTo>
                  <a:lnTo>
                    <a:pt x="226" y="225"/>
                  </a:lnTo>
                  <a:lnTo>
                    <a:pt x="212" y="224"/>
                  </a:lnTo>
                  <a:lnTo>
                    <a:pt x="162" y="224"/>
                  </a:lnTo>
                  <a:lnTo>
                    <a:pt x="159" y="225"/>
                  </a:lnTo>
                  <a:lnTo>
                    <a:pt x="135" y="225"/>
                  </a:lnTo>
                  <a:lnTo>
                    <a:pt x="122" y="231"/>
                  </a:lnTo>
                  <a:lnTo>
                    <a:pt x="111" y="236"/>
                  </a:lnTo>
                  <a:lnTo>
                    <a:pt x="102" y="238"/>
                  </a:lnTo>
                  <a:lnTo>
                    <a:pt x="72" y="237"/>
                  </a:lnTo>
                  <a:lnTo>
                    <a:pt x="68" y="239"/>
                  </a:lnTo>
                  <a:lnTo>
                    <a:pt x="57" y="244"/>
                  </a:lnTo>
                  <a:lnTo>
                    <a:pt x="50" y="244"/>
                  </a:lnTo>
                  <a:lnTo>
                    <a:pt x="46" y="243"/>
                  </a:lnTo>
                  <a:lnTo>
                    <a:pt x="45" y="241"/>
                  </a:lnTo>
                  <a:lnTo>
                    <a:pt x="43" y="242"/>
                  </a:lnTo>
                  <a:lnTo>
                    <a:pt x="44" y="241"/>
                  </a:lnTo>
                  <a:lnTo>
                    <a:pt x="41" y="239"/>
                  </a:lnTo>
                  <a:lnTo>
                    <a:pt x="43" y="205"/>
                  </a:lnTo>
                  <a:lnTo>
                    <a:pt x="47" y="199"/>
                  </a:lnTo>
                  <a:lnTo>
                    <a:pt x="86" y="195"/>
                  </a:lnTo>
                  <a:lnTo>
                    <a:pt x="94" y="195"/>
                  </a:lnTo>
                  <a:lnTo>
                    <a:pt x="95" y="195"/>
                  </a:lnTo>
                  <a:lnTo>
                    <a:pt x="98" y="188"/>
                  </a:lnTo>
                  <a:lnTo>
                    <a:pt x="103" y="187"/>
                  </a:lnTo>
                  <a:lnTo>
                    <a:pt x="106" y="188"/>
                  </a:lnTo>
                  <a:lnTo>
                    <a:pt x="119" y="187"/>
                  </a:lnTo>
                  <a:lnTo>
                    <a:pt x="127" y="183"/>
                  </a:lnTo>
                  <a:lnTo>
                    <a:pt x="131" y="178"/>
                  </a:lnTo>
                  <a:lnTo>
                    <a:pt x="133" y="177"/>
                  </a:lnTo>
                  <a:lnTo>
                    <a:pt x="140" y="178"/>
                  </a:lnTo>
                  <a:lnTo>
                    <a:pt x="143" y="182"/>
                  </a:lnTo>
                  <a:lnTo>
                    <a:pt x="151" y="184"/>
                  </a:lnTo>
                  <a:lnTo>
                    <a:pt x="159" y="189"/>
                  </a:lnTo>
                  <a:lnTo>
                    <a:pt x="167" y="190"/>
                  </a:lnTo>
                  <a:lnTo>
                    <a:pt x="175" y="194"/>
                  </a:lnTo>
                  <a:lnTo>
                    <a:pt x="183" y="194"/>
                  </a:lnTo>
                  <a:lnTo>
                    <a:pt x="185" y="195"/>
                  </a:lnTo>
                  <a:lnTo>
                    <a:pt x="191" y="192"/>
                  </a:lnTo>
                  <a:lnTo>
                    <a:pt x="203" y="189"/>
                  </a:lnTo>
                  <a:lnTo>
                    <a:pt x="207" y="185"/>
                  </a:lnTo>
                  <a:lnTo>
                    <a:pt x="207" y="182"/>
                  </a:lnTo>
                  <a:lnTo>
                    <a:pt x="207" y="177"/>
                  </a:lnTo>
                  <a:lnTo>
                    <a:pt x="206" y="177"/>
                  </a:lnTo>
                  <a:lnTo>
                    <a:pt x="203" y="177"/>
                  </a:lnTo>
                  <a:lnTo>
                    <a:pt x="200" y="176"/>
                  </a:lnTo>
                  <a:lnTo>
                    <a:pt x="195" y="176"/>
                  </a:lnTo>
                  <a:lnTo>
                    <a:pt x="191" y="177"/>
                  </a:lnTo>
                  <a:lnTo>
                    <a:pt x="180" y="182"/>
                  </a:lnTo>
                  <a:lnTo>
                    <a:pt x="175" y="181"/>
                  </a:lnTo>
                  <a:lnTo>
                    <a:pt x="169" y="178"/>
                  </a:lnTo>
                  <a:lnTo>
                    <a:pt x="165" y="172"/>
                  </a:lnTo>
                  <a:lnTo>
                    <a:pt x="164" y="171"/>
                  </a:lnTo>
                  <a:lnTo>
                    <a:pt x="152" y="171"/>
                  </a:lnTo>
                  <a:lnTo>
                    <a:pt x="146" y="163"/>
                  </a:lnTo>
                  <a:lnTo>
                    <a:pt x="140" y="162"/>
                  </a:lnTo>
                  <a:lnTo>
                    <a:pt x="137" y="161"/>
                  </a:lnTo>
                  <a:lnTo>
                    <a:pt x="131" y="162"/>
                  </a:lnTo>
                  <a:lnTo>
                    <a:pt x="126" y="165"/>
                  </a:lnTo>
                  <a:lnTo>
                    <a:pt x="120" y="163"/>
                  </a:lnTo>
                  <a:lnTo>
                    <a:pt x="115" y="168"/>
                  </a:lnTo>
                  <a:lnTo>
                    <a:pt x="111" y="174"/>
                  </a:lnTo>
                  <a:lnTo>
                    <a:pt x="55" y="17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53" name="Freeform 48">
              <a:extLst>
                <a:ext uri="{FF2B5EF4-FFF2-40B4-BE49-F238E27FC236}">
                  <a16:creationId xmlns:a16="http://schemas.microsoft.com/office/drawing/2014/main" id="{69678FEF-3A9B-4219-4B17-132C1AB7AAC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640223" y="4369956"/>
              <a:ext cx="319361" cy="333804"/>
            </a:xfrm>
            <a:custGeom>
              <a:avLst/>
              <a:gdLst>
                <a:gd name="T0" fmla="*/ 2147483647 w 596"/>
                <a:gd name="T1" fmla="*/ 2147483647 h 591"/>
                <a:gd name="T2" fmla="*/ 2147483647 w 596"/>
                <a:gd name="T3" fmla="*/ 2147483647 h 591"/>
                <a:gd name="T4" fmla="*/ 2147483647 w 596"/>
                <a:gd name="T5" fmla="*/ 2147483647 h 591"/>
                <a:gd name="T6" fmla="*/ 2147483647 w 596"/>
                <a:gd name="T7" fmla="*/ 2147483647 h 591"/>
                <a:gd name="T8" fmla="*/ 2147483647 w 596"/>
                <a:gd name="T9" fmla="*/ 2147483647 h 591"/>
                <a:gd name="T10" fmla="*/ 2147483647 w 596"/>
                <a:gd name="T11" fmla="*/ 2147483647 h 591"/>
                <a:gd name="T12" fmla="*/ 2147483647 w 596"/>
                <a:gd name="T13" fmla="*/ 2147483647 h 591"/>
                <a:gd name="T14" fmla="*/ 2147483647 w 596"/>
                <a:gd name="T15" fmla="*/ 2147483647 h 591"/>
                <a:gd name="T16" fmla="*/ 2147483647 w 596"/>
                <a:gd name="T17" fmla="*/ 2147483647 h 591"/>
                <a:gd name="T18" fmla="*/ 2147483647 w 596"/>
                <a:gd name="T19" fmla="*/ 2147483647 h 591"/>
                <a:gd name="T20" fmla="*/ 2147483647 w 596"/>
                <a:gd name="T21" fmla="*/ 2147483647 h 591"/>
                <a:gd name="T22" fmla="*/ 2147483647 w 596"/>
                <a:gd name="T23" fmla="*/ 2147483647 h 591"/>
                <a:gd name="T24" fmla="*/ 2147483647 w 596"/>
                <a:gd name="T25" fmla="*/ 2147483647 h 591"/>
                <a:gd name="T26" fmla="*/ 2147483647 w 596"/>
                <a:gd name="T27" fmla="*/ 2147483647 h 591"/>
                <a:gd name="T28" fmla="*/ 2147483647 w 596"/>
                <a:gd name="T29" fmla="*/ 2147483647 h 591"/>
                <a:gd name="T30" fmla="*/ 2147483647 w 596"/>
                <a:gd name="T31" fmla="*/ 2147483647 h 591"/>
                <a:gd name="T32" fmla="*/ 2147483647 w 596"/>
                <a:gd name="T33" fmla="*/ 2147483647 h 591"/>
                <a:gd name="T34" fmla="*/ 2147483647 w 596"/>
                <a:gd name="T35" fmla="*/ 2147483647 h 591"/>
                <a:gd name="T36" fmla="*/ 2147483647 w 596"/>
                <a:gd name="T37" fmla="*/ 2147483647 h 591"/>
                <a:gd name="T38" fmla="*/ 2147483647 w 596"/>
                <a:gd name="T39" fmla="*/ 2147483647 h 591"/>
                <a:gd name="T40" fmla="*/ 2147483647 w 596"/>
                <a:gd name="T41" fmla="*/ 2147483647 h 591"/>
                <a:gd name="T42" fmla="*/ 2147483647 w 596"/>
                <a:gd name="T43" fmla="*/ 2147483647 h 591"/>
                <a:gd name="T44" fmla="*/ 2147483647 w 596"/>
                <a:gd name="T45" fmla="*/ 2147483647 h 591"/>
                <a:gd name="T46" fmla="*/ 2147483647 w 596"/>
                <a:gd name="T47" fmla="*/ 2147483647 h 591"/>
                <a:gd name="T48" fmla="*/ 2147483647 w 596"/>
                <a:gd name="T49" fmla="*/ 2147483647 h 591"/>
                <a:gd name="T50" fmla="*/ 2147483647 w 596"/>
                <a:gd name="T51" fmla="*/ 2147483647 h 591"/>
                <a:gd name="T52" fmla="*/ 2147483647 w 596"/>
                <a:gd name="T53" fmla="*/ 2147483647 h 591"/>
                <a:gd name="T54" fmla="*/ 2147483647 w 596"/>
                <a:gd name="T55" fmla="*/ 2147483647 h 591"/>
                <a:gd name="T56" fmla="*/ 0 w 596"/>
                <a:gd name="T57" fmla="*/ 2147483647 h 591"/>
                <a:gd name="T58" fmla="*/ 0 w 596"/>
                <a:gd name="T59" fmla="*/ 2147483647 h 591"/>
                <a:gd name="T60" fmla="*/ 0 w 596"/>
                <a:gd name="T61" fmla="*/ 2147483647 h 591"/>
                <a:gd name="T62" fmla="*/ 0 w 596"/>
                <a:gd name="T63" fmla="*/ 2147483647 h 591"/>
                <a:gd name="T64" fmla="*/ 2147483647 w 596"/>
                <a:gd name="T65" fmla="*/ 2147483647 h 591"/>
                <a:gd name="T66" fmla="*/ 2147483647 w 596"/>
                <a:gd name="T67" fmla="*/ 2147483647 h 591"/>
                <a:gd name="T68" fmla="*/ 2147483647 w 596"/>
                <a:gd name="T69" fmla="*/ 2147483647 h 591"/>
                <a:gd name="T70" fmla="*/ 2147483647 w 596"/>
                <a:gd name="T71" fmla="*/ 0 h 591"/>
                <a:gd name="T72" fmla="*/ 2147483647 w 596"/>
                <a:gd name="T73" fmla="*/ 0 h 591"/>
                <a:gd name="T74" fmla="*/ 2147483647 w 596"/>
                <a:gd name="T75" fmla="*/ 0 h 591"/>
                <a:gd name="T76" fmla="*/ 2147483647 w 596"/>
                <a:gd name="T77" fmla="*/ 2147483647 h 591"/>
                <a:gd name="T78" fmla="*/ 2147483647 w 596"/>
                <a:gd name="T79" fmla="*/ 2147483647 h 591"/>
                <a:gd name="T80" fmla="*/ 2147483647 w 596"/>
                <a:gd name="T81" fmla="*/ 0 h 591"/>
                <a:gd name="T82" fmla="*/ 2147483647 w 596"/>
                <a:gd name="T83" fmla="*/ 2147483647 h 591"/>
                <a:gd name="T84" fmla="*/ 2147483647 w 596"/>
                <a:gd name="T85" fmla="*/ 2147483647 h 591"/>
                <a:gd name="T86" fmla="*/ 2147483647 w 596"/>
                <a:gd name="T87" fmla="*/ 2147483647 h 591"/>
                <a:gd name="T88" fmla="*/ 2147483647 w 596"/>
                <a:gd name="T89" fmla="*/ 0 h 591"/>
                <a:gd name="T90" fmla="*/ 2147483647 w 596"/>
                <a:gd name="T91" fmla="*/ 0 h 591"/>
                <a:gd name="T92" fmla="*/ 2147483647 w 596"/>
                <a:gd name="T93" fmla="*/ 0 h 591"/>
                <a:gd name="T94" fmla="*/ 2147483647 w 596"/>
                <a:gd name="T95" fmla="*/ 0 h 591"/>
                <a:gd name="T96" fmla="*/ 2147483647 w 596"/>
                <a:gd name="T97" fmla="*/ 0 h 59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96"/>
                <a:gd name="T148" fmla="*/ 0 h 591"/>
                <a:gd name="T149" fmla="*/ 596 w 596"/>
                <a:gd name="T150" fmla="*/ 591 h 59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96" h="591">
                  <a:moveTo>
                    <a:pt x="442" y="112"/>
                  </a:moveTo>
                  <a:lnTo>
                    <a:pt x="445" y="117"/>
                  </a:lnTo>
                  <a:lnTo>
                    <a:pt x="445" y="125"/>
                  </a:lnTo>
                  <a:lnTo>
                    <a:pt x="450" y="144"/>
                  </a:lnTo>
                  <a:lnTo>
                    <a:pt x="453" y="155"/>
                  </a:lnTo>
                  <a:lnTo>
                    <a:pt x="531" y="201"/>
                  </a:lnTo>
                  <a:lnTo>
                    <a:pt x="528" y="207"/>
                  </a:lnTo>
                  <a:lnTo>
                    <a:pt x="521" y="238"/>
                  </a:lnTo>
                  <a:lnTo>
                    <a:pt x="517" y="244"/>
                  </a:lnTo>
                  <a:lnTo>
                    <a:pt x="514" y="256"/>
                  </a:lnTo>
                  <a:lnTo>
                    <a:pt x="504" y="281"/>
                  </a:lnTo>
                  <a:lnTo>
                    <a:pt x="505" y="292"/>
                  </a:lnTo>
                  <a:lnTo>
                    <a:pt x="507" y="298"/>
                  </a:lnTo>
                  <a:lnTo>
                    <a:pt x="523" y="309"/>
                  </a:lnTo>
                  <a:lnTo>
                    <a:pt x="530" y="317"/>
                  </a:lnTo>
                  <a:lnTo>
                    <a:pt x="538" y="325"/>
                  </a:lnTo>
                  <a:lnTo>
                    <a:pt x="544" y="336"/>
                  </a:lnTo>
                  <a:lnTo>
                    <a:pt x="544" y="341"/>
                  </a:lnTo>
                  <a:lnTo>
                    <a:pt x="542" y="342"/>
                  </a:lnTo>
                  <a:lnTo>
                    <a:pt x="537" y="349"/>
                  </a:lnTo>
                  <a:lnTo>
                    <a:pt x="536" y="362"/>
                  </a:lnTo>
                  <a:lnTo>
                    <a:pt x="533" y="368"/>
                  </a:lnTo>
                  <a:lnTo>
                    <a:pt x="537" y="374"/>
                  </a:lnTo>
                  <a:lnTo>
                    <a:pt x="536" y="380"/>
                  </a:lnTo>
                  <a:lnTo>
                    <a:pt x="538" y="385"/>
                  </a:lnTo>
                  <a:lnTo>
                    <a:pt x="537" y="395"/>
                  </a:lnTo>
                  <a:lnTo>
                    <a:pt x="531" y="395"/>
                  </a:lnTo>
                  <a:lnTo>
                    <a:pt x="528" y="402"/>
                  </a:lnTo>
                  <a:lnTo>
                    <a:pt x="531" y="412"/>
                  </a:lnTo>
                  <a:lnTo>
                    <a:pt x="537" y="425"/>
                  </a:lnTo>
                  <a:lnTo>
                    <a:pt x="542" y="429"/>
                  </a:lnTo>
                  <a:lnTo>
                    <a:pt x="542" y="432"/>
                  </a:lnTo>
                  <a:lnTo>
                    <a:pt x="538" y="435"/>
                  </a:lnTo>
                  <a:lnTo>
                    <a:pt x="550" y="455"/>
                  </a:lnTo>
                  <a:lnTo>
                    <a:pt x="552" y="460"/>
                  </a:lnTo>
                  <a:lnTo>
                    <a:pt x="550" y="467"/>
                  </a:lnTo>
                  <a:lnTo>
                    <a:pt x="555" y="472"/>
                  </a:lnTo>
                  <a:lnTo>
                    <a:pt x="558" y="478"/>
                  </a:lnTo>
                  <a:lnTo>
                    <a:pt x="558" y="484"/>
                  </a:lnTo>
                  <a:lnTo>
                    <a:pt x="561" y="488"/>
                  </a:lnTo>
                  <a:lnTo>
                    <a:pt x="561" y="497"/>
                  </a:lnTo>
                  <a:lnTo>
                    <a:pt x="573" y="503"/>
                  </a:lnTo>
                  <a:lnTo>
                    <a:pt x="577" y="513"/>
                  </a:lnTo>
                  <a:lnTo>
                    <a:pt x="587" y="514"/>
                  </a:lnTo>
                  <a:lnTo>
                    <a:pt x="592" y="518"/>
                  </a:lnTo>
                  <a:lnTo>
                    <a:pt x="595" y="519"/>
                  </a:lnTo>
                  <a:lnTo>
                    <a:pt x="596" y="525"/>
                  </a:lnTo>
                  <a:lnTo>
                    <a:pt x="593" y="526"/>
                  </a:lnTo>
                  <a:lnTo>
                    <a:pt x="579" y="536"/>
                  </a:lnTo>
                  <a:lnTo>
                    <a:pt x="564" y="550"/>
                  </a:lnTo>
                  <a:lnTo>
                    <a:pt x="560" y="552"/>
                  </a:lnTo>
                  <a:lnTo>
                    <a:pt x="541" y="557"/>
                  </a:lnTo>
                  <a:lnTo>
                    <a:pt x="507" y="569"/>
                  </a:lnTo>
                  <a:lnTo>
                    <a:pt x="499" y="570"/>
                  </a:lnTo>
                  <a:lnTo>
                    <a:pt x="489" y="570"/>
                  </a:lnTo>
                  <a:lnTo>
                    <a:pt x="476" y="564"/>
                  </a:lnTo>
                  <a:lnTo>
                    <a:pt x="467" y="567"/>
                  </a:lnTo>
                  <a:lnTo>
                    <a:pt x="453" y="568"/>
                  </a:lnTo>
                  <a:lnTo>
                    <a:pt x="440" y="581"/>
                  </a:lnTo>
                  <a:lnTo>
                    <a:pt x="436" y="583"/>
                  </a:lnTo>
                  <a:lnTo>
                    <a:pt x="429" y="583"/>
                  </a:lnTo>
                  <a:lnTo>
                    <a:pt x="398" y="581"/>
                  </a:lnTo>
                  <a:lnTo>
                    <a:pt x="387" y="589"/>
                  </a:lnTo>
                  <a:lnTo>
                    <a:pt x="378" y="589"/>
                  </a:lnTo>
                  <a:lnTo>
                    <a:pt x="371" y="591"/>
                  </a:lnTo>
                  <a:lnTo>
                    <a:pt x="366" y="590"/>
                  </a:lnTo>
                  <a:lnTo>
                    <a:pt x="361" y="588"/>
                  </a:lnTo>
                  <a:lnTo>
                    <a:pt x="355" y="580"/>
                  </a:lnTo>
                  <a:lnTo>
                    <a:pt x="348" y="578"/>
                  </a:lnTo>
                  <a:lnTo>
                    <a:pt x="340" y="578"/>
                  </a:lnTo>
                  <a:lnTo>
                    <a:pt x="334" y="583"/>
                  </a:lnTo>
                  <a:lnTo>
                    <a:pt x="331" y="584"/>
                  </a:lnTo>
                  <a:lnTo>
                    <a:pt x="290" y="583"/>
                  </a:lnTo>
                  <a:lnTo>
                    <a:pt x="290" y="579"/>
                  </a:lnTo>
                  <a:lnTo>
                    <a:pt x="285" y="570"/>
                  </a:lnTo>
                  <a:lnTo>
                    <a:pt x="280" y="567"/>
                  </a:lnTo>
                  <a:lnTo>
                    <a:pt x="275" y="559"/>
                  </a:lnTo>
                  <a:lnTo>
                    <a:pt x="274" y="557"/>
                  </a:lnTo>
                  <a:lnTo>
                    <a:pt x="275" y="538"/>
                  </a:lnTo>
                  <a:lnTo>
                    <a:pt x="270" y="531"/>
                  </a:lnTo>
                  <a:lnTo>
                    <a:pt x="269" y="513"/>
                  </a:lnTo>
                  <a:lnTo>
                    <a:pt x="264" y="494"/>
                  </a:lnTo>
                  <a:lnTo>
                    <a:pt x="261" y="487"/>
                  </a:lnTo>
                  <a:lnTo>
                    <a:pt x="249" y="476"/>
                  </a:lnTo>
                  <a:lnTo>
                    <a:pt x="237" y="472"/>
                  </a:lnTo>
                  <a:lnTo>
                    <a:pt x="232" y="480"/>
                  </a:lnTo>
                  <a:lnTo>
                    <a:pt x="230" y="476"/>
                  </a:lnTo>
                  <a:lnTo>
                    <a:pt x="229" y="473"/>
                  </a:lnTo>
                  <a:lnTo>
                    <a:pt x="226" y="472"/>
                  </a:lnTo>
                  <a:lnTo>
                    <a:pt x="221" y="472"/>
                  </a:lnTo>
                  <a:lnTo>
                    <a:pt x="210" y="476"/>
                  </a:lnTo>
                  <a:lnTo>
                    <a:pt x="208" y="475"/>
                  </a:lnTo>
                  <a:lnTo>
                    <a:pt x="203" y="468"/>
                  </a:lnTo>
                  <a:lnTo>
                    <a:pt x="193" y="470"/>
                  </a:lnTo>
                  <a:lnTo>
                    <a:pt x="182" y="462"/>
                  </a:lnTo>
                  <a:lnTo>
                    <a:pt x="178" y="459"/>
                  </a:lnTo>
                  <a:lnTo>
                    <a:pt x="176" y="456"/>
                  </a:lnTo>
                  <a:lnTo>
                    <a:pt x="165" y="456"/>
                  </a:lnTo>
                  <a:lnTo>
                    <a:pt x="154" y="452"/>
                  </a:lnTo>
                  <a:lnTo>
                    <a:pt x="125" y="440"/>
                  </a:lnTo>
                  <a:lnTo>
                    <a:pt x="117" y="438"/>
                  </a:lnTo>
                  <a:lnTo>
                    <a:pt x="109" y="434"/>
                  </a:lnTo>
                  <a:lnTo>
                    <a:pt x="105" y="427"/>
                  </a:lnTo>
                  <a:lnTo>
                    <a:pt x="95" y="418"/>
                  </a:lnTo>
                  <a:lnTo>
                    <a:pt x="87" y="416"/>
                  </a:lnTo>
                  <a:lnTo>
                    <a:pt x="81" y="417"/>
                  </a:lnTo>
                  <a:lnTo>
                    <a:pt x="70" y="398"/>
                  </a:lnTo>
                  <a:lnTo>
                    <a:pt x="65" y="386"/>
                  </a:lnTo>
                  <a:lnTo>
                    <a:pt x="58" y="374"/>
                  </a:lnTo>
                  <a:lnTo>
                    <a:pt x="49" y="352"/>
                  </a:lnTo>
                  <a:lnTo>
                    <a:pt x="50" y="338"/>
                  </a:lnTo>
                  <a:lnTo>
                    <a:pt x="49" y="328"/>
                  </a:lnTo>
                  <a:lnTo>
                    <a:pt x="31" y="310"/>
                  </a:lnTo>
                  <a:lnTo>
                    <a:pt x="9" y="298"/>
                  </a:lnTo>
                  <a:lnTo>
                    <a:pt x="6" y="284"/>
                  </a:lnTo>
                  <a:lnTo>
                    <a:pt x="11" y="278"/>
                  </a:lnTo>
                  <a:lnTo>
                    <a:pt x="15" y="272"/>
                  </a:lnTo>
                  <a:lnTo>
                    <a:pt x="11" y="258"/>
                  </a:lnTo>
                  <a:lnTo>
                    <a:pt x="9" y="246"/>
                  </a:lnTo>
                  <a:lnTo>
                    <a:pt x="9" y="231"/>
                  </a:lnTo>
                  <a:lnTo>
                    <a:pt x="5" y="225"/>
                  </a:lnTo>
                  <a:lnTo>
                    <a:pt x="1" y="222"/>
                  </a:lnTo>
                  <a:lnTo>
                    <a:pt x="0" y="206"/>
                  </a:lnTo>
                  <a:lnTo>
                    <a:pt x="0" y="187"/>
                  </a:lnTo>
                  <a:lnTo>
                    <a:pt x="3" y="186"/>
                  </a:lnTo>
                  <a:lnTo>
                    <a:pt x="14" y="183"/>
                  </a:lnTo>
                  <a:lnTo>
                    <a:pt x="28" y="179"/>
                  </a:lnTo>
                  <a:lnTo>
                    <a:pt x="39" y="159"/>
                  </a:lnTo>
                  <a:lnTo>
                    <a:pt x="44" y="153"/>
                  </a:lnTo>
                  <a:lnTo>
                    <a:pt x="50" y="139"/>
                  </a:lnTo>
                  <a:lnTo>
                    <a:pt x="60" y="127"/>
                  </a:lnTo>
                  <a:lnTo>
                    <a:pt x="64" y="121"/>
                  </a:lnTo>
                  <a:lnTo>
                    <a:pt x="64" y="113"/>
                  </a:lnTo>
                  <a:lnTo>
                    <a:pt x="62" y="107"/>
                  </a:lnTo>
                  <a:lnTo>
                    <a:pt x="58" y="104"/>
                  </a:lnTo>
                  <a:lnTo>
                    <a:pt x="52" y="102"/>
                  </a:lnTo>
                  <a:lnTo>
                    <a:pt x="48" y="99"/>
                  </a:lnTo>
                  <a:lnTo>
                    <a:pt x="48" y="95"/>
                  </a:lnTo>
                  <a:lnTo>
                    <a:pt x="48" y="89"/>
                  </a:lnTo>
                  <a:lnTo>
                    <a:pt x="49" y="83"/>
                  </a:lnTo>
                  <a:lnTo>
                    <a:pt x="54" y="78"/>
                  </a:lnTo>
                  <a:lnTo>
                    <a:pt x="65" y="63"/>
                  </a:lnTo>
                  <a:lnTo>
                    <a:pt x="68" y="53"/>
                  </a:lnTo>
                  <a:lnTo>
                    <a:pt x="66" y="46"/>
                  </a:lnTo>
                  <a:lnTo>
                    <a:pt x="62" y="31"/>
                  </a:lnTo>
                  <a:lnTo>
                    <a:pt x="49" y="10"/>
                  </a:lnTo>
                  <a:lnTo>
                    <a:pt x="44" y="3"/>
                  </a:lnTo>
                  <a:lnTo>
                    <a:pt x="66" y="5"/>
                  </a:lnTo>
                  <a:lnTo>
                    <a:pt x="73" y="2"/>
                  </a:lnTo>
                  <a:lnTo>
                    <a:pt x="73" y="0"/>
                  </a:lnTo>
                  <a:lnTo>
                    <a:pt x="118" y="0"/>
                  </a:lnTo>
                  <a:lnTo>
                    <a:pt x="119" y="7"/>
                  </a:lnTo>
                  <a:lnTo>
                    <a:pt x="118" y="26"/>
                  </a:lnTo>
                  <a:lnTo>
                    <a:pt x="114" y="40"/>
                  </a:lnTo>
                  <a:lnTo>
                    <a:pt x="113" y="61"/>
                  </a:lnTo>
                  <a:lnTo>
                    <a:pt x="118" y="83"/>
                  </a:lnTo>
                  <a:lnTo>
                    <a:pt x="117" y="90"/>
                  </a:lnTo>
                  <a:lnTo>
                    <a:pt x="122" y="99"/>
                  </a:lnTo>
                  <a:lnTo>
                    <a:pt x="129" y="95"/>
                  </a:lnTo>
                  <a:lnTo>
                    <a:pt x="133" y="88"/>
                  </a:lnTo>
                  <a:lnTo>
                    <a:pt x="139" y="86"/>
                  </a:lnTo>
                  <a:lnTo>
                    <a:pt x="138" y="78"/>
                  </a:lnTo>
                  <a:lnTo>
                    <a:pt x="143" y="72"/>
                  </a:lnTo>
                  <a:lnTo>
                    <a:pt x="148" y="75"/>
                  </a:lnTo>
                  <a:lnTo>
                    <a:pt x="157" y="85"/>
                  </a:lnTo>
                  <a:lnTo>
                    <a:pt x="163" y="90"/>
                  </a:lnTo>
                  <a:lnTo>
                    <a:pt x="170" y="86"/>
                  </a:lnTo>
                  <a:lnTo>
                    <a:pt x="173" y="86"/>
                  </a:lnTo>
                  <a:lnTo>
                    <a:pt x="176" y="107"/>
                  </a:lnTo>
                  <a:lnTo>
                    <a:pt x="183" y="101"/>
                  </a:lnTo>
                  <a:lnTo>
                    <a:pt x="182" y="94"/>
                  </a:lnTo>
                  <a:lnTo>
                    <a:pt x="186" y="84"/>
                  </a:lnTo>
                  <a:lnTo>
                    <a:pt x="189" y="83"/>
                  </a:lnTo>
                  <a:lnTo>
                    <a:pt x="200" y="83"/>
                  </a:lnTo>
                  <a:lnTo>
                    <a:pt x="205" y="83"/>
                  </a:lnTo>
                  <a:lnTo>
                    <a:pt x="214" y="79"/>
                  </a:lnTo>
                  <a:lnTo>
                    <a:pt x="225" y="72"/>
                  </a:lnTo>
                  <a:lnTo>
                    <a:pt x="226" y="69"/>
                  </a:lnTo>
                  <a:lnTo>
                    <a:pt x="224" y="64"/>
                  </a:lnTo>
                  <a:lnTo>
                    <a:pt x="209" y="66"/>
                  </a:lnTo>
                  <a:lnTo>
                    <a:pt x="200" y="62"/>
                  </a:lnTo>
                  <a:lnTo>
                    <a:pt x="202" y="58"/>
                  </a:lnTo>
                  <a:lnTo>
                    <a:pt x="211" y="52"/>
                  </a:lnTo>
                  <a:lnTo>
                    <a:pt x="209" y="48"/>
                  </a:lnTo>
                  <a:lnTo>
                    <a:pt x="211" y="46"/>
                  </a:lnTo>
                  <a:lnTo>
                    <a:pt x="219" y="46"/>
                  </a:lnTo>
                  <a:lnTo>
                    <a:pt x="220" y="42"/>
                  </a:lnTo>
                  <a:lnTo>
                    <a:pt x="225" y="35"/>
                  </a:lnTo>
                  <a:lnTo>
                    <a:pt x="226" y="30"/>
                  </a:lnTo>
                  <a:lnTo>
                    <a:pt x="231" y="29"/>
                  </a:lnTo>
                  <a:lnTo>
                    <a:pt x="234" y="20"/>
                  </a:lnTo>
                  <a:lnTo>
                    <a:pt x="238" y="21"/>
                  </a:lnTo>
                  <a:lnTo>
                    <a:pt x="240" y="18"/>
                  </a:lnTo>
                  <a:lnTo>
                    <a:pt x="236" y="12"/>
                  </a:lnTo>
                  <a:lnTo>
                    <a:pt x="240" y="5"/>
                  </a:lnTo>
                  <a:lnTo>
                    <a:pt x="251" y="0"/>
                  </a:lnTo>
                  <a:lnTo>
                    <a:pt x="442" y="11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54" name="Freeform 49">
              <a:extLst>
                <a:ext uri="{FF2B5EF4-FFF2-40B4-BE49-F238E27FC236}">
                  <a16:creationId xmlns:a16="http://schemas.microsoft.com/office/drawing/2014/main" id="{17833F0E-0E0D-B533-6FA3-D71D8526B30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382179" y="4028531"/>
              <a:ext cx="88048" cy="92977"/>
            </a:xfrm>
            <a:custGeom>
              <a:avLst/>
              <a:gdLst>
                <a:gd name="T0" fmla="*/ 0 w 167"/>
                <a:gd name="T1" fmla="*/ 0 h 166"/>
                <a:gd name="T2" fmla="*/ 0 w 167"/>
                <a:gd name="T3" fmla="*/ 0 h 166"/>
                <a:gd name="T4" fmla="*/ 0 w 167"/>
                <a:gd name="T5" fmla="*/ 0 h 166"/>
                <a:gd name="T6" fmla="*/ 0 w 167"/>
                <a:gd name="T7" fmla="*/ 0 h 166"/>
                <a:gd name="T8" fmla="*/ 0 w 167"/>
                <a:gd name="T9" fmla="*/ 0 h 166"/>
                <a:gd name="T10" fmla="*/ 0 w 167"/>
                <a:gd name="T11" fmla="*/ 0 h 166"/>
                <a:gd name="T12" fmla="*/ 0 w 167"/>
                <a:gd name="T13" fmla="*/ 0 h 166"/>
                <a:gd name="T14" fmla="*/ 0 w 167"/>
                <a:gd name="T15" fmla="*/ 0 h 166"/>
                <a:gd name="T16" fmla="*/ 2147483647 w 167"/>
                <a:gd name="T17" fmla="*/ 0 h 166"/>
                <a:gd name="T18" fmla="*/ 2147483647 w 167"/>
                <a:gd name="T19" fmla="*/ 0 h 166"/>
                <a:gd name="T20" fmla="*/ 2147483647 w 167"/>
                <a:gd name="T21" fmla="*/ 0 h 166"/>
                <a:gd name="T22" fmla="*/ 2147483647 w 167"/>
                <a:gd name="T23" fmla="*/ 0 h 166"/>
                <a:gd name="T24" fmla="*/ 2147483647 w 167"/>
                <a:gd name="T25" fmla="*/ 0 h 166"/>
                <a:gd name="T26" fmla="*/ 2147483647 w 167"/>
                <a:gd name="T27" fmla="*/ 0 h 166"/>
                <a:gd name="T28" fmla="*/ 2147483647 w 167"/>
                <a:gd name="T29" fmla="*/ 0 h 166"/>
                <a:gd name="T30" fmla="*/ 2147483647 w 167"/>
                <a:gd name="T31" fmla="*/ 0 h 166"/>
                <a:gd name="T32" fmla="*/ 2147483647 w 167"/>
                <a:gd name="T33" fmla="*/ 0 h 166"/>
                <a:gd name="T34" fmla="*/ 2147483647 w 167"/>
                <a:gd name="T35" fmla="*/ 0 h 166"/>
                <a:gd name="T36" fmla="*/ 2147483647 w 167"/>
                <a:gd name="T37" fmla="*/ 0 h 166"/>
                <a:gd name="T38" fmla="*/ 2147483647 w 167"/>
                <a:gd name="T39" fmla="*/ 0 h 166"/>
                <a:gd name="T40" fmla="*/ 2147483647 w 167"/>
                <a:gd name="T41" fmla="*/ 0 h 166"/>
                <a:gd name="T42" fmla="*/ 2147483647 w 167"/>
                <a:gd name="T43" fmla="*/ 2147483647 h 166"/>
                <a:gd name="T44" fmla="*/ 2147483647 w 167"/>
                <a:gd name="T45" fmla="*/ 2147483647 h 166"/>
                <a:gd name="T46" fmla="*/ 2147483647 w 167"/>
                <a:gd name="T47" fmla="*/ 2147483647 h 166"/>
                <a:gd name="T48" fmla="*/ 2147483647 w 167"/>
                <a:gd name="T49" fmla="*/ 2147483647 h 166"/>
                <a:gd name="T50" fmla="*/ 2147483647 w 167"/>
                <a:gd name="T51" fmla="*/ 2147483647 h 166"/>
                <a:gd name="T52" fmla="*/ 2147483647 w 167"/>
                <a:gd name="T53" fmla="*/ 2147483647 h 166"/>
                <a:gd name="T54" fmla="*/ 2147483647 w 167"/>
                <a:gd name="T55" fmla="*/ 2147483647 h 166"/>
                <a:gd name="T56" fmla="*/ 2147483647 w 167"/>
                <a:gd name="T57" fmla="*/ 2147483647 h 166"/>
                <a:gd name="T58" fmla="*/ 2147483647 w 167"/>
                <a:gd name="T59" fmla="*/ 2147483647 h 166"/>
                <a:gd name="T60" fmla="*/ 2147483647 w 167"/>
                <a:gd name="T61" fmla="*/ 2147483647 h 166"/>
                <a:gd name="T62" fmla="*/ 2147483647 w 167"/>
                <a:gd name="T63" fmla="*/ 2147483647 h 166"/>
                <a:gd name="T64" fmla="*/ 2147483647 w 167"/>
                <a:gd name="T65" fmla="*/ 2147483647 h 166"/>
                <a:gd name="T66" fmla="*/ 2147483647 w 167"/>
                <a:gd name="T67" fmla="*/ 2147483647 h 166"/>
                <a:gd name="T68" fmla="*/ 2147483647 w 167"/>
                <a:gd name="T69" fmla="*/ 2147483647 h 166"/>
                <a:gd name="T70" fmla="*/ 2147483647 w 167"/>
                <a:gd name="T71" fmla="*/ 2147483647 h 166"/>
                <a:gd name="T72" fmla="*/ 0 w 167"/>
                <a:gd name="T73" fmla="*/ 2147483647 h 166"/>
                <a:gd name="T74" fmla="*/ 0 w 167"/>
                <a:gd name="T75" fmla="*/ 2147483647 h 166"/>
                <a:gd name="T76" fmla="*/ 0 w 167"/>
                <a:gd name="T77" fmla="*/ 2147483647 h 166"/>
                <a:gd name="T78" fmla="*/ 0 w 167"/>
                <a:gd name="T79" fmla="*/ 2147483647 h 166"/>
                <a:gd name="T80" fmla="*/ 0 w 167"/>
                <a:gd name="T81" fmla="*/ 2147483647 h 166"/>
                <a:gd name="T82" fmla="*/ 0 w 167"/>
                <a:gd name="T83" fmla="*/ 2147483647 h 166"/>
                <a:gd name="T84" fmla="*/ 0 w 167"/>
                <a:gd name="T85" fmla="*/ 2147483647 h 166"/>
                <a:gd name="T86" fmla="*/ 0 w 167"/>
                <a:gd name="T87" fmla="*/ 2147483647 h 166"/>
                <a:gd name="T88" fmla="*/ 0 w 167"/>
                <a:gd name="T89" fmla="*/ 2147483647 h 166"/>
                <a:gd name="T90" fmla="*/ 0 w 167"/>
                <a:gd name="T91" fmla="*/ 2147483647 h 166"/>
                <a:gd name="T92" fmla="*/ 0 w 167"/>
                <a:gd name="T93" fmla="*/ 2147483647 h 166"/>
                <a:gd name="T94" fmla="*/ 0 w 167"/>
                <a:gd name="T95" fmla="*/ 0 h 166"/>
                <a:gd name="T96" fmla="*/ 0 w 167"/>
                <a:gd name="T97" fmla="*/ 0 h 166"/>
                <a:gd name="T98" fmla="*/ 0 w 167"/>
                <a:gd name="T99" fmla="*/ 0 h 16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67"/>
                <a:gd name="T151" fmla="*/ 0 h 166"/>
                <a:gd name="T152" fmla="*/ 167 w 167"/>
                <a:gd name="T153" fmla="*/ 166 h 16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67" h="166">
                  <a:moveTo>
                    <a:pt x="2" y="49"/>
                  </a:moveTo>
                  <a:lnTo>
                    <a:pt x="8" y="51"/>
                  </a:lnTo>
                  <a:lnTo>
                    <a:pt x="14" y="51"/>
                  </a:lnTo>
                  <a:lnTo>
                    <a:pt x="17" y="50"/>
                  </a:lnTo>
                  <a:lnTo>
                    <a:pt x="19" y="49"/>
                  </a:lnTo>
                  <a:lnTo>
                    <a:pt x="23" y="39"/>
                  </a:lnTo>
                  <a:lnTo>
                    <a:pt x="28" y="39"/>
                  </a:lnTo>
                  <a:lnTo>
                    <a:pt x="32" y="37"/>
                  </a:lnTo>
                  <a:lnTo>
                    <a:pt x="32" y="32"/>
                  </a:lnTo>
                  <a:lnTo>
                    <a:pt x="37" y="31"/>
                  </a:lnTo>
                  <a:lnTo>
                    <a:pt x="43" y="23"/>
                  </a:lnTo>
                  <a:lnTo>
                    <a:pt x="46" y="16"/>
                  </a:lnTo>
                  <a:lnTo>
                    <a:pt x="45" y="7"/>
                  </a:lnTo>
                  <a:lnTo>
                    <a:pt x="49" y="6"/>
                  </a:lnTo>
                  <a:lnTo>
                    <a:pt x="57" y="5"/>
                  </a:lnTo>
                  <a:lnTo>
                    <a:pt x="61" y="7"/>
                  </a:lnTo>
                  <a:lnTo>
                    <a:pt x="65" y="7"/>
                  </a:lnTo>
                  <a:lnTo>
                    <a:pt x="70" y="5"/>
                  </a:lnTo>
                  <a:lnTo>
                    <a:pt x="76" y="5"/>
                  </a:lnTo>
                  <a:lnTo>
                    <a:pt x="76" y="0"/>
                  </a:lnTo>
                  <a:lnTo>
                    <a:pt x="102" y="0"/>
                  </a:lnTo>
                  <a:lnTo>
                    <a:pt x="115" y="1"/>
                  </a:lnTo>
                  <a:lnTo>
                    <a:pt x="119" y="8"/>
                  </a:lnTo>
                  <a:lnTo>
                    <a:pt x="125" y="12"/>
                  </a:lnTo>
                  <a:lnTo>
                    <a:pt x="129" y="17"/>
                  </a:lnTo>
                  <a:lnTo>
                    <a:pt x="134" y="21"/>
                  </a:lnTo>
                  <a:lnTo>
                    <a:pt x="134" y="23"/>
                  </a:lnTo>
                  <a:lnTo>
                    <a:pt x="136" y="27"/>
                  </a:lnTo>
                  <a:lnTo>
                    <a:pt x="135" y="29"/>
                  </a:lnTo>
                  <a:lnTo>
                    <a:pt x="135" y="32"/>
                  </a:lnTo>
                  <a:lnTo>
                    <a:pt x="142" y="34"/>
                  </a:lnTo>
                  <a:lnTo>
                    <a:pt x="145" y="35"/>
                  </a:lnTo>
                  <a:lnTo>
                    <a:pt x="145" y="38"/>
                  </a:lnTo>
                  <a:lnTo>
                    <a:pt x="143" y="40"/>
                  </a:lnTo>
                  <a:lnTo>
                    <a:pt x="145" y="45"/>
                  </a:lnTo>
                  <a:lnTo>
                    <a:pt x="143" y="45"/>
                  </a:lnTo>
                  <a:lnTo>
                    <a:pt x="145" y="50"/>
                  </a:lnTo>
                  <a:lnTo>
                    <a:pt x="146" y="53"/>
                  </a:lnTo>
                  <a:lnTo>
                    <a:pt x="151" y="56"/>
                  </a:lnTo>
                  <a:lnTo>
                    <a:pt x="152" y="60"/>
                  </a:lnTo>
                  <a:lnTo>
                    <a:pt x="155" y="70"/>
                  </a:lnTo>
                  <a:lnTo>
                    <a:pt x="153" y="71"/>
                  </a:lnTo>
                  <a:lnTo>
                    <a:pt x="148" y="74"/>
                  </a:lnTo>
                  <a:lnTo>
                    <a:pt x="146" y="85"/>
                  </a:lnTo>
                  <a:lnTo>
                    <a:pt x="143" y="90"/>
                  </a:lnTo>
                  <a:lnTo>
                    <a:pt x="143" y="92"/>
                  </a:lnTo>
                  <a:lnTo>
                    <a:pt x="156" y="87"/>
                  </a:lnTo>
                  <a:lnTo>
                    <a:pt x="162" y="82"/>
                  </a:lnTo>
                  <a:lnTo>
                    <a:pt x="163" y="82"/>
                  </a:lnTo>
                  <a:lnTo>
                    <a:pt x="164" y="85"/>
                  </a:lnTo>
                  <a:lnTo>
                    <a:pt x="164" y="88"/>
                  </a:lnTo>
                  <a:lnTo>
                    <a:pt x="163" y="93"/>
                  </a:lnTo>
                  <a:lnTo>
                    <a:pt x="167" y="97"/>
                  </a:lnTo>
                  <a:lnTo>
                    <a:pt x="167" y="98"/>
                  </a:lnTo>
                  <a:lnTo>
                    <a:pt x="157" y="99"/>
                  </a:lnTo>
                  <a:lnTo>
                    <a:pt x="152" y="105"/>
                  </a:lnTo>
                  <a:lnTo>
                    <a:pt x="150" y="107"/>
                  </a:lnTo>
                  <a:lnTo>
                    <a:pt x="150" y="123"/>
                  </a:lnTo>
                  <a:lnTo>
                    <a:pt x="146" y="124"/>
                  </a:lnTo>
                  <a:lnTo>
                    <a:pt x="143" y="129"/>
                  </a:lnTo>
                  <a:lnTo>
                    <a:pt x="140" y="129"/>
                  </a:lnTo>
                  <a:lnTo>
                    <a:pt x="136" y="136"/>
                  </a:lnTo>
                  <a:lnTo>
                    <a:pt x="130" y="137"/>
                  </a:lnTo>
                  <a:lnTo>
                    <a:pt x="121" y="146"/>
                  </a:lnTo>
                  <a:lnTo>
                    <a:pt x="118" y="148"/>
                  </a:lnTo>
                  <a:lnTo>
                    <a:pt x="113" y="148"/>
                  </a:lnTo>
                  <a:lnTo>
                    <a:pt x="112" y="151"/>
                  </a:lnTo>
                  <a:lnTo>
                    <a:pt x="112" y="156"/>
                  </a:lnTo>
                  <a:lnTo>
                    <a:pt x="109" y="157"/>
                  </a:lnTo>
                  <a:lnTo>
                    <a:pt x="108" y="163"/>
                  </a:lnTo>
                  <a:lnTo>
                    <a:pt x="103" y="166"/>
                  </a:lnTo>
                  <a:lnTo>
                    <a:pt x="102" y="166"/>
                  </a:lnTo>
                  <a:lnTo>
                    <a:pt x="91" y="163"/>
                  </a:lnTo>
                  <a:lnTo>
                    <a:pt x="61" y="147"/>
                  </a:lnTo>
                  <a:lnTo>
                    <a:pt x="53" y="146"/>
                  </a:lnTo>
                  <a:lnTo>
                    <a:pt x="51" y="140"/>
                  </a:lnTo>
                  <a:lnTo>
                    <a:pt x="48" y="135"/>
                  </a:lnTo>
                  <a:lnTo>
                    <a:pt x="32" y="124"/>
                  </a:lnTo>
                  <a:lnTo>
                    <a:pt x="24" y="120"/>
                  </a:lnTo>
                  <a:lnTo>
                    <a:pt x="23" y="118"/>
                  </a:lnTo>
                  <a:lnTo>
                    <a:pt x="23" y="113"/>
                  </a:lnTo>
                  <a:lnTo>
                    <a:pt x="22" y="110"/>
                  </a:lnTo>
                  <a:lnTo>
                    <a:pt x="22" y="107"/>
                  </a:lnTo>
                  <a:lnTo>
                    <a:pt x="16" y="102"/>
                  </a:lnTo>
                  <a:lnTo>
                    <a:pt x="10" y="102"/>
                  </a:lnTo>
                  <a:lnTo>
                    <a:pt x="5" y="93"/>
                  </a:lnTo>
                  <a:lnTo>
                    <a:pt x="5" y="86"/>
                  </a:lnTo>
                  <a:lnTo>
                    <a:pt x="8" y="86"/>
                  </a:lnTo>
                  <a:lnTo>
                    <a:pt x="10" y="87"/>
                  </a:lnTo>
                  <a:lnTo>
                    <a:pt x="13" y="87"/>
                  </a:lnTo>
                  <a:lnTo>
                    <a:pt x="13" y="86"/>
                  </a:lnTo>
                  <a:lnTo>
                    <a:pt x="11" y="82"/>
                  </a:lnTo>
                  <a:lnTo>
                    <a:pt x="7" y="81"/>
                  </a:lnTo>
                  <a:lnTo>
                    <a:pt x="5" y="78"/>
                  </a:lnTo>
                  <a:lnTo>
                    <a:pt x="6" y="71"/>
                  </a:lnTo>
                  <a:lnTo>
                    <a:pt x="5" y="65"/>
                  </a:lnTo>
                  <a:lnTo>
                    <a:pt x="3" y="62"/>
                  </a:lnTo>
                  <a:lnTo>
                    <a:pt x="0" y="60"/>
                  </a:lnTo>
                  <a:lnTo>
                    <a:pt x="0" y="55"/>
                  </a:lnTo>
                  <a:lnTo>
                    <a:pt x="2" y="4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55" name="Freeform 50">
              <a:extLst>
                <a:ext uri="{FF2B5EF4-FFF2-40B4-BE49-F238E27FC236}">
                  <a16:creationId xmlns:a16="http://schemas.microsoft.com/office/drawing/2014/main" id="{814C23F5-53E7-4066-77D7-96700651A3D2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520967" y="4007192"/>
              <a:ext cx="177589" cy="198148"/>
            </a:xfrm>
            <a:custGeom>
              <a:avLst/>
              <a:gdLst>
                <a:gd name="T0" fmla="*/ 2147483647 w 337"/>
                <a:gd name="T1" fmla="*/ 2147483647 h 354"/>
                <a:gd name="T2" fmla="*/ 2147483647 w 337"/>
                <a:gd name="T3" fmla="*/ 2147483647 h 354"/>
                <a:gd name="T4" fmla="*/ 2147483647 w 337"/>
                <a:gd name="T5" fmla="*/ 2147483647 h 354"/>
                <a:gd name="T6" fmla="*/ 2147483647 w 337"/>
                <a:gd name="T7" fmla="*/ 2147483647 h 354"/>
                <a:gd name="T8" fmla="*/ 2147483647 w 337"/>
                <a:gd name="T9" fmla="*/ 2147483647 h 354"/>
                <a:gd name="T10" fmla="*/ 2147483647 w 337"/>
                <a:gd name="T11" fmla="*/ 2147483647 h 354"/>
                <a:gd name="T12" fmla="*/ 2147483647 w 337"/>
                <a:gd name="T13" fmla="*/ 2147483647 h 354"/>
                <a:gd name="T14" fmla="*/ 2147483647 w 337"/>
                <a:gd name="T15" fmla="*/ 2147483647 h 354"/>
                <a:gd name="T16" fmla="*/ 2147483647 w 337"/>
                <a:gd name="T17" fmla="*/ 2147483647 h 354"/>
                <a:gd name="T18" fmla="*/ 2147483647 w 337"/>
                <a:gd name="T19" fmla="*/ 2147483647 h 354"/>
                <a:gd name="T20" fmla="*/ 2147483647 w 337"/>
                <a:gd name="T21" fmla="*/ 2147483647 h 354"/>
                <a:gd name="T22" fmla="*/ 2147483647 w 337"/>
                <a:gd name="T23" fmla="*/ 2147483647 h 354"/>
                <a:gd name="T24" fmla="*/ 2147483647 w 337"/>
                <a:gd name="T25" fmla="*/ 0 h 354"/>
                <a:gd name="T26" fmla="*/ 2147483647 w 337"/>
                <a:gd name="T27" fmla="*/ 0 h 354"/>
                <a:gd name="T28" fmla="*/ 2147483647 w 337"/>
                <a:gd name="T29" fmla="*/ 0 h 354"/>
                <a:gd name="T30" fmla="*/ 2147483647 w 337"/>
                <a:gd name="T31" fmla="*/ 0 h 354"/>
                <a:gd name="T32" fmla="*/ 2147483647 w 337"/>
                <a:gd name="T33" fmla="*/ 0 h 354"/>
                <a:gd name="T34" fmla="*/ 2147483647 w 337"/>
                <a:gd name="T35" fmla="*/ 0 h 354"/>
                <a:gd name="T36" fmla="*/ 2147483647 w 337"/>
                <a:gd name="T37" fmla="*/ 0 h 354"/>
                <a:gd name="T38" fmla="*/ 2147483647 w 337"/>
                <a:gd name="T39" fmla="*/ 0 h 354"/>
                <a:gd name="T40" fmla="*/ 2147483647 w 337"/>
                <a:gd name="T41" fmla="*/ 0 h 354"/>
                <a:gd name="T42" fmla="*/ 2147483647 w 337"/>
                <a:gd name="T43" fmla="*/ 0 h 354"/>
                <a:gd name="T44" fmla="*/ 2147483647 w 337"/>
                <a:gd name="T45" fmla="*/ 0 h 354"/>
                <a:gd name="T46" fmla="*/ 2147483647 w 337"/>
                <a:gd name="T47" fmla="*/ 0 h 354"/>
                <a:gd name="T48" fmla="*/ 2147483647 w 337"/>
                <a:gd name="T49" fmla="*/ 0 h 354"/>
                <a:gd name="T50" fmla="*/ 2147483647 w 337"/>
                <a:gd name="T51" fmla="*/ 0 h 354"/>
                <a:gd name="T52" fmla="*/ 2147483647 w 337"/>
                <a:gd name="T53" fmla="*/ 0 h 354"/>
                <a:gd name="T54" fmla="*/ 2147483647 w 337"/>
                <a:gd name="T55" fmla="*/ 0 h 354"/>
                <a:gd name="T56" fmla="*/ 2147483647 w 337"/>
                <a:gd name="T57" fmla="*/ 0 h 354"/>
                <a:gd name="T58" fmla="*/ 2147483647 w 337"/>
                <a:gd name="T59" fmla="*/ 0 h 354"/>
                <a:gd name="T60" fmla="*/ 2147483647 w 337"/>
                <a:gd name="T61" fmla="*/ 0 h 354"/>
                <a:gd name="T62" fmla="*/ 2147483647 w 337"/>
                <a:gd name="T63" fmla="*/ 0 h 354"/>
                <a:gd name="T64" fmla="*/ 0 w 337"/>
                <a:gd name="T65" fmla="*/ 0 h 354"/>
                <a:gd name="T66" fmla="*/ 0 w 337"/>
                <a:gd name="T67" fmla="*/ 0 h 354"/>
                <a:gd name="T68" fmla="*/ 0 w 337"/>
                <a:gd name="T69" fmla="*/ 0 h 354"/>
                <a:gd name="T70" fmla="*/ 0 w 337"/>
                <a:gd name="T71" fmla="*/ 2147483647 h 354"/>
                <a:gd name="T72" fmla="*/ 0 w 337"/>
                <a:gd name="T73" fmla="*/ 2147483647 h 354"/>
                <a:gd name="T74" fmla="*/ 0 w 337"/>
                <a:gd name="T75" fmla="*/ 2147483647 h 354"/>
                <a:gd name="T76" fmla="*/ 0 w 337"/>
                <a:gd name="T77" fmla="*/ 2147483647 h 354"/>
                <a:gd name="T78" fmla="*/ 0 w 337"/>
                <a:gd name="T79" fmla="*/ 2147483647 h 354"/>
                <a:gd name="T80" fmla="*/ 0 w 337"/>
                <a:gd name="T81" fmla="*/ 2147483647 h 354"/>
                <a:gd name="T82" fmla="*/ 0 w 337"/>
                <a:gd name="T83" fmla="*/ 2147483647 h 354"/>
                <a:gd name="T84" fmla="*/ 0 w 337"/>
                <a:gd name="T85" fmla="*/ 2147483647 h 354"/>
                <a:gd name="T86" fmla="*/ 0 w 337"/>
                <a:gd name="T87" fmla="*/ 2147483647 h 354"/>
                <a:gd name="T88" fmla="*/ 0 w 337"/>
                <a:gd name="T89" fmla="*/ 2147483647 h 354"/>
                <a:gd name="T90" fmla="*/ 0 w 337"/>
                <a:gd name="T91" fmla="*/ 2147483647 h 354"/>
                <a:gd name="T92" fmla="*/ 0 w 337"/>
                <a:gd name="T93" fmla="*/ 2147483647 h 354"/>
                <a:gd name="T94" fmla="*/ 0 w 337"/>
                <a:gd name="T95" fmla="*/ 2147483647 h 354"/>
                <a:gd name="T96" fmla="*/ 0 w 337"/>
                <a:gd name="T97" fmla="*/ 2147483647 h 354"/>
                <a:gd name="T98" fmla="*/ 0 w 337"/>
                <a:gd name="T99" fmla="*/ 2147483647 h 354"/>
                <a:gd name="T100" fmla="*/ 0 w 337"/>
                <a:gd name="T101" fmla="*/ 2147483647 h 354"/>
                <a:gd name="T102" fmla="*/ 2147483647 w 337"/>
                <a:gd name="T103" fmla="*/ 2147483647 h 354"/>
                <a:gd name="T104" fmla="*/ 2147483647 w 337"/>
                <a:gd name="T105" fmla="*/ 2147483647 h 354"/>
                <a:gd name="T106" fmla="*/ 2147483647 w 337"/>
                <a:gd name="T107" fmla="*/ 2147483647 h 354"/>
                <a:gd name="T108" fmla="*/ 2147483647 w 337"/>
                <a:gd name="T109" fmla="*/ 2147483647 h 354"/>
                <a:gd name="T110" fmla="*/ 2147483647 w 337"/>
                <a:gd name="T111" fmla="*/ 2147483647 h 35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37"/>
                <a:gd name="T169" fmla="*/ 0 h 354"/>
                <a:gd name="T170" fmla="*/ 337 w 337"/>
                <a:gd name="T171" fmla="*/ 354 h 35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37" h="354">
                  <a:moveTo>
                    <a:pt x="57" y="350"/>
                  </a:moveTo>
                  <a:lnTo>
                    <a:pt x="58" y="353"/>
                  </a:lnTo>
                  <a:lnTo>
                    <a:pt x="74" y="354"/>
                  </a:lnTo>
                  <a:lnTo>
                    <a:pt x="97" y="342"/>
                  </a:lnTo>
                  <a:lnTo>
                    <a:pt x="121" y="332"/>
                  </a:lnTo>
                  <a:lnTo>
                    <a:pt x="135" y="326"/>
                  </a:lnTo>
                  <a:lnTo>
                    <a:pt x="160" y="318"/>
                  </a:lnTo>
                  <a:lnTo>
                    <a:pt x="173" y="317"/>
                  </a:lnTo>
                  <a:lnTo>
                    <a:pt x="208" y="311"/>
                  </a:lnTo>
                  <a:lnTo>
                    <a:pt x="219" y="310"/>
                  </a:lnTo>
                  <a:lnTo>
                    <a:pt x="240" y="307"/>
                  </a:lnTo>
                  <a:lnTo>
                    <a:pt x="258" y="307"/>
                  </a:lnTo>
                  <a:lnTo>
                    <a:pt x="274" y="312"/>
                  </a:lnTo>
                  <a:lnTo>
                    <a:pt x="295" y="316"/>
                  </a:lnTo>
                  <a:lnTo>
                    <a:pt x="299" y="316"/>
                  </a:lnTo>
                  <a:lnTo>
                    <a:pt x="301" y="315"/>
                  </a:lnTo>
                  <a:lnTo>
                    <a:pt x="305" y="308"/>
                  </a:lnTo>
                  <a:lnTo>
                    <a:pt x="307" y="307"/>
                  </a:lnTo>
                  <a:lnTo>
                    <a:pt x="313" y="307"/>
                  </a:lnTo>
                  <a:lnTo>
                    <a:pt x="317" y="310"/>
                  </a:lnTo>
                  <a:lnTo>
                    <a:pt x="323" y="308"/>
                  </a:lnTo>
                  <a:lnTo>
                    <a:pt x="323" y="294"/>
                  </a:lnTo>
                  <a:lnTo>
                    <a:pt x="321" y="281"/>
                  </a:lnTo>
                  <a:lnTo>
                    <a:pt x="318" y="280"/>
                  </a:lnTo>
                  <a:lnTo>
                    <a:pt x="311" y="279"/>
                  </a:lnTo>
                  <a:lnTo>
                    <a:pt x="307" y="274"/>
                  </a:lnTo>
                  <a:lnTo>
                    <a:pt x="304" y="258"/>
                  </a:lnTo>
                  <a:lnTo>
                    <a:pt x="296" y="238"/>
                  </a:lnTo>
                  <a:lnTo>
                    <a:pt x="296" y="230"/>
                  </a:lnTo>
                  <a:lnTo>
                    <a:pt x="297" y="213"/>
                  </a:lnTo>
                  <a:lnTo>
                    <a:pt x="301" y="206"/>
                  </a:lnTo>
                  <a:lnTo>
                    <a:pt x="307" y="199"/>
                  </a:lnTo>
                  <a:lnTo>
                    <a:pt x="310" y="194"/>
                  </a:lnTo>
                  <a:lnTo>
                    <a:pt x="310" y="183"/>
                  </a:lnTo>
                  <a:lnTo>
                    <a:pt x="312" y="174"/>
                  </a:lnTo>
                  <a:lnTo>
                    <a:pt x="318" y="161"/>
                  </a:lnTo>
                  <a:lnTo>
                    <a:pt x="322" y="152"/>
                  </a:lnTo>
                  <a:lnTo>
                    <a:pt x="324" y="150"/>
                  </a:lnTo>
                  <a:lnTo>
                    <a:pt x="328" y="145"/>
                  </a:lnTo>
                  <a:lnTo>
                    <a:pt x="332" y="144"/>
                  </a:lnTo>
                  <a:lnTo>
                    <a:pt x="332" y="139"/>
                  </a:lnTo>
                  <a:lnTo>
                    <a:pt x="337" y="138"/>
                  </a:lnTo>
                  <a:lnTo>
                    <a:pt x="334" y="122"/>
                  </a:lnTo>
                  <a:lnTo>
                    <a:pt x="327" y="95"/>
                  </a:lnTo>
                  <a:lnTo>
                    <a:pt x="324" y="91"/>
                  </a:lnTo>
                  <a:lnTo>
                    <a:pt x="321" y="90"/>
                  </a:lnTo>
                  <a:lnTo>
                    <a:pt x="321" y="87"/>
                  </a:lnTo>
                  <a:lnTo>
                    <a:pt x="326" y="82"/>
                  </a:lnTo>
                  <a:lnTo>
                    <a:pt x="323" y="77"/>
                  </a:lnTo>
                  <a:lnTo>
                    <a:pt x="324" y="74"/>
                  </a:lnTo>
                  <a:lnTo>
                    <a:pt x="324" y="68"/>
                  </a:lnTo>
                  <a:lnTo>
                    <a:pt x="322" y="70"/>
                  </a:lnTo>
                  <a:lnTo>
                    <a:pt x="316" y="70"/>
                  </a:lnTo>
                  <a:lnTo>
                    <a:pt x="313" y="69"/>
                  </a:lnTo>
                  <a:lnTo>
                    <a:pt x="308" y="59"/>
                  </a:lnTo>
                  <a:lnTo>
                    <a:pt x="307" y="54"/>
                  </a:lnTo>
                  <a:lnTo>
                    <a:pt x="302" y="53"/>
                  </a:lnTo>
                  <a:lnTo>
                    <a:pt x="296" y="43"/>
                  </a:lnTo>
                  <a:lnTo>
                    <a:pt x="295" y="43"/>
                  </a:lnTo>
                  <a:lnTo>
                    <a:pt x="290" y="48"/>
                  </a:lnTo>
                  <a:lnTo>
                    <a:pt x="279" y="43"/>
                  </a:lnTo>
                  <a:lnTo>
                    <a:pt x="272" y="43"/>
                  </a:lnTo>
                  <a:lnTo>
                    <a:pt x="262" y="46"/>
                  </a:lnTo>
                  <a:lnTo>
                    <a:pt x="250" y="49"/>
                  </a:lnTo>
                  <a:lnTo>
                    <a:pt x="242" y="52"/>
                  </a:lnTo>
                  <a:lnTo>
                    <a:pt x="236" y="53"/>
                  </a:lnTo>
                  <a:lnTo>
                    <a:pt x="234" y="59"/>
                  </a:lnTo>
                  <a:lnTo>
                    <a:pt x="230" y="61"/>
                  </a:lnTo>
                  <a:lnTo>
                    <a:pt x="223" y="58"/>
                  </a:lnTo>
                  <a:lnTo>
                    <a:pt x="221" y="54"/>
                  </a:lnTo>
                  <a:lnTo>
                    <a:pt x="220" y="54"/>
                  </a:lnTo>
                  <a:lnTo>
                    <a:pt x="218" y="57"/>
                  </a:lnTo>
                  <a:lnTo>
                    <a:pt x="214" y="57"/>
                  </a:lnTo>
                  <a:lnTo>
                    <a:pt x="214" y="58"/>
                  </a:lnTo>
                  <a:lnTo>
                    <a:pt x="207" y="54"/>
                  </a:lnTo>
                  <a:lnTo>
                    <a:pt x="205" y="50"/>
                  </a:lnTo>
                  <a:lnTo>
                    <a:pt x="202" y="47"/>
                  </a:lnTo>
                  <a:lnTo>
                    <a:pt x="198" y="47"/>
                  </a:lnTo>
                  <a:lnTo>
                    <a:pt x="198" y="42"/>
                  </a:lnTo>
                  <a:lnTo>
                    <a:pt x="197" y="39"/>
                  </a:lnTo>
                  <a:lnTo>
                    <a:pt x="194" y="38"/>
                  </a:lnTo>
                  <a:lnTo>
                    <a:pt x="191" y="32"/>
                  </a:lnTo>
                  <a:lnTo>
                    <a:pt x="189" y="31"/>
                  </a:lnTo>
                  <a:lnTo>
                    <a:pt x="188" y="30"/>
                  </a:lnTo>
                  <a:lnTo>
                    <a:pt x="187" y="25"/>
                  </a:lnTo>
                  <a:lnTo>
                    <a:pt x="187" y="23"/>
                  </a:lnTo>
                  <a:lnTo>
                    <a:pt x="184" y="22"/>
                  </a:lnTo>
                  <a:lnTo>
                    <a:pt x="173" y="25"/>
                  </a:lnTo>
                  <a:lnTo>
                    <a:pt x="171" y="23"/>
                  </a:lnTo>
                  <a:lnTo>
                    <a:pt x="167" y="17"/>
                  </a:lnTo>
                  <a:lnTo>
                    <a:pt x="165" y="16"/>
                  </a:lnTo>
                  <a:lnTo>
                    <a:pt x="154" y="16"/>
                  </a:lnTo>
                  <a:lnTo>
                    <a:pt x="150" y="16"/>
                  </a:lnTo>
                  <a:lnTo>
                    <a:pt x="148" y="23"/>
                  </a:lnTo>
                  <a:lnTo>
                    <a:pt x="144" y="23"/>
                  </a:lnTo>
                  <a:lnTo>
                    <a:pt x="140" y="27"/>
                  </a:lnTo>
                  <a:lnTo>
                    <a:pt x="130" y="27"/>
                  </a:lnTo>
                  <a:lnTo>
                    <a:pt x="132" y="25"/>
                  </a:lnTo>
                  <a:lnTo>
                    <a:pt x="130" y="14"/>
                  </a:lnTo>
                  <a:lnTo>
                    <a:pt x="129" y="10"/>
                  </a:lnTo>
                  <a:lnTo>
                    <a:pt x="129" y="9"/>
                  </a:lnTo>
                  <a:lnTo>
                    <a:pt x="129" y="4"/>
                  </a:lnTo>
                  <a:lnTo>
                    <a:pt x="127" y="0"/>
                  </a:lnTo>
                  <a:lnTo>
                    <a:pt x="124" y="1"/>
                  </a:lnTo>
                  <a:lnTo>
                    <a:pt x="118" y="1"/>
                  </a:lnTo>
                  <a:lnTo>
                    <a:pt x="116" y="9"/>
                  </a:lnTo>
                  <a:lnTo>
                    <a:pt x="114" y="9"/>
                  </a:lnTo>
                  <a:lnTo>
                    <a:pt x="108" y="5"/>
                  </a:lnTo>
                  <a:lnTo>
                    <a:pt x="106" y="5"/>
                  </a:lnTo>
                  <a:lnTo>
                    <a:pt x="103" y="9"/>
                  </a:lnTo>
                  <a:lnTo>
                    <a:pt x="103" y="12"/>
                  </a:lnTo>
                  <a:lnTo>
                    <a:pt x="105" y="18"/>
                  </a:lnTo>
                  <a:lnTo>
                    <a:pt x="103" y="21"/>
                  </a:lnTo>
                  <a:lnTo>
                    <a:pt x="92" y="21"/>
                  </a:lnTo>
                  <a:lnTo>
                    <a:pt x="86" y="23"/>
                  </a:lnTo>
                  <a:lnTo>
                    <a:pt x="86" y="27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76" y="30"/>
                  </a:lnTo>
                  <a:lnTo>
                    <a:pt x="73" y="25"/>
                  </a:lnTo>
                  <a:lnTo>
                    <a:pt x="70" y="25"/>
                  </a:lnTo>
                  <a:lnTo>
                    <a:pt x="68" y="26"/>
                  </a:lnTo>
                  <a:lnTo>
                    <a:pt x="66" y="27"/>
                  </a:lnTo>
                  <a:lnTo>
                    <a:pt x="65" y="27"/>
                  </a:lnTo>
                  <a:lnTo>
                    <a:pt x="64" y="21"/>
                  </a:lnTo>
                  <a:lnTo>
                    <a:pt x="60" y="16"/>
                  </a:lnTo>
                  <a:lnTo>
                    <a:pt x="57" y="15"/>
                  </a:lnTo>
                  <a:lnTo>
                    <a:pt x="53" y="18"/>
                  </a:lnTo>
                  <a:lnTo>
                    <a:pt x="48" y="17"/>
                  </a:lnTo>
                  <a:lnTo>
                    <a:pt x="46" y="18"/>
                  </a:lnTo>
                  <a:lnTo>
                    <a:pt x="43" y="21"/>
                  </a:lnTo>
                  <a:lnTo>
                    <a:pt x="42" y="25"/>
                  </a:lnTo>
                  <a:lnTo>
                    <a:pt x="39" y="28"/>
                  </a:lnTo>
                  <a:lnTo>
                    <a:pt x="33" y="30"/>
                  </a:lnTo>
                  <a:lnTo>
                    <a:pt x="32" y="32"/>
                  </a:lnTo>
                  <a:lnTo>
                    <a:pt x="26" y="39"/>
                  </a:lnTo>
                  <a:lnTo>
                    <a:pt x="25" y="42"/>
                  </a:lnTo>
                  <a:lnTo>
                    <a:pt x="22" y="44"/>
                  </a:lnTo>
                  <a:lnTo>
                    <a:pt x="24" y="53"/>
                  </a:lnTo>
                  <a:lnTo>
                    <a:pt x="24" y="70"/>
                  </a:lnTo>
                  <a:lnTo>
                    <a:pt x="24" y="73"/>
                  </a:lnTo>
                  <a:lnTo>
                    <a:pt x="31" y="76"/>
                  </a:lnTo>
                  <a:lnTo>
                    <a:pt x="38" y="76"/>
                  </a:lnTo>
                  <a:lnTo>
                    <a:pt x="37" y="90"/>
                  </a:lnTo>
                  <a:lnTo>
                    <a:pt x="41" y="89"/>
                  </a:lnTo>
                  <a:lnTo>
                    <a:pt x="44" y="93"/>
                  </a:lnTo>
                  <a:lnTo>
                    <a:pt x="44" y="96"/>
                  </a:lnTo>
                  <a:lnTo>
                    <a:pt x="42" y="97"/>
                  </a:lnTo>
                  <a:lnTo>
                    <a:pt x="38" y="101"/>
                  </a:lnTo>
                  <a:lnTo>
                    <a:pt x="35" y="109"/>
                  </a:lnTo>
                  <a:lnTo>
                    <a:pt x="37" y="109"/>
                  </a:lnTo>
                  <a:lnTo>
                    <a:pt x="41" y="111"/>
                  </a:lnTo>
                  <a:lnTo>
                    <a:pt x="44" y="111"/>
                  </a:lnTo>
                  <a:lnTo>
                    <a:pt x="44" y="117"/>
                  </a:lnTo>
                  <a:lnTo>
                    <a:pt x="47" y="120"/>
                  </a:lnTo>
                  <a:lnTo>
                    <a:pt x="47" y="125"/>
                  </a:lnTo>
                  <a:lnTo>
                    <a:pt x="48" y="134"/>
                  </a:lnTo>
                  <a:lnTo>
                    <a:pt x="47" y="134"/>
                  </a:lnTo>
                  <a:lnTo>
                    <a:pt x="44" y="128"/>
                  </a:lnTo>
                  <a:lnTo>
                    <a:pt x="41" y="129"/>
                  </a:lnTo>
                  <a:lnTo>
                    <a:pt x="38" y="129"/>
                  </a:lnTo>
                  <a:lnTo>
                    <a:pt x="35" y="125"/>
                  </a:lnTo>
                  <a:lnTo>
                    <a:pt x="26" y="124"/>
                  </a:lnTo>
                  <a:lnTo>
                    <a:pt x="17" y="128"/>
                  </a:lnTo>
                  <a:lnTo>
                    <a:pt x="17" y="129"/>
                  </a:lnTo>
                  <a:lnTo>
                    <a:pt x="19" y="129"/>
                  </a:lnTo>
                  <a:lnTo>
                    <a:pt x="20" y="134"/>
                  </a:lnTo>
                  <a:lnTo>
                    <a:pt x="17" y="139"/>
                  </a:lnTo>
                  <a:lnTo>
                    <a:pt x="20" y="141"/>
                  </a:lnTo>
                  <a:lnTo>
                    <a:pt x="26" y="141"/>
                  </a:lnTo>
                  <a:lnTo>
                    <a:pt x="30" y="141"/>
                  </a:lnTo>
                  <a:lnTo>
                    <a:pt x="31" y="145"/>
                  </a:lnTo>
                  <a:lnTo>
                    <a:pt x="30" y="147"/>
                  </a:lnTo>
                  <a:lnTo>
                    <a:pt x="32" y="147"/>
                  </a:lnTo>
                  <a:lnTo>
                    <a:pt x="33" y="150"/>
                  </a:lnTo>
                  <a:lnTo>
                    <a:pt x="28" y="152"/>
                  </a:lnTo>
                  <a:lnTo>
                    <a:pt x="27" y="157"/>
                  </a:lnTo>
                  <a:lnTo>
                    <a:pt x="27" y="166"/>
                  </a:lnTo>
                  <a:lnTo>
                    <a:pt x="22" y="172"/>
                  </a:lnTo>
                  <a:lnTo>
                    <a:pt x="22" y="177"/>
                  </a:lnTo>
                  <a:lnTo>
                    <a:pt x="9" y="176"/>
                  </a:lnTo>
                  <a:lnTo>
                    <a:pt x="5" y="178"/>
                  </a:lnTo>
                  <a:lnTo>
                    <a:pt x="6" y="183"/>
                  </a:lnTo>
                  <a:lnTo>
                    <a:pt x="8" y="192"/>
                  </a:lnTo>
                  <a:lnTo>
                    <a:pt x="10" y="193"/>
                  </a:lnTo>
                  <a:lnTo>
                    <a:pt x="12" y="197"/>
                  </a:lnTo>
                  <a:lnTo>
                    <a:pt x="12" y="198"/>
                  </a:lnTo>
                  <a:lnTo>
                    <a:pt x="17" y="202"/>
                  </a:lnTo>
                  <a:lnTo>
                    <a:pt x="14" y="217"/>
                  </a:lnTo>
                  <a:lnTo>
                    <a:pt x="12" y="220"/>
                  </a:lnTo>
                  <a:lnTo>
                    <a:pt x="4" y="227"/>
                  </a:lnTo>
                  <a:lnTo>
                    <a:pt x="0" y="233"/>
                  </a:lnTo>
                  <a:lnTo>
                    <a:pt x="0" y="235"/>
                  </a:lnTo>
                  <a:lnTo>
                    <a:pt x="3" y="235"/>
                  </a:lnTo>
                  <a:lnTo>
                    <a:pt x="4" y="237"/>
                  </a:lnTo>
                  <a:lnTo>
                    <a:pt x="8" y="236"/>
                  </a:lnTo>
                  <a:lnTo>
                    <a:pt x="9" y="238"/>
                  </a:lnTo>
                  <a:lnTo>
                    <a:pt x="11" y="240"/>
                  </a:lnTo>
                  <a:lnTo>
                    <a:pt x="15" y="240"/>
                  </a:lnTo>
                  <a:lnTo>
                    <a:pt x="22" y="245"/>
                  </a:lnTo>
                  <a:lnTo>
                    <a:pt x="32" y="245"/>
                  </a:lnTo>
                  <a:lnTo>
                    <a:pt x="35" y="245"/>
                  </a:lnTo>
                  <a:lnTo>
                    <a:pt x="38" y="252"/>
                  </a:lnTo>
                  <a:lnTo>
                    <a:pt x="38" y="256"/>
                  </a:lnTo>
                  <a:lnTo>
                    <a:pt x="41" y="257"/>
                  </a:lnTo>
                  <a:lnTo>
                    <a:pt x="44" y="262"/>
                  </a:lnTo>
                  <a:lnTo>
                    <a:pt x="46" y="265"/>
                  </a:lnTo>
                  <a:lnTo>
                    <a:pt x="52" y="267"/>
                  </a:lnTo>
                  <a:lnTo>
                    <a:pt x="57" y="272"/>
                  </a:lnTo>
                  <a:lnTo>
                    <a:pt x="63" y="270"/>
                  </a:lnTo>
                  <a:lnTo>
                    <a:pt x="63" y="275"/>
                  </a:lnTo>
                  <a:lnTo>
                    <a:pt x="65" y="280"/>
                  </a:lnTo>
                  <a:lnTo>
                    <a:pt x="66" y="286"/>
                  </a:lnTo>
                  <a:lnTo>
                    <a:pt x="64" y="294"/>
                  </a:lnTo>
                  <a:lnTo>
                    <a:pt x="66" y="299"/>
                  </a:lnTo>
                  <a:lnTo>
                    <a:pt x="66" y="300"/>
                  </a:lnTo>
                  <a:lnTo>
                    <a:pt x="62" y="300"/>
                  </a:lnTo>
                  <a:lnTo>
                    <a:pt x="60" y="303"/>
                  </a:lnTo>
                  <a:lnTo>
                    <a:pt x="60" y="311"/>
                  </a:lnTo>
                  <a:lnTo>
                    <a:pt x="57" y="311"/>
                  </a:lnTo>
                  <a:lnTo>
                    <a:pt x="57" y="313"/>
                  </a:lnTo>
                  <a:lnTo>
                    <a:pt x="57" y="318"/>
                  </a:lnTo>
                  <a:lnTo>
                    <a:pt x="55" y="323"/>
                  </a:lnTo>
                  <a:lnTo>
                    <a:pt x="57" y="35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56" name="Freeform 51">
              <a:extLst>
                <a:ext uri="{FF2B5EF4-FFF2-40B4-BE49-F238E27FC236}">
                  <a16:creationId xmlns:a16="http://schemas.microsoft.com/office/drawing/2014/main" id="{CB3F1632-448A-370E-66A8-E276710F6FA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767203" y="3991950"/>
              <a:ext cx="62678" cy="163092"/>
            </a:xfrm>
            <a:custGeom>
              <a:avLst/>
              <a:gdLst>
                <a:gd name="T0" fmla="*/ 2147483647 w 120"/>
                <a:gd name="T1" fmla="*/ 2147483647 h 281"/>
                <a:gd name="T2" fmla="*/ 2147483647 w 120"/>
                <a:gd name="T3" fmla="*/ 2147483647 h 281"/>
                <a:gd name="T4" fmla="*/ 2147483647 w 120"/>
                <a:gd name="T5" fmla="*/ 2147483647 h 281"/>
                <a:gd name="T6" fmla="*/ 2147483647 w 120"/>
                <a:gd name="T7" fmla="*/ 2147483647 h 281"/>
                <a:gd name="T8" fmla="*/ 0 w 120"/>
                <a:gd name="T9" fmla="*/ 2147483647 h 281"/>
                <a:gd name="T10" fmla="*/ 0 w 120"/>
                <a:gd name="T11" fmla="*/ 2147483647 h 281"/>
                <a:gd name="T12" fmla="*/ 0 w 120"/>
                <a:gd name="T13" fmla="*/ 2147483647 h 281"/>
                <a:gd name="T14" fmla="*/ 0 w 120"/>
                <a:gd name="T15" fmla="*/ 2147483647 h 281"/>
                <a:gd name="T16" fmla="*/ 0 w 120"/>
                <a:gd name="T17" fmla="*/ 2147483647 h 281"/>
                <a:gd name="T18" fmla="*/ 0 w 120"/>
                <a:gd name="T19" fmla="*/ 2147483647 h 281"/>
                <a:gd name="T20" fmla="*/ 0 w 120"/>
                <a:gd name="T21" fmla="*/ 2147483647 h 281"/>
                <a:gd name="T22" fmla="*/ 0 w 120"/>
                <a:gd name="T23" fmla="*/ 2147483647 h 281"/>
                <a:gd name="T24" fmla="*/ 0 w 120"/>
                <a:gd name="T25" fmla="*/ 2147483647 h 281"/>
                <a:gd name="T26" fmla="*/ 0 w 120"/>
                <a:gd name="T27" fmla="*/ 0 h 281"/>
                <a:gd name="T28" fmla="*/ 0 w 120"/>
                <a:gd name="T29" fmla="*/ 0 h 281"/>
                <a:gd name="T30" fmla="*/ 0 w 120"/>
                <a:gd name="T31" fmla="*/ 0 h 281"/>
                <a:gd name="T32" fmla="*/ 0 w 120"/>
                <a:gd name="T33" fmla="*/ 0 h 281"/>
                <a:gd name="T34" fmla="*/ 0 w 120"/>
                <a:gd name="T35" fmla="*/ 0 h 281"/>
                <a:gd name="T36" fmla="*/ 0 w 120"/>
                <a:gd name="T37" fmla="*/ 0 h 281"/>
                <a:gd name="T38" fmla="*/ 0 w 120"/>
                <a:gd name="T39" fmla="*/ 0 h 281"/>
                <a:gd name="T40" fmla="*/ 0 w 120"/>
                <a:gd name="T41" fmla="*/ 0 h 281"/>
                <a:gd name="T42" fmla="*/ 0 w 120"/>
                <a:gd name="T43" fmla="*/ 0 h 281"/>
                <a:gd name="T44" fmla="*/ 0 w 120"/>
                <a:gd name="T45" fmla="*/ 0 h 281"/>
                <a:gd name="T46" fmla="*/ 0 w 120"/>
                <a:gd name="T47" fmla="*/ 0 h 281"/>
                <a:gd name="T48" fmla="*/ 0 w 120"/>
                <a:gd name="T49" fmla="*/ 0 h 281"/>
                <a:gd name="T50" fmla="*/ 0 w 120"/>
                <a:gd name="T51" fmla="*/ 0 h 281"/>
                <a:gd name="T52" fmla="*/ 0 w 120"/>
                <a:gd name="T53" fmla="*/ 0 h 281"/>
                <a:gd name="T54" fmla="*/ 0 w 120"/>
                <a:gd name="T55" fmla="*/ 0 h 281"/>
                <a:gd name="T56" fmla="*/ 0 w 120"/>
                <a:gd name="T57" fmla="*/ 0 h 281"/>
                <a:gd name="T58" fmla="*/ 0 w 120"/>
                <a:gd name="T59" fmla="*/ 0 h 281"/>
                <a:gd name="T60" fmla="*/ 0 w 120"/>
                <a:gd name="T61" fmla="*/ 0 h 281"/>
                <a:gd name="T62" fmla="*/ 0 w 120"/>
                <a:gd name="T63" fmla="*/ 0 h 281"/>
                <a:gd name="T64" fmla="*/ 2147483647 w 120"/>
                <a:gd name="T65" fmla="*/ 0 h 281"/>
                <a:gd name="T66" fmla="*/ 2147483647 w 120"/>
                <a:gd name="T67" fmla="*/ 0 h 281"/>
                <a:gd name="T68" fmla="*/ 2147483647 w 120"/>
                <a:gd name="T69" fmla="*/ 0 h 281"/>
                <a:gd name="T70" fmla="*/ 2147483647 w 120"/>
                <a:gd name="T71" fmla="*/ 0 h 281"/>
                <a:gd name="T72" fmla="*/ 2147483647 w 120"/>
                <a:gd name="T73" fmla="*/ 0 h 281"/>
                <a:gd name="T74" fmla="*/ 2147483647 w 120"/>
                <a:gd name="T75" fmla="*/ 0 h 281"/>
                <a:gd name="T76" fmla="*/ 2147483647 w 120"/>
                <a:gd name="T77" fmla="*/ 0 h 281"/>
                <a:gd name="T78" fmla="*/ 2147483647 w 120"/>
                <a:gd name="T79" fmla="*/ 0 h 281"/>
                <a:gd name="T80" fmla="*/ 2147483647 w 120"/>
                <a:gd name="T81" fmla="*/ 0 h 281"/>
                <a:gd name="T82" fmla="*/ 2147483647 w 120"/>
                <a:gd name="T83" fmla="*/ 0 h 281"/>
                <a:gd name="T84" fmla="*/ 2147483647 w 120"/>
                <a:gd name="T85" fmla="*/ 0 h 281"/>
                <a:gd name="T86" fmla="*/ 2147483647 w 120"/>
                <a:gd name="T87" fmla="*/ 0 h 281"/>
                <a:gd name="T88" fmla="*/ 2147483647 w 120"/>
                <a:gd name="T89" fmla="*/ 2147483647 h 281"/>
                <a:gd name="T90" fmla="*/ 2147483647 w 120"/>
                <a:gd name="T91" fmla="*/ 2147483647 h 281"/>
                <a:gd name="T92" fmla="*/ 2147483647 w 120"/>
                <a:gd name="T93" fmla="*/ 2147483647 h 281"/>
                <a:gd name="T94" fmla="*/ 2147483647 w 120"/>
                <a:gd name="T95" fmla="*/ 2147483647 h 281"/>
                <a:gd name="T96" fmla="*/ 2147483647 w 120"/>
                <a:gd name="T97" fmla="*/ 2147483647 h 281"/>
                <a:gd name="T98" fmla="*/ 2147483647 w 120"/>
                <a:gd name="T99" fmla="*/ 2147483647 h 281"/>
                <a:gd name="T100" fmla="*/ 2147483647 w 120"/>
                <a:gd name="T101" fmla="*/ 2147483647 h 281"/>
                <a:gd name="T102" fmla="*/ 2147483647 w 120"/>
                <a:gd name="T103" fmla="*/ 2147483647 h 281"/>
                <a:gd name="T104" fmla="*/ 2147483647 w 120"/>
                <a:gd name="T105" fmla="*/ 2147483647 h 281"/>
                <a:gd name="T106" fmla="*/ 2147483647 w 120"/>
                <a:gd name="T107" fmla="*/ 2147483647 h 281"/>
                <a:gd name="T108" fmla="*/ 2147483647 w 120"/>
                <a:gd name="T109" fmla="*/ 2147483647 h 281"/>
                <a:gd name="T110" fmla="*/ 2147483647 w 120"/>
                <a:gd name="T111" fmla="*/ 2147483647 h 281"/>
                <a:gd name="T112" fmla="*/ 2147483647 w 120"/>
                <a:gd name="T113" fmla="*/ 2147483647 h 281"/>
                <a:gd name="T114" fmla="*/ 2147483647 w 120"/>
                <a:gd name="T115" fmla="*/ 2147483647 h 281"/>
                <a:gd name="T116" fmla="*/ 2147483647 w 120"/>
                <a:gd name="T117" fmla="*/ 2147483647 h 281"/>
                <a:gd name="T118" fmla="*/ 2147483647 w 120"/>
                <a:gd name="T119" fmla="*/ 2147483647 h 28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20"/>
                <a:gd name="T181" fmla="*/ 0 h 281"/>
                <a:gd name="T182" fmla="*/ 120 w 120"/>
                <a:gd name="T183" fmla="*/ 281 h 281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20" h="281">
                  <a:moveTo>
                    <a:pt x="80" y="281"/>
                  </a:moveTo>
                  <a:lnTo>
                    <a:pt x="77" y="279"/>
                  </a:lnTo>
                  <a:lnTo>
                    <a:pt x="61" y="262"/>
                  </a:lnTo>
                  <a:lnTo>
                    <a:pt x="53" y="252"/>
                  </a:lnTo>
                  <a:lnTo>
                    <a:pt x="48" y="241"/>
                  </a:lnTo>
                  <a:lnTo>
                    <a:pt x="47" y="231"/>
                  </a:lnTo>
                  <a:lnTo>
                    <a:pt x="46" y="209"/>
                  </a:lnTo>
                  <a:lnTo>
                    <a:pt x="47" y="188"/>
                  </a:lnTo>
                  <a:lnTo>
                    <a:pt x="43" y="148"/>
                  </a:lnTo>
                  <a:lnTo>
                    <a:pt x="42" y="114"/>
                  </a:lnTo>
                  <a:lnTo>
                    <a:pt x="41" y="101"/>
                  </a:lnTo>
                  <a:lnTo>
                    <a:pt x="38" y="95"/>
                  </a:lnTo>
                  <a:lnTo>
                    <a:pt x="34" y="89"/>
                  </a:lnTo>
                  <a:lnTo>
                    <a:pt x="32" y="68"/>
                  </a:lnTo>
                  <a:lnTo>
                    <a:pt x="29" y="53"/>
                  </a:lnTo>
                  <a:lnTo>
                    <a:pt x="25" y="48"/>
                  </a:lnTo>
                  <a:lnTo>
                    <a:pt x="18" y="41"/>
                  </a:lnTo>
                  <a:lnTo>
                    <a:pt x="14" y="33"/>
                  </a:lnTo>
                  <a:lnTo>
                    <a:pt x="5" y="27"/>
                  </a:lnTo>
                  <a:lnTo>
                    <a:pt x="4" y="21"/>
                  </a:lnTo>
                  <a:lnTo>
                    <a:pt x="8" y="16"/>
                  </a:lnTo>
                  <a:lnTo>
                    <a:pt x="8" y="11"/>
                  </a:lnTo>
                  <a:lnTo>
                    <a:pt x="11" y="6"/>
                  </a:lnTo>
                  <a:lnTo>
                    <a:pt x="10" y="5"/>
                  </a:lnTo>
                  <a:lnTo>
                    <a:pt x="2" y="4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1"/>
                  </a:lnTo>
                  <a:lnTo>
                    <a:pt x="35" y="6"/>
                  </a:lnTo>
                  <a:lnTo>
                    <a:pt x="38" y="11"/>
                  </a:lnTo>
                  <a:lnTo>
                    <a:pt x="42" y="11"/>
                  </a:lnTo>
                  <a:lnTo>
                    <a:pt x="45" y="8"/>
                  </a:lnTo>
                  <a:lnTo>
                    <a:pt x="59" y="9"/>
                  </a:lnTo>
                  <a:lnTo>
                    <a:pt x="61" y="8"/>
                  </a:lnTo>
                  <a:lnTo>
                    <a:pt x="58" y="10"/>
                  </a:lnTo>
                  <a:lnTo>
                    <a:pt x="57" y="17"/>
                  </a:lnTo>
                  <a:lnTo>
                    <a:pt x="53" y="25"/>
                  </a:lnTo>
                  <a:lnTo>
                    <a:pt x="52" y="35"/>
                  </a:lnTo>
                  <a:lnTo>
                    <a:pt x="52" y="43"/>
                  </a:lnTo>
                  <a:lnTo>
                    <a:pt x="57" y="47"/>
                  </a:lnTo>
                  <a:lnTo>
                    <a:pt x="63" y="51"/>
                  </a:lnTo>
                  <a:lnTo>
                    <a:pt x="67" y="51"/>
                  </a:lnTo>
                  <a:lnTo>
                    <a:pt x="72" y="53"/>
                  </a:lnTo>
                  <a:lnTo>
                    <a:pt x="84" y="69"/>
                  </a:lnTo>
                  <a:lnTo>
                    <a:pt x="93" y="89"/>
                  </a:lnTo>
                  <a:lnTo>
                    <a:pt x="99" y="110"/>
                  </a:lnTo>
                  <a:lnTo>
                    <a:pt x="102" y="119"/>
                  </a:lnTo>
                  <a:lnTo>
                    <a:pt x="104" y="125"/>
                  </a:lnTo>
                  <a:lnTo>
                    <a:pt x="106" y="134"/>
                  </a:lnTo>
                  <a:lnTo>
                    <a:pt x="108" y="145"/>
                  </a:lnTo>
                  <a:lnTo>
                    <a:pt x="110" y="164"/>
                  </a:lnTo>
                  <a:lnTo>
                    <a:pt x="110" y="215"/>
                  </a:lnTo>
                  <a:lnTo>
                    <a:pt x="106" y="238"/>
                  </a:lnTo>
                  <a:lnTo>
                    <a:pt x="106" y="248"/>
                  </a:lnTo>
                  <a:lnTo>
                    <a:pt x="110" y="261"/>
                  </a:lnTo>
                  <a:lnTo>
                    <a:pt x="112" y="268"/>
                  </a:lnTo>
                  <a:lnTo>
                    <a:pt x="113" y="269"/>
                  </a:lnTo>
                  <a:lnTo>
                    <a:pt x="120" y="270"/>
                  </a:lnTo>
                  <a:lnTo>
                    <a:pt x="99" y="275"/>
                  </a:lnTo>
                  <a:lnTo>
                    <a:pt x="80" y="28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57" name="Freeform 52">
              <a:extLst>
                <a:ext uri="{FF2B5EF4-FFF2-40B4-BE49-F238E27FC236}">
                  <a16:creationId xmlns:a16="http://schemas.microsoft.com/office/drawing/2014/main" id="{6AB8823C-91E2-38C8-DEE5-97C4795046D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128350" y="4177905"/>
              <a:ext cx="558136" cy="579203"/>
            </a:xfrm>
            <a:custGeom>
              <a:avLst/>
              <a:gdLst>
                <a:gd name="T0" fmla="*/ 2147483647 w 1045"/>
                <a:gd name="T1" fmla="*/ 2147483647 h 1018"/>
                <a:gd name="T2" fmla="*/ 2147483647 w 1045"/>
                <a:gd name="T3" fmla="*/ 2147483647 h 1018"/>
                <a:gd name="T4" fmla="*/ 2147483647 w 1045"/>
                <a:gd name="T5" fmla="*/ 2147483647 h 1018"/>
                <a:gd name="T6" fmla="*/ 2147483647 w 1045"/>
                <a:gd name="T7" fmla="*/ 2147483647 h 1018"/>
                <a:gd name="T8" fmla="*/ 2147483647 w 1045"/>
                <a:gd name="T9" fmla="*/ 2147483647 h 1018"/>
                <a:gd name="T10" fmla="*/ 2147483647 w 1045"/>
                <a:gd name="T11" fmla="*/ 2147483647 h 1018"/>
                <a:gd name="T12" fmla="*/ 2147483647 w 1045"/>
                <a:gd name="T13" fmla="*/ 2147483647 h 1018"/>
                <a:gd name="T14" fmla="*/ 2147483647 w 1045"/>
                <a:gd name="T15" fmla="*/ 2147483647 h 1018"/>
                <a:gd name="T16" fmla="*/ 2147483647 w 1045"/>
                <a:gd name="T17" fmla="*/ 2147483647 h 1018"/>
                <a:gd name="T18" fmla="*/ 2147483647 w 1045"/>
                <a:gd name="T19" fmla="*/ 2147483647 h 1018"/>
                <a:gd name="T20" fmla="*/ 2147483647 w 1045"/>
                <a:gd name="T21" fmla="*/ 2147483647 h 1018"/>
                <a:gd name="T22" fmla="*/ 2147483647 w 1045"/>
                <a:gd name="T23" fmla="*/ 2147483647 h 1018"/>
                <a:gd name="T24" fmla="*/ 2147483647 w 1045"/>
                <a:gd name="T25" fmla="*/ 0 h 1018"/>
                <a:gd name="T26" fmla="*/ 2147483647 w 1045"/>
                <a:gd name="T27" fmla="*/ 0 h 1018"/>
                <a:gd name="T28" fmla="*/ 2147483647 w 1045"/>
                <a:gd name="T29" fmla="*/ 0 h 1018"/>
                <a:gd name="T30" fmla="*/ 2147483647 w 1045"/>
                <a:gd name="T31" fmla="*/ 0 h 1018"/>
                <a:gd name="T32" fmla="*/ 2147483647 w 1045"/>
                <a:gd name="T33" fmla="*/ 0 h 1018"/>
                <a:gd name="T34" fmla="*/ 2147483647 w 1045"/>
                <a:gd name="T35" fmla="*/ 0 h 1018"/>
                <a:gd name="T36" fmla="*/ 2147483647 w 1045"/>
                <a:gd name="T37" fmla="*/ 0 h 1018"/>
                <a:gd name="T38" fmla="*/ 2147483647 w 1045"/>
                <a:gd name="T39" fmla="*/ 0 h 1018"/>
                <a:gd name="T40" fmla="*/ 2147483647 w 1045"/>
                <a:gd name="T41" fmla="*/ 0 h 1018"/>
                <a:gd name="T42" fmla="*/ 2147483647 w 1045"/>
                <a:gd name="T43" fmla="*/ 0 h 1018"/>
                <a:gd name="T44" fmla="*/ 2147483647 w 1045"/>
                <a:gd name="T45" fmla="*/ 0 h 1018"/>
                <a:gd name="T46" fmla="*/ 2147483647 w 1045"/>
                <a:gd name="T47" fmla="*/ 2147483647 h 1018"/>
                <a:gd name="T48" fmla="*/ 2147483647 w 1045"/>
                <a:gd name="T49" fmla="*/ 2147483647 h 1018"/>
                <a:gd name="T50" fmla="*/ 2147483647 w 1045"/>
                <a:gd name="T51" fmla="*/ 2147483647 h 1018"/>
                <a:gd name="T52" fmla="*/ 2147483647 w 1045"/>
                <a:gd name="T53" fmla="*/ 2147483647 h 1018"/>
                <a:gd name="T54" fmla="*/ 2147483647 w 1045"/>
                <a:gd name="T55" fmla="*/ 2147483647 h 1018"/>
                <a:gd name="T56" fmla="*/ 2147483647 w 1045"/>
                <a:gd name="T57" fmla="*/ 2147483647 h 1018"/>
                <a:gd name="T58" fmla="*/ 0 w 1045"/>
                <a:gd name="T59" fmla="*/ 2147483647 h 1018"/>
                <a:gd name="T60" fmla="*/ 0 w 1045"/>
                <a:gd name="T61" fmla="*/ 2147483647 h 1018"/>
                <a:gd name="T62" fmla="*/ 0 w 1045"/>
                <a:gd name="T63" fmla="*/ 2147483647 h 1018"/>
                <a:gd name="T64" fmla="*/ 2147483647 w 1045"/>
                <a:gd name="T65" fmla="*/ 2147483647 h 1018"/>
                <a:gd name="T66" fmla="*/ 2147483647 w 1045"/>
                <a:gd name="T67" fmla="*/ 2147483647 h 1018"/>
                <a:gd name="T68" fmla="*/ 2147483647 w 1045"/>
                <a:gd name="T69" fmla="*/ 2147483647 h 1018"/>
                <a:gd name="T70" fmla="*/ 2147483647 w 1045"/>
                <a:gd name="T71" fmla="*/ 2147483647 h 1018"/>
                <a:gd name="T72" fmla="*/ 2147483647 w 1045"/>
                <a:gd name="T73" fmla="*/ 2147483647 h 1018"/>
                <a:gd name="T74" fmla="*/ 2147483647 w 1045"/>
                <a:gd name="T75" fmla="*/ 2147483647 h 1018"/>
                <a:gd name="T76" fmla="*/ 2147483647 w 1045"/>
                <a:gd name="T77" fmla="*/ 2147483647 h 1018"/>
                <a:gd name="T78" fmla="*/ 2147483647 w 1045"/>
                <a:gd name="T79" fmla="*/ 2147483647 h 1018"/>
                <a:gd name="T80" fmla="*/ 2147483647 w 1045"/>
                <a:gd name="T81" fmla="*/ 2147483647 h 1018"/>
                <a:gd name="T82" fmla="*/ 2147483647 w 1045"/>
                <a:gd name="T83" fmla="*/ 2147483647 h 1018"/>
                <a:gd name="T84" fmla="*/ 2147483647 w 1045"/>
                <a:gd name="T85" fmla="*/ 2147483647 h 1018"/>
                <a:gd name="T86" fmla="*/ 2147483647 w 1045"/>
                <a:gd name="T87" fmla="*/ 2147483647 h 1018"/>
                <a:gd name="T88" fmla="*/ 2147483647 w 1045"/>
                <a:gd name="T89" fmla="*/ 2147483647 h 1018"/>
                <a:gd name="T90" fmla="*/ 2147483647 w 1045"/>
                <a:gd name="T91" fmla="*/ 2147483647 h 1018"/>
                <a:gd name="T92" fmla="*/ 2147483647 w 1045"/>
                <a:gd name="T93" fmla="*/ 2147483647 h 1018"/>
                <a:gd name="T94" fmla="*/ 2147483647 w 1045"/>
                <a:gd name="T95" fmla="*/ 2147483647 h 1018"/>
                <a:gd name="T96" fmla="*/ 2147483647 w 1045"/>
                <a:gd name="T97" fmla="*/ 2147483647 h 1018"/>
                <a:gd name="T98" fmla="*/ 2147483647 w 1045"/>
                <a:gd name="T99" fmla="*/ 2147483647 h 1018"/>
                <a:gd name="T100" fmla="*/ 2147483647 w 1045"/>
                <a:gd name="T101" fmla="*/ 2147483647 h 1018"/>
                <a:gd name="T102" fmla="*/ 2147483647 w 1045"/>
                <a:gd name="T103" fmla="*/ 2147483647 h 1018"/>
                <a:gd name="T104" fmla="*/ 2147483647 w 1045"/>
                <a:gd name="T105" fmla="*/ 2147483647 h 1018"/>
                <a:gd name="T106" fmla="*/ 2147483647 w 1045"/>
                <a:gd name="T107" fmla="*/ 2147483647 h 1018"/>
                <a:gd name="T108" fmla="*/ 2147483647 w 1045"/>
                <a:gd name="T109" fmla="*/ 2147483647 h 1018"/>
                <a:gd name="T110" fmla="*/ 2147483647 w 1045"/>
                <a:gd name="T111" fmla="*/ 2147483647 h 1018"/>
                <a:gd name="T112" fmla="*/ 2147483647 w 1045"/>
                <a:gd name="T113" fmla="*/ 2147483647 h 1018"/>
                <a:gd name="T114" fmla="*/ 2147483647 w 1045"/>
                <a:gd name="T115" fmla="*/ 2147483647 h 1018"/>
                <a:gd name="T116" fmla="*/ 2147483647 w 1045"/>
                <a:gd name="T117" fmla="*/ 2147483647 h 1018"/>
                <a:gd name="T118" fmla="*/ 2147483647 w 1045"/>
                <a:gd name="T119" fmla="*/ 2147483647 h 1018"/>
                <a:gd name="T120" fmla="*/ 2147483647 w 1045"/>
                <a:gd name="T121" fmla="*/ 2147483647 h 101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045"/>
                <a:gd name="T184" fmla="*/ 0 h 1018"/>
                <a:gd name="T185" fmla="*/ 1045 w 1045"/>
                <a:gd name="T186" fmla="*/ 1018 h 101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045" h="1018">
                  <a:moveTo>
                    <a:pt x="1003" y="735"/>
                  </a:moveTo>
                  <a:lnTo>
                    <a:pt x="995" y="700"/>
                  </a:lnTo>
                  <a:lnTo>
                    <a:pt x="986" y="688"/>
                  </a:lnTo>
                  <a:lnTo>
                    <a:pt x="972" y="684"/>
                  </a:lnTo>
                  <a:lnTo>
                    <a:pt x="960" y="671"/>
                  </a:lnTo>
                  <a:lnTo>
                    <a:pt x="952" y="662"/>
                  </a:lnTo>
                  <a:lnTo>
                    <a:pt x="945" y="646"/>
                  </a:lnTo>
                  <a:lnTo>
                    <a:pt x="940" y="639"/>
                  </a:lnTo>
                  <a:lnTo>
                    <a:pt x="936" y="622"/>
                  </a:lnTo>
                  <a:lnTo>
                    <a:pt x="939" y="609"/>
                  </a:lnTo>
                  <a:lnTo>
                    <a:pt x="939" y="597"/>
                  </a:lnTo>
                  <a:lnTo>
                    <a:pt x="933" y="585"/>
                  </a:lnTo>
                  <a:lnTo>
                    <a:pt x="927" y="566"/>
                  </a:lnTo>
                  <a:lnTo>
                    <a:pt x="928" y="551"/>
                  </a:lnTo>
                  <a:lnTo>
                    <a:pt x="933" y="528"/>
                  </a:lnTo>
                  <a:lnTo>
                    <a:pt x="932" y="517"/>
                  </a:lnTo>
                  <a:lnTo>
                    <a:pt x="928" y="520"/>
                  </a:lnTo>
                  <a:lnTo>
                    <a:pt x="927" y="515"/>
                  </a:lnTo>
                  <a:lnTo>
                    <a:pt x="928" y="503"/>
                  </a:lnTo>
                  <a:lnTo>
                    <a:pt x="933" y="488"/>
                  </a:lnTo>
                  <a:lnTo>
                    <a:pt x="934" y="478"/>
                  </a:lnTo>
                  <a:lnTo>
                    <a:pt x="938" y="471"/>
                  </a:lnTo>
                  <a:lnTo>
                    <a:pt x="935" y="447"/>
                  </a:lnTo>
                  <a:lnTo>
                    <a:pt x="933" y="441"/>
                  </a:lnTo>
                  <a:lnTo>
                    <a:pt x="927" y="435"/>
                  </a:lnTo>
                  <a:lnTo>
                    <a:pt x="922" y="428"/>
                  </a:lnTo>
                  <a:lnTo>
                    <a:pt x="920" y="424"/>
                  </a:lnTo>
                  <a:lnTo>
                    <a:pt x="920" y="417"/>
                  </a:lnTo>
                  <a:lnTo>
                    <a:pt x="930" y="403"/>
                  </a:lnTo>
                  <a:lnTo>
                    <a:pt x="934" y="392"/>
                  </a:lnTo>
                  <a:lnTo>
                    <a:pt x="941" y="379"/>
                  </a:lnTo>
                  <a:lnTo>
                    <a:pt x="949" y="367"/>
                  </a:lnTo>
                  <a:lnTo>
                    <a:pt x="956" y="360"/>
                  </a:lnTo>
                  <a:lnTo>
                    <a:pt x="959" y="358"/>
                  </a:lnTo>
                  <a:lnTo>
                    <a:pt x="960" y="337"/>
                  </a:lnTo>
                  <a:lnTo>
                    <a:pt x="962" y="309"/>
                  </a:lnTo>
                  <a:lnTo>
                    <a:pt x="962" y="295"/>
                  </a:lnTo>
                  <a:lnTo>
                    <a:pt x="970" y="264"/>
                  </a:lnTo>
                  <a:lnTo>
                    <a:pt x="976" y="253"/>
                  </a:lnTo>
                  <a:lnTo>
                    <a:pt x="979" y="248"/>
                  </a:lnTo>
                  <a:lnTo>
                    <a:pt x="992" y="234"/>
                  </a:lnTo>
                  <a:lnTo>
                    <a:pt x="1003" y="221"/>
                  </a:lnTo>
                  <a:lnTo>
                    <a:pt x="1009" y="215"/>
                  </a:lnTo>
                  <a:lnTo>
                    <a:pt x="1011" y="209"/>
                  </a:lnTo>
                  <a:lnTo>
                    <a:pt x="1015" y="202"/>
                  </a:lnTo>
                  <a:lnTo>
                    <a:pt x="1026" y="197"/>
                  </a:lnTo>
                  <a:lnTo>
                    <a:pt x="1032" y="192"/>
                  </a:lnTo>
                  <a:lnTo>
                    <a:pt x="1041" y="183"/>
                  </a:lnTo>
                  <a:lnTo>
                    <a:pt x="1045" y="175"/>
                  </a:lnTo>
                  <a:lnTo>
                    <a:pt x="1043" y="167"/>
                  </a:lnTo>
                  <a:lnTo>
                    <a:pt x="1041" y="162"/>
                  </a:lnTo>
                  <a:lnTo>
                    <a:pt x="1032" y="160"/>
                  </a:lnTo>
                  <a:lnTo>
                    <a:pt x="1027" y="156"/>
                  </a:lnTo>
                  <a:lnTo>
                    <a:pt x="1022" y="151"/>
                  </a:lnTo>
                  <a:lnTo>
                    <a:pt x="1020" y="143"/>
                  </a:lnTo>
                  <a:lnTo>
                    <a:pt x="1019" y="121"/>
                  </a:lnTo>
                  <a:lnTo>
                    <a:pt x="1022" y="103"/>
                  </a:lnTo>
                  <a:lnTo>
                    <a:pt x="1025" y="94"/>
                  </a:lnTo>
                  <a:lnTo>
                    <a:pt x="1025" y="90"/>
                  </a:lnTo>
                  <a:lnTo>
                    <a:pt x="1019" y="90"/>
                  </a:lnTo>
                  <a:lnTo>
                    <a:pt x="1013" y="85"/>
                  </a:lnTo>
                  <a:lnTo>
                    <a:pt x="1004" y="76"/>
                  </a:lnTo>
                  <a:lnTo>
                    <a:pt x="990" y="68"/>
                  </a:lnTo>
                  <a:lnTo>
                    <a:pt x="966" y="42"/>
                  </a:lnTo>
                  <a:lnTo>
                    <a:pt x="955" y="36"/>
                  </a:lnTo>
                  <a:lnTo>
                    <a:pt x="943" y="46"/>
                  </a:lnTo>
                  <a:lnTo>
                    <a:pt x="932" y="47"/>
                  </a:lnTo>
                  <a:lnTo>
                    <a:pt x="905" y="41"/>
                  </a:lnTo>
                  <a:lnTo>
                    <a:pt x="898" y="49"/>
                  </a:lnTo>
                  <a:lnTo>
                    <a:pt x="892" y="52"/>
                  </a:lnTo>
                  <a:lnTo>
                    <a:pt x="869" y="43"/>
                  </a:lnTo>
                  <a:lnTo>
                    <a:pt x="864" y="33"/>
                  </a:lnTo>
                  <a:lnTo>
                    <a:pt x="858" y="25"/>
                  </a:lnTo>
                  <a:lnTo>
                    <a:pt x="846" y="16"/>
                  </a:lnTo>
                  <a:lnTo>
                    <a:pt x="839" y="5"/>
                  </a:lnTo>
                  <a:lnTo>
                    <a:pt x="811" y="5"/>
                  </a:lnTo>
                  <a:lnTo>
                    <a:pt x="803" y="16"/>
                  </a:lnTo>
                  <a:lnTo>
                    <a:pt x="791" y="9"/>
                  </a:lnTo>
                  <a:lnTo>
                    <a:pt x="784" y="16"/>
                  </a:lnTo>
                  <a:lnTo>
                    <a:pt x="771" y="0"/>
                  </a:lnTo>
                  <a:lnTo>
                    <a:pt x="756" y="5"/>
                  </a:lnTo>
                  <a:lnTo>
                    <a:pt x="733" y="9"/>
                  </a:lnTo>
                  <a:lnTo>
                    <a:pt x="713" y="4"/>
                  </a:lnTo>
                  <a:lnTo>
                    <a:pt x="709" y="16"/>
                  </a:lnTo>
                  <a:lnTo>
                    <a:pt x="697" y="16"/>
                  </a:lnTo>
                  <a:lnTo>
                    <a:pt x="690" y="19"/>
                  </a:lnTo>
                  <a:lnTo>
                    <a:pt x="682" y="16"/>
                  </a:lnTo>
                  <a:lnTo>
                    <a:pt x="683" y="16"/>
                  </a:lnTo>
                  <a:lnTo>
                    <a:pt x="682" y="10"/>
                  </a:lnTo>
                  <a:lnTo>
                    <a:pt x="676" y="10"/>
                  </a:lnTo>
                  <a:lnTo>
                    <a:pt x="665" y="16"/>
                  </a:lnTo>
                  <a:lnTo>
                    <a:pt x="639" y="21"/>
                  </a:lnTo>
                  <a:lnTo>
                    <a:pt x="628" y="27"/>
                  </a:lnTo>
                  <a:lnTo>
                    <a:pt x="610" y="32"/>
                  </a:lnTo>
                  <a:lnTo>
                    <a:pt x="601" y="27"/>
                  </a:lnTo>
                  <a:lnTo>
                    <a:pt x="583" y="24"/>
                  </a:lnTo>
                  <a:lnTo>
                    <a:pt x="569" y="32"/>
                  </a:lnTo>
                  <a:lnTo>
                    <a:pt x="567" y="49"/>
                  </a:lnTo>
                  <a:lnTo>
                    <a:pt x="559" y="53"/>
                  </a:lnTo>
                  <a:lnTo>
                    <a:pt x="509" y="53"/>
                  </a:lnTo>
                  <a:lnTo>
                    <a:pt x="486" y="47"/>
                  </a:lnTo>
                  <a:lnTo>
                    <a:pt x="472" y="37"/>
                  </a:lnTo>
                  <a:lnTo>
                    <a:pt x="465" y="46"/>
                  </a:lnTo>
                  <a:lnTo>
                    <a:pt x="457" y="43"/>
                  </a:lnTo>
                  <a:lnTo>
                    <a:pt x="436" y="25"/>
                  </a:lnTo>
                  <a:lnTo>
                    <a:pt x="434" y="16"/>
                  </a:lnTo>
                  <a:lnTo>
                    <a:pt x="427" y="6"/>
                  </a:lnTo>
                  <a:lnTo>
                    <a:pt x="411" y="5"/>
                  </a:lnTo>
                  <a:lnTo>
                    <a:pt x="397" y="5"/>
                  </a:lnTo>
                  <a:lnTo>
                    <a:pt x="384" y="16"/>
                  </a:lnTo>
                  <a:lnTo>
                    <a:pt x="378" y="22"/>
                  </a:lnTo>
                  <a:lnTo>
                    <a:pt x="371" y="37"/>
                  </a:lnTo>
                  <a:lnTo>
                    <a:pt x="363" y="42"/>
                  </a:lnTo>
                  <a:lnTo>
                    <a:pt x="360" y="56"/>
                  </a:lnTo>
                  <a:lnTo>
                    <a:pt x="359" y="75"/>
                  </a:lnTo>
                  <a:lnTo>
                    <a:pt x="362" y="84"/>
                  </a:lnTo>
                  <a:lnTo>
                    <a:pt x="349" y="86"/>
                  </a:lnTo>
                  <a:lnTo>
                    <a:pt x="352" y="103"/>
                  </a:lnTo>
                  <a:lnTo>
                    <a:pt x="347" y="122"/>
                  </a:lnTo>
                  <a:lnTo>
                    <a:pt x="326" y="159"/>
                  </a:lnTo>
                  <a:lnTo>
                    <a:pt x="316" y="183"/>
                  </a:lnTo>
                  <a:lnTo>
                    <a:pt x="307" y="227"/>
                  </a:lnTo>
                  <a:lnTo>
                    <a:pt x="306" y="293"/>
                  </a:lnTo>
                  <a:lnTo>
                    <a:pt x="299" y="323"/>
                  </a:lnTo>
                  <a:lnTo>
                    <a:pt x="298" y="327"/>
                  </a:lnTo>
                  <a:lnTo>
                    <a:pt x="283" y="340"/>
                  </a:lnTo>
                  <a:lnTo>
                    <a:pt x="264" y="350"/>
                  </a:lnTo>
                  <a:lnTo>
                    <a:pt x="247" y="366"/>
                  </a:lnTo>
                  <a:lnTo>
                    <a:pt x="224" y="402"/>
                  </a:lnTo>
                  <a:lnTo>
                    <a:pt x="217" y="423"/>
                  </a:lnTo>
                  <a:lnTo>
                    <a:pt x="213" y="444"/>
                  </a:lnTo>
                  <a:lnTo>
                    <a:pt x="213" y="462"/>
                  </a:lnTo>
                  <a:lnTo>
                    <a:pt x="209" y="480"/>
                  </a:lnTo>
                  <a:lnTo>
                    <a:pt x="196" y="501"/>
                  </a:lnTo>
                  <a:lnTo>
                    <a:pt x="181" y="516"/>
                  </a:lnTo>
                  <a:lnTo>
                    <a:pt x="167" y="523"/>
                  </a:lnTo>
                  <a:lnTo>
                    <a:pt x="144" y="544"/>
                  </a:lnTo>
                  <a:lnTo>
                    <a:pt x="123" y="552"/>
                  </a:lnTo>
                  <a:lnTo>
                    <a:pt x="113" y="549"/>
                  </a:lnTo>
                  <a:lnTo>
                    <a:pt x="112" y="531"/>
                  </a:lnTo>
                  <a:lnTo>
                    <a:pt x="110" y="526"/>
                  </a:lnTo>
                  <a:lnTo>
                    <a:pt x="96" y="530"/>
                  </a:lnTo>
                  <a:lnTo>
                    <a:pt x="83" y="532"/>
                  </a:lnTo>
                  <a:lnTo>
                    <a:pt x="75" y="538"/>
                  </a:lnTo>
                  <a:lnTo>
                    <a:pt x="68" y="551"/>
                  </a:lnTo>
                  <a:lnTo>
                    <a:pt x="56" y="554"/>
                  </a:lnTo>
                  <a:lnTo>
                    <a:pt x="40" y="544"/>
                  </a:lnTo>
                  <a:lnTo>
                    <a:pt x="36" y="546"/>
                  </a:lnTo>
                  <a:lnTo>
                    <a:pt x="27" y="552"/>
                  </a:lnTo>
                  <a:lnTo>
                    <a:pt x="18" y="560"/>
                  </a:lnTo>
                  <a:lnTo>
                    <a:pt x="14" y="576"/>
                  </a:lnTo>
                  <a:lnTo>
                    <a:pt x="11" y="591"/>
                  </a:lnTo>
                  <a:lnTo>
                    <a:pt x="10" y="603"/>
                  </a:lnTo>
                  <a:lnTo>
                    <a:pt x="2" y="608"/>
                  </a:lnTo>
                  <a:lnTo>
                    <a:pt x="3" y="612"/>
                  </a:lnTo>
                  <a:lnTo>
                    <a:pt x="3" y="619"/>
                  </a:lnTo>
                  <a:lnTo>
                    <a:pt x="0" y="625"/>
                  </a:lnTo>
                  <a:lnTo>
                    <a:pt x="2" y="629"/>
                  </a:lnTo>
                  <a:lnTo>
                    <a:pt x="3" y="627"/>
                  </a:lnTo>
                  <a:lnTo>
                    <a:pt x="9" y="624"/>
                  </a:lnTo>
                  <a:lnTo>
                    <a:pt x="27" y="619"/>
                  </a:lnTo>
                  <a:lnTo>
                    <a:pt x="41" y="612"/>
                  </a:lnTo>
                  <a:lnTo>
                    <a:pt x="54" y="607"/>
                  </a:lnTo>
                  <a:lnTo>
                    <a:pt x="63" y="607"/>
                  </a:lnTo>
                  <a:lnTo>
                    <a:pt x="70" y="606"/>
                  </a:lnTo>
                  <a:lnTo>
                    <a:pt x="94" y="607"/>
                  </a:lnTo>
                  <a:lnTo>
                    <a:pt x="116" y="605"/>
                  </a:lnTo>
                  <a:lnTo>
                    <a:pt x="123" y="607"/>
                  </a:lnTo>
                  <a:lnTo>
                    <a:pt x="142" y="608"/>
                  </a:lnTo>
                  <a:lnTo>
                    <a:pt x="155" y="606"/>
                  </a:lnTo>
                  <a:lnTo>
                    <a:pt x="169" y="606"/>
                  </a:lnTo>
                  <a:lnTo>
                    <a:pt x="202" y="603"/>
                  </a:lnTo>
                  <a:lnTo>
                    <a:pt x="218" y="605"/>
                  </a:lnTo>
                  <a:lnTo>
                    <a:pt x="220" y="606"/>
                  </a:lnTo>
                  <a:lnTo>
                    <a:pt x="225" y="613"/>
                  </a:lnTo>
                  <a:lnTo>
                    <a:pt x="229" y="614"/>
                  </a:lnTo>
                  <a:lnTo>
                    <a:pt x="233" y="613"/>
                  </a:lnTo>
                  <a:lnTo>
                    <a:pt x="237" y="622"/>
                  </a:lnTo>
                  <a:lnTo>
                    <a:pt x="242" y="640"/>
                  </a:lnTo>
                  <a:lnTo>
                    <a:pt x="244" y="654"/>
                  </a:lnTo>
                  <a:lnTo>
                    <a:pt x="245" y="659"/>
                  </a:lnTo>
                  <a:lnTo>
                    <a:pt x="252" y="671"/>
                  </a:lnTo>
                  <a:lnTo>
                    <a:pt x="256" y="687"/>
                  </a:lnTo>
                  <a:lnTo>
                    <a:pt x="268" y="700"/>
                  </a:lnTo>
                  <a:lnTo>
                    <a:pt x="289" y="727"/>
                  </a:lnTo>
                  <a:lnTo>
                    <a:pt x="301" y="732"/>
                  </a:lnTo>
                  <a:lnTo>
                    <a:pt x="315" y="732"/>
                  </a:lnTo>
                  <a:lnTo>
                    <a:pt x="336" y="725"/>
                  </a:lnTo>
                  <a:lnTo>
                    <a:pt x="349" y="722"/>
                  </a:lnTo>
                  <a:lnTo>
                    <a:pt x="366" y="725"/>
                  </a:lnTo>
                  <a:lnTo>
                    <a:pt x="386" y="725"/>
                  </a:lnTo>
                  <a:lnTo>
                    <a:pt x="389" y="710"/>
                  </a:lnTo>
                  <a:lnTo>
                    <a:pt x="390" y="703"/>
                  </a:lnTo>
                  <a:lnTo>
                    <a:pt x="392" y="698"/>
                  </a:lnTo>
                  <a:lnTo>
                    <a:pt x="393" y="694"/>
                  </a:lnTo>
                  <a:lnTo>
                    <a:pt x="395" y="689"/>
                  </a:lnTo>
                  <a:lnTo>
                    <a:pt x="396" y="678"/>
                  </a:lnTo>
                  <a:lnTo>
                    <a:pt x="398" y="670"/>
                  </a:lnTo>
                  <a:lnTo>
                    <a:pt x="441" y="670"/>
                  </a:lnTo>
                  <a:lnTo>
                    <a:pt x="444" y="664"/>
                  </a:lnTo>
                  <a:lnTo>
                    <a:pt x="467" y="664"/>
                  </a:lnTo>
                  <a:lnTo>
                    <a:pt x="466" y="686"/>
                  </a:lnTo>
                  <a:lnTo>
                    <a:pt x="514" y="687"/>
                  </a:lnTo>
                  <a:lnTo>
                    <a:pt x="518" y="691"/>
                  </a:lnTo>
                  <a:lnTo>
                    <a:pt x="520" y="699"/>
                  </a:lnTo>
                  <a:lnTo>
                    <a:pt x="522" y="731"/>
                  </a:lnTo>
                  <a:lnTo>
                    <a:pt x="525" y="743"/>
                  </a:lnTo>
                  <a:lnTo>
                    <a:pt x="525" y="759"/>
                  </a:lnTo>
                  <a:lnTo>
                    <a:pt x="527" y="775"/>
                  </a:lnTo>
                  <a:lnTo>
                    <a:pt x="527" y="781"/>
                  </a:lnTo>
                  <a:lnTo>
                    <a:pt x="524" y="792"/>
                  </a:lnTo>
                  <a:lnTo>
                    <a:pt x="524" y="806"/>
                  </a:lnTo>
                  <a:lnTo>
                    <a:pt x="526" y="815"/>
                  </a:lnTo>
                  <a:lnTo>
                    <a:pt x="535" y="829"/>
                  </a:lnTo>
                  <a:lnTo>
                    <a:pt x="541" y="850"/>
                  </a:lnTo>
                  <a:lnTo>
                    <a:pt x="547" y="866"/>
                  </a:lnTo>
                  <a:lnTo>
                    <a:pt x="547" y="874"/>
                  </a:lnTo>
                  <a:lnTo>
                    <a:pt x="542" y="881"/>
                  </a:lnTo>
                  <a:lnTo>
                    <a:pt x="531" y="892"/>
                  </a:lnTo>
                  <a:lnTo>
                    <a:pt x="531" y="894"/>
                  </a:lnTo>
                  <a:lnTo>
                    <a:pt x="532" y="897"/>
                  </a:lnTo>
                  <a:lnTo>
                    <a:pt x="534" y="898"/>
                  </a:lnTo>
                  <a:lnTo>
                    <a:pt x="537" y="899"/>
                  </a:lnTo>
                  <a:lnTo>
                    <a:pt x="543" y="907"/>
                  </a:lnTo>
                  <a:lnTo>
                    <a:pt x="549" y="908"/>
                  </a:lnTo>
                  <a:lnTo>
                    <a:pt x="552" y="907"/>
                  </a:lnTo>
                  <a:lnTo>
                    <a:pt x="554" y="901"/>
                  </a:lnTo>
                  <a:lnTo>
                    <a:pt x="557" y="893"/>
                  </a:lnTo>
                  <a:lnTo>
                    <a:pt x="562" y="891"/>
                  </a:lnTo>
                  <a:lnTo>
                    <a:pt x="613" y="891"/>
                  </a:lnTo>
                  <a:lnTo>
                    <a:pt x="623" y="887"/>
                  </a:lnTo>
                  <a:lnTo>
                    <a:pt x="632" y="890"/>
                  </a:lnTo>
                  <a:lnTo>
                    <a:pt x="634" y="890"/>
                  </a:lnTo>
                  <a:lnTo>
                    <a:pt x="644" y="882"/>
                  </a:lnTo>
                  <a:lnTo>
                    <a:pt x="645" y="882"/>
                  </a:lnTo>
                  <a:lnTo>
                    <a:pt x="655" y="880"/>
                  </a:lnTo>
                  <a:lnTo>
                    <a:pt x="659" y="880"/>
                  </a:lnTo>
                  <a:lnTo>
                    <a:pt x="661" y="881"/>
                  </a:lnTo>
                  <a:lnTo>
                    <a:pt x="667" y="891"/>
                  </a:lnTo>
                  <a:lnTo>
                    <a:pt x="667" y="903"/>
                  </a:lnTo>
                  <a:lnTo>
                    <a:pt x="669" y="908"/>
                  </a:lnTo>
                  <a:lnTo>
                    <a:pt x="672" y="908"/>
                  </a:lnTo>
                  <a:lnTo>
                    <a:pt x="686" y="902"/>
                  </a:lnTo>
                  <a:lnTo>
                    <a:pt x="691" y="901"/>
                  </a:lnTo>
                  <a:lnTo>
                    <a:pt x="697" y="901"/>
                  </a:lnTo>
                  <a:lnTo>
                    <a:pt x="708" y="896"/>
                  </a:lnTo>
                  <a:lnTo>
                    <a:pt x="714" y="904"/>
                  </a:lnTo>
                  <a:lnTo>
                    <a:pt x="718" y="913"/>
                  </a:lnTo>
                  <a:lnTo>
                    <a:pt x="723" y="919"/>
                  </a:lnTo>
                  <a:lnTo>
                    <a:pt x="736" y="925"/>
                  </a:lnTo>
                  <a:lnTo>
                    <a:pt x="748" y="933"/>
                  </a:lnTo>
                  <a:lnTo>
                    <a:pt x="766" y="940"/>
                  </a:lnTo>
                  <a:lnTo>
                    <a:pt x="778" y="941"/>
                  </a:lnTo>
                  <a:lnTo>
                    <a:pt x="787" y="939"/>
                  </a:lnTo>
                  <a:lnTo>
                    <a:pt x="799" y="934"/>
                  </a:lnTo>
                  <a:lnTo>
                    <a:pt x="809" y="931"/>
                  </a:lnTo>
                  <a:lnTo>
                    <a:pt x="814" y="933"/>
                  </a:lnTo>
                  <a:lnTo>
                    <a:pt x="833" y="951"/>
                  </a:lnTo>
                  <a:lnTo>
                    <a:pt x="847" y="957"/>
                  </a:lnTo>
                  <a:lnTo>
                    <a:pt x="858" y="961"/>
                  </a:lnTo>
                  <a:lnTo>
                    <a:pt x="869" y="962"/>
                  </a:lnTo>
                  <a:lnTo>
                    <a:pt x="876" y="968"/>
                  </a:lnTo>
                  <a:lnTo>
                    <a:pt x="881" y="980"/>
                  </a:lnTo>
                  <a:lnTo>
                    <a:pt x="885" y="987"/>
                  </a:lnTo>
                  <a:lnTo>
                    <a:pt x="898" y="999"/>
                  </a:lnTo>
                  <a:lnTo>
                    <a:pt x="912" y="1007"/>
                  </a:lnTo>
                  <a:lnTo>
                    <a:pt x="922" y="1011"/>
                  </a:lnTo>
                  <a:lnTo>
                    <a:pt x="932" y="1012"/>
                  </a:lnTo>
                  <a:lnTo>
                    <a:pt x="935" y="1012"/>
                  </a:lnTo>
                  <a:lnTo>
                    <a:pt x="941" y="1010"/>
                  </a:lnTo>
                  <a:lnTo>
                    <a:pt x="945" y="1009"/>
                  </a:lnTo>
                  <a:lnTo>
                    <a:pt x="946" y="1010"/>
                  </a:lnTo>
                  <a:lnTo>
                    <a:pt x="951" y="1017"/>
                  </a:lnTo>
                  <a:lnTo>
                    <a:pt x="955" y="1018"/>
                  </a:lnTo>
                  <a:lnTo>
                    <a:pt x="959" y="1018"/>
                  </a:lnTo>
                  <a:lnTo>
                    <a:pt x="961" y="1016"/>
                  </a:lnTo>
                  <a:lnTo>
                    <a:pt x="961" y="1009"/>
                  </a:lnTo>
                  <a:lnTo>
                    <a:pt x="960" y="1001"/>
                  </a:lnTo>
                  <a:lnTo>
                    <a:pt x="959" y="966"/>
                  </a:lnTo>
                  <a:lnTo>
                    <a:pt x="956" y="958"/>
                  </a:lnTo>
                  <a:lnTo>
                    <a:pt x="950" y="957"/>
                  </a:lnTo>
                  <a:lnTo>
                    <a:pt x="941" y="962"/>
                  </a:lnTo>
                  <a:lnTo>
                    <a:pt x="930" y="960"/>
                  </a:lnTo>
                  <a:lnTo>
                    <a:pt x="918" y="960"/>
                  </a:lnTo>
                  <a:lnTo>
                    <a:pt x="911" y="955"/>
                  </a:lnTo>
                  <a:lnTo>
                    <a:pt x="901" y="942"/>
                  </a:lnTo>
                  <a:lnTo>
                    <a:pt x="895" y="936"/>
                  </a:lnTo>
                  <a:lnTo>
                    <a:pt x="893" y="934"/>
                  </a:lnTo>
                  <a:lnTo>
                    <a:pt x="892" y="924"/>
                  </a:lnTo>
                  <a:lnTo>
                    <a:pt x="895" y="917"/>
                  </a:lnTo>
                  <a:lnTo>
                    <a:pt x="897" y="905"/>
                  </a:lnTo>
                  <a:lnTo>
                    <a:pt x="912" y="866"/>
                  </a:lnTo>
                  <a:lnTo>
                    <a:pt x="913" y="859"/>
                  </a:lnTo>
                  <a:lnTo>
                    <a:pt x="914" y="834"/>
                  </a:lnTo>
                  <a:lnTo>
                    <a:pt x="912" y="820"/>
                  </a:lnTo>
                  <a:lnTo>
                    <a:pt x="905" y="801"/>
                  </a:lnTo>
                  <a:lnTo>
                    <a:pt x="905" y="791"/>
                  </a:lnTo>
                  <a:lnTo>
                    <a:pt x="907" y="788"/>
                  </a:lnTo>
                  <a:lnTo>
                    <a:pt x="909" y="779"/>
                  </a:lnTo>
                  <a:lnTo>
                    <a:pt x="914" y="772"/>
                  </a:lnTo>
                  <a:lnTo>
                    <a:pt x="922" y="758"/>
                  </a:lnTo>
                  <a:lnTo>
                    <a:pt x="924" y="756"/>
                  </a:lnTo>
                  <a:lnTo>
                    <a:pt x="929" y="752"/>
                  </a:lnTo>
                  <a:lnTo>
                    <a:pt x="932" y="752"/>
                  </a:lnTo>
                  <a:lnTo>
                    <a:pt x="941" y="748"/>
                  </a:lnTo>
                  <a:lnTo>
                    <a:pt x="1003" y="73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58" name="Freeform 53">
              <a:extLst>
                <a:ext uri="{FF2B5EF4-FFF2-40B4-BE49-F238E27FC236}">
                  <a16:creationId xmlns:a16="http://schemas.microsoft.com/office/drawing/2014/main" id="{B74BAB6D-BCEA-2B42-A24C-6F5871B7A6E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0006946" y="5721938"/>
              <a:ext cx="105957" cy="123462"/>
            </a:xfrm>
            <a:custGeom>
              <a:avLst/>
              <a:gdLst>
                <a:gd name="T0" fmla="*/ 0 w 201"/>
                <a:gd name="T1" fmla="*/ 0 h 216"/>
                <a:gd name="T2" fmla="*/ 0 w 201"/>
                <a:gd name="T3" fmla="*/ 0 h 216"/>
                <a:gd name="T4" fmla="*/ 0 w 201"/>
                <a:gd name="T5" fmla="*/ 0 h 216"/>
                <a:gd name="T6" fmla="*/ 2147483647 w 201"/>
                <a:gd name="T7" fmla="*/ 0 h 216"/>
                <a:gd name="T8" fmla="*/ 2147483647 w 201"/>
                <a:gd name="T9" fmla="*/ 0 h 216"/>
                <a:gd name="T10" fmla="*/ 2147483647 w 201"/>
                <a:gd name="T11" fmla="*/ 0 h 216"/>
                <a:gd name="T12" fmla="*/ 2147483647 w 201"/>
                <a:gd name="T13" fmla="*/ 0 h 216"/>
                <a:gd name="T14" fmla="*/ 2147483647 w 201"/>
                <a:gd name="T15" fmla="*/ 0 h 216"/>
                <a:gd name="T16" fmla="*/ 2147483647 w 201"/>
                <a:gd name="T17" fmla="*/ 0 h 216"/>
                <a:gd name="T18" fmla="*/ 2147483647 w 201"/>
                <a:gd name="T19" fmla="*/ 0 h 216"/>
                <a:gd name="T20" fmla="*/ 2147483647 w 201"/>
                <a:gd name="T21" fmla="*/ 0 h 216"/>
                <a:gd name="T22" fmla="*/ 2147483647 w 201"/>
                <a:gd name="T23" fmla="*/ 2147483647 h 216"/>
                <a:gd name="T24" fmla="*/ 2147483647 w 201"/>
                <a:gd name="T25" fmla="*/ 2147483647 h 216"/>
                <a:gd name="T26" fmla="*/ 2147483647 w 201"/>
                <a:gd name="T27" fmla="*/ 2147483647 h 216"/>
                <a:gd name="T28" fmla="*/ 2147483647 w 201"/>
                <a:gd name="T29" fmla="*/ 2147483647 h 216"/>
                <a:gd name="T30" fmla="*/ 2147483647 w 201"/>
                <a:gd name="T31" fmla="*/ 2147483647 h 216"/>
                <a:gd name="T32" fmla="*/ 2147483647 w 201"/>
                <a:gd name="T33" fmla="*/ 2147483647 h 216"/>
                <a:gd name="T34" fmla="*/ 2147483647 w 201"/>
                <a:gd name="T35" fmla="*/ 2147483647 h 216"/>
                <a:gd name="T36" fmla="*/ 2147483647 w 201"/>
                <a:gd name="T37" fmla="*/ 2147483647 h 216"/>
                <a:gd name="T38" fmla="*/ 2147483647 w 201"/>
                <a:gd name="T39" fmla="*/ 2147483647 h 216"/>
                <a:gd name="T40" fmla="*/ 2147483647 w 201"/>
                <a:gd name="T41" fmla="*/ 2147483647 h 216"/>
                <a:gd name="T42" fmla="*/ 2147483647 w 201"/>
                <a:gd name="T43" fmla="*/ 2147483647 h 216"/>
                <a:gd name="T44" fmla="*/ 2147483647 w 201"/>
                <a:gd name="T45" fmla="*/ 2147483647 h 216"/>
                <a:gd name="T46" fmla="*/ 2147483647 w 201"/>
                <a:gd name="T47" fmla="*/ 2147483647 h 216"/>
                <a:gd name="T48" fmla="*/ 2147483647 w 201"/>
                <a:gd name="T49" fmla="*/ 2147483647 h 216"/>
                <a:gd name="T50" fmla="*/ 2147483647 w 201"/>
                <a:gd name="T51" fmla="*/ 2147483647 h 216"/>
                <a:gd name="T52" fmla="*/ 2147483647 w 201"/>
                <a:gd name="T53" fmla="*/ 2147483647 h 216"/>
                <a:gd name="T54" fmla="*/ 2147483647 w 201"/>
                <a:gd name="T55" fmla="*/ 2147483647 h 216"/>
                <a:gd name="T56" fmla="*/ 2147483647 w 201"/>
                <a:gd name="T57" fmla="*/ 2147483647 h 216"/>
                <a:gd name="T58" fmla="*/ 2147483647 w 201"/>
                <a:gd name="T59" fmla="*/ 2147483647 h 216"/>
                <a:gd name="T60" fmla="*/ 0 w 201"/>
                <a:gd name="T61" fmla="*/ 2147483647 h 216"/>
                <a:gd name="T62" fmla="*/ 0 w 201"/>
                <a:gd name="T63" fmla="*/ 2147483647 h 216"/>
                <a:gd name="T64" fmla="*/ 0 w 201"/>
                <a:gd name="T65" fmla="*/ 2147483647 h 216"/>
                <a:gd name="T66" fmla="*/ 0 w 201"/>
                <a:gd name="T67" fmla="*/ 2147483647 h 216"/>
                <a:gd name="T68" fmla="*/ 0 w 201"/>
                <a:gd name="T69" fmla="*/ 0 h 21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01"/>
                <a:gd name="T106" fmla="*/ 0 h 216"/>
                <a:gd name="T107" fmla="*/ 201 w 201"/>
                <a:gd name="T108" fmla="*/ 216 h 21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01" h="216">
                  <a:moveTo>
                    <a:pt x="2" y="0"/>
                  </a:moveTo>
                  <a:lnTo>
                    <a:pt x="4" y="4"/>
                  </a:lnTo>
                  <a:lnTo>
                    <a:pt x="13" y="6"/>
                  </a:lnTo>
                  <a:lnTo>
                    <a:pt x="20" y="11"/>
                  </a:lnTo>
                  <a:lnTo>
                    <a:pt x="26" y="7"/>
                  </a:lnTo>
                  <a:lnTo>
                    <a:pt x="30" y="7"/>
                  </a:lnTo>
                  <a:lnTo>
                    <a:pt x="43" y="13"/>
                  </a:lnTo>
                  <a:lnTo>
                    <a:pt x="68" y="32"/>
                  </a:lnTo>
                  <a:lnTo>
                    <a:pt x="100" y="36"/>
                  </a:lnTo>
                  <a:lnTo>
                    <a:pt x="105" y="36"/>
                  </a:lnTo>
                  <a:lnTo>
                    <a:pt x="116" y="28"/>
                  </a:lnTo>
                  <a:lnTo>
                    <a:pt x="127" y="23"/>
                  </a:lnTo>
                  <a:lnTo>
                    <a:pt x="137" y="24"/>
                  </a:lnTo>
                  <a:lnTo>
                    <a:pt x="148" y="22"/>
                  </a:lnTo>
                  <a:lnTo>
                    <a:pt x="159" y="11"/>
                  </a:lnTo>
                  <a:lnTo>
                    <a:pt x="165" y="13"/>
                  </a:lnTo>
                  <a:lnTo>
                    <a:pt x="172" y="16"/>
                  </a:lnTo>
                  <a:lnTo>
                    <a:pt x="176" y="7"/>
                  </a:lnTo>
                  <a:lnTo>
                    <a:pt x="185" y="11"/>
                  </a:lnTo>
                  <a:lnTo>
                    <a:pt x="193" y="22"/>
                  </a:lnTo>
                  <a:lnTo>
                    <a:pt x="197" y="44"/>
                  </a:lnTo>
                  <a:lnTo>
                    <a:pt x="198" y="54"/>
                  </a:lnTo>
                  <a:lnTo>
                    <a:pt x="196" y="65"/>
                  </a:lnTo>
                  <a:lnTo>
                    <a:pt x="196" y="85"/>
                  </a:lnTo>
                  <a:lnTo>
                    <a:pt x="198" y="103"/>
                  </a:lnTo>
                  <a:lnTo>
                    <a:pt x="201" y="109"/>
                  </a:lnTo>
                  <a:lnTo>
                    <a:pt x="198" y="122"/>
                  </a:lnTo>
                  <a:lnTo>
                    <a:pt x="198" y="112"/>
                  </a:lnTo>
                  <a:lnTo>
                    <a:pt x="197" y="102"/>
                  </a:lnTo>
                  <a:lnTo>
                    <a:pt x="194" y="94"/>
                  </a:lnTo>
                  <a:lnTo>
                    <a:pt x="192" y="101"/>
                  </a:lnTo>
                  <a:lnTo>
                    <a:pt x="182" y="119"/>
                  </a:lnTo>
                  <a:lnTo>
                    <a:pt x="182" y="134"/>
                  </a:lnTo>
                  <a:lnTo>
                    <a:pt x="177" y="135"/>
                  </a:lnTo>
                  <a:lnTo>
                    <a:pt x="177" y="153"/>
                  </a:lnTo>
                  <a:lnTo>
                    <a:pt x="172" y="157"/>
                  </a:lnTo>
                  <a:lnTo>
                    <a:pt x="166" y="157"/>
                  </a:lnTo>
                  <a:lnTo>
                    <a:pt x="156" y="155"/>
                  </a:lnTo>
                  <a:lnTo>
                    <a:pt x="154" y="158"/>
                  </a:lnTo>
                  <a:lnTo>
                    <a:pt x="154" y="167"/>
                  </a:lnTo>
                  <a:lnTo>
                    <a:pt x="150" y="176"/>
                  </a:lnTo>
                  <a:lnTo>
                    <a:pt x="143" y="179"/>
                  </a:lnTo>
                  <a:lnTo>
                    <a:pt x="140" y="190"/>
                  </a:lnTo>
                  <a:lnTo>
                    <a:pt x="137" y="184"/>
                  </a:lnTo>
                  <a:lnTo>
                    <a:pt x="131" y="182"/>
                  </a:lnTo>
                  <a:lnTo>
                    <a:pt x="127" y="187"/>
                  </a:lnTo>
                  <a:lnTo>
                    <a:pt x="124" y="198"/>
                  </a:lnTo>
                  <a:lnTo>
                    <a:pt x="124" y="206"/>
                  </a:lnTo>
                  <a:lnTo>
                    <a:pt x="117" y="215"/>
                  </a:lnTo>
                  <a:lnTo>
                    <a:pt x="111" y="216"/>
                  </a:lnTo>
                  <a:lnTo>
                    <a:pt x="105" y="211"/>
                  </a:lnTo>
                  <a:lnTo>
                    <a:pt x="99" y="209"/>
                  </a:lnTo>
                  <a:lnTo>
                    <a:pt x="94" y="212"/>
                  </a:lnTo>
                  <a:lnTo>
                    <a:pt x="83" y="208"/>
                  </a:lnTo>
                  <a:lnTo>
                    <a:pt x="73" y="208"/>
                  </a:lnTo>
                  <a:lnTo>
                    <a:pt x="69" y="201"/>
                  </a:lnTo>
                  <a:lnTo>
                    <a:pt x="77" y="200"/>
                  </a:lnTo>
                  <a:lnTo>
                    <a:pt x="80" y="193"/>
                  </a:lnTo>
                  <a:lnTo>
                    <a:pt x="70" y="193"/>
                  </a:lnTo>
                  <a:lnTo>
                    <a:pt x="62" y="188"/>
                  </a:lnTo>
                  <a:lnTo>
                    <a:pt x="49" y="165"/>
                  </a:lnTo>
                  <a:lnTo>
                    <a:pt x="41" y="157"/>
                  </a:lnTo>
                  <a:lnTo>
                    <a:pt x="37" y="151"/>
                  </a:lnTo>
                  <a:lnTo>
                    <a:pt x="25" y="107"/>
                  </a:lnTo>
                  <a:lnTo>
                    <a:pt x="37" y="129"/>
                  </a:lnTo>
                  <a:lnTo>
                    <a:pt x="45" y="118"/>
                  </a:lnTo>
                  <a:lnTo>
                    <a:pt x="37" y="113"/>
                  </a:lnTo>
                  <a:lnTo>
                    <a:pt x="25" y="92"/>
                  </a:lnTo>
                  <a:lnTo>
                    <a:pt x="0" y="39"/>
                  </a:lnTo>
                  <a:lnTo>
                    <a:pt x="2" y="24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59" name="Freeform 55">
              <a:extLst>
                <a:ext uri="{FF2B5EF4-FFF2-40B4-BE49-F238E27FC236}">
                  <a16:creationId xmlns:a16="http://schemas.microsoft.com/office/drawing/2014/main" id="{B47F9EB8-893D-926B-B4F8-5CF6C6DE811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0641192" y="5720413"/>
              <a:ext cx="226836" cy="263690"/>
            </a:xfrm>
            <a:custGeom>
              <a:avLst/>
              <a:gdLst>
                <a:gd name="T0" fmla="*/ 2147483647 w 424"/>
                <a:gd name="T1" fmla="*/ 0 h 463"/>
                <a:gd name="T2" fmla="*/ 2147483647 w 424"/>
                <a:gd name="T3" fmla="*/ 0 h 463"/>
                <a:gd name="T4" fmla="*/ 2147483647 w 424"/>
                <a:gd name="T5" fmla="*/ 0 h 463"/>
                <a:gd name="T6" fmla="*/ 2147483647 w 424"/>
                <a:gd name="T7" fmla="*/ 0 h 463"/>
                <a:gd name="T8" fmla="*/ 2147483647 w 424"/>
                <a:gd name="T9" fmla="*/ 0 h 463"/>
                <a:gd name="T10" fmla="*/ 2147483647 w 424"/>
                <a:gd name="T11" fmla="*/ 0 h 463"/>
                <a:gd name="T12" fmla="*/ 2147483647 w 424"/>
                <a:gd name="T13" fmla="*/ 0 h 463"/>
                <a:gd name="T14" fmla="*/ 2147483647 w 424"/>
                <a:gd name="T15" fmla="*/ 0 h 463"/>
                <a:gd name="T16" fmla="*/ 2147483647 w 424"/>
                <a:gd name="T17" fmla="*/ 0 h 463"/>
                <a:gd name="T18" fmla="*/ 2147483647 w 424"/>
                <a:gd name="T19" fmla="*/ 2147483647 h 463"/>
                <a:gd name="T20" fmla="*/ 2147483647 w 424"/>
                <a:gd name="T21" fmla="*/ 2147483647 h 463"/>
                <a:gd name="T22" fmla="*/ 2147483647 w 424"/>
                <a:gd name="T23" fmla="*/ 2147483647 h 463"/>
                <a:gd name="T24" fmla="*/ 2147483647 w 424"/>
                <a:gd name="T25" fmla="*/ 2147483647 h 463"/>
                <a:gd name="T26" fmla="*/ 2147483647 w 424"/>
                <a:gd name="T27" fmla="*/ 2147483647 h 463"/>
                <a:gd name="T28" fmla="*/ 2147483647 w 424"/>
                <a:gd name="T29" fmla="*/ 2147483647 h 463"/>
                <a:gd name="T30" fmla="*/ 2147483647 w 424"/>
                <a:gd name="T31" fmla="*/ 2147483647 h 463"/>
                <a:gd name="T32" fmla="*/ 2147483647 w 424"/>
                <a:gd name="T33" fmla="*/ 2147483647 h 463"/>
                <a:gd name="T34" fmla="*/ 2147483647 w 424"/>
                <a:gd name="T35" fmla="*/ 2147483647 h 463"/>
                <a:gd name="T36" fmla="*/ 2147483647 w 424"/>
                <a:gd name="T37" fmla="*/ 2147483647 h 463"/>
                <a:gd name="T38" fmla="*/ 2147483647 w 424"/>
                <a:gd name="T39" fmla="*/ 2147483647 h 463"/>
                <a:gd name="T40" fmla="*/ 2147483647 w 424"/>
                <a:gd name="T41" fmla="*/ 2147483647 h 463"/>
                <a:gd name="T42" fmla="*/ 2147483647 w 424"/>
                <a:gd name="T43" fmla="*/ 2147483647 h 463"/>
                <a:gd name="T44" fmla="*/ 2147483647 w 424"/>
                <a:gd name="T45" fmla="*/ 2147483647 h 463"/>
                <a:gd name="T46" fmla="*/ 2147483647 w 424"/>
                <a:gd name="T47" fmla="*/ 2147483647 h 463"/>
                <a:gd name="T48" fmla="*/ 2147483647 w 424"/>
                <a:gd name="T49" fmla="*/ 2147483647 h 463"/>
                <a:gd name="T50" fmla="*/ 2147483647 w 424"/>
                <a:gd name="T51" fmla="*/ 2147483647 h 463"/>
                <a:gd name="T52" fmla="*/ 2147483647 w 424"/>
                <a:gd name="T53" fmla="*/ 2147483647 h 463"/>
                <a:gd name="T54" fmla="*/ 2147483647 w 424"/>
                <a:gd name="T55" fmla="*/ 2147483647 h 463"/>
                <a:gd name="T56" fmla="*/ 2147483647 w 424"/>
                <a:gd name="T57" fmla="*/ 2147483647 h 463"/>
                <a:gd name="T58" fmla="*/ 0 w 424"/>
                <a:gd name="T59" fmla="*/ 2147483647 h 463"/>
                <a:gd name="T60" fmla="*/ 0 w 424"/>
                <a:gd name="T61" fmla="*/ 2147483647 h 463"/>
                <a:gd name="T62" fmla="*/ 0 w 424"/>
                <a:gd name="T63" fmla="*/ 2147483647 h 463"/>
                <a:gd name="T64" fmla="*/ 0 w 424"/>
                <a:gd name="T65" fmla="*/ 2147483647 h 463"/>
                <a:gd name="T66" fmla="*/ 0 w 424"/>
                <a:gd name="T67" fmla="*/ 2147483647 h 463"/>
                <a:gd name="T68" fmla="*/ 0 w 424"/>
                <a:gd name="T69" fmla="*/ 2147483647 h 463"/>
                <a:gd name="T70" fmla="*/ 0 w 424"/>
                <a:gd name="T71" fmla="*/ 2147483647 h 463"/>
                <a:gd name="T72" fmla="*/ 0 w 424"/>
                <a:gd name="T73" fmla="*/ 2147483647 h 463"/>
                <a:gd name="T74" fmla="*/ 0 w 424"/>
                <a:gd name="T75" fmla="*/ 2147483647 h 463"/>
                <a:gd name="T76" fmla="*/ 0 w 424"/>
                <a:gd name="T77" fmla="*/ 2147483647 h 463"/>
                <a:gd name="T78" fmla="*/ 2147483647 w 424"/>
                <a:gd name="T79" fmla="*/ 2147483647 h 463"/>
                <a:gd name="T80" fmla="*/ 2147483647 w 424"/>
                <a:gd name="T81" fmla="*/ 2147483647 h 463"/>
                <a:gd name="T82" fmla="*/ 2147483647 w 424"/>
                <a:gd name="T83" fmla="*/ 2147483647 h 463"/>
                <a:gd name="T84" fmla="*/ 2147483647 w 424"/>
                <a:gd name="T85" fmla="*/ 2147483647 h 463"/>
                <a:gd name="T86" fmla="*/ 2147483647 w 424"/>
                <a:gd name="T87" fmla="*/ 2147483647 h 463"/>
                <a:gd name="T88" fmla="*/ 2147483647 w 424"/>
                <a:gd name="T89" fmla="*/ 2147483647 h 463"/>
                <a:gd name="T90" fmla="*/ 2147483647 w 424"/>
                <a:gd name="T91" fmla="*/ 2147483647 h 463"/>
                <a:gd name="T92" fmla="*/ 2147483647 w 424"/>
                <a:gd name="T93" fmla="*/ 2147483647 h 463"/>
                <a:gd name="T94" fmla="*/ 2147483647 w 424"/>
                <a:gd name="T95" fmla="*/ 2147483647 h 463"/>
                <a:gd name="T96" fmla="*/ 2147483647 w 424"/>
                <a:gd name="T97" fmla="*/ 0 h 46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24"/>
                <a:gd name="T148" fmla="*/ 0 h 463"/>
                <a:gd name="T149" fmla="*/ 424 w 424"/>
                <a:gd name="T150" fmla="*/ 463 h 46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24" h="463">
                  <a:moveTo>
                    <a:pt x="308" y="34"/>
                  </a:moveTo>
                  <a:lnTo>
                    <a:pt x="310" y="35"/>
                  </a:lnTo>
                  <a:lnTo>
                    <a:pt x="311" y="20"/>
                  </a:lnTo>
                  <a:lnTo>
                    <a:pt x="319" y="16"/>
                  </a:lnTo>
                  <a:lnTo>
                    <a:pt x="327" y="6"/>
                  </a:lnTo>
                  <a:lnTo>
                    <a:pt x="331" y="6"/>
                  </a:lnTo>
                  <a:lnTo>
                    <a:pt x="333" y="2"/>
                  </a:lnTo>
                  <a:lnTo>
                    <a:pt x="337" y="0"/>
                  </a:lnTo>
                  <a:lnTo>
                    <a:pt x="340" y="3"/>
                  </a:lnTo>
                  <a:lnTo>
                    <a:pt x="340" y="14"/>
                  </a:lnTo>
                  <a:lnTo>
                    <a:pt x="343" y="20"/>
                  </a:lnTo>
                  <a:lnTo>
                    <a:pt x="349" y="22"/>
                  </a:lnTo>
                  <a:lnTo>
                    <a:pt x="354" y="22"/>
                  </a:lnTo>
                  <a:lnTo>
                    <a:pt x="358" y="28"/>
                  </a:lnTo>
                  <a:lnTo>
                    <a:pt x="358" y="45"/>
                  </a:lnTo>
                  <a:lnTo>
                    <a:pt x="362" y="51"/>
                  </a:lnTo>
                  <a:lnTo>
                    <a:pt x="368" y="55"/>
                  </a:lnTo>
                  <a:lnTo>
                    <a:pt x="381" y="44"/>
                  </a:lnTo>
                  <a:lnTo>
                    <a:pt x="387" y="41"/>
                  </a:lnTo>
                  <a:lnTo>
                    <a:pt x="391" y="35"/>
                  </a:lnTo>
                  <a:lnTo>
                    <a:pt x="401" y="29"/>
                  </a:lnTo>
                  <a:lnTo>
                    <a:pt x="406" y="28"/>
                  </a:lnTo>
                  <a:lnTo>
                    <a:pt x="407" y="29"/>
                  </a:lnTo>
                  <a:lnTo>
                    <a:pt x="402" y="35"/>
                  </a:lnTo>
                  <a:lnTo>
                    <a:pt x="403" y="36"/>
                  </a:lnTo>
                  <a:lnTo>
                    <a:pt x="405" y="44"/>
                  </a:lnTo>
                  <a:lnTo>
                    <a:pt x="401" y="54"/>
                  </a:lnTo>
                  <a:lnTo>
                    <a:pt x="411" y="47"/>
                  </a:lnTo>
                  <a:lnTo>
                    <a:pt x="408" y="43"/>
                  </a:lnTo>
                  <a:lnTo>
                    <a:pt x="413" y="34"/>
                  </a:lnTo>
                  <a:lnTo>
                    <a:pt x="418" y="33"/>
                  </a:lnTo>
                  <a:lnTo>
                    <a:pt x="423" y="40"/>
                  </a:lnTo>
                  <a:lnTo>
                    <a:pt x="414" y="51"/>
                  </a:lnTo>
                  <a:lnTo>
                    <a:pt x="418" y="51"/>
                  </a:lnTo>
                  <a:lnTo>
                    <a:pt x="422" y="57"/>
                  </a:lnTo>
                  <a:lnTo>
                    <a:pt x="417" y="68"/>
                  </a:lnTo>
                  <a:lnTo>
                    <a:pt x="424" y="87"/>
                  </a:lnTo>
                  <a:lnTo>
                    <a:pt x="422" y="93"/>
                  </a:lnTo>
                  <a:lnTo>
                    <a:pt x="413" y="106"/>
                  </a:lnTo>
                  <a:lnTo>
                    <a:pt x="411" y="114"/>
                  </a:lnTo>
                  <a:lnTo>
                    <a:pt x="405" y="124"/>
                  </a:lnTo>
                  <a:lnTo>
                    <a:pt x="398" y="125"/>
                  </a:lnTo>
                  <a:lnTo>
                    <a:pt x="397" y="129"/>
                  </a:lnTo>
                  <a:lnTo>
                    <a:pt x="387" y="141"/>
                  </a:lnTo>
                  <a:lnTo>
                    <a:pt x="375" y="168"/>
                  </a:lnTo>
                  <a:lnTo>
                    <a:pt x="369" y="174"/>
                  </a:lnTo>
                  <a:lnTo>
                    <a:pt x="365" y="175"/>
                  </a:lnTo>
                  <a:lnTo>
                    <a:pt x="362" y="180"/>
                  </a:lnTo>
                  <a:lnTo>
                    <a:pt x="349" y="189"/>
                  </a:lnTo>
                  <a:lnTo>
                    <a:pt x="347" y="192"/>
                  </a:lnTo>
                  <a:lnTo>
                    <a:pt x="344" y="217"/>
                  </a:lnTo>
                  <a:lnTo>
                    <a:pt x="342" y="228"/>
                  </a:lnTo>
                  <a:lnTo>
                    <a:pt x="352" y="230"/>
                  </a:lnTo>
                  <a:lnTo>
                    <a:pt x="359" y="234"/>
                  </a:lnTo>
                  <a:lnTo>
                    <a:pt x="362" y="243"/>
                  </a:lnTo>
                  <a:lnTo>
                    <a:pt x="360" y="246"/>
                  </a:lnTo>
                  <a:lnTo>
                    <a:pt x="356" y="240"/>
                  </a:lnTo>
                  <a:lnTo>
                    <a:pt x="354" y="246"/>
                  </a:lnTo>
                  <a:lnTo>
                    <a:pt x="333" y="239"/>
                  </a:lnTo>
                  <a:lnTo>
                    <a:pt x="326" y="235"/>
                  </a:lnTo>
                  <a:lnTo>
                    <a:pt x="324" y="237"/>
                  </a:lnTo>
                  <a:lnTo>
                    <a:pt x="324" y="244"/>
                  </a:lnTo>
                  <a:lnTo>
                    <a:pt x="320" y="248"/>
                  </a:lnTo>
                  <a:lnTo>
                    <a:pt x="316" y="244"/>
                  </a:lnTo>
                  <a:lnTo>
                    <a:pt x="313" y="243"/>
                  </a:lnTo>
                  <a:lnTo>
                    <a:pt x="310" y="249"/>
                  </a:lnTo>
                  <a:lnTo>
                    <a:pt x="295" y="256"/>
                  </a:lnTo>
                  <a:lnTo>
                    <a:pt x="287" y="262"/>
                  </a:lnTo>
                  <a:lnTo>
                    <a:pt x="282" y="262"/>
                  </a:lnTo>
                  <a:lnTo>
                    <a:pt x="279" y="256"/>
                  </a:lnTo>
                  <a:lnTo>
                    <a:pt x="274" y="256"/>
                  </a:lnTo>
                  <a:lnTo>
                    <a:pt x="274" y="265"/>
                  </a:lnTo>
                  <a:lnTo>
                    <a:pt x="272" y="277"/>
                  </a:lnTo>
                  <a:lnTo>
                    <a:pt x="265" y="289"/>
                  </a:lnTo>
                  <a:lnTo>
                    <a:pt x="263" y="302"/>
                  </a:lnTo>
                  <a:lnTo>
                    <a:pt x="262" y="320"/>
                  </a:lnTo>
                  <a:lnTo>
                    <a:pt x="256" y="324"/>
                  </a:lnTo>
                  <a:lnTo>
                    <a:pt x="257" y="336"/>
                  </a:lnTo>
                  <a:lnTo>
                    <a:pt x="247" y="347"/>
                  </a:lnTo>
                  <a:lnTo>
                    <a:pt x="245" y="361"/>
                  </a:lnTo>
                  <a:lnTo>
                    <a:pt x="245" y="369"/>
                  </a:lnTo>
                  <a:lnTo>
                    <a:pt x="239" y="379"/>
                  </a:lnTo>
                  <a:lnTo>
                    <a:pt x="233" y="385"/>
                  </a:lnTo>
                  <a:lnTo>
                    <a:pt x="231" y="390"/>
                  </a:lnTo>
                  <a:lnTo>
                    <a:pt x="231" y="398"/>
                  </a:lnTo>
                  <a:lnTo>
                    <a:pt x="228" y="401"/>
                  </a:lnTo>
                  <a:lnTo>
                    <a:pt x="233" y="402"/>
                  </a:lnTo>
                  <a:lnTo>
                    <a:pt x="230" y="410"/>
                  </a:lnTo>
                  <a:lnTo>
                    <a:pt x="223" y="409"/>
                  </a:lnTo>
                  <a:lnTo>
                    <a:pt x="214" y="415"/>
                  </a:lnTo>
                  <a:lnTo>
                    <a:pt x="204" y="428"/>
                  </a:lnTo>
                  <a:lnTo>
                    <a:pt x="190" y="434"/>
                  </a:lnTo>
                  <a:lnTo>
                    <a:pt x="185" y="437"/>
                  </a:lnTo>
                  <a:lnTo>
                    <a:pt x="185" y="441"/>
                  </a:lnTo>
                  <a:lnTo>
                    <a:pt x="180" y="443"/>
                  </a:lnTo>
                  <a:lnTo>
                    <a:pt x="177" y="449"/>
                  </a:lnTo>
                  <a:lnTo>
                    <a:pt x="172" y="453"/>
                  </a:lnTo>
                  <a:lnTo>
                    <a:pt x="153" y="459"/>
                  </a:lnTo>
                  <a:lnTo>
                    <a:pt x="149" y="459"/>
                  </a:lnTo>
                  <a:lnTo>
                    <a:pt x="138" y="463"/>
                  </a:lnTo>
                  <a:lnTo>
                    <a:pt x="132" y="459"/>
                  </a:lnTo>
                  <a:lnTo>
                    <a:pt x="129" y="452"/>
                  </a:lnTo>
                  <a:lnTo>
                    <a:pt x="126" y="450"/>
                  </a:lnTo>
                  <a:lnTo>
                    <a:pt x="120" y="454"/>
                  </a:lnTo>
                  <a:lnTo>
                    <a:pt x="114" y="455"/>
                  </a:lnTo>
                  <a:lnTo>
                    <a:pt x="110" y="454"/>
                  </a:lnTo>
                  <a:lnTo>
                    <a:pt x="110" y="453"/>
                  </a:lnTo>
                  <a:lnTo>
                    <a:pt x="104" y="454"/>
                  </a:lnTo>
                  <a:lnTo>
                    <a:pt x="102" y="449"/>
                  </a:lnTo>
                  <a:lnTo>
                    <a:pt x="102" y="443"/>
                  </a:lnTo>
                  <a:lnTo>
                    <a:pt x="98" y="444"/>
                  </a:lnTo>
                  <a:lnTo>
                    <a:pt x="91" y="441"/>
                  </a:lnTo>
                  <a:lnTo>
                    <a:pt x="73" y="439"/>
                  </a:lnTo>
                  <a:lnTo>
                    <a:pt x="69" y="427"/>
                  </a:lnTo>
                  <a:lnTo>
                    <a:pt x="64" y="422"/>
                  </a:lnTo>
                  <a:lnTo>
                    <a:pt x="55" y="421"/>
                  </a:lnTo>
                  <a:lnTo>
                    <a:pt x="47" y="428"/>
                  </a:lnTo>
                  <a:lnTo>
                    <a:pt x="39" y="429"/>
                  </a:lnTo>
                  <a:lnTo>
                    <a:pt x="18" y="427"/>
                  </a:lnTo>
                  <a:lnTo>
                    <a:pt x="12" y="422"/>
                  </a:lnTo>
                  <a:lnTo>
                    <a:pt x="15" y="415"/>
                  </a:lnTo>
                  <a:lnTo>
                    <a:pt x="20" y="409"/>
                  </a:lnTo>
                  <a:lnTo>
                    <a:pt x="24" y="402"/>
                  </a:lnTo>
                  <a:lnTo>
                    <a:pt x="13" y="413"/>
                  </a:lnTo>
                  <a:lnTo>
                    <a:pt x="9" y="413"/>
                  </a:lnTo>
                  <a:lnTo>
                    <a:pt x="14" y="402"/>
                  </a:lnTo>
                  <a:lnTo>
                    <a:pt x="14" y="401"/>
                  </a:lnTo>
                  <a:lnTo>
                    <a:pt x="9" y="405"/>
                  </a:lnTo>
                  <a:lnTo>
                    <a:pt x="3" y="406"/>
                  </a:lnTo>
                  <a:lnTo>
                    <a:pt x="0" y="400"/>
                  </a:lnTo>
                  <a:lnTo>
                    <a:pt x="4" y="395"/>
                  </a:lnTo>
                  <a:lnTo>
                    <a:pt x="16" y="391"/>
                  </a:lnTo>
                  <a:lnTo>
                    <a:pt x="24" y="385"/>
                  </a:lnTo>
                  <a:lnTo>
                    <a:pt x="21" y="385"/>
                  </a:lnTo>
                  <a:lnTo>
                    <a:pt x="19" y="383"/>
                  </a:lnTo>
                  <a:lnTo>
                    <a:pt x="24" y="379"/>
                  </a:lnTo>
                  <a:lnTo>
                    <a:pt x="26" y="373"/>
                  </a:lnTo>
                  <a:lnTo>
                    <a:pt x="21" y="373"/>
                  </a:lnTo>
                  <a:lnTo>
                    <a:pt x="16" y="372"/>
                  </a:lnTo>
                  <a:lnTo>
                    <a:pt x="15" y="366"/>
                  </a:lnTo>
                  <a:lnTo>
                    <a:pt x="21" y="366"/>
                  </a:lnTo>
                  <a:lnTo>
                    <a:pt x="25" y="361"/>
                  </a:lnTo>
                  <a:lnTo>
                    <a:pt x="21" y="358"/>
                  </a:lnTo>
                  <a:lnTo>
                    <a:pt x="21" y="353"/>
                  </a:lnTo>
                  <a:lnTo>
                    <a:pt x="26" y="353"/>
                  </a:lnTo>
                  <a:lnTo>
                    <a:pt x="29" y="357"/>
                  </a:lnTo>
                  <a:lnTo>
                    <a:pt x="34" y="355"/>
                  </a:lnTo>
                  <a:lnTo>
                    <a:pt x="37" y="356"/>
                  </a:lnTo>
                  <a:lnTo>
                    <a:pt x="40" y="353"/>
                  </a:lnTo>
                  <a:lnTo>
                    <a:pt x="40" y="351"/>
                  </a:lnTo>
                  <a:lnTo>
                    <a:pt x="35" y="351"/>
                  </a:lnTo>
                  <a:lnTo>
                    <a:pt x="31" y="347"/>
                  </a:lnTo>
                  <a:lnTo>
                    <a:pt x="35" y="329"/>
                  </a:lnTo>
                  <a:lnTo>
                    <a:pt x="42" y="323"/>
                  </a:lnTo>
                  <a:lnTo>
                    <a:pt x="45" y="321"/>
                  </a:lnTo>
                  <a:lnTo>
                    <a:pt x="47" y="325"/>
                  </a:lnTo>
                  <a:lnTo>
                    <a:pt x="48" y="331"/>
                  </a:lnTo>
                  <a:lnTo>
                    <a:pt x="51" y="332"/>
                  </a:lnTo>
                  <a:lnTo>
                    <a:pt x="53" y="332"/>
                  </a:lnTo>
                  <a:lnTo>
                    <a:pt x="56" y="329"/>
                  </a:lnTo>
                  <a:lnTo>
                    <a:pt x="53" y="319"/>
                  </a:lnTo>
                  <a:lnTo>
                    <a:pt x="55" y="315"/>
                  </a:lnTo>
                  <a:lnTo>
                    <a:pt x="58" y="314"/>
                  </a:lnTo>
                  <a:lnTo>
                    <a:pt x="61" y="304"/>
                  </a:lnTo>
                  <a:lnTo>
                    <a:pt x="69" y="302"/>
                  </a:lnTo>
                  <a:lnTo>
                    <a:pt x="75" y="296"/>
                  </a:lnTo>
                  <a:lnTo>
                    <a:pt x="77" y="286"/>
                  </a:lnTo>
                  <a:lnTo>
                    <a:pt x="82" y="278"/>
                  </a:lnTo>
                  <a:lnTo>
                    <a:pt x="89" y="275"/>
                  </a:lnTo>
                  <a:lnTo>
                    <a:pt x="93" y="260"/>
                  </a:lnTo>
                  <a:lnTo>
                    <a:pt x="96" y="260"/>
                  </a:lnTo>
                  <a:lnTo>
                    <a:pt x="102" y="255"/>
                  </a:lnTo>
                  <a:lnTo>
                    <a:pt x="109" y="255"/>
                  </a:lnTo>
                  <a:lnTo>
                    <a:pt x="116" y="251"/>
                  </a:lnTo>
                  <a:lnTo>
                    <a:pt x="123" y="251"/>
                  </a:lnTo>
                  <a:lnTo>
                    <a:pt x="133" y="249"/>
                  </a:lnTo>
                  <a:lnTo>
                    <a:pt x="141" y="244"/>
                  </a:lnTo>
                  <a:lnTo>
                    <a:pt x="154" y="232"/>
                  </a:lnTo>
                  <a:lnTo>
                    <a:pt x="169" y="223"/>
                  </a:lnTo>
                  <a:lnTo>
                    <a:pt x="187" y="208"/>
                  </a:lnTo>
                  <a:lnTo>
                    <a:pt x="201" y="200"/>
                  </a:lnTo>
                  <a:lnTo>
                    <a:pt x="202" y="191"/>
                  </a:lnTo>
                  <a:lnTo>
                    <a:pt x="213" y="181"/>
                  </a:lnTo>
                  <a:lnTo>
                    <a:pt x="219" y="178"/>
                  </a:lnTo>
                  <a:lnTo>
                    <a:pt x="225" y="178"/>
                  </a:lnTo>
                  <a:lnTo>
                    <a:pt x="235" y="170"/>
                  </a:lnTo>
                  <a:lnTo>
                    <a:pt x="241" y="164"/>
                  </a:lnTo>
                  <a:lnTo>
                    <a:pt x="256" y="144"/>
                  </a:lnTo>
                  <a:lnTo>
                    <a:pt x="261" y="126"/>
                  </a:lnTo>
                  <a:lnTo>
                    <a:pt x="265" y="105"/>
                  </a:lnTo>
                  <a:lnTo>
                    <a:pt x="270" y="93"/>
                  </a:lnTo>
                  <a:lnTo>
                    <a:pt x="288" y="81"/>
                  </a:lnTo>
                  <a:lnTo>
                    <a:pt x="294" y="78"/>
                  </a:lnTo>
                  <a:lnTo>
                    <a:pt x="298" y="72"/>
                  </a:lnTo>
                  <a:lnTo>
                    <a:pt x="304" y="60"/>
                  </a:lnTo>
                  <a:lnTo>
                    <a:pt x="308" y="3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60" name="Freeform 56">
              <a:extLst>
                <a:ext uri="{FF2B5EF4-FFF2-40B4-BE49-F238E27FC236}">
                  <a16:creationId xmlns:a16="http://schemas.microsoft.com/office/drawing/2014/main" id="{9E565E23-CB24-5AAE-BC5B-6C05D2CA1FA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0823258" y="5479586"/>
              <a:ext cx="167142" cy="281981"/>
            </a:xfrm>
            <a:custGeom>
              <a:avLst/>
              <a:gdLst>
                <a:gd name="T0" fmla="*/ 2147483647 w 313"/>
                <a:gd name="T1" fmla="*/ 2147483647 h 495"/>
                <a:gd name="T2" fmla="*/ 2147483647 w 313"/>
                <a:gd name="T3" fmla="*/ 2147483647 h 495"/>
                <a:gd name="T4" fmla="*/ 2147483647 w 313"/>
                <a:gd name="T5" fmla="*/ 2147483647 h 495"/>
                <a:gd name="T6" fmla="*/ 2147483647 w 313"/>
                <a:gd name="T7" fmla="*/ 2147483647 h 495"/>
                <a:gd name="T8" fmla="*/ 2147483647 w 313"/>
                <a:gd name="T9" fmla="*/ 2147483647 h 495"/>
                <a:gd name="T10" fmla="*/ 2147483647 w 313"/>
                <a:gd name="T11" fmla="*/ 2147483647 h 495"/>
                <a:gd name="T12" fmla="*/ 2147483647 w 313"/>
                <a:gd name="T13" fmla="*/ 2147483647 h 495"/>
                <a:gd name="T14" fmla="*/ 2147483647 w 313"/>
                <a:gd name="T15" fmla="*/ 2147483647 h 495"/>
                <a:gd name="T16" fmla="*/ 2147483647 w 313"/>
                <a:gd name="T17" fmla="*/ 2147483647 h 495"/>
                <a:gd name="T18" fmla="*/ 2147483647 w 313"/>
                <a:gd name="T19" fmla="*/ 2147483647 h 495"/>
                <a:gd name="T20" fmla="*/ 2147483647 w 313"/>
                <a:gd name="T21" fmla="*/ 2147483647 h 495"/>
                <a:gd name="T22" fmla="*/ 2147483647 w 313"/>
                <a:gd name="T23" fmla="*/ 2147483647 h 495"/>
                <a:gd name="T24" fmla="*/ 2147483647 w 313"/>
                <a:gd name="T25" fmla="*/ 2147483647 h 495"/>
                <a:gd name="T26" fmla="*/ 0 w 313"/>
                <a:gd name="T27" fmla="*/ 2147483647 h 495"/>
                <a:gd name="T28" fmla="*/ 0 w 313"/>
                <a:gd name="T29" fmla="*/ 0 h 495"/>
                <a:gd name="T30" fmla="*/ 0 w 313"/>
                <a:gd name="T31" fmla="*/ 0 h 495"/>
                <a:gd name="T32" fmla="*/ 0 w 313"/>
                <a:gd name="T33" fmla="*/ 0 h 495"/>
                <a:gd name="T34" fmla="*/ 0 w 313"/>
                <a:gd name="T35" fmla="*/ 0 h 495"/>
                <a:gd name="T36" fmla="*/ 0 w 313"/>
                <a:gd name="T37" fmla="*/ 0 h 495"/>
                <a:gd name="T38" fmla="*/ 0 w 313"/>
                <a:gd name="T39" fmla="*/ 0 h 495"/>
                <a:gd name="T40" fmla="*/ 2147483647 w 313"/>
                <a:gd name="T41" fmla="*/ 0 h 495"/>
                <a:gd name="T42" fmla="*/ 2147483647 w 313"/>
                <a:gd name="T43" fmla="*/ 0 h 495"/>
                <a:gd name="T44" fmla="*/ 2147483647 w 313"/>
                <a:gd name="T45" fmla="*/ 0 h 495"/>
                <a:gd name="T46" fmla="*/ 2147483647 w 313"/>
                <a:gd name="T47" fmla="*/ 2147483647 h 495"/>
                <a:gd name="T48" fmla="*/ 2147483647 w 313"/>
                <a:gd name="T49" fmla="*/ 2147483647 h 495"/>
                <a:gd name="T50" fmla="*/ 2147483647 w 313"/>
                <a:gd name="T51" fmla="*/ 2147483647 h 495"/>
                <a:gd name="T52" fmla="*/ 2147483647 w 313"/>
                <a:gd name="T53" fmla="*/ 2147483647 h 495"/>
                <a:gd name="T54" fmla="*/ 2147483647 w 313"/>
                <a:gd name="T55" fmla="*/ 2147483647 h 495"/>
                <a:gd name="T56" fmla="*/ 2147483647 w 313"/>
                <a:gd name="T57" fmla="*/ 2147483647 h 495"/>
                <a:gd name="T58" fmla="*/ 2147483647 w 313"/>
                <a:gd name="T59" fmla="*/ 2147483647 h 495"/>
                <a:gd name="T60" fmla="*/ 2147483647 w 313"/>
                <a:gd name="T61" fmla="*/ 2147483647 h 495"/>
                <a:gd name="T62" fmla="*/ 2147483647 w 313"/>
                <a:gd name="T63" fmla="*/ 2147483647 h 495"/>
                <a:gd name="T64" fmla="*/ 2147483647 w 313"/>
                <a:gd name="T65" fmla="*/ 2147483647 h 495"/>
                <a:gd name="T66" fmla="*/ 2147483647 w 313"/>
                <a:gd name="T67" fmla="*/ 2147483647 h 495"/>
                <a:gd name="T68" fmla="*/ 2147483647 w 313"/>
                <a:gd name="T69" fmla="*/ 2147483647 h 495"/>
                <a:gd name="T70" fmla="*/ 2147483647 w 313"/>
                <a:gd name="T71" fmla="*/ 2147483647 h 495"/>
                <a:gd name="T72" fmla="*/ 2147483647 w 313"/>
                <a:gd name="T73" fmla="*/ 2147483647 h 495"/>
                <a:gd name="T74" fmla="*/ 2147483647 w 313"/>
                <a:gd name="T75" fmla="*/ 2147483647 h 495"/>
                <a:gd name="T76" fmla="*/ 2147483647 w 313"/>
                <a:gd name="T77" fmla="*/ 2147483647 h 495"/>
                <a:gd name="T78" fmla="*/ 2147483647 w 313"/>
                <a:gd name="T79" fmla="*/ 2147483647 h 495"/>
                <a:gd name="T80" fmla="*/ 2147483647 w 313"/>
                <a:gd name="T81" fmla="*/ 2147483647 h 495"/>
                <a:gd name="T82" fmla="*/ 2147483647 w 313"/>
                <a:gd name="T83" fmla="*/ 2147483647 h 495"/>
                <a:gd name="T84" fmla="*/ 2147483647 w 313"/>
                <a:gd name="T85" fmla="*/ 2147483647 h 495"/>
                <a:gd name="T86" fmla="*/ 2147483647 w 313"/>
                <a:gd name="T87" fmla="*/ 2147483647 h 495"/>
                <a:gd name="T88" fmla="*/ 2147483647 w 313"/>
                <a:gd name="T89" fmla="*/ 2147483647 h 495"/>
                <a:gd name="T90" fmla="*/ 2147483647 w 313"/>
                <a:gd name="T91" fmla="*/ 2147483647 h 495"/>
                <a:gd name="T92" fmla="*/ 2147483647 w 313"/>
                <a:gd name="T93" fmla="*/ 2147483647 h 495"/>
                <a:gd name="T94" fmla="*/ 2147483647 w 313"/>
                <a:gd name="T95" fmla="*/ 2147483647 h 49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13"/>
                <a:gd name="T145" fmla="*/ 0 h 495"/>
                <a:gd name="T146" fmla="*/ 313 w 313"/>
                <a:gd name="T147" fmla="*/ 495 h 49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13" h="495">
                  <a:moveTo>
                    <a:pt x="109" y="469"/>
                  </a:moveTo>
                  <a:lnTo>
                    <a:pt x="118" y="458"/>
                  </a:lnTo>
                  <a:lnTo>
                    <a:pt x="121" y="449"/>
                  </a:lnTo>
                  <a:lnTo>
                    <a:pt x="128" y="441"/>
                  </a:lnTo>
                  <a:lnTo>
                    <a:pt x="134" y="429"/>
                  </a:lnTo>
                  <a:lnTo>
                    <a:pt x="135" y="417"/>
                  </a:lnTo>
                  <a:lnTo>
                    <a:pt x="139" y="407"/>
                  </a:lnTo>
                  <a:lnTo>
                    <a:pt x="139" y="398"/>
                  </a:lnTo>
                  <a:lnTo>
                    <a:pt x="134" y="391"/>
                  </a:lnTo>
                  <a:lnTo>
                    <a:pt x="120" y="375"/>
                  </a:lnTo>
                  <a:lnTo>
                    <a:pt x="108" y="372"/>
                  </a:lnTo>
                  <a:lnTo>
                    <a:pt x="97" y="366"/>
                  </a:lnTo>
                  <a:lnTo>
                    <a:pt x="80" y="350"/>
                  </a:lnTo>
                  <a:lnTo>
                    <a:pt x="67" y="349"/>
                  </a:lnTo>
                  <a:lnTo>
                    <a:pt x="57" y="337"/>
                  </a:lnTo>
                  <a:lnTo>
                    <a:pt x="59" y="325"/>
                  </a:lnTo>
                  <a:lnTo>
                    <a:pt x="69" y="316"/>
                  </a:lnTo>
                  <a:lnTo>
                    <a:pt x="78" y="310"/>
                  </a:lnTo>
                  <a:lnTo>
                    <a:pt x="92" y="306"/>
                  </a:lnTo>
                  <a:lnTo>
                    <a:pt x="100" y="296"/>
                  </a:lnTo>
                  <a:lnTo>
                    <a:pt x="104" y="283"/>
                  </a:lnTo>
                  <a:lnTo>
                    <a:pt x="105" y="261"/>
                  </a:lnTo>
                  <a:lnTo>
                    <a:pt x="109" y="250"/>
                  </a:lnTo>
                  <a:lnTo>
                    <a:pt x="115" y="250"/>
                  </a:lnTo>
                  <a:lnTo>
                    <a:pt x="118" y="247"/>
                  </a:lnTo>
                  <a:lnTo>
                    <a:pt x="118" y="237"/>
                  </a:lnTo>
                  <a:lnTo>
                    <a:pt x="115" y="229"/>
                  </a:lnTo>
                  <a:lnTo>
                    <a:pt x="120" y="224"/>
                  </a:lnTo>
                  <a:lnTo>
                    <a:pt x="118" y="220"/>
                  </a:lnTo>
                  <a:lnTo>
                    <a:pt x="115" y="208"/>
                  </a:lnTo>
                  <a:lnTo>
                    <a:pt x="116" y="196"/>
                  </a:lnTo>
                  <a:lnTo>
                    <a:pt x="113" y="198"/>
                  </a:lnTo>
                  <a:lnTo>
                    <a:pt x="104" y="188"/>
                  </a:lnTo>
                  <a:lnTo>
                    <a:pt x="102" y="182"/>
                  </a:lnTo>
                  <a:lnTo>
                    <a:pt x="108" y="182"/>
                  </a:lnTo>
                  <a:lnTo>
                    <a:pt x="112" y="178"/>
                  </a:lnTo>
                  <a:lnTo>
                    <a:pt x="113" y="175"/>
                  </a:lnTo>
                  <a:lnTo>
                    <a:pt x="112" y="171"/>
                  </a:lnTo>
                  <a:lnTo>
                    <a:pt x="107" y="170"/>
                  </a:lnTo>
                  <a:lnTo>
                    <a:pt x="97" y="172"/>
                  </a:lnTo>
                  <a:lnTo>
                    <a:pt x="86" y="151"/>
                  </a:lnTo>
                  <a:lnTo>
                    <a:pt x="81" y="138"/>
                  </a:lnTo>
                  <a:lnTo>
                    <a:pt x="87" y="148"/>
                  </a:lnTo>
                  <a:lnTo>
                    <a:pt x="91" y="145"/>
                  </a:lnTo>
                  <a:lnTo>
                    <a:pt x="92" y="133"/>
                  </a:lnTo>
                  <a:lnTo>
                    <a:pt x="87" y="133"/>
                  </a:lnTo>
                  <a:lnTo>
                    <a:pt x="83" y="130"/>
                  </a:lnTo>
                  <a:lnTo>
                    <a:pt x="86" y="127"/>
                  </a:lnTo>
                  <a:lnTo>
                    <a:pt x="86" y="117"/>
                  </a:lnTo>
                  <a:lnTo>
                    <a:pt x="82" y="113"/>
                  </a:lnTo>
                  <a:lnTo>
                    <a:pt x="80" y="117"/>
                  </a:lnTo>
                  <a:lnTo>
                    <a:pt x="73" y="117"/>
                  </a:lnTo>
                  <a:lnTo>
                    <a:pt x="72" y="122"/>
                  </a:lnTo>
                  <a:lnTo>
                    <a:pt x="73" y="129"/>
                  </a:lnTo>
                  <a:lnTo>
                    <a:pt x="60" y="107"/>
                  </a:lnTo>
                  <a:lnTo>
                    <a:pt x="43" y="85"/>
                  </a:lnTo>
                  <a:lnTo>
                    <a:pt x="38" y="75"/>
                  </a:lnTo>
                  <a:lnTo>
                    <a:pt x="37" y="71"/>
                  </a:lnTo>
                  <a:lnTo>
                    <a:pt x="42" y="67"/>
                  </a:lnTo>
                  <a:lnTo>
                    <a:pt x="45" y="59"/>
                  </a:lnTo>
                  <a:lnTo>
                    <a:pt x="42" y="57"/>
                  </a:lnTo>
                  <a:lnTo>
                    <a:pt x="40" y="62"/>
                  </a:lnTo>
                  <a:lnTo>
                    <a:pt x="33" y="68"/>
                  </a:lnTo>
                  <a:lnTo>
                    <a:pt x="26" y="59"/>
                  </a:lnTo>
                  <a:lnTo>
                    <a:pt x="22" y="49"/>
                  </a:lnTo>
                  <a:lnTo>
                    <a:pt x="23" y="44"/>
                  </a:lnTo>
                  <a:lnTo>
                    <a:pt x="21" y="35"/>
                  </a:lnTo>
                  <a:lnTo>
                    <a:pt x="7" y="14"/>
                  </a:lnTo>
                  <a:lnTo>
                    <a:pt x="1" y="6"/>
                  </a:lnTo>
                  <a:lnTo>
                    <a:pt x="0" y="3"/>
                  </a:lnTo>
                  <a:lnTo>
                    <a:pt x="8" y="1"/>
                  </a:lnTo>
                  <a:lnTo>
                    <a:pt x="10" y="0"/>
                  </a:lnTo>
                  <a:lnTo>
                    <a:pt x="13" y="1"/>
                  </a:lnTo>
                  <a:lnTo>
                    <a:pt x="13" y="11"/>
                  </a:lnTo>
                  <a:lnTo>
                    <a:pt x="19" y="22"/>
                  </a:lnTo>
                  <a:lnTo>
                    <a:pt x="19" y="28"/>
                  </a:lnTo>
                  <a:lnTo>
                    <a:pt x="24" y="36"/>
                  </a:lnTo>
                  <a:lnTo>
                    <a:pt x="29" y="32"/>
                  </a:lnTo>
                  <a:lnTo>
                    <a:pt x="34" y="27"/>
                  </a:lnTo>
                  <a:lnTo>
                    <a:pt x="35" y="30"/>
                  </a:lnTo>
                  <a:lnTo>
                    <a:pt x="35" y="35"/>
                  </a:lnTo>
                  <a:lnTo>
                    <a:pt x="46" y="35"/>
                  </a:lnTo>
                  <a:lnTo>
                    <a:pt x="51" y="38"/>
                  </a:lnTo>
                  <a:lnTo>
                    <a:pt x="59" y="41"/>
                  </a:lnTo>
                  <a:lnTo>
                    <a:pt x="64" y="40"/>
                  </a:lnTo>
                  <a:lnTo>
                    <a:pt x="73" y="48"/>
                  </a:lnTo>
                  <a:lnTo>
                    <a:pt x="66" y="52"/>
                  </a:lnTo>
                  <a:lnTo>
                    <a:pt x="78" y="59"/>
                  </a:lnTo>
                  <a:lnTo>
                    <a:pt x="80" y="56"/>
                  </a:lnTo>
                  <a:lnTo>
                    <a:pt x="83" y="59"/>
                  </a:lnTo>
                  <a:lnTo>
                    <a:pt x="85" y="64"/>
                  </a:lnTo>
                  <a:lnTo>
                    <a:pt x="87" y="70"/>
                  </a:lnTo>
                  <a:lnTo>
                    <a:pt x="96" y="79"/>
                  </a:lnTo>
                  <a:lnTo>
                    <a:pt x="98" y="83"/>
                  </a:lnTo>
                  <a:lnTo>
                    <a:pt x="98" y="87"/>
                  </a:lnTo>
                  <a:lnTo>
                    <a:pt x="100" y="96"/>
                  </a:lnTo>
                  <a:lnTo>
                    <a:pt x="98" y="94"/>
                  </a:lnTo>
                  <a:lnTo>
                    <a:pt x="89" y="89"/>
                  </a:lnTo>
                  <a:lnTo>
                    <a:pt x="85" y="89"/>
                  </a:lnTo>
                  <a:lnTo>
                    <a:pt x="86" y="96"/>
                  </a:lnTo>
                  <a:lnTo>
                    <a:pt x="87" y="97"/>
                  </a:lnTo>
                  <a:lnTo>
                    <a:pt x="89" y="97"/>
                  </a:lnTo>
                  <a:lnTo>
                    <a:pt x="93" y="100"/>
                  </a:lnTo>
                  <a:lnTo>
                    <a:pt x="96" y="107"/>
                  </a:lnTo>
                  <a:lnTo>
                    <a:pt x="103" y="114"/>
                  </a:lnTo>
                  <a:lnTo>
                    <a:pt x="109" y="126"/>
                  </a:lnTo>
                  <a:lnTo>
                    <a:pt x="116" y="134"/>
                  </a:lnTo>
                  <a:lnTo>
                    <a:pt x="110" y="140"/>
                  </a:lnTo>
                  <a:lnTo>
                    <a:pt x="109" y="148"/>
                  </a:lnTo>
                  <a:lnTo>
                    <a:pt x="113" y="151"/>
                  </a:lnTo>
                  <a:lnTo>
                    <a:pt x="113" y="159"/>
                  </a:lnTo>
                  <a:lnTo>
                    <a:pt x="109" y="159"/>
                  </a:lnTo>
                  <a:lnTo>
                    <a:pt x="105" y="162"/>
                  </a:lnTo>
                  <a:lnTo>
                    <a:pt x="108" y="165"/>
                  </a:lnTo>
                  <a:lnTo>
                    <a:pt x="112" y="165"/>
                  </a:lnTo>
                  <a:lnTo>
                    <a:pt x="116" y="170"/>
                  </a:lnTo>
                  <a:lnTo>
                    <a:pt x="123" y="170"/>
                  </a:lnTo>
                  <a:lnTo>
                    <a:pt x="125" y="167"/>
                  </a:lnTo>
                  <a:lnTo>
                    <a:pt x="132" y="167"/>
                  </a:lnTo>
                  <a:lnTo>
                    <a:pt x="136" y="169"/>
                  </a:lnTo>
                  <a:lnTo>
                    <a:pt x="137" y="177"/>
                  </a:lnTo>
                  <a:lnTo>
                    <a:pt x="140" y="184"/>
                  </a:lnTo>
                  <a:lnTo>
                    <a:pt x="146" y="187"/>
                  </a:lnTo>
                  <a:lnTo>
                    <a:pt x="151" y="182"/>
                  </a:lnTo>
                  <a:lnTo>
                    <a:pt x="150" y="156"/>
                  </a:lnTo>
                  <a:lnTo>
                    <a:pt x="150" y="151"/>
                  </a:lnTo>
                  <a:lnTo>
                    <a:pt x="143" y="141"/>
                  </a:lnTo>
                  <a:lnTo>
                    <a:pt x="147" y="141"/>
                  </a:lnTo>
                  <a:lnTo>
                    <a:pt x="151" y="148"/>
                  </a:lnTo>
                  <a:lnTo>
                    <a:pt x="164" y="151"/>
                  </a:lnTo>
                  <a:lnTo>
                    <a:pt x="164" y="161"/>
                  </a:lnTo>
                  <a:lnTo>
                    <a:pt x="167" y="162"/>
                  </a:lnTo>
                  <a:lnTo>
                    <a:pt x="167" y="171"/>
                  </a:lnTo>
                  <a:lnTo>
                    <a:pt x="169" y="176"/>
                  </a:lnTo>
                  <a:lnTo>
                    <a:pt x="168" y="186"/>
                  </a:lnTo>
                  <a:lnTo>
                    <a:pt x="169" y="192"/>
                  </a:lnTo>
                  <a:lnTo>
                    <a:pt x="173" y="197"/>
                  </a:lnTo>
                  <a:lnTo>
                    <a:pt x="175" y="203"/>
                  </a:lnTo>
                  <a:lnTo>
                    <a:pt x="178" y="213"/>
                  </a:lnTo>
                  <a:lnTo>
                    <a:pt x="185" y="219"/>
                  </a:lnTo>
                  <a:lnTo>
                    <a:pt x="194" y="219"/>
                  </a:lnTo>
                  <a:lnTo>
                    <a:pt x="205" y="227"/>
                  </a:lnTo>
                  <a:lnTo>
                    <a:pt x="232" y="235"/>
                  </a:lnTo>
                  <a:lnTo>
                    <a:pt x="239" y="240"/>
                  </a:lnTo>
                  <a:lnTo>
                    <a:pt x="249" y="241"/>
                  </a:lnTo>
                  <a:lnTo>
                    <a:pt x="254" y="235"/>
                  </a:lnTo>
                  <a:lnTo>
                    <a:pt x="259" y="235"/>
                  </a:lnTo>
                  <a:lnTo>
                    <a:pt x="266" y="224"/>
                  </a:lnTo>
                  <a:lnTo>
                    <a:pt x="271" y="221"/>
                  </a:lnTo>
                  <a:lnTo>
                    <a:pt x="276" y="218"/>
                  </a:lnTo>
                  <a:lnTo>
                    <a:pt x="284" y="213"/>
                  </a:lnTo>
                  <a:lnTo>
                    <a:pt x="286" y="210"/>
                  </a:lnTo>
                  <a:lnTo>
                    <a:pt x="292" y="208"/>
                  </a:lnTo>
                  <a:lnTo>
                    <a:pt x="301" y="210"/>
                  </a:lnTo>
                  <a:lnTo>
                    <a:pt x="313" y="218"/>
                  </a:lnTo>
                  <a:lnTo>
                    <a:pt x="313" y="231"/>
                  </a:lnTo>
                  <a:lnTo>
                    <a:pt x="308" y="246"/>
                  </a:lnTo>
                  <a:lnTo>
                    <a:pt x="308" y="262"/>
                  </a:lnTo>
                  <a:lnTo>
                    <a:pt x="307" y="264"/>
                  </a:lnTo>
                  <a:lnTo>
                    <a:pt x="307" y="272"/>
                  </a:lnTo>
                  <a:lnTo>
                    <a:pt x="304" y="280"/>
                  </a:lnTo>
                  <a:lnTo>
                    <a:pt x="296" y="286"/>
                  </a:lnTo>
                  <a:lnTo>
                    <a:pt x="287" y="290"/>
                  </a:lnTo>
                  <a:lnTo>
                    <a:pt x="286" y="304"/>
                  </a:lnTo>
                  <a:lnTo>
                    <a:pt x="284" y="307"/>
                  </a:lnTo>
                  <a:lnTo>
                    <a:pt x="285" y="316"/>
                  </a:lnTo>
                  <a:lnTo>
                    <a:pt x="287" y="317"/>
                  </a:lnTo>
                  <a:lnTo>
                    <a:pt x="287" y="321"/>
                  </a:lnTo>
                  <a:lnTo>
                    <a:pt x="282" y="328"/>
                  </a:lnTo>
                  <a:lnTo>
                    <a:pt x="280" y="316"/>
                  </a:lnTo>
                  <a:lnTo>
                    <a:pt x="275" y="315"/>
                  </a:lnTo>
                  <a:lnTo>
                    <a:pt x="269" y="315"/>
                  </a:lnTo>
                  <a:lnTo>
                    <a:pt x="261" y="316"/>
                  </a:lnTo>
                  <a:lnTo>
                    <a:pt x="253" y="316"/>
                  </a:lnTo>
                  <a:lnTo>
                    <a:pt x="247" y="318"/>
                  </a:lnTo>
                  <a:lnTo>
                    <a:pt x="242" y="323"/>
                  </a:lnTo>
                  <a:lnTo>
                    <a:pt x="226" y="345"/>
                  </a:lnTo>
                  <a:lnTo>
                    <a:pt x="226" y="349"/>
                  </a:lnTo>
                  <a:lnTo>
                    <a:pt x="228" y="348"/>
                  </a:lnTo>
                  <a:lnTo>
                    <a:pt x="232" y="356"/>
                  </a:lnTo>
                  <a:lnTo>
                    <a:pt x="237" y="360"/>
                  </a:lnTo>
                  <a:lnTo>
                    <a:pt x="236" y="369"/>
                  </a:lnTo>
                  <a:lnTo>
                    <a:pt x="231" y="380"/>
                  </a:lnTo>
                  <a:lnTo>
                    <a:pt x="217" y="404"/>
                  </a:lnTo>
                  <a:lnTo>
                    <a:pt x="215" y="412"/>
                  </a:lnTo>
                  <a:lnTo>
                    <a:pt x="202" y="428"/>
                  </a:lnTo>
                  <a:lnTo>
                    <a:pt x="182" y="463"/>
                  </a:lnTo>
                  <a:lnTo>
                    <a:pt x="171" y="479"/>
                  </a:lnTo>
                  <a:lnTo>
                    <a:pt x="153" y="492"/>
                  </a:lnTo>
                  <a:lnTo>
                    <a:pt x="145" y="495"/>
                  </a:lnTo>
                  <a:lnTo>
                    <a:pt x="137" y="488"/>
                  </a:lnTo>
                  <a:lnTo>
                    <a:pt x="132" y="481"/>
                  </a:lnTo>
                  <a:lnTo>
                    <a:pt x="113" y="482"/>
                  </a:lnTo>
                  <a:lnTo>
                    <a:pt x="109" y="473"/>
                  </a:lnTo>
                  <a:lnTo>
                    <a:pt x="109" y="46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61" name="Freeform 57">
              <a:extLst>
                <a:ext uri="{FF2B5EF4-FFF2-40B4-BE49-F238E27FC236}">
                  <a16:creationId xmlns:a16="http://schemas.microsoft.com/office/drawing/2014/main" id="{4B908570-F017-D453-3654-6AB3DC9F102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0568067" y="4982691"/>
              <a:ext cx="83571" cy="71639"/>
            </a:xfrm>
            <a:custGeom>
              <a:avLst/>
              <a:gdLst>
                <a:gd name="T0" fmla="*/ 2147483647 w 159"/>
                <a:gd name="T1" fmla="*/ 0 h 133"/>
                <a:gd name="T2" fmla="*/ 0 w 159"/>
                <a:gd name="T3" fmla="*/ 0 h 133"/>
                <a:gd name="T4" fmla="*/ 0 w 159"/>
                <a:gd name="T5" fmla="*/ 0 h 133"/>
                <a:gd name="T6" fmla="*/ 0 w 159"/>
                <a:gd name="T7" fmla="*/ 0 h 133"/>
                <a:gd name="T8" fmla="*/ 0 w 159"/>
                <a:gd name="T9" fmla="*/ 0 h 133"/>
                <a:gd name="T10" fmla="*/ 0 w 159"/>
                <a:gd name="T11" fmla="*/ 0 h 133"/>
                <a:gd name="T12" fmla="*/ 0 w 159"/>
                <a:gd name="T13" fmla="*/ 0 h 133"/>
                <a:gd name="T14" fmla="*/ 0 w 159"/>
                <a:gd name="T15" fmla="*/ 0 h 133"/>
                <a:gd name="T16" fmla="*/ 0 w 159"/>
                <a:gd name="T17" fmla="*/ 0 h 133"/>
                <a:gd name="T18" fmla="*/ 0 w 159"/>
                <a:gd name="T19" fmla="*/ 0 h 133"/>
                <a:gd name="T20" fmla="*/ 0 w 159"/>
                <a:gd name="T21" fmla="*/ 0 h 133"/>
                <a:gd name="T22" fmla="*/ 0 w 159"/>
                <a:gd name="T23" fmla="*/ 0 h 133"/>
                <a:gd name="T24" fmla="*/ 0 w 159"/>
                <a:gd name="T25" fmla="*/ 0 h 133"/>
                <a:gd name="T26" fmla="*/ 0 w 159"/>
                <a:gd name="T27" fmla="*/ 0 h 133"/>
                <a:gd name="T28" fmla="*/ 0 w 159"/>
                <a:gd name="T29" fmla="*/ 0 h 133"/>
                <a:gd name="T30" fmla="*/ 2147483647 w 159"/>
                <a:gd name="T31" fmla="*/ 0 h 133"/>
                <a:gd name="T32" fmla="*/ 2147483647 w 159"/>
                <a:gd name="T33" fmla="*/ 0 h 133"/>
                <a:gd name="T34" fmla="*/ 2147483647 w 159"/>
                <a:gd name="T35" fmla="*/ 0 h 133"/>
                <a:gd name="T36" fmla="*/ 2147483647 w 159"/>
                <a:gd name="T37" fmla="*/ 0 h 133"/>
                <a:gd name="T38" fmla="*/ 2147483647 w 159"/>
                <a:gd name="T39" fmla="*/ 0 h 133"/>
                <a:gd name="T40" fmla="*/ 2147483647 w 159"/>
                <a:gd name="T41" fmla="*/ 0 h 133"/>
                <a:gd name="T42" fmla="*/ 2147483647 w 159"/>
                <a:gd name="T43" fmla="*/ 0 h 133"/>
                <a:gd name="T44" fmla="*/ 2147483647 w 159"/>
                <a:gd name="T45" fmla="*/ 0 h 133"/>
                <a:gd name="T46" fmla="*/ 2147483647 w 159"/>
                <a:gd name="T47" fmla="*/ 0 h 133"/>
                <a:gd name="T48" fmla="*/ 2147483647 w 159"/>
                <a:gd name="T49" fmla="*/ 0 h 133"/>
                <a:gd name="T50" fmla="*/ 2147483647 w 159"/>
                <a:gd name="T51" fmla="*/ 0 h 133"/>
                <a:gd name="T52" fmla="*/ 2147483647 w 159"/>
                <a:gd name="T53" fmla="*/ 0 h 133"/>
                <a:gd name="T54" fmla="*/ 2147483647 w 159"/>
                <a:gd name="T55" fmla="*/ 2147483647 h 133"/>
                <a:gd name="T56" fmla="*/ 2147483647 w 159"/>
                <a:gd name="T57" fmla="*/ 2147483647 h 133"/>
                <a:gd name="T58" fmla="*/ 2147483647 w 159"/>
                <a:gd name="T59" fmla="*/ 2147483647 h 133"/>
                <a:gd name="T60" fmla="*/ 2147483647 w 159"/>
                <a:gd name="T61" fmla="*/ 2147483647 h 133"/>
                <a:gd name="T62" fmla="*/ 2147483647 w 159"/>
                <a:gd name="T63" fmla="*/ 2147483647 h 133"/>
                <a:gd name="T64" fmla="*/ 2147483647 w 159"/>
                <a:gd name="T65" fmla="*/ 2147483647 h 133"/>
                <a:gd name="T66" fmla="*/ 2147483647 w 159"/>
                <a:gd name="T67" fmla="*/ 2147483647 h 133"/>
                <a:gd name="T68" fmla="*/ 2147483647 w 159"/>
                <a:gd name="T69" fmla="*/ 2147483647 h 133"/>
                <a:gd name="T70" fmla="*/ 2147483647 w 159"/>
                <a:gd name="T71" fmla="*/ 2147483647 h 133"/>
                <a:gd name="T72" fmla="*/ 2147483647 w 159"/>
                <a:gd name="T73" fmla="*/ 2147483647 h 133"/>
                <a:gd name="T74" fmla="*/ 2147483647 w 159"/>
                <a:gd name="T75" fmla="*/ 2147483647 h 133"/>
                <a:gd name="T76" fmla="*/ 2147483647 w 159"/>
                <a:gd name="T77" fmla="*/ 2147483647 h 133"/>
                <a:gd name="T78" fmla="*/ 2147483647 w 159"/>
                <a:gd name="T79" fmla="*/ 2147483647 h 133"/>
                <a:gd name="T80" fmla="*/ 2147483647 w 159"/>
                <a:gd name="T81" fmla="*/ 2147483647 h 133"/>
                <a:gd name="T82" fmla="*/ 2147483647 w 159"/>
                <a:gd name="T83" fmla="*/ 2147483647 h 133"/>
                <a:gd name="T84" fmla="*/ 2147483647 w 159"/>
                <a:gd name="T85" fmla="*/ 2147483647 h 133"/>
                <a:gd name="T86" fmla="*/ 2147483647 w 159"/>
                <a:gd name="T87" fmla="*/ 2147483647 h 133"/>
                <a:gd name="T88" fmla="*/ 2147483647 w 159"/>
                <a:gd name="T89" fmla="*/ 2147483647 h 133"/>
                <a:gd name="T90" fmla="*/ 2147483647 w 159"/>
                <a:gd name="T91" fmla="*/ 2147483647 h 133"/>
                <a:gd name="T92" fmla="*/ 2147483647 w 159"/>
                <a:gd name="T93" fmla="*/ 2147483647 h 133"/>
                <a:gd name="T94" fmla="*/ 2147483647 w 159"/>
                <a:gd name="T95" fmla="*/ 2147483647 h 133"/>
                <a:gd name="T96" fmla="*/ 2147483647 w 159"/>
                <a:gd name="T97" fmla="*/ 2147483647 h 133"/>
                <a:gd name="T98" fmla="*/ 2147483647 w 159"/>
                <a:gd name="T99" fmla="*/ 2147483647 h 133"/>
                <a:gd name="T100" fmla="*/ 2147483647 w 159"/>
                <a:gd name="T101" fmla="*/ 2147483647 h 133"/>
                <a:gd name="T102" fmla="*/ 2147483647 w 159"/>
                <a:gd name="T103" fmla="*/ 2147483647 h 133"/>
                <a:gd name="T104" fmla="*/ 2147483647 w 159"/>
                <a:gd name="T105" fmla="*/ 2147483647 h 133"/>
                <a:gd name="T106" fmla="*/ 2147483647 w 159"/>
                <a:gd name="T107" fmla="*/ 2147483647 h 133"/>
                <a:gd name="T108" fmla="*/ 2147483647 w 159"/>
                <a:gd name="T109" fmla="*/ 0 h 133"/>
                <a:gd name="T110" fmla="*/ 2147483647 w 159"/>
                <a:gd name="T111" fmla="*/ 0 h 133"/>
                <a:gd name="T112" fmla="*/ 2147483647 w 159"/>
                <a:gd name="T113" fmla="*/ 0 h 13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59"/>
                <a:gd name="T172" fmla="*/ 0 h 133"/>
                <a:gd name="T173" fmla="*/ 159 w 159"/>
                <a:gd name="T174" fmla="*/ 133 h 13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59" h="133">
                  <a:moveTo>
                    <a:pt x="60" y="71"/>
                  </a:moveTo>
                  <a:lnTo>
                    <a:pt x="39" y="60"/>
                  </a:lnTo>
                  <a:lnTo>
                    <a:pt x="27" y="43"/>
                  </a:lnTo>
                  <a:lnTo>
                    <a:pt x="21" y="38"/>
                  </a:lnTo>
                  <a:lnTo>
                    <a:pt x="16" y="26"/>
                  </a:lnTo>
                  <a:lnTo>
                    <a:pt x="6" y="17"/>
                  </a:lnTo>
                  <a:lnTo>
                    <a:pt x="6" y="9"/>
                  </a:lnTo>
                  <a:lnTo>
                    <a:pt x="0" y="2"/>
                  </a:lnTo>
                  <a:lnTo>
                    <a:pt x="6" y="0"/>
                  </a:lnTo>
                  <a:lnTo>
                    <a:pt x="14" y="5"/>
                  </a:lnTo>
                  <a:lnTo>
                    <a:pt x="19" y="4"/>
                  </a:lnTo>
                  <a:lnTo>
                    <a:pt x="33" y="14"/>
                  </a:lnTo>
                  <a:lnTo>
                    <a:pt x="40" y="16"/>
                  </a:lnTo>
                  <a:lnTo>
                    <a:pt x="41" y="21"/>
                  </a:lnTo>
                  <a:lnTo>
                    <a:pt x="45" y="26"/>
                  </a:lnTo>
                  <a:lnTo>
                    <a:pt x="51" y="26"/>
                  </a:lnTo>
                  <a:lnTo>
                    <a:pt x="59" y="29"/>
                  </a:lnTo>
                  <a:lnTo>
                    <a:pt x="67" y="43"/>
                  </a:lnTo>
                  <a:lnTo>
                    <a:pt x="72" y="47"/>
                  </a:lnTo>
                  <a:lnTo>
                    <a:pt x="75" y="57"/>
                  </a:lnTo>
                  <a:lnTo>
                    <a:pt x="78" y="58"/>
                  </a:lnTo>
                  <a:lnTo>
                    <a:pt x="82" y="63"/>
                  </a:lnTo>
                  <a:lnTo>
                    <a:pt x="89" y="68"/>
                  </a:lnTo>
                  <a:lnTo>
                    <a:pt x="94" y="74"/>
                  </a:lnTo>
                  <a:lnTo>
                    <a:pt x="98" y="75"/>
                  </a:lnTo>
                  <a:lnTo>
                    <a:pt x="100" y="81"/>
                  </a:lnTo>
                  <a:lnTo>
                    <a:pt x="109" y="82"/>
                  </a:lnTo>
                  <a:lnTo>
                    <a:pt x="123" y="86"/>
                  </a:lnTo>
                  <a:lnTo>
                    <a:pt x="141" y="103"/>
                  </a:lnTo>
                  <a:lnTo>
                    <a:pt x="143" y="109"/>
                  </a:lnTo>
                  <a:lnTo>
                    <a:pt x="150" y="108"/>
                  </a:lnTo>
                  <a:lnTo>
                    <a:pt x="157" y="114"/>
                  </a:lnTo>
                  <a:lnTo>
                    <a:pt x="159" y="123"/>
                  </a:lnTo>
                  <a:lnTo>
                    <a:pt x="158" y="125"/>
                  </a:lnTo>
                  <a:lnTo>
                    <a:pt x="153" y="125"/>
                  </a:lnTo>
                  <a:lnTo>
                    <a:pt x="152" y="133"/>
                  </a:lnTo>
                  <a:lnTo>
                    <a:pt x="150" y="131"/>
                  </a:lnTo>
                  <a:lnTo>
                    <a:pt x="147" y="127"/>
                  </a:lnTo>
                  <a:lnTo>
                    <a:pt x="141" y="122"/>
                  </a:lnTo>
                  <a:lnTo>
                    <a:pt x="138" y="119"/>
                  </a:lnTo>
                  <a:lnTo>
                    <a:pt x="130" y="119"/>
                  </a:lnTo>
                  <a:lnTo>
                    <a:pt x="124" y="115"/>
                  </a:lnTo>
                  <a:lnTo>
                    <a:pt x="116" y="115"/>
                  </a:lnTo>
                  <a:lnTo>
                    <a:pt x="114" y="112"/>
                  </a:lnTo>
                  <a:lnTo>
                    <a:pt x="113" y="104"/>
                  </a:lnTo>
                  <a:lnTo>
                    <a:pt x="108" y="104"/>
                  </a:lnTo>
                  <a:lnTo>
                    <a:pt x="104" y="102"/>
                  </a:lnTo>
                  <a:lnTo>
                    <a:pt x="99" y="102"/>
                  </a:lnTo>
                  <a:lnTo>
                    <a:pt x="98" y="97"/>
                  </a:lnTo>
                  <a:lnTo>
                    <a:pt x="93" y="97"/>
                  </a:lnTo>
                  <a:lnTo>
                    <a:pt x="91" y="95"/>
                  </a:lnTo>
                  <a:lnTo>
                    <a:pt x="84" y="93"/>
                  </a:lnTo>
                  <a:lnTo>
                    <a:pt x="77" y="86"/>
                  </a:lnTo>
                  <a:lnTo>
                    <a:pt x="71" y="86"/>
                  </a:lnTo>
                  <a:lnTo>
                    <a:pt x="66" y="84"/>
                  </a:lnTo>
                  <a:lnTo>
                    <a:pt x="65" y="76"/>
                  </a:lnTo>
                  <a:lnTo>
                    <a:pt x="60" y="7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62" name="Freeform 58">
              <a:extLst>
                <a:ext uri="{FF2B5EF4-FFF2-40B4-BE49-F238E27FC236}">
                  <a16:creationId xmlns:a16="http://schemas.microsoft.com/office/drawing/2014/main" id="{82BEA184-97E7-A4C6-234B-541A8E8523F2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796788" y="2850312"/>
              <a:ext cx="322346" cy="164615"/>
            </a:xfrm>
            <a:custGeom>
              <a:avLst/>
              <a:gdLst>
                <a:gd name="T0" fmla="*/ 2147483647 w 604"/>
                <a:gd name="T1" fmla="*/ 2147483647 h 288"/>
                <a:gd name="T2" fmla="*/ 2147483647 w 604"/>
                <a:gd name="T3" fmla="*/ 2147483647 h 288"/>
                <a:gd name="T4" fmla="*/ 2147483647 w 604"/>
                <a:gd name="T5" fmla="*/ 2147483647 h 288"/>
                <a:gd name="T6" fmla="*/ 2147483647 w 604"/>
                <a:gd name="T7" fmla="*/ 2147483647 h 288"/>
                <a:gd name="T8" fmla="*/ 2147483647 w 604"/>
                <a:gd name="T9" fmla="*/ 2147483647 h 288"/>
                <a:gd name="T10" fmla="*/ 2147483647 w 604"/>
                <a:gd name="T11" fmla="*/ 2147483647 h 288"/>
                <a:gd name="T12" fmla="*/ 2147483647 w 604"/>
                <a:gd name="T13" fmla="*/ 2147483647 h 288"/>
                <a:gd name="T14" fmla="*/ 2147483647 w 604"/>
                <a:gd name="T15" fmla="*/ 2147483647 h 288"/>
                <a:gd name="T16" fmla="*/ 2147483647 w 604"/>
                <a:gd name="T17" fmla="*/ 2147483647 h 288"/>
                <a:gd name="T18" fmla="*/ 2147483647 w 604"/>
                <a:gd name="T19" fmla="*/ 0 h 288"/>
                <a:gd name="T20" fmla="*/ 2147483647 w 604"/>
                <a:gd name="T21" fmla="*/ 0 h 288"/>
                <a:gd name="T22" fmla="*/ 2147483647 w 604"/>
                <a:gd name="T23" fmla="*/ 0 h 288"/>
                <a:gd name="T24" fmla="*/ 2147483647 w 604"/>
                <a:gd name="T25" fmla="*/ 0 h 288"/>
                <a:gd name="T26" fmla="*/ 2147483647 w 604"/>
                <a:gd name="T27" fmla="*/ 0 h 288"/>
                <a:gd name="T28" fmla="*/ 2147483647 w 604"/>
                <a:gd name="T29" fmla="*/ 0 h 288"/>
                <a:gd name="T30" fmla="*/ 2147483647 w 604"/>
                <a:gd name="T31" fmla="*/ 0 h 288"/>
                <a:gd name="T32" fmla="*/ 2147483647 w 604"/>
                <a:gd name="T33" fmla="*/ 0 h 288"/>
                <a:gd name="T34" fmla="*/ 2147483647 w 604"/>
                <a:gd name="T35" fmla="*/ 0 h 288"/>
                <a:gd name="T36" fmla="*/ 2147483647 w 604"/>
                <a:gd name="T37" fmla="*/ 0 h 288"/>
                <a:gd name="T38" fmla="*/ 2147483647 w 604"/>
                <a:gd name="T39" fmla="*/ 0 h 288"/>
                <a:gd name="T40" fmla="*/ 2147483647 w 604"/>
                <a:gd name="T41" fmla="*/ 0 h 288"/>
                <a:gd name="T42" fmla="*/ 2147483647 w 604"/>
                <a:gd name="T43" fmla="*/ 0 h 288"/>
                <a:gd name="T44" fmla="*/ 2147483647 w 604"/>
                <a:gd name="T45" fmla="*/ 0 h 288"/>
                <a:gd name="T46" fmla="*/ 2147483647 w 604"/>
                <a:gd name="T47" fmla="*/ 0 h 288"/>
                <a:gd name="T48" fmla="*/ 2147483647 w 604"/>
                <a:gd name="T49" fmla="*/ 0 h 288"/>
                <a:gd name="T50" fmla="*/ 2147483647 w 604"/>
                <a:gd name="T51" fmla="*/ 2147483647 h 288"/>
                <a:gd name="T52" fmla="*/ 2147483647 w 604"/>
                <a:gd name="T53" fmla="*/ 2147483647 h 288"/>
                <a:gd name="T54" fmla="*/ 2147483647 w 604"/>
                <a:gd name="T55" fmla="*/ 2147483647 h 288"/>
                <a:gd name="T56" fmla="*/ 2147483647 w 604"/>
                <a:gd name="T57" fmla="*/ 2147483647 h 288"/>
                <a:gd name="T58" fmla="*/ 2147483647 w 604"/>
                <a:gd name="T59" fmla="*/ 2147483647 h 288"/>
                <a:gd name="T60" fmla="*/ 2147483647 w 604"/>
                <a:gd name="T61" fmla="*/ 2147483647 h 288"/>
                <a:gd name="T62" fmla="*/ 2147483647 w 604"/>
                <a:gd name="T63" fmla="*/ 2147483647 h 288"/>
                <a:gd name="T64" fmla="*/ 2147483647 w 604"/>
                <a:gd name="T65" fmla="*/ 2147483647 h 288"/>
                <a:gd name="T66" fmla="*/ 2147483647 w 604"/>
                <a:gd name="T67" fmla="*/ 2147483647 h 288"/>
                <a:gd name="T68" fmla="*/ 2147483647 w 604"/>
                <a:gd name="T69" fmla="*/ 2147483647 h 288"/>
                <a:gd name="T70" fmla="*/ 2147483647 w 604"/>
                <a:gd name="T71" fmla="*/ 2147483647 h 288"/>
                <a:gd name="T72" fmla="*/ 2147483647 w 604"/>
                <a:gd name="T73" fmla="*/ 2147483647 h 288"/>
                <a:gd name="T74" fmla="*/ 2147483647 w 604"/>
                <a:gd name="T75" fmla="*/ 2147483647 h 288"/>
                <a:gd name="T76" fmla="*/ 2147483647 w 604"/>
                <a:gd name="T77" fmla="*/ 2147483647 h 288"/>
                <a:gd name="T78" fmla="*/ 2147483647 w 604"/>
                <a:gd name="T79" fmla="*/ 2147483647 h 288"/>
                <a:gd name="T80" fmla="*/ 0 w 604"/>
                <a:gd name="T81" fmla="*/ 2147483647 h 288"/>
                <a:gd name="T82" fmla="*/ 0 w 604"/>
                <a:gd name="T83" fmla="*/ 2147483647 h 288"/>
                <a:gd name="T84" fmla="*/ 0 w 604"/>
                <a:gd name="T85" fmla="*/ 2147483647 h 288"/>
                <a:gd name="T86" fmla="*/ 0 w 604"/>
                <a:gd name="T87" fmla="*/ 2147483647 h 288"/>
                <a:gd name="T88" fmla="*/ 2147483647 w 604"/>
                <a:gd name="T89" fmla="*/ 2147483647 h 288"/>
                <a:gd name="T90" fmla="*/ 2147483647 w 604"/>
                <a:gd name="T91" fmla="*/ 2147483647 h 288"/>
                <a:gd name="T92" fmla="*/ 2147483647 w 604"/>
                <a:gd name="T93" fmla="*/ 2147483647 h 288"/>
                <a:gd name="T94" fmla="*/ 2147483647 w 604"/>
                <a:gd name="T95" fmla="*/ 2147483647 h 288"/>
                <a:gd name="T96" fmla="*/ 2147483647 w 604"/>
                <a:gd name="T97" fmla="*/ 2147483647 h 288"/>
                <a:gd name="T98" fmla="*/ 2147483647 w 604"/>
                <a:gd name="T99" fmla="*/ 2147483647 h 28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604"/>
                <a:gd name="T151" fmla="*/ 0 h 288"/>
                <a:gd name="T152" fmla="*/ 604 w 604"/>
                <a:gd name="T153" fmla="*/ 288 h 28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604" h="288">
                  <a:moveTo>
                    <a:pt x="251" y="267"/>
                  </a:moveTo>
                  <a:lnTo>
                    <a:pt x="250" y="256"/>
                  </a:lnTo>
                  <a:lnTo>
                    <a:pt x="259" y="238"/>
                  </a:lnTo>
                  <a:lnTo>
                    <a:pt x="291" y="223"/>
                  </a:lnTo>
                  <a:lnTo>
                    <a:pt x="296" y="218"/>
                  </a:lnTo>
                  <a:lnTo>
                    <a:pt x="303" y="218"/>
                  </a:lnTo>
                  <a:lnTo>
                    <a:pt x="309" y="203"/>
                  </a:lnTo>
                  <a:lnTo>
                    <a:pt x="319" y="207"/>
                  </a:lnTo>
                  <a:lnTo>
                    <a:pt x="334" y="201"/>
                  </a:lnTo>
                  <a:lnTo>
                    <a:pt x="345" y="202"/>
                  </a:lnTo>
                  <a:lnTo>
                    <a:pt x="351" y="215"/>
                  </a:lnTo>
                  <a:lnTo>
                    <a:pt x="362" y="217"/>
                  </a:lnTo>
                  <a:lnTo>
                    <a:pt x="378" y="213"/>
                  </a:lnTo>
                  <a:lnTo>
                    <a:pt x="388" y="214"/>
                  </a:lnTo>
                  <a:lnTo>
                    <a:pt x="401" y="204"/>
                  </a:lnTo>
                  <a:lnTo>
                    <a:pt x="407" y="186"/>
                  </a:lnTo>
                  <a:lnTo>
                    <a:pt x="416" y="175"/>
                  </a:lnTo>
                  <a:lnTo>
                    <a:pt x="433" y="170"/>
                  </a:lnTo>
                  <a:lnTo>
                    <a:pt x="452" y="169"/>
                  </a:lnTo>
                  <a:lnTo>
                    <a:pt x="479" y="164"/>
                  </a:lnTo>
                  <a:lnTo>
                    <a:pt x="491" y="159"/>
                  </a:lnTo>
                  <a:lnTo>
                    <a:pt x="499" y="145"/>
                  </a:lnTo>
                  <a:lnTo>
                    <a:pt x="514" y="132"/>
                  </a:lnTo>
                  <a:lnTo>
                    <a:pt x="550" y="112"/>
                  </a:lnTo>
                  <a:lnTo>
                    <a:pt x="588" y="100"/>
                  </a:lnTo>
                  <a:lnTo>
                    <a:pt x="598" y="93"/>
                  </a:lnTo>
                  <a:lnTo>
                    <a:pt x="604" y="79"/>
                  </a:lnTo>
                  <a:lnTo>
                    <a:pt x="604" y="69"/>
                  </a:lnTo>
                  <a:lnTo>
                    <a:pt x="597" y="69"/>
                  </a:lnTo>
                  <a:lnTo>
                    <a:pt x="577" y="56"/>
                  </a:lnTo>
                  <a:lnTo>
                    <a:pt x="561" y="53"/>
                  </a:lnTo>
                  <a:lnTo>
                    <a:pt x="546" y="35"/>
                  </a:lnTo>
                  <a:lnTo>
                    <a:pt x="530" y="34"/>
                  </a:lnTo>
                  <a:lnTo>
                    <a:pt x="523" y="31"/>
                  </a:lnTo>
                  <a:lnTo>
                    <a:pt x="514" y="31"/>
                  </a:lnTo>
                  <a:lnTo>
                    <a:pt x="508" y="27"/>
                  </a:lnTo>
                  <a:lnTo>
                    <a:pt x="499" y="26"/>
                  </a:lnTo>
                  <a:lnTo>
                    <a:pt x="475" y="27"/>
                  </a:lnTo>
                  <a:lnTo>
                    <a:pt x="452" y="24"/>
                  </a:lnTo>
                  <a:lnTo>
                    <a:pt x="443" y="24"/>
                  </a:lnTo>
                  <a:lnTo>
                    <a:pt x="428" y="18"/>
                  </a:lnTo>
                  <a:lnTo>
                    <a:pt x="421" y="18"/>
                  </a:lnTo>
                  <a:lnTo>
                    <a:pt x="406" y="24"/>
                  </a:lnTo>
                  <a:lnTo>
                    <a:pt x="374" y="20"/>
                  </a:lnTo>
                  <a:lnTo>
                    <a:pt x="366" y="20"/>
                  </a:lnTo>
                  <a:lnTo>
                    <a:pt x="350" y="24"/>
                  </a:lnTo>
                  <a:lnTo>
                    <a:pt x="334" y="24"/>
                  </a:lnTo>
                  <a:lnTo>
                    <a:pt x="325" y="23"/>
                  </a:lnTo>
                  <a:lnTo>
                    <a:pt x="319" y="18"/>
                  </a:lnTo>
                  <a:lnTo>
                    <a:pt x="310" y="16"/>
                  </a:lnTo>
                  <a:lnTo>
                    <a:pt x="294" y="18"/>
                  </a:lnTo>
                  <a:lnTo>
                    <a:pt x="288" y="12"/>
                  </a:lnTo>
                  <a:lnTo>
                    <a:pt x="267" y="0"/>
                  </a:lnTo>
                  <a:lnTo>
                    <a:pt x="260" y="4"/>
                  </a:lnTo>
                  <a:lnTo>
                    <a:pt x="253" y="5"/>
                  </a:lnTo>
                  <a:lnTo>
                    <a:pt x="245" y="8"/>
                  </a:lnTo>
                  <a:lnTo>
                    <a:pt x="233" y="18"/>
                  </a:lnTo>
                  <a:lnTo>
                    <a:pt x="232" y="26"/>
                  </a:lnTo>
                  <a:lnTo>
                    <a:pt x="227" y="32"/>
                  </a:lnTo>
                  <a:lnTo>
                    <a:pt x="224" y="48"/>
                  </a:lnTo>
                  <a:lnTo>
                    <a:pt x="221" y="56"/>
                  </a:lnTo>
                  <a:lnTo>
                    <a:pt x="205" y="52"/>
                  </a:lnTo>
                  <a:lnTo>
                    <a:pt x="191" y="45"/>
                  </a:lnTo>
                  <a:lnTo>
                    <a:pt x="175" y="40"/>
                  </a:lnTo>
                  <a:lnTo>
                    <a:pt x="169" y="36"/>
                  </a:lnTo>
                  <a:lnTo>
                    <a:pt x="160" y="34"/>
                  </a:lnTo>
                  <a:lnTo>
                    <a:pt x="152" y="34"/>
                  </a:lnTo>
                  <a:lnTo>
                    <a:pt x="137" y="31"/>
                  </a:lnTo>
                  <a:lnTo>
                    <a:pt x="129" y="32"/>
                  </a:lnTo>
                  <a:lnTo>
                    <a:pt x="121" y="30"/>
                  </a:lnTo>
                  <a:lnTo>
                    <a:pt x="105" y="32"/>
                  </a:lnTo>
                  <a:lnTo>
                    <a:pt x="98" y="36"/>
                  </a:lnTo>
                  <a:lnTo>
                    <a:pt x="95" y="43"/>
                  </a:lnTo>
                  <a:lnTo>
                    <a:pt x="97" y="51"/>
                  </a:lnTo>
                  <a:lnTo>
                    <a:pt x="92" y="58"/>
                  </a:lnTo>
                  <a:lnTo>
                    <a:pt x="88" y="66"/>
                  </a:lnTo>
                  <a:lnTo>
                    <a:pt x="105" y="70"/>
                  </a:lnTo>
                  <a:lnTo>
                    <a:pt x="106" y="79"/>
                  </a:lnTo>
                  <a:lnTo>
                    <a:pt x="92" y="85"/>
                  </a:lnTo>
                  <a:lnTo>
                    <a:pt x="82" y="97"/>
                  </a:lnTo>
                  <a:lnTo>
                    <a:pt x="70" y="109"/>
                  </a:lnTo>
                  <a:lnTo>
                    <a:pt x="55" y="118"/>
                  </a:lnTo>
                  <a:lnTo>
                    <a:pt x="54" y="127"/>
                  </a:lnTo>
                  <a:lnTo>
                    <a:pt x="62" y="129"/>
                  </a:lnTo>
                  <a:lnTo>
                    <a:pt x="68" y="134"/>
                  </a:lnTo>
                  <a:lnTo>
                    <a:pt x="76" y="131"/>
                  </a:lnTo>
                  <a:lnTo>
                    <a:pt x="84" y="144"/>
                  </a:lnTo>
                  <a:lnTo>
                    <a:pt x="108" y="154"/>
                  </a:lnTo>
                  <a:lnTo>
                    <a:pt x="115" y="154"/>
                  </a:lnTo>
                  <a:lnTo>
                    <a:pt x="117" y="147"/>
                  </a:lnTo>
                  <a:lnTo>
                    <a:pt x="125" y="142"/>
                  </a:lnTo>
                  <a:lnTo>
                    <a:pt x="130" y="127"/>
                  </a:lnTo>
                  <a:lnTo>
                    <a:pt x="137" y="131"/>
                  </a:lnTo>
                  <a:lnTo>
                    <a:pt x="142" y="137"/>
                  </a:lnTo>
                  <a:lnTo>
                    <a:pt x="142" y="145"/>
                  </a:lnTo>
                  <a:lnTo>
                    <a:pt x="156" y="154"/>
                  </a:lnTo>
                  <a:lnTo>
                    <a:pt x="162" y="159"/>
                  </a:lnTo>
                  <a:lnTo>
                    <a:pt x="170" y="159"/>
                  </a:lnTo>
                  <a:lnTo>
                    <a:pt x="181" y="169"/>
                  </a:lnTo>
                  <a:lnTo>
                    <a:pt x="197" y="174"/>
                  </a:lnTo>
                  <a:lnTo>
                    <a:pt x="205" y="171"/>
                  </a:lnTo>
                  <a:lnTo>
                    <a:pt x="212" y="175"/>
                  </a:lnTo>
                  <a:lnTo>
                    <a:pt x="207" y="182"/>
                  </a:lnTo>
                  <a:lnTo>
                    <a:pt x="191" y="186"/>
                  </a:lnTo>
                  <a:lnTo>
                    <a:pt x="187" y="195"/>
                  </a:lnTo>
                  <a:lnTo>
                    <a:pt x="181" y="198"/>
                  </a:lnTo>
                  <a:lnTo>
                    <a:pt x="173" y="196"/>
                  </a:lnTo>
                  <a:lnTo>
                    <a:pt x="168" y="202"/>
                  </a:lnTo>
                  <a:lnTo>
                    <a:pt x="160" y="202"/>
                  </a:lnTo>
                  <a:lnTo>
                    <a:pt x="153" y="206"/>
                  </a:lnTo>
                  <a:lnTo>
                    <a:pt x="149" y="213"/>
                  </a:lnTo>
                  <a:lnTo>
                    <a:pt x="143" y="218"/>
                  </a:lnTo>
                  <a:lnTo>
                    <a:pt x="127" y="220"/>
                  </a:lnTo>
                  <a:lnTo>
                    <a:pt x="111" y="215"/>
                  </a:lnTo>
                  <a:lnTo>
                    <a:pt x="104" y="214"/>
                  </a:lnTo>
                  <a:lnTo>
                    <a:pt x="92" y="215"/>
                  </a:lnTo>
                  <a:lnTo>
                    <a:pt x="88" y="224"/>
                  </a:lnTo>
                  <a:lnTo>
                    <a:pt x="81" y="226"/>
                  </a:lnTo>
                  <a:lnTo>
                    <a:pt x="76" y="234"/>
                  </a:lnTo>
                  <a:lnTo>
                    <a:pt x="68" y="236"/>
                  </a:lnTo>
                  <a:lnTo>
                    <a:pt x="55" y="228"/>
                  </a:lnTo>
                  <a:lnTo>
                    <a:pt x="46" y="226"/>
                  </a:lnTo>
                  <a:lnTo>
                    <a:pt x="30" y="229"/>
                  </a:lnTo>
                  <a:lnTo>
                    <a:pt x="22" y="226"/>
                  </a:lnTo>
                  <a:lnTo>
                    <a:pt x="15" y="231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0" y="261"/>
                  </a:lnTo>
                  <a:lnTo>
                    <a:pt x="4" y="267"/>
                  </a:lnTo>
                  <a:lnTo>
                    <a:pt x="13" y="267"/>
                  </a:lnTo>
                  <a:lnTo>
                    <a:pt x="20" y="265"/>
                  </a:lnTo>
                  <a:lnTo>
                    <a:pt x="36" y="268"/>
                  </a:lnTo>
                  <a:lnTo>
                    <a:pt x="60" y="265"/>
                  </a:lnTo>
                  <a:lnTo>
                    <a:pt x="68" y="265"/>
                  </a:lnTo>
                  <a:lnTo>
                    <a:pt x="76" y="267"/>
                  </a:lnTo>
                  <a:lnTo>
                    <a:pt x="81" y="273"/>
                  </a:lnTo>
                  <a:lnTo>
                    <a:pt x="89" y="274"/>
                  </a:lnTo>
                  <a:lnTo>
                    <a:pt x="120" y="265"/>
                  </a:lnTo>
                  <a:lnTo>
                    <a:pt x="127" y="269"/>
                  </a:lnTo>
                  <a:lnTo>
                    <a:pt x="135" y="271"/>
                  </a:lnTo>
                  <a:lnTo>
                    <a:pt x="140" y="287"/>
                  </a:lnTo>
                  <a:lnTo>
                    <a:pt x="156" y="285"/>
                  </a:lnTo>
                  <a:lnTo>
                    <a:pt x="163" y="288"/>
                  </a:lnTo>
                  <a:lnTo>
                    <a:pt x="178" y="281"/>
                  </a:lnTo>
                  <a:lnTo>
                    <a:pt x="194" y="278"/>
                  </a:lnTo>
                  <a:lnTo>
                    <a:pt x="210" y="281"/>
                  </a:lnTo>
                  <a:lnTo>
                    <a:pt x="219" y="278"/>
                  </a:lnTo>
                  <a:lnTo>
                    <a:pt x="229" y="279"/>
                  </a:lnTo>
                  <a:lnTo>
                    <a:pt x="232" y="265"/>
                  </a:lnTo>
                  <a:lnTo>
                    <a:pt x="251" y="26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63" name="Freeform 59">
              <a:extLst>
                <a:ext uri="{FF2B5EF4-FFF2-40B4-BE49-F238E27FC236}">
                  <a16:creationId xmlns:a16="http://schemas.microsoft.com/office/drawing/2014/main" id="{CD085032-1336-168F-0FE1-DFA563FC8EB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743064" y="2938716"/>
              <a:ext cx="222358" cy="178333"/>
            </a:xfrm>
            <a:custGeom>
              <a:avLst/>
              <a:gdLst>
                <a:gd name="T0" fmla="*/ 0 w 417"/>
                <a:gd name="T1" fmla="*/ 2147483647 h 312"/>
                <a:gd name="T2" fmla="*/ 2147483647 w 417"/>
                <a:gd name="T3" fmla="*/ 2147483647 h 312"/>
                <a:gd name="T4" fmla="*/ 2147483647 w 417"/>
                <a:gd name="T5" fmla="*/ 2147483647 h 312"/>
                <a:gd name="T6" fmla="*/ 2147483647 w 417"/>
                <a:gd name="T7" fmla="*/ 2147483647 h 312"/>
                <a:gd name="T8" fmla="*/ 2147483647 w 417"/>
                <a:gd name="T9" fmla="*/ 2147483647 h 312"/>
                <a:gd name="T10" fmla="*/ 2147483647 w 417"/>
                <a:gd name="T11" fmla="*/ 2147483647 h 312"/>
                <a:gd name="T12" fmla="*/ 2147483647 w 417"/>
                <a:gd name="T13" fmla="*/ 2147483647 h 312"/>
                <a:gd name="T14" fmla="*/ 2147483647 w 417"/>
                <a:gd name="T15" fmla="*/ 2147483647 h 312"/>
                <a:gd name="T16" fmla="*/ 2147483647 w 417"/>
                <a:gd name="T17" fmla="*/ 2147483647 h 312"/>
                <a:gd name="T18" fmla="*/ 2147483647 w 417"/>
                <a:gd name="T19" fmla="*/ 2147483647 h 312"/>
                <a:gd name="T20" fmla="*/ 2147483647 w 417"/>
                <a:gd name="T21" fmla="*/ 2147483647 h 312"/>
                <a:gd name="T22" fmla="*/ 2147483647 w 417"/>
                <a:gd name="T23" fmla="*/ 2147483647 h 312"/>
                <a:gd name="T24" fmla="*/ 2147483647 w 417"/>
                <a:gd name="T25" fmla="*/ 2147483647 h 312"/>
                <a:gd name="T26" fmla="*/ 2147483647 w 417"/>
                <a:gd name="T27" fmla="*/ 2147483647 h 312"/>
                <a:gd name="T28" fmla="*/ 2147483647 w 417"/>
                <a:gd name="T29" fmla="*/ 2147483647 h 312"/>
                <a:gd name="T30" fmla="*/ 2147483647 w 417"/>
                <a:gd name="T31" fmla="*/ 2147483647 h 312"/>
                <a:gd name="T32" fmla="*/ 2147483647 w 417"/>
                <a:gd name="T33" fmla="*/ 2147483647 h 312"/>
                <a:gd name="T34" fmla="*/ 2147483647 w 417"/>
                <a:gd name="T35" fmla="*/ 2147483647 h 312"/>
                <a:gd name="T36" fmla="*/ 2147483647 w 417"/>
                <a:gd name="T37" fmla="*/ 2147483647 h 312"/>
                <a:gd name="T38" fmla="*/ 2147483647 w 417"/>
                <a:gd name="T39" fmla="*/ 2147483647 h 312"/>
                <a:gd name="T40" fmla="*/ 2147483647 w 417"/>
                <a:gd name="T41" fmla="*/ 2147483647 h 312"/>
                <a:gd name="T42" fmla="*/ 2147483647 w 417"/>
                <a:gd name="T43" fmla="*/ 2147483647 h 312"/>
                <a:gd name="T44" fmla="*/ 2147483647 w 417"/>
                <a:gd name="T45" fmla="*/ 2147483647 h 312"/>
                <a:gd name="T46" fmla="*/ 2147483647 w 417"/>
                <a:gd name="T47" fmla="*/ 2147483647 h 312"/>
                <a:gd name="T48" fmla="*/ 2147483647 w 417"/>
                <a:gd name="T49" fmla="*/ 2147483647 h 312"/>
                <a:gd name="T50" fmla="*/ 2147483647 w 417"/>
                <a:gd name="T51" fmla="*/ 2147483647 h 312"/>
                <a:gd name="T52" fmla="*/ 2147483647 w 417"/>
                <a:gd name="T53" fmla="*/ 2147483647 h 312"/>
                <a:gd name="T54" fmla="*/ 2147483647 w 417"/>
                <a:gd name="T55" fmla="*/ 2147483647 h 312"/>
                <a:gd name="T56" fmla="*/ 2147483647 w 417"/>
                <a:gd name="T57" fmla="*/ 2147483647 h 312"/>
                <a:gd name="T58" fmla="*/ 2147483647 w 417"/>
                <a:gd name="T59" fmla="*/ 2147483647 h 312"/>
                <a:gd name="T60" fmla="*/ 2147483647 w 417"/>
                <a:gd name="T61" fmla="*/ 2147483647 h 312"/>
                <a:gd name="T62" fmla="*/ 2147483647 w 417"/>
                <a:gd name="T63" fmla="*/ 0 h 312"/>
                <a:gd name="T64" fmla="*/ 2147483647 w 417"/>
                <a:gd name="T65" fmla="*/ 0 h 312"/>
                <a:gd name="T66" fmla="*/ 2147483647 w 417"/>
                <a:gd name="T67" fmla="*/ 0 h 312"/>
                <a:gd name="T68" fmla="*/ 2147483647 w 417"/>
                <a:gd name="T69" fmla="*/ 0 h 312"/>
                <a:gd name="T70" fmla="*/ 2147483647 w 417"/>
                <a:gd name="T71" fmla="*/ 0 h 312"/>
                <a:gd name="T72" fmla="*/ 2147483647 w 417"/>
                <a:gd name="T73" fmla="*/ 0 h 312"/>
                <a:gd name="T74" fmla="*/ 2147483647 w 417"/>
                <a:gd name="T75" fmla="*/ 0 h 312"/>
                <a:gd name="T76" fmla="*/ 2147483647 w 417"/>
                <a:gd name="T77" fmla="*/ 0 h 312"/>
                <a:gd name="T78" fmla="*/ 2147483647 w 417"/>
                <a:gd name="T79" fmla="*/ 0 h 312"/>
                <a:gd name="T80" fmla="*/ 2147483647 w 417"/>
                <a:gd name="T81" fmla="*/ 2147483647 h 312"/>
                <a:gd name="T82" fmla="*/ 0 w 417"/>
                <a:gd name="T83" fmla="*/ 2147483647 h 312"/>
                <a:gd name="T84" fmla="*/ 0 w 417"/>
                <a:gd name="T85" fmla="*/ 2147483647 h 312"/>
                <a:gd name="T86" fmla="*/ 0 w 417"/>
                <a:gd name="T87" fmla="*/ 2147483647 h 312"/>
                <a:gd name="T88" fmla="*/ 0 w 417"/>
                <a:gd name="T89" fmla="*/ 2147483647 h 312"/>
                <a:gd name="T90" fmla="*/ 0 w 417"/>
                <a:gd name="T91" fmla="*/ 2147483647 h 312"/>
                <a:gd name="T92" fmla="*/ 2147483647 w 417"/>
                <a:gd name="T93" fmla="*/ 2147483647 h 312"/>
                <a:gd name="T94" fmla="*/ 0 w 417"/>
                <a:gd name="T95" fmla="*/ 2147483647 h 312"/>
                <a:gd name="T96" fmla="*/ 0 w 417"/>
                <a:gd name="T97" fmla="*/ 2147483647 h 31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17"/>
                <a:gd name="T148" fmla="*/ 0 h 312"/>
                <a:gd name="T149" fmla="*/ 417 w 417"/>
                <a:gd name="T150" fmla="*/ 312 h 31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17" h="312">
                  <a:moveTo>
                    <a:pt x="19" y="269"/>
                  </a:moveTo>
                  <a:lnTo>
                    <a:pt x="24" y="274"/>
                  </a:lnTo>
                  <a:lnTo>
                    <a:pt x="37" y="289"/>
                  </a:lnTo>
                  <a:lnTo>
                    <a:pt x="45" y="286"/>
                  </a:lnTo>
                  <a:lnTo>
                    <a:pt x="52" y="286"/>
                  </a:lnTo>
                  <a:lnTo>
                    <a:pt x="53" y="281"/>
                  </a:lnTo>
                  <a:lnTo>
                    <a:pt x="67" y="274"/>
                  </a:lnTo>
                  <a:lnTo>
                    <a:pt x="72" y="273"/>
                  </a:lnTo>
                  <a:lnTo>
                    <a:pt x="76" y="274"/>
                  </a:lnTo>
                  <a:lnTo>
                    <a:pt x="79" y="270"/>
                  </a:lnTo>
                  <a:lnTo>
                    <a:pt x="85" y="268"/>
                  </a:lnTo>
                  <a:lnTo>
                    <a:pt x="89" y="269"/>
                  </a:lnTo>
                  <a:lnTo>
                    <a:pt x="94" y="274"/>
                  </a:lnTo>
                  <a:lnTo>
                    <a:pt x="107" y="279"/>
                  </a:lnTo>
                  <a:lnTo>
                    <a:pt x="111" y="276"/>
                  </a:lnTo>
                  <a:lnTo>
                    <a:pt x="112" y="274"/>
                  </a:lnTo>
                  <a:lnTo>
                    <a:pt x="112" y="269"/>
                  </a:lnTo>
                  <a:lnTo>
                    <a:pt x="110" y="265"/>
                  </a:lnTo>
                  <a:lnTo>
                    <a:pt x="110" y="258"/>
                  </a:lnTo>
                  <a:lnTo>
                    <a:pt x="118" y="246"/>
                  </a:lnTo>
                  <a:lnTo>
                    <a:pt x="123" y="246"/>
                  </a:lnTo>
                  <a:lnTo>
                    <a:pt x="129" y="248"/>
                  </a:lnTo>
                  <a:lnTo>
                    <a:pt x="138" y="246"/>
                  </a:lnTo>
                  <a:lnTo>
                    <a:pt x="145" y="252"/>
                  </a:lnTo>
                  <a:lnTo>
                    <a:pt x="149" y="252"/>
                  </a:lnTo>
                  <a:lnTo>
                    <a:pt x="153" y="250"/>
                  </a:lnTo>
                  <a:lnTo>
                    <a:pt x="159" y="243"/>
                  </a:lnTo>
                  <a:lnTo>
                    <a:pt x="160" y="238"/>
                  </a:lnTo>
                  <a:lnTo>
                    <a:pt x="155" y="232"/>
                  </a:lnTo>
                  <a:lnTo>
                    <a:pt x="155" y="227"/>
                  </a:lnTo>
                  <a:lnTo>
                    <a:pt x="165" y="214"/>
                  </a:lnTo>
                  <a:lnTo>
                    <a:pt x="176" y="198"/>
                  </a:lnTo>
                  <a:lnTo>
                    <a:pt x="178" y="195"/>
                  </a:lnTo>
                  <a:lnTo>
                    <a:pt x="182" y="190"/>
                  </a:lnTo>
                  <a:lnTo>
                    <a:pt x="183" y="189"/>
                  </a:lnTo>
                  <a:lnTo>
                    <a:pt x="190" y="190"/>
                  </a:lnTo>
                  <a:lnTo>
                    <a:pt x="194" y="187"/>
                  </a:lnTo>
                  <a:lnTo>
                    <a:pt x="204" y="189"/>
                  </a:lnTo>
                  <a:lnTo>
                    <a:pt x="217" y="201"/>
                  </a:lnTo>
                  <a:lnTo>
                    <a:pt x="217" y="207"/>
                  </a:lnTo>
                  <a:lnTo>
                    <a:pt x="213" y="215"/>
                  </a:lnTo>
                  <a:lnTo>
                    <a:pt x="213" y="220"/>
                  </a:lnTo>
                  <a:lnTo>
                    <a:pt x="214" y="222"/>
                  </a:lnTo>
                  <a:lnTo>
                    <a:pt x="219" y="225"/>
                  </a:lnTo>
                  <a:lnTo>
                    <a:pt x="225" y="223"/>
                  </a:lnTo>
                  <a:lnTo>
                    <a:pt x="229" y="225"/>
                  </a:lnTo>
                  <a:lnTo>
                    <a:pt x="229" y="227"/>
                  </a:lnTo>
                  <a:lnTo>
                    <a:pt x="230" y="231"/>
                  </a:lnTo>
                  <a:lnTo>
                    <a:pt x="228" y="233"/>
                  </a:lnTo>
                  <a:lnTo>
                    <a:pt x="226" y="238"/>
                  </a:lnTo>
                  <a:lnTo>
                    <a:pt x="228" y="249"/>
                  </a:lnTo>
                  <a:lnTo>
                    <a:pt x="226" y="254"/>
                  </a:lnTo>
                  <a:lnTo>
                    <a:pt x="224" y="259"/>
                  </a:lnTo>
                  <a:lnTo>
                    <a:pt x="224" y="269"/>
                  </a:lnTo>
                  <a:lnTo>
                    <a:pt x="221" y="278"/>
                  </a:lnTo>
                  <a:lnTo>
                    <a:pt x="224" y="287"/>
                  </a:lnTo>
                  <a:lnTo>
                    <a:pt x="230" y="298"/>
                  </a:lnTo>
                  <a:lnTo>
                    <a:pt x="235" y="309"/>
                  </a:lnTo>
                  <a:lnTo>
                    <a:pt x="236" y="311"/>
                  </a:lnTo>
                  <a:lnTo>
                    <a:pt x="241" y="312"/>
                  </a:lnTo>
                  <a:lnTo>
                    <a:pt x="246" y="309"/>
                  </a:lnTo>
                  <a:lnTo>
                    <a:pt x="258" y="302"/>
                  </a:lnTo>
                  <a:lnTo>
                    <a:pt x="272" y="292"/>
                  </a:lnTo>
                  <a:lnTo>
                    <a:pt x="293" y="286"/>
                  </a:lnTo>
                  <a:lnTo>
                    <a:pt x="295" y="285"/>
                  </a:lnTo>
                  <a:lnTo>
                    <a:pt x="299" y="278"/>
                  </a:lnTo>
                  <a:lnTo>
                    <a:pt x="306" y="274"/>
                  </a:lnTo>
                  <a:lnTo>
                    <a:pt x="307" y="271"/>
                  </a:lnTo>
                  <a:lnTo>
                    <a:pt x="312" y="270"/>
                  </a:lnTo>
                  <a:lnTo>
                    <a:pt x="322" y="263"/>
                  </a:lnTo>
                  <a:lnTo>
                    <a:pt x="327" y="262"/>
                  </a:lnTo>
                  <a:lnTo>
                    <a:pt x="334" y="257"/>
                  </a:lnTo>
                  <a:lnTo>
                    <a:pt x="339" y="257"/>
                  </a:lnTo>
                  <a:lnTo>
                    <a:pt x="343" y="259"/>
                  </a:lnTo>
                  <a:lnTo>
                    <a:pt x="346" y="260"/>
                  </a:lnTo>
                  <a:lnTo>
                    <a:pt x="350" y="260"/>
                  </a:lnTo>
                  <a:lnTo>
                    <a:pt x="352" y="270"/>
                  </a:lnTo>
                  <a:lnTo>
                    <a:pt x="354" y="274"/>
                  </a:lnTo>
                  <a:lnTo>
                    <a:pt x="357" y="273"/>
                  </a:lnTo>
                  <a:lnTo>
                    <a:pt x="364" y="266"/>
                  </a:lnTo>
                  <a:lnTo>
                    <a:pt x="364" y="268"/>
                  </a:lnTo>
                  <a:lnTo>
                    <a:pt x="366" y="268"/>
                  </a:lnTo>
                  <a:lnTo>
                    <a:pt x="379" y="263"/>
                  </a:lnTo>
                  <a:lnTo>
                    <a:pt x="390" y="260"/>
                  </a:lnTo>
                  <a:lnTo>
                    <a:pt x="396" y="260"/>
                  </a:lnTo>
                  <a:lnTo>
                    <a:pt x="401" y="264"/>
                  </a:lnTo>
                  <a:lnTo>
                    <a:pt x="409" y="264"/>
                  </a:lnTo>
                  <a:lnTo>
                    <a:pt x="411" y="268"/>
                  </a:lnTo>
                  <a:lnTo>
                    <a:pt x="411" y="270"/>
                  </a:lnTo>
                  <a:lnTo>
                    <a:pt x="406" y="271"/>
                  </a:lnTo>
                  <a:lnTo>
                    <a:pt x="414" y="274"/>
                  </a:lnTo>
                  <a:lnTo>
                    <a:pt x="417" y="273"/>
                  </a:lnTo>
                  <a:lnTo>
                    <a:pt x="417" y="237"/>
                  </a:lnTo>
                  <a:lnTo>
                    <a:pt x="407" y="212"/>
                  </a:lnTo>
                  <a:lnTo>
                    <a:pt x="407" y="193"/>
                  </a:lnTo>
                  <a:lnTo>
                    <a:pt x="400" y="182"/>
                  </a:lnTo>
                  <a:lnTo>
                    <a:pt x="381" y="180"/>
                  </a:lnTo>
                  <a:lnTo>
                    <a:pt x="361" y="187"/>
                  </a:lnTo>
                  <a:lnTo>
                    <a:pt x="350" y="179"/>
                  </a:lnTo>
                  <a:lnTo>
                    <a:pt x="346" y="162"/>
                  </a:lnTo>
                  <a:lnTo>
                    <a:pt x="344" y="142"/>
                  </a:lnTo>
                  <a:lnTo>
                    <a:pt x="355" y="108"/>
                  </a:lnTo>
                  <a:lnTo>
                    <a:pt x="336" y="106"/>
                  </a:lnTo>
                  <a:lnTo>
                    <a:pt x="333" y="120"/>
                  </a:lnTo>
                  <a:lnTo>
                    <a:pt x="323" y="119"/>
                  </a:lnTo>
                  <a:lnTo>
                    <a:pt x="314" y="122"/>
                  </a:lnTo>
                  <a:lnTo>
                    <a:pt x="298" y="119"/>
                  </a:lnTo>
                  <a:lnTo>
                    <a:pt x="282" y="122"/>
                  </a:lnTo>
                  <a:lnTo>
                    <a:pt x="267" y="129"/>
                  </a:lnTo>
                  <a:lnTo>
                    <a:pt x="260" y="126"/>
                  </a:lnTo>
                  <a:lnTo>
                    <a:pt x="244" y="128"/>
                  </a:lnTo>
                  <a:lnTo>
                    <a:pt x="239" y="112"/>
                  </a:lnTo>
                  <a:lnTo>
                    <a:pt x="231" y="110"/>
                  </a:lnTo>
                  <a:lnTo>
                    <a:pt x="224" y="106"/>
                  </a:lnTo>
                  <a:lnTo>
                    <a:pt x="193" y="115"/>
                  </a:lnTo>
                  <a:lnTo>
                    <a:pt x="185" y="114"/>
                  </a:lnTo>
                  <a:lnTo>
                    <a:pt x="180" y="108"/>
                  </a:lnTo>
                  <a:lnTo>
                    <a:pt x="172" y="106"/>
                  </a:lnTo>
                  <a:lnTo>
                    <a:pt x="164" y="106"/>
                  </a:lnTo>
                  <a:lnTo>
                    <a:pt x="140" y="109"/>
                  </a:lnTo>
                  <a:lnTo>
                    <a:pt x="124" y="106"/>
                  </a:lnTo>
                  <a:lnTo>
                    <a:pt x="117" y="108"/>
                  </a:lnTo>
                  <a:lnTo>
                    <a:pt x="108" y="108"/>
                  </a:lnTo>
                  <a:lnTo>
                    <a:pt x="104" y="102"/>
                  </a:lnTo>
                  <a:lnTo>
                    <a:pt x="104" y="86"/>
                  </a:lnTo>
                  <a:lnTo>
                    <a:pt x="104" y="77"/>
                  </a:lnTo>
                  <a:lnTo>
                    <a:pt x="119" y="72"/>
                  </a:lnTo>
                  <a:lnTo>
                    <a:pt x="126" y="67"/>
                  </a:lnTo>
                  <a:lnTo>
                    <a:pt x="134" y="70"/>
                  </a:lnTo>
                  <a:lnTo>
                    <a:pt x="150" y="67"/>
                  </a:lnTo>
                  <a:lnTo>
                    <a:pt x="159" y="69"/>
                  </a:lnTo>
                  <a:lnTo>
                    <a:pt x="172" y="77"/>
                  </a:lnTo>
                  <a:lnTo>
                    <a:pt x="180" y="75"/>
                  </a:lnTo>
                  <a:lnTo>
                    <a:pt x="185" y="67"/>
                  </a:lnTo>
                  <a:lnTo>
                    <a:pt x="192" y="65"/>
                  </a:lnTo>
                  <a:lnTo>
                    <a:pt x="196" y="56"/>
                  </a:lnTo>
                  <a:lnTo>
                    <a:pt x="192" y="56"/>
                  </a:lnTo>
                  <a:lnTo>
                    <a:pt x="185" y="60"/>
                  </a:lnTo>
                  <a:lnTo>
                    <a:pt x="176" y="61"/>
                  </a:lnTo>
                  <a:lnTo>
                    <a:pt x="172" y="54"/>
                  </a:lnTo>
                  <a:lnTo>
                    <a:pt x="167" y="38"/>
                  </a:lnTo>
                  <a:lnTo>
                    <a:pt x="174" y="33"/>
                  </a:lnTo>
                  <a:lnTo>
                    <a:pt x="181" y="29"/>
                  </a:lnTo>
                  <a:lnTo>
                    <a:pt x="185" y="22"/>
                  </a:lnTo>
                  <a:lnTo>
                    <a:pt x="183" y="15"/>
                  </a:lnTo>
                  <a:lnTo>
                    <a:pt x="178" y="9"/>
                  </a:lnTo>
                  <a:lnTo>
                    <a:pt x="177" y="0"/>
                  </a:lnTo>
                  <a:lnTo>
                    <a:pt x="170" y="0"/>
                  </a:lnTo>
                  <a:lnTo>
                    <a:pt x="164" y="5"/>
                  </a:lnTo>
                  <a:lnTo>
                    <a:pt x="160" y="12"/>
                  </a:lnTo>
                  <a:lnTo>
                    <a:pt x="145" y="20"/>
                  </a:lnTo>
                  <a:lnTo>
                    <a:pt x="132" y="27"/>
                  </a:lnTo>
                  <a:lnTo>
                    <a:pt x="123" y="28"/>
                  </a:lnTo>
                  <a:lnTo>
                    <a:pt x="117" y="23"/>
                  </a:lnTo>
                  <a:lnTo>
                    <a:pt x="110" y="27"/>
                  </a:lnTo>
                  <a:lnTo>
                    <a:pt x="108" y="36"/>
                  </a:lnTo>
                  <a:lnTo>
                    <a:pt x="102" y="40"/>
                  </a:lnTo>
                  <a:lnTo>
                    <a:pt x="107" y="47"/>
                  </a:lnTo>
                  <a:lnTo>
                    <a:pt x="107" y="55"/>
                  </a:lnTo>
                  <a:lnTo>
                    <a:pt x="105" y="63"/>
                  </a:lnTo>
                  <a:lnTo>
                    <a:pt x="99" y="67"/>
                  </a:lnTo>
                  <a:lnTo>
                    <a:pt x="83" y="70"/>
                  </a:lnTo>
                  <a:lnTo>
                    <a:pt x="75" y="75"/>
                  </a:lnTo>
                  <a:lnTo>
                    <a:pt x="75" y="82"/>
                  </a:lnTo>
                  <a:lnTo>
                    <a:pt x="63" y="104"/>
                  </a:lnTo>
                  <a:lnTo>
                    <a:pt x="56" y="107"/>
                  </a:lnTo>
                  <a:lnTo>
                    <a:pt x="40" y="108"/>
                  </a:lnTo>
                  <a:lnTo>
                    <a:pt x="32" y="107"/>
                  </a:lnTo>
                  <a:lnTo>
                    <a:pt x="26" y="101"/>
                  </a:lnTo>
                  <a:lnTo>
                    <a:pt x="18" y="102"/>
                  </a:lnTo>
                  <a:lnTo>
                    <a:pt x="10" y="106"/>
                  </a:lnTo>
                  <a:lnTo>
                    <a:pt x="6" y="112"/>
                  </a:lnTo>
                  <a:lnTo>
                    <a:pt x="8" y="120"/>
                  </a:lnTo>
                  <a:lnTo>
                    <a:pt x="0" y="125"/>
                  </a:lnTo>
                  <a:lnTo>
                    <a:pt x="6" y="131"/>
                  </a:lnTo>
                  <a:lnTo>
                    <a:pt x="14" y="136"/>
                  </a:lnTo>
                  <a:lnTo>
                    <a:pt x="16" y="144"/>
                  </a:lnTo>
                  <a:lnTo>
                    <a:pt x="25" y="145"/>
                  </a:lnTo>
                  <a:lnTo>
                    <a:pt x="34" y="144"/>
                  </a:lnTo>
                  <a:lnTo>
                    <a:pt x="40" y="149"/>
                  </a:lnTo>
                  <a:lnTo>
                    <a:pt x="42" y="156"/>
                  </a:lnTo>
                  <a:lnTo>
                    <a:pt x="41" y="165"/>
                  </a:lnTo>
                  <a:lnTo>
                    <a:pt x="37" y="171"/>
                  </a:lnTo>
                  <a:lnTo>
                    <a:pt x="41" y="187"/>
                  </a:lnTo>
                  <a:lnTo>
                    <a:pt x="46" y="194"/>
                  </a:lnTo>
                  <a:lnTo>
                    <a:pt x="53" y="199"/>
                  </a:lnTo>
                  <a:lnTo>
                    <a:pt x="54" y="205"/>
                  </a:lnTo>
                  <a:lnTo>
                    <a:pt x="52" y="212"/>
                  </a:lnTo>
                  <a:lnTo>
                    <a:pt x="47" y="217"/>
                  </a:lnTo>
                  <a:lnTo>
                    <a:pt x="40" y="222"/>
                  </a:lnTo>
                  <a:lnTo>
                    <a:pt x="37" y="228"/>
                  </a:lnTo>
                  <a:lnTo>
                    <a:pt x="29" y="239"/>
                  </a:lnTo>
                  <a:lnTo>
                    <a:pt x="22" y="253"/>
                  </a:lnTo>
                  <a:lnTo>
                    <a:pt x="24" y="259"/>
                  </a:lnTo>
                  <a:lnTo>
                    <a:pt x="24" y="266"/>
                  </a:lnTo>
                  <a:lnTo>
                    <a:pt x="19" y="26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64" name="Freeform 60">
              <a:extLst>
                <a:ext uri="{FF2B5EF4-FFF2-40B4-BE49-F238E27FC236}">
                  <a16:creationId xmlns:a16="http://schemas.microsoft.com/office/drawing/2014/main" id="{FEE463D2-F6CC-D463-102D-D0FEE456BE7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847528" y="2978346"/>
              <a:ext cx="7461" cy="9145"/>
            </a:xfrm>
            <a:custGeom>
              <a:avLst/>
              <a:gdLst>
                <a:gd name="T0" fmla="*/ 0 w 16"/>
                <a:gd name="T1" fmla="*/ 0 h 22"/>
                <a:gd name="T2" fmla="*/ 0 w 16"/>
                <a:gd name="T3" fmla="*/ 0 h 22"/>
                <a:gd name="T4" fmla="*/ 0 w 16"/>
                <a:gd name="T5" fmla="*/ 0 h 22"/>
                <a:gd name="T6" fmla="*/ 0 w 16"/>
                <a:gd name="T7" fmla="*/ 0 h 22"/>
                <a:gd name="T8" fmla="*/ 0 w 16"/>
                <a:gd name="T9" fmla="*/ 0 h 22"/>
                <a:gd name="T10" fmla="*/ 0 w 16"/>
                <a:gd name="T11" fmla="*/ 0 h 22"/>
                <a:gd name="T12" fmla="*/ 0 w 16"/>
                <a:gd name="T13" fmla="*/ 0 h 22"/>
                <a:gd name="T14" fmla="*/ 0 w 16"/>
                <a:gd name="T15" fmla="*/ 0 h 2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6"/>
                <a:gd name="T25" fmla="*/ 0 h 22"/>
                <a:gd name="T26" fmla="*/ 16 w 16"/>
                <a:gd name="T27" fmla="*/ 22 h 2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6" h="22">
                  <a:moveTo>
                    <a:pt x="16" y="19"/>
                  </a:moveTo>
                  <a:lnTo>
                    <a:pt x="14" y="12"/>
                  </a:lnTo>
                  <a:lnTo>
                    <a:pt x="5" y="0"/>
                  </a:lnTo>
                  <a:lnTo>
                    <a:pt x="0" y="6"/>
                  </a:lnTo>
                  <a:lnTo>
                    <a:pt x="1" y="13"/>
                  </a:lnTo>
                  <a:lnTo>
                    <a:pt x="3" y="21"/>
                  </a:lnTo>
                  <a:lnTo>
                    <a:pt x="12" y="22"/>
                  </a:lnTo>
                  <a:lnTo>
                    <a:pt x="16" y="1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65" name="Freeform 61">
              <a:extLst>
                <a:ext uri="{FF2B5EF4-FFF2-40B4-BE49-F238E27FC236}">
                  <a16:creationId xmlns:a16="http://schemas.microsoft.com/office/drawing/2014/main" id="{67C9A546-0264-33B1-F9D0-E324964C286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865436" y="2981394"/>
              <a:ext cx="8954" cy="6097"/>
            </a:xfrm>
            <a:custGeom>
              <a:avLst/>
              <a:gdLst>
                <a:gd name="T0" fmla="*/ 0 w 15"/>
                <a:gd name="T1" fmla="*/ 0 h 9"/>
                <a:gd name="T2" fmla="*/ 0 w 15"/>
                <a:gd name="T3" fmla="*/ 0 h 9"/>
                <a:gd name="T4" fmla="*/ 0 w 15"/>
                <a:gd name="T5" fmla="*/ 0 h 9"/>
                <a:gd name="T6" fmla="*/ 0 w 15"/>
                <a:gd name="T7" fmla="*/ 0 h 9"/>
                <a:gd name="T8" fmla="*/ 0 w 15"/>
                <a:gd name="T9" fmla="*/ 0 h 9"/>
                <a:gd name="T10" fmla="*/ 0 w 15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9"/>
                <a:gd name="T20" fmla="*/ 15 w 1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9">
                  <a:moveTo>
                    <a:pt x="15" y="4"/>
                  </a:moveTo>
                  <a:lnTo>
                    <a:pt x="7" y="0"/>
                  </a:lnTo>
                  <a:lnTo>
                    <a:pt x="0" y="3"/>
                  </a:lnTo>
                  <a:lnTo>
                    <a:pt x="6" y="9"/>
                  </a:lnTo>
                  <a:lnTo>
                    <a:pt x="14" y="6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66" name="Freeform 62">
              <a:extLst>
                <a:ext uri="{FF2B5EF4-FFF2-40B4-BE49-F238E27FC236}">
                  <a16:creationId xmlns:a16="http://schemas.microsoft.com/office/drawing/2014/main" id="{3EE5E2FD-D0BA-36CF-9BE5-FA9DF5DA6F6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834097" y="2987491"/>
              <a:ext cx="5969" cy="7621"/>
            </a:xfrm>
            <a:custGeom>
              <a:avLst/>
              <a:gdLst>
                <a:gd name="T0" fmla="*/ 0 w 12"/>
                <a:gd name="T1" fmla="*/ 0 h 8"/>
                <a:gd name="T2" fmla="*/ 0 w 12"/>
                <a:gd name="T3" fmla="*/ 0 h 8"/>
                <a:gd name="T4" fmla="*/ 0 w 12"/>
                <a:gd name="T5" fmla="*/ 0 h 8"/>
                <a:gd name="T6" fmla="*/ 0 w 12"/>
                <a:gd name="T7" fmla="*/ 0 h 8"/>
                <a:gd name="T8" fmla="*/ 0 w 12"/>
                <a:gd name="T9" fmla="*/ 0 h 8"/>
                <a:gd name="T10" fmla="*/ 0 w 12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8"/>
                <a:gd name="T20" fmla="*/ 12 w 12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8">
                  <a:moveTo>
                    <a:pt x="12" y="6"/>
                  </a:moveTo>
                  <a:lnTo>
                    <a:pt x="8" y="0"/>
                  </a:lnTo>
                  <a:lnTo>
                    <a:pt x="0" y="1"/>
                  </a:lnTo>
                  <a:lnTo>
                    <a:pt x="2" y="8"/>
                  </a:lnTo>
                  <a:lnTo>
                    <a:pt x="11" y="8"/>
                  </a:lnTo>
                  <a:lnTo>
                    <a:pt x="12" y="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67" name="Freeform 63">
              <a:extLst>
                <a:ext uri="{FF2B5EF4-FFF2-40B4-BE49-F238E27FC236}">
                  <a16:creationId xmlns:a16="http://schemas.microsoft.com/office/drawing/2014/main" id="{2596A6F1-B794-FA2F-3E41-ECF205A990A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540106" y="3045411"/>
              <a:ext cx="422332" cy="341424"/>
            </a:xfrm>
            <a:custGeom>
              <a:avLst/>
              <a:gdLst>
                <a:gd name="T0" fmla="*/ 2147483647 w 788"/>
                <a:gd name="T1" fmla="*/ 2147483647 h 599"/>
                <a:gd name="T2" fmla="*/ 0 w 788"/>
                <a:gd name="T3" fmla="*/ 2147483647 h 599"/>
                <a:gd name="T4" fmla="*/ 0 w 788"/>
                <a:gd name="T5" fmla="*/ 2147483647 h 599"/>
                <a:gd name="T6" fmla="*/ 0 w 788"/>
                <a:gd name="T7" fmla="*/ 2147483647 h 599"/>
                <a:gd name="T8" fmla="*/ 0 w 788"/>
                <a:gd name="T9" fmla="*/ 2147483647 h 599"/>
                <a:gd name="T10" fmla="*/ 2147483647 w 788"/>
                <a:gd name="T11" fmla="*/ 2147483647 h 599"/>
                <a:gd name="T12" fmla="*/ 2147483647 w 788"/>
                <a:gd name="T13" fmla="*/ 2147483647 h 599"/>
                <a:gd name="T14" fmla="*/ 2147483647 w 788"/>
                <a:gd name="T15" fmla="*/ 2147483647 h 599"/>
                <a:gd name="T16" fmla="*/ 2147483647 w 788"/>
                <a:gd name="T17" fmla="*/ 2147483647 h 599"/>
                <a:gd name="T18" fmla="*/ 2147483647 w 788"/>
                <a:gd name="T19" fmla="*/ 2147483647 h 599"/>
                <a:gd name="T20" fmla="*/ 2147483647 w 788"/>
                <a:gd name="T21" fmla="*/ 2147483647 h 599"/>
                <a:gd name="T22" fmla="*/ 2147483647 w 788"/>
                <a:gd name="T23" fmla="*/ 2147483647 h 599"/>
                <a:gd name="T24" fmla="*/ 2147483647 w 788"/>
                <a:gd name="T25" fmla="*/ 2147483647 h 599"/>
                <a:gd name="T26" fmla="*/ 2147483647 w 788"/>
                <a:gd name="T27" fmla="*/ 0 h 599"/>
                <a:gd name="T28" fmla="*/ 2147483647 w 788"/>
                <a:gd name="T29" fmla="*/ 0 h 599"/>
                <a:gd name="T30" fmla="*/ 2147483647 w 788"/>
                <a:gd name="T31" fmla="*/ 2147483647 h 599"/>
                <a:gd name="T32" fmla="*/ 2147483647 w 788"/>
                <a:gd name="T33" fmla="*/ 2147483647 h 599"/>
                <a:gd name="T34" fmla="*/ 2147483647 w 788"/>
                <a:gd name="T35" fmla="*/ 2147483647 h 599"/>
                <a:gd name="T36" fmla="*/ 2147483647 w 788"/>
                <a:gd name="T37" fmla="*/ 2147483647 h 599"/>
                <a:gd name="T38" fmla="*/ 2147483647 w 788"/>
                <a:gd name="T39" fmla="*/ 0 h 599"/>
                <a:gd name="T40" fmla="*/ 2147483647 w 788"/>
                <a:gd name="T41" fmla="*/ 0 h 599"/>
                <a:gd name="T42" fmla="*/ 2147483647 w 788"/>
                <a:gd name="T43" fmla="*/ 0 h 599"/>
                <a:gd name="T44" fmla="*/ 2147483647 w 788"/>
                <a:gd name="T45" fmla="*/ 0 h 599"/>
                <a:gd name="T46" fmla="*/ 2147483647 w 788"/>
                <a:gd name="T47" fmla="*/ 0 h 599"/>
                <a:gd name="T48" fmla="*/ 2147483647 w 788"/>
                <a:gd name="T49" fmla="*/ 0 h 599"/>
                <a:gd name="T50" fmla="*/ 2147483647 w 788"/>
                <a:gd name="T51" fmla="*/ 0 h 599"/>
                <a:gd name="T52" fmla="*/ 2147483647 w 788"/>
                <a:gd name="T53" fmla="*/ 2147483647 h 599"/>
                <a:gd name="T54" fmla="*/ 2147483647 w 788"/>
                <a:gd name="T55" fmla="*/ 2147483647 h 599"/>
                <a:gd name="T56" fmla="*/ 2147483647 w 788"/>
                <a:gd name="T57" fmla="*/ 2147483647 h 599"/>
                <a:gd name="T58" fmla="*/ 2147483647 w 788"/>
                <a:gd name="T59" fmla="*/ 0 h 599"/>
                <a:gd name="T60" fmla="*/ 2147483647 w 788"/>
                <a:gd name="T61" fmla="*/ 0 h 599"/>
                <a:gd name="T62" fmla="*/ 2147483647 w 788"/>
                <a:gd name="T63" fmla="*/ 2147483647 h 599"/>
                <a:gd name="T64" fmla="*/ 2147483647 w 788"/>
                <a:gd name="T65" fmla="*/ 0 h 599"/>
                <a:gd name="T66" fmla="*/ 2147483647 w 788"/>
                <a:gd name="T67" fmla="*/ 2147483647 h 599"/>
                <a:gd name="T68" fmla="*/ 2147483647 w 788"/>
                <a:gd name="T69" fmla="*/ 2147483647 h 599"/>
                <a:gd name="T70" fmla="*/ 2147483647 w 788"/>
                <a:gd name="T71" fmla="*/ 2147483647 h 599"/>
                <a:gd name="T72" fmla="*/ 2147483647 w 788"/>
                <a:gd name="T73" fmla="*/ 2147483647 h 599"/>
                <a:gd name="T74" fmla="*/ 2147483647 w 788"/>
                <a:gd name="T75" fmla="*/ 2147483647 h 599"/>
                <a:gd name="T76" fmla="*/ 2147483647 w 788"/>
                <a:gd name="T77" fmla="*/ 2147483647 h 599"/>
                <a:gd name="T78" fmla="*/ 2147483647 w 788"/>
                <a:gd name="T79" fmla="*/ 2147483647 h 599"/>
                <a:gd name="T80" fmla="*/ 2147483647 w 788"/>
                <a:gd name="T81" fmla="*/ 2147483647 h 599"/>
                <a:gd name="T82" fmla="*/ 2147483647 w 788"/>
                <a:gd name="T83" fmla="*/ 2147483647 h 599"/>
                <a:gd name="T84" fmla="*/ 2147483647 w 788"/>
                <a:gd name="T85" fmla="*/ 2147483647 h 599"/>
                <a:gd name="T86" fmla="*/ 2147483647 w 788"/>
                <a:gd name="T87" fmla="*/ 2147483647 h 599"/>
                <a:gd name="T88" fmla="*/ 2147483647 w 788"/>
                <a:gd name="T89" fmla="*/ 2147483647 h 599"/>
                <a:gd name="T90" fmla="*/ 2147483647 w 788"/>
                <a:gd name="T91" fmla="*/ 2147483647 h 599"/>
                <a:gd name="T92" fmla="*/ 2147483647 w 788"/>
                <a:gd name="T93" fmla="*/ 2147483647 h 599"/>
                <a:gd name="T94" fmla="*/ 2147483647 w 788"/>
                <a:gd name="T95" fmla="*/ 2147483647 h 599"/>
                <a:gd name="T96" fmla="*/ 2147483647 w 788"/>
                <a:gd name="T97" fmla="*/ 2147483647 h 599"/>
                <a:gd name="T98" fmla="*/ 2147483647 w 788"/>
                <a:gd name="T99" fmla="*/ 2147483647 h 599"/>
                <a:gd name="T100" fmla="*/ 2147483647 w 788"/>
                <a:gd name="T101" fmla="*/ 2147483647 h 599"/>
                <a:gd name="T102" fmla="*/ 2147483647 w 788"/>
                <a:gd name="T103" fmla="*/ 2147483647 h 599"/>
                <a:gd name="T104" fmla="*/ 2147483647 w 788"/>
                <a:gd name="T105" fmla="*/ 2147483647 h 599"/>
                <a:gd name="T106" fmla="*/ 2147483647 w 788"/>
                <a:gd name="T107" fmla="*/ 2147483647 h 599"/>
                <a:gd name="T108" fmla="*/ 2147483647 w 788"/>
                <a:gd name="T109" fmla="*/ 2147483647 h 599"/>
                <a:gd name="T110" fmla="*/ 2147483647 w 788"/>
                <a:gd name="T111" fmla="*/ 2147483647 h 599"/>
                <a:gd name="T112" fmla="*/ 2147483647 w 788"/>
                <a:gd name="T113" fmla="*/ 2147483647 h 599"/>
                <a:gd name="T114" fmla="*/ 2147483647 w 788"/>
                <a:gd name="T115" fmla="*/ 2147483647 h 599"/>
                <a:gd name="T116" fmla="*/ 2147483647 w 788"/>
                <a:gd name="T117" fmla="*/ 2147483647 h 599"/>
                <a:gd name="T118" fmla="*/ 2147483647 w 788"/>
                <a:gd name="T119" fmla="*/ 2147483647 h 599"/>
                <a:gd name="T120" fmla="*/ 2147483647 w 788"/>
                <a:gd name="T121" fmla="*/ 2147483647 h 599"/>
                <a:gd name="T122" fmla="*/ 2147483647 w 788"/>
                <a:gd name="T123" fmla="*/ 2147483647 h 599"/>
                <a:gd name="T124" fmla="*/ 2147483647 w 788"/>
                <a:gd name="T125" fmla="*/ 2147483647 h 59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788"/>
                <a:gd name="T190" fmla="*/ 0 h 599"/>
                <a:gd name="T191" fmla="*/ 788 w 788"/>
                <a:gd name="T192" fmla="*/ 599 h 59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788" h="599">
                  <a:moveTo>
                    <a:pt x="24" y="572"/>
                  </a:moveTo>
                  <a:lnTo>
                    <a:pt x="36" y="547"/>
                  </a:lnTo>
                  <a:lnTo>
                    <a:pt x="59" y="519"/>
                  </a:lnTo>
                  <a:lnTo>
                    <a:pt x="65" y="502"/>
                  </a:lnTo>
                  <a:lnTo>
                    <a:pt x="65" y="487"/>
                  </a:lnTo>
                  <a:lnTo>
                    <a:pt x="59" y="471"/>
                  </a:lnTo>
                  <a:lnTo>
                    <a:pt x="48" y="461"/>
                  </a:lnTo>
                  <a:lnTo>
                    <a:pt x="36" y="461"/>
                  </a:lnTo>
                  <a:lnTo>
                    <a:pt x="24" y="458"/>
                  </a:lnTo>
                  <a:lnTo>
                    <a:pt x="14" y="447"/>
                  </a:lnTo>
                  <a:lnTo>
                    <a:pt x="12" y="434"/>
                  </a:lnTo>
                  <a:lnTo>
                    <a:pt x="15" y="417"/>
                  </a:lnTo>
                  <a:lnTo>
                    <a:pt x="12" y="399"/>
                  </a:lnTo>
                  <a:lnTo>
                    <a:pt x="6" y="383"/>
                  </a:lnTo>
                  <a:lnTo>
                    <a:pt x="3" y="371"/>
                  </a:lnTo>
                  <a:lnTo>
                    <a:pt x="6" y="353"/>
                  </a:lnTo>
                  <a:lnTo>
                    <a:pt x="15" y="335"/>
                  </a:lnTo>
                  <a:lnTo>
                    <a:pt x="14" y="324"/>
                  </a:lnTo>
                  <a:lnTo>
                    <a:pt x="0" y="319"/>
                  </a:lnTo>
                  <a:lnTo>
                    <a:pt x="0" y="299"/>
                  </a:lnTo>
                  <a:lnTo>
                    <a:pt x="0" y="289"/>
                  </a:lnTo>
                  <a:lnTo>
                    <a:pt x="21" y="281"/>
                  </a:lnTo>
                  <a:lnTo>
                    <a:pt x="21" y="266"/>
                  </a:lnTo>
                  <a:lnTo>
                    <a:pt x="35" y="244"/>
                  </a:lnTo>
                  <a:lnTo>
                    <a:pt x="40" y="223"/>
                  </a:lnTo>
                  <a:lnTo>
                    <a:pt x="40" y="206"/>
                  </a:lnTo>
                  <a:lnTo>
                    <a:pt x="42" y="192"/>
                  </a:lnTo>
                  <a:lnTo>
                    <a:pt x="48" y="196"/>
                  </a:lnTo>
                  <a:lnTo>
                    <a:pt x="54" y="202"/>
                  </a:lnTo>
                  <a:lnTo>
                    <a:pt x="57" y="206"/>
                  </a:lnTo>
                  <a:lnTo>
                    <a:pt x="68" y="208"/>
                  </a:lnTo>
                  <a:lnTo>
                    <a:pt x="80" y="206"/>
                  </a:lnTo>
                  <a:lnTo>
                    <a:pt x="86" y="211"/>
                  </a:lnTo>
                  <a:lnTo>
                    <a:pt x="94" y="215"/>
                  </a:lnTo>
                  <a:lnTo>
                    <a:pt x="98" y="221"/>
                  </a:lnTo>
                  <a:lnTo>
                    <a:pt x="103" y="221"/>
                  </a:lnTo>
                  <a:lnTo>
                    <a:pt x="111" y="219"/>
                  </a:lnTo>
                  <a:lnTo>
                    <a:pt x="124" y="219"/>
                  </a:lnTo>
                  <a:lnTo>
                    <a:pt x="130" y="213"/>
                  </a:lnTo>
                  <a:lnTo>
                    <a:pt x="139" y="210"/>
                  </a:lnTo>
                  <a:lnTo>
                    <a:pt x="143" y="207"/>
                  </a:lnTo>
                  <a:lnTo>
                    <a:pt x="145" y="195"/>
                  </a:lnTo>
                  <a:lnTo>
                    <a:pt x="149" y="194"/>
                  </a:lnTo>
                  <a:lnTo>
                    <a:pt x="153" y="189"/>
                  </a:lnTo>
                  <a:lnTo>
                    <a:pt x="146" y="184"/>
                  </a:lnTo>
                  <a:lnTo>
                    <a:pt x="146" y="178"/>
                  </a:lnTo>
                  <a:lnTo>
                    <a:pt x="154" y="179"/>
                  </a:lnTo>
                  <a:lnTo>
                    <a:pt x="160" y="176"/>
                  </a:lnTo>
                  <a:lnTo>
                    <a:pt x="178" y="173"/>
                  </a:lnTo>
                  <a:lnTo>
                    <a:pt x="186" y="168"/>
                  </a:lnTo>
                  <a:lnTo>
                    <a:pt x="194" y="164"/>
                  </a:lnTo>
                  <a:lnTo>
                    <a:pt x="200" y="158"/>
                  </a:lnTo>
                  <a:lnTo>
                    <a:pt x="208" y="157"/>
                  </a:lnTo>
                  <a:lnTo>
                    <a:pt x="223" y="147"/>
                  </a:lnTo>
                  <a:lnTo>
                    <a:pt x="224" y="142"/>
                  </a:lnTo>
                  <a:lnTo>
                    <a:pt x="224" y="135"/>
                  </a:lnTo>
                  <a:lnTo>
                    <a:pt x="226" y="122"/>
                  </a:lnTo>
                  <a:lnTo>
                    <a:pt x="229" y="119"/>
                  </a:lnTo>
                  <a:lnTo>
                    <a:pt x="235" y="102"/>
                  </a:lnTo>
                  <a:lnTo>
                    <a:pt x="235" y="95"/>
                  </a:lnTo>
                  <a:lnTo>
                    <a:pt x="236" y="93"/>
                  </a:lnTo>
                  <a:lnTo>
                    <a:pt x="240" y="89"/>
                  </a:lnTo>
                  <a:lnTo>
                    <a:pt x="245" y="83"/>
                  </a:lnTo>
                  <a:lnTo>
                    <a:pt x="253" y="82"/>
                  </a:lnTo>
                  <a:lnTo>
                    <a:pt x="259" y="83"/>
                  </a:lnTo>
                  <a:lnTo>
                    <a:pt x="274" y="83"/>
                  </a:lnTo>
                  <a:lnTo>
                    <a:pt x="277" y="82"/>
                  </a:lnTo>
                  <a:lnTo>
                    <a:pt x="279" y="77"/>
                  </a:lnTo>
                  <a:lnTo>
                    <a:pt x="280" y="68"/>
                  </a:lnTo>
                  <a:lnTo>
                    <a:pt x="283" y="65"/>
                  </a:lnTo>
                  <a:lnTo>
                    <a:pt x="288" y="65"/>
                  </a:lnTo>
                  <a:lnTo>
                    <a:pt x="293" y="65"/>
                  </a:lnTo>
                  <a:lnTo>
                    <a:pt x="306" y="73"/>
                  </a:lnTo>
                  <a:lnTo>
                    <a:pt x="316" y="77"/>
                  </a:lnTo>
                  <a:lnTo>
                    <a:pt x="331" y="77"/>
                  </a:lnTo>
                  <a:lnTo>
                    <a:pt x="360" y="76"/>
                  </a:lnTo>
                  <a:lnTo>
                    <a:pt x="366" y="78"/>
                  </a:lnTo>
                  <a:lnTo>
                    <a:pt x="374" y="83"/>
                  </a:lnTo>
                  <a:lnTo>
                    <a:pt x="383" y="81"/>
                  </a:lnTo>
                  <a:lnTo>
                    <a:pt x="396" y="82"/>
                  </a:lnTo>
                  <a:lnTo>
                    <a:pt x="401" y="87"/>
                  </a:lnTo>
                  <a:lnTo>
                    <a:pt x="414" y="102"/>
                  </a:lnTo>
                  <a:lnTo>
                    <a:pt x="422" y="99"/>
                  </a:lnTo>
                  <a:lnTo>
                    <a:pt x="429" y="99"/>
                  </a:lnTo>
                  <a:lnTo>
                    <a:pt x="430" y="94"/>
                  </a:lnTo>
                  <a:lnTo>
                    <a:pt x="444" y="87"/>
                  </a:lnTo>
                  <a:lnTo>
                    <a:pt x="449" y="86"/>
                  </a:lnTo>
                  <a:lnTo>
                    <a:pt x="453" y="87"/>
                  </a:lnTo>
                  <a:lnTo>
                    <a:pt x="456" y="83"/>
                  </a:lnTo>
                  <a:lnTo>
                    <a:pt x="462" y="81"/>
                  </a:lnTo>
                  <a:lnTo>
                    <a:pt x="466" y="82"/>
                  </a:lnTo>
                  <a:lnTo>
                    <a:pt x="471" y="87"/>
                  </a:lnTo>
                  <a:lnTo>
                    <a:pt x="484" y="92"/>
                  </a:lnTo>
                  <a:lnTo>
                    <a:pt x="488" y="89"/>
                  </a:lnTo>
                  <a:lnTo>
                    <a:pt x="489" y="87"/>
                  </a:lnTo>
                  <a:lnTo>
                    <a:pt x="489" y="82"/>
                  </a:lnTo>
                  <a:lnTo>
                    <a:pt x="487" y="78"/>
                  </a:lnTo>
                  <a:lnTo>
                    <a:pt x="485" y="71"/>
                  </a:lnTo>
                  <a:lnTo>
                    <a:pt x="495" y="59"/>
                  </a:lnTo>
                  <a:lnTo>
                    <a:pt x="500" y="59"/>
                  </a:lnTo>
                  <a:lnTo>
                    <a:pt x="506" y="61"/>
                  </a:lnTo>
                  <a:lnTo>
                    <a:pt x="514" y="59"/>
                  </a:lnTo>
                  <a:lnTo>
                    <a:pt x="522" y="65"/>
                  </a:lnTo>
                  <a:lnTo>
                    <a:pt x="526" y="65"/>
                  </a:lnTo>
                  <a:lnTo>
                    <a:pt x="528" y="63"/>
                  </a:lnTo>
                  <a:lnTo>
                    <a:pt x="536" y="56"/>
                  </a:lnTo>
                  <a:lnTo>
                    <a:pt x="537" y="51"/>
                  </a:lnTo>
                  <a:lnTo>
                    <a:pt x="532" y="45"/>
                  </a:lnTo>
                  <a:lnTo>
                    <a:pt x="532" y="40"/>
                  </a:lnTo>
                  <a:lnTo>
                    <a:pt x="542" y="27"/>
                  </a:lnTo>
                  <a:lnTo>
                    <a:pt x="553" y="11"/>
                  </a:lnTo>
                  <a:lnTo>
                    <a:pt x="555" y="9"/>
                  </a:lnTo>
                  <a:lnTo>
                    <a:pt x="559" y="3"/>
                  </a:lnTo>
                  <a:lnTo>
                    <a:pt x="560" y="2"/>
                  </a:lnTo>
                  <a:lnTo>
                    <a:pt x="567" y="3"/>
                  </a:lnTo>
                  <a:lnTo>
                    <a:pt x="571" y="0"/>
                  </a:lnTo>
                  <a:lnTo>
                    <a:pt x="581" y="2"/>
                  </a:lnTo>
                  <a:lnTo>
                    <a:pt x="594" y="14"/>
                  </a:lnTo>
                  <a:lnTo>
                    <a:pt x="594" y="20"/>
                  </a:lnTo>
                  <a:lnTo>
                    <a:pt x="590" y="28"/>
                  </a:lnTo>
                  <a:lnTo>
                    <a:pt x="590" y="33"/>
                  </a:lnTo>
                  <a:lnTo>
                    <a:pt x="591" y="35"/>
                  </a:lnTo>
                  <a:lnTo>
                    <a:pt x="596" y="38"/>
                  </a:lnTo>
                  <a:lnTo>
                    <a:pt x="602" y="36"/>
                  </a:lnTo>
                  <a:lnTo>
                    <a:pt x="606" y="38"/>
                  </a:lnTo>
                  <a:lnTo>
                    <a:pt x="606" y="40"/>
                  </a:lnTo>
                  <a:lnTo>
                    <a:pt x="607" y="44"/>
                  </a:lnTo>
                  <a:lnTo>
                    <a:pt x="605" y="46"/>
                  </a:lnTo>
                  <a:lnTo>
                    <a:pt x="603" y="51"/>
                  </a:lnTo>
                  <a:lnTo>
                    <a:pt x="605" y="62"/>
                  </a:lnTo>
                  <a:lnTo>
                    <a:pt x="603" y="67"/>
                  </a:lnTo>
                  <a:lnTo>
                    <a:pt x="601" y="72"/>
                  </a:lnTo>
                  <a:lnTo>
                    <a:pt x="601" y="82"/>
                  </a:lnTo>
                  <a:lnTo>
                    <a:pt x="598" y="92"/>
                  </a:lnTo>
                  <a:lnTo>
                    <a:pt x="601" y="100"/>
                  </a:lnTo>
                  <a:lnTo>
                    <a:pt x="607" y="111"/>
                  </a:lnTo>
                  <a:lnTo>
                    <a:pt x="612" y="122"/>
                  </a:lnTo>
                  <a:lnTo>
                    <a:pt x="613" y="124"/>
                  </a:lnTo>
                  <a:lnTo>
                    <a:pt x="618" y="125"/>
                  </a:lnTo>
                  <a:lnTo>
                    <a:pt x="623" y="122"/>
                  </a:lnTo>
                  <a:lnTo>
                    <a:pt x="635" y="115"/>
                  </a:lnTo>
                  <a:lnTo>
                    <a:pt x="648" y="105"/>
                  </a:lnTo>
                  <a:lnTo>
                    <a:pt x="670" y="99"/>
                  </a:lnTo>
                  <a:lnTo>
                    <a:pt x="671" y="98"/>
                  </a:lnTo>
                  <a:lnTo>
                    <a:pt x="676" y="92"/>
                  </a:lnTo>
                  <a:lnTo>
                    <a:pt x="683" y="87"/>
                  </a:lnTo>
                  <a:lnTo>
                    <a:pt x="684" y="84"/>
                  </a:lnTo>
                  <a:lnTo>
                    <a:pt x="689" y="83"/>
                  </a:lnTo>
                  <a:lnTo>
                    <a:pt x="699" y="77"/>
                  </a:lnTo>
                  <a:lnTo>
                    <a:pt x="704" y="75"/>
                  </a:lnTo>
                  <a:lnTo>
                    <a:pt x="711" y="70"/>
                  </a:lnTo>
                  <a:lnTo>
                    <a:pt x="716" y="70"/>
                  </a:lnTo>
                  <a:lnTo>
                    <a:pt x="720" y="72"/>
                  </a:lnTo>
                  <a:lnTo>
                    <a:pt x="723" y="73"/>
                  </a:lnTo>
                  <a:lnTo>
                    <a:pt x="727" y="73"/>
                  </a:lnTo>
                  <a:lnTo>
                    <a:pt x="729" y="83"/>
                  </a:lnTo>
                  <a:lnTo>
                    <a:pt x="731" y="87"/>
                  </a:lnTo>
                  <a:lnTo>
                    <a:pt x="734" y="86"/>
                  </a:lnTo>
                  <a:lnTo>
                    <a:pt x="741" y="79"/>
                  </a:lnTo>
                  <a:lnTo>
                    <a:pt x="741" y="81"/>
                  </a:lnTo>
                  <a:lnTo>
                    <a:pt x="743" y="81"/>
                  </a:lnTo>
                  <a:lnTo>
                    <a:pt x="756" y="76"/>
                  </a:lnTo>
                  <a:lnTo>
                    <a:pt x="767" y="75"/>
                  </a:lnTo>
                  <a:lnTo>
                    <a:pt x="773" y="75"/>
                  </a:lnTo>
                  <a:lnTo>
                    <a:pt x="778" y="77"/>
                  </a:lnTo>
                  <a:lnTo>
                    <a:pt x="785" y="77"/>
                  </a:lnTo>
                  <a:lnTo>
                    <a:pt x="788" y="81"/>
                  </a:lnTo>
                  <a:lnTo>
                    <a:pt x="788" y="83"/>
                  </a:lnTo>
                  <a:lnTo>
                    <a:pt x="783" y="84"/>
                  </a:lnTo>
                  <a:lnTo>
                    <a:pt x="785" y="84"/>
                  </a:lnTo>
                  <a:lnTo>
                    <a:pt x="783" y="84"/>
                  </a:lnTo>
                  <a:lnTo>
                    <a:pt x="778" y="83"/>
                  </a:lnTo>
                  <a:lnTo>
                    <a:pt x="774" y="83"/>
                  </a:lnTo>
                  <a:lnTo>
                    <a:pt x="766" y="92"/>
                  </a:lnTo>
                  <a:lnTo>
                    <a:pt x="768" y="94"/>
                  </a:lnTo>
                  <a:lnTo>
                    <a:pt x="774" y="97"/>
                  </a:lnTo>
                  <a:lnTo>
                    <a:pt x="775" y="102"/>
                  </a:lnTo>
                  <a:lnTo>
                    <a:pt x="775" y="106"/>
                  </a:lnTo>
                  <a:lnTo>
                    <a:pt x="764" y="104"/>
                  </a:lnTo>
                  <a:lnTo>
                    <a:pt x="759" y="108"/>
                  </a:lnTo>
                  <a:lnTo>
                    <a:pt x="757" y="108"/>
                  </a:lnTo>
                  <a:lnTo>
                    <a:pt x="751" y="113"/>
                  </a:lnTo>
                  <a:lnTo>
                    <a:pt x="746" y="113"/>
                  </a:lnTo>
                  <a:lnTo>
                    <a:pt x="732" y="108"/>
                  </a:lnTo>
                  <a:lnTo>
                    <a:pt x="725" y="109"/>
                  </a:lnTo>
                  <a:lnTo>
                    <a:pt x="721" y="108"/>
                  </a:lnTo>
                  <a:lnTo>
                    <a:pt x="686" y="110"/>
                  </a:lnTo>
                  <a:lnTo>
                    <a:pt x="682" y="110"/>
                  </a:lnTo>
                  <a:lnTo>
                    <a:pt x="672" y="114"/>
                  </a:lnTo>
                  <a:lnTo>
                    <a:pt x="665" y="114"/>
                  </a:lnTo>
                  <a:lnTo>
                    <a:pt x="656" y="120"/>
                  </a:lnTo>
                  <a:lnTo>
                    <a:pt x="648" y="121"/>
                  </a:lnTo>
                  <a:lnTo>
                    <a:pt x="643" y="124"/>
                  </a:lnTo>
                  <a:lnTo>
                    <a:pt x="639" y="125"/>
                  </a:lnTo>
                  <a:lnTo>
                    <a:pt x="638" y="129"/>
                  </a:lnTo>
                  <a:lnTo>
                    <a:pt x="635" y="131"/>
                  </a:lnTo>
                  <a:lnTo>
                    <a:pt x="625" y="134"/>
                  </a:lnTo>
                  <a:lnTo>
                    <a:pt x="624" y="136"/>
                  </a:lnTo>
                  <a:lnTo>
                    <a:pt x="625" y="140"/>
                  </a:lnTo>
                  <a:lnTo>
                    <a:pt x="622" y="141"/>
                  </a:lnTo>
                  <a:lnTo>
                    <a:pt x="617" y="138"/>
                  </a:lnTo>
                  <a:lnTo>
                    <a:pt x="612" y="138"/>
                  </a:lnTo>
                  <a:lnTo>
                    <a:pt x="611" y="140"/>
                  </a:lnTo>
                  <a:lnTo>
                    <a:pt x="610" y="145"/>
                  </a:lnTo>
                  <a:lnTo>
                    <a:pt x="594" y="158"/>
                  </a:lnTo>
                  <a:lnTo>
                    <a:pt x="590" y="162"/>
                  </a:lnTo>
                  <a:lnTo>
                    <a:pt x="589" y="168"/>
                  </a:lnTo>
                  <a:lnTo>
                    <a:pt x="590" y="170"/>
                  </a:lnTo>
                  <a:lnTo>
                    <a:pt x="598" y="175"/>
                  </a:lnTo>
                  <a:lnTo>
                    <a:pt x="605" y="183"/>
                  </a:lnTo>
                  <a:lnTo>
                    <a:pt x="608" y="196"/>
                  </a:lnTo>
                  <a:lnTo>
                    <a:pt x="612" y="206"/>
                  </a:lnTo>
                  <a:lnTo>
                    <a:pt x="612" y="207"/>
                  </a:lnTo>
                  <a:lnTo>
                    <a:pt x="608" y="216"/>
                  </a:lnTo>
                  <a:lnTo>
                    <a:pt x="608" y="218"/>
                  </a:lnTo>
                  <a:lnTo>
                    <a:pt x="611" y="222"/>
                  </a:lnTo>
                  <a:lnTo>
                    <a:pt x="610" y="228"/>
                  </a:lnTo>
                  <a:lnTo>
                    <a:pt x="606" y="235"/>
                  </a:lnTo>
                  <a:lnTo>
                    <a:pt x="601" y="243"/>
                  </a:lnTo>
                  <a:lnTo>
                    <a:pt x="592" y="249"/>
                  </a:lnTo>
                  <a:lnTo>
                    <a:pt x="585" y="258"/>
                  </a:lnTo>
                  <a:lnTo>
                    <a:pt x="581" y="265"/>
                  </a:lnTo>
                  <a:lnTo>
                    <a:pt x="578" y="269"/>
                  </a:lnTo>
                  <a:lnTo>
                    <a:pt x="578" y="275"/>
                  </a:lnTo>
                  <a:lnTo>
                    <a:pt x="582" y="277"/>
                  </a:lnTo>
                  <a:lnTo>
                    <a:pt x="586" y="280"/>
                  </a:lnTo>
                  <a:lnTo>
                    <a:pt x="582" y="283"/>
                  </a:lnTo>
                  <a:lnTo>
                    <a:pt x="582" y="291"/>
                  </a:lnTo>
                  <a:lnTo>
                    <a:pt x="575" y="301"/>
                  </a:lnTo>
                  <a:lnTo>
                    <a:pt x="569" y="304"/>
                  </a:lnTo>
                  <a:lnTo>
                    <a:pt x="558" y="307"/>
                  </a:lnTo>
                  <a:lnTo>
                    <a:pt x="547" y="305"/>
                  </a:lnTo>
                  <a:lnTo>
                    <a:pt x="528" y="301"/>
                  </a:lnTo>
                  <a:lnTo>
                    <a:pt x="524" y="299"/>
                  </a:lnTo>
                  <a:lnTo>
                    <a:pt x="520" y="302"/>
                  </a:lnTo>
                  <a:lnTo>
                    <a:pt x="517" y="307"/>
                  </a:lnTo>
                  <a:lnTo>
                    <a:pt x="520" y="310"/>
                  </a:lnTo>
                  <a:lnTo>
                    <a:pt x="525" y="320"/>
                  </a:lnTo>
                  <a:lnTo>
                    <a:pt x="530" y="320"/>
                  </a:lnTo>
                  <a:lnTo>
                    <a:pt x="535" y="336"/>
                  </a:lnTo>
                  <a:lnTo>
                    <a:pt x="539" y="341"/>
                  </a:lnTo>
                  <a:lnTo>
                    <a:pt x="539" y="345"/>
                  </a:lnTo>
                  <a:lnTo>
                    <a:pt x="533" y="351"/>
                  </a:lnTo>
                  <a:lnTo>
                    <a:pt x="527" y="353"/>
                  </a:lnTo>
                  <a:lnTo>
                    <a:pt x="517" y="361"/>
                  </a:lnTo>
                  <a:lnTo>
                    <a:pt x="509" y="360"/>
                  </a:lnTo>
                  <a:lnTo>
                    <a:pt x="498" y="363"/>
                  </a:lnTo>
                  <a:lnTo>
                    <a:pt x="496" y="377"/>
                  </a:lnTo>
                  <a:lnTo>
                    <a:pt x="490" y="379"/>
                  </a:lnTo>
                  <a:lnTo>
                    <a:pt x="489" y="384"/>
                  </a:lnTo>
                  <a:lnTo>
                    <a:pt x="490" y="390"/>
                  </a:lnTo>
                  <a:lnTo>
                    <a:pt x="489" y="394"/>
                  </a:lnTo>
                  <a:lnTo>
                    <a:pt x="487" y="394"/>
                  </a:lnTo>
                  <a:lnTo>
                    <a:pt x="483" y="399"/>
                  </a:lnTo>
                  <a:lnTo>
                    <a:pt x="481" y="404"/>
                  </a:lnTo>
                  <a:lnTo>
                    <a:pt x="479" y="407"/>
                  </a:lnTo>
                  <a:lnTo>
                    <a:pt x="481" y="425"/>
                  </a:lnTo>
                  <a:lnTo>
                    <a:pt x="483" y="437"/>
                  </a:lnTo>
                  <a:lnTo>
                    <a:pt x="483" y="439"/>
                  </a:lnTo>
                  <a:lnTo>
                    <a:pt x="463" y="460"/>
                  </a:lnTo>
                  <a:lnTo>
                    <a:pt x="460" y="460"/>
                  </a:lnTo>
                  <a:lnTo>
                    <a:pt x="455" y="458"/>
                  </a:lnTo>
                  <a:lnTo>
                    <a:pt x="452" y="454"/>
                  </a:lnTo>
                  <a:lnTo>
                    <a:pt x="451" y="450"/>
                  </a:lnTo>
                  <a:lnTo>
                    <a:pt x="444" y="445"/>
                  </a:lnTo>
                  <a:lnTo>
                    <a:pt x="440" y="445"/>
                  </a:lnTo>
                  <a:lnTo>
                    <a:pt x="438" y="449"/>
                  </a:lnTo>
                  <a:lnTo>
                    <a:pt x="441" y="450"/>
                  </a:lnTo>
                  <a:lnTo>
                    <a:pt x="441" y="453"/>
                  </a:lnTo>
                  <a:lnTo>
                    <a:pt x="425" y="448"/>
                  </a:lnTo>
                  <a:lnTo>
                    <a:pt x="419" y="448"/>
                  </a:lnTo>
                  <a:lnTo>
                    <a:pt x="414" y="450"/>
                  </a:lnTo>
                  <a:lnTo>
                    <a:pt x="412" y="455"/>
                  </a:lnTo>
                  <a:lnTo>
                    <a:pt x="395" y="464"/>
                  </a:lnTo>
                  <a:lnTo>
                    <a:pt x="391" y="468"/>
                  </a:lnTo>
                  <a:lnTo>
                    <a:pt x="392" y="470"/>
                  </a:lnTo>
                  <a:lnTo>
                    <a:pt x="399" y="473"/>
                  </a:lnTo>
                  <a:lnTo>
                    <a:pt x="399" y="475"/>
                  </a:lnTo>
                  <a:lnTo>
                    <a:pt x="397" y="477"/>
                  </a:lnTo>
                  <a:lnTo>
                    <a:pt x="390" y="479"/>
                  </a:lnTo>
                  <a:lnTo>
                    <a:pt x="377" y="481"/>
                  </a:lnTo>
                  <a:lnTo>
                    <a:pt x="368" y="484"/>
                  </a:lnTo>
                  <a:lnTo>
                    <a:pt x="356" y="482"/>
                  </a:lnTo>
                  <a:lnTo>
                    <a:pt x="356" y="479"/>
                  </a:lnTo>
                  <a:lnTo>
                    <a:pt x="352" y="476"/>
                  </a:lnTo>
                  <a:lnTo>
                    <a:pt x="345" y="480"/>
                  </a:lnTo>
                  <a:lnTo>
                    <a:pt x="339" y="491"/>
                  </a:lnTo>
                  <a:lnTo>
                    <a:pt x="327" y="500"/>
                  </a:lnTo>
                  <a:lnTo>
                    <a:pt x="325" y="506"/>
                  </a:lnTo>
                  <a:lnTo>
                    <a:pt x="321" y="520"/>
                  </a:lnTo>
                  <a:lnTo>
                    <a:pt x="322" y="533"/>
                  </a:lnTo>
                  <a:lnTo>
                    <a:pt x="318" y="552"/>
                  </a:lnTo>
                  <a:lnTo>
                    <a:pt x="318" y="556"/>
                  </a:lnTo>
                  <a:lnTo>
                    <a:pt x="322" y="560"/>
                  </a:lnTo>
                  <a:lnTo>
                    <a:pt x="321" y="566"/>
                  </a:lnTo>
                  <a:lnTo>
                    <a:pt x="313" y="572"/>
                  </a:lnTo>
                  <a:lnTo>
                    <a:pt x="288" y="577"/>
                  </a:lnTo>
                  <a:lnTo>
                    <a:pt x="268" y="584"/>
                  </a:lnTo>
                  <a:lnTo>
                    <a:pt x="252" y="588"/>
                  </a:lnTo>
                  <a:lnTo>
                    <a:pt x="226" y="587"/>
                  </a:lnTo>
                  <a:lnTo>
                    <a:pt x="213" y="587"/>
                  </a:lnTo>
                  <a:lnTo>
                    <a:pt x="207" y="589"/>
                  </a:lnTo>
                  <a:lnTo>
                    <a:pt x="203" y="592"/>
                  </a:lnTo>
                  <a:lnTo>
                    <a:pt x="200" y="597"/>
                  </a:lnTo>
                  <a:lnTo>
                    <a:pt x="197" y="599"/>
                  </a:lnTo>
                  <a:lnTo>
                    <a:pt x="181" y="592"/>
                  </a:lnTo>
                  <a:lnTo>
                    <a:pt x="164" y="592"/>
                  </a:lnTo>
                  <a:lnTo>
                    <a:pt x="149" y="594"/>
                  </a:lnTo>
                  <a:lnTo>
                    <a:pt x="138" y="593"/>
                  </a:lnTo>
                  <a:lnTo>
                    <a:pt x="129" y="594"/>
                  </a:lnTo>
                  <a:lnTo>
                    <a:pt x="119" y="594"/>
                  </a:lnTo>
                  <a:lnTo>
                    <a:pt x="116" y="595"/>
                  </a:lnTo>
                  <a:lnTo>
                    <a:pt x="112" y="598"/>
                  </a:lnTo>
                  <a:lnTo>
                    <a:pt x="108" y="599"/>
                  </a:lnTo>
                  <a:lnTo>
                    <a:pt x="101" y="598"/>
                  </a:lnTo>
                  <a:lnTo>
                    <a:pt x="83" y="588"/>
                  </a:lnTo>
                  <a:lnTo>
                    <a:pt x="24" y="57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68" name="Freeform 64">
              <a:extLst>
                <a:ext uri="{FF2B5EF4-FFF2-40B4-BE49-F238E27FC236}">
                  <a16:creationId xmlns:a16="http://schemas.microsoft.com/office/drawing/2014/main" id="{CFA427B9-FBA2-A338-E7AC-4EB9ED389D5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559375" y="4164187"/>
              <a:ext cx="319361" cy="358190"/>
            </a:xfrm>
            <a:custGeom>
              <a:avLst/>
              <a:gdLst>
                <a:gd name="T0" fmla="*/ 0 w 594"/>
                <a:gd name="T1" fmla="*/ 0 h 626"/>
                <a:gd name="T2" fmla="*/ 0 w 594"/>
                <a:gd name="T3" fmla="*/ 0 h 626"/>
                <a:gd name="T4" fmla="*/ 2147483647 w 594"/>
                <a:gd name="T5" fmla="*/ 0 h 626"/>
                <a:gd name="T6" fmla="*/ 2147483647 w 594"/>
                <a:gd name="T7" fmla="*/ 0 h 626"/>
                <a:gd name="T8" fmla="*/ 2147483647 w 594"/>
                <a:gd name="T9" fmla="*/ 0 h 626"/>
                <a:gd name="T10" fmla="*/ 2147483647 w 594"/>
                <a:gd name="T11" fmla="*/ 0 h 626"/>
                <a:gd name="T12" fmla="*/ 2147483647 w 594"/>
                <a:gd name="T13" fmla="*/ 0 h 626"/>
                <a:gd name="T14" fmla="*/ 2147483647 w 594"/>
                <a:gd name="T15" fmla="*/ 2147483647 h 626"/>
                <a:gd name="T16" fmla="*/ 2147483647 w 594"/>
                <a:gd name="T17" fmla="*/ 2147483647 h 626"/>
                <a:gd name="T18" fmla="*/ 2147483647 w 594"/>
                <a:gd name="T19" fmla="*/ 2147483647 h 626"/>
                <a:gd name="T20" fmla="*/ 2147483647 w 594"/>
                <a:gd name="T21" fmla="*/ 2147483647 h 626"/>
                <a:gd name="T22" fmla="*/ 2147483647 w 594"/>
                <a:gd name="T23" fmla="*/ 2147483647 h 626"/>
                <a:gd name="T24" fmla="*/ 2147483647 w 594"/>
                <a:gd name="T25" fmla="*/ 2147483647 h 626"/>
                <a:gd name="T26" fmla="*/ 2147483647 w 594"/>
                <a:gd name="T27" fmla="*/ 2147483647 h 626"/>
                <a:gd name="T28" fmla="*/ 2147483647 w 594"/>
                <a:gd name="T29" fmla="*/ 2147483647 h 626"/>
                <a:gd name="T30" fmla="*/ 2147483647 w 594"/>
                <a:gd name="T31" fmla="*/ 2147483647 h 626"/>
                <a:gd name="T32" fmla="*/ 2147483647 w 594"/>
                <a:gd name="T33" fmla="*/ 2147483647 h 626"/>
                <a:gd name="T34" fmla="*/ 2147483647 w 594"/>
                <a:gd name="T35" fmla="*/ 2147483647 h 626"/>
                <a:gd name="T36" fmla="*/ 2147483647 w 594"/>
                <a:gd name="T37" fmla="*/ 2147483647 h 626"/>
                <a:gd name="T38" fmla="*/ 2147483647 w 594"/>
                <a:gd name="T39" fmla="*/ 2147483647 h 626"/>
                <a:gd name="T40" fmla="*/ 2147483647 w 594"/>
                <a:gd name="T41" fmla="*/ 2147483647 h 626"/>
                <a:gd name="T42" fmla="*/ 2147483647 w 594"/>
                <a:gd name="T43" fmla="*/ 2147483647 h 626"/>
                <a:gd name="T44" fmla="*/ 2147483647 w 594"/>
                <a:gd name="T45" fmla="*/ 2147483647 h 626"/>
                <a:gd name="T46" fmla="*/ 2147483647 w 594"/>
                <a:gd name="T47" fmla="*/ 2147483647 h 626"/>
                <a:gd name="T48" fmla="*/ 2147483647 w 594"/>
                <a:gd name="T49" fmla="*/ 2147483647 h 626"/>
                <a:gd name="T50" fmla="*/ 2147483647 w 594"/>
                <a:gd name="T51" fmla="*/ 2147483647 h 626"/>
                <a:gd name="T52" fmla="*/ 2147483647 w 594"/>
                <a:gd name="T53" fmla="*/ 2147483647 h 626"/>
                <a:gd name="T54" fmla="*/ 2147483647 w 594"/>
                <a:gd name="T55" fmla="*/ 2147483647 h 626"/>
                <a:gd name="T56" fmla="*/ 2147483647 w 594"/>
                <a:gd name="T57" fmla="*/ 2147483647 h 626"/>
                <a:gd name="T58" fmla="*/ 2147483647 w 594"/>
                <a:gd name="T59" fmla="*/ 2147483647 h 626"/>
                <a:gd name="T60" fmla="*/ 2147483647 w 594"/>
                <a:gd name="T61" fmla="*/ 2147483647 h 626"/>
                <a:gd name="T62" fmla="*/ 2147483647 w 594"/>
                <a:gd name="T63" fmla="*/ 2147483647 h 626"/>
                <a:gd name="T64" fmla="*/ 2147483647 w 594"/>
                <a:gd name="T65" fmla="*/ 2147483647 h 626"/>
                <a:gd name="T66" fmla="*/ 2147483647 w 594"/>
                <a:gd name="T67" fmla="*/ 2147483647 h 626"/>
                <a:gd name="T68" fmla="*/ 2147483647 w 594"/>
                <a:gd name="T69" fmla="*/ 2147483647 h 626"/>
                <a:gd name="T70" fmla="*/ 2147483647 w 594"/>
                <a:gd name="T71" fmla="*/ 2147483647 h 626"/>
                <a:gd name="T72" fmla="*/ 2147483647 w 594"/>
                <a:gd name="T73" fmla="*/ 2147483647 h 626"/>
                <a:gd name="T74" fmla="*/ 2147483647 w 594"/>
                <a:gd name="T75" fmla="*/ 2147483647 h 626"/>
                <a:gd name="T76" fmla="*/ 2147483647 w 594"/>
                <a:gd name="T77" fmla="*/ 2147483647 h 626"/>
                <a:gd name="T78" fmla="*/ 2147483647 w 594"/>
                <a:gd name="T79" fmla="*/ 2147483647 h 626"/>
                <a:gd name="T80" fmla="*/ 2147483647 w 594"/>
                <a:gd name="T81" fmla="*/ 2147483647 h 626"/>
                <a:gd name="T82" fmla="*/ 2147483647 w 594"/>
                <a:gd name="T83" fmla="*/ 2147483647 h 626"/>
                <a:gd name="T84" fmla="*/ 2147483647 w 594"/>
                <a:gd name="T85" fmla="*/ 2147483647 h 626"/>
                <a:gd name="T86" fmla="*/ 2147483647 w 594"/>
                <a:gd name="T87" fmla="*/ 2147483647 h 626"/>
                <a:gd name="T88" fmla="*/ 2147483647 w 594"/>
                <a:gd name="T89" fmla="*/ 2147483647 h 626"/>
                <a:gd name="T90" fmla="*/ 2147483647 w 594"/>
                <a:gd name="T91" fmla="*/ 2147483647 h 626"/>
                <a:gd name="T92" fmla="*/ 2147483647 w 594"/>
                <a:gd name="T93" fmla="*/ 2147483647 h 626"/>
                <a:gd name="T94" fmla="*/ 2147483647 w 594"/>
                <a:gd name="T95" fmla="*/ 2147483647 h 626"/>
                <a:gd name="T96" fmla="*/ 2147483647 w 594"/>
                <a:gd name="T97" fmla="*/ 2147483647 h 626"/>
                <a:gd name="T98" fmla="*/ 2147483647 w 594"/>
                <a:gd name="T99" fmla="*/ 2147483647 h 626"/>
                <a:gd name="T100" fmla="*/ 2147483647 w 594"/>
                <a:gd name="T101" fmla="*/ 2147483647 h 626"/>
                <a:gd name="T102" fmla="*/ 2147483647 w 594"/>
                <a:gd name="T103" fmla="*/ 2147483647 h 626"/>
                <a:gd name="T104" fmla="*/ 2147483647 w 594"/>
                <a:gd name="T105" fmla="*/ 2147483647 h 626"/>
                <a:gd name="T106" fmla="*/ 2147483647 w 594"/>
                <a:gd name="T107" fmla="*/ 2147483647 h 626"/>
                <a:gd name="T108" fmla="*/ 2147483647 w 594"/>
                <a:gd name="T109" fmla="*/ 2147483647 h 626"/>
                <a:gd name="T110" fmla="*/ 2147483647 w 594"/>
                <a:gd name="T111" fmla="*/ 2147483647 h 626"/>
                <a:gd name="T112" fmla="*/ 2147483647 w 594"/>
                <a:gd name="T113" fmla="*/ 2147483647 h 626"/>
                <a:gd name="T114" fmla="*/ 2147483647 w 594"/>
                <a:gd name="T115" fmla="*/ 2147483647 h 626"/>
                <a:gd name="T116" fmla="*/ 0 w 594"/>
                <a:gd name="T117" fmla="*/ 0 h 626"/>
                <a:gd name="T118" fmla="*/ 0 w 594"/>
                <a:gd name="T119" fmla="*/ 0 h 6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94"/>
                <a:gd name="T181" fmla="*/ 0 h 626"/>
                <a:gd name="T182" fmla="*/ 594 w 594"/>
                <a:gd name="T183" fmla="*/ 626 h 62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94" h="626">
                  <a:moveTo>
                    <a:pt x="0" y="1"/>
                  </a:moveTo>
                  <a:lnTo>
                    <a:pt x="6" y="1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8" y="1"/>
                  </a:lnTo>
                  <a:lnTo>
                    <a:pt x="35" y="3"/>
                  </a:lnTo>
                  <a:lnTo>
                    <a:pt x="42" y="16"/>
                  </a:lnTo>
                  <a:lnTo>
                    <a:pt x="55" y="17"/>
                  </a:lnTo>
                  <a:lnTo>
                    <a:pt x="62" y="19"/>
                  </a:lnTo>
                  <a:lnTo>
                    <a:pt x="74" y="21"/>
                  </a:lnTo>
                  <a:lnTo>
                    <a:pt x="91" y="18"/>
                  </a:lnTo>
                  <a:lnTo>
                    <a:pt x="100" y="19"/>
                  </a:lnTo>
                  <a:lnTo>
                    <a:pt x="110" y="24"/>
                  </a:lnTo>
                  <a:lnTo>
                    <a:pt x="122" y="23"/>
                  </a:lnTo>
                  <a:lnTo>
                    <a:pt x="130" y="26"/>
                  </a:lnTo>
                  <a:lnTo>
                    <a:pt x="146" y="38"/>
                  </a:lnTo>
                  <a:lnTo>
                    <a:pt x="150" y="45"/>
                  </a:lnTo>
                  <a:lnTo>
                    <a:pt x="151" y="51"/>
                  </a:lnTo>
                  <a:lnTo>
                    <a:pt x="155" y="56"/>
                  </a:lnTo>
                  <a:lnTo>
                    <a:pt x="161" y="60"/>
                  </a:lnTo>
                  <a:lnTo>
                    <a:pt x="168" y="72"/>
                  </a:lnTo>
                  <a:lnTo>
                    <a:pt x="171" y="80"/>
                  </a:lnTo>
                  <a:lnTo>
                    <a:pt x="184" y="89"/>
                  </a:lnTo>
                  <a:lnTo>
                    <a:pt x="196" y="102"/>
                  </a:lnTo>
                  <a:lnTo>
                    <a:pt x="230" y="118"/>
                  </a:lnTo>
                  <a:lnTo>
                    <a:pt x="237" y="125"/>
                  </a:lnTo>
                  <a:lnTo>
                    <a:pt x="251" y="136"/>
                  </a:lnTo>
                  <a:lnTo>
                    <a:pt x="259" y="146"/>
                  </a:lnTo>
                  <a:lnTo>
                    <a:pt x="263" y="157"/>
                  </a:lnTo>
                  <a:lnTo>
                    <a:pt x="277" y="159"/>
                  </a:lnTo>
                  <a:lnTo>
                    <a:pt x="282" y="172"/>
                  </a:lnTo>
                  <a:lnTo>
                    <a:pt x="296" y="187"/>
                  </a:lnTo>
                  <a:lnTo>
                    <a:pt x="302" y="190"/>
                  </a:lnTo>
                  <a:lnTo>
                    <a:pt x="307" y="193"/>
                  </a:lnTo>
                  <a:lnTo>
                    <a:pt x="309" y="189"/>
                  </a:lnTo>
                  <a:lnTo>
                    <a:pt x="311" y="184"/>
                  </a:lnTo>
                  <a:lnTo>
                    <a:pt x="320" y="184"/>
                  </a:lnTo>
                  <a:lnTo>
                    <a:pt x="327" y="189"/>
                  </a:lnTo>
                  <a:lnTo>
                    <a:pt x="338" y="211"/>
                  </a:lnTo>
                  <a:lnTo>
                    <a:pt x="345" y="215"/>
                  </a:lnTo>
                  <a:lnTo>
                    <a:pt x="350" y="216"/>
                  </a:lnTo>
                  <a:lnTo>
                    <a:pt x="355" y="217"/>
                  </a:lnTo>
                  <a:lnTo>
                    <a:pt x="371" y="226"/>
                  </a:lnTo>
                  <a:lnTo>
                    <a:pt x="376" y="231"/>
                  </a:lnTo>
                  <a:lnTo>
                    <a:pt x="382" y="242"/>
                  </a:lnTo>
                  <a:lnTo>
                    <a:pt x="386" y="244"/>
                  </a:lnTo>
                  <a:lnTo>
                    <a:pt x="387" y="233"/>
                  </a:lnTo>
                  <a:lnTo>
                    <a:pt x="391" y="236"/>
                  </a:lnTo>
                  <a:lnTo>
                    <a:pt x="396" y="243"/>
                  </a:lnTo>
                  <a:lnTo>
                    <a:pt x="403" y="248"/>
                  </a:lnTo>
                  <a:lnTo>
                    <a:pt x="423" y="247"/>
                  </a:lnTo>
                  <a:lnTo>
                    <a:pt x="430" y="250"/>
                  </a:lnTo>
                  <a:lnTo>
                    <a:pt x="433" y="254"/>
                  </a:lnTo>
                  <a:lnTo>
                    <a:pt x="431" y="259"/>
                  </a:lnTo>
                  <a:lnTo>
                    <a:pt x="428" y="263"/>
                  </a:lnTo>
                  <a:lnTo>
                    <a:pt x="424" y="263"/>
                  </a:lnTo>
                  <a:lnTo>
                    <a:pt x="425" y="270"/>
                  </a:lnTo>
                  <a:lnTo>
                    <a:pt x="429" y="276"/>
                  </a:lnTo>
                  <a:lnTo>
                    <a:pt x="429" y="282"/>
                  </a:lnTo>
                  <a:lnTo>
                    <a:pt x="417" y="290"/>
                  </a:lnTo>
                  <a:lnTo>
                    <a:pt x="415" y="292"/>
                  </a:lnTo>
                  <a:lnTo>
                    <a:pt x="417" y="293"/>
                  </a:lnTo>
                  <a:lnTo>
                    <a:pt x="430" y="287"/>
                  </a:lnTo>
                  <a:lnTo>
                    <a:pt x="438" y="282"/>
                  </a:lnTo>
                  <a:lnTo>
                    <a:pt x="449" y="279"/>
                  </a:lnTo>
                  <a:lnTo>
                    <a:pt x="453" y="281"/>
                  </a:lnTo>
                  <a:lnTo>
                    <a:pt x="462" y="288"/>
                  </a:lnTo>
                  <a:lnTo>
                    <a:pt x="466" y="297"/>
                  </a:lnTo>
                  <a:lnTo>
                    <a:pt x="467" y="303"/>
                  </a:lnTo>
                  <a:lnTo>
                    <a:pt x="453" y="317"/>
                  </a:lnTo>
                  <a:lnTo>
                    <a:pt x="457" y="319"/>
                  </a:lnTo>
                  <a:lnTo>
                    <a:pt x="463" y="320"/>
                  </a:lnTo>
                  <a:lnTo>
                    <a:pt x="461" y="328"/>
                  </a:lnTo>
                  <a:lnTo>
                    <a:pt x="453" y="334"/>
                  </a:lnTo>
                  <a:lnTo>
                    <a:pt x="450" y="344"/>
                  </a:lnTo>
                  <a:lnTo>
                    <a:pt x="455" y="351"/>
                  </a:lnTo>
                  <a:lnTo>
                    <a:pt x="466" y="357"/>
                  </a:lnTo>
                  <a:lnTo>
                    <a:pt x="474" y="361"/>
                  </a:lnTo>
                  <a:lnTo>
                    <a:pt x="482" y="361"/>
                  </a:lnTo>
                  <a:lnTo>
                    <a:pt x="487" y="365"/>
                  </a:lnTo>
                  <a:lnTo>
                    <a:pt x="490" y="363"/>
                  </a:lnTo>
                  <a:lnTo>
                    <a:pt x="501" y="365"/>
                  </a:lnTo>
                  <a:lnTo>
                    <a:pt x="506" y="376"/>
                  </a:lnTo>
                  <a:lnTo>
                    <a:pt x="509" y="384"/>
                  </a:lnTo>
                  <a:lnTo>
                    <a:pt x="510" y="394"/>
                  </a:lnTo>
                  <a:lnTo>
                    <a:pt x="512" y="401"/>
                  </a:lnTo>
                  <a:lnTo>
                    <a:pt x="510" y="409"/>
                  </a:lnTo>
                  <a:lnTo>
                    <a:pt x="516" y="410"/>
                  </a:lnTo>
                  <a:lnTo>
                    <a:pt x="526" y="414"/>
                  </a:lnTo>
                  <a:lnTo>
                    <a:pt x="532" y="420"/>
                  </a:lnTo>
                  <a:lnTo>
                    <a:pt x="526" y="435"/>
                  </a:lnTo>
                  <a:lnTo>
                    <a:pt x="533" y="436"/>
                  </a:lnTo>
                  <a:lnTo>
                    <a:pt x="542" y="435"/>
                  </a:lnTo>
                  <a:lnTo>
                    <a:pt x="552" y="435"/>
                  </a:lnTo>
                  <a:lnTo>
                    <a:pt x="560" y="436"/>
                  </a:lnTo>
                  <a:lnTo>
                    <a:pt x="570" y="440"/>
                  </a:lnTo>
                  <a:lnTo>
                    <a:pt x="573" y="446"/>
                  </a:lnTo>
                  <a:lnTo>
                    <a:pt x="580" y="454"/>
                  </a:lnTo>
                  <a:lnTo>
                    <a:pt x="584" y="462"/>
                  </a:lnTo>
                  <a:lnTo>
                    <a:pt x="591" y="469"/>
                  </a:lnTo>
                  <a:lnTo>
                    <a:pt x="594" y="478"/>
                  </a:lnTo>
                  <a:lnTo>
                    <a:pt x="591" y="487"/>
                  </a:lnTo>
                  <a:lnTo>
                    <a:pt x="585" y="501"/>
                  </a:lnTo>
                  <a:lnTo>
                    <a:pt x="584" y="510"/>
                  </a:lnTo>
                  <a:lnTo>
                    <a:pt x="587" y="512"/>
                  </a:lnTo>
                  <a:lnTo>
                    <a:pt x="589" y="518"/>
                  </a:lnTo>
                  <a:lnTo>
                    <a:pt x="585" y="530"/>
                  </a:lnTo>
                  <a:lnTo>
                    <a:pt x="582" y="548"/>
                  </a:lnTo>
                  <a:lnTo>
                    <a:pt x="584" y="556"/>
                  </a:lnTo>
                  <a:lnTo>
                    <a:pt x="584" y="594"/>
                  </a:lnTo>
                  <a:lnTo>
                    <a:pt x="581" y="613"/>
                  </a:lnTo>
                  <a:lnTo>
                    <a:pt x="579" y="623"/>
                  </a:lnTo>
                  <a:lnTo>
                    <a:pt x="574" y="623"/>
                  </a:lnTo>
                  <a:lnTo>
                    <a:pt x="563" y="613"/>
                  </a:lnTo>
                  <a:lnTo>
                    <a:pt x="554" y="607"/>
                  </a:lnTo>
                  <a:lnTo>
                    <a:pt x="552" y="610"/>
                  </a:lnTo>
                  <a:lnTo>
                    <a:pt x="549" y="619"/>
                  </a:lnTo>
                  <a:lnTo>
                    <a:pt x="543" y="621"/>
                  </a:lnTo>
                  <a:lnTo>
                    <a:pt x="524" y="607"/>
                  </a:lnTo>
                  <a:lnTo>
                    <a:pt x="516" y="608"/>
                  </a:lnTo>
                  <a:lnTo>
                    <a:pt x="524" y="624"/>
                  </a:lnTo>
                  <a:lnTo>
                    <a:pt x="519" y="626"/>
                  </a:lnTo>
                  <a:lnTo>
                    <a:pt x="508" y="618"/>
                  </a:lnTo>
                  <a:lnTo>
                    <a:pt x="500" y="609"/>
                  </a:lnTo>
                  <a:lnTo>
                    <a:pt x="484" y="596"/>
                  </a:lnTo>
                  <a:lnTo>
                    <a:pt x="478" y="586"/>
                  </a:lnTo>
                  <a:lnTo>
                    <a:pt x="471" y="577"/>
                  </a:lnTo>
                  <a:lnTo>
                    <a:pt x="461" y="572"/>
                  </a:lnTo>
                  <a:lnTo>
                    <a:pt x="455" y="571"/>
                  </a:lnTo>
                  <a:lnTo>
                    <a:pt x="436" y="554"/>
                  </a:lnTo>
                  <a:lnTo>
                    <a:pt x="419" y="543"/>
                  </a:lnTo>
                  <a:lnTo>
                    <a:pt x="409" y="535"/>
                  </a:lnTo>
                  <a:lnTo>
                    <a:pt x="399" y="532"/>
                  </a:lnTo>
                  <a:lnTo>
                    <a:pt x="392" y="522"/>
                  </a:lnTo>
                  <a:lnTo>
                    <a:pt x="388" y="508"/>
                  </a:lnTo>
                  <a:lnTo>
                    <a:pt x="383" y="501"/>
                  </a:lnTo>
                  <a:lnTo>
                    <a:pt x="371" y="495"/>
                  </a:lnTo>
                  <a:lnTo>
                    <a:pt x="363" y="484"/>
                  </a:lnTo>
                  <a:lnTo>
                    <a:pt x="339" y="457"/>
                  </a:lnTo>
                  <a:lnTo>
                    <a:pt x="317" y="433"/>
                  </a:lnTo>
                  <a:lnTo>
                    <a:pt x="312" y="426"/>
                  </a:lnTo>
                  <a:lnTo>
                    <a:pt x="311" y="409"/>
                  </a:lnTo>
                  <a:lnTo>
                    <a:pt x="288" y="366"/>
                  </a:lnTo>
                  <a:lnTo>
                    <a:pt x="286" y="355"/>
                  </a:lnTo>
                  <a:lnTo>
                    <a:pt x="278" y="341"/>
                  </a:lnTo>
                  <a:lnTo>
                    <a:pt x="272" y="336"/>
                  </a:lnTo>
                  <a:lnTo>
                    <a:pt x="264" y="328"/>
                  </a:lnTo>
                  <a:lnTo>
                    <a:pt x="258" y="323"/>
                  </a:lnTo>
                  <a:lnTo>
                    <a:pt x="250" y="306"/>
                  </a:lnTo>
                  <a:lnTo>
                    <a:pt x="232" y="293"/>
                  </a:lnTo>
                  <a:lnTo>
                    <a:pt x="225" y="293"/>
                  </a:lnTo>
                  <a:lnTo>
                    <a:pt x="223" y="292"/>
                  </a:lnTo>
                  <a:lnTo>
                    <a:pt x="221" y="291"/>
                  </a:lnTo>
                  <a:lnTo>
                    <a:pt x="216" y="270"/>
                  </a:lnTo>
                  <a:lnTo>
                    <a:pt x="210" y="248"/>
                  </a:lnTo>
                  <a:lnTo>
                    <a:pt x="205" y="237"/>
                  </a:lnTo>
                  <a:lnTo>
                    <a:pt x="198" y="225"/>
                  </a:lnTo>
                  <a:lnTo>
                    <a:pt x="198" y="215"/>
                  </a:lnTo>
                  <a:lnTo>
                    <a:pt x="191" y="205"/>
                  </a:lnTo>
                  <a:lnTo>
                    <a:pt x="181" y="195"/>
                  </a:lnTo>
                  <a:lnTo>
                    <a:pt x="161" y="185"/>
                  </a:lnTo>
                  <a:lnTo>
                    <a:pt x="151" y="182"/>
                  </a:lnTo>
                  <a:lnTo>
                    <a:pt x="139" y="179"/>
                  </a:lnTo>
                  <a:lnTo>
                    <a:pt x="130" y="148"/>
                  </a:lnTo>
                  <a:lnTo>
                    <a:pt x="123" y="146"/>
                  </a:lnTo>
                  <a:lnTo>
                    <a:pt x="121" y="140"/>
                  </a:lnTo>
                  <a:lnTo>
                    <a:pt x="116" y="136"/>
                  </a:lnTo>
                  <a:lnTo>
                    <a:pt x="105" y="118"/>
                  </a:lnTo>
                  <a:lnTo>
                    <a:pt x="94" y="108"/>
                  </a:lnTo>
                  <a:lnTo>
                    <a:pt x="86" y="103"/>
                  </a:lnTo>
                  <a:lnTo>
                    <a:pt x="76" y="103"/>
                  </a:lnTo>
                  <a:lnTo>
                    <a:pt x="65" y="93"/>
                  </a:lnTo>
                  <a:lnTo>
                    <a:pt x="57" y="83"/>
                  </a:lnTo>
                  <a:lnTo>
                    <a:pt x="51" y="77"/>
                  </a:lnTo>
                  <a:lnTo>
                    <a:pt x="41" y="71"/>
                  </a:lnTo>
                  <a:lnTo>
                    <a:pt x="19" y="46"/>
                  </a:lnTo>
                  <a:lnTo>
                    <a:pt x="12" y="39"/>
                  </a:lnTo>
                  <a:lnTo>
                    <a:pt x="4" y="22"/>
                  </a:lnTo>
                  <a:lnTo>
                    <a:pt x="3" y="3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69" name="Freeform 65">
              <a:extLst>
                <a:ext uri="{FF2B5EF4-FFF2-40B4-BE49-F238E27FC236}">
                  <a16:creationId xmlns:a16="http://schemas.microsoft.com/office/drawing/2014/main" id="{8077951F-B81A-513F-997E-D56F71951D4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853367" y="4522378"/>
              <a:ext cx="270113" cy="92977"/>
            </a:xfrm>
            <a:custGeom>
              <a:avLst/>
              <a:gdLst>
                <a:gd name="T0" fmla="*/ 2147483647 w 506"/>
                <a:gd name="T1" fmla="*/ 2147483647 h 158"/>
                <a:gd name="T2" fmla="*/ 2147483647 w 506"/>
                <a:gd name="T3" fmla="*/ 2147483647 h 158"/>
                <a:gd name="T4" fmla="*/ 2147483647 w 506"/>
                <a:gd name="T5" fmla="*/ 2147483647 h 158"/>
                <a:gd name="T6" fmla="*/ 2147483647 w 506"/>
                <a:gd name="T7" fmla="*/ 2147483647 h 158"/>
                <a:gd name="T8" fmla="*/ 2147483647 w 506"/>
                <a:gd name="T9" fmla="*/ 2147483647 h 158"/>
                <a:gd name="T10" fmla="*/ 2147483647 w 506"/>
                <a:gd name="T11" fmla="*/ 2147483647 h 158"/>
                <a:gd name="T12" fmla="*/ 2147483647 w 506"/>
                <a:gd name="T13" fmla="*/ 2147483647 h 158"/>
                <a:gd name="T14" fmla="*/ 2147483647 w 506"/>
                <a:gd name="T15" fmla="*/ 2147483647 h 158"/>
                <a:gd name="T16" fmla="*/ 2147483647 w 506"/>
                <a:gd name="T17" fmla="*/ 2147483647 h 158"/>
                <a:gd name="T18" fmla="*/ 2147483647 w 506"/>
                <a:gd name="T19" fmla="*/ 2147483647 h 158"/>
                <a:gd name="T20" fmla="*/ 2147483647 w 506"/>
                <a:gd name="T21" fmla="*/ 2147483647 h 158"/>
                <a:gd name="T22" fmla="*/ 2147483647 w 506"/>
                <a:gd name="T23" fmla="*/ 2147483647 h 158"/>
                <a:gd name="T24" fmla="*/ 2147483647 w 506"/>
                <a:gd name="T25" fmla="*/ 2147483647 h 158"/>
                <a:gd name="T26" fmla="*/ 2147483647 w 506"/>
                <a:gd name="T27" fmla="*/ 2147483647 h 158"/>
                <a:gd name="T28" fmla="*/ 2147483647 w 506"/>
                <a:gd name="T29" fmla="*/ 2147483647 h 158"/>
                <a:gd name="T30" fmla="*/ 2147483647 w 506"/>
                <a:gd name="T31" fmla="*/ 2147483647 h 158"/>
                <a:gd name="T32" fmla="*/ 2147483647 w 506"/>
                <a:gd name="T33" fmla="*/ 0 h 158"/>
                <a:gd name="T34" fmla="*/ 2147483647 w 506"/>
                <a:gd name="T35" fmla="*/ 0 h 158"/>
                <a:gd name="T36" fmla="*/ 0 w 506"/>
                <a:gd name="T37" fmla="*/ 0 h 158"/>
                <a:gd name="T38" fmla="*/ 0 w 506"/>
                <a:gd name="T39" fmla="*/ 0 h 158"/>
                <a:gd name="T40" fmla="*/ 0 w 506"/>
                <a:gd name="T41" fmla="*/ 0 h 158"/>
                <a:gd name="T42" fmla="*/ 0 w 506"/>
                <a:gd name="T43" fmla="*/ 0 h 158"/>
                <a:gd name="T44" fmla="*/ 0 w 506"/>
                <a:gd name="T45" fmla="*/ 0 h 158"/>
                <a:gd name="T46" fmla="*/ 0 w 506"/>
                <a:gd name="T47" fmla="*/ 0 h 158"/>
                <a:gd name="T48" fmla="*/ 0 w 506"/>
                <a:gd name="T49" fmla="*/ 0 h 158"/>
                <a:gd name="T50" fmla="*/ 2147483647 w 506"/>
                <a:gd name="T51" fmla="*/ 0 h 158"/>
                <a:gd name="T52" fmla="*/ 2147483647 w 506"/>
                <a:gd name="T53" fmla="*/ 0 h 158"/>
                <a:gd name="T54" fmla="*/ 2147483647 w 506"/>
                <a:gd name="T55" fmla="*/ 0 h 158"/>
                <a:gd name="T56" fmla="*/ 2147483647 w 506"/>
                <a:gd name="T57" fmla="*/ 0 h 158"/>
                <a:gd name="T58" fmla="*/ 2147483647 w 506"/>
                <a:gd name="T59" fmla="*/ 0 h 158"/>
                <a:gd name="T60" fmla="*/ 2147483647 w 506"/>
                <a:gd name="T61" fmla="*/ 0 h 158"/>
                <a:gd name="T62" fmla="*/ 2147483647 w 506"/>
                <a:gd name="T63" fmla="*/ 0 h 158"/>
                <a:gd name="T64" fmla="*/ 2147483647 w 506"/>
                <a:gd name="T65" fmla="*/ 0 h 158"/>
                <a:gd name="T66" fmla="*/ 2147483647 w 506"/>
                <a:gd name="T67" fmla="*/ 0 h 158"/>
                <a:gd name="T68" fmla="*/ 2147483647 w 506"/>
                <a:gd name="T69" fmla="*/ 0 h 158"/>
                <a:gd name="T70" fmla="*/ 2147483647 w 506"/>
                <a:gd name="T71" fmla="*/ 0 h 158"/>
                <a:gd name="T72" fmla="*/ 2147483647 w 506"/>
                <a:gd name="T73" fmla="*/ 0 h 158"/>
                <a:gd name="T74" fmla="*/ 2147483647 w 506"/>
                <a:gd name="T75" fmla="*/ 0 h 158"/>
                <a:gd name="T76" fmla="*/ 2147483647 w 506"/>
                <a:gd name="T77" fmla="*/ 0 h 158"/>
                <a:gd name="T78" fmla="*/ 2147483647 w 506"/>
                <a:gd name="T79" fmla="*/ 0 h 158"/>
                <a:gd name="T80" fmla="*/ 2147483647 w 506"/>
                <a:gd name="T81" fmla="*/ 0 h 158"/>
                <a:gd name="T82" fmla="*/ 2147483647 w 506"/>
                <a:gd name="T83" fmla="*/ 0 h 158"/>
                <a:gd name="T84" fmla="*/ 2147483647 w 506"/>
                <a:gd name="T85" fmla="*/ 0 h 158"/>
                <a:gd name="T86" fmla="*/ 2147483647 w 506"/>
                <a:gd name="T87" fmla="*/ 0 h 158"/>
                <a:gd name="T88" fmla="*/ 2147483647 w 506"/>
                <a:gd name="T89" fmla="*/ 2147483647 h 158"/>
                <a:gd name="T90" fmla="*/ 2147483647 w 506"/>
                <a:gd name="T91" fmla="*/ 2147483647 h 158"/>
                <a:gd name="T92" fmla="*/ 2147483647 w 506"/>
                <a:gd name="T93" fmla="*/ 2147483647 h 158"/>
                <a:gd name="T94" fmla="*/ 2147483647 w 506"/>
                <a:gd name="T95" fmla="*/ 2147483647 h 158"/>
                <a:gd name="T96" fmla="*/ 2147483647 w 506"/>
                <a:gd name="T97" fmla="*/ 2147483647 h 158"/>
                <a:gd name="T98" fmla="*/ 2147483647 w 506"/>
                <a:gd name="T99" fmla="*/ 2147483647 h 158"/>
                <a:gd name="T100" fmla="*/ 2147483647 w 506"/>
                <a:gd name="T101" fmla="*/ 2147483647 h 158"/>
                <a:gd name="T102" fmla="*/ 2147483647 w 506"/>
                <a:gd name="T103" fmla="*/ 2147483647 h 158"/>
                <a:gd name="T104" fmla="*/ 2147483647 w 506"/>
                <a:gd name="T105" fmla="*/ 2147483647 h 158"/>
                <a:gd name="T106" fmla="*/ 2147483647 w 506"/>
                <a:gd name="T107" fmla="*/ 2147483647 h 158"/>
                <a:gd name="T108" fmla="*/ 2147483647 w 506"/>
                <a:gd name="T109" fmla="*/ 2147483647 h 15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06"/>
                <a:gd name="T166" fmla="*/ 0 h 158"/>
                <a:gd name="T167" fmla="*/ 506 w 506"/>
                <a:gd name="T168" fmla="*/ 158 h 15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06" h="158">
                  <a:moveTo>
                    <a:pt x="374" y="129"/>
                  </a:moveTo>
                  <a:lnTo>
                    <a:pt x="364" y="129"/>
                  </a:lnTo>
                  <a:lnTo>
                    <a:pt x="353" y="135"/>
                  </a:lnTo>
                  <a:lnTo>
                    <a:pt x="334" y="130"/>
                  </a:lnTo>
                  <a:lnTo>
                    <a:pt x="330" y="127"/>
                  </a:lnTo>
                  <a:lnTo>
                    <a:pt x="326" y="124"/>
                  </a:lnTo>
                  <a:lnTo>
                    <a:pt x="323" y="126"/>
                  </a:lnTo>
                  <a:lnTo>
                    <a:pt x="314" y="126"/>
                  </a:lnTo>
                  <a:lnTo>
                    <a:pt x="304" y="125"/>
                  </a:lnTo>
                  <a:lnTo>
                    <a:pt x="288" y="120"/>
                  </a:lnTo>
                  <a:lnTo>
                    <a:pt x="279" y="115"/>
                  </a:lnTo>
                  <a:lnTo>
                    <a:pt x="272" y="110"/>
                  </a:lnTo>
                  <a:lnTo>
                    <a:pt x="266" y="105"/>
                  </a:lnTo>
                  <a:lnTo>
                    <a:pt x="257" y="102"/>
                  </a:lnTo>
                  <a:lnTo>
                    <a:pt x="242" y="99"/>
                  </a:lnTo>
                  <a:lnTo>
                    <a:pt x="231" y="99"/>
                  </a:lnTo>
                  <a:lnTo>
                    <a:pt x="217" y="96"/>
                  </a:lnTo>
                  <a:lnTo>
                    <a:pt x="212" y="97"/>
                  </a:lnTo>
                  <a:lnTo>
                    <a:pt x="208" y="99"/>
                  </a:lnTo>
                  <a:lnTo>
                    <a:pt x="203" y="99"/>
                  </a:lnTo>
                  <a:lnTo>
                    <a:pt x="201" y="96"/>
                  </a:lnTo>
                  <a:lnTo>
                    <a:pt x="191" y="96"/>
                  </a:lnTo>
                  <a:lnTo>
                    <a:pt x="186" y="100"/>
                  </a:lnTo>
                  <a:lnTo>
                    <a:pt x="181" y="103"/>
                  </a:lnTo>
                  <a:lnTo>
                    <a:pt x="177" y="103"/>
                  </a:lnTo>
                  <a:lnTo>
                    <a:pt x="142" y="96"/>
                  </a:lnTo>
                  <a:lnTo>
                    <a:pt x="129" y="89"/>
                  </a:lnTo>
                  <a:lnTo>
                    <a:pt x="116" y="87"/>
                  </a:lnTo>
                  <a:lnTo>
                    <a:pt x="95" y="86"/>
                  </a:lnTo>
                  <a:lnTo>
                    <a:pt x="85" y="83"/>
                  </a:lnTo>
                  <a:lnTo>
                    <a:pt x="79" y="80"/>
                  </a:lnTo>
                  <a:lnTo>
                    <a:pt x="67" y="76"/>
                  </a:lnTo>
                  <a:lnTo>
                    <a:pt x="63" y="72"/>
                  </a:lnTo>
                  <a:lnTo>
                    <a:pt x="72" y="60"/>
                  </a:lnTo>
                  <a:lnTo>
                    <a:pt x="70" y="59"/>
                  </a:lnTo>
                  <a:lnTo>
                    <a:pt x="62" y="59"/>
                  </a:lnTo>
                  <a:lnTo>
                    <a:pt x="42" y="50"/>
                  </a:lnTo>
                  <a:lnTo>
                    <a:pt x="24" y="50"/>
                  </a:lnTo>
                  <a:lnTo>
                    <a:pt x="18" y="48"/>
                  </a:lnTo>
                  <a:lnTo>
                    <a:pt x="6" y="46"/>
                  </a:lnTo>
                  <a:lnTo>
                    <a:pt x="0" y="40"/>
                  </a:lnTo>
                  <a:lnTo>
                    <a:pt x="3" y="38"/>
                  </a:lnTo>
                  <a:lnTo>
                    <a:pt x="5" y="39"/>
                  </a:lnTo>
                  <a:lnTo>
                    <a:pt x="9" y="41"/>
                  </a:lnTo>
                  <a:lnTo>
                    <a:pt x="15" y="41"/>
                  </a:lnTo>
                  <a:lnTo>
                    <a:pt x="20" y="38"/>
                  </a:lnTo>
                  <a:lnTo>
                    <a:pt x="24" y="30"/>
                  </a:lnTo>
                  <a:lnTo>
                    <a:pt x="29" y="30"/>
                  </a:lnTo>
                  <a:lnTo>
                    <a:pt x="33" y="23"/>
                  </a:lnTo>
                  <a:lnTo>
                    <a:pt x="36" y="14"/>
                  </a:lnTo>
                  <a:lnTo>
                    <a:pt x="41" y="5"/>
                  </a:lnTo>
                  <a:lnTo>
                    <a:pt x="53" y="1"/>
                  </a:lnTo>
                  <a:lnTo>
                    <a:pt x="89" y="7"/>
                  </a:lnTo>
                  <a:lnTo>
                    <a:pt x="102" y="0"/>
                  </a:lnTo>
                  <a:lnTo>
                    <a:pt x="113" y="0"/>
                  </a:lnTo>
                  <a:lnTo>
                    <a:pt x="119" y="7"/>
                  </a:lnTo>
                  <a:lnTo>
                    <a:pt x="122" y="14"/>
                  </a:lnTo>
                  <a:lnTo>
                    <a:pt x="132" y="16"/>
                  </a:lnTo>
                  <a:lnTo>
                    <a:pt x="140" y="14"/>
                  </a:lnTo>
                  <a:lnTo>
                    <a:pt x="154" y="18"/>
                  </a:lnTo>
                  <a:lnTo>
                    <a:pt x="164" y="19"/>
                  </a:lnTo>
                  <a:lnTo>
                    <a:pt x="177" y="33"/>
                  </a:lnTo>
                  <a:lnTo>
                    <a:pt x="186" y="46"/>
                  </a:lnTo>
                  <a:lnTo>
                    <a:pt x="196" y="49"/>
                  </a:lnTo>
                  <a:lnTo>
                    <a:pt x="207" y="48"/>
                  </a:lnTo>
                  <a:lnTo>
                    <a:pt x="228" y="49"/>
                  </a:lnTo>
                  <a:lnTo>
                    <a:pt x="234" y="48"/>
                  </a:lnTo>
                  <a:lnTo>
                    <a:pt x="261" y="53"/>
                  </a:lnTo>
                  <a:lnTo>
                    <a:pt x="271" y="54"/>
                  </a:lnTo>
                  <a:lnTo>
                    <a:pt x="279" y="56"/>
                  </a:lnTo>
                  <a:lnTo>
                    <a:pt x="287" y="54"/>
                  </a:lnTo>
                  <a:lnTo>
                    <a:pt x="295" y="39"/>
                  </a:lnTo>
                  <a:lnTo>
                    <a:pt x="296" y="32"/>
                  </a:lnTo>
                  <a:lnTo>
                    <a:pt x="304" y="25"/>
                  </a:lnTo>
                  <a:lnTo>
                    <a:pt x="311" y="27"/>
                  </a:lnTo>
                  <a:lnTo>
                    <a:pt x="317" y="35"/>
                  </a:lnTo>
                  <a:lnTo>
                    <a:pt x="323" y="41"/>
                  </a:lnTo>
                  <a:lnTo>
                    <a:pt x="333" y="41"/>
                  </a:lnTo>
                  <a:lnTo>
                    <a:pt x="342" y="37"/>
                  </a:lnTo>
                  <a:lnTo>
                    <a:pt x="347" y="40"/>
                  </a:lnTo>
                  <a:lnTo>
                    <a:pt x="353" y="41"/>
                  </a:lnTo>
                  <a:lnTo>
                    <a:pt x="358" y="45"/>
                  </a:lnTo>
                  <a:lnTo>
                    <a:pt x="365" y="46"/>
                  </a:lnTo>
                  <a:lnTo>
                    <a:pt x="373" y="51"/>
                  </a:lnTo>
                  <a:lnTo>
                    <a:pt x="390" y="50"/>
                  </a:lnTo>
                  <a:lnTo>
                    <a:pt x="397" y="55"/>
                  </a:lnTo>
                  <a:lnTo>
                    <a:pt x="404" y="70"/>
                  </a:lnTo>
                  <a:lnTo>
                    <a:pt x="412" y="75"/>
                  </a:lnTo>
                  <a:lnTo>
                    <a:pt x="414" y="91"/>
                  </a:lnTo>
                  <a:lnTo>
                    <a:pt x="424" y="96"/>
                  </a:lnTo>
                  <a:lnTo>
                    <a:pt x="435" y="99"/>
                  </a:lnTo>
                  <a:lnTo>
                    <a:pt x="456" y="97"/>
                  </a:lnTo>
                  <a:lnTo>
                    <a:pt x="467" y="97"/>
                  </a:lnTo>
                  <a:lnTo>
                    <a:pt x="481" y="94"/>
                  </a:lnTo>
                  <a:lnTo>
                    <a:pt x="492" y="97"/>
                  </a:lnTo>
                  <a:lnTo>
                    <a:pt x="499" y="103"/>
                  </a:lnTo>
                  <a:lnTo>
                    <a:pt x="500" y="116"/>
                  </a:lnTo>
                  <a:lnTo>
                    <a:pt x="497" y="136"/>
                  </a:lnTo>
                  <a:lnTo>
                    <a:pt x="499" y="143"/>
                  </a:lnTo>
                  <a:lnTo>
                    <a:pt x="503" y="148"/>
                  </a:lnTo>
                  <a:lnTo>
                    <a:pt x="506" y="158"/>
                  </a:lnTo>
                  <a:lnTo>
                    <a:pt x="502" y="156"/>
                  </a:lnTo>
                  <a:lnTo>
                    <a:pt x="495" y="150"/>
                  </a:lnTo>
                  <a:lnTo>
                    <a:pt x="462" y="141"/>
                  </a:lnTo>
                  <a:lnTo>
                    <a:pt x="446" y="135"/>
                  </a:lnTo>
                  <a:lnTo>
                    <a:pt x="433" y="130"/>
                  </a:lnTo>
                  <a:lnTo>
                    <a:pt x="406" y="138"/>
                  </a:lnTo>
                  <a:lnTo>
                    <a:pt x="392" y="136"/>
                  </a:lnTo>
                  <a:lnTo>
                    <a:pt x="381" y="131"/>
                  </a:lnTo>
                  <a:lnTo>
                    <a:pt x="374" y="12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70" name="Freeform 66">
              <a:extLst>
                <a:ext uri="{FF2B5EF4-FFF2-40B4-BE49-F238E27FC236}">
                  <a16:creationId xmlns:a16="http://schemas.microsoft.com/office/drawing/2014/main" id="{24790320-631B-D1D8-734A-5C0E6554D4C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960815" y="4205340"/>
              <a:ext cx="289514" cy="265214"/>
            </a:xfrm>
            <a:custGeom>
              <a:avLst/>
              <a:gdLst>
                <a:gd name="T0" fmla="*/ 2147483647 w 547"/>
                <a:gd name="T1" fmla="*/ 0 h 467"/>
                <a:gd name="T2" fmla="*/ 2147483647 w 547"/>
                <a:gd name="T3" fmla="*/ 0 h 467"/>
                <a:gd name="T4" fmla="*/ 2147483647 w 547"/>
                <a:gd name="T5" fmla="*/ 0 h 467"/>
                <a:gd name="T6" fmla="*/ 2147483647 w 547"/>
                <a:gd name="T7" fmla="*/ 0 h 467"/>
                <a:gd name="T8" fmla="*/ 2147483647 w 547"/>
                <a:gd name="T9" fmla="*/ 0 h 467"/>
                <a:gd name="T10" fmla="*/ 2147483647 w 547"/>
                <a:gd name="T11" fmla="*/ 0 h 467"/>
                <a:gd name="T12" fmla="*/ 2147483647 w 547"/>
                <a:gd name="T13" fmla="*/ 2147483647 h 467"/>
                <a:gd name="T14" fmla="*/ 2147483647 w 547"/>
                <a:gd name="T15" fmla="*/ 2147483647 h 467"/>
                <a:gd name="T16" fmla="*/ 2147483647 w 547"/>
                <a:gd name="T17" fmla="*/ 2147483647 h 467"/>
                <a:gd name="T18" fmla="*/ 2147483647 w 547"/>
                <a:gd name="T19" fmla="*/ 2147483647 h 467"/>
                <a:gd name="T20" fmla="*/ 2147483647 w 547"/>
                <a:gd name="T21" fmla="*/ 2147483647 h 467"/>
                <a:gd name="T22" fmla="*/ 2147483647 w 547"/>
                <a:gd name="T23" fmla="*/ 2147483647 h 467"/>
                <a:gd name="T24" fmla="*/ 2147483647 w 547"/>
                <a:gd name="T25" fmla="*/ 2147483647 h 467"/>
                <a:gd name="T26" fmla="*/ 2147483647 w 547"/>
                <a:gd name="T27" fmla="*/ 2147483647 h 467"/>
                <a:gd name="T28" fmla="*/ 2147483647 w 547"/>
                <a:gd name="T29" fmla="*/ 2147483647 h 467"/>
                <a:gd name="T30" fmla="*/ 2147483647 w 547"/>
                <a:gd name="T31" fmla="*/ 2147483647 h 467"/>
                <a:gd name="T32" fmla="*/ 2147483647 w 547"/>
                <a:gd name="T33" fmla="*/ 2147483647 h 467"/>
                <a:gd name="T34" fmla="*/ 2147483647 w 547"/>
                <a:gd name="T35" fmla="*/ 2147483647 h 467"/>
                <a:gd name="T36" fmla="*/ 2147483647 w 547"/>
                <a:gd name="T37" fmla="*/ 2147483647 h 467"/>
                <a:gd name="T38" fmla="*/ 2147483647 w 547"/>
                <a:gd name="T39" fmla="*/ 2147483647 h 467"/>
                <a:gd name="T40" fmla="*/ 2147483647 w 547"/>
                <a:gd name="T41" fmla="*/ 2147483647 h 467"/>
                <a:gd name="T42" fmla="*/ 2147483647 w 547"/>
                <a:gd name="T43" fmla="*/ 2147483647 h 467"/>
                <a:gd name="T44" fmla="*/ 2147483647 w 547"/>
                <a:gd name="T45" fmla="*/ 2147483647 h 467"/>
                <a:gd name="T46" fmla="*/ 2147483647 w 547"/>
                <a:gd name="T47" fmla="*/ 2147483647 h 467"/>
                <a:gd name="T48" fmla="*/ 2147483647 w 547"/>
                <a:gd name="T49" fmla="*/ 2147483647 h 467"/>
                <a:gd name="T50" fmla="*/ 2147483647 w 547"/>
                <a:gd name="T51" fmla="*/ 2147483647 h 467"/>
                <a:gd name="T52" fmla="*/ 2147483647 w 547"/>
                <a:gd name="T53" fmla="*/ 2147483647 h 467"/>
                <a:gd name="T54" fmla="*/ 2147483647 w 547"/>
                <a:gd name="T55" fmla="*/ 2147483647 h 467"/>
                <a:gd name="T56" fmla="*/ 2147483647 w 547"/>
                <a:gd name="T57" fmla="*/ 2147483647 h 467"/>
                <a:gd name="T58" fmla="*/ 2147483647 w 547"/>
                <a:gd name="T59" fmla="*/ 2147483647 h 467"/>
                <a:gd name="T60" fmla="*/ 2147483647 w 547"/>
                <a:gd name="T61" fmla="*/ 2147483647 h 467"/>
                <a:gd name="T62" fmla="*/ 2147483647 w 547"/>
                <a:gd name="T63" fmla="*/ 2147483647 h 467"/>
                <a:gd name="T64" fmla="*/ 2147483647 w 547"/>
                <a:gd name="T65" fmla="*/ 2147483647 h 467"/>
                <a:gd name="T66" fmla="*/ 2147483647 w 547"/>
                <a:gd name="T67" fmla="*/ 2147483647 h 467"/>
                <a:gd name="T68" fmla="*/ 2147483647 w 547"/>
                <a:gd name="T69" fmla="*/ 2147483647 h 467"/>
                <a:gd name="T70" fmla="*/ 2147483647 w 547"/>
                <a:gd name="T71" fmla="*/ 2147483647 h 467"/>
                <a:gd name="T72" fmla="*/ 2147483647 w 547"/>
                <a:gd name="T73" fmla="*/ 2147483647 h 467"/>
                <a:gd name="T74" fmla="*/ 2147483647 w 547"/>
                <a:gd name="T75" fmla="*/ 2147483647 h 467"/>
                <a:gd name="T76" fmla="*/ 2147483647 w 547"/>
                <a:gd name="T77" fmla="*/ 2147483647 h 467"/>
                <a:gd name="T78" fmla="*/ 2147483647 w 547"/>
                <a:gd name="T79" fmla="*/ 2147483647 h 467"/>
                <a:gd name="T80" fmla="*/ 0 w 547"/>
                <a:gd name="T81" fmla="*/ 2147483647 h 467"/>
                <a:gd name="T82" fmla="*/ 0 w 547"/>
                <a:gd name="T83" fmla="*/ 2147483647 h 467"/>
                <a:gd name="T84" fmla="*/ 0 w 547"/>
                <a:gd name="T85" fmla="*/ 2147483647 h 467"/>
                <a:gd name="T86" fmla="*/ 0 w 547"/>
                <a:gd name="T87" fmla="*/ 2147483647 h 467"/>
                <a:gd name="T88" fmla="*/ 0 w 547"/>
                <a:gd name="T89" fmla="*/ 2147483647 h 467"/>
                <a:gd name="T90" fmla="*/ 0 w 547"/>
                <a:gd name="T91" fmla="*/ 2147483647 h 467"/>
                <a:gd name="T92" fmla="*/ 2147483647 w 547"/>
                <a:gd name="T93" fmla="*/ 2147483647 h 467"/>
                <a:gd name="T94" fmla="*/ 2147483647 w 547"/>
                <a:gd name="T95" fmla="*/ 2147483647 h 467"/>
                <a:gd name="T96" fmla="*/ 2147483647 w 547"/>
                <a:gd name="T97" fmla="*/ 2147483647 h 467"/>
                <a:gd name="T98" fmla="*/ 2147483647 w 547"/>
                <a:gd name="T99" fmla="*/ 2147483647 h 467"/>
                <a:gd name="T100" fmla="*/ 2147483647 w 547"/>
                <a:gd name="T101" fmla="*/ 2147483647 h 467"/>
                <a:gd name="T102" fmla="*/ 2147483647 w 547"/>
                <a:gd name="T103" fmla="*/ 2147483647 h 467"/>
                <a:gd name="T104" fmla="*/ 2147483647 w 547"/>
                <a:gd name="T105" fmla="*/ 2147483647 h 467"/>
                <a:gd name="T106" fmla="*/ 2147483647 w 547"/>
                <a:gd name="T107" fmla="*/ 2147483647 h 467"/>
                <a:gd name="T108" fmla="*/ 2147483647 w 547"/>
                <a:gd name="T109" fmla="*/ 2147483647 h 467"/>
                <a:gd name="T110" fmla="*/ 2147483647 w 547"/>
                <a:gd name="T111" fmla="*/ 2147483647 h 467"/>
                <a:gd name="T112" fmla="*/ 2147483647 w 547"/>
                <a:gd name="T113" fmla="*/ 0 h 467"/>
                <a:gd name="T114" fmla="*/ 2147483647 w 547"/>
                <a:gd name="T115" fmla="*/ 0 h 467"/>
                <a:gd name="T116" fmla="*/ 2147483647 w 547"/>
                <a:gd name="T117" fmla="*/ 0 h 46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47"/>
                <a:gd name="T178" fmla="*/ 0 h 467"/>
                <a:gd name="T179" fmla="*/ 547 w 547"/>
                <a:gd name="T180" fmla="*/ 467 h 467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547" h="467">
                  <a:moveTo>
                    <a:pt x="472" y="11"/>
                  </a:moveTo>
                  <a:lnTo>
                    <a:pt x="475" y="13"/>
                  </a:lnTo>
                  <a:lnTo>
                    <a:pt x="474" y="15"/>
                  </a:lnTo>
                  <a:lnTo>
                    <a:pt x="469" y="18"/>
                  </a:lnTo>
                  <a:lnTo>
                    <a:pt x="464" y="19"/>
                  </a:lnTo>
                  <a:lnTo>
                    <a:pt x="471" y="22"/>
                  </a:lnTo>
                  <a:lnTo>
                    <a:pt x="477" y="27"/>
                  </a:lnTo>
                  <a:lnTo>
                    <a:pt x="485" y="30"/>
                  </a:lnTo>
                  <a:lnTo>
                    <a:pt x="485" y="38"/>
                  </a:lnTo>
                  <a:lnTo>
                    <a:pt x="479" y="41"/>
                  </a:lnTo>
                  <a:lnTo>
                    <a:pt x="471" y="40"/>
                  </a:lnTo>
                  <a:lnTo>
                    <a:pt x="470" y="42"/>
                  </a:lnTo>
                  <a:lnTo>
                    <a:pt x="457" y="43"/>
                  </a:lnTo>
                  <a:lnTo>
                    <a:pt x="453" y="47"/>
                  </a:lnTo>
                  <a:lnTo>
                    <a:pt x="460" y="57"/>
                  </a:lnTo>
                  <a:lnTo>
                    <a:pt x="464" y="59"/>
                  </a:lnTo>
                  <a:lnTo>
                    <a:pt x="465" y="63"/>
                  </a:lnTo>
                  <a:lnTo>
                    <a:pt x="461" y="67"/>
                  </a:lnTo>
                  <a:lnTo>
                    <a:pt x="464" y="70"/>
                  </a:lnTo>
                  <a:lnTo>
                    <a:pt x="470" y="75"/>
                  </a:lnTo>
                  <a:lnTo>
                    <a:pt x="475" y="80"/>
                  </a:lnTo>
                  <a:lnTo>
                    <a:pt x="479" y="88"/>
                  </a:lnTo>
                  <a:lnTo>
                    <a:pt x="496" y="116"/>
                  </a:lnTo>
                  <a:lnTo>
                    <a:pt x="493" y="121"/>
                  </a:lnTo>
                  <a:lnTo>
                    <a:pt x="492" y="124"/>
                  </a:lnTo>
                  <a:lnTo>
                    <a:pt x="490" y="127"/>
                  </a:lnTo>
                  <a:lnTo>
                    <a:pt x="490" y="132"/>
                  </a:lnTo>
                  <a:lnTo>
                    <a:pt x="491" y="137"/>
                  </a:lnTo>
                  <a:lnTo>
                    <a:pt x="541" y="180"/>
                  </a:lnTo>
                  <a:lnTo>
                    <a:pt x="547" y="186"/>
                  </a:lnTo>
                  <a:lnTo>
                    <a:pt x="547" y="191"/>
                  </a:lnTo>
                  <a:lnTo>
                    <a:pt x="538" y="193"/>
                  </a:lnTo>
                  <a:lnTo>
                    <a:pt x="519" y="194"/>
                  </a:lnTo>
                  <a:lnTo>
                    <a:pt x="504" y="191"/>
                  </a:lnTo>
                  <a:lnTo>
                    <a:pt x="496" y="181"/>
                  </a:lnTo>
                  <a:lnTo>
                    <a:pt x="495" y="186"/>
                  </a:lnTo>
                  <a:lnTo>
                    <a:pt x="497" y="194"/>
                  </a:lnTo>
                  <a:lnTo>
                    <a:pt x="496" y="197"/>
                  </a:lnTo>
                  <a:lnTo>
                    <a:pt x="486" y="202"/>
                  </a:lnTo>
                  <a:lnTo>
                    <a:pt x="479" y="212"/>
                  </a:lnTo>
                  <a:lnTo>
                    <a:pt x="474" y="219"/>
                  </a:lnTo>
                  <a:lnTo>
                    <a:pt x="471" y="228"/>
                  </a:lnTo>
                  <a:lnTo>
                    <a:pt x="471" y="240"/>
                  </a:lnTo>
                  <a:lnTo>
                    <a:pt x="468" y="248"/>
                  </a:lnTo>
                  <a:lnTo>
                    <a:pt x="468" y="266"/>
                  </a:lnTo>
                  <a:lnTo>
                    <a:pt x="460" y="276"/>
                  </a:lnTo>
                  <a:lnTo>
                    <a:pt x="447" y="304"/>
                  </a:lnTo>
                  <a:lnTo>
                    <a:pt x="438" y="311"/>
                  </a:lnTo>
                  <a:lnTo>
                    <a:pt x="433" y="309"/>
                  </a:lnTo>
                  <a:lnTo>
                    <a:pt x="427" y="316"/>
                  </a:lnTo>
                  <a:lnTo>
                    <a:pt x="402" y="336"/>
                  </a:lnTo>
                  <a:lnTo>
                    <a:pt x="404" y="339"/>
                  </a:lnTo>
                  <a:lnTo>
                    <a:pt x="410" y="341"/>
                  </a:lnTo>
                  <a:lnTo>
                    <a:pt x="411" y="350"/>
                  </a:lnTo>
                  <a:lnTo>
                    <a:pt x="411" y="358"/>
                  </a:lnTo>
                  <a:lnTo>
                    <a:pt x="422" y="363"/>
                  </a:lnTo>
                  <a:lnTo>
                    <a:pt x="417" y="381"/>
                  </a:lnTo>
                  <a:lnTo>
                    <a:pt x="411" y="377"/>
                  </a:lnTo>
                  <a:lnTo>
                    <a:pt x="409" y="381"/>
                  </a:lnTo>
                  <a:lnTo>
                    <a:pt x="407" y="393"/>
                  </a:lnTo>
                  <a:lnTo>
                    <a:pt x="404" y="401"/>
                  </a:lnTo>
                  <a:lnTo>
                    <a:pt x="399" y="402"/>
                  </a:lnTo>
                  <a:lnTo>
                    <a:pt x="398" y="407"/>
                  </a:lnTo>
                  <a:lnTo>
                    <a:pt x="398" y="412"/>
                  </a:lnTo>
                  <a:lnTo>
                    <a:pt x="396" y="416"/>
                  </a:lnTo>
                  <a:lnTo>
                    <a:pt x="394" y="417"/>
                  </a:lnTo>
                  <a:lnTo>
                    <a:pt x="390" y="420"/>
                  </a:lnTo>
                  <a:lnTo>
                    <a:pt x="387" y="433"/>
                  </a:lnTo>
                  <a:lnTo>
                    <a:pt x="374" y="441"/>
                  </a:lnTo>
                  <a:lnTo>
                    <a:pt x="371" y="441"/>
                  </a:lnTo>
                  <a:lnTo>
                    <a:pt x="361" y="447"/>
                  </a:lnTo>
                  <a:lnTo>
                    <a:pt x="324" y="465"/>
                  </a:lnTo>
                  <a:lnTo>
                    <a:pt x="315" y="467"/>
                  </a:lnTo>
                  <a:lnTo>
                    <a:pt x="310" y="443"/>
                  </a:lnTo>
                  <a:lnTo>
                    <a:pt x="308" y="433"/>
                  </a:lnTo>
                  <a:lnTo>
                    <a:pt x="304" y="430"/>
                  </a:lnTo>
                  <a:lnTo>
                    <a:pt x="301" y="430"/>
                  </a:lnTo>
                  <a:lnTo>
                    <a:pt x="293" y="423"/>
                  </a:lnTo>
                  <a:lnTo>
                    <a:pt x="280" y="423"/>
                  </a:lnTo>
                  <a:lnTo>
                    <a:pt x="271" y="427"/>
                  </a:lnTo>
                  <a:lnTo>
                    <a:pt x="262" y="428"/>
                  </a:lnTo>
                  <a:lnTo>
                    <a:pt x="260" y="423"/>
                  </a:lnTo>
                  <a:lnTo>
                    <a:pt x="259" y="414"/>
                  </a:lnTo>
                  <a:lnTo>
                    <a:pt x="240" y="414"/>
                  </a:lnTo>
                  <a:lnTo>
                    <a:pt x="229" y="407"/>
                  </a:lnTo>
                  <a:lnTo>
                    <a:pt x="223" y="404"/>
                  </a:lnTo>
                  <a:lnTo>
                    <a:pt x="221" y="408"/>
                  </a:lnTo>
                  <a:lnTo>
                    <a:pt x="222" y="413"/>
                  </a:lnTo>
                  <a:lnTo>
                    <a:pt x="213" y="419"/>
                  </a:lnTo>
                  <a:lnTo>
                    <a:pt x="201" y="424"/>
                  </a:lnTo>
                  <a:lnTo>
                    <a:pt x="194" y="425"/>
                  </a:lnTo>
                  <a:lnTo>
                    <a:pt x="183" y="423"/>
                  </a:lnTo>
                  <a:lnTo>
                    <a:pt x="174" y="427"/>
                  </a:lnTo>
                  <a:lnTo>
                    <a:pt x="168" y="428"/>
                  </a:lnTo>
                  <a:lnTo>
                    <a:pt x="163" y="430"/>
                  </a:lnTo>
                  <a:lnTo>
                    <a:pt x="160" y="430"/>
                  </a:lnTo>
                  <a:lnTo>
                    <a:pt x="158" y="412"/>
                  </a:lnTo>
                  <a:lnTo>
                    <a:pt x="151" y="391"/>
                  </a:lnTo>
                  <a:lnTo>
                    <a:pt x="146" y="398"/>
                  </a:lnTo>
                  <a:lnTo>
                    <a:pt x="143" y="401"/>
                  </a:lnTo>
                  <a:lnTo>
                    <a:pt x="133" y="397"/>
                  </a:lnTo>
                  <a:lnTo>
                    <a:pt x="129" y="398"/>
                  </a:lnTo>
                  <a:lnTo>
                    <a:pt x="124" y="403"/>
                  </a:lnTo>
                  <a:lnTo>
                    <a:pt x="119" y="404"/>
                  </a:lnTo>
                  <a:lnTo>
                    <a:pt x="110" y="406"/>
                  </a:lnTo>
                  <a:lnTo>
                    <a:pt x="104" y="403"/>
                  </a:lnTo>
                  <a:lnTo>
                    <a:pt x="94" y="404"/>
                  </a:lnTo>
                  <a:lnTo>
                    <a:pt x="84" y="397"/>
                  </a:lnTo>
                  <a:lnTo>
                    <a:pt x="81" y="400"/>
                  </a:lnTo>
                  <a:lnTo>
                    <a:pt x="73" y="401"/>
                  </a:lnTo>
                  <a:lnTo>
                    <a:pt x="70" y="387"/>
                  </a:lnTo>
                  <a:lnTo>
                    <a:pt x="71" y="377"/>
                  </a:lnTo>
                  <a:lnTo>
                    <a:pt x="67" y="373"/>
                  </a:lnTo>
                  <a:lnTo>
                    <a:pt x="62" y="353"/>
                  </a:lnTo>
                  <a:lnTo>
                    <a:pt x="56" y="341"/>
                  </a:lnTo>
                  <a:lnTo>
                    <a:pt x="56" y="336"/>
                  </a:lnTo>
                  <a:lnTo>
                    <a:pt x="59" y="333"/>
                  </a:lnTo>
                  <a:lnTo>
                    <a:pt x="60" y="325"/>
                  </a:lnTo>
                  <a:lnTo>
                    <a:pt x="57" y="314"/>
                  </a:lnTo>
                  <a:lnTo>
                    <a:pt x="55" y="305"/>
                  </a:lnTo>
                  <a:lnTo>
                    <a:pt x="45" y="288"/>
                  </a:lnTo>
                  <a:lnTo>
                    <a:pt x="43" y="283"/>
                  </a:lnTo>
                  <a:lnTo>
                    <a:pt x="39" y="278"/>
                  </a:lnTo>
                  <a:lnTo>
                    <a:pt x="29" y="274"/>
                  </a:lnTo>
                  <a:lnTo>
                    <a:pt x="23" y="268"/>
                  </a:lnTo>
                  <a:lnTo>
                    <a:pt x="18" y="268"/>
                  </a:lnTo>
                  <a:lnTo>
                    <a:pt x="13" y="264"/>
                  </a:lnTo>
                  <a:lnTo>
                    <a:pt x="12" y="253"/>
                  </a:lnTo>
                  <a:lnTo>
                    <a:pt x="11" y="233"/>
                  </a:lnTo>
                  <a:lnTo>
                    <a:pt x="6" y="223"/>
                  </a:lnTo>
                  <a:lnTo>
                    <a:pt x="2" y="219"/>
                  </a:lnTo>
                  <a:lnTo>
                    <a:pt x="1" y="214"/>
                  </a:lnTo>
                  <a:lnTo>
                    <a:pt x="0" y="196"/>
                  </a:lnTo>
                  <a:lnTo>
                    <a:pt x="1" y="182"/>
                  </a:lnTo>
                  <a:lnTo>
                    <a:pt x="7" y="163"/>
                  </a:lnTo>
                  <a:lnTo>
                    <a:pt x="12" y="154"/>
                  </a:lnTo>
                  <a:lnTo>
                    <a:pt x="19" y="145"/>
                  </a:lnTo>
                  <a:lnTo>
                    <a:pt x="25" y="134"/>
                  </a:lnTo>
                  <a:lnTo>
                    <a:pt x="33" y="129"/>
                  </a:lnTo>
                  <a:lnTo>
                    <a:pt x="33" y="134"/>
                  </a:lnTo>
                  <a:lnTo>
                    <a:pt x="60" y="174"/>
                  </a:lnTo>
                  <a:lnTo>
                    <a:pt x="73" y="185"/>
                  </a:lnTo>
                  <a:lnTo>
                    <a:pt x="87" y="188"/>
                  </a:lnTo>
                  <a:lnTo>
                    <a:pt x="99" y="185"/>
                  </a:lnTo>
                  <a:lnTo>
                    <a:pt x="110" y="183"/>
                  </a:lnTo>
                  <a:lnTo>
                    <a:pt x="120" y="190"/>
                  </a:lnTo>
                  <a:lnTo>
                    <a:pt x="129" y="186"/>
                  </a:lnTo>
                  <a:lnTo>
                    <a:pt x="138" y="186"/>
                  </a:lnTo>
                  <a:lnTo>
                    <a:pt x="148" y="187"/>
                  </a:lnTo>
                  <a:lnTo>
                    <a:pt x="156" y="183"/>
                  </a:lnTo>
                  <a:lnTo>
                    <a:pt x="172" y="165"/>
                  </a:lnTo>
                  <a:lnTo>
                    <a:pt x="179" y="156"/>
                  </a:lnTo>
                  <a:lnTo>
                    <a:pt x="184" y="155"/>
                  </a:lnTo>
                  <a:lnTo>
                    <a:pt x="211" y="156"/>
                  </a:lnTo>
                  <a:lnTo>
                    <a:pt x="216" y="159"/>
                  </a:lnTo>
                  <a:lnTo>
                    <a:pt x="217" y="166"/>
                  </a:lnTo>
                  <a:lnTo>
                    <a:pt x="222" y="166"/>
                  </a:lnTo>
                  <a:lnTo>
                    <a:pt x="243" y="174"/>
                  </a:lnTo>
                  <a:lnTo>
                    <a:pt x="253" y="174"/>
                  </a:lnTo>
                  <a:lnTo>
                    <a:pt x="264" y="167"/>
                  </a:lnTo>
                  <a:lnTo>
                    <a:pt x="273" y="165"/>
                  </a:lnTo>
                  <a:lnTo>
                    <a:pt x="285" y="163"/>
                  </a:lnTo>
                  <a:lnTo>
                    <a:pt x="298" y="159"/>
                  </a:lnTo>
                  <a:lnTo>
                    <a:pt x="304" y="154"/>
                  </a:lnTo>
                  <a:lnTo>
                    <a:pt x="308" y="147"/>
                  </a:lnTo>
                  <a:lnTo>
                    <a:pt x="315" y="135"/>
                  </a:lnTo>
                  <a:lnTo>
                    <a:pt x="324" y="117"/>
                  </a:lnTo>
                  <a:lnTo>
                    <a:pt x="330" y="90"/>
                  </a:lnTo>
                  <a:lnTo>
                    <a:pt x="356" y="61"/>
                  </a:lnTo>
                  <a:lnTo>
                    <a:pt x="361" y="49"/>
                  </a:lnTo>
                  <a:lnTo>
                    <a:pt x="363" y="27"/>
                  </a:lnTo>
                  <a:lnTo>
                    <a:pt x="369" y="10"/>
                  </a:lnTo>
                  <a:lnTo>
                    <a:pt x="375" y="2"/>
                  </a:lnTo>
                  <a:lnTo>
                    <a:pt x="394" y="0"/>
                  </a:lnTo>
                  <a:lnTo>
                    <a:pt x="445" y="2"/>
                  </a:lnTo>
                  <a:lnTo>
                    <a:pt x="454" y="7"/>
                  </a:lnTo>
                  <a:lnTo>
                    <a:pt x="468" y="11"/>
                  </a:lnTo>
                  <a:lnTo>
                    <a:pt x="472" y="1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71" name="Freeform 67">
              <a:extLst>
                <a:ext uri="{FF2B5EF4-FFF2-40B4-BE49-F238E27FC236}">
                  <a16:creationId xmlns:a16="http://schemas.microsoft.com/office/drawing/2014/main" id="{3F00F40D-87C0-02F7-E9CB-4D6D7E0C695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0115888" y="4470554"/>
              <a:ext cx="117895" cy="67066"/>
            </a:xfrm>
            <a:custGeom>
              <a:avLst/>
              <a:gdLst>
                <a:gd name="T0" fmla="*/ 0 w 223"/>
                <a:gd name="T1" fmla="*/ 0 h 117"/>
                <a:gd name="T2" fmla="*/ 0 w 223"/>
                <a:gd name="T3" fmla="*/ 0 h 117"/>
                <a:gd name="T4" fmla="*/ 0 w 223"/>
                <a:gd name="T5" fmla="*/ 0 h 117"/>
                <a:gd name="T6" fmla="*/ 2147483647 w 223"/>
                <a:gd name="T7" fmla="*/ 2147483647 h 117"/>
                <a:gd name="T8" fmla="*/ 2147483647 w 223"/>
                <a:gd name="T9" fmla="*/ 0 h 117"/>
                <a:gd name="T10" fmla="*/ 2147483647 w 223"/>
                <a:gd name="T11" fmla="*/ 0 h 117"/>
                <a:gd name="T12" fmla="*/ 2147483647 w 223"/>
                <a:gd name="T13" fmla="*/ 0 h 117"/>
                <a:gd name="T14" fmla="*/ 2147483647 w 223"/>
                <a:gd name="T15" fmla="*/ 0 h 117"/>
                <a:gd name="T16" fmla="*/ 2147483647 w 223"/>
                <a:gd name="T17" fmla="*/ 0 h 117"/>
                <a:gd name="T18" fmla="*/ 2147483647 w 223"/>
                <a:gd name="T19" fmla="*/ 0 h 117"/>
                <a:gd name="T20" fmla="*/ 2147483647 w 223"/>
                <a:gd name="T21" fmla="*/ 0 h 117"/>
                <a:gd name="T22" fmla="*/ 2147483647 w 223"/>
                <a:gd name="T23" fmla="*/ 0 h 117"/>
                <a:gd name="T24" fmla="*/ 2147483647 w 223"/>
                <a:gd name="T25" fmla="*/ 0 h 117"/>
                <a:gd name="T26" fmla="*/ 2147483647 w 223"/>
                <a:gd name="T27" fmla="*/ 0 h 117"/>
                <a:gd name="T28" fmla="*/ 2147483647 w 223"/>
                <a:gd name="T29" fmla="*/ 0 h 117"/>
                <a:gd name="T30" fmla="*/ 2147483647 w 223"/>
                <a:gd name="T31" fmla="*/ 0 h 117"/>
                <a:gd name="T32" fmla="*/ 2147483647 w 223"/>
                <a:gd name="T33" fmla="*/ 0 h 117"/>
                <a:gd name="T34" fmla="*/ 2147483647 w 223"/>
                <a:gd name="T35" fmla="*/ 0 h 117"/>
                <a:gd name="T36" fmla="*/ 2147483647 w 223"/>
                <a:gd name="T37" fmla="*/ 0 h 117"/>
                <a:gd name="T38" fmla="*/ 2147483647 w 223"/>
                <a:gd name="T39" fmla="*/ 0 h 117"/>
                <a:gd name="T40" fmla="*/ 2147483647 w 223"/>
                <a:gd name="T41" fmla="*/ 0 h 117"/>
                <a:gd name="T42" fmla="*/ 2147483647 w 223"/>
                <a:gd name="T43" fmla="*/ 0 h 117"/>
                <a:gd name="T44" fmla="*/ 2147483647 w 223"/>
                <a:gd name="T45" fmla="*/ 0 h 117"/>
                <a:gd name="T46" fmla="*/ 2147483647 w 223"/>
                <a:gd name="T47" fmla="*/ 0 h 117"/>
                <a:gd name="T48" fmla="*/ 2147483647 w 223"/>
                <a:gd name="T49" fmla="*/ 0 h 117"/>
                <a:gd name="T50" fmla="*/ 2147483647 w 223"/>
                <a:gd name="T51" fmla="*/ 0 h 117"/>
                <a:gd name="T52" fmla="*/ 2147483647 w 223"/>
                <a:gd name="T53" fmla="*/ 0 h 117"/>
                <a:gd name="T54" fmla="*/ 2147483647 w 223"/>
                <a:gd name="T55" fmla="*/ 0 h 117"/>
                <a:gd name="T56" fmla="*/ 2147483647 w 223"/>
                <a:gd name="T57" fmla="*/ 0 h 117"/>
                <a:gd name="T58" fmla="*/ 2147483647 w 223"/>
                <a:gd name="T59" fmla="*/ 0 h 117"/>
                <a:gd name="T60" fmla="*/ 2147483647 w 223"/>
                <a:gd name="T61" fmla="*/ 0 h 117"/>
                <a:gd name="T62" fmla="*/ 2147483647 w 223"/>
                <a:gd name="T63" fmla="*/ 0 h 117"/>
                <a:gd name="T64" fmla="*/ 2147483647 w 223"/>
                <a:gd name="T65" fmla="*/ 0 h 117"/>
                <a:gd name="T66" fmla="*/ 2147483647 w 223"/>
                <a:gd name="T67" fmla="*/ 0 h 117"/>
                <a:gd name="T68" fmla="*/ 2147483647 w 223"/>
                <a:gd name="T69" fmla="*/ 0 h 117"/>
                <a:gd name="T70" fmla="*/ 2147483647 w 223"/>
                <a:gd name="T71" fmla="*/ 0 h 117"/>
                <a:gd name="T72" fmla="*/ 2147483647 w 223"/>
                <a:gd name="T73" fmla="*/ 0 h 117"/>
                <a:gd name="T74" fmla="*/ 2147483647 w 223"/>
                <a:gd name="T75" fmla="*/ 0 h 117"/>
                <a:gd name="T76" fmla="*/ 2147483647 w 223"/>
                <a:gd name="T77" fmla="*/ 0 h 117"/>
                <a:gd name="T78" fmla="*/ 2147483647 w 223"/>
                <a:gd name="T79" fmla="*/ 0 h 117"/>
                <a:gd name="T80" fmla="*/ 2147483647 w 223"/>
                <a:gd name="T81" fmla="*/ 0 h 117"/>
                <a:gd name="T82" fmla="*/ 2147483647 w 223"/>
                <a:gd name="T83" fmla="*/ 2147483647 h 117"/>
                <a:gd name="T84" fmla="*/ 2147483647 w 223"/>
                <a:gd name="T85" fmla="*/ 0 h 117"/>
                <a:gd name="T86" fmla="*/ 2147483647 w 223"/>
                <a:gd name="T87" fmla="*/ 2147483647 h 117"/>
                <a:gd name="T88" fmla="*/ 2147483647 w 223"/>
                <a:gd name="T89" fmla="*/ 2147483647 h 117"/>
                <a:gd name="T90" fmla="*/ 2147483647 w 223"/>
                <a:gd name="T91" fmla="*/ 2147483647 h 117"/>
                <a:gd name="T92" fmla="*/ 2147483647 w 223"/>
                <a:gd name="T93" fmla="*/ 2147483647 h 117"/>
                <a:gd name="T94" fmla="*/ 2147483647 w 223"/>
                <a:gd name="T95" fmla="*/ 2147483647 h 117"/>
                <a:gd name="T96" fmla="*/ 2147483647 w 223"/>
                <a:gd name="T97" fmla="*/ 2147483647 h 117"/>
                <a:gd name="T98" fmla="*/ 2147483647 w 223"/>
                <a:gd name="T99" fmla="*/ 2147483647 h 117"/>
                <a:gd name="T100" fmla="*/ 2147483647 w 223"/>
                <a:gd name="T101" fmla="*/ 2147483647 h 117"/>
                <a:gd name="T102" fmla="*/ 2147483647 w 223"/>
                <a:gd name="T103" fmla="*/ 2147483647 h 117"/>
                <a:gd name="T104" fmla="*/ 2147483647 w 223"/>
                <a:gd name="T105" fmla="*/ 2147483647 h 117"/>
                <a:gd name="T106" fmla="*/ 2147483647 w 223"/>
                <a:gd name="T107" fmla="*/ 2147483647 h 117"/>
                <a:gd name="T108" fmla="*/ 0 w 223"/>
                <a:gd name="T109" fmla="*/ 2147483647 h 117"/>
                <a:gd name="T110" fmla="*/ 0 w 223"/>
                <a:gd name="T111" fmla="*/ 2147483647 h 117"/>
                <a:gd name="T112" fmla="*/ 0 w 223"/>
                <a:gd name="T113" fmla="*/ 2147483647 h 117"/>
                <a:gd name="T114" fmla="*/ 0 w 223"/>
                <a:gd name="T115" fmla="*/ 2147483647 h 117"/>
                <a:gd name="T116" fmla="*/ 0 w 223"/>
                <a:gd name="T117" fmla="*/ 0 h 11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23"/>
                <a:gd name="T178" fmla="*/ 0 h 117"/>
                <a:gd name="T179" fmla="*/ 223 w 223"/>
                <a:gd name="T180" fmla="*/ 117 h 117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23" h="117">
                  <a:moveTo>
                    <a:pt x="0" y="73"/>
                  </a:moveTo>
                  <a:lnTo>
                    <a:pt x="5" y="69"/>
                  </a:lnTo>
                  <a:lnTo>
                    <a:pt x="11" y="72"/>
                  </a:lnTo>
                  <a:lnTo>
                    <a:pt x="50" y="75"/>
                  </a:lnTo>
                  <a:lnTo>
                    <a:pt x="81" y="73"/>
                  </a:lnTo>
                  <a:lnTo>
                    <a:pt x="88" y="69"/>
                  </a:lnTo>
                  <a:lnTo>
                    <a:pt x="88" y="62"/>
                  </a:lnTo>
                  <a:lnTo>
                    <a:pt x="89" y="58"/>
                  </a:lnTo>
                  <a:lnTo>
                    <a:pt x="93" y="51"/>
                  </a:lnTo>
                  <a:lnTo>
                    <a:pt x="98" y="47"/>
                  </a:lnTo>
                  <a:lnTo>
                    <a:pt x="102" y="49"/>
                  </a:lnTo>
                  <a:lnTo>
                    <a:pt x="97" y="58"/>
                  </a:lnTo>
                  <a:lnTo>
                    <a:pt x="96" y="68"/>
                  </a:lnTo>
                  <a:lnTo>
                    <a:pt x="102" y="72"/>
                  </a:lnTo>
                  <a:lnTo>
                    <a:pt x="110" y="69"/>
                  </a:lnTo>
                  <a:lnTo>
                    <a:pt x="119" y="69"/>
                  </a:lnTo>
                  <a:lnTo>
                    <a:pt x="126" y="73"/>
                  </a:lnTo>
                  <a:lnTo>
                    <a:pt x="135" y="72"/>
                  </a:lnTo>
                  <a:lnTo>
                    <a:pt x="142" y="69"/>
                  </a:lnTo>
                  <a:lnTo>
                    <a:pt x="160" y="47"/>
                  </a:lnTo>
                  <a:lnTo>
                    <a:pt x="169" y="41"/>
                  </a:lnTo>
                  <a:lnTo>
                    <a:pt x="175" y="42"/>
                  </a:lnTo>
                  <a:lnTo>
                    <a:pt x="184" y="37"/>
                  </a:lnTo>
                  <a:lnTo>
                    <a:pt x="185" y="27"/>
                  </a:lnTo>
                  <a:lnTo>
                    <a:pt x="183" y="18"/>
                  </a:lnTo>
                  <a:lnTo>
                    <a:pt x="179" y="9"/>
                  </a:lnTo>
                  <a:lnTo>
                    <a:pt x="179" y="4"/>
                  </a:lnTo>
                  <a:lnTo>
                    <a:pt x="188" y="2"/>
                  </a:lnTo>
                  <a:lnTo>
                    <a:pt x="195" y="5"/>
                  </a:lnTo>
                  <a:lnTo>
                    <a:pt x="201" y="5"/>
                  </a:lnTo>
                  <a:lnTo>
                    <a:pt x="204" y="3"/>
                  </a:lnTo>
                  <a:lnTo>
                    <a:pt x="210" y="0"/>
                  </a:lnTo>
                  <a:lnTo>
                    <a:pt x="217" y="4"/>
                  </a:lnTo>
                  <a:lnTo>
                    <a:pt x="222" y="14"/>
                  </a:lnTo>
                  <a:lnTo>
                    <a:pt x="223" y="27"/>
                  </a:lnTo>
                  <a:lnTo>
                    <a:pt x="221" y="36"/>
                  </a:lnTo>
                  <a:lnTo>
                    <a:pt x="216" y="42"/>
                  </a:lnTo>
                  <a:lnTo>
                    <a:pt x="210" y="45"/>
                  </a:lnTo>
                  <a:lnTo>
                    <a:pt x="206" y="52"/>
                  </a:lnTo>
                  <a:lnTo>
                    <a:pt x="210" y="63"/>
                  </a:lnTo>
                  <a:lnTo>
                    <a:pt x="204" y="74"/>
                  </a:lnTo>
                  <a:lnTo>
                    <a:pt x="195" y="77"/>
                  </a:lnTo>
                  <a:lnTo>
                    <a:pt x="183" y="74"/>
                  </a:lnTo>
                  <a:lnTo>
                    <a:pt x="179" y="79"/>
                  </a:lnTo>
                  <a:lnTo>
                    <a:pt x="178" y="86"/>
                  </a:lnTo>
                  <a:lnTo>
                    <a:pt x="167" y="97"/>
                  </a:lnTo>
                  <a:lnTo>
                    <a:pt x="142" y="110"/>
                  </a:lnTo>
                  <a:lnTo>
                    <a:pt x="132" y="112"/>
                  </a:lnTo>
                  <a:lnTo>
                    <a:pt x="121" y="115"/>
                  </a:lnTo>
                  <a:lnTo>
                    <a:pt x="102" y="115"/>
                  </a:lnTo>
                  <a:lnTo>
                    <a:pt x="91" y="117"/>
                  </a:lnTo>
                  <a:lnTo>
                    <a:pt x="77" y="117"/>
                  </a:lnTo>
                  <a:lnTo>
                    <a:pt x="66" y="106"/>
                  </a:lnTo>
                  <a:lnTo>
                    <a:pt x="59" y="106"/>
                  </a:lnTo>
                  <a:lnTo>
                    <a:pt x="48" y="110"/>
                  </a:lnTo>
                  <a:lnTo>
                    <a:pt x="27" y="96"/>
                  </a:lnTo>
                  <a:lnTo>
                    <a:pt x="12" y="92"/>
                  </a:lnTo>
                  <a:lnTo>
                    <a:pt x="4" y="84"/>
                  </a:lnTo>
                  <a:lnTo>
                    <a:pt x="0" y="7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72" name="Freeform 68">
              <a:extLst>
                <a:ext uri="{FF2B5EF4-FFF2-40B4-BE49-F238E27FC236}">
                  <a16:creationId xmlns:a16="http://schemas.microsoft.com/office/drawing/2014/main" id="{9570BDE5-4C0F-131C-B478-6BF5EAAD6B4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899498" y="4421779"/>
              <a:ext cx="291007" cy="253020"/>
            </a:xfrm>
            <a:custGeom>
              <a:avLst/>
              <a:gdLst>
                <a:gd name="T0" fmla="*/ 0 w 544"/>
                <a:gd name="T1" fmla="*/ 2147483647 h 446"/>
                <a:gd name="T2" fmla="*/ 0 w 544"/>
                <a:gd name="T3" fmla="*/ 2147483647 h 446"/>
                <a:gd name="T4" fmla="*/ 0 w 544"/>
                <a:gd name="T5" fmla="*/ 2147483647 h 446"/>
                <a:gd name="T6" fmla="*/ 0 w 544"/>
                <a:gd name="T7" fmla="*/ 2147483647 h 446"/>
                <a:gd name="T8" fmla="*/ 2147483647 w 544"/>
                <a:gd name="T9" fmla="*/ 2147483647 h 446"/>
                <a:gd name="T10" fmla="*/ 2147483647 w 544"/>
                <a:gd name="T11" fmla="*/ 2147483647 h 446"/>
                <a:gd name="T12" fmla="*/ 2147483647 w 544"/>
                <a:gd name="T13" fmla="*/ 2147483647 h 446"/>
                <a:gd name="T14" fmla="*/ 2147483647 w 544"/>
                <a:gd name="T15" fmla="*/ 2147483647 h 446"/>
                <a:gd name="T16" fmla="*/ 2147483647 w 544"/>
                <a:gd name="T17" fmla="*/ 2147483647 h 446"/>
                <a:gd name="T18" fmla="*/ 2147483647 w 544"/>
                <a:gd name="T19" fmla="*/ 2147483647 h 446"/>
                <a:gd name="T20" fmla="*/ 2147483647 w 544"/>
                <a:gd name="T21" fmla="*/ 2147483647 h 446"/>
                <a:gd name="T22" fmla="*/ 2147483647 w 544"/>
                <a:gd name="T23" fmla="*/ 2147483647 h 446"/>
                <a:gd name="T24" fmla="*/ 2147483647 w 544"/>
                <a:gd name="T25" fmla="*/ 2147483647 h 446"/>
                <a:gd name="T26" fmla="*/ 2147483647 w 544"/>
                <a:gd name="T27" fmla="*/ 2147483647 h 446"/>
                <a:gd name="T28" fmla="*/ 2147483647 w 544"/>
                <a:gd name="T29" fmla="*/ 2147483647 h 446"/>
                <a:gd name="T30" fmla="*/ 2147483647 w 544"/>
                <a:gd name="T31" fmla="*/ 2147483647 h 446"/>
                <a:gd name="T32" fmla="*/ 2147483647 w 544"/>
                <a:gd name="T33" fmla="*/ 2147483647 h 446"/>
                <a:gd name="T34" fmla="*/ 2147483647 w 544"/>
                <a:gd name="T35" fmla="*/ 2147483647 h 446"/>
                <a:gd name="T36" fmla="*/ 2147483647 w 544"/>
                <a:gd name="T37" fmla="*/ 2147483647 h 446"/>
                <a:gd name="T38" fmla="*/ 2147483647 w 544"/>
                <a:gd name="T39" fmla="*/ 2147483647 h 446"/>
                <a:gd name="T40" fmla="*/ 2147483647 w 544"/>
                <a:gd name="T41" fmla="*/ 2147483647 h 446"/>
                <a:gd name="T42" fmla="*/ 2147483647 w 544"/>
                <a:gd name="T43" fmla="*/ 2147483647 h 446"/>
                <a:gd name="T44" fmla="*/ 2147483647 w 544"/>
                <a:gd name="T45" fmla="*/ 2147483647 h 446"/>
                <a:gd name="T46" fmla="*/ 2147483647 w 544"/>
                <a:gd name="T47" fmla="*/ 2147483647 h 446"/>
                <a:gd name="T48" fmla="*/ 2147483647 w 544"/>
                <a:gd name="T49" fmla="*/ 2147483647 h 446"/>
                <a:gd name="T50" fmla="*/ 2147483647 w 544"/>
                <a:gd name="T51" fmla="*/ 2147483647 h 446"/>
                <a:gd name="T52" fmla="*/ 2147483647 w 544"/>
                <a:gd name="T53" fmla="*/ 2147483647 h 446"/>
                <a:gd name="T54" fmla="*/ 2147483647 w 544"/>
                <a:gd name="T55" fmla="*/ 2147483647 h 446"/>
                <a:gd name="T56" fmla="*/ 2147483647 w 544"/>
                <a:gd name="T57" fmla="*/ 2147483647 h 446"/>
                <a:gd name="T58" fmla="*/ 2147483647 w 544"/>
                <a:gd name="T59" fmla="*/ 2147483647 h 446"/>
                <a:gd name="T60" fmla="*/ 2147483647 w 544"/>
                <a:gd name="T61" fmla="*/ 2147483647 h 446"/>
                <a:gd name="T62" fmla="*/ 2147483647 w 544"/>
                <a:gd name="T63" fmla="*/ 2147483647 h 446"/>
                <a:gd name="T64" fmla="*/ 2147483647 w 544"/>
                <a:gd name="T65" fmla="*/ 2147483647 h 446"/>
                <a:gd name="T66" fmla="*/ 2147483647 w 544"/>
                <a:gd name="T67" fmla="*/ 2147483647 h 446"/>
                <a:gd name="T68" fmla="*/ 2147483647 w 544"/>
                <a:gd name="T69" fmla="*/ 2147483647 h 446"/>
                <a:gd name="T70" fmla="*/ 2147483647 w 544"/>
                <a:gd name="T71" fmla="*/ 2147483647 h 446"/>
                <a:gd name="T72" fmla="*/ 2147483647 w 544"/>
                <a:gd name="T73" fmla="*/ 2147483647 h 446"/>
                <a:gd name="T74" fmla="*/ 2147483647 w 544"/>
                <a:gd name="T75" fmla="*/ 2147483647 h 446"/>
                <a:gd name="T76" fmla="*/ 2147483647 w 544"/>
                <a:gd name="T77" fmla="*/ 2147483647 h 446"/>
                <a:gd name="T78" fmla="*/ 2147483647 w 544"/>
                <a:gd name="T79" fmla="*/ 2147483647 h 446"/>
                <a:gd name="T80" fmla="*/ 2147483647 w 544"/>
                <a:gd name="T81" fmla="*/ 2147483647 h 446"/>
                <a:gd name="T82" fmla="*/ 2147483647 w 544"/>
                <a:gd name="T83" fmla="*/ 2147483647 h 446"/>
                <a:gd name="T84" fmla="*/ 2147483647 w 544"/>
                <a:gd name="T85" fmla="*/ 0 h 446"/>
                <a:gd name="T86" fmla="*/ 2147483647 w 544"/>
                <a:gd name="T87" fmla="*/ 0 h 446"/>
                <a:gd name="T88" fmla="*/ 2147483647 w 544"/>
                <a:gd name="T89" fmla="*/ 0 h 446"/>
                <a:gd name="T90" fmla="*/ 0 w 544"/>
                <a:gd name="T91" fmla="*/ 0 h 446"/>
                <a:gd name="T92" fmla="*/ 0 w 544"/>
                <a:gd name="T93" fmla="*/ 0 h 44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44"/>
                <a:gd name="T142" fmla="*/ 0 h 446"/>
                <a:gd name="T143" fmla="*/ 544 w 544"/>
                <a:gd name="T144" fmla="*/ 446 h 44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44" h="446">
                  <a:moveTo>
                    <a:pt x="1" y="0"/>
                  </a:moveTo>
                  <a:lnTo>
                    <a:pt x="0" y="9"/>
                  </a:lnTo>
                  <a:lnTo>
                    <a:pt x="5" y="134"/>
                  </a:lnTo>
                  <a:lnTo>
                    <a:pt x="5" y="206"/>
                  </a:lnTo>
                  <a:lnTo>
                    <a:pt x="1" y="227"/>
                  </a:lnTo>
                  <a:lnTo>
                    <a:pt x="0" y="231"/>
                  </a:lnTo>
                  <a:lnTo>
                    <a:pt x="7" y="248"/>
                  </a:lnTo>
                  <a:lnTo>
                    <a:pt x="7" y="289"/>
                  </a:lnTo>
                  <a:lnTo>
                    <a:pt x="10" y="346"/>
                  </a:lnTo>
                  <a:lnTo>
                    <a:pt x="13" y="360"/>
                  </a:lnTo>
                  <a:lnTo>
                    <a:pt x="26" y="359"/>
                  </a:lnTo>
                  <a:lnTo>
                    <a:pt x="31" y="362"/>
                  </a:lnTo>
                  <a:lnTo>
                    <a:pt x="39" y="365"/>
                  </a:lnTo>
                  <a:lnTo>
                    <a:pt x="48" y="365"/>
                  </a:lnTo>
                  <a:lnTo>
                    <a:pt x="56" y="362"/>
                  </a:lnTo>
                  <a:lnTo>
                    <a:pt x="72" y="362"/>
                  </a:lnTo>
                  <a:lnTo>
                    <a:pt x="77" y="362"/>
                  </a:lnTo>
                  <a:lnTo>
                    <a:pt x="93" y="368"/>
                  </a:lnTo>
                  <a:lnTo>
                    <a:pt x="99" y="366"/>
                  </a:lnTo>
                  <a:lnTo>
                    <a:pt x="114" y="356"/>
                  </a:lnTo>
                  <a:lnTo>
                    <a:pt x="125" y="352"/>
                  </a:lnTo>
                  <a:lnTo>
                    <a:pt x="130" y="346"/>
                  </a:lnTo>
                  <a:lnTo>
                    <a:pt x="124" y="330"/>
                  </a:lnTo>
                  <a:lnTo>
                    <a:pt x="118" y="323"/>
                  </a:lnTo>
                  <a:lnTo>
                    <a:pt x="112" y="317"/>
                  </a:lnTo>
                  <a:lnTo>
                    <a:pt x="131" y="312"/>
                  </a:lnTo>
                  <a:lnTo>
                    <a:pt x="137" y="307"/>
                  </a:lnTo>
                  <a:lnTo>
                    <a:pt x="135" y="302"/>
                  </a:lnTo>
                  <a:lnTo>
                    <a:pt x="140" y="297"/>
                  </a:lnTo>
                  <a:lnTo>
                    <a:pt x="152" y="298"/>
                  </a:lnTo>
                  <a:lnTo>
                    <a:pt x="160" y="296"/>
                  </a:lnTo>
                  <a:lnTo>
                    <a:pt x="157" y="287"/>
                  </a:lnTo>
                  <a:lnTo>
                    <a:pt x="155" y="273"/>
                  </a:lnTo>
                  <a:lnTo>
                    <a:pt x="161" y="278"/>
                  </a:lnTo>
                  <a:lnTo>
                    <a:pt x="173" y="280"/>
                  </a:lnTo>
                  <a:lnTo>
                    <a:pt x="180" y="278"/>
                  </a:lnTo>
                  <a:lnTo>
                    <a:pt x="184" y="273"/>
                  </a:lnTo>
                  <a:lnTo>
                    <a:pt x="189" y="269"/>
                  </a:lnTo>
                  <a:lnTo>
                    <a:pt x="196" y="276"/>
                  </a:lnTo>
                  <a:lnTo>
                    <a:pt x="203" y="273"/>
                  </a:lnTo>
                  <a:lnTo>
                    <a:pt x="210" y="275"/>
                  </a:lnTo>
                  <a:lnTo>
                    <a:pt x="211" y="279"/>
                  </a:lnTo>
                  <a:lnTo>
                    <a:pt x="216" y="282"/>
                  </a:lnTo>
                  <a:lnTo>
                    <a:pt x="223" y="284"/>
                  </a:lnTo>
                  <a:lnTo>
                    <a:pt x="232" y="289"/>
                  </a:lnTo>
                  <a:lnTo>
                    <a:pt x="238" y="290"/>
                  </a:lnTo>
                  <a:lnTo>
                    <a:pt x="247" y="296"/>
                  </a:lnTo>
                  <a:lnTo>
                    <a:pt x="258" y="296"/>
                  </a:lnTo>
                  <a:lnTo>
                    <a:pt x="278" y="302"/>
                  </a:lnTo>
                  <a:lnTo>
                    <a:pt x="289" y="311"/>
                  </a:lnTo>
                  <a:lnTo>
                    <a:pt x="291" y="323"/>
                  </a:lnTo>
                  <a:lnTo>
                    <a:pt x="306" y="341"/>
                  </a:lnTo>
                  <a:lnTo>
                    <a:pt x="312" y="354"/>
                  </a:lnTo>
                  <a:lnTo>
                    <a:pt x="330" y="356"/>
                  </a:lnTo>
                  <a:lnTo>
                    <a:pt x="328" y="365"/>
                  </a:lnTo>
                  <a:lnTo>
                    <a:pt x="329" y="367"/>
                  </a:lnTo>
                  <a:lnTo>
                    <a:pt x="335" y="375"/>
                  </a:lnTo>
                  <a:lnTo>
                    <a:pt x="343" y="378"/>
                  </a:lnTo>
                  <a:lnTo>
                    <a:pt x="350" y="384"/>
                  </a:lnTo>
                  <a:lnTo>
                    <a:pt x="357" y="392"/>
                  </a:lnTo>
                  <a:lnTo>
                    <a:pt x="373" y="410"/>
                  </a:lnTo>
                  <a:lnTo>
                    <a:pt x="378" y="410"/>
                  </a:lnTo>
                  <a:lnTo>
                    <a:pt x="388" y="415"/>
                  </a:lnTo>
                  <a:lnTo>
                    <a:pt x="399" y="416"/>
                  </a:lnTo>
                  <a:lnTo>
                    <a:pt x="408" y="419"/>
                  </a:lnTo>
                  <a:lnTo>
                    <a:pt x="425" y="419"/>
                  </a:lnTo>
                  <a:lnTo>
                    <a:pt x="442" y="424"/>
                  </a:lnTo>
                  <a:lnTo>
                    <a:pt x="494" y="431"/>
                  </a:lnTo>
                  <a:lnTo>
                    <a:pt x="495" y="435"/>
                  </a:lnTo>
                  <a:lnTo>
                    <a:pt x="497" y="441"/>
                  </a:lnTo>
                  <a:lnTo>
                    <a:pt x="512" y="446"/>
                  </a:lnTo>
                  <a:lnTo>
                    <a:pt x="526" y="441"/>
                  </a:lnTo>
                  <a:lnTo>
                    <a:pt x="531" y="435"/>
                  </a:lnTo>
                  <a:lnTo>
                    <a:pt x="522" y="429"/>
                  </a:lnTo>
                  <a:lnTo>
                    <a:pt x="515" y="427"/>
                  </a:lnTo>
                  <a:lnTo>
                    <a:pt x="522" y="426"/>
                  </a:lnTo>
                  <a:lnTo>
                    <a:pt x="533" y="427"/>
                  </a:lnTo>
                  <a:lnTo>
                    <a:pt x="544" y="425"/>
                  </a:lnTo>
                  <a:lnTo>
                    <a:pt x="542" y="420"/>
                  </a:lnTo>
                  <a:lnTo>
                    <a:pt x="517" y="416"/>
                  </a:lnTo>
                  <a:lnTo>
                    <a:pt x="506" y="413"/>
                  </a:lnTo>
                  <a:lnTo>
                    <a:pt x="486" y="402"/>
                  </a:lnTo>
                  <a:lnTo>
                    <a:pt x="489" y="394"/>
                  </a:lnTo>
                  <a:lnTo>
                    <a:pt x="496" y="391"/>
                  </a:lnTo>
                  <a:lnTo>
                    <a:pt x="486" y="386"/>
                  </a:lnTo>
                  <a:lnTo>
                    <a:pt x="473" y="383"/>
                  </a:lnTo>
                  <a:lnTo>
                    <a:pt x="462" y="383"/>
                  </a:lnTo>
                  <a:lnTo>
                    <a:pt x="453" y="377"/>
                  </a:lnTo>
                  <a:lnTo>
                    <a:pt x="454" y="367"/>
                  </a:lnTo>
                  <a:lnTo>
                    <a:pt x="456" y="357"/>
                  </a:lnTo>
                  <a:lnTo>
                    <a:pt x="451" y="354"/>
                  </a:lnTo>
                  <a:lnTo>
                    <a:pt x="426" y="356"/>
                  </a:lnTo>
                  <a:lnTo>
                    <a:pt x="419" y="351"/>
                  </a:lnTo>
                  <a:lnTo>
                    <a:pt x="410" y="336"/>
                  </a:lnTo>
                  <a:lnTo>
                    <a:pt x="403" y="330"/>
                  </a:lnTo>
                  <a:lnTo>
                    <a:pt x="397" y="323"/>
                  </a:lnTo>
                  <a:lnTo>
                    <a:pt x="397" y="309"/>
                  </a:lnTo>
                  <a:lnTo>
                    <a:pt x="395" y="303"/>
                  </a:lnTo>
                  <a:lnTo>
                    <a:pt x="393" y="301"/>
                  </a:lnTo>
                  <a:lnTo>
                    <a:pt x="387" y="300"/>
                  </a:lnTo>
                  <a:lnTo>
                    <a:pt x="383" y="296"/>
                  </a:lnTo>
                  <a:lnTo>
                    <a:pt x="367" y="285"/>
                  </a:lnTo>
                  <a:lnTo>
                    <a:pt x="356" y="271"/>
                  </a:lnTo>
                  <a:lnTo>
                    <a:pt x="348" y="268"/>
                  </a:lnTo>
                  <a:lnTo>
                    <a:pt x="341" y="255"/>
                  </a:lnTo>
                  <a:lnTo>
                    <a:pt x="339" y="244"/>
                  </a:lnTo>
                  <a:lnTo>
                    <a:pt x="334" y="237"/>
                  </a:lnTo>
                  <a:lnTo>
                    <a:pt x="339" y="231"/>
                  </a:lnTo>
                  <a:lnTo>
                    <a:pt x="351" y="231"/>
                  </a:lnTo>
                  <a:lnTo>
                    <a:pt x="362" y="230"/>
                  </a:lnTo>
                  <a:lnTo>
                    <a:pt x="370" y="227"/>
                  </a:lnTo>
                  <a:lnTo>
                    <a:pt x="378" y="227"/>
                  </a:lnTo>
                  <a:lnTo>
                    <a:pt x="379" y="212"/>
                  </a:lnTo>
                  <a:lnTo>
                    <a:pt x="375" y="201"/>
                  </a:lnTo>
                  <a:lnTo>
                    <a:pt x="366" y="193"/>
                  </a:lnTo>
                  <a:lnTo>
                    <a:pt x="356" y="187"/>
                  </a:lnTo>
                  <a:lnTo>
                    <a:pt x="348" y="187"/>
                  </a:lnTo>
                  <a:lnTo>
                    <a:pt x="323" y="182"/>
                  </a:lnTo>
                  <a:lnTo>
                    <a:pt x="314" y="178"/>
                  </a:lnTo>
                  <a:lnTo>
                    <a:pt x="296" y="166"/>
                  </a:lnTo>
                  <a:lnTo>
                    <a:pt x="270" y="160"/>
                  </a:lnTo>
                  <a:lnTo>
                    <a:pt x="266" y="156"/>
                  </a:lnTo>
                  <a:lnTo>
                    <a:pt x="266" y="136"/>
                  </a:lnTo>
                  <a:lnTo>
                    <a:pt x="262" y="124"/>
                  </a:lnTo>
                  <a:lnTo>
                    <a:pt x="250" y="112"/>
                  </a:lnTo>
                  <a:lnTo>
                    <a:pt x="238" y="103"/>
                  </a:lnTo>
                  <a:lnTo>
                    <a:pt x="225" y="97"/>
                  </a:lnTo>
                  <a:lnTo>
                    <a:pt x="201" y="82"/>
                  </a:lnTo>
                  <a:lnTo>
                    <a:pt x="193" y="70"/>
                  </a:lnTo>
                  <a:lnTo>
                    <a:pt x="188" y="65"/>
                  </a:lnTo>
                  <a:lnTo>
                    <a:pt x="177" y="65"/>
                  </a:lnTo>
                  <a:lnTo>
                    <a:pt x="166" y="61"/>
                  </a:lnTo>
                  <a:lnTo>
                    <a:pt x="124" y="43"/>
                  </a:lnTo>
                  <a:lnTo>
                    <a:pt x="102" y="39"/>
                  </a:lnTo>
                  <a:lnTo>
                    <a:pt x="92" y="36"/>
                  </a:lnTo>
                  <a:lnTo>
                    <a:pt x="81" y="33"/>
                  </a:lnTo>
                  <a:lnTo>
                    <a:pt x="63" y="22"/>
                  </a:lnTo>
                  <a:lnTo>
                    <a:pt x="42" y="16"/>
                  </a:lnTo>
                  <a:lnTo>
                    <a:pt x="31" y="10"/>
                  </a:lnTo>
                  <a:lnTo>
                    <a:pt x="16" y="7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73" name="Freeform 70">
              <a:extLst>
                <a:ext uri="{FF2B5EF4-FFF2-40B4-BE49-F238E27FC236}">
                  <a16:creationId xmlns:a16="http://schemas.microsoft.com/office/drawing/2014/main" id="{86DB25F9-1C9B-B77E-C6C9-05CDF6CBCD5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204066" y="3985853"/>
              <a:ext cx="65663" cy="92977"/>
            </a:xfrm>
            <a:custGeom>
              <a:avLst/>
              <a:gdLst>
                <a:gd name="T0" fmla="*/ 0 w 129"/>
                <a:gd name="T1" fmla="*/ 0 h 163"/>
                <a:gd name="T2" fmla="*/ 0 w 129"/>
                <a:gd name="T3" fmla="*/ 0 h 163"/>
                <a:gd name="T4" fmla="*/ 0 w 129"/>
                <a:gd name="T5" fmla="*/ 0 h 163"/>
                <a:gd name="T6" fmla="*/ 0 w 129"/>
                <a:gd name="T7" fmla="*/ 0 h 163"/>
                <a:gd name="T8" fmla="*/ 0 w 129"/>
                <a:gd name="T9" fmla="*/ 0 h 163"/>
                <a:gd name="T10" fmla="*/ 0 w 129"/>
                <a:gd name="T11" fmla="*/ 0 h 163"/>
                <a:gd name="T12" fmla="*/ 0 w 129"/>
                <a:gd name="T13" fmla="*/ 0 h 163"/>
                <a:gd name="T14" fmla="*/ 0 w 129"/>
                <a:gd name="T15" fmla="*/ 0 h 163"/>
                <a:gd name="T16" fmla="*/ 0 w 129"/>
                <a:gd name="T17" fmla="*/ 0 h 163"/>
                <a:gd name="T18" fmla="*/ 0 w 129"/>
                <a:gd name="T19" fmla="*/ 0 h 163"/>
                <a:gd name="T20" fmla="*/ 0 w 129"/>
                <a:gd name="T21" fmla="*/ 0 h 163"/>
                <a:gd name="T22" fmla="*/ 0 w 129"/>
                <a:gd name="T23" fmla="*/ 0 h 163"/>
                <a:gd name="T24" fmla="*/ 0 w 129"/>
                <a:gd name="T25" fmla="*/ 0 h 163"/>
                <a:gd name="T26" fmla="*/ 0 w 129"/>
                <a:gd name="T27" fmla="*/ 0 h 163"/>
                <a:gd name="T28" fmla="*/ 0 w 129"/>
                <a:gd name="T29" fmla="*/ 0 h 163"/>
                <a:gd name="T30" fmla="*/ 0 w 129"/>
                <a:gd name="T31" fmla="*/ 0 h 163"/>
                <a:gd name="T32" fmla="*/ 0 w 129"/>
                <a:gd name="T33" fmla="*/ 0 h 163"/>
                <a:gd name="T34" fmla="*/ 0 w 129"/>
                <a:gd name="T35" fmla="*/ 0 h 163"/>
                <a:gd name="T36" fmla="*/ 0 w 129"/>
                <a:gd name="T37" fmla="*/ 0 h 163"/>
                <a:gd name="T38" fmla="*/ 0 w 129"/>
                <a:gd name="T39" fmla="*/ 0 h 163"/>
                <a:gd name="T40" fmla="*/ 0 w 129"/>
                <a:gd name="T41" fmla="*/ 0 h 163"/>
                <a:gd name="T42" fmla="*/ 0 w 129"/>
                <a:gd name="T43" fmla="*/ 0 h 163"/>
                <a:gd name="T44" fmla="*/ 0 w 129"/>
                <a:gd name="T45" fmla="*/ 0 h 163"/>
                <a:gd name="T46" fmla="*/ 0 w 129"/>
                <a:gd name="T47" fmla="*/ 0 h 163"/>
                <a:gd name="T48" fmla="*/ 0 w 129"/>
                <a:gd name="T49" fmla="*/ 0 h 163"/>
                <a:gd name="T50" fmla="*/ 0 w 129"/>
                <a:gd name="T51" fmla="*/ 0 h 163"/>
                <a:gd name="T52" fmla="*/ 0 w 129"/>
                <a:gd name="T53" fmla="*/ 0 h 163"/>
                <a:gd name="T54" fmla="*/ 0 w 129"/>
                <a:gd name="T55" fmla="*/ 0 h 163"/>
                <a:gd name="T56" fmla="*/ 0 w 129"/>
                <a:gd name="T57" fmla="*/ 0 h 163"/>
                <a:gd name="T58" fmla="*/ 0 w 129"/>
                <a:gd name="T59" fmla="*/ 0 h 163"/>
                <a:gd name="T60" fmla="*/ 0 w 129"/>
                <a:gd name="T61" fmla="*/ 0 h 163"/>
                <a:gd name="T62" fmla="*/ 0 w 129"/>
                <a:gd name="T63" fmla="*/ 0 h 163"/>
                <a:gd name="T64" fmla="*/ 0 w 129"/>
                <a:gd name="T65" fmla="*/ 0 h 163"/>
                <a:gd name="T66" fmla="*/ 0 w 129"/>
                <a:gd name="T67" fmla="*/ 0 h 163"/>
                <a:gd name="T68" fmla="*/ 0 w 129"/>
                <a:gd name="T69" fmla="*/ 0 h 163"/>
                <a:gd name="T70" fmla="*/ 0 w 129"/>
                <a:gd name="T71" fmla="*/ 0 h 163"/>
                <a:gd name="T72" fmla="*/ 0 w 129"/>
                <a:gd name="T73" fmla="*/ 0 h 163"/>
                <a:gd name="T74" fmla="*/ 0 w 129"/>
                <a:gd name="T75" fmla="*/ 0 h 163"/>
                <a:gd name="T76" fmla="*/ 0 w 129"/>
                <a:gd name="T77" fmla="*/ 0 h 163"/>
                <a:gd name="T78" fmla="*/ 0 w 129"/>
                <a:gd name="T79" fmla="*/ 0 h 163"/>
                <a:gd name="T80" fmla="*/ 0 w 129"/>
                <a:gd name="T81" fmla="*/ 0 h 163"/>
                <a:gd name="T82" fmla="*/ 0 w 129"/>
                <a:gd name="T83" fmla="*/ 0 h 163"/>
                <a:gd name="T84" fmla="*/ 0 w 129"/>
                <a:gd name="T85" fmla="*/ 0 h 163"/>
                <a:gd name="T86" fmla="*/ 0 w 129"/>
                <a:gd name="T87" fmla="*/ 0 h 163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29"/>
                <a:gd name="T133" fmla="*/ 0 h 163"/>
                <a:gd name="T134" fmla="*/ 129 w 129"/>
                <a:gd name="T135" fmla="*/ 163 h 163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29" h="163">
                  <a:moveTo>
                    <a:pt x="120" y="2"/>
                  </a:moveTo>
                  <a:lnTo>
                    <a:pt x="123" y="0"/>
                  </a:lnTo>
                  <a:lnTo>
                    <a:pt x="124" y="1"/>
                  </a:lnTo>
                  <a:lnTo>
                    <a:pt x="125" y="15"/>
                  </a:lnTo>
                  <a:lnTo>
                    <a:pt x="126" y="18"/>
                  </a:lnTo>
                  <a:lnTo>
                    <a:pt x="124" y="23"/>
                  </a:lnTo>
                  <a:lnTo>
                    <a:pt x="124" y="32"/>
                  </a:lnTo>
                  <a:lnTo>
                    <a:pt x="129" y="47"/>
                  </a:lnTo>
                  <a:lnTo>
                    <a:pt x="126" y="53"/>
                  </a:lnTo>
                  <a:lnTo>
                    <a:pt x="117" y="59"/>
                  </a:lnTo>
                  <a:lnTo>
                    <a:pt x="112" y="67"/>
                  </a:lnTo>
                  <a:lnTo>
                    <a:pt x="103" y="76"/>
                  </a:lnTo>
                  <a:lnTo>
                    <a:pt x="93" y="80"/>
                  </a:lnTo>
                  <a:lnTo>
                    <a:pt x="86" y="85"/>
                  </a:lnTo>
                  <a:lnTo>
                    <a:pt x="82" y="98"/>
                  </a:lnTo>
                  <a:lnTo>
                    <a:pt x="70" y="112"/>
                  </a:lnTo>
                  <a:lnTo>
                    <a:pt x="49" y="130"/>
                  </a:lnTo>
                  <a:lnTo>
                    <a:pt x="37" y="142"/>
                  </a:lnTo>
                  <a:lnTo>
                    <a:pt x="28" y="150"/>
                  </a:lnTo>
                  <a:lnTo>
                    <a:pt x="19" y="151"/>
                  </a:lnTo>
                  <a:lnTo>
                    <a:pt x="13" y="158"/>
                  </a:lnTo>
                  <a:lnTo>
                    <a:pt x="6" y="163"/>
                  </a:lnTo>
                  <a:lnTo>
                    <a:pt x="0" y="163"/>
                  </a:lnTo>
                  <a:lnTo>
                    <a:pt x="2" y="150"/>
                  </a:lnTo>
                  <a:lnTo>
                    <a:pt x="10" y="137"/>
                  </a:lnTo>
                  <a:lnTo>
                    <a:pt x="17" y="130"/>
                  </a:lnTo>
                  <a:lnTo>
                    <a:pt x="32" y="119"/>
                  </a:lnTo>
                  <a:lnTo>
                    <a:pt x="37" y="118"/>
                  </a:lnTo>
                  <a:lnTo>
                    <a:pt x="69" y="85"/>
                  </a:lnTo>
                  <a:lnTo>
                    <a:pt x="77" y="75"/>
                  </a:lnTo>
                  <a:lnTo>
                    <a:pt x="82" y="71"/>
                  </a:lnTo>
                  <a:lnTo>
                    <a:pt x="88" y="61"/>
                  </a:lnTo>
                  <a:lnTo>
                    <a:pt x="97" y="55"/>
                  </a:lnTo>
                  <a:lnTo>
                    <a:pt x="104" y="53"/>
                  </a:lnTo>
                  <a:lnTo>
                    <a:pt x="112" y="39"/>
                  </a:lnTo>
                  <a:lnTo>
                    <a:pt x="110" y="29"/>
                  </a:lnTo>
                  <a:lnTo>
                    <a:pt x="113" y="34"/>
                  </a:lnTo>
                  <a:lnTo>
                    <a:pt x="117" y="31"/>
                  </a:lnTo>
                  <a:lnTo>
                    <a:pt x="115" y="27"/>
                  </a:lnTo>
                  <a:lnTo>
                    <a:pt x="112" y="23"/>
                  </a:lnTo>
                  <a:lnTo>
                    <a:pt x="114" y="21"/>
                  </a:lnTo>
                  <a:lnTo>
                    <a:pt x="117" y="13"/>
                  </a:lnTo>
                  <a:lnTo>
                    <a:pt x="118" y="5"/>
                  </a:lnTo>
                  <a:lnTo>
                    <a:pt x="120" y="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74" name="Freeform 71">
              <a:extLst>
                <a:ext uri="{FF2B5EF4-FFF2-40B4-BE49-F238E27FC236}">
                  <a16:creationId xmlns:a16="http://schemas.microsoft.com/office/drawing/2014/main" id="{D5FBDB2E-9FA0-00D1-4C34-E31C1E72B7F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290622" y="3920312"/>
              <a:ext cx="37309" cy="41154"/>
            </a:xfrm>
            <a:custGeom>
              <a:avLst/>
              <a:gdLst>
                <a:gd name="T0" fmla="*/ 0 w 67"/>
                <a:gd name="T1" fmla="*/ 0 h 71"/>
                <a:gd name="T2" fmla="*/ 0 w 67"/>
                <a:gd name="T3" fmla="*/ 0 h 71"/>
                <a:gd name="T4" fmla="*/ 0 w 67"/>
                <a:gd name="T5" fmla="*/ 0 h 71"/>
                <a:gd name="T6" fmla="*/ 0 w 67"/>
                <a:gd name="T7" fmla="*/ 0 h 71"/>
                <a:gd name="T8" fmla="*/ 0 w 67"/>
                <a:gd name="T9" fmla="*/ 0 h 71"/>
                <a:gd name="T10" fmla="*/ 0 w 67"/>
                <a:gd name="T11" fmla="*/ 0 h 71"/>
                <a:gd name="T12" fmla="*/ 0 w 67"/>
                <a:gd name="T13" fmla="*/ 0 h 71"/>
                <a:gd name="T14" fmla="*/ 0 w 67"/>
                <a:gd name="T15" fmla="*/ 0 h 71"/>
                <a:gd name="T16" fmla="*/ 0 w 67"/>
                <a:gd name="T17" fmla="*/ 0 h 71"/>
                <a:gd name="T18" fmla="*/ 0 w 67"/>
                <a:gd name="T19" fmla="*/ 0 h 71"/>
                <a:gd name="T20" fmla="*/ 0 w 67"/>
                <a:gd name="T21" fmla="*/ 0 h 71"/>
                <a:gd name="T22" fmla="*/ 0 w 67"/>
                <a:gd name="T23" fmla="*/ 0 h 71"/>
                <a:gd name="T24" fmla="*/ 0 w 67"/>
                <a:gd name="T25" fmla="*/ 0 h 71"/>
                <a:gd name="T26" fmla="*/ 0 w 67"/>
                <a:gd name="T27" fmla="*/ 0 h 71"/>
                <a:gd name="T28" fmla="*/ 0 w 67"/>
                <a:gd name="T29" fmla="*/ 0 h 71"/>
                <a:gd name="T30" fmla="*/ 0 w 67"/>
                <a:gd name="T31" fmla="*/ 0 h 71"/>
                <a:gd name="T32" fmla="*/ 0 w 67"/>
                <a:gd name="T33" fmla="*/ 0 h 71"/>
                <a:gd name="T34" fmla="*/ 0 w 67"/>
                <a:gd name="T35" fmla="*/ 0 h 71"/>
                <a:gd name="T36" fmla="*/ 0 w 67"/>
                <a:gd name="T37" fmla="*/ 0 h 71"/>
                <a:gd name="T38" fmla="*/ 0 w 67"/>
                <a:gd name="T39" fmla="*/ 0 h 71"/>
                <a:gd name="T40" fmla="*/ 0 w 67"/>
                <a:gd name="T41" fmla="*/ 0 h 71"/>
                <a:gd name="T42" fmla="*/ 0 w 67"/>
                <a:gd name="T43" fmla="*/ 0 h 71"/>
                <a:gd name="T44" fmla="*/ 0 w 67"/>
                <a:gd name="T45" fmla="*/ 0 h 71"/>
                <a:gd name="T46" fmla="*/ 0 w 67"/>
                <a:gd name="T47" fmla="*/ 0 h 7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67"/>
                <a:gd name="T73" fmla="*/ 0 h 71"/>
                <a:gd name="T74" fmla="*/ 67 w 67"/>
                <a:gd name="T75" fmla="*/ 71 h 7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67" h="71">
                  <a:moveTo>
                    <a:pt x="2" y="3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32" y="0"/>
                  </a:lnTo>
                  <a:lnTo>
                    <a:pt x="37" y="0"/>
                  </a:lnTo>
                  <a:lnTo>
                    <a:pt x="47" y="3"/>
                  </a:lnTo>
                  <a:lnTo>
                    <a:pt x="56" y="10"/>
                  </a:lnTo>
                  <a:lnTo>
                    <a:pt x="59" y="16"/>
                  </a:lnTo>
                  <a:lnTo>
                    <a:pt x="63" y="17"/>
                  </a:lnTo>
                  <a:lnTo>
                    <a:pt x="64" y="28"/>
                  </a:lnTo>
                  <a:lnTo>
                    <a:pt x="64" y="38"/>
                  </a:lnTo>
                  <a:lnTo>
                    <a:pt x="67" y="51"/>
                  </a:lnTo>
                  <a:lnTo>
                    <a:pt x="63" y="54"/>
                  </a:lnTo>
                  <a:lnTo>
                    <a:pt x="63" y="62"/>
                  </a:lnTo>
                  <a:lnTo>
                    <a:pt x="48" y="71"/>
                  </a:lnTo>
                  <a:lnTo>
                    <a:pt x="45" y="64"/>
                  </a:lnTo>
                  <a:lnTo>
                    <a:pt x="36" y="57"/>
                  </a:lnTo>
                  <a:lnTo>
                    <a:pt x="26" y="36"/>
                  </a:lnTo>
                  <a:lnTo>
                    <a:pt x="25" y="25"/>
                  </a:lnTo>
                  <a:lnTo>
                    <a:pt x="20" y="16"/>
                  </a:lnTo>
                  <a:lnTo>
                    <a:pt x="13" y="13"/>
                  </a:lnTo>
                  <a:lnTo>
                    <a:pt x="10" y="4"/>
                  </a:lnTo>
                  <a:lnTo>
                    <a:pt x="5" y="3"/>
                  </a:lnTo>
                  <a:lnTo>
                    <a:pt x="2" y="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75" name="Freeform 72">
              <a:extLst>
                <a:ext uri="{FF2B5EF4-FFF2-40B4-BE49-F238E27FC236}">
                  <a16:creationId xmlns:a16="http://schemas.microsoft.com/office/drawing/2014/main" id="{14844E43-00A0-EDE5-3877-2E13ABE2633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278683" y="3752648"/>
              <a:ext cx="123865" cy="196623"/>
            </a:xfrm>
            <a:custGeom>
              <a:avLst/>
              <a:gdLst>
                <a:gd name="T0" fmla="*/ 0 w 236"/>
                <a:gd name="T1" fmla="*/ 0 h 345"/>
                <a:gd name="T2" fmla="*/ 0 w 236"/>
                <a:gd name="T3" fmla="*/ 0 h 345"/>
                <a:gd name="T4" fmla="*/ 0 w 236"/>
                <a:gd name="T5" fmla="*/ 0 h 345"/>
                <a:gd name="T6" fmla="*/ 0 w 236"/>
                <a:gd name="T7" fmla="*/ 0 h 345"/>
                <a:gd name="T8" fmla="*/ 0 w 236"/>
                <a:gd name="T9" fmla="*/ 0 h 345"/>
                <a:gd name="T10" fmla="*/ 0 w 236"/>
                <a:gd name="T11" fmla="*/ 0 h 345"/>
                <a:gd name="T12" fmla="*/ 0 w 236"/>
                <a:gd name="T13" fmla="*/ 0 h 345"/>
                <a:gd name="T14" fmla="*/ 0 w 236"/>
                <a:gd name="T15" fmla="*/ 0 h 345"/>
                <a:gd name="T16" fmla="*/ 0 w 236"/>
                <a:gd name="T17" fmla="*/ 0 h 345"/>
                <a:gd name="T18" fmla="*/ 0 w 236"/>
                <a:gd name="T19" fmla="*/ 0 h 345"/>
                <a:gd name="T20" fmla="*/ 0 w 236"/>
                <a:gd name="T21" fmla="*/ 0 h 345"/>
                <a:gd name="T22" fmla="*/ 0 w 236"/>
                <a:gd name="T23" fmla="*/ 0 h 345"/>
                <a:gd name="T24" fmla="*/ 0 w 236"/>
                <a:gd name="T25" fmla="*/ 0 h 345"/>
                <a:gd name="T26" fmla="*/ 0 w 236"/>
                <a:gd name="T27" fmla="*/ 0 h 345"/>
                <a:gd name="T28" fmla="*/ 0 w 236"/>
                <a:gd name="T29" fmla="*/ 0 h 345"/>
                <a:gd name="T30" fmla="*/ 0 w 236"/>
                <a:gd name="T31" fmla="*/ 0 h 345"/>
                <a:gd name="T32" fmla="*/ 0 w 236"/>
                <a:gd name="T33" fmla="*/ 0 h 345"/>
                <a:gd name="T34" fmla="*/ 0 w 236"/>
                <a:gd name="T35" fmla="*/ 0 h 345"/>
                <a:gd name="T36" fmla="*/ 0 w 236"/>
                <a:gd name="T37" fmla="*/ 0 h 345"/>
                <a:gd name="T38" fmla="*/ 0 w 236"/>
                <a:gd name="T39" fmla="*/ 0 h 345"/>
                <a:gd name="T40" fmla="*/ 0 w 236"/>
                <a:gd name="T41" fmla="*/ 2147483647 h 345"/>
                <a:gd name="T42" fmla="*/ 0 w 236"/>
                <a:gd name="T43" fmla="*/ 2147483647 h 345"/>
                <a:gd name="T44" fmla="*/ 0 w 236"/>
                <a:gd name="T45" fmla="*/ 2147483647 h 345"/>
                <a:gd name="T46" fmla="*/ 0 w 236"/>
                <a:gd name="T47" fmla="*/ 2147483647 h 345"/>
                <a:gd name="T48" fmla="*/ 0 w 236"/>
                <a:gd name="T49" fmla="*/ 0 h 345"/>
                <a:gd name="T50" fmla="*/ 0 w 236"/>
                <a:gd name="T51" fmla="*/ 0 h 345"/>
                <a:gd name="T52" fmla="*/ 0 w 236"/>
                <a:gd name="T53" fmla="*/ 0 h 345"/>
                <a:gd name="T54" fmla="*/ 0 w 236"/>
                <a:gd name="T55" fmla="*/ 0 h 345"/>
                <a:gd name="T56" fmla="*/ 0 w 236"/>
                <a:gd name="T57" fmla="*/ 0 h 345"/>
                <a:gd name="T58" fmla="*/ 0 w 236"/>
                <a:gd name="T59" fmla="*/ 0 h 345"/>
                <a:gd name="T60" fmla="*/ 0 w 236"/>
                <a:gd name="T61" fmla="*/ 0 h 345"/>
                <a:gd name="T62" fmla="*/ 0 w 236"/>
                <a:gd name="T63" fmla="*/ 0 h 345"/>
                <a:gd name="T64" fmla="*/ 0 w 236"/>
                <a:gd name="T65" fmla="*/ 0 h 345"/>
                <a:gd name="T66" fmla="*/ 0 w 236"/>
                <a:gd name="T67" fmla="*/ 0 h 345"/>
                <a:gd name="T68" fmla="*/ 0 w 236"/>
                <a:gd name="T69" fmla="*/ 0 h 345"/>
                <a:gd name="T70" fmla="*/ 0 w 236"/>
                <a:gd name="T71" fmla="*/ 0 h 345"/>
                <a:gd name="T72" fmla="*/ 0 w 236"/>
                <a:gd name="T73" fmla="*/ 0 h 345"/>
                <a:gd name="T74" fmla="*/ 0 w 236"/>
                <a:gd name="T75" fmla="*/ 0 h 345"/>
                <a:gd name="T76" fmla="*/ 0 w 236"/>
                <a:gd name="T77" fmla="*/ 0 h 345"/>
                <a:gd name="T78" fmla="*/ 0 w 236"/>
                <a:gd name="T79" fmla="*/ 0 h 345"/>
                <a:gd name="T80" fmla="*/ 0 w 236"/>
                <a:gd name="T81" fmla="*/ 0 h 345"/>
                <a:gd name="T82" fmla="*/ 0 w 236"/>
                <a:gd name="T83" fmla="*/ 0 h 345"/>
                <a:gd name="T84" fmla="*/ 0 w 236"/>
                <a:gd name="T85" fmla="*/ 0 h 345"/>
                <a:gd name="T86" fmla="*/ 0 w 236"/>
                <a:gd name="T87" fmla="*/ 0 h 345"/>
                <a:gd name="T88" fmla="*/ 0 w 236"/>
                <a:gd name="T89" fmla="*/ 0 h 34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36"/>
                <a:gd name="T136" fmla="*/ 0 h 345"/>
                <a:gd name="T137" fmla="*/ 236 w 236"/>
                <a:gd name="T138" fmla="*/ 345 h 345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36" h="345">
                  <a:moveTo>
                    <a:pt x="134" y="10"/>
                  </a:moveTo>
                  <a:lnTo>
                    <a:pt x="137" y="14"/>
                  </a:lnTo>
                  <a:lnTo>
                    <a:pt x="139" y="17"/>
                  </a:lnTo>
                  <a:lnTo>
                    <a:pt x="135" y="22"/>
                  </a:lnTo>
                  <a:lnTo>
                    <a:pt x="130" y="33"/>
                  </a:lnTo>
                  <a:lnTo>
                    <a:pt x="129" y="44"/>
                  </a:lnTo>
                  <a:lnTo>
                    <a:pt x="129" y="66"/>
                  </a:lnTo>
                  <a:lnTo>
                    <a:pt x="134" y="74"/>
                  </a:lnTo>
                  <a:lnTo>
                    <a:pt x="139" y="75"/>
                  </a:lnTo>
                  <a:lnTo>
                    <a:pt x="141" y="81"/>
                  </a:lnTo>
                  <a:lnTo>
                    <a:pt x="146" y="87"/>
                  </a:lnTo>
                  <a:lnTo>
                    <a:pt x="146" y="97"/>
                  </a:lnTo>
                  <a:lnTo>
                    <a:pt x="141" y="109"/>
                  </a:lnTo>
                  <a:lnTo>
                    <a:pt x="135" y="122"/>
                  </a:lnTo>
                  <a:lnTo>
                    <a:pt x="133" y="132"/>
                  </a:lnTo>
                  <a:lnTo>
                    <a:pt x="128" y="143"/>
                  </a:lnTo>
                  <a:lnTo>
                    <a:pt x="121" y="148"/>
                  </a:lnTo>
                  <a:lnTo>
                    <a:pt x="120" y="144"/>
                  </a:lnTo>
                  <a:lnTo>
                    <a:pt x="112" y="150"/>
                  </a:lnTo>
                  <a:lnTo>
                    <a:pt x="104" y="156"/>
                  </a:lnTo>
                  <a:lnTo>
                    <a:pt x="98" y="165"/>
                  </a:lnTo>
                  <a:lnTo>
                    <a:pt x="98" y="175"/>
                  </a:lnTo>
                  <a:lnTo>
                    <a:pt x="94" y="184"/>
                  </a:lnTo>
                  <a:lnTo>
                    <a:pt x="87" y="188"/>
                  </a:lnTo>
                  <a:lnTo>
                    <a:pt x="88" y="198"/>
                  </a:lnTo>
                  <a:lnTo>
                    <a:pt x="93" y="208"/>
                  </a:lnTo>
                  <a:lnTo>
                    <a:pt x="98" y="216"/>
                  </a:lnTo>
                  <a:lnTo>
                    <a:pt x="102" y="222"/>
                  </a:lnTo>
                  <a:lnTo>
                    <a:pt x="99" y="227"/>
                  </a:lnTo>
                  <a:lnTo>
                    <a:pt x="99" y="238"/>
                  </a:lnTo>
                  <a:lnTo>
                    <a:pt x="104" y="247"/>
                  </a:lnTo>
                  <a:lnTo>
                    <a:pt x="106" y="254"/>
                  </a:lnTo>
                  <a:lnTo>
                    <a:pt x="120" y="268"/>
                  </a:lnTo>
                  <a:lnTo>
                    <a:pt x="125" y="268"/>
                  </a:lnTo>
                  <a:lnTo>
                    <a:pt x="134" y="265"/>
                  </a:lnTo>
                  <a:lnTo>
                    <a:pt x="131" y="261"/>
                  </a:lnTo>
                  <a:lnTo>
                    <a:pt x="133" y="251"/>
                  </a:lnTo>
                  <a:lnTo>
                    <a:pt x="136" y="253"/>
                  </a:lnTo>
                  <a:lnTo>
                    <a:pt x="145" y="245"/>
                  </a:lnTo>
                  <a:lnTo>
                    <a:pt x="155" y="247"/>
                  </a:lnTo>
                  <a:lnTo>
                    <a:pt x="160" y="243"/>
                  </a:lnTo>
                  <a:lnTo>
                    <a:pt x="167" y="245"/>
                  </a:lnTo>
                  <a:lnTo>
                    <a:pt x="173" y="252"/>
                  </a:lnTo>
                  <a:lnTo>
                    <a:pt x="178" y="263"/>
                  </a:lnTo>
                  <a:lnTo>
                    <a:pt x="179" y="273"/>
                  </a:lnTo>
                  <a:lnTo>
                    <a:pt x="184" y="276"/>
                  </a:lnTo>
                  <a:lnTo>
                    <a:pt x="190" y="270"/>
                  </a:lnTo>
                  <a:lnTo>
                    <a:pt x="189" y="259"/>
                  </a:lnTo>
                  <a:lnTo>
                    <a:pt x="194" y="262"/>
                  </a:lnTo>
                  <a:lnTo>
                    <a:pt x="198" y="264"/>
                  </a:lnTo>
                  <a:lnTo>
                    <a:pt x="206" y="267"/>
                  </a:lnTo>
                  <a:lnTo>
                    <a:pt x="221" y="273"/>
                  </a:lnTo>
                  <a:lnTo>
                    <a:pt x="223" y="278"/>
                  </a:lnTo>
                  <a:lnTo>
                    <a:pt x="215" y="279"/>
                  </a:lnTo>
                  <a:lnTo>
                    <a:pt x="207" y="285"/>
                  </a:lnTo>
                  <a:lnTo>
                    <a:pt x="209" y="294"/>
                  </a:lnTo>
                  <a:lnTo>
                    <a:pt x="216" y="299"/>
                  </a:lnTo>
                  <a:lnTo>
                    <a:pt x="221" y="301"/>
                  </a:lnTo>
                  <a:lnTo>
                    <a:pt x="219" y="308"/>
                  </a:lnTo>
                  <a:lnTo>
                    <a:pt x="220" y="312"/>
                  </a:lnTo>
                  <a:lnTo>
                    <a:pt x="225" y="312"/>
                  </a:lnTo>
                  <a:lnTo>
                    <a:pt x="226" y="316"/>
                  </a:lnTo>
                  <a:lnTo>
                    <a:pt x="232" y="317"/>
                  </a:lnTo>
                  <a:lnTo>
                    <a:pt x="236" y="321"/>
                  </a:lnTo>
                  <a:lnTo>
                    <a:pt x="236" y="339"/>
                  </a:lnTo>
                  <a:lnTo>
                    <a:pt x="231" y="345"/>
                  </a:lnTo>
                  <a:lnTo>
                    <a:pt x="223" y="338"/>
                  </a:lnTo>
                  <a:lnTo>
                    <a:pt x="221" y="331"/>
                  </a:lnTo>
                  <a:lnTo>
                    <a:pt x="227" y="324"/>
                  </a:lnTo>
                  <a:lnTo>
                    <a:pt x="223" y="324"/>
                  </a:lnTo>
                  <a:lnTo>
                    <a:pt x="211" y="324"/>
                  </a:lnTo>
                  <a:lnTo>
                    <a:pt x="201" y="317"/>
                  </a:lnTo>
                  <a:lnTo>
                    <a:pt x="194" y="315"/>
                  </a:lnTo>
                  <a:lnTo>
                    <a:pt x="190" y="302"/>
                  </a:lnTo>
                  <a:lnTo>
                    <a:pt x="184" y="294"/>
                  </a:lnTo>
                  <a:lnTo>
                    <a:pt x="173" y="289"/>
                  </a:lnTo>
                  <a:lnTo>
                    <a:pt x="168" y="284"/>
                  </a:lnTo>
                  <a:lnTo>
                    <a:pt x="166" y="279"/>
                  </a:lnTo>
                  <a:lnTo>
                    <a:pt x="157" y="270"/>
                  </a:lnTo>
                  <a:lnTo>
                    <a:pt x="147" y="268"/>
                  </a:lnTo>
                  <a:lnTo>
                    <a:pt x="149" y="280"/>
                  </a:lnTo>
                  <a:lnTo>
                    <a:pt x="158" y="302"/>
                  </a:lnTo>
                  <a:lnTo>
                    <a:pt x="158" y="306"/>
                  </a:lnTo>
                  <a:lnTo>
                    <a:pt x="152" y="306"/>
                  </a:lnTo>
                  <a:lnTo>
                    <a:pt x="147" y="294"/>
                  </a:lnTo>
                  <a:lnTo>
                    <a:pt x="137" y="286"/>
                  </a:lnTo>
                  <a:lnTo>
                    <a:pt x="124" y="273"/>
                  </a:lnTo>
                  <a:lnTo>
                    <a:pt x="115" y="268"/>
                  </a:lnTo>
                  <a:lnTo>
                    <a:pt x="109" y="267"/>
                  </a:lnTo>
                  <a:lnTo>
                    <a:pt x="98" y="268"/>
                  </a:lnTo>
                  <a:lnTo>
                    <a:pt x="92" y="278"/>
                  </a:lnTo>
                  <a:lnTo>
                    <a:pt x="85" y="283"/>
                  </a:lnTo>
                  <a:lnTo>
                    <a:pt x="75" y="284"/>
                  </a:lnTo>
                  <a:lnTo>
                    <a:pt x="70" y="278"/>
                  </a:lnTo>
                  <a:lnTo>
                    <a:pt x="63" y="276"/>
                  </a:lnTo>
                  <a:lnTo>
                    <a:pt x="56" y="270"/>
                  </a:lnTo>
                  <a:lnTo>
                    <a:pt x="50" y="274"/>
                  </a:lnTo>
                  <a:lnTo>
                    <a:pt x="47" y="264"/>
                  </a:lnTo>
                  <a:lnTo>
                    <a:pt x="45" y="254"/>
                  </a:lnTo>
                  <a:lnTo>
                    <a:pt x="49" y="247"/>
                  </a:lnTo>
                  <a:lnTo>
                    <a:pt x="56" y="240"/>
                  </a:lnTo>
                  <a:lnTo>
                    <a:pt x="61" y="231"/>
                  </a:lnTo>
                  <a:lnTo>
                    <a:pt x="61" y="225"/>
                  </a:lnTo>
                  <a:lnTo>
                    <a:pt x="55" y="220"/>
                  </a:lnTo>
                  <a:lnTo>
                    <a:pt x="45" y="219"/>
                  </a:lnTo>
                  <a:lnTo>
                    <a:pt x="44" y="233"/>
                  </a:lnTo>
                  <a:lnTo>
                    <a:pt x="42" y="238"/>
                  </a:lnTo>
                  <a:lnTo>
                    <a:pt x="33" y="230"/>
                  </a:lnTo>
                  <a:lnTo>
                    <a:pt x="28" y="219"/>
                  </a:lnTo>
                  <a:lnTo>
                    <a:pt x="21" y="219"/>
                  </a:lnTo>
                  <a:lnTo>
                    <a:pt x="16" y="203"/>
                  </a:lnTo>
                  <a:lnTo>
                    <a:pt x="13" y="188"/>
                  </a:lnTo>
                  <a:lnTo>
                    <a:pt x="2" y="155"/>
                  </a:lnTo>
                  <a:lnTo>
                    <a:pt x="0" y="138"/>
                  </a:lnTo>
                  <a:lnTo>
                    <a:pt x="0" y="134"/>
                  </a:lnTo>
                  <a:lnTo>
                    <a:pt x="8" y="136"/>
                  </a:lnTo>
                  <a:lnTo>
                    <a:pt x="17" y="146"/>
                  </a:lnTo>
                  <a:lnTo>
                    <a:pt x="29" y="143"/>
                  </a:lnTo>
                  <a:lnTo>
                    <a:pt x="28" y="113"/>
                  </a:lnTo>
                  <a:lnTo>
                    <a:pt x="29" y="97"/>
                  </a:lnTo>
                  <a:lnTo>
                    <a:pt x="34" y="82"/>
                  </a:lnTo>
                  <a:lnTo>
                    <a:pt x="34" y="65"/>
                  </a:lnTo>
                  <a:lnTo>
                    <a:pt x="33" y="53"/>
                  </a:lnTo>
                  <a:lnTo>
                    <a:pt x="34" y="41"/>
                  </a:lnTo>
                  <a:lnTo>
                    <a:pt x="38" y="17"/>
                  </a:lnTo>
                  <a:lnTo>
                    <a:pt x="43" y="7"/>
                  </a:lnTo>
                  <a:lnTo>
                    <a:pt x="50" y="0"/>
                  </a:lnTo>
                  <a:lnTo>
                    <a:pt x="56" y="1"/>
                  </a:lnTo>
                  <a:lnTo>
                    <a:pt x="67" y="1"/>
                  </a:lnTo>
                  <a:lnTo>
                    <a:pt x="80" y="4"/>
                  </a:lnTo>
                  <a:lnTo>
                    <a:pt x="102" y="17"/>
                  </a:lnTo>
                  <a:lnTo>
                    <a:pt x="113" y="17"/>
                  </a:lnTo>
                  <a:lnTo>
                    <a:pt x="120" y="15"/>
                  </a:lnTo>
                  <a:lnTo>
                    <a:pt x="123" y="4"/>
                  </a:lnTo>
                  <a:lnTo>
                    <a:pt x="130" y="4"/>
                  </a:lnTo>
                  <a:lnTo>
                    <a:pt x="134" y="1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76" name="Freeform 73">
              <a:extLst>
                <a:ext uri="{FF2B5EF4-FFF2-40B4-BE49-F238E27FC236}">
                  <a16:creationId xmlns:a16="http://schemas.microsoft.com/office/drawing/2014/main" id="{3706DAEB-8991-D290-53E8-24A00E25CC1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377178" y="3949272"/>
              <a:ext cx="22386" cy="25912"/>
            </a:xfrm>
            <a:custGeom>
              <a:avLst/>
              <a:gdLst>
                <a:gd name="T0" fmla="*/ 0 w 45"/>
                <a:gd name="T1" fmla="*/ 0 h 45"/>
                <a:gd name="T2" fmla="*/ 0 w 45"/>
                <a:gd name="T3" fmla="*/ 0 h 45"/>
                <a:gd name="T4" fmla="*/ 0 w 45"/>
                <a:gd name="T5" fmla="*/ 0 h 45"/>
                <a:gd name="T6" fmla="*/ 0 w 45"/>
                <a:gd name="T7" fmla="*/ 0 h 45"/>
                <a:gd name="T8" fmla="*/ 0 w 45"/>
                <a:gd name="T9" fmla="*/ 0 h 45"/>
                <a:gd name="T10" fmla="*/ 0 w 45"/>
                <a:gd name="T11" fmla="*/ 0 h 45"/>
                <a:gd name="T12" fmla="*/ 0 w 45"/>
                <a:gd name="T13" fmla="*/ 0 h 45"/>
                <a:gd name="T14" fmla="*/ 0 w 45"/>
                <a:gd name="T15" fmla="*/ 0 h 45"/>
                <a:gd name="T16" fmla="*/ 0 w 45"/>
                <a:gd name="T17" fmla="*/ 0 h 45"/>
                <a:gd name="T18" fmla="*/ 0 w 45"/>
                <a:gd name="T19" fmla="*/ 0 h 45"/>
                <a:gd name="T20" fmla="*/ 0 w 45"/>
                <a:gd name="T21" fmla="*/ 0 h 45"/>
                <a:gd name="T22" fmla="*/ 0 w 45"/>
                <a:gd name="T23" fmla="*/ 0 h 45"/>
                <a:gd name="T24" fmla="*/ 0 w 45"/>
                <a:gd name="T25" fmla="*/ 0 h 45"/>
                <a:gd name="T26" fmla="*/ 0 w 45"/>
                <a:gd name="T27" fmla="*/ 0 h 45"/>
                <a:gd name="T28" fmla="*/ 0 w 45"/>
                <a:gd name="T29" fmla="*/ 0 h 45"/>
                <a:gd name="T30" fmla="*/ 0 w 45"/>
                <a:gd name="T31" fmla="*/ 0 h 45"/>
                <a:gd name="T32" fmla="*/ 0 w 45"/>
                <a:gd name="T33" fmla="*/ 0 h 4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5"/>
                <a:gd name="T52" fmla="*/ 0 h 45"/>
                <a:gd name="T53" fmla="*/ 45 w 45"/>
                <a:gd name="T54" fmla="*/ 45 h 4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5" h="45">
                  <a:moveTo>
                    <a:pt x="2" y="0"/>
                  </a:moveTo>
                  <a:lnTo>
                    <a:pt x="6" y="2"/>
                  </a:lnTo>
                  <a:lnTo>
                    <a:pt x="7" y="4"/>
                  </a:lnTo>
                  <a:lnTo>
                    <a:pt x="9" y="6"/>
                  </a:lnTo>
                  <a:lnTo>
                    <a:pt x="14" y="6"/>
                  </a:lnTo>
                  <a:lnTo>
                    <a:pt x="43" y="29"/>
                  </a:lnTo>
                  <a:lnTo>
                    <a:pt x="45" y="35"/>
                  </a:lnTo>
                  <a:lnTo>
                    <a:pt x="45" y="45"/>
                  </a:lnTo>
                  <a:lnTo>
                    <a:pt x="35" y="41"/>
                  </a:lnTo>
                  <a:lnTo>
                    <a:pt x="27" y="35"/>
                  </a:lnTo>
                  <a:lnTo>
                    <a:pt x="20" y="25"/>
                  </a:lnTo>
                  <a:lnTo>
                    <a:pt x="17" y="22"/>
                  </a:lnTo>
                  <a:lnTo>
                    <a:pt x="9" y="27"/>
                  </a:lnTo>
                  <a:lnTo>
                    <a:pt x="2" y="33"/>
                  </a:lnTo>
                  <a:lnTo>
                    <a:pt x="0" y="32"/>
                  </a:lnTo>
                  <a:lnTo>
                    <a:pt x="2" y="18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77" name="Freeform 74">
              <a:extLst>
                <a:ext uri="{FF2B5EF4-FFF2-40B4-BE49-F238E27FC236}">
                  <a16:creationId xmlns:a16="http://schemas.microsoft.com/office/drawing/2014/main" id="{5B6EE512-E798-7A1A-092D-3DECD8B91D5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408518" y="3946224"/>
              <a:ext cx="40293" cy="47251"/>
            </a:xfrm>
            <a:custGeom>
              <a:avLst/>
              <a:gdLst>
                <a:gd name="T0" fmla="*/ 0 w 77"/>
                <a:gd name="T1" fmla="*/ 0 h 85"/>
                <a:gd name="T2" fmla="*/ 0 w 77"/>
                <a:gd name="T3" fmla="*/ 0 h 85"/>
                <a:gd name="T4" fmla="*/ 0 w 77"/>
                <a:gd name="T5" fmla="*/ 0 h 85"/>
                <a:gd name="T6" fmla="*/ 0 w 77"/>
                <a:gd name="T7" fmla="*/ 0 h 85"/>
                <a:gd name="T8" fmla="*/ 0 w 77"/>
                <a:gd name="T9" fmla="*/ 0 h 85"/>
                <a:gd name="T10" fmla="*/ 0 w 77"/>
                <a:gd name="T11" fmla="*/ 0 h 85"/>
                <a:gd name="T12" fmla="*/ 0 w 77"/>
                <a:gd name="T13" fmla="*/ 0 h 85"/>
                <a:gd name="T14" fmla="*/ 0 w 77"/>
                <a:gd name="T15" fmla="*/ 0 h 85"/>
                <a:gd name="T16" fmla="*/ 0 w 77"/>
                <a:gd name="T17" fmla="*/ 0 h 85"/>
                <a:gd name="T18" fmla="*/ 0 w 77"/>
                <a:gd name="T19" fmla="*/ 0 h 85"/>
                <a:gd name="T20" fmla="*/ 0 w 77"/>
                <a:gd name="T21" fmla="*/ 0 h 85"/>
                <a:gd name="T22" fmla="*/ 0 w 77"/>
                <a:gd name="T23" fmla="*/ 0 h 85"/>
                <a:gd name="T24" fmla="*/ 0 w 77"/>
                <a:gd name="T25" fmla="*/ 0 h 85"/>
                <a:gd name="T26" fmla="*/ 0 w 77"/>
                <a:gd name="T27" fmla="*/ 0 h 85"/>
                <a:gd name="T28" fmla="*/ 0 w 77"/>
                <a:gd name="T29" fmla="*/ 0 h 85"/>
                <a:gd name="T30" fmla="*/ 0 w 77"/>
                <a:gd name="T31" fmla="*/ 0 h 85"/>
                <a:gd name="T32" fmla="*/ 0 w 77"/>
                <a:gd name="T33" fmla="*/ 0 h 85"/>
                <a:gd name="T34" fmla="*/ 0 w 77"/>
                <a:gd name="T35" fmla="*/ 0 h 85"/>
                <a:gd name="T36" fmla="*/ 0 w 77"/>
                <a:gd name="T37" fmla="*/ 0 h 85"/>
                <a:gd name="T38" fmla="*/ 0 w 77"/>
                <a:gd name="T39" fmla="*/ 0 h 85"/>
                <a:gd name="T40" fmla="*/ 0 w 77"/>
                <a:gd name="T41" fmla="*/ 0 h 85"/>
                <a:gd name="T42" fmla="*/ 0 w 77"/>
                <a:gd name="T43" fmla="*/ 0 h 85"/>
                <a:gd name="T44" fmla="*/ 0 w 77"/>
                <a:gd name="T45" fmla="*/ 0 h 85"/>
                <a:gd name="T46" fmla="*/ 0 w 77"/>
                <a:gd name="T47" fmla="*/ 0 h 85"/>
                <a:gd name="T48" fmla="*/ 0 w 77"/>
                <a:gd name="T49" fmla="*/ 0 h 85"/>
                <a:gd name="T50" fmla="*/ 0 w 77"/>
                <a:gd name="T51" fmla="*/ 0 h 8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77"/>
                <a:gd name="T79" fmla="*/ 0 h 85"/>
                <a:gd name="T80" fmla="*/ 77 w 77"/>
                <a:gd name="T81" fmla="*/ 85 h 8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77" h="85">
                  <a:moveTo>
                    <a:pt x="0" y="4"/>
                  </a:moveTo>
                  <a:lnTo>
                    <a:pt x="3" y="4"/>
                  </a:lnTo>
                  <a:lnTo>
                    <a:pt x="26" y="5"/>
                  </a:lnTo>
                  <a:lnTo>
                    <a:pt x="38" y="0"/>
                  </a:lnTo>
                  <a:lnTo>
                    <a:pt x="44" y="2"/>
                  </a:lnTo>
                  <a:lnTo>
                    <a:pt x="51" y="6"/>
                  </a:lnTo>
                  <a:lnTo>
                    <a:pt x="55" y="15"/>
                  </a:lnTo>
                  <a:lnTo>
                    <a:pt x="64" y="21"/>
                  </a:lnTo>
                  <a:lnTo>
                    <a:pt x="64" y="32"/>
                  </a:lnTo>
                  <a:lnTo>
                    <a:pt x="62" y="47"/>
                  </a:lnTo>
                  <a:lnTo>
                    <a:pt x="64" y="57"/>
                  </a:lnTo>
                  <a:lnTo>
                    <a:pt x="72" y="78"/>
                  </a:lnTo>
                  <a:lnTo>
                    <a:pt x="77" y="85"/>
                  </a:lnTo>
                  <a:lnTo>
                    <a:pt x="62" y="85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42" y="70"/>
                  </a:lnTo>
                  <a:lnTo>
                    <a:pt x="34" y="64"/>
                  </a:lnTo>
                  <a:lnTo>
                    <a:pt x="34" y="59"/>
                  </a:lnTo>
                  <a:lnTo>
                    <a:pt x="37" y="51"/>
                  </a:lnTo>
                  <a:lnTo>
                    <a:pt x="35" y="48"/>
                  </a:lnTo>
                  <a:lnTo>
                    <a:pt x="19" y="32"/>
                  </a:lnTo>
                  <a:lnTo>
                    <a:pt x="13" y="30"/>
                  </a:lnTo>
                  <a:lnTo>
                    <a:pt x="6" y="21"/>
                  </a:lnTo>
                  <a:lnTo>
                    <a:pt x="0" y="6"/>
                  </a:lnTo>
                  <a:lnTo>
                    <a:pt x="0" y="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78" name="Freeform 75">
              <a:extLst>
                <a:ext uri="{FF2B5EF4-FFF2-40B4-BE49-F238E27FC236}">
                  <a16:creationId xmlns:a16="http://schemas.microsoft.com/office/drawing/2014/main" id="{3F9F2986-74D6-D3A6-FAA4-0FAC53F22BD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339870" y="3969087"/>
              <a:ext cx="32832" cy="48775"/>
            </a:xfrm>
            <a:custGeom>
              <a:avLst/>
              <a:gdLst>
                <a:gd name="T0" fmla="*/ 0 w 63"/>
                <a:gd name="T1" fmla="*/ 0 h 83"/>
                <a:gd name="T2" fmla="*/ 0 w 63"/>
                <a:gd name="T3" fmla="*/ 0 h 83"/>
                <a:gd name="T4" fmla="*/ 0 w 63"/>
                <a:gd name="T5" fmla="*/ 0 h 83"/>
                <a:gd name="T6" fmla="*/ 0 w 63"/>
                <a:gd name="T7" fmla="*/ 0 h 83"/>
                <a:gd name="T8" fmla="*/ 0 w 63"/>
                <a:gd name="T9" fmla="*/ 0 h 83"/>
                <a:gd name="T10" fmla="*/ 0 w 63"/>
                <a:gd name="T11" fmla="*/ 0 h 83"/>
                <a:gd name="T12" fmla="*/ 0 w 63"/>
                <a:gd name="T13" fmla="*/ 0 h 83"/>
                <a:gd name="T14" fmla="*/ 0 w 63"/>
                <a:gd name="T15" fmla="*/ 0 h 83"/>
                <a:gd name="T16" fmla="*/ 0 w 63"/>
                <a:gd name="T17" fmla="*/ 0 h 83"/>
                <a:gd name="T18" fmla="*/ 0 w 63"/>
                <a:gd name="T19" fmla="*/ 0 h 83"/>
                <a:gd name="T20" fmla="*/ 0 w 63"/>
                <a:gd name="T21" fmla="*/ 0 h 83"/>
                <a:gd name="T22" fmla="*/ 0 w 63"/>
                <a:gd name="T23" fmla="*/ 0 h 83"/>
                <a:gd name="T24" fmla="*/ 0 w 63"/>
                <a:gd name="T25" fmla="*/ 0 h 83"/>
                <a:gd name="T26" fmla="*/ 0 w 63"/>
                <a:gd name="T27" fmla="*/ 0 h 83"/>
                <a:gd name="T28" fmla="*/ 0 w 63"/>
                <a:gd name="T29" fmla="*/ 0 h 83"/>
                <a:gd name="T30" fmla="*/ 0 w 63"/>
                <a:gd name="T31" fmla="*/ 0 h 83"/>
                <a:gd name="T32" fmla="*/ 0 w 63"/>
                <a:gd name="T33" fmla="*/ 0 h 83"/>
                <a:gd name="T34" fmla="*/ 0 w 63"/>
                <a:gd name="T35" fmla="*/ 0 h 83"/>
                <a:gd name="T36" fmla="*/ 0 w 63"/>
                <a:gd name="T37" fmla="*/ 0 h 83"/>
                <a:gd name="T38" fmla="*/ 0 w 63"/>
                <a:gd name="T39" fmla="*/ 0 h 83"/>
                <a:gd name="T40" fmla="*/ 0 w 63"/>
                <a:gd name="T41" fmla="*/ 0 h 83"/>
                <a:gd name="T42" fmla="*/ 0 w 63"/>
                <a:gd name="T43" fmla="*/ 0 h 83"/>
                <a:gd name="T44" fmla="*/ 0 w 63"/>
                <a:gd name="T45" fmla="*/ 0 h 83"/>
                <a:gd name="T46" fmla="*/ 0 w 63"/>
                <a:gd name="T47" fmla="*/ 0 h 83"/>
                <a:gd name="T48" fmla="*/ 0 w 63"/>
                <a:gd name="T49" fmla="*/ 0 h 83"/>
                <a:gd name="T50" fmla="*/ 0 w 63"/>
                <a:gd name="T51" fmla="*/ 0 h 8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3"/>
                <a:gd name="T79" fmla="*/ 0 h 83"/>
                <a:gd name="T80" fmla="*/ 63 w 63"/>
                <a:gd name="T81" fmla="*/ 83 h 83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3" h="83">
                  <a:moveTo>
                    <a:pt x="0" y="1"/>
                  </a:moveTo>
                  <a:lnTo>
                    <a:pt x="2" y="0"/>
                  </a:lnTo>
                  <a:lnTo>
                    <a:pt x="11" y="2"/>
                  </a:lnTo>
                  <a:lnTo>
                    <a:pt x="24" y="11"/>
                  </a:lnTo>
                  <a:lnTo>
                    <a:pt x="27" y="17"/>
                  </a:lnTo>
                  <a:lnTo>
                    <a:pt x="33" y="18"/>
                  </a:lnTo>
                  <a:lnTo>
                    <a:pt x="49" y="18"/>
                  </a:lnTo>
                  <a:lnTo>
                    <a:pt x="50" y="22"/>
                  </a:lnTo>
                  <a:lnTo>
                    <a:pt x="60" y="19"/>
                  </a:lnTo>
                  <a:lnTo>
                    <a:pt x="63" y="21"/>
                  </a:lnTo>
                  <a:lnTo>
                    <a:pt x="63" y="33"/>
                  </a:lnTo>
                  <a:lnTo>
                    <a:pt x="60" y="44"/>
                  </a:lnTo>
                  <a:lnTo>
                    <a:pt x="52" y="49"/>
                  </a:lnTo>
                  <a:lnTo>
                    <a:pt x="44" y="59"/>
                  </a:lnTo>
                  <a:lnTo>
                    <a:pt x="36" y="65"/>
                  </a:lnTo>
                  <a:lnTo>
                    <a:pt x="32" y="67"/>
                  </a:lnTo>
                  <a:lnTo>
                    <a:pt x="23" y="68"/>
                  </a:lnTo>
                  <a:lnTo>
                    <a:pt x="11" y="73"/>
                  </a:lnTo>
                  <a:lnTo>
                    <a:pt x="3" y="83"/>
                  </a:lnTo>
                  <a:lnTo>
                    <a:pt x="1" y="71"/>
                  </a:lnTo>
                  <a:lnTo>
                    <a:pt x="1" y="59"/>
                  </a:lnTo>
                  <a:lnTo>
                    <a:pt x="3" y="45"/>
                  </a:lnTo>
                  <a:lnTo>
                    <a:pt x="6" y="17"/>
                  </a:lnTo>
                  <a:lnTo>
                    <a:pt x="4" y="11"/>
                  </a:lnTo>
                  <a:lnTo>
                    <a:pt x="0" y="6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79" name="Freeform 76">
              <a:extLst>
                <a:ext uri="{FF2B5EF4-FFF2-40B4-BE49-F238E27FC236}">
                  <a16:creationId xmlns:a16="http://schemas.microsoft.com/office/drawing/2014/main" id="{EDD5DAC5-BD22-A947-F60A-5B5CCABA556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351809" y="3999572"/>
              <a:ext cx="31339" cy="60968"/>
            </a:xfrm>
            <a:custGeom>
              <a:avLst/>
              <a:gdLst>
                <a:gd name="T0" fmla="*/ 0 w 59"/>
                <a:gd name="T1" fmla="*/ 0 h 107"/>
                <a:gd name="T2" fmla="*/ 0 w 59"/>
                <a:gd name="T3" fmla="*/ 0 h 107"/>
                <a:gd name="T4" fmla="*/ 0 w 59"/>
                <a:gd name="T5" fmla="*/ 0 h 107"/>
                <a:gd name="T6" fmla="*/ 0 w 59"/>
                <a:gd name="T7" fmla="*/ 0 h 107"/>
                <a:gd name="T8" fmla="*/ 0 w 59"/>
                <a:gd name="T9" fmla="*/ 0 h 107"/>
                <a:gd name="T10" fmla="*/ 0 w 59"/>
                <a:gd name="T11" fmla="*/ 0 h 107"/>
                <a:gd name="T12" fmla="*/ 0 w 59"/>
                <a:gd name="T13" fmla="*/ 0 h 107"/>
                <a:gd name="T14" fmla="*/ 0 w 59"/>
                <a:gd name="T15" fmla="*/ 0 h 107"/>
                <a:gd name="T16" fmla="*/ 0 w 59"/>
                <a:gd name="T17" fmla="*/ 0 h 107"/>
                <a:gd name="T18" fmla="*/ 0 w 59"/>
                <a:gd name="T19" fmla="*/ 0 h 107"/>
                <a:gd name="T20" fmla="*/ 0 w 59"/>
                <a:gd name="T21" fmla="*/ 0 h 107"/>
                <a:gd name="T22" fmla="*/ 0 w 59"/>
                <a:gd name="T23" fmla="*/ 0 h 107"/>
                <a:gd name="T24" fmla="*/ 0 w 59"/>
                <a:gd name="T25" fmla="*/ 0 h 107"/>
                <a:gd name="T26" fmla="*/ 0 w 59"/>
                <a:gd name="T27" fmla="*/ 0 h 107"/>
                <a:gd name="T28" fmla="*/ 0 w 59"/>
                <a:gd name="T29" fmla="*/ 0 h 107"/>
                <a:gd name="T30" fmla="*/ 0 w 59"/>
                <a:gd name="T31" fmla="*/ 0 h 107"/>
                <a:gd name="T32" fmla="*/ 0 w 59"/>
                <a:gd name="T33" fmla="*/ 0 h 107"/>
                <a:gd name="T34" fmla="*/ 0 w 59"/>
                <a:gd name="T35" fmla="*/ 0 h 107"/>
                <a:gd name="T36" fmla="*/ 0 w 59"/>
                <a:gd name="T37" fmla="*/ 0 h 107"/>
                <a:gd name="T38" fmla="*/ 0 w 59"/>
                <a:gd name="T39" fmla="*/ 0 h 107"/>
                <a:gd name="T40" fmla="*/ 0 w 59"/>
                <a:gd name="T41" fmla="*/ 0 h 107"/>
                <a:gd name="T42" fmla="*/ 0 w 59"/>
                <a:gd name="T43" fmla="*/ 0 h 107"/>
                <a:gd name="T44" fmla="*/ 0 w 59"/>
                <a:gd name="T45" fmla="*/ 0 h 107"/>
                <a:gd name="T46" fmla="*/ 0 w 59"/>
                <a:gd name="T47" fmla="*/ 0 h 107"/>
                <a:gd name="T48" fmla="*/ 0 w 59"/>
                <a:gd name="T49" fmla="*/ 0 h 10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9"/>
                <a:gd name="T76" fmla="*/ 0 h 107"/>
                <a:gd name="T77" fmla="*/ 59 w 59"/>
                <a:gd name="T78" fmla="*/ 107 h 10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9" h="107">
                  <a:moveTo>
                    <a:pt x="29" y="8"/>
                  </a:moveTo>
                  <a:lnTo>
                    <a:pt x="39" y="0"/>
                  </a:lnTo>
                  <a:lnTo>
                    <a:pt x="43" y="1"/>
                  </a:lnTo>
                  <a:lnTo>
                    <a:pt x="59" y="5"/>
                  </a:lnTo>
                  <a:lnTo>
                    <a:pt x="59" y="14"/>
                  </a:lnTo>
                  <a:lnTo>
                    <a:pt x="57" y="25"/>
                  </a:lnTo>
                  <a:lnTo>
                    <a:pt x="52" y="30"/>
                  </a:lnTo>
                  <a:lnTo>
                    <a:pt x="51" y="41"/>
                  </a:lnTo>
                  <a:lnTo>
                    <a:pt x="41" y="62"/>
                  </a:lnTo>
                  <a:lnTo>
                    <a:pt x="40" y="75"/>
                  </a:lnTo>
                  <a:lnTo>
                    <a:pt x="41" y="83"/>
                  </a:lnTo>
                  <a:lnTo>
                    <a:pt x="44" y="90"/>
                  </a:lnTo>
                  <a:lnTo>
                    <a:pt x="43" y="101"/>
                  </a:lnTo>
                  <a:lnTo>
                    <a:pt x="34" y="107"/>
                  </a:lnTo>
                  <a:lnTo>
                    <a:pt x="25" y="97"/>
                  </a:lnTo>
                  <a:lnTo>
                    <a:pt x="19" y="89"/>
                  </a:lnTo>
                  <a:lnTo>
                    <a:pt x="13" y="86"/>
                  </a:lnTo>
                  <a:lnTo>
                    <a:pt x="6" y="79"/>
                  </a:lnTo>
                  <a:lnTo>
                    <a:pt x="0" y="69"/>
                  </a:lnTo>
                  <a:lnTo>
                    <a:pt x="3" y="57"/>
                  </a:lnTo>
                  <a:lnTo>
                    <a:pt x="18" y="51"/>
                  </a:lnTo>
                  <a:lnTo>
                    <a:pt x="22" y="42"/>
                  </a:lnTo>
                  <a:lnTo>
                    <a:pt x="22" y="25"/>
                  </a:lnTo>
                  <a:lnTo>
                    <a:pt x="27" y="10"/>
                  </a:lnTo>
                  <a:lnTo>
                    <a:pt x="29" y="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80" name="Freeform 77">
              <a:extLst>
                <a:ext uri="{FF2B5EF4-FFF2-40B4-BE49-F238E27FC236}">
                  <a16:creationId xmlns:a16="http://schemas.microsoft.com/office/drawing/2014/main" id="{490DD397-C2B4-608E-2063-57D8F367F4E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408518" y="3982805"/>
              <a:ext cx="25369" cy="45726"/>
            </a:xfrm>
            <a:custGeom>
              <a:avLst/>
              <a:gdLst>
                <a:gd name="T0" fmla="*/ 0 w 51"/>
                <a:gd name="T1" fmla="*/ 0 h 81"/>
                <a:gd name="T2" fmla="*/ 0 w 51"/>
                <a:gd name="T3" fmla="*/ 0 h 81"/>
                <a:gd name="T4" fmla="*/ 0 w 51"/>
                <a:gd name="T5" fmla="*/ 0 h 81"/>
                <a:gd name="T6" fmla="*/ 0 w 51"/>
                <a:gd name="T7" fmla="*/ 0 h 81"/>
                <a:gd name="T8" fmla="*/ 0 w 51"/>
                <a:gd name="T9" fmla="*/ 0 h 81"/>
                <a:gd name="T10" fmla="*/ 0 w 51"/>
                <a:gd name="T11" fmla="*/ 0 h 81"/>
                <a:gd name="T12" fmla="*/ 0 w 51"/>
                <a:gd name="T13" fmla="*/ 0 h 81"/>
                <a:gd name="T14" fmla="*/ 0 w 51"/>
                <a:gd name="T15" fmla="*/ 0 h 81"/>
                <a:gd name="T16" fmla="*/ 0 w 51"/>
                <a:gd name="T17" fmla="*/ 0 h 81"/>
                <a:gd name="T18" fmla="*/ 0 w 51"/>
                <a:gd name="T19" fmla="*/ 0 h 81"/>
                <a:gd name="T20" fmla="*/ 0 w 51"/>
                <a:gd name="T21" fmla="*/ 0 h 81"/>
                <a:gd name="T22" fmla="*/ 0 w 51"/>
                <a:gd name="T23" fmla="*/ 0 h 81"/>
                <a:gd name="T24" fmla="*/ 0 w 51"/>
                <a:gd name="T25" fmla="*/ 0 h 81"/>
                <a:gd name="T26" fmla="*/ 0 w 51"/>
                <a:gd name="T27" fmla="*/ 0 h 81"/>
                <a:gd name="T28" fmla="*/ 0 w 51"/>
                <a:gd name="T29" fmla="*/ 0 h 81"/>
                <a:gd name="T30" fmla="*/ 0 w 51"/>
                <a:gd name="T31" fmla="*/ 0 h 81"/>
                <a:gd name="T32" fmla="*/ 0 w 51"/>
                <a:gd name="T33" fmla="*/ 0 h 81"/>
                <a:gd name="T34" fmla="*/ 0 w 51"/>
                <a:gd name="T35" fmla="*/ 0 h 81"/>
                <a:gd name="T36" fmla="*/ 0 w 51"/>
                <a:gd name="T37" fmla="*/ 0 h 81"/>
                <a:gd name="T38" fmla="*/ 0 w 51"/>
                <a:gd name="T39" fmla="*/ 0 h 81"/>
                <a:gd name="T40" fmla="*/ 0 w 51"/>
                <a:gd name="T41" fmla="*/ 0 h 81"/>
                <a:gd name="T42" fmla="*/ 0 w 51"/>
                <a:gd name="T43" fmla="*/ 0 h 81"/>
                <a:gd name="T44" fmla="*/ 0 w 51"/>
                <a:gd name="T45" fmla="*/ 0 h 8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51"/>
                <a:gd name="T70" fmla="*/ 0 h 81"/>
                <a:gd name="T71" fmla="*/ 51 w 51"/>
                <a:gd name="T72" fmla="*/ 81 h 8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51" h="81">
                  <a:moveTo>
                    <a:pt x="0" y="0"/>
                  </a:moveTo>
                  <a:lnTo>
                    <a:pt x="2" y="5"/>
                  </a:lnTo>
                  <a:lnTo>
                    <a:pt x="6" y="8"/>
                  </a:lnTo>
                  <a:lnTo>
                    <a:pt x="11" y="6"/>
                  </a:lnTo>
                  <a:lnTo>
                    <a:pt x="16" y="8"/>
                  </a:lnTo>
                  <a:lnTo>
                    <a:pt x="29" y="7"/>
                  </a:lnTo>
                  <a:lnTo>
                    <a:pt x="37" y="18"/>
                  </a:lnTo>
                  <a:lnTo>
                    <a:pt x="38" y="43"/>
                  </a:lnTo>
                  <a:lnTo>
                    <a:pt x="43" y="51"/>
                  </a:lnTo>
                  <a:lnTo>
                    <a:pt x="48" y="64"/>
                  </a:lnTo>
                  <a:lnTo>
                    <a:pt x="51" y="69"/>
                  </a:lnTo>
                  <a:lnTo>
                    <a:pt x="44" y="72"/>
                  </a:lnTo>
                  <a:lnTo>
                    <a:pt x="38" y="70"/>
                  </a:lnTo>
                  <a:lnTo>
                    <a:pt x="37" y="81"/>
                  </a:lnTo>
                  <a:lnTo>
                    <a:pt x="29" y="78"/>
                  </a:lnTo>
                  <a:lnTo>
                    <a:pt x="26" y="67"/>
                  </a:lnTo>
                  <a:lnTo>
                    <a:pt x="26" y="43"/>
                  </a:lnTo>
                  <a:lnTo>
                    <a:pt x="19" y="30"/>
                  </a:lnTo>
                  <a:lnTo>
                    <a:pt x="8" y="34"/>
                  </a:lnTo>
                  <a:lnTo>
                    <a:pt x="6" y="22"/>
                  </a:lnTo>
                  <a:lnTo>
                    <a:pt x="3" y="10"/>
                  </a:lnTo>
                  <a:lnTo>
                    <a:pt x="1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81" name="Freeform 78">
              <a:extLst>
                <a:ext uri="{FF2B5EF4-FFF2-40B4-BE49-F238E27FC236}">
                  <a16:creationId xmlns:a16="http://schemas.microsoft.com/office/drawing/2014/main" id="{CE5285E0-105B-2330-A0FD-84CE262C617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381656" y="3988901"/>
              <a:ext cx="17908" cy="57921"/>
            </a:xfrm>
            <a:custGeom>
              <a:avLst/>
              <a:gdLst>
                <a:gd name="T0" fmla="*/ 0 w 38"/>
                <a:gd name="T1" fmla="*/ 0 h 99"/>
                <a:gd name="T2" fmla="*/ 0 w 38"/>
                <a:gd name="T3" fmla="*/ 0 h 99"/>
                <a:gd name="T4" fmla="*/ 0 w 38"/>
                <a:gd name="T5" fmla="*/ 0 h 99"/>
                <a:gd name="T6" fmla="*/ 0 w 38"/>
                <a:gd name="T7" fmla="*/ 0 h 99"/>
                <a:gd name="T8" fmla="*/ 0 w 38"/>
                <a:gd name="T9" fmla="*/ 0 h 99"/>
                <a:gd name="T10" fmla="*/ 0 w 38"/>
                <a:gd name="T11" fmla="*/ 0 h 99"/>
                <a:gd name="T12" fmla="*/ 0 w 38"/>
                <a:gd name="T13" fmla="*/ 0 h 99"/>
                <a:gd name="T14" fmla="*/ 0 w 38"/>
                <a:gd name="T15" fmla="*/ 0 h 99"/>
                <a:gd name="T16" fmla="*/ 0 w 38"/>
                <a:gd name="T17" fmla="*/ 0 h 99"/>
                <a:gd name="T18" fmla="*/ 0 w 38"/>
                <a:gd name="T19" fmla="*/ 0 h 99"/>
                <a:gd name="T20" fmla="*/ 0 w 38"/>
                <a:gd name="T21" fmla="*/ 0 h 99"/>
                <a:gd name="T22" fmla="*/ 0 w 38"/>
                <a:gd name="T23" fmla="*/ 0 h 99"/>
                <a:gd name="T24" fmla="*/ 0 w 38"/>
                <a:gd name="T25" fmla="*/ 0 h 99"/>
                <a:gd name="T26" fmla="*/ 0 w 38"/>
                <a:gd name="T27" fmla="*/ 0 h 99"/>
                <a:gd name="T28" fmla="*/ 0 w 38"/>
                <a:gd name="T29" fmla="*/ 0 h 99"/>
                <a:gd name="T30" fmla="*/ 0 w 38"/>
                <a:gd name="T31" fmla="*/ 0 h 99"/>
                <a:gd name="T32" fmla="*/ 0 w 38"/>
                <a:gd name="T33" fmla="*/ 0 h 99"/>
                <a:gd name="T34" fmla="*/ 0 w 38"/>
                <a:gd name="T35" fmla="*/ 0 h 9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8"/>
                <a:gd name="T55" fmla="*/ 0 h 99"/>
                <a:gd name="T56" fmla="*/ 38 w 38"/>
                <a:gd name="T57" fmla="*/ 99 h 9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8" h="99">
                  <a:moveTo>
                    <a:pt x="35" y="2"/>
                  </a:moveTo>
                  <a:lnTo>
                    <a:pt x="37" y="0"/>
                  </a:lnTo>
                  <a:lnTo>
                    <a:pt x="38" y="5"/>
                  </a:lnTo>
                  <a:lnTo>
                    <a:pt x="37" y="10"/>
                  </a:lnTo>
                  <a:lnTo>
                    <a:pt x="37" y="33"/>
                  </a:lnTo>
                  <a:lnTo>
                    <a:pt x="36" y="48"/>
                  </a:lnTo>
                  <a:lnTo>
                    <a:pt x="24" y="58"/>
                  </a:lnTo>
                  <a:lnTo>
                    <a:pt x="15" y="75"/>
                  </a:lnTo>
                  <a:lnTo>
                    <a:pt x="10" y="86"/>
                  </a:lnTo>
                  <a:lnTo>
                    <a:pt x="6" y="96"/>
                  </a:lnTo>
                  <a:lnTo>
                    <a:pt x="3" y="99"/>
                  </a:lnTo>
                  <a:lnTo>
                    <a:pt x="0" y="87"/>
                  </a:lnTo>
                  <a:lnTo>
                    <a:pt x="0" y="78"/>
                  </a:lnTo>
                  <a:lnTo>
                    <a:pt x="8" y="58"/>
                  </a:lnTo>
                  <a:lnTo>
                    <a:pt x="17" y="41"/>
                  </a:lnTo>
                  <a:lnTo>
                    <a:pt x="26" y="21"/>
                  </a:lnTo>
                  <a:lnTo>
                    <a:pt x="31" y="5"/>
                  </a:lnTo>
                  <a:lnTo>
                    <a:pt x="35" y="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82" name="Freeform 79">
              <a:extLst>
                <a:ext uri="{FF2B5EF4-FFF2-40B4-BE49-F238E27FC236}">
                  <a16:creationId xmlns:a16="http://schemas.microsoft.com/office/drawing/2014/main" id="{29F0DCA2-3538-0C5C-B779-6CC2CD82F0B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393594" y="4022434"/>
              <a:ext cx="23877" cy="19815"/>
            </a:xfrm>
            <a:custGeom>
              <a:avLst/>
              <a:gdLst>
                <a:gd name="T0" fmla="*/ 0 w 39"/>
                <a:gd name="T1" fmla="*/ 0 h 31"/>
                <a:gd name="T2" fmla="*/ 0 w 39"/>
                <a:gd name="T3" fmla="*/ 0 h 31"/>
                <a:gd name="T4" fmla="*/ 0 w 39"/>
                <a:gd name="T5" fmla="*/ 0 h 31"/>
                <a:gd name="T6" fmla="*/ 0 w 39"/>
                <a:gd name="T7" fmla="*/ 0 h 31"/>
                <a:gd name="T8" fmla="*/ 0 w 39"/>
                <a:gd name="T9" fmla="*/ 0 h 31"/>
                <a:gd name="T10" fmla="*/ 0 w 39"/>
                <a:gd name="T11" fmla="*/ 0 h 31"/>
                <a:gd name="T12" fmla="*/ 0 w 39"/>
                <a:gd name="T13" fmla="*/ 0 h 31"/>
                <a:gd name="T14" fmla="*/ 0 w 39"/>
                <a:gd name="T15" fmla="*/ 0 h 31"/>
                <a:gd name="T16" fmla="*/ 0 w 39"/>
                <a:gd name="T17" fmla="*/ 0 h 31"/>
                <a:gd name="T18" fmla="*/ 0 w 39"/>
                <a:gd name="T19" fmla="*/ 0 h 31"/>
                <a:gd name="T20" fmla="*/ 0 w 39"/>
                <a:gd name="T21" fmla="*/ 0 h 31"/>
                <a:gd name="T22" fmla="*/ 0 w 39"/>
                <a:gd name="T23" fmla="*/ 0 h 31"/>
                <a:gd name="T24" fmla="*/ 0 w 39"/>
                <a:gd name="T25" fmla="*/ 0 h 31"/>
                <a:gd name="T26" fmla="*/ 0 w 39"/>
                <a:gd name="T27" fmla="*/ 0 h 31"/>
                <a:gd name="T28" fmla="*/ 0 w 39"/>
                <a:gd name="T29" fmla="*/ 0 h 31"/>
                <a:gd name="T30" fmla="*/ 0 w 39"/>
                <a:gd name="T31" fmla="*/ 0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9"/>
                <a:gd name="T49" fmla="*/ 0 h 31"/>
                <a:gd name="T50" fmla="*/ 39 w 39"/>
                <a:gd name="T51" fmla="*/ 31 h 3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9" h="31">
                  <a:moveTo>
                    <a:pt x="0" y="18"/>
                  </a:moveTo>
                  <a:lnTo>
                    <a:pt x="0" y="16"/>
                  </a:lnTo>
                  <a:lnTo>
                    <a:pt x="2" y="16"/>
                  </a:lnTo>
                  <a:lnTo>
                    <a:pt x="9" y="12"/>
                  </a:lnTo>
                  <a:lnTo>
                    <a:pt x="12" y="5"/>
                  </a:lnTo>
                  <a:lnTo>
                    <a:pt x="20" y="0"/>
                  </a:lnTo>
                  <a:lnTo>
                    <a:pt x="32" y="5"/>
                  </a:lnTo>
                  <a:lnTo>
                    <a:pt x="39" y="3"/>
                  </a:lnTo>
                  <a:lnTo>
                    <a:pt x="39" y="14"/>
                  </a:lnTo>
                  <a:lnTo>
                    <a:pt x="38" y="18"/>
                  </a:lnTo>
                  <a:lnTo>
                    <a:pt x="39" y="24"/>
                  </a:lnTo>
                  <a:lnTo>
                    <a:pt x="37" y="27"/>
                  </a:lnTo>
                  <a:lnTo>
                    <a:pt x="22" y="31"/>
                  </a:lnTo>
                  <a:lnTo>
                    <a:pt x="7" y="30"/>
                  </a:lnTo>
                  <a:lnTo>
                    <a:pt x="4" y="2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83" name="Freeform 80">
              <a:extLst>
                <a:ext uri="{FF2B5EF4-FFF2-40B4-BE49-F238E27FC236}">
                  <a16:creationId xmlns:a16="http://schemas.microsoft.com/office/drawing/2014/main" id="{7D200082-7B35-F042-B9C0-1D9EE1906F7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339870" y="4036153"/>
              <a:ext cx="134311" cy="132606"/>
            </a:xfrm>
            <a:custGeom>
              <a:avLst/>
              <a:gdLst>
                <a:gd name="T0" fmla="*/ 0 w 254"/>
                <a:gd name="T1" fmla="*/ 0 h 227"/>
                <a:gd name="T2" fmla="*/ 0 w 254"/>
                <a:gd name="T3" fmla="*/ 0 h 227"/>
                <a:gd name="T4" fmla="*/ 0 w 254"/>
                <a:gd name="T5" fmla="*/ 0 h 227"/>
                <a:gd name="T6" fmla="*/ 0 w 254"/>
                <a:gd name="T7" fmla="*/ 0 h 227"/>
                <a:gd name="T8" fmla="*/ 0 w 254"/>
                <a:gd name="T9" fmla="*/ 0 h 227"/>
                <a:gd name="T10" fmla="*/ 0 w 254"/>
                <a:gd name="T11" fmla="*/ 0 h 227"/>
                <a:gd name="T12" fmla="*/ 0 w 254"/>
                <a:gd name="T13" fmla="*/ 0 h 227"/>
                <a:gd name="T14" fmla="*/ 0 w 254"/>
                <a:gd name="T15" fmla="*/ 0 h 227"/>
                <a:gd name="T16" fmla="*/ 0 w 254"/>
                <a:gd name="T17" fmla="*/ 0 h 227"/>
                <a:gd name="T18" fmla="*/ 0 w 254"/>
                <a:gd name="T19" fmla="*/ 0 h 227"/>
                <a:gd name="T20" fmla="*/ 0 w 254"/>
                <a:gd name="T21" fmla="*/ 0 h 227"/>
                <a:gd name="T22" fmla="*/ 0 w 254"/>
                <a:gd name="T23" fmla="*/ 0 h 227"/>
                <a:gd name="T24" fmla="*/ 0 w 254"/>
                <a:gd name="T25" fmla="*/ 0 h 227"/>
                <a:gd name="T26" fmla="*/ 0 w 254"/>
                <a:gd name="T27" fmla="*/ 0 h 227"/>
                <a:gd name="T28" fmla="*/ 0 w 254"/>
                <a:gd name="T29" fmla="*/ 0 h 227"/>
                <a:gd name="T30" fmla="*/ 0 w 254"/>
                <a:gd name="T31" fmla="*/ 0 h 227"/>
                <a:gd name="T32" fmla="*/ 0 w 254"/>
                <a:gd name="T33" fmla="*/ 0 h 227"/>
                <a:gd name="T34" fmla="*/ 0 w 254"/>
                <a:gd name="T35" fmla="*/ 0 h 227"/>
                <a:gd name="T36" fmla="*/ 0 w 254"/>
                <a:gd name="T37" fmla="*/ 0 h 227"/>
                <a:gd name="T38" fmla="*/ 0 w 254"/>
                <a:gd name="T39" fmla="*/ 0 h 227"/>
                <a:gd name="T40" fmla="*/ 0 w 254"/>
                <a:gd name="T41" fmla="*/ 0 h 227"/>
                <a:gd name="T42" fmla="*/ 0 w 254"/>
                <a:gd name="T43" fmla="*/ 0 h 227"/>
                <a:gd name="T44" fmla="*/ 0 w 254"/>
                <a:gd name="T45" fmla="*/ 0 h 227"/>
                <a:gd name="T46" fmla="*/ 0 w 254"/>
                <a:gd name="T47" fmla="*/ 0 h 227"/>
                <a:gd name="T48" fmla="*/ 0 w 254"/>
                <a:gd name="T49" fmla="*/ 0 h 227"/>
                <a:gd name="T50" fmla="*/ 0 w 254"/>
                <a:gd name="T51" fmla="*/ 0 h 227"/>
                <a:gd name="T52" fmla="*/ 0 w 254"/>
                <a:gd name="T53" fmla="*/ 0 h 227"/>
                <a:gd name="T54" fmla="*/ 0 w 254"/>
                <a:gd name="T55" fmla="*/ 0 h 227"/>
                <a:gd name="T56" fmla="*/ 0 w 254"/>
                <a:gd name="T57" fmla="*/ 0 h 227"/>
                <a:gd name="T58" fmla="*/ 0 w 254"/>
                <a:gd name="T59" fmla="*/ 0 h 227"/>
                <a:gd name="T60" fmla="*/ 0 w 254"/>
                <a:gd name="T61" fmla="*/ 0 h 227"/>
                <a:gd name="T62" fmla="*/ 0 w 254"/>
                <a:gd name="T63" fmla="*/ 0 h 227"/>
                <a:gd name="T64" fmla="*/ 0 w 254"/>
                <a:gd name="T65" fmla="*/ 0 h 227"/>
                <a:gd name="T66" fmla="*/ 0 w 254"/>
                <a:gd name="T67" fmla="*/ 0 h 227"/>
                <a:gd name="T68" fmla="*/ 0 w 254"/>
                <a:gd name="T69" fmla="*/ 0 h 227"/>
                <a:gd name="T70" fmla="*/ 0 w 254"/>
                <a:gd name="T71" fmla="*/ 0 h 227"/>
                <a:gd name="T72" fmla="*/ 0 w 254"/>
                <a:gd name="T73" fmla="*/ 0 h 227"/>
                <a:gd name="T74" fmla="*/ 0 w 254"/>
                <a:gd name="T75" fmla="*/ 0 h 227"/>
                <a:gd name="T76" fmla="*/ 0 w 254"/>
                <a:gd name="T77" fmla="*/ 0 h 227"/>
                <a:gd name="T78" fmla="*/ 0 w 254"/>
                <a:gd name="T79" fmla="*/ 0 h 227"/>
                <a:gd name="T80" fmla="*/ 0 w 254"/>
                <a:gd name="T81" fmla="*/ 0 h 227"/>
                <a:gd name="T82" fmla="*/ 0 w 254"/>
                <a:gd name="T83" fmla="*/ 0 h 227"/>
                <a:gd name="T84" fmla="*/ 0 w 254"/>
                <a:gd name="T85" fmla="*/ 0 h 227"/>
                <a:gd name="T86" fmla="*/ 0 w 254"/>
                <a:gd name="T87" fmla="*/ 0 h 227"/>
                <a:gd name="T88" fmla="*/ 0 w 254"/>
                <a:gd name="T89" fmla="*/ 0 h 227"/>
                <a:gd name="T90" fmla="*/ 0 w 254"/>
                <a:gd name="T91" fmla="*/ 0 h 227"/>
                <a:gd name="T92" fmla="*/ 0 w 254"/>
                <a:gd name="T93" fmla="*/ 0 h 22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54"/>
                <a:gd name="T142" fmla="*/ 0 h 227"/>
                <a:gd name="T143" fmla="*/ 254 w 254"/>
                <a:gd name="T144" fmla="*/ 227 h 22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54" h="227">
                  <a:moveTo>
                    <a:pt x="191" y="1"/>
                  </a:moveTo>
                  <a:lnTo>
                    <a:pt x="190" y="0"/>
                  </a:lnTo>
                  <a:lnTo>
                    <a:pt x="200" y="0"/>
                  </a:lnTo>
                  <a:lnTo>
                    <a:pt x="207" y="10"/>
                  </a:lnTo>
                  <a:lnTo>
                    <a:pt x="215" y="13"/>
                  </a:lnTo>
                  <a:lnTo>
                    <a:pt x="224" y="26"/>
                  </a:lnTo>
                  <a:lnTo>
                    <a:pt x="229" y="26"/>
                  </a:lnTo>
                  <a:lnTo>
                    <a:pt x="233" y="33"/>
                  </a:lnTo>
                  <a:lnTo>
                    <a:pt x="240" y="46"/>
                  </a:lnTo>
                  <a:lnTo>
                    <a:pt x="240" y="51"/>
                  </a:lnTo>
                  <a:lnTo>
                    <a:pt x="231" y="64"/>
                  </a:lnTo>
                  <a:lnTo>
                    <a:pt x="242" y="70"/>
                  </a:lnTo>
                  <a:lnTo>
                    <a:pt x="242" y="81"/>
                  </a:lnTo>
                  <a:lnTo>
                    <a:pt x="246" y="86"/>
                  </a:lnTo>
                  <a:lnTo>
                    <a:pt x="248" y="104"/>
                  </a:lnTo>
                  <a:lnTo>
                    <a:pt x="250" y="110"/>
                  </a:lnTo>
                  <a:lnTo>
                    <a:pt x="254" y="124"/>
                  </a:lnTo>
                  <a:lnTo>
                    <a:pt x="254" y="142"/>
                  </a:lnTo>
                  <a:lnTo>
                    <a:pt x="249" y="150"/>
                  </a:lnTo>
                  <a:lnTo>
                    <a:pt x="243" y="152"/>
                  </a:lnTo>
                  <a:lnTo>
                    <a:pt x="238" y="161"/>
                  </a:lnTo>
                  <a:lnTo>
                    <a:pt x="238" y="185"/>
                  </a:lnTo>
                  <a:lnTo>
                    <a:pt x="231" y="179"/>
                  </a:lnTo>
                  <a:lnTo>
                    <a:pt x="227" y="167"/>
                  </a:lnTo>
                  <a:lnTo>
                    <a:pt x="227" y="151"/>
                  </a:lnTo>
                  <a:lnTo>
                    <a:pt x="221" y="142"/>
                  </a:lnTo>
                  <a:lnTo>
                    <a:pt x="217" y="134"/>
                  </a:lnTo>
                  <a:lnTo>
                    <a:pt x="212" y="131"/>
                  </a:lnTo>
                  <a:lnTo>
                    <a:pt x="207" y="135"/>
                  </a:lnTo>
                  <a:lnTo>
                    <a:pt x="192" y="158"/>
                  </a:lnTo>
                  <a:lnTo>
                    <a:pt x="191" y="172"/>
                  </a:lnTo>
                  <a:lnTo>
                    <a:pt x="197" y="179"/>
                  </a:lnTo>
                  <a:lnTo>
                    <a:pt x="202" y="189"/>
                  </a:lnTo>
                  <a:lnTo>
                    <a:pt x="206" y="201"/>
                  </a:lnTo>
                  <a:lnTo>
                    <a:pt x="206" y="207"/>
                  </a:lnTo>
                  <a:lnTo>
                    <a:pt x="194" y="227"/>
                  </a:lnTo>
                  <a:lnTo>
                    <a:pt x="186" y="223"/>
                  </a:lnTo>
                  <a:lnTo>
                    <a:pt x="184" y="211"/>
                  </a:lnTo>
                  <a:lnTo>
                    <a:pt x="183" y="205"/>
                  </a:lnTo>
                  <a:lnTo>
                    <a:pt x="174" y="211"/>
                  </a:lnTo>
                  <a:lnTo>
                    <a:pt x="164" y="212"/>
                  </a:lnTo>
                  <a:lnTo>
                    <a:pt x="156" y="210"/>
                  </a:lnTo>
                  <a:lnTo>
                    <a:pt x="133" y="199"/>
                  </a:lnTo>
                  <a:lnTo>
                    <a:pt x="125" y="189"/>
                  </a:lnTo>
                  <a:lnTo>
                    <a:pt x="120" y="182"/>
                  </a:lnTo>
                  <a:lnTo>
                    <a:pt x="119" y="171"/>
                  </a:lnTo>
                  <a:lnTo>
                    <a:pt x="116" y="162"/>
                  </a:lnTo>
                  <a:lnTo>
                    <a:pt x="113" y="150"/>
                  </a:lnTo>
                  <a:lnTo>
                    <a:pt x="125" y="134"/>
                  </a:lnTo>
                  <a:lnTo>
                    <a:pt x="125" y="126"/>
                  </a:lnTo>
                  <a:lnTo>
                    <a:pt x="116" y="116"/>
                  </a:lnTo>
                  <a:lnTo>
                    <a:pt x="105" y="108"/>
                  </a:lnTo>
                  <a:lnTo>
                    <a:pt x="97" y="104"/>
                  </a:lnTo>
                  <a:lnTo>
                    <a:pt x="89" y="104"/>
                  </a:lnTo>
                  <a:lnTo>
                    <a:pt x="81" y="119"/>
                  </a:lnTo>
                  <a:lnTo>
                    <a:pt x="81" y="125"/>
                  </a:lnTo>
                  <a:lnTo>
                    <a:pt x="73" y="121"/>
                  </a:lnTo>
                  <a:lnTo>
                    <a:pt x="68" y="121"/>
                  </a:lnTo>
                  <a:lnTo>
                    <a:pt x="68" y="114"/>
                  </a:lnTo>
                  <a:lnTo>
                    <a:pt x="55" y="126"/>
                  </a:lnTo>
                  <a:lnTo>
                    <a:pt x="54" y="132"/>
                  </a:lnTo>
                  <a:lnTo>
                    <a:pt x="50" y="123"/>
                  </a:lnTo>
                  <a:lnTo>
                    <a:pt x="47" y="112"/>
                  </a:lnTo>
                  <a:lnTo>
                    <a:pt x="39" y="112"/>
                  </a:lnTo>
                  <a:lnTo>
                    <a:pt x="28" y="124"/>
                  </a:lnTo>
                  <a:lnTo>
                    <a:pt x="16" y="153"/>
                  </a:lnTo>
                  <a:lnTo>
                    <a:pt x="9" y="156"/>
                  </a:lnTo>
                  <a:lnTo>
                    <a:pt x="3" y="155"/>
                  </a:lnTo>
                  <a:lnTo>
                    <a:pt x="0" y="144"/>
                  </a:lnTo>
                  <a:lnTo>
                    <a:pt x="7" y="121"/>
                  </a:lnTo>
                  <a:lnTo>
                    <a:pt x="12" y="104"/>
                  </a:lnTo>
                  <a:lnTo>
                    <a:pt x="22" y="93"/>
                  </a:lnTo>
                  <a:lnTo>
                    <a:pt x="52" y="85"/>
                  </a:lnTo>
                  <a:lnTo>
                    <a:pt x="56" y="76"/>
                  </a:lnTo>
                  <a:lnTo>
                    <a:pt x="63" y="69"/>
                  </a:lnTo>
                  <a:lnTo>
                    <a:pt x="73" y="64"/>
                  </a:lnTo>
                  <a:lnTo>
                    <a:pt x="79" y="56"/>
                  </a:lnTo>
                  <a:lnTo>
                    <a:pt x="99" y="64"/>
                  </a:lnTo>
                  <a:lnTo>
                    <a:pt x="104" y="76"/>
                  </a:lnTo>
                  <a:lnTo>
                    <a:pt x="98" y="94"/>
                  </a:lnTo>
                  <a:lnTo>
                    <a:pt x="120" y="85"/>
                  </a:lnTo>
                  <a:lnTo>
                    <a:pt x="127" y="69"/>
                  </a:lnTo>
                  <a:lnTo>
                    <a:pt x="138" y="64"/>
                  </a:lnTo>
                  <a:lnTo>
                    <a:pt x="146" y="66"/>
                  </a:lnTo>
                  <a:lnTo>
                    <a:pt x="151" y="60"/>
                  </a:lnTo>
                  <a:lnTo>
                    <a:pt x="153" y="49"/>
                  </a:lnTo>
                  <a:lnTo>
                    <a:pt x="158" y="43"/>
                  </a:lnTo>
                  <a:lnTo>
                    <a:pt x="169" y="46"/>
                  </a:lnTo>
                  <a:lnTo>
                    <a:pt x="181" y="40"/>
                  </a:lnTo>
                  <a:lnTo>
                    <a:pt x="189" y="43"/>
                  </a:lnTo>
                  <a:lnTo>
                    <a:pt x="192" y="39"/>
                  </a:lnTo>
                  <a:lnTo>
                    <a:pt x="194" y="26"/>
                  </a:lnTo>
                  <a:lnTo>
                    <a:pt x="191" y="7"/>
                  </a:lnTo>
                  <a:lnTo>
                    <a:pt x="191" y="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84" name="Freeform 81">
              <a:extLst>
                <a:ext uri="{FF2B5EF4-FFF2-40B4-BE49-F238E27FC236}">
                  <a16:creationId xmlns:a16="http://schemas.microsoft.com/office/drawing/2014/main" id="{E449A18B-4536-4C6B-CBA1-0CBAE496D6E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107065" y="4182478"/>
              <a:ext cx="40293" cy="33533"/>
            </a:xfrm>
            <a:custGeom>
              <a:avLst/>
              <a:gdLst>
                <a:gd name="T0" fmla="*/ 2147483647 w 77"/>
                <a:gd name="T1" fmla="*/ 0 h 58"/>
                <a:gd name="T2" fmla="*/ 2147483647 w 77"/>
                <a:gd name="T3" fmla="*/ 0 h 58"/>
                <a:gd name="T4" fmla="*/ 2147483647 w 77"/>
                <a:gd name="T5" fmla="*/ 0 h 58"/>
                <a:gd name="T6" fmla="*/ 2147483647 w 77"/>
                <a:gd name="T7" fmla="*/ 0 h 58"/>
                <a:gd name="T8" fmla="*/ 2147483647 w 77"/>
                <a:gd name="T9" fmla="*/ 0 h 58"/>
                <a:gd name="T10" fmla="*/ 2147483647 w 77"/>
                <a:gd name="T11" fmla="*/ 0 h 58"/>
                <a:gd name="T12" fmla="*/ 2147483647 w 77"/>
                <a:gd name="T13" fmla="*/ 0 h 58"/>
                <a:gd name="T14" fmla="*/ 2147483647 w 77"/>
                <a:gd name="T15" fmla="*/ 0 h 58"/>
                <a:gd name="T16" fmla="*/ 0 w 77"/>
                <a:gd name="T17" fmla="*/ 0 h 58"/>
                <a:gd name="T18" fmla="*/ 0 w 77"/>
                <a:gd name="T19" fmla="*/ 0 h 58"/>
                <a:gd name="T20" fmla="*/ 0 w 77"/>
                <a:gd name="T21" fmla="*/ 0 h 58"/>
                <a:gd name="T22" fmla="*/ 0 w 77"/>
                <a:gd name="T23" fmla="*/ 0 h 58"/>
                <a:gd name="T24" fmla="*/ 0 w 77"/>
                <a:gd name="T25" fmla="*/ 0 h 58"/>
                <a:gd name="T26" fmla="*/ 0 w 77"/>
                <a:gd name="T27" fmla="*/ 0 h 58"/>
                <a:gd name="T28" fmla="*/ 0 w 77"/>
                <a:gd name="T29" fmla="*/ 0 h 58"/>
                <a:gd name="T30" fmla="*/ 0 w 77"/>
                <a:gd name="T31" fmla="*/ 0 h 58"/>
                <a:gd name="T32" fmla="*/ 0 w 77"/>
                <a:gd name="T33" fmla="*/ 0 h 58"/>
                <a:gd name="T34" fmla="*/ 0 w 77"/>
                <a:gd name="T35" fmla="*/ 0 h 58"/>
                <a:gd name="T36" fmla="*/ 0 w 77"/>
                <a:gd name="T37" fmla="*/ 0 h 58"/>
                <a:gd name="T38" fmla="*/ 0 w 77"/>
                <a:gd name="T39" fmla="*/ 0 h 58"/>
                <a:gd name="T40" fmla="*/ 0 w 77"/>
                <a:gd name="T41" fmla="*/ 0 h 58"/>
                <a:gd name="T42" fmla="*/ 0 w 77"/>
                <a:gd name="T43" fmla="*/ 0 h 58"/>
                <a:gd name="T44" fmla="*/ 0 w 77"/>
                <a:gd name="T45" fmla="*/ 0 h 58"/>
                <a:gd name="T46" fmla="*/ 0 w 77"/>
                <a:gd name="T47" fmla="*/ 0 h 58"/>
                <a:gd name="T48" fmla="*/ 0 w 77"/>
                <a:gd name="T49" fmla="*/ 0 h 58"/>
                <a:gd name="T50" fmla="*/ 0 w 77"/>
                <a:gd name="T51" fmla="*/ 0 h 58"/>
                <a:gd name="T52" fmla="*/ 0 w 77"/>
                <a:gd name="T53" fmla="*/ 0 h 58"/>
                <a:gd name="T54" fmla="*/ 0 w 77"/>
                <a:gd name="T55" fmla="*/ 0 h 58"/>
                <a:gd name="T56" fmla="*/ 0 w 77"/>
                <a:gd name="T57" fmla="*/ 0 h 58"/>
                <a:gd name="T58" fmla="*/ 0 w 77"/>
                <a:gd name="T59" fmla="*/ 0 h 58"/>
                <a:gd name="T60" fmla="*/ 2147483647 w 77"/>
                <a:gd name="T61" fmla="*/ 0 h 5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77"/>
                <a:gd name="T94" fmla="*/ 0 h 58"/>
                <a:gd name="T95" fmla="*/ 77 w 77"/>
                <a:gd name="T96" fmla="*/ 58 h 58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77" h="58">
                  <a:moveTo>
                    <a:pt x="67" y="9"/>
                  </a:moveTo>
                  <a:lnTo>
                    <a:pt x="72" y="14"/>
                  </a:lnTo>
                  <a:lnTo>
                    <a:pt x="76" y="21"/>
                  </a:lnTo>
                  <a:lnTo>
                    <a:pt x="77" y="26"/>
                  </a:lnTo>
                  <a:lnTo>
                    <a:pt x="77" y="32"/>
                  </a:lnTo>
                  <a:lnTo>
                    <a:pt x="76" y="37"/>
                  </a:lnTo>
                  <a:lnTo>
                    <a:pt x="70" y="37"/>
                  </a:lnTo>
                  <a:lnTo>
                    <a:pt x="65" y="35"/>
                  </a:lnTo>
                  <a:lnTo>
                    <a:pt x="61" y="27"/>
                  </a:lnTo>
                  <a:lnTo>
                    <a:pt x="59" y="20"/>
                  </a:lnTo>
                  <a:lnTo>
                    <a:pt x="56" y="16"/>
                  </a:lnTo>
                  <a:lnTo>
                    <a:pt x="51" y="16"/>
                  </a:lnTo>
                  <a:lnTo>
                    <a:pt x="46" y="19"/>
                  </a:lnTo>
                  <a:lnTo>
                    <a:pt x="43" y="24"/>
                  </a:lnTo>
                  <a:lnTo>
                    <a:pt x="41" y="48"/>
                  </a:lnTo>
                  <a:lnTo>
                    <a:pt x="39" y="56"/>
                  </a:lnTo>
                  <a:lnTo>
                    <a:pt x="34" y="58"/>
                  </a:lnTo>
                  <a:lnTo>
                    <a:pt x="29" y="57"/>
                  </a:lnTo>
                  <a:lnTo>
                    <a:pt x="26" y="53"/>
                  </a:lnTo>
                  <a:lnTo>
                    <a:pt x="21" y="48"/>
                  </a:lnTo>
                  <a:lnTo>
                    <a:pt x="17" y="42"/>
                  </a:lnTo>
                  <a:lnTo>
                    <a:pt x="7" y="31"/>
                  </a:lnTo>
                  <a:lnTo>
                    <a:pt x="3" y="29"/>
                  </a:lnTo>
                  <a:lnTo>
                    <a:pt x="0" y="27"/>
                  </a:lnTo>
                  <a:lnTo>
                    <a:pt x="2" y="25"/>
                  </a:lnTo>
                  <a:lnTo>
                    <a:pt x="11" y="22"/>
                  </a:lnTo>
                  <a:lnTo>
                    <a:pt x="26" y="21"/>
                  </a:lnTo>
                  <a:lnTo>
                    <a:pt x="33" y="16"/>
                  </a:lnTo>
                  <a:lnTo>
                    <a:pt x="53" y="0"/>
                  </a:lnTo>
                  <a:lnTo>
                    <a:pt x="55" y="8"/>
                  </a:lnTo>
                  <a:lnTo>
                    <a:pt x="67" y="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85" name="Freeform 82">
              <a:extLst>
                <a:ext uri="{FF2B5EF4-FFF2-40B4-BE49-F238E27FC236}">
                  <a16:creationId xmlns:a16="http://schemas.microsoft.com/office/drawing/2014/main" id="{538877F1-C8C9-A937-9F3A-56C30A1E407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168250" y="4443119"/>
              <a:ext cx="8954" cy="24388"/>
            </a:xfrm>
            <a:custGeom>
              <a:avLst/>
              <a:gdLst>
                <a:gd name="T0" fmla="*/ 0 w 15"/>
                <a:gd name="T1" fmla="*/ 0 h 42"/>
                <a:gd name="T2" fmla="*/ 0 w 15"/>
                <a:gd name="T3" fmla="*/ 0 h 42"/>
                <a:gd name="T4" fmla="*/ 0 w 15"/>
                <a:gd name="T5" fmla="*/ 0 h 42"/>
                <a:gd name="T6" fmla="*/ 0 w 15"/>
                <a:gd name="T7" fmla="*/ 0 h 42"/>
                <a:gd name="T8" fmla="*/ 0 w 15"/>
                <a:gd name="T9" fmla="*/ 0 h 42"/>
                <a:gd name="T10" fmla="*/ 0 w 15"/>
                <a:gd name="T11" fmla="*/ 0 h 42"/>
                <a:gd name="T12" fmla="*/ 0 w 15"/>
                <a:gd name="T13" fmla="*/ 0 h 42"/>
                <a:gd name="T14" fmla="*/ 0 w 15"/>
                <a:gd name="T15" fmla="*/ 0 h 42"/>
                <a:gd name="T16" fmla="*/ 0 w 15"/>
                <a:gd name="T17" fmla="*/ 0 h 42"/>
                <a:gd name="T18" fmla="*/ 0 w 15"/>
                <a:gd name="T19" fmla="*/ 0 h 42"/>
                <a:gd name="T20" fmla="*/ 0 w 15"/>
                <a:gd name="T21" fmla="*/ 0 h 42"/>
                <a:gd name="T22" fmla="*/ 0 w 15"/>
                <a:gd name="T23" fmla="*/ 0 h 4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5"/>
                <a:gd name="T37" fmla="*/ 0 h 42"/>
                <a:gd name="T38" fmla="*/ 15 w 15"/>
                <a:gd name="T39" fmla="*/ 42 h 4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5" h="42">
                  <a:moveTo>
                    <a:pt x="8" y="1"/>
                  </a:moveTo>
                  <a:lnTo>
                    <a:pt x="9" y="0"/>
                  </a:lnTo>
                  <a:lnTo>
                    <a:pt x="11" y="10"/>
                  </a:lnTo>
                  <a:lnTo>
                    <a:pt x="13" y="26"/>
                  </a:lnTo>
                  <a:lnTo>
                    <a:pt x="15" y="33"/>
                  </a:lnTo>
                  <a:lnTo>
                    <a:pt x="9" y="41"/>
                  </a:lnTo>
                  <a:lnTo>
                    <a:pt x="4" y="42"/>
                  </a:lnTo>
                  <a:lnTo>
                    <a:pt x="0" y="27"/>
                  </a:lnTo>
                  <a:lnTo>
                    <a:pt x="0" y="13"/>
                  </a:lnTo>
                  <a:lnTo>
                    <a:pt x="3" y="4"/>
                  </a:lnTo>
                  <a:lnTo>
                    <a:pt x="8" y="0"/>
                  </a:lnTo>
                  <a:lnTo>
                    <a:pt x="8" y="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86" name="Freeform 83">
              <a:extLst>
                <a:ext uri="{FF2B5EF4-FFF2-40B4-BE49-F238E27FC236}">
                  <a16:creationId xmlns:a16="http://schemas.microsoft.com/office/drawing/2014/main" id="{04E58595-5590-A951-D5DE-1A412EEC2C0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421948" y="4600113"/>
              <a:ext cx="71632" cy="35057"/>
            </a:xfrm>
            <a:custGeom>
              <a:avLst/>
              <a:gdLst>
                <a:gd name="T0" fmla="*/ 0 w 133"/>
                <a:gd name="T1" fmla="*/ 0 h 61"/>
                <a:gd name="T2" fmla="*/ 0 w 133"/>
                <a:gd name="T3" fmla="*/ 0 h 61"/>
                <a:gd name="T4" fmla="*/ 0 w 133"/>
                <a:gd name="T5" fmla="*/ 0 h 61"/>
                <a:gd name="T6" fmla="*/ 0 w 133"/>
                <a:gd name="T7" fmla="*/ 0 h 61"/>
                <a:gd name="T8" fmla="*/ 0 w 133"/>
                <a:gd name="T9" fmla="*/ 0 h 61"/>
                <a:gd name="T10" fmla="*/ 2147483647 w 133"/>
                <a:gd name="T11" fmla="*/ 0 h 61"/>
                <a:gd name="T12" fmla="*/ 2147483647 w 133"/>
                <a:gd name="T13" fmla="*/ 0 h 61"/>
                <a:gd name="T14" fmla="*/ 2147483647 w 133"/>
                <a:gd name="T15" fmla="*/ 0 h 61"/>
                <a:gd name="T16" fmla="*/ 2147483647 w 133"/>
                <a:gd name="T17" fmla="*/ 0 h 61"/>
                <a:gd name="T18" fmla="*/ 2147483647 w 133"/>
                <a:gd name="T19" fmla="*/ 0 h 61"/>
                <a:gd name="T20" fmla="*/ 2147483647 w 133"/>
                <a:gd name="T21" fmla="*/ 0 h 61"/>
                <a:gd name="T22" fmla="*/ 2147483647 w 133"/>
                <a:gd name="T23" fmla="*/ 0 h 61"/>
                <a:gd name="T24" fmla="*/ 2147483647 w 133"/>
                <a:gd name="T25" fmla="*/ 0 h 61"/>
                <a:gd name="T26" fmla="*/ 2147483647 w 133"/>
                <a:gd name="T27" fmla="*/ 0 h 61"/>
                <a:gd name="T28" fmla="*/ 2147483647 w 133"/>
                <a:gd name="T29" fmla="*/ 0 h 61"/>
                <a:gd name="T30" fmla="*/ 2147483647 w 133"/>
                <a:gd name="T31" fmla="*/ 0 h 61"/>
                <a:gd name="T32" fmla="*/ 2147483647 w 133"/>
                <a:gd name="T33" fmla="*/ 0 h 61"/>
                <a:gd name="T34" fmla="*/ 2147483647 w 133"/>
                <a:gd name="T35" fmla="*/ 0 h 61"/>
                <a:gd name="T36" fmla="*/ 2147483647 w 133"/>
                <a:gd name="T37" fmla="*/ 0 h 61"/>
                <a:gd name="T38" fmla="*/ 0 w 133"/>
                <a:gd name="T39" fmla="*/ 0 h 61"/>
                <a:gd name="T40" fmla="*/ 0 w 133"/>
                <a:gd name="T41" fmla="*/ 0 h 61"/>
                <a:gd name="T42" fmla="*/ 0 w 133"/>
                <a:gd name="T43" fmla="*/ 0 h 61"/>
                <a:gd name="T44" fmla="*/ 0 w 133"/>
                <a:gd name="T45" fmla="*/ 0 h 6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33"/>
                <a:gd name="T70" fmla="*/ 0 h 61"/>
                <a:gd name="T71" fmla="*/ 133 w 133"/>
                <a:gd name="T72" fmla="*/ 61 h 6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33" h="61">
                  <a:moveTo>
                    <a:pt x="0" y="39"/>
                  </a:moveTo>
                  <a:lnTo>
                    <a:pt x="2" y="38"/>
                  </a:lnTo>
                  <a:lnTo>
                    <a:pt x="11" y="29"/>
                  </a:lnTo>
                  <a:lnTo>
                    <a:pt x="18" y="17"/>
                  </a:lnTo>
                  <a:lnTo>
                    <a:pt x="27" y="16"/>
                  </a:lnTo>
                  <a:lnTo>
                    <a:pt x="55" y="11"/>
                  </a:lnTo>
                  <a:lnTo>
                    <a:pt x="61" y="7"/>
                  </a:lnTo>
                  <a:lnTo>
                    <a:pt x="71" y="10"/>
                  </a:lnTo>
                  <a:lnTo>
                    <a:pt x="98" y="7"/>
                  </a:lnTo>
                  <a:lnTo>
                    <a:pt x="109" y="3"/>
                  </a:lnTo>
                  <a:lnTo>
                    <a:pt x="118" y="2"/>
                  </a:lnTo>
                  <a:lnTo>
                    <a:pt x="124" y="0"/>
                  </a:lnTo>
                  <a:lnTo>
                    <a:pt x="132" y="2"/>
                  </a:lnTo>
                  <a:lnTo>
                    <a:pt x="133" y="6"/>
                  </a:lnTo>
                  <a:lnTo>
                    <a:pt x="129" y="19"/>
                  </a:lnTo>
                  <a:lnTo>
                    <a:pt x="113" y="23"/>
                  </a:lnTo>
                  <a:lnTo>
                    <a:pt x="88" y="37"/>
                  </a:lnTo>
                  <a:lnTo>
                    <a:pt x="73" y="40"/>
                  </a:lnTo>
                  <a:lnTo>
                    <a:pt x="61" y="46"/>
                  </a:lnTo>
                  <a:lnTo>
                    <a:pt x="39" y="51"/>
                  </a:lnTo>
                  <a:lnTo>
                    <a:pt x="23" y="61"/>
                  </a:lnTo>
                  <a:lnTo>
                    <a:pt x="18" y="59"/>
                  </a:lnTo>
                  <a:lnTo>
                    <a:pt x="0" y="3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87" name="Freeform 84">
              <a:extLst>
                <a:ext uri="{FF2B5EF4-FFF2-40B4-BE49-F238E27FC236}">
                  <a16:creationId xmlns:a16="http://schemas.microsoft.com/office/drawing/2014/main" id="{4FCF87F4-29F8-6944-C45F-CAE2768A408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387625" y="4622976"/>
              <a:ext cx="44770" cy="38106"/>
            </a:xfrm>
            <a:custGeom>
              <a:avLst/>
              <a:gdLst>
                <a:gd name="T0" fmla="*/ 2147483647 w 85"/>
                <a:gd name="T1" fmla="*/ 0 h 71"/>
                <a:gd name="T2" fmla="*/ 2147483647 w 85"/>
                <a:gd name="T3" fmla="*/ 0 h 71"/>
                <a:gd name="T4" fmla="*/ 2147483647 w 85"/>
                <a:gd name="T5" fmla="*/ 0 h 71"/>
                <a:gd name="T6" fmla="*/ 2147483647 w 85"/>
                <a:gd name="T7" fmla="*/ 0 h 71"/>
                <a:gd name="T8" fmla="*/ 2147483647 w 85"/>
                <a:gd name="T9" fmla="*/ 0 h 71"/>
                <a:gd name="T10" fmla="*/ 2147483647 w 85"/>
                <a:gd name="T11" fmla="*/ 0 h 71"/>
                <a:gd name="T12" fmla="*/ 2147483647 w 85"/>
                <a:gd name="T13" fmla="*/ 0 h 71"/>
                <a:gd name="T14" fmla="*/ 0 w 85"/>
                <a:gd name="T15" fmla="*/ 0 h 71"/>
                <a:gd name="T16" fmla="*/ 0 w 85"/>
                <a:gd name="T17" fmla="*/ 0 h 71"/>
                <a:gd name="T18" fmla="*/ 0 w 85"/>
                <a:gd name="T19" fmla="*/ 0 h 71"/>
                <a:gd name="T20" fmla="*/ 0 w 85"/>
                <a:gd name="T21" fmla="*/ 0 h 71"/>
                <a:gd name="T22" fmla="*/ 0 w 85"/>
                <a:gd name="T23" fmla="*/ 0 h 71"/>
                <a:gd name="T24" fmla="*/ 0 w 85"/>
                <a:gd name="T25" fmla="*/ 0 h 71"/>
                <a:gd name="T26" fmla="*/ 0 w 85"/>
                <a:gd name="T27" fmla="*/ 0 h 71"/>
                <a:gd name="T28" fmla="*/ 0 w 85"/>
                <a:gd name="T29" fmla="*/ 0 h 71"/>
                <a:gd name="T30" fmla="*/ 0 w 85"/>
                <a:gd name="T31" fmla="*/ 0 h 71"/>
                <a:gd name="T32" fmla="*/ 0 w 85"/>
                <a:gd name="T33" fmla="*/ 0 h 71"/>
                <a:gd name="T34" fmla="*/ 0 w 85"/>
                <a:gd name="T35" fmla="*/ 0 h 71"/>
                <a:gd name="T36" fmla="*/ 0 w 85"/>
                <a:gd name="T37" fmla="*/ 0 h 71"/>
                <a:gd name="T38" fmla="*/ 0 w 85"/>
                <a:gd name="T39" fmla="*/ 0 h 71"/>
                <a:gd name="T40" fmla="*/ 0 w 85"/>
                <a:gd name="T41" fmla="*/ 0 h 71"/>
                <a:gd name="T42" fmla="*/ 2147483647 w 85"/>
                <a:gd name="T43" fmla="*/ 0 h 71"/>
                <a:gd name="T44" fmla="*/ 2147483647 w 85"/>
                <a:gd name="T45" fmla="*/ 0 h 71"/>
                <a:gd name="T46" fmla="*/ 2147483647 w 85"/>
                <a:gd name="T47" fmla="*/ 0 h 71"/>
                <a:gd name="T48" fmla="*/ 2147483647 w 85"/>
                <a:gd name="T49" fmla="*/ 0 h 71"/>
                <a:gd name="T50" fmla="*/ 2147483647 w 85"/>
                <a:gd name="T51" fmla="*/ 0 h 7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5"/>
                <a:gd name="T79" fmla="*/ 0 h 71"/>
                <a:gd name="T80" fmla="*/ 85 w 85"/>
                <a:gd name="T81" fmla="*/ 71 h 71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5" h="71">
                  <a:moveTo>
                    <a:pt x="85" y="20"/>
                  </a:moveTo>
                  <a:lnTo>
                    <a:pt x="85" y="22"/>
                  </a:lnTo>
                  <a:lnTo>
                    <a:pt x="80" y="35"/>
                  </a:lnTo>
                  <a:lnTo>
                    <a:pt x="69" y="46"/>
                  </a:lnTo>
                  <a:lnTo>
                    <a:pt x="63" y="54"/>
                  </a:lnTo>
                  <a:lnTo>
                    <a:pt x="54" y="58"/>
                  </a:lnTo>
                  <a:lnTo>
                    <a:pt x="49" y="60"/>
                  </a:lnTo>
                  <a:lnTo>
                    <a:pt x="40" y="63"/>
                  </a:lnTo>
                  <a:lnTo>
                    <a:pt x="31" y="68"/>
                  </a:lnTo>
                  <a:lnTo>
                    <a:pt x="21" y="70"/>
                  </a:lnTo>
                  <a:lnTo>
                    <a:pt x="15" y="71"/>
                  </a:lnTo>
                  <a:lnTo>
                    <a:pt x="5" y="71"/>
                  </a:lnTo>
                  <a:lnTo>
                    <a:pt x="0" y="66"/>
                  </a:lnTo>
                  <a:lnTo>
                    <a:pt x="8" y="58"/>
                  </a:lnTo>
                  <a:lnTo>
                    <a:pt x="9" y="52"/>
                  </a:lnTo>
                  <a:lnTo>
                    <a:pt x="6" y="46"/>
                  </a:lnTo>
                  <a:lnTo>
                    <a:pt x="8" y="31"/>
                  </a:lnTo>
                  <a:lnTo>
                    <a:pt x="15" y="23"/>
                  </a:lnTo>
                  <a:lnTo>
                    <a:pt x="22" y="17"/>
                  </a:lnTo>
                  <a:lnTo>
                    <a:pt x="32" y="15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3" y="4"/>
                  </a:lnTo>
                  <a:lnTo>
                    <a:pt x="62" y="3"/>
                  </a:lnTo>
                  <a:lnTo>
                    <a:pt x="67" y="0"/>
                  </a:lnTo>
                  <a:lnTo>
                    <a:pt x="85" y="2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88" name="Freeform 85">
              <a:extLst>
                <a:ext uri="{FF2B5EF4-FFF2-40B4-BE49-F238E27FC236}">
                  <a16:creationId xmlns:a16="http://schemas.microsoft.com/office/drawing/2014/main" id="{60B1E99A-0017-ECC5-5405-5E665DA3ED5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514474" y="4427877"/>
              <a:ext cx="86556" cy="32009"/>
            </a:xfrm>
            <a:custGeom>
              <a:avLst/>
              <a:gdLst>
                <a:gd name="T0" fmla="*/ 0 w 162"/>
                <a:gd name="T1" fmla="*/ 0 h 59"/>
                <a:gd name="T2" fmla="*/ 0 w 162"/>
                <a:gd name="T3" fmla="*/ 0 h 59"/>
                <a:gd name="T4" fmla="*/ 0 w 162"/>
                <a:gd name="T5" fmla="*/ 0 h 59"/>
                <a:gd name="T6" fmla="*/ 0 w 162"/>
                <a:gd name="T7" fmla="*/ 0 h 59"/>
                <a:gd name="T8" fmla="*/ 0 w 162"/>
                <a:gd name="T9" fmla="*/ 0 h 59"/>
                <a:gd name="T10" fmla="*/ 0 w 162"/>
                <a:gd name="T11" fmla="*/ 0 h 59"/>
                <a:gd name="T12" fmla="*/ 0 w 162"/>
                <a:gd name="T13" fmla="*/ 0 h 59"/>
                <a:gd name="T14" fmla="*/ 0 w 162"/>
                <a:gd name="T15" fmla="*/ 0 h 59"/>
                <a:gd name="T16" fmla="*/ 2147483647 w 162"/>
                <a:gd name="T17" fmla="*/ 0 h 59"/>
                <a:gd name="T18" fmla="*/ 2147483647 w 162"/>
                <a:gd name="T19" fmla="*/ 0 h 59"/>
                <a:gd name="T20" fmla="*/ 2147483647 w 162"/>
                <a:gd name="T21" fmla="*/ 0 h 59"/>
                <a:gd name="T22" fmla="*/ 2147483647 w 162"/>
                <a:gd name="T23" fmla="*/ 0 h 59"/>
                <a:gd name="T24" fmla="*/ 2147483647 w 162"/>
                <a:gd name="T25" fmla="*/ 0 h 59"/>
                <a:gd name="T26" fmla="*/ 2147483647 w 162"/>
                <a:gd name="T27" fmla="*/ 0 h 59"/>
                <a:gd name="T28" fmla="*/ 2147483647 w 162"/>
                <a:gd name="T29" fmla="*/ 0 h 59"/>
                <a:gd name="T30" fmla="*/ 2147483647 w 162"/>
                <a:gd name="T31" fmla="*/ 0 h 59"/>
                <a:gd name="T32" fmla="*/ 2147483647 w 162"/>
                <a:gd name="T33" fmla="*/ 0 h 59"/>
                <a:gd name="T34" fmla="*/ 2147483647 w 162"/>
                <a:gd name="T35" fmla="*/ 0 h 59"/>
                <a:gd name="T36" fmla="*/ 2147483647 w 162"/>
                <a:gd name="T37" fmla="*/ 0 h 59"/>
                <a:gd name="T38" fmla="*/ 2147483647 w 162"/>
                <a:gd name="T39" fmla="*/ 0 h 59"/>
                <a:gd name="T40" fmla="*/ 2147483647 w 162"/>
                <a:gd name="T41" fmla="*/ 0 h 59"/>
                <a:gd name="T42" fmla="*/ 2147483647 w 162"/>
                <a:gd name="T43" fmla="*/ 0 h 59"/>
                <a:gd name="T44" fmla="*/ 2147483647 w 162"/>
                <a:gd name="T45" fmla="*/ 0 h 59"/>
                <a:gd name="T46" fmla="*/ 2147483647 w 162"/>
                <a:gd name="T47" fmla="*/ 0 h 59"/>
                <a:gd name="T48" fmla="*/ 2147483647 w 162"/>
                <a:gd name="T49" fmla="*/ 0 h 59"/>
                <a:gd name="T50" fmla="*/ 2147483647 w 162"/>
                <a:gd name="T51" fmla="*/ 0 h 59"/>
                <a:gd name="T52" fmla="*/ 2147483647 w 162"/>
                <a:gd name="T53" fmla="*/ 0 h 59"/>
                <a:gd name="T54" fmla="*/ 2147483647 w 162"/>
                <a:gd name="T55" fmla="*/ 0 h 59"/>
                <a:gd name="T56" fmla="*/ 2147483647 w 162"/>
                <a:gd name="T57" fmla="*/ 0 h 59"/>
                <a:gd name="T58" fmla="*/ 2147483647 w 162"/>
                <a:gd name="T59" fmla="*/ 0 h 59"/>
                <a:gd name="T60" fmla="*/ 2147483647 w 162"/>
                <a:gd name="T61" fmla="*/ 0 h 59"/>
                <a:gd name="T62" fmla="*/ 2147483647 w 162"/>
                <a:gd name="T63" fmla="*/ 0 h 59"/>
                <a:gd name="T64" fmla="*/ 0 w 162"/>
                <a:gd name="T65" fmla="*/ 0 h 59"/>
                <a:gd name="T66" fmla="*/ 0 w 162"/>
                <a:gd name="T67" fmla="*/ 0 h 59"/>
                <a:gd name="T68" fmla="*/ 0 w 162"/>
                <a:gd name="T69" fmla="*/ 0 h 59"/>
                <a:gd name="T70" fmla="*/ 0 w 162"/>
                <a:gd name="T71" fmla="*/ 0 h 59"/>
                <a:gd name="T72" fmla="*/ 0 w 162"/>
                <a:gd name="T73" fmla="*/ 0 h 59"/>
                <a:gd name="T74" fmla="*/ 0 w 162"/>
                <a:gd name="T75" fmla="*/ 0 h 59"/>
                <a:gd name="T76" fmla="*/ 0 w 162"/>
                <a:gd name="T77" fmla="*/ 0 h 5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62"/>
                <a:gd name="T118" fmla="*/ 0 h 59"/>
                <a:gd name="T119" fmla="*/ 162 w 162"/>
                <a:gd name="T120" fmla="*/ 59 h 59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62" h="59">
                  <a:moveTo>
                    <a:pt x="3" y="38"/>
                  </a:moveTo>
                  <a:lnTo>
                    <a:pt x="1" y="37"/>
                  </a:lnTo>
                  <a:lnTo>
                    <a:pt x="0" y="24"/>
                  </a:lnTo>
                  <a:lnTo>
                    <a:pt x="2" y="18"/>
                  </a:lnTo>
                  <a:lnTo>
                    <a:pt x="7" y="14"/>
                  </a:lnTo>
                  <a:lnTo>
                    <a:pt x="12" y="8"/>
                  </a:lnTo>
                  <a:lnTo>
                    <a:pt x="17" y="3"/>
                  </a:lnTo>
                  <a:lnTo>
                    <a:pt x="43" y="5"/>
                  </a:lnTo>
                  <a:lnTo>
                    <a:pt x="54" y="4"/>
                  </a:lnTo>
                  <a:lnTo>
                    <a:pt x="63" y="2"/>
                  </a:lnTo>
                  <a:lnTo>
                    <a:pt x="70" y="5"/>
                  </a:lnTo>
                  <a:lnTo>
                    <a:pt x="88" y="0"/>
                  </a:lnTo>
                  <a:lnTo>
                    <a:pt x="99" y="4"/>
                  </a:lnTo>
                  <a:lnTo>
                    <a:pt x="108" y="11"/>
                  </a:lnTo>
                  <a:lnTo>
                    <a:pt x="116" y="13"/>
                  </a:lnTo>
                  <a:lnTo>
                    <a:pt x="125" y="13"/>
                  </a:lnTo>
                  <a:lnTo>
                    <a:pt x="132" y="10"/>
                  </a:lnTo>
                  <a:lnTo>
                    <a:pt x="142" y="14"/>
                  </a:lnTo>
                  <a:lnTo>
                    <a:pt x="148" y="30"/>
                  </a:lnTo>
                  <a:lnTo>
                    <a:pt x="152" y="35"/>
                  </a:lnTo>
                  <a:lnTo>
                    <a:pt x="160" y="37"/>
                  </a:lnTo>
                  <a:lnTo>
                    <a:pt x="162" y="50"/>
                  </a:lnTo>
                  <a:lnTo>
                    <a:pt x="157" y="59"/>
                  </a:lnTo>
                  <a:lnTo>
                    <a:pt x="149" y="54"/>
                  </a:lnTo>
                  <a:lnTo>
                    <a:pt x="108" y="32"/>
                  </a:lnTo>
                  <a:lnTo>
                    <a:pt x="98" y="30"/>
                  </a:lnTo>
                  <a:lnTo>
                    <a:pt x="88" y="30"/>
                  </a:lnTo>
                  <a:lnTo>
                    <a:pt x="88" y="35"/>
                  </a:lnTo>
                  <a:lnTo>
                    <a:pt x="83" y="36"/>
                  </a:lnTo>
                  <a:lnTo>
                    <a:pt x="72" y="35"/>
                  </a:lnTo>
                  <a:lnTo>
                    <a:pt x="62" y="34"/>
                  </a:lnTo>
                  <a:lnTo>
                    <a:pt x="54" y="26"/>
                  </a:lnTo>
                  <a:lnTo>
                    <a:pt x="45" y="30"/>
                  </a:lnTo>
                  <a:lnTo>
                    <a:pt x="41" y="35"/>
                  </a:lnTo>
                  <a:lnTo>
                    <a:pt x="34" y="37"/>
                  </a:lnTo>
                  <a:lnTo>
                    <a:pt x="24" y="32"/>
                  </a:lnTo>
                  <a:lnTo>
                    <a:pt x="13" y="21"/>
                  </a:lnTo>
                  <a:lnTo>
                    <a:pt x="11" y="24"/>
                  </a:lnTo>
                  <a:lnTo>
                    <a:pt x="3" y="3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89" name="Freeform 86">
              <a:extLst>
                <a:ext uri="{FF2B5EF4-FFF2-40B4-BE49-F238E27FC236}">
                  <a16:creationId xmlns:a16="http://schemas.microsoft.com/office/drawing/2014/main" id="{4C5D0C47-A919-0E98-158E-BCBE04CBEFB2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250329" y="4287648"/>
              <a:ext cx="186542" cy="230157"/>
            </a:xfrm>
            <a:custGeom>
              <a:avLst/>
              <a:gdLst>
                <a:gd name="T0" fmla="*/ 2147483647 w 345"/>
                <a:gd name="T1" fmla="*/ 0 h 404"/>
                <a:gd name="T2" fmla="*/ 2147483647 w 345"/>
                <a:gd name="T3" fmla="*/ 0 h 404"/>
                <a:gd name="T4" fmla="*/ 2147483647 w 345"/>
                <a:gd name="T5" fmla="*/ 0 h 404"/>
                <a:gd name="T6" fmla="*/ 2147483647 w 345"/>
                <a:gd name="T7" fmla="*/ 0 h 404"/>
                <a:gd name="T8" fmla="*/ 2147483647 w 345"/>
                <a:gd name="T9" fmla="*/ 0 h 404"/>
                <a:gd name="T10" fmla="*/ 2147483647 w 345"/>
                <a:gd name="T11" fmla="*/ 0 h 404"/>
                <a:gd name="T12" fmla="*/ 2147483647 w 345"/>
                <a:gd name="T13" fmla="*/ 0 h 404"/>
                <a:gd name="T14" fmla="*/ 2147483647 w 345"/>
                <a:gd name="T15" fmla="*/ 0 h 404"/>
                <a:gd name="T16" fmla="*/ 2147483647 w 345"/>
                <a:gd name="T17" fmla="*/ 0 h 404"/>
                <a:gd name="T18" fmla="*/ 2147483647 w 345"/>
                <a:gd name="T19" fmla="*/ 0 h 404"/>
                <a:gd name="T20" fmla="*/ 2147483647 w 345"/>
                <a:gd name="T21" fmla="*/ 2147483647 h 404"/>
                <a:gd name="T22" fmla="*/ 2147483647 w 345"/>
                <a:gd name="T23" fmla="*/ 0 h 404"/>
                <a:gd name="T24" fmla="*/ 2147483647 w 345"/>
                <a:gd name="T25" fmla="*/ 0 h 404"/>
                <a:gd name="T26" fmla="*/ 2147483647 w 345"/>
                <a:gd name="T27" fmla="*/ 0 h 404"/>
                <a:gd name="T28" fmla="*/ 2147483647 w 345"/>
                <a:gd name="T29" fmla="*/ 0 h 404"/>
                <a:gd name="T30" fmla="*/ 2147483647 w 345"/>
                <a:gd name="T31" fmla="*/ 0 h 404"/>
                <a:gd name="T32" fmla="*/ 2147483647 w 345"/>
                <a:gd name="T33" fmla="*/ 2147483647 h 404"/>
                <a:gd name="T34" fmla="*/ 2147483647 w 345"/>
                <a:gd name="T35" fmla="*/ 2147483647 h 404"/>
                <a:gd name="T36" fmla="*/ 2147483647 w 345"/>
                <a:gd name="T37" fmla="*/ 2147483647 h 404"/>
                <a:gd name="T38" fmla="*/ 2147483647 w 345"/>
                <a:gd name="T39" fmla="*/ 2147483647 h 404"/>
                <a:gd name="T40" fmla="*/ 2147483647 w 345"/>
                <a:gd name="T41" fmla="*/ 2147483647 h 404"/>
                <a:gd name="T42" fmla="*/ 2147483647 w 345"/>
                <a:gd name="T43" fmla="*/ 2147483647 h 404"/>
                <a:gd name="T44" fmla="*/ 2147483647 w 345"/>
                <a:gd name="T45" fmla="*/ 2147483647 h 404"/>
                <a:gd name="T46" fmla="*/ 2147483647 w 345"/>
                <a:gd name="T47" fmla="*/ 2147483647 h 404"/>
                <a:gd name="T48" fmla="*/ 2147483647 w 345"/>
                <a:gd name="T49" fmla="*/ 2147483647 h 404"/>
                <a:gd name="T50" fmla="*/ 2147483647 w 345"/>
                <a:gd name="T51" fmla="*/ 2147483647 h 404"/>
                <a:gd name="T52" fmla="*/ 2147483647 w 345"/>
                <a:gd name="T53" fmla="*/ 2147483647 h 404"/>
                <a:gd name="T54" fmla="*/ 2147483647 w 345"/>
                <a:gd name="T55" fmla="*/ 2147483647 h 404"/>
                <a:gd name="T56" fmla="*/ 2147483647 w 345"/>
                <a:gd name="T57" fmla="*/ 2147483647 h 404"/>
                <a:gd name="T58" fmla="*/ 2147483647 w 345"/>
                <a:gd name="T59" fmla="*/ 2147483647 h 404"/>
                <a:gd name="T60" fmla="*/ 2147483647 w 345"/>
                <a:gd name="T61" fmla="*/ 2147483647 h 404"/>
                <a:gd name="T62" fmla="*/ 2147483647 w 345"/>
                <a:gd name="T63" fmla="*/ 2147483647 h 404"/>
                <a:gd name="T64" fmla="*/ 2147483647 w 345"/>
                <a:gd name="T65" fmla="*/ 2147483647 h 404"/>
                <a:gd name="T66" fmla="*/ 2147483647 w 345"/>
                <a:gd name="T67" fmla="*/ 2147483647 h 404"/>
                <a:gd name="T68" fmla="*/ 2147483647 w 345"/>
                <a:gd name="T69" fmla="*/ 2147483647 h 404"/>
                <a:gd name="T70" fmla="*/ 2147483647 w 345"/>
                <a:gd name="T71" fmla="*/ 2147483647 h 404"/>
                <a:gd name="T72" fmla="*/ 2147483647 w 345"/>
                <a:gd name="T73" fmla="*/ 2147483647 h 404"/>
                <a:gd name="T74" fmla="*/ 2147483647 w 345"/>
                <a:gd name="T75" fmla="*/ 2147483647 h 404"/>
                <a:gd name="T76" fmla="*/ 2147483647 w 345"/>
                <a:gd name="T77" fmla="*/ 2147483647 h 404"/>
                <a:gd name="T78" fmla="*/ 2147483647 w 345"/>
                <a:gd name="T79" fmla="*/ 2147483647 h 404"/>
                <a:gd name="T80" fmla="*/ 2147483647 w 345"/>
                <a:gd name="T81" fmla="*/ 2147483647 h 404"/>
                <a:gd name="T82" fmla="*/ 2147483647 w 345"/>
                <a:gd name="T83" fmla="*/ 2147483647 h 404"/>
                <a:gd name="T84" fmla="*/ 2147483647 w 345"/>
                <a:gd name="T85" fmla="*/ 2147483647 h 404"/>
                <a:gd name="T86" fmla="*/ 0 w 345"/>
                <a:gd name="T87" fmla="*/ 2147483647 h 404"/>
                <a:gd name="T88" fmla="*/ 0 w 345"/>
                <a:gd name="T89" fmla="*/ 2147483647 h 404"/>
                <a:gd name="T90" fmla="*/ 0 w 345"/>
                <a:gd name="T91" fmla="*/ 2147483647 h 404"/>
                <a:gd name="T92" fmla="*/ 0 w 345"/>
                <a:gd name="T93" fmla="*/ 2147483647 h 404"/>
                <a:gd name="T94" fmla="*/ 0 w 345"/>
                <a:gd name="T95" fmla="*/ 2147483647 h 404"/>
                <a:gd name="T96" fmla="*/ 0 w 345"/>
                <a:gd name="T97" fmla="*/ 2147483647 h 404"/>
                <a:gd name="T98" fmla="*/ 2147483647 w 345"/>
                <a:gd name="T99" fmla="*/ 2147483647 h 404"/>
                <a:gd name="T100" fmla="*/ 0 w 345"/>
                <a:gd name="T101" fmla="*/ 2147483647 h 404"/>
                <a:gd name="T102" fmla="*/ 2147483647 w 345"/>
                <a:gd name="T103" fmla="*/ 2147483647 h 404"/>
                <a:gd name="T104" fmla="*/ 2147483647 w 345"/>
                <a:gd name="T105" fmla="*/ 0 h 404"/>
                <a:gd name="T106" fmla="*/ 2147483647 w 345"/>
                <a:gd name="T107" fmla="*/ 0 h 404"/>
                <a:gd name="T108" fmla="*/ 2147483647 w 345"/>
                <a:gd name="T109" fmla="*/ 0 h 4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45"/>
                <a:gd name="T166" fmla="*/ 0 h 404"/>
                <a:gd name="T167" fmla="*/ 345 w 345"/>
                <a:gd name="T168" fmla="*/ 404 h 40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45" h="404">
                  <a:moveTo>
                    <a:pt x="120" y="22"/>
                  </a:moveTo>
                  <a:lnTo>
                    <a:pt x="139" y="24"/>
                  </a:lnTo>
                  <a:lnTo>
                    <a:pt x="141" y="30"/>
                  </a:lnTo>
                  <a:lnTo>
                    <a:pt x="147" y="35"/>
                  </a:lnTo>
                  <a:lnTo>
                    <a:pt x="155" y="36"/>
                  </a:lnTo>
                  <a:lnTo>
                    <a:pt x="163" y="33"/>
                  </a:lnTo>
                  <a:lnTo>
                    <a:pt x="169" y="33"/>
                  </a:lnTo>
                  <a:lnTo>
                    <a:pt x="178" y="35"/>
                  </a:lnTo>
                  <a:lnTo>
                    <a:pt x="184" y="36"/>
                  </a:lnTo>
                  <a:lnTo>
                    <a:pt x="193" y="36"/>
                  </a:lnTo>
                  <a:lnTo>
                    <a:pt x="201" y="38"/>
                  </a:lnTo>
                  <a:lnTo>
                    <a:pt x="205" y="43"/>
                  </a:lnTo>
                  <a:lnTo>
                    <a:pt x="216" y="47"/>
                  </a:lnTo>
                  <a:lnTo>
                    <a:pt x="222" y="46"/>
                  </a:lnTo>
                  <a:lnTo>
                    <a:pt x="229" y="42"/>
                  </a:lnTo>
                  <a:lnTo>
                    <a:pt x="237" y="41"/>
                  </a:lnTo>
                  <a:lnTo>
                    <a:pt x="274" y="46"/>
                  </a:lnTo>
                  <a:lnTo>
                    <a:pt x="288" y="42"/>
                  </a:lnTo>
                  <a:lnTo>
                    <a:pt x="309" y="21"/>
                  </a:lnTo>
                  <a:lnTo>
                    <a:pt x="317" y="16"/>
                  </a:lnTo>
                  <a:lnTo>
                    <a:pt x="325" y="6"/>
                  </a:lnTo>
                  <a:lnTo>
                    <a:pt x="335" y="0"/>
                  </a:lnTo>
                  <a:lnTo>
                    <a:pt x="341" y="2"/>
                  </a:lnTo>
                  <a:lnTo>
                    <a:pt x="344" y="4"/>
                  </a:lnTo>
                  <a:lnTo>
                    <a:pt x="345" y="13"/>
                  </a:lnTo>
                  <a:lnTo>
                    <a:pt x="344" y="20"/>
                  </a:lnTo>
                  <a:lnTo>
                    <a:pt x="339" y="30"/>
                  </a:lnTo>
                  <a:lnTo>
                    <a:pt x="323" y="47"/>
                  </a:lnTo>
                  <a:lnTo>
                    <a:pt x="313" y="60"/>
                  </a:lnTo>
                  <a:lnTo>
                    <a:pt x="303" y="69"/>
                  </a:lnTo>
                  <a:lnTo>
                    <a:pt x="293" y="75"/>
                  </a:lnTo>
                  <a:lnTo>
                    <a:pt x="280" y="75"/>
                  </a:lnTo>
                  <a:lnTo>
                    <a:pt x="268" y="78"/>
                  </a:lnTo>
                  <a:lnTo>
                    <a:pt x="245" y="78"/>
                  </a:lnTo>
                  <a:lnTo>
                    <a:pt x="234" y="70"/>
                  </a:lnTo>
                  <a:lnTo>
                    <a:pt x="218" y="68"/>
                  </a:lnTo>
                  <a:lnTo>
                    <a:pt x="201" y="68"/>
                  </a:lnTo>
                  <a:lnTo>
                    <a:pt x="178" y="69"/>
                  </a:lnTo>
                  <a:lnTo>
                    <a:pt x="164" y="72"/>
                  </a:lnTo>
                  <a:lnTo>
                    <a:pt x="156" y="68"/>
                  </a:lnTo>
                  <a:lnTo>
                    <a:pt x="148" y="68"/>
                  </a:lnTo>
                  <a:lnTo>
                    <a:pt x="145" y="69"/>
                  </a:lnTo>
                  <a:lnTo>
                    <a:pt x="135" y="67"/>
                  </a:lnTo>
                  <a:lnTo>
                    <a:pt x="130" y="68"/>
                  </a:lnTo>
                  <a:lnTo>
                    <a:pt x="121" y="72"/>
                  </a:lnTo>
                  <a:lnTo>
                    <a:pt x="109" y="72"/>
                  </a:lnTo>
                  <a:lnTo>
                    <a:pt x="98" y="69"/>
                  </a:lnTo>
                  <a:lnTo>
                    <a:pt x="87" y="69"/>
                  </a:lnTo>
                  <a:lnTo>
                    <a:pt x="77" y="80"/>
                  </a:lnTo>
                  <a:lnTo>
                    <a:pt x="70" y="94"/>
                  </a:lnTo>
                  <a:lnTo>
                    <a:pt x="67" y="107"/>
                  </a:lnTo>
                  <a:lnTo>
                    <a:pt x="67" y="137"/>
                  </a:lnTo>
                  <a:lnTo>
                    <a:pt x="75" y="144"/>
                  </a:lnTo>
                  <a:lnTo>
                    <a:pt x="86" y="148"/>
                  </a:lnTo>
                  <a:lnTo>
                    <a:pt x="100" y="171"/>
                  </a:lnTo>
                  <a:lnTo>
                    <a:pt x="121" y="170"/>
                  </a:lnTo>
                  <a:lnTo>
                    <a:pt x="124" y="164"/>
                  </a:lnTo>
                  <a:lnTo>
                    <a:pt x="132" y="156"/>
                  </a:lnTo>
                  <a:lnTo>
                    <a:pt x="140" y="146"/>
                  </a:lnTo>
                  <a:lnTo>
                    <a:pt x="151" y="143"/>
                  </a:lnTo>
                  <a:lnTo>
                    <a:pt x="159" y="145"/>
                  </a:lnTo>
                  <a:lnTo>
                    <a:pt x="163" y="145"/>
                  </a:lnTo>
                  <a:lnTo>
                    <a:pt x="172" y="148"/>
                  </a:lnTo>
                  <a:lnTo>
                    <a:pt x="177" y="140"/>
                  </a:lnTo>
                  <a:lnTo>
                    <a:pt x="193" y="138"/>
                  </a:lnTo>
                  <a:lnTo>
                    <a:pt x="215" y="138"/>
                  </a:lnTo>
                  <a:lnTo>
                    <a:pt x="217" y="129"/>
                  </a:lnTo>
                  <a:lnTo>
                    <a:pt x="233" y="124"/>
                  </a:lnTo>
                  <a:lnTo>
                    <a:pt x="244" y="124"/>
                  </a:lnTo>
                  <a:lnTo>
                    <a:pt x="250" y="133"/>
                  </a:lnTo>
                  <a:lnTo>
                    <a:pt x="249" y="144"/>
                  </a:lnTo>
                  <a:lnTo>
                    <a:pt x="243" y="150"/>
                  </a:lnTo>
                  <a:lnTo>
                    <a:pt x="231" y="144"/>
                  </a:lnTo>
                  <a:lnTo>
                    <a:pt x="218" y="146"/>
                  </a:lnTo>
                  <a:lnTo>
                    <a:pt x="198" y="172"/>
                  </a:lnTo>
                  <a:lnTo>
                    <a:pt x="189" y="180"/>
                  </a:lnTo>
                  <a:lnTo>
                    <a:pt x="173" y="187"/>
                  </a:lnTo>
                  <a:lnTo>
                    <a:pt x="166" y="189"/>
                  </a:lnTo>
                  <a:lnTo>
                    <a:pt x="155" y="196"/>
                  </a:lnTo>
                  <a:lnTo>
                    <a:pt x="150" y="197"/>
                  </a:lnTo>
                  <a:lnTo>
                    <a:pt x="137" y="193"/>
                  </a:lnTo>
                  <a:lnTo>
                    <a:pt x="139" y="203"/>
                  </a:lnTo>
                  <a:lnTo>
                    <a:pt x="152" y="212"/>
                  </a:lnTo>
                  <a:lnTo>
                    <a:pt x="180" y="251"/>
                  </a:lnTo>
                  <a:lnTo>
                    <a:pt x="185" y="252"/>
                  </a:lnTo>
                  <a:lnTo>
                    <a:pt x="190" y="263"/>
                  </a:lnTo>
                  <a:lnTo>
                    <a:pt x="196" y="271"/>
                  </a:lnTo>
                  <a:lnTo>
                    <a:pt x="193" y="277"/>
                  </a:lnTo>
                  <a:lnTo>
                    <a:pt x="185" y="279"/>
                  </a:lnTo>
                  <a:lnTo>
                    <a:pt x="184" y="286"/>
                  </a:lnTo>
                  <a:lnTo>
                    <a:pt x="185" y="293"/>
                  </a:lnTo>
                  <a:lnTo>
                    <a:pt x="198" y="301"/>
                  </a:lnTo>
                  <a:lnTo>
                    <a:pt x="202" y="309"/>
                  </a:lnTo>
                  <a:lnTo>
                    <a:pt x="202" y="317"/>
                  </a:lnTo>
                  <a:lnTo>
                    <a:pt x="209" y="321"/>
                  </a:lnTo>
                  <a:lnTo>
                    <a:pt x="216" y="320"/>
                  </a:lnTo>
                  <a:lnTo>
                    <a:pt x="218" y="328"/>
                  </a:lnTo>
                  <a:lnTo>
                    <a:pt x="215" y="332"/>
                  </a:lnTo>
                  <a:lnTo>
                    <a:pt x="211" y="337"/>
                  </a:lnTo>
                  <a:lnTo>
                    <a:pt x="196" y="337"/>
                  </a:lnTo>
                  <a:lnTo>
                    <a:pt x="182" y="341"/>
                  </a:lnTo>
                  <a:lnTo>
                    <a:pt x="175" y="354"/>
                  </a:lnTo>
                  <a:lnTo>
                    <a:pt x="166" y="360"/>
                  </a:lnTo>
                  <a:lnTo>
                    <a:pt x="150" y="359"/>
                  </a:lnTo>
                  <a:lnTo>
                    <a:pt x="146" y="348"/>
                  </a:lnTo>
                  <a:lnTo>
                    <a:pt x="145" y="333"/>
                  </a:lnTo>
                  <a:lnTo>
                    <a:pt x="148" y="321"/>
                  </a:lnTo>
                  <a:lnTo>
                    <a:pt x="143" y="314"/>
                  </a:lnTo>
                  <a:lnTo>
                    <a:pt x="131" y="305"/>
                  </a:lnTo>
                  <a:lnTo>
                    <a:pt x="120" y="294"/>
                  </a:lnTo>
                  <a:lnTo>
                    <a:pt x="113" y="280"/>
                  </a:lnTo>
                  <a:lnTo>
                    <a:pt x="121" y="264"/>
                  </a:lnTo>
                  <a:lnTo>
                    <a:pt x="121" y="253"/>
                  </a:lnTo>
                  <a:lnTo>
                    <a:pt x="119" y="245"/>
                  </a:lnTo>
                  <a:lnTo>
                    <a:pt x="116" y="239"/>
                  </a:lnTo>
                  <a:lnTo>
                    <a:pt x="105" y="237"/>
                  </a:lnTo>
                  <a:lnTo>
                    <a:pt x="92" y="245"/>
                  </a:lnTo>
                  <a:lnTo>
                    <a:pt x="81" y="253"/>
                  </a:lnTo>
                  <a:lnTo>
                    <a:pt x="76" y="267"/>
                  </a:lnTo>
                  <a:lnTo>
                    <a:pt x="83" y="280"/>
                  </a:lnTo>
                  <a:lnTo>
                    <a:pt x="83" y="294"/>
                  </a:lnTo>
                  <a:lnTo>
                    <a:pt x="82" y="344"/>
                  </a:lnTo>
                  <a:lnTo>
                    <a:pt x="86" y="354"/>
                  </a:lnTo>
                  <a:lnTo>
                    <a:pt x="80" y="368"/>
                  </a:lnTo>
                  <a:lnTo>
                    <a:pt x="81" y="384"/>
                  </a:lnTo>
                  <a:lnTo>
                    <a:pt x="85" y="397"/>
                  </a:lnTo>
                  <a:lnTo>
                    <a:pt x="82" y="400"/>
                  </a:lnTo>
                  <a:lnTo>
                    <a:pt x="67" y="401"/>
                  </a:lnTo>
                  <a:lnTo>
                    <a:pt x="55" y="404"/>
                  </a:lnTo>
                  <a:lnTo>
                    <a:pt x="42" y="403"/>
                  </a:lnTo>
                  <a:lnTo>
                    <a:pt x="33" y="398"/>
                  </a:lnTo>
                  <a:lnTo>
                    <a:pt x="27" y="384"/>
                  </a:lnTo>
                  <a:lnTo>
                    <a:pt x="34" y="363"/>
                  </a:lnTo>
                  <a:lnTo>
                    <a:pt x="35" y="350"/>
                  </a:lnTo>
                  <a:lnTo>
                    <a:pt x="43" y="316"/>
                  </a:lnTo>
                  <a:lnTo>
                    <a:pt x="39" y="310"/>
                  </a:lnTo>
                  <a:lnTo>
                    <a:pt x="34" y="284"/>
                  </a:lnTo>
                  <a:lnTo>
                    <a:pt x="22" y="284"/>
                  </a:lnTo>
                  <a:lnTo>
                    <a:pt x="11" y="285"/>
                  </a:lnTo>
                  <a:lnTo>
                    <a:pt x="2" y="273"/>
                  </a:lnTo>
                  <a:lnTo>
                    <a:pt x="0" y="259"/>
                  </a:lnTo>
                  <a:lnTo>
                    <a:pt x="1" y="240"/>
                  </a:lnTo>
                  <a:lnTo>
                    <a:pt x="12" y="226"/>
                  </a:lnTo>
                  <a:lnTo>
                    <a:pt x="18" y="210"/>
                  </a:lnTo>
                  <a:lnTo>
                    <a:pt x="26" y="196"/>
                  </a:lnTo>
                  <a:lnTo>
                    <a:pt x="24" y="166"/>
                  </a:lnTo>
                  <a:lnTo>
                    <a:pt x="37" y="144"/>
                  </a:lnTo>
                  <a:lnTo>
                    <a:pt x="44" y="137"/>
                  </a:lnTo>
                  <a:lnTo>
                    <a:pt x="49" y="128"/>
                  </a:lnTo>
                  <a:lnTo>
                    <a:pt x="51" y="138"/>
                  </a:lnTo>
                  <a:lnTo>
                    <a:pt x="54" y="126"/>
                  </a:lnTo>
                  <a:lnTo>
                    <a:pt x="53" y="105"/>
                  </a:lnTo>
                  <a:lnTo>
                    <a:pt x="45" y="97"/>
                  </a:lnTo>
                  <a:lnTo>
                    <a:pt x="48" y="97"/>
                  </a:lnTo>
                  <a:lnTo>
                    <a:pt x="55" y="86"/>
                  </a:lnTo>
                  <a:lnTo>
                    <a:pt x="55" y="80"/>
                  </a:lnTo>
                  <a:lnTo>
                    <a:pt x="57" y="69"/>
                  </a:lnTo>
                  <a:lnTo>
                    <a:pt x="62" y="58"/>
                  </a:lnTo>
                  <a:lnTo>
                    <a:pt x="73" y="46"/>
                  </a:lnTo>
                  <a:lnTo>
                    <a:pt x="78" y="46"/>
                  </a:lnTo>
                  <a:lnTo>
                    <a:pt x="86" y="52"/>
                  </a:lnTo>
                  <a:lnTo>
                    <a:pt x="93" y="51"/>
                  </a:lnTo>
                  <a:lnTo>
                    <a:pt x="102" y="40"/>
                  </a:lnTo>
                  <a:lnTo>
                    <a:pt x="104" y="27"/>
                  </a:lnTo>
                  <a:lnTo>
                    <a:pt x="110" y="24"/>
                  </a:lnTo>
                  <a:lnTo>
                    <a:pt x="120" y="2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90" name="Freeform 87">
              <a:extLst>
                <a:ext uri="{FF2B5EF4-FFF2-40B4-BE49-F238E27FC236}">
                  <a16:creationId xmlns:a16="http://schemas.microsoft.com/office/drawing/2014/main" id="{5B845DDC-589C-7520-05AD-1284727D57C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499550" y="4270882"/>
              <a:ext cx="43278" cy="96025"/>
            </a:xfrm>
            <a:custGeom>
              <a:avLst/>
              <a:gdLst>
                <a:gd name="T0" fmla="*/ 0 w 80"/>
                <a:gd name="T1" fmla="*/ 0 h 170"/>
                <a:gd name="T2" fmla="*/ 0 w 80"/>
                <a:gd name="T3" fmla="*/ 0 h 170"/>
                <a:gd name="T4" fmla="*/ 0 w 80"/>
                <a:gd name="T5" fmla="*/ 0 h 170"/>
                <a:gd name="T6" fmla="*/ 0 w 80"/>
                <a:gd name="T7" fmla="*/ 0 h 170"/>
                <a:gd name="T8" fmla="*/ 0 w 80"/>
                <a:gd name="T9" fmla="*/ 0 h 170"/>
                <a:gd name="T10" fmla="*/ 0 w 80"/>
                <a:gd name="T11" fmla="*/ 0 h 170"/>
                <a:gd name="T12" fmla="*/ 0 w 80"/>
                <a:gd name="T13" fmla="*/ 0 h 170"/>
                <a:gd name="T14" fmla="*/ 0 w 80"/>
                <a:gd name="T15" fmla="*/ 0 h 170"/>
                <a:gd name="T16" fmla="*/ 0 w 80"/>
                <a:gd name="T17" fmla="*/ 0 h 170"/>
                <a:gd name="T18" fmla="*/ 0 w 80"/>
                <a:gd name="T19" fmla="*/ 0 h 170"/>
                <a:gd name="T20" fmla="*/ 0 w 80"/>
                <a:gd name="T21" fmla="*/ 0 h 170"/>
                <a:gd name="T22" fmla="*/ 0 w 80"/>
                <a:gd name="T23" fmla="*/ 0 h 170"/>
                <a:gd name="T24" fmla="*/ 0 w 80"/>
                <a:gd name="T25" fmla="*/ 0 h 170"/>
                <a:gd name="T26" fmla="*/ 0 w 80"/>
                <a:gd name="T27" fmla="*/ 0 h 170"/>
                <a:gd name="T28" fmla="*/ 0 w 80"/>
                <a:gd name="T29" fmla="*/ 0 h 170"/>
                <a:gd name="T30" fmla="*/ 0 w 80"/>
                <a:gd name="T31" fmla="*/ 0 h 170"/>
                <a:gd name="T32" fmla="*/ 0 w 80"/>
                <a:gd name="T33" fmla="*/ 0 h 170"/>
                <a:gd name="T34" fmla="*/ 2147483647 w 80"/>
                <a:gd name="T35" fmla="*/ 0 h 170"/>
                <a:gd name="T36" fmla="*/ 2147483647 w 80"/>
                <a:gd name="T37" fmla="*/ 0 h 170"/>
                <a:gd name="T38" fmla="*/ 2147483647 w 80"/>
                <a:gd name="T39" fmla="*/ 0 h 170"/>
                <a:gd name="T40" fmla="*/ 2147483647 w 80"/>
                <a:gd name="T41" fmla="*/ 0 h 170"/>
                <a:gd name="T42" fmla="*/ 2147483647 w 80"/>
                <a:gd name="T43" fmla="*/ 0 h 170"/>
                <a:gd name="T44" fmla="*/ 2147483647 w 80"/>
                <a:gd name="T45" fmla="*/ 0 h 170"/>
                <a:gd name="T46" fmla="*/ 2147483647 w 80"/>
                <a:gd name="T47" fmla="*/ 2147483647 h 170"/>
                <a:gd name="T48" fmla="*/ 2147483647 w 80"/>
                <a:gd name="T49" fmla="*/ 2147483647 h 170"/>
                <a:gd name="T50" fmla="*/ 2147483647 w 80"/>
                <a:gd name="T51" fmla="*/ 2147483647 h 170"/>
                <a:gd name="T52" fmla="*/ 2147483647 w 80"/>
                <a:gd name="T53" fmla="*/ 2147483647 h 170"/>
                <a:gd name="T54" fmla="*/ 2147483647 w 80"/>
                <a:gd name="T55" fmla="*/ 2147483647 h 170"/>
                <a:gd name="T56" fmla="*/ 2147483647 w 80"/>
                <a:gd name="T57" fmla="*/ 2147483647 h 170"/>
                <a:gd name="T58" fmla="*/ 2147483647 w 80"/>
                <a:gd name="T59" fmla="*/ 2147483647 h 170"/>
                <a:gd name="T60" fmla="*/ 2147483647 w 80"/>
                <a:gd name="T61" fmla="*/ 2147483647 h 170"/>
                <a:gd name="T62" fmla="*/ 2147483647 w 80"/>
                <a:gd name="T63" fmla="*/ 2147483647 h 170"/>
                <a:gd name="T64" fmla="*/ 0 w 80"/>
                <a:gd name="T65" fmla="*/ 2147483647 h 170"/>
                <a:gd name="T66" fmla="*/ 0 w 80"/>
                <a:gd name="T67" fmla="*/ 2147483647 h 170"/>
                <a:gd name="T68" fmla="*/ 0 w 80"/>
                <a:gd name="T69" fmla="*/ 2147483647 h 170"/>
                <a:gd name="T70" fmla="*/ 0 w 80"/>
                <a:gd name="T71" fmla="*/ 2147483647 h 170"/>
                <a:gd name="T72" fmla="*/ 0 w 80"/>
                <a:gd name="T73" fmla="*/ 2147483647 h 170"/>
                <a:gd name="T74" fmla="*/ 0 w 80"/>
                <a:gd name="T75" fmla="*/ 2147483647 h 170"/>
                <a:gd name="T76" fmla="*/ 2147483647 w 80"/>
                <a:gd name="T77" fmla="*/ 2147483647 h 170"/>
                <a:gd name="T78" fmla="*/ 2147483647 w 80"/>
                <a:gd name="T79" fmla="*/ 2147483647 h 170"/>
                <a:gd name="T80" fmla="*/ 0 w 80"/>
                <a:gd name="T81" fmla="*/ 2147483647 h 170"/>
                <a:gd name="T82" fmla="*/ 0 w 80"/>
                <a:gd name="T83" fmla="*/ 2147483647 h 170"/>
                <a:gd name="T84" fmla="*/ 0 w 80"/>
                <a:gd name="T85" fmla="*/ 2147483647 h 170"/>
                <a:gd name="T86" fmla="*/ 0 w 80"/>
                <a:gd name="T87" fmla="*/ 2147483647 h 170"/>
                <a:gd name="T88" fmla="*/ 0 w 80"/>
                <a:gd name="T89" fmla="*/ 2147483647 h 170"/>
                <a:gd name="T90" fmla="*/ 0 w 80"/>
                <a:gd name="T91" fmla="*/ 0 h 170"/>
                <a:gd name="T92" fmla="*/ 0 w 80"/>
                <a:gd name="T93" fmla="*/ 0 h 170"/>
                <a:gd name="T94" fmla="*/ 0 w 80"/>
                <a:gd name="T95" fmla="*/ 0 h 170"/>
                <a:gd name="T96" fmla="*/ 0 w 80"/>
                <a:gd name="T97" fmla="*/ 0 h 170"/>
                <a:gd name="T98" fmla="*/ 0 w 80"/>
                <a:gd name="T99" fmla="*/ 0 h 170"/>
                <a:gd name="T100" fmla="*/ 0 w 80"/>
                <a:gd name="T101" fmla="*/ 0 h 170"/>
                <a:gd name="T102" fmla="*/ 0 w 80"/>
                <a:gd name="T103" fmla="*/ 0 h 170"/>
                <a:gd name="T104" fmla="*/ 0 w 80"/>
                <a:gd name="T105" fmla="*/ 0 h 17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80"/>
                <a:gd name="T160" fmla="*/ 0 h 170"/>
                <a:gd name="T161" fmla="*/ 80 w 80"/>
                <a:gd name="T162" fmla="*/ 170 h 17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80" h="170">
                  <a:moveTo>
                    <a:pt x="31" y="0"/>
                  </a:moveTo>
                  <a:lnTo>
                    <a:pt x="32" y="0"/>
                  </a:lnTo>
                  <a:lnTo>
                    <a:pt x="34" y="2"/>
                  </a:lnTo>
                  <a:lnTo>
                    <a:pt x="36" y="6"/>
                  </a:lnTo>
                  <a:lnTo>
                    <a:pt x="31" y="14"/>
                  </a:lnTo>
                  <a:lnTo>
                    <a:pt x="27" y="17"/>
                  </a:lnTo>
                  <a:lnTo>
                    <a:pt x="26" y="21"/>
                  </a:lnTo>
                  <a:lnTo>
                    <a:pt x="31" y="25"/>
                  </a:lnTo>
                  <a:lnTo>
                    <a:pt x="34" y="36"/>
                  </a:lnTo>
                  <a:lnTo>
                    <a:pt x="36" y="45"/>
                  </a:lnTo>
                  <a:lnTo>
                    <a:pt x="34" y="53"/>
                  </a:lnTo>
                  <a:lnTo>
                    <a:pt x="22" y="65"/>
                  </a:lnTo>
                  <a:lnTo>
                    <a:pt x="15" y="72"/>
                  </a:lnTo>
                  <a:lnTo>
                    <a:pt x="15" y="74"/>
                  </a:lnTo>
                  <a:lnTo>
                    <a:pt x="22" y="75"/>
                  </a:lnTo>
                  <a:lnTo>
                    <a:pt x="28" y="69"/>
                  </a:lnTo>
                  <a:lnTo>
                    <a:pt x="37" y="63"/>
                  </a:lnTo>
                  <a:lnTo>
                    <a:pt x="47" y="45"/>
                  </a:lnTo>
                  <a:lnTo>
                    <a:pt x="57" y="40"/>
                  </a:lnTo>
                  <a:lnTo>
                    <a:pt x="68" y="38"/>
                  </a:lnTo>
                  <a:lnTo>
                    <a:pt x="70" y="41"/>
                  </a:lnTo>
                  <a:lnTo>
                    <a:pt x="74" y="49"/>
                  </a:lnTo>
                  <a:lnTo>
                    <a:pt x="74" y="63"/>
                  </a:lnTo>
                  <a:lnTo>
                    <a:pt x="52" y="78"/>
                  </a:lnTo>
                  <a:lnTo>
                    <a:pt x="52" y="81"/>
                  </a:lnTo>
                  <a:lnTo>
                    <a:pt x="69" y="92"/>
                  </a:lnTo>
                  <a:lnTo>
                    <a:pt x="70" y="99"/>
                  </a:lnTo>
                  <a:lnTo>
                    <a:pt x="74" y="103"/>
                  </a:lnTo>
                  <a:lnTo>
                    <a:pt x="80" y="107"/>
                  </a:lnTo>
                  <a:lnTo>
                    <a:pt x="70" y="108"/>
                  </a:lnTo>
                  <a:lnTo>
                    <a:pt x="62" y="102"/>
                  </a:lnTo>
                  <a:lnTo>
                    <a:pt x="47" y="100"/>
                  </a:lnTo>
                  <a:lnTo>
                    <a:pt x="36" y="96"/>
                  </a:lnTo>
                  <a:lnTo>
                    <a:pt x="31" y="102"/>
                  </a:lnTo>
                  <a:lnTo>
                    <a:pt x="30" y="118"/>
                  </a:lnTo>
                  <a:lnTo>
                    <a:pt x="32" y="137"/>
                  </a:lnTo>
                  <a:lnTo>
                    <a:pt x="37" y="146"/>
                  </a:lnTo>
                  <a:lnTo>
                    <a:pt x="43" y="158"/>
                  </a:lnTo>
                  <a:lnTo>
                    <a:pt x="54" y="170"/>
                  </a:lnTo>
                  <a:lnTo>
                    <a:pt x="49" y="170"/>
                  </a:lnTo>
                  <a:lnTo>
                    <a:pt x="39" y="160"/>
                  </a:lnTo>
                  <a:lnTo>
                    <a:pt x="21" y="137"/>
                  </a:lnTo>
                  <a:lnTo>
                    <a:pt x="17" y="106"/>
                  </a:lnTo>
                  <a:lnTo>
                    <a:pt x="12" y="92"/>
                  </a:lnTo>
                  <a:lnTo>
                    <a:pt x="12" y="80"/>
                  </a:lnTo>
                  <a:lnTo>
                    <a:pt x="10" y="72"/>
                  </a:lnTo>
                  <a:lnTo>
                    <a:pt x="5" y="68"/>
                  </a:lnTo>
                  <a:lnTo>
                    <a:pt x="0" y="59"/>
                  </a:lnTo>
                  <a:lnTo>
                    <a:pt x="1" y="49"/>
                  </a:lnTo>
                  <a:lnTo>
                    <a:pt x="3" y="48"/>
                  </a:lnTo>
                  <a:lnTo>
                    <a:pt x="10" y="25"/>
                  </a:lnTo>
                  <a:lnTo>
                    <a:pt x="15" y="15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91" name="Freeform 88">
              <a:extLst>
                <a:ext uri="{FF2B5EF4-FFF2-40B4-BE49-F238E27FC236}">
                  <a16:creationId xmlns:a16="http://schemas.microsoft.com/office/drawing/2014/main" id="{A748EA46-8F02-0858-D6AB-DCFB425B0792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604014" y="4351665"/>
              <a:ext cx="304438" cy="272836"/>
            </a:xfrm>
            <a:custGeom>
              <a:avLst/>
              <a:gdLst>
                <a:gd name="T0" fmla="*/ 2147483647 w 568"/>
                <a:gd name="T1" fmla="*/ 2147483647 h 480"/>
                <a:gd name="T2" fmla="*/ 2147483647 w 568"/>
                <a:gd name="T3" fmla="*/ 2147483647 h 480"/>
                <a:gd name="T4" fmla="*/ 2147483647 w 568"/>
                <a:gd name="T5" fmla="*/ 2147483647 h 480"/>
                <a:gd name="T6" fmla="*/ 2147483647 w 568"/>
                <a:gd name="T7" fmla="*/ 2147483647 h 480"/>
                <a:gd name="T8" fmla="*/ 2147483647 w 568"/>
                <a:gd name="T9" fmla="*/ 2147483647 h 480"/>
                <a:gd name="T10" fmla="*/ 2147483647 w 568"/>
                <a:gd name="T11" fmla="*/ 2147483647 h 480"/>
                <a:gd name="T12" fmla="*/ 2147483647 w 568"/>
                <a:gd name="T13" fmla="*/ 2147483647 h 480"/>
                <a:gd name="T14" fmla="*/ 2147483647 w 568"/>
                <a:gd name="T15" fmla="*/ 2147483647 h 480"/>
                <a:gd name="T16" fmla="*/ 2147483647 w 568"/>
                <a:gd name="T17" fmla="*/ 2147483647 h 480"/>
                <a:gd name="T18" fmla="*/ 2147483647 w 568"/>
                <a:gd name="T19" fmla="*/ 2147483647 h 480"/>
                <a:gd name="T20" fmla="*/ 2147483647 w 568"/>
                <a:gd name="T21" fmla="*/ 2147483647 h 480"/>
                <a:gd name="T22" fmla="*/ 2147483647 w 568"/>
                <a:gd name="T23" fmla="*/ 2147483647 h 480"/>
                <a:gd name="T24" fmla="*/ 2147483647 w 568"/>
                <a:gd name="T25" fmla="*/ 2147483647 h 480"/>
                <a:gd name="T26" fmla="*/ 2147483647 w 568"/>
                <a:gd name="T27" fmla="*/ 2147483647 h 480"/>
                <a:gd name="T28" fmla="*/ 2147483647 w 568"/>
                <a:gd name="T29" fmla="*/ 2147483647 h 480"/>
                <a:gd name="T30" fmla="*/ 2147483647 w 568"/>
                <a:gd name="T31" fmla="*/ 2147483647 h 480"/>
                <a:gd name="T32" fmla="*/ 2147483647 w 568"/>
                <a:gd name="T33" fmla="*/ 2147483647 h 480"/>
                <a:gd name="T34" fmla="*/ 2147483647 w 568"/>
                <a:gd name="T35" fmla="*/ 2147483647 h 480"/>
                <a:gd name="T36" fmla="*/ 2147483647 w 568"/>
                <a:gd name="T37" fmla="*/ 2147483647 h 480"/>
                <a:gd name="T38" fmla="*/ 2147483647 w 568"/>
                <a:gd name="T39" fmla="*/ 2147483647 h 480"/>
                <a:gd name="T40" fmla="*/ 2147483647 w 568"/>
                <a:gd name="T41" fmla="*/ 2147483647 h 480"/>
                <a:gd name="T42" fmla="*/ 2147483647 w 568"/>
                <a:gd name="T43" fmla="*/ 2147483647 h 480"/>
                <a:gd name="T44" fmla="*/ 2147483647 w 568"/>
                <a:gd name="T45" fmla="*/ 2147483647 h 480"/>
                <a:gd name="T46" fmla="*/ 2147483647 w 568"/>
                <a:gd name="T47" fmla="*/ 2147483647 h 480"/>
                <a:gd name="T48" fmla="*/ 2147483647 w 568"/>
                <a:gd name="T49" fmla="*/ 2147483647 h 480"/>
                <a:gd name="T50" fmla="*/ 2147483647 w 568"/>
                <a:gd name="T51" fmla="*/ 2147483647 h 480"/>
                <a:gd name="T52" fmla="*/ 2147483647 w 568"/>
                <a:gd name="T53" fmla="*/ 2147483647 h 480"/>
                <a:gd name="T54" fmla="*/ 2147483647 w 568"/>
                <a:gd name="T55" fmla="*/ 2147483647 h 480"/>
                <a:gd name="T56" fmla="*/ 2147483647 w 568"/>
                <a:gd name="T57" fmla="*/ 2147483647 h 480"/>
                <a:gd name="T58" fmla="*/ 0 w 568"/>
                <a:gd name="T59" fmla="*/ 0 h 480"/>
                <a:gd name="T60" fmla="*/ 0 w 568"/>
                <a:gd name="T61" fmla="*/ 0 h 480"/>
                <a:gd name="T62" fmla="*/ 0 w 568"/>
                <a:gd name="T63" fmla="*/ 0 h 480"/>
                <a:gd name="T64" fmla="*/ 2147483647 w 568"/>
                <a:gd name="T65" fmla="*/ 0 h 480"/>
                <a:gd name="T66" fmla="*/ 2147483647 w 568"/>
                <a:gd name="T67" fmla="*/ 0 h 480"/>
                <a:gd name="T68" fmla="*/ 2147483647 w 568"/>
                <a:gd name="T69" fmla="*/ 0 h 480"/>
                <a:gd name="T70" fmla="*/ 2147483647 w 568"/>
                <a:gd name="T71" fmla="*/ 2147483647 h 480"/>
                <a:gd name="T72" fmla="*/ 2147483647 w 568"/>
                <a:gd name="T73" fmla="*/ 2147483647 h 480"/>
                <a:gd name="T74" fmla="*/ 2147483647 w 568"/>
                <a:gd name="T75" fmla="*/ 2147483647 h 480"/>
                <a:gd name="T76" fmla="*/ 2147483647 w 568"/>
                <a:gd name="T77" fmla="*/ 2147483647 h 480"/>
                <a:gd name="T78" fmla="*/ 2147483647 w 568"/>
                <a:gd name="T79" fmla="*/ 2147483647 h 480"/>
                <a:gd name="T80" fmla="*/ 2147483647 w 568"/>
                <a:gd name="T81" fmla="*/ 2147483647 h 480"/>
                <a:gd name="T82" fmla="*/ 2147483647 w 568"/>
                <a:gd name="T83" fmla="*/ 0 h 480"/>
                <a:gd name="T84" fmla="*/ 2147483647 w 568"/>
                <a:gd name="T85" fmla="*/ 2147483647 h 480"/>
                <a:gd name="T86" fmla="*/ 2147483647 w 568"/>
                <a:gd name="T87" fmla="*/ 2147483647 h 480"/>
                <a:gd name="T88" fmla="*/ 2147483647 w 568"/>
                <a:gd name="T89" fmla="*/ 2147483647 h 480"/>
                <a:gd name="T90" fmla="*/ 2147483647 w 568"/>
                <a:gd name="T91" fmla="*/ 2147483647 h 480"/>
                <a:gd name="T92" fmla="*/ 2147483647 w 568"/>
                <a:gd name="T93" fmla="*/ 2147483647 h 480"/>
                <a:gd name="T94" fmla="*/ 2147483647 w 568"/>
                <a:gd name="T95" fmla="*/ 2147483647 h 480"/>
                <a:gd name="T96" fmla="*/ 2147483647 w 568"/>
                <a:gd name="T97" fmla="*/ 2147483647 h 480"/>
                <a:gd name="T98" fmla="*/ 2147483647 w 568"/>
                <a:gd name="T99" fmla="*/ 2147483647 h 48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68"/>
                <a:gd name="T151" fmla="*/ 0 h 480"/>
                <a:gd name="T152" fmla="*/ 568 w 568"/>
                <a:gd name="T153" fmla="*/ 480 h 48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68" h="480">
                  <a:moveTo>
                    <a:pt x="568" y="480"/>
                  </a:moveTo>
                  <a:lnTo>
                    <a:pt x="568" y="479"/>
                  </a:lnTo>
                  <a:lnTo>
                    <a:pt x="556" y="475"/>
                  </a:lnTo>
                  <a:lnTo>
                    <a:pt x="549" y="469"/>
                  </a:lnTo>
                  <a:lnTo>
                    <a:pt x="532" y="455"/>
                  </a:lnTo>
                  <a:lnTo>
                    <a:pt x="523" y="444"/>
                  </a:lnTo>
                  <a:lnTo>
                    <a:pt x="513" y="433"/>
                  </a:lnTo>
                  <a:lnTo>
                    <a:pt x="503" y="428"/>
                  </a:lnTo>
                  <a:lnTo>
                    <a:pt x="501" y="425"/>
                  </a:lnTo>
                  <a:lnTo>
                    <a:pt x="497" y="421"/>
                  </a:lnTo>
                  <a:lnTo>
                    <a:pt x="484" y="423"/>
                  </a:lnTo>
                  <a:lnTo>
                    <a:pt x="474" y="427"/>
                  </a:lnTo>
                  <a:lnTo>
                    <a:pt x="455" y="423"/>
                  </a:lnTo>
                  <a:lnTo>
                    <a:pt x="447" y="431"/>
                  </a:lnTo>
                  <a:lnTo>
                    <a:pt x="442" y="426"/>
                  </a:lnTo>
                  <a:lnTo>
                    <a:pt x="441" y="433"/>
                  </a:lnTo>
                  <a:lnTo>
                    <a:pt x="441" y="436"/>
                  </a:lnTo>
                  <a:lnTo>
                    <a:pt x="438" y="437"/>
                  </a:lnTo>
                  <a:lnTo>
                    <a:pt x="431" y="437"/>
                  </a:lnTo>
                  <a:lnTo>
                    <a:pt x="426" y="433"/>
                  </a:lnTo>
                  <a:lnTo>
                    <a:pt x="405" y="439"/>
                  </a:lnTo>
                  <a:lnTo>
                    <a:pt x="385" y="440"/>
                  </a:lnTo>
                  <a:lnTo>
                    <a:pt x="378" y="440"/>
                  </a:lnTo>
                  <a:lnTo>
                    <a:pt x="378" y="431"/>
                  </a:lnTo>
                  <a:lnTo>
                    <a:pt x="384" y="421"/>
                  </a:lnTo>
                  <a:lnTo>
                    <a:pt x="390" y="405"/>
                  </a:lnTo>
                  <a:lnTo>
                    <a:pt x="406" y="386"/>
                  </a:lnTo>
                  <a:lnTo>
                    <a:pt x="419" y="383"/>
                  </a:lnTo>
                  <a:lnTo>
                    <a:pt x="427" y="384"/>
                  </a:lnTo>
                  <a:lnTo>
                    <a:pt x="437" y="390"/>
                  </a:lnTo>
                  <a:lnTo>
                    <a:pt x="444" y="393"/>
                  </a:lnTo>
                  <a:lnTo>
                    <a:pt x="444" y="385"/>
                  </a:lnTo>
                  <a:lnTo>
                    <a:pt x="433" y="377"/>
                  </a:lnTo>
                  <a:lnTo>
                    <a:pt x="435" y="373"/>
                  </a:lnTo>
                  <a:lnTo>
                    <a:pt x="442" y="372"/>
                  </a:lnTo>
                  <a:lnTo>
                    <a:pt x="431" y="368"/>
                  </a:lnTo>
                  <a:lnTo>
                    <a:pt x="420" y="359"/>
                  </a:lnTo>
                  <a:lnTo>
                    <a:pt x="426" y="357"/>
                  </a:lnTo>
                  <a:lnTo>
                    <a:pt x="430" y="341"/>
                  </a:lnTo>
                  <a:lnTo>
                    <a:pt x="421" y="335"/>
                  </a:lnTo>
                  <a:lnTo>
                    <a:pt x="414" y="321"/>
                  </a:lnTo>
                  <a:lnTo>
                    <a:pt x="410" y="300"/>
                  </a:lnTo>
                  <a:lnTo>
                    <a:pt x="410" y="297"/>
                  </a:lnTo>
                  <a:lnTo>
                    <a:pt x="406" y="293"/>
                  </a:lnTo>
                  <a:lnTo>
                    <a:pt x="395" y="277"/>
                  </a:lnTo>
                  <a:lnTo>
                    <a:pt x="389" y="277"/>
                  </a:lnTo>
                  <a:lnTo>
                    <a:pt x="383" y="275"/>
                  </a:lnTo>
                  <a:lnTo>
                    <a:pt x="378" y="269"/>
                  </a:lnTo>
                  <a:lnTo>
                    <a:pt x="377" y="269"/>
                  </a:lnTo>
                  <a:lnTo>
                    <a:pt x="372" y="262"/>
                  </a:lnTo>
                  <a:lnTo>
                    <a:pt x="361" y="260"/>
                  </a:lnTo>
                  <a:lnTo>
                    <a:pt x="342" y="250"/>
                  </a:lnTo>
                  <a:lnTo>
                    <a:pt x="334" y="251"/>
                  </a:lnTo>
                  <a:lnTo>
                    <a:pt x="313" y="240"/>
                  </a:lnTo>
                  <a:lnTo>
                    <a:pt x="299" y="237"/>
                  </a:lnTo>
                  <a:lnTo>
                    <a:pt x="290" y="235"/>
                  </a:lnTo>
                  <a:lnTo>
                    <a:pt x="270" y="228"/>
                  </a:lnTo>
                  <a:lnTo>
                    <a:pt x="260" y="227"/>
                  </a:lnTo>
                  <a:lnTo>
                    <a:pt x="243" y="224"/>
                  </a:lnTo>
                  <a:lnTo>
                    <a:pt x="229" y="223"/>
                  </a:lnTo>
                  <a:lnTo>
                    <a:pt x="228" y="219"/>
                  </a:lnTo>
                  <a:lnTo>
                    <a:pt x="224" y="218"/>
                  </a:lnTo>
                  <a:lnTo>
                    <a:pt x="215" y="213"/>
                  </a:lnTo>
                  <a:lnTo>
                    <a:pt x="210" y="206"/>
                  </a:lnTo>
                  <a:lnTo>
                    <a:pt x="207" y="199"/>
                  </a:lnTo>
                  <a:lnTo>
                    <a:pt x="199" y="199"/>
                  </a:lnTo>
                  <a:lnTo>
                    <a:pt x="189" y="197"/>
                  </a:lnTo>
                  <a:lnTo>
                    <a:pt x="188" y="203"/>
                  </a:lnTo>
                  <a:lnTo>
                    <a:pt x="184" y="197"/>
                  </a:lnTo>
                  <a:lnTo>
                    <a:pt x="175" y="191"/>
                  </a:lnTo>
                  <a:lnTo>
                    <a:pt x="170" y="189"/>
                  </a:lnTo>
                  <a:lnTo>
                    <a:pt x="168" y="183"/>
                  </a:lnTo>
                  <a:lnTo>
                    <a:pt x="158" y="179"/>
                  </a:lnTo>
                  <a:lnTo>
                    <a:pt x="156" y="171"/>
                  </a:lnTo>
                  <a:lnTo>
                    <a:pt x="157" y="162"/>
                  </a:lnTo>
                  <a:lnTo>
                    <a:pt x="161" y="149"/>
                  </a:lnTo>
                  <a:lnTo>
                    <a:pt x="159" y="142"/>
                  </a:lnTo>
                  <a:lnTo>
                    <a:pt x="157" y="148"/>
                  </a:lnTo>
                  <a:lnTo>
                    <a:pt x="156" y="159"/>
                  </a:lnTo>
                  <a:lnTo>
                    <a:pt x="152" y="167"/>
                  </a:lnTo>
                  <a:lnTo>
                    <a:pt x="145" y="181"/>
                  </a:lnTo>
                  <a:lnTo>
                    <a:pt x="142" y="189"/>
                  </a:lnTo>
                  <a:lnTo>
                    <a:pt x="138" y="196"/>
                  </a:lnTo>
                  <a:lnTo>
                    <a:pt x="132" y="203"/>
                  </a:lnTo>
                  <a:lnTo>
                    <a:pt x="113" y="206"/>
                  </a:lnTo>
                  <a:lnTo>
                    <a:pt x="108" y="203"/>
                  </a:lnTo>
                  <a:lnTo>
                    <a:pt x="105" y="200"/>
                  </a:lnTo>
                  <a:lnTo>
                    <a:pt x="105" y="190"/>
                  </a:lnTo>
                  <a:lnTo>
                    <a:pt x="102" y="179"/>
                  </a:lnTo>
                  <a:lnTo>
                    <a:pt x="103" y="174"/>
                  </a:lnTo>
                  <a:lnTo>
                    <a:pt x="103" y="163"/>
                  </a:lnTo>
                  <a:lnTo>
                    <a:pt x="95" y="163"/>
                  </a:lnTo>
                  <a:lnTo>
                    <a:pt x="88" y="149"/>
                  </a:lnTo>
                  <a:lnTo>
                    <a:pt x="78" y="143"/>
                  </a:lnTo>
                  <a:lnTo>
                    <a:pt x="65" y="143"/>
                  </a:lnTo>
                  <a:lnTo>
                    <a:pt x="56" y="141"/>
                  </a:lnTo>
                  <a:lnTo>
                    <a:pt x="57" y="132"/>
                  </a:lnTo>
                  <a:lnTo>
                    <a:pt x="67" y="127"/>
                  </a:lnTo>
                  <a:lnTo>
                    <a:pt x="81" y="127"/>
                  </a:lnTo>
                  <a:lnTo>
                    <a:pt x="95" y="130"/>
                  </a:lnTo>
                  <a:lnTo>
                    <a:pt x="115" y="119"/>
                  </a:lnTo>
                  <a:lnTo>
                    <a:pt x="125" y="115"/>
                  </a:lnTo>
                  <a:lnTo>
                    <a:pt x="135" y="119"/>
                  </a:lnTo>
                  <a:lnTo>
                    <a:pt x="147" y="120"/>
                  </a:lnTo>
                  <a:lnTo>
                    <a:pt x="156" y="116"/>
                  </a:lnTo>
                  <a:lnTo>
                    <a:pt x="157" y="105"/>
                  </a:lnTo>
                  <a:lnTo>
                    <a:pt x="161" y="99"/>
                  </a:lnTo>
                  <a:lnTo>
                    <a:pt x="162" y="93"/>
                  </a:lnTo>
                  <a:lnTo>
                    <a:pt x="152" y="97"/>
                  </a:lnTo>
                  <a:lnTo>
                    <a:pt x="132" y="101"/>
                  </a:lnTo>
                  <a:lnTo>
                    <a:pt x="110" y="106"/>
                  </a:lnTo>
                  <a:lnTo>
                    <a:pt x="94" y="106"/>
                  </a:lnTo>
                  <a:lnTo>
                    <a:pt x="86" y="104"/>
                  </a:lnTo>
                  <a:lnTo>
                    <a:pt x="77" y="106"/>
                  </a:lnTo>
                  <a:lnTo>
                    <a:pt x="62" y="99"/>
                  </a:lnTo>
                  <a:lnTo>
                    <a:pt x="55" y="83"/>
                  </a:lnTo>
                  <a:lnTo>
                    <a:pt x="52" y="72"/>
                  </a:lnTo>
                  <a:lnTo>
                    <a:pt x="46" y="67"/>
                  </a:lnTo>
                  <a:lnTo>
                    <a:pt x="36" y="62"/>
                  </a:lnTo>
                  <a:lnTo>
                    <a:pt x="27" y="63"/>
                  </a:lnTo>
                  <a:lnTo>
                    <a:pt x="19" y="60"/>
                  </a:lnTo>
                  <a:lnTo>
                    <a:pt x="17" y="66"/>
                  </a:lnTo>
                  <a:lnTo>
                    <a:pt x="0" y="58"/>
                  </a:lnTo>
                  <a:lnTo>
                    <a:pt x="2" y="51"/>
                  </a:lnTo>
                  <a:lnTo>
                    <a:pt x="7" y="45"/>
                  </a:lnTo>
                  <a:lnTo>
                    <a:pt x="16" y="28"/>
                  </a:lnTo>
                  <a:lnTo>
                    <a:pt x="19" y="25"/>
                  </a:lnTo>
                  <a:lnTo>
                    <a:pt x="29" y="23"/>
                  </a:lnTo>
                  <a:lnTo>
                    <a:pt x="38" y="23"/>
                  </a:lnTo>
                  <a:lnTo>
                    <a:pt x="48" y="19"/>
                  </a:lnTo>
                  <a:lnTo>
                    <a:pt x="66" y="3"/>
                  </a:lnTo>
                  <a:lnTo>
                    <a:pt x="78" y="0"/>
                  </a:lnTo>
                  <a:lnTo>
                    <a:pt x="93" y="0"/>
                  </a:lnTo>
                  <a:lnTo>
                    <a:pt x="107" y="2"/>
                  </a:lnTo>
                  <a:lnTo>
                    <a:pt x="119" y="11"/>
                  </a:lnTo>
                  <a:lnTo>
                    <a:pt x="126" y="18"/>
                  </a:lnTo>
                  <a:lnTo>
                    <a:pt x="135" y="23"/>
                  </a:lnTo>
                  <a:lnTo>
                    <a:pt x="168" y="23"/>
                  </a:lnTo>
                  <a:lnTo>
                    <a:pt x="172" y="39"/>
                  </a:lnTo>
                  <a:lnTo>
                    <a:pt x="178" y="49"/>
                  </a:lnTo>
                  <a:lnTo>
                    <a:pt x="179" y="65"/>
                  </a:lnTo>
                  <a:lnTo>
                    <a:pt x="175" y="77"/>
                  </a:lnTo>
                  <a:lnTo>
                    <a:pt x="174" y="90"/>
                  </a:lnTo>
                  <a:lnTo>
                    <a:pt x="179" y="114"/>
                  </a:lnTo>
                  <a:lnTo>
                    <a:pt x="193" y="132"/>
                  </a:lnTo>
                  <a:lnTo>
                    <a:pt x="194" y="127"/>
                  </a:lnTo>
                  <a:lnTo>
                    <a:pt x="195" y="119"/>
                  </a:lnTo>
                  <a:lnTo>
                    <a:pt x="205" y="122"/>
                  </a:lnTo>
                  <a:lnTo>
                    <a:pt x="210" y="138"/>
                  </a:lnTo>
                  <a:lnTo>
                    <a:pt x="213" y="142"/>
                  </a:lnTo>
                  <a:lnTo>
                    <a:pt x="218" y="153"/>
                  </a:lnTo>
                  <a:lnTo>
                    <a:pt x="234" y="164"/>
                  </a:lnTo>
                  <a:lnTo>
                    <a:pt x="242" y="164"/>
                  </a:lnTo>
                  <a:lnTo>
                    <a:pt x="255" y="163"/>
                  </a:lnTo>
                  <a:lnTo>
                    <a:pt x="261" y="151"/>
                  </a:lnTo>
                  <a:lnTo>
                    <a:pt x="269" y="148"/>
                  </a:lnTo>
                  <a:lnTo>
                    <a:pt x="275" y="143"/>
                  </a:lnTo>
                  <a:lnTo>
                    <a:pt x="276" y="135"/>
                  </a:lnTo>
                  <a:lnTo>
                    <a:pt x="296" y="120"/>
                  </a:lnTo>
                  <a:lnTo>
                    <a:pt x="302" y="103"/>
                  </a:lnTo>
                  <a:lnTo>
                    <a:pt x="310" y="100"/>
                  </a:lnTo>
                  <a:lnTo>
                    <a:pt x="318" y="100"/>
                  </a:lnTo>
                  <a:lnTo>
                    <a:pt x="336" y="97"/>
                  </a:lnTo>
                  <a:lnTo>
                    <a:pt x="345" y="90"/>
                  </a:lnTo>
                  <a:lnTo>
                    <a:pt x="344" y="81"/>
                  </a:lnTo>
                  <a:lnTo>
                    <a:pt x="349" y="77"/>
                  </a:lnTo>
                  <a:lnTo>
                    <a:pt x="361" y="67"/>
                  </a:lnTo>
                  <a:lnTo>
                    <a:pt x="380" y="57"/>
                  </a:lnTo>
                  <a:lnTo>
                    <a:pt x="387" y="60"/>
                  </a:lnTo>
                  <a:lnTo>
                    <a:pt x="390" y="65"/>
                  </a:lnTo>
                  <a:lnTo>
                    <a:pt x="410" y="72"/>
                  </a:lnTo>
                  <a:lnTo>
                    <a:pt x="421" y="77"/>
                  </a:lnTo>
                  <a:lnTo>
                    <a:pt x="427" y="78"/>
                  </a:lnTo>
                  <a:lnTo>
                    <a:pt x="432" y="83"/>
                  </a:lnTo>
                  <a:lnTo>
                    <a:pt x="455" y="90"/>
                  </a:lnTo>
                  <a:lnTo>
                    <a:pt x="471" y="100"/>
                  </a:lnTo>
                  <a:lnTo>
                    <a:pt x="479" y="104"/>
                  </a:lnTo>
                  <a:lnTo>
                    <a:pt x="491" y="108"/>
                  </a:lnTo>
                  <a:lnTo>
                    <a:pt x="501" y="106"/>
                  </a:lnTo>
                  <a:lnTo>
                    <a:pt x="506" y="104"/>
                  </a:lnTo>
                  <a:lnTo>
                    <a:pt x="514" y="108"/>
                  </a:lnTo>
                  <a:lnTo>
                    <a:pt x="519" y="106"/>
                  </a:lnTo>
                  <a:lnTo>
                    <a:pt x="523" y="108"/>
                  </a:lnTo>
                  <a:lnTo>
                    <a:pt x="534" y="114"/>
                  </a:lnTo>
                  <a:lnTo>
                    <a:pt x="539" y="114"/>
                  </a:lnTo>
                  <a:lnTo>
                    <a:pt x="541" y="116"/>
                  </a:lnTo>
                  <a:lnTo>
                    <a:pt x="541" y="119"/>
                  </a:lnTo>
                  <a:lnTo>
                    <a:pt x="543" y="121"/>
                  </a:lnTo>
                  <a:lnTo>
                    <a:pt x="549" y="121"/>
                  </a:lnTo>
                  <a:lnTo>
                    <a:pt x="551" y="120"/>
                  </a:lnTo>
                  <a:lnTo>
                    <a:pt x="556" y="120"/>
                  </a:lnTo>
                  <a:lnTo>
                    <a:pt x="555" y="129"/>
                  </a:lnTo>
                  <a:lnTo>
                    <a:pt x="560" y="254"/>
                  </a:lnTo>
                  <a:lnTo>
                    <a:pt x="560" y="326"/>
                  </a:lnTo>
                  <a:lnTo>
                    <a:pt x="556" y="347"/>
                  </a:lnTo>
                  <a:lnTo>
                    <a:pt x="555" y="351"/>
                  </a:lnTo>
                  <a:lnTo>
                    <a:pt x="562" y="368"/>
                  </a:lnTo>
                  <a:lnTo>
                    <a:pt x="562" y="409"/>
                  </a:lnTo>
                  <a:lnTo>
                    <a:pt x="565" y="466"/>
                  </a:lnTo>
                  <a:lnTo>
                    <a:pt x="568" y="48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92" name="Freeform 89">
              <a:extLst>
                <a:ext uri="{FF2B5EF4-FFF2-40B4-BE49-F238E27FC236}">
                  <a16:creationId xmlns:a16="http://schemas.microsoft.com/office/drawing/2014/main" id="{F7E07832-7186-853B-4B3B-705A88ADFF7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0189012" y="4421779"/>
              <a:ext cx="68648" cy="67066"/>
            </a:xfrm>
            <a:custGeom>
              <a:avLst/>
              <a:gdLst>
                <a:gd name="T0" fmla="*/ 0 w 129"/>
                <a:gd name="T1" fmla="*/ 0 h 119"/>
                <a:gd name="T2" fmla="*/ 0 w 129"/>
                <a:gd name="T3" fmla="*/ 0 h 119"/>
                <a:gd name="T4" fmla="*/ 0 w 129"/>
                <a:gd name="T5" fmla="*/ 0 h 119"/>
                <a:gd name="T6" fmla="*/ 0 w 129"/>
                <a:gd name="T7" fmla="*/ 0 h 119"/>
                <a:gd name="T8" fmla="*/ 0 w 129"/>
                <a:gd name="T9" fmla="*/ 0 h 119"/>
                <a:gd name="T10" fmla="*/ 2147483647 w 129"/>
                <a:gd name="T11" fmla="*/ 0 h 119"/>
                <a:gd name="T12" fmla="*/ 2147483647 w 129"/>
                <a:gd name="T13" fmla="*/ 0 h 119"/>
                <a:gd name="T14" fmla="*/ 2147483647 w 129"/>
                <a:gd name="T15" fmla="*/ 0 h 119"/>
                <a:gd name="T16" fmla="*/ 2147483647 w 129"/>
                <a:gd name="T17" fmla="*/ 0 h 119"/>
                <a:gd name="T18" fmla="*/ 2147483647 w 129"/>
                <a:gd name="T19" fmla="*/ 0 h 119"/>
                <a:gd name="T20" fmla="*/ 2147483647 w 129"/>
                <a:gd name="T21" fmla="*/ 0 h 119"/>
                <a:gd name="T22" fmla="*/ 2147483647 w 129"/>
                <a:gd name="T23" fmla="*/ 0 h 119"/>
                <a:gd name="T24" fmla="*/ 2147483647 w 129"/>
                <a:gd name="T25" fmla="*/ 0 h 119"/>
                <a:gd name="T26" fmla="*/ 2147483647 w 129"/>
                <a:gd name="T27" fmla="*/ 2147483647 h 119"/>
                <a:gd name="T28" fmla="*/ 2147483647 w 129"/>
                <a:gd name="T29" fmla="*/ 2147483647 h 119"/>
                <a:gd name="T30" fmla="*/ 2147483647 w 129"/>
                <a:gd name="T31" fmla="*/ 2147483647 h 119"/>
                <a:gd name="T32" fmla="*/ 2147483647 w 129"/>
                <a:gd name="T33" fmla="*/ 2147483647 h 119"/>
                <a:gd name="T34" fmla="*/ 2147483647 w 129"/>
                <a:gd name="T35" fmla="*/ 2147483647 h 119"/>
                <a:gd name="T36" fmla="*/ 2147483647 w 129"/>
                <a:gd name="T37" fmla="*/ 2147483647 h 119"/>
                <a:gd name="T38" fmla="*/ 2147483647 w 129"/>
                <a:gd name="T39" fmla="*/ 2147483647 h 119"/>
                <a:gd name="T40" fmla="*/ 2147483647 w 129"/>
                <a:gd name="T41" fmla="*/ 2147483647 h 119"/>
                <a:gd name="T42" fmla="*/ 2147483647 w 129"/>
                <a:gd name="T43" fmla="*/ 0 h 119"/>
                <a:gd name="T44" fmla="*/ 2147483647 w 129"/>
                <a:gd name="T45" fmla="*/ 0 h 119"/>
                <a:gd name="T46" fmla="*/ 2147483647 w 129"/>
                <a:gd name="T47" fmla="*/ 0 h 119"/>
                <a:gd name="T48" fmla="*/ 2147483647 w 129"/>
                <a:gd name="T49" fmla="*/ 0 h 119"/>
                <a:gd name="T50" fmla="*/ 2147483647 w 129"/>
                <a:gd name="T51" fmla="*/ 0 h 119"/>
                <a:gd name="T52" fmla="*/ 0 w 129"/>
                <a:gd name="T53" fmla="*/ 0 h 119"/>
                <a:gd name="T54" fmla="*/ 0 w 129"/>
                <a:gd name="T55" fmla="*/ 0 h 119"/>
                <a:gd name="T56" fmla="*/ 0 w 129"/>
                <a:gd name="T57" fmla="*/ 0 h 119"/>
                <a:gd name="T58" fmla="*/ 0 w 129"/>
                <a:gd name="T59" fmla="*/ 0 h 119"/>
                <a:gd name="T60" fmla="*/ 0 w 129"/>
                <a:gd name="T61" fmla="*/ 0 h 119"/>
                <a:gd name="T62" fmla="*/ 0 w 129"/>
                <a:gd name="T63" fmla="*/ 0 h 119"/>
                <a:gd name="T64" fmla="*/ 0 w 129"/>
                <a:gd name="T65" fmla="*/ 0 h 11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9"/>
                <a:gd name="T100" fmla="*/ 0 h 119"/>
                <a:gd name="T101" fmla="*/ 129 w 129"/>
                <a:gd name="T102" fmla="*/ 119 h 11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9" h="119">
                  <a:moveTo>
                    <a:pt x="0" y="3"/>
                  </a:moveTo>
                  <a:lnTo>
                    <a:pt x="2" y="0"/>
                  </a:lnTo>
                  <a:lnTo>
                    <a:pt x="20" y="11"/>
                  </a:lnTo>
                  <a:lnTo>
                    <a:pt x="26" y="16"/>
                  </a:lnTo>
                  <a:lnTo>
                    <a:pt x="34" y="20"/>
                  </a:lnTo>
                  <a:lnTo>
                    <a:pt x="54" y="35"/>
                  </a:lnTo>
                  <a:lnTo>
                    <a:pt x="66" y="36"/>
                  </a:lnTo>
                  <a:lnTo>
                    <a:pt x="75" y="43"/>
                  </a:lnTo>
                  <a:lnTo>
                    <a:pt x="81" y="49"/>
                  </a:lnTo>
                  <a:lnTo>
                    <a:pt x="95" y="58"/>
                  </a:lnTo>
                  <a:lnTo>
                    <a:pt x="100" y="66"/>
                  </a:lnTo>
                  <a:lnTo>
                    <a:pt x="107" y="71"/>
                  </a:lnTo>
                  <a:lnTo>
                    <a:pt x="117" y="74"/>
                  </a:lnTo>
                  <a:lnTo>
                    <a:pt x="121" y="78"/>
                  </a:lnTo>
                  <a:lnTo>
                    <a:pt x="124" y="87"/>
                  </a:lnTo>
                  <a:lnTo>
                    <a:pt x="129" y="93"/>
                  </a:lnTo>
                  <a:lnTo>
                    <a:pt x="129" y="100"/>
                  </a:lnTo>
                  <a:lnTo>
                    <a:pt x="124" y="107"/>
                  </a:lnTo>
                  <a:lnTo>
                    <a:pt x="120" y="119"/>
                  </a:lnTo>
                  <a:lnTo>
                    <a:pt x="111" y="119"/>
                  </a:lnTo>
                  <a:lnTo>
                    <a:pt x="105" y="93"/>
                  </a:lnTo>
                  <a:lnTo>
                    <a:pt x="97" y="71"/>
                  </a:lnTo>
                  <a:lnTo>
                    <a:pt x="86" y="53"/>
                  </a:lnTo>
                  <a:lnTo>
                    <a:pt x="80" y="49"/>
                  </a:lnTo>
                  <a:lnTo>
                    <a:pt x="66" y="47"/>
                  </a:lnTo>
                  <a:lnTo>
                    <a:pt x="54" y="39"/>
                  </a:lnTo>
                  <a:lnTo>
                    <a:pt x="46" y="31"/>
                  </a:lnTo>
                  <a:lnTo>
                    <a:pt x="40" y="30"/>
                  </a:lnTo>
                  <a:lnTo>
                    <a:pt x="31" y="23"/>
                  </a:lnTo>
                  <a:lnTo>
                    <a:pt x="26" y="21"/>
                  </a:lnTo>
                  <a:lnTo>
                    <a:pt x="9" y="10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93" name="Freeform 90">
              <a:extLst>
                <a:ext uri="{FF2B5EF4-FFF2-40B4-BE49-F238E27FC236}">
                  <a16:creationId xmlns:a16="http://schemas.microsoft.com/office/drawing/2014/main" id="{AFE35573-3940-7F14-F615-77CEE685128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760841" y="3603275"/>
              <a:ext cx="210420" cy="472508"/>
            </a:xfrm>
            <a:custGeom>
              <a:avLst/>
              <a:gdLst>
                <a:gd name="T0" fmla="*/ 2147483647 w 395"/>
                <a:gd name="T1" fmla="*/ 2147483647 h 832"/>
                <a:gd name="T2" fmla="*/ 2147483647 w 395"/>
                <a:gd name="T3" fmla="*/ 2147483647 h 832"/>
                <a:gd name="T4" fmla="*/ 2147483647 w 395"/>
                <a:gd name="T5" fmla="*/ 2147483647 h 832"/>
                <a:gd name="T6" fmla="*/ 2147483647 w 395"/>
                <a:gd name="T7" fmla="*/ 2147483647 h 832"/>
                <a:gd name="T8" fmla="*/ 2147483647 w 395"/>
                <a:gd name="T9" fmla="*/ 2147483647 h 832"/>
                <a:gd name="T10" fmla="*/ 2147483647 w 395"/>
                <a:gd name="T11" fmla="*/ 2147483647 h 832"/>
                <a:gd name="T12" fmla="*/ 2147483647 w 395"/>
                <a:gd name="T13" fmla="*/ 2147483647 h 832"/>
                <a:gd name="T14" fmla="*/ 2147483647 w 395"/>
                <a:gd name="T15" fmla="*/ 2147483647 h 832"/>
                <a:gd name="T16" fmla="*/ 2147483647 w 395"/>
                <a:gd name="T17" fmla="*/ 2147483647 h 832"/>
                <a:gd name="T18" fmla="*/ 2147483647 w 395"/>
                <a:gd name="T19" fmla="*/ 2147483647 h 832"/>
                <a:gd name="T20" fmla="*/ 2147483647 w 395"/>
                <a:gd name="T21" fmla="*/ 2147483647 h 832"/>
                <a:gd name="T22" fmla="*/ 2147483647 w 395"/>
                <a:gd name="T23" fmla="*/ 2147483647 h 832"/>
                <a:gd name="T24" fmla="*/ 2147483647 w 395"/>
                <a:gd name="T25" fmla="*/ 2147483647 h 832"/>
                <a:gd name="T26" fmla="*/ 2147483647 w 395"/>
                <a:gd name="T27" fmla="*/ 2147483647 h 832"/>
                <a:gd name="T28" fmla="*/ 2147483647 w 395"/>
                <a:gd name="T29" fmla="*/ 2147483647 h 832"/>
                <a:gd name="T30" fmla="*/ 2147483647 w 395"/>
                <a:gd name="T31" fmla="*/ 2147483647 h 832"/>
                <a:gd name="T32" fmla="*/ 2147483647 w 395"/>
                <a:gd name="T33" fmla="*/ 2147483647 h 832"/>
                <a:gd name="T34" fmla="*/ 2147483647 w 395"/>
                <a:gd name="T35" fmla="*/ 2147483647 h 832"/>
                <a:gd name="T36" fmla="*/ 2147483647 w 395"/>
                <a:gd name="T37" fmla="*/ 2147483647 h 832"/>
                <a:gd name="T38" fmla="*/ 2147483647 w 395"/>
                <a:gd name="T39" fmla="*/ 2147483647 h 832"/>
                <a:gd name="T40" fmla="*/ 2147483647 w 395"/>
                <a:gd name="T41" fmla="*/ 2147483647 h 832"/>
                <a:gd name="T42" fmla="*/ 2147483647 w 395"/>
                <a:gd name="T43" fmla="*/ 0 h 832"/>
                <a:gd name="T44" fmla="*/ 2147483647 w 395"/>
                <a:gd name="T45" fmla="*/ 0 h 832"/>
                <a:gd name="T46" fmla="*/ 2147483647 w 395"/>
                <a:gd name="T47" fmla="*/ 0 h 832"/>
                <a:gd name="T48" fmla="*/ 2147483647 w 395"/>
                <a:gd name="T49" fmla="*/ 0 h 832"/>
                <a:gd name="T50" fmla="*/ 2147483647 w 395"/>
                <a:gd name="T51" fmla="*/ 0 h 832"/>
                <a:gd name="T52" fmla="*/ 2147483647 w 395"/>
                <a:gd name="T53" fmla="*/ 0 h 832"/>
                <a:gd name="T54" fmla="*/ 0 w 395"/>
                <a:gd name="T55" fmla="*/ 0 h 832"/>
                <a:gd name="T56" fmla="*/ 0 w 395"/>
                <a:gd name="T57" fmla="*/ 0 h 832"/>
                <a:gd name="T58" fmla="*/ 0 w 395"/>
                <a:gd name="T59" fmla="*/ 0 h 832"/>
                <a:gd name="T60" fmla="*/ 0 w 395"/>
                <a:gd name="T61" fmla="*/ 2147483647 h 832"/>
                <a:gd name="T62" fmla="*/ 2147483647 w 395"/>
                <a:gd name="T63" fmla="*/ 2147483647 h 832"/>
                <a:gd name="T64" fmla="*/ 2147483647 w 395"/>
                <a:gd name="T65" fmla="*/ 2147483647 h 832"/>
                <a:gd name="T66" fmla="*/ 2147483647 w 395"/>
                <a:gd name="T67" fmla="*/ 2147483647 h 832"/>
                <a:gd name="T68" fmla="*/ 2147483647 w 395"/>
                <a:gd name="T69" fmla="*/ 2147483647 h 832"/>
                <a:gd name="T70" fmla="*/ 2147483647 w 395"/>
                <a:gd name="T71" fmla="*/ 2147483647 h 832"/>
                <a:gd name="T72" fmla="*/ 2147483647 w 395"/>
                <a:gd name="T73" fmla="*/ 2147483647 h 832"/>
                <a:gd name="T74" fmla="*/ 2147483647 w 395"/>
                <a:gd name="T75" fmla="*/ 2147483647 h 832"/>
                <a:gd name="T76" fmla="*/ 2147483647 w 395"/>
                <a:gd name="T77" fmla="*/ 2147483647 h 832"/>
                <a:gd name="T78" fmla="*/ 2147483647 w 395"/>
                <a:gd name="T79" fmla="*/ 2147483647 h 832"/>
                <a:gd name="T80" fmla="*/ 2147483647 w 395"/>
                <a:gd name="T81" fmla="*/ 2147483647 h 832"/>
                <a:gd name="T82" fmla="*/ 2147483647 w 395"/>
                <a:gd name="T83" fmla="*/ 2147483647 h 832"/>
                <a:gd name="T84" fmla="*/ 2147483647 w 395"/>
                <a:gd name="T85" fmla="*/ 2147483647 h 832"/>
                <a:gd name="T86" fmla="*/ 2147483647 w 395"/>
                <a:gd name="T87" fmla="*/ 2147483647 h 832"/>
                <a:gd name="T88" fmla="*/ 2147483647 w 395"/>
                <a:gd name="T89" fmla="*/ 2147483647 h 832"/>
                <a:gd name="T90" fmla="*/ 2147483647 w 395"/>
                <a:gd name="T91" fmla="*/ 2147483647 h 832"/>
                <a:gd name="T92" fmla="*/ 2147483647 w 395"/>
                <a:gd name="T93" fmla="*/ 2147483647 h 832"/>
                <a:gd name="T94" fmla="*/ 2147483647 w 395"/>
                <a:gd name="T95" fmla="*/ 2147483647 h 832"/>
                <a:gd name="T96" fmla="*/ 2147483647 w 395"/>
                <a:gd name="T97" fmla="*/ 2147483647 h 832"/>
                <a:gd name="T98" fmla="*/ 2147483647 w 395"/>
                <a:gd name="T99" fmla="*/ 2147483647 h 832"/>
                <a:gd name="T100" fmla="*/ 2147483647 w 395"/>
                <a:gd name="T101" fmla="*/ 2147483647 h 832"/>
                <a:gd name="T102" fmla="*/ 2147483647 w 395"/>
                <a:gd name="T103" fmla="*/ 2147483647 h 832"/>
                <a:gd name="T104" fmla="*/ 2147483647 w 395"/>
                <a:gd name="T105" fmla="*/ 2147483647 h 83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395"/>
                <a:gd name="T160" fmla="*/ 0 h 832"/>
                <a:gd name="T161" fmla="*/ 395 w 395"/>
                <a:gd name="T162" fmla="*/ 832 h 83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395" h="832">
                  <a:moveTo>
                    <a:pt x="228" y="773"/>
                  </a:moveTo>
                  <a:lnTo>
                    <a:pt x="238" y="776"/>
                  </a:lnTo>
                  <a:lnTo>
                    <a:pt x="242" y="768"/>
                  </a:lnTo>
                  <a:lnTo>
                    <a:pt x="237" y="758"/>
                  </a:lnTo>
                  <a:lnTo>
                    <a:pt x="239" y="753"/>
                  </a:lnTo>
                  <a:lnTo>
                    <a:pt x="245" y="754"/>
                  </a:lnTo>
                  <a:lnTo>
                    <a:pt x="247" y="748"/>
                  </a:lnTo>
                  <a:lnTo>
                    <a:pt x="250" y="749"/>
                  </a:lnTo>
                  <a:lnTo>
                    <a:pt x="249" y="741"/>
                  </a:lnTo>
                  <a:lnTo>
                    <a:pt x="253" y="737"/>
                  </a:lnTo>
                  <a:lnTo>
                    <a:pt x="255" y="731"/>
                  </a:lnTo>
                  <a:lnTo>
                    <a:pt x="270" y="727"/>
                  </a:lnTo>
                  <a:lnTo>
                    <a:pt x="276" y="731"/>
                  </a:lnTo>
                  <a:lnTo>
                    <a:pt x="283" y="731"/>
                  </a:lnTo>
                  <a:lnTo>
                    <a:pt x="308" y="716"/>
                  </a:lnTo>
                  <a:lnTo>
                    <a:pt x="321" y="713"/>
                  </a:lnTo>
                  <a:lnTo>
                    <a:pt x="330" y="701"/>
                  </a:lnTo>
                  <a:lnTo>
                    <a:pt x="361" y="687"/>
                  </a:lnTo>
                  <a:lnTo>
                    <a:pt x="367" y="681"/>
                  </a:lnTo>
                  <a:lnTo>
                    <a:pt x="376" y="679"/>
                  </a:lnTo>
                  <a:lnTo>
                    <a:pt x="378" y="673"/>
                  </a:lnTo>
                  <a:lnTo>
                    <a:pt x="379" y="665"/>
                  </a:lnTo>
                  <a:lnTo>
                    <a:pt x="385" y="660"/>
                  </a:lnTo>
                  <a:lnTo>
                    <a:pt x="387" y="654"/>
                  </a:lnTo>
                  <a:lnTo>
                    <a:pt x="383" y="650"/>
                  </a:lnTo>
                  <a:lnTo>
                    <a:pt x="385" y="646"/>
                  </a:lnTo>
                  <a:lnTo>
                    <a:pt x="388" y="647"/>
                  </a:lnTo>
                  <a:lnTo>
                    <a:pt x="388" y="643"/>
                  </a:lnTo>
                  <a:lnTo>
                    <a:pt x="383" y="619"/>
                  </a:lnTo>
                  <a:lnTo>
                    <a:pt x="384" y="615"/>
                  </a:lnTo>
                  <a:lnTo>
                    <a:pt x="388" y="618"/>
                  </a:lnTo>
                  <a:lnTo>
                    <a:pt x="388" y="607"/>
                  </a:lnTo>
                  <a:lnTo>
                    <a:pt x="392" y="602"/>
                  </a:lnTo>
                  <a:lnTo>
                    <a:pt x="395" y="603"/>
                  </a:lnTo>
                  <a:lnTo>
                    <a:pt x="395" y="607"/>
                  </a:lnTo>
                  <a:lnTo>
                    <a:pt x="395" y="596"/>
                  </a:lnTo>
                  <a:lnTo>
                    <a:pt x="394" y="587"/>
                  </a:lnTo>
                  <a:lnTo>
                    <a:pt x="390" y="585"/>
                  </a:lnTo>
                  <a:lnTo>
                    <a:pt x="389" y="569"/>
                  </a:lnTo>
                  <a:lnTo>
                    <a:pt x="389" y="557"/>
                  </a:lnTo>
                  <a:lnTo>
                    <a:pt x="388" y="549"/>
                  </a:lnTo>
                  <a:lnTo>
                    <a:pt x="388" y="539"/>
                  </a:lnTo>
                  <a:lnTo>
                    <a:pt x="385" y="536"/>
                  </a:lnTo>
                  <a:lnTo>
                    <a:pt x="382" y="507"/>
                  </a:lnTo>
                  <a:lnTo>
                    <a:pt x="366" y="456"/>
                  </a:lnTo>
                  <a:lnTo>
                    <a:pt x="344" y="434"/>
                  </a:lnTo>
                  <a:lnTo>
                    <a:pt x="337" y="424"/>
                  </a:lnTo>
                  <a:lnTo>
                    <a:pt x="336" y="409"/>
                  </a:lnTo>
                  <a:lnTo>
                    <a:pt x="335" y="413"/>
                  </a:lnTo>
                  <a:lnTo>
                    <a:pt x="329" y="414"/>
                  </a:lnTo>
                  <a:lnTo>
                    <a:pt x="329" y="409"/>
                  </a:lnTo>
                  <a:lnTo>
                    <a:pt x="323" y="401"/>
                  </a:lnTo>
                  <a:lnTo>
                    <a:pt x="306" y="398"/>
                  </a:lnTo>
                  <a:lnTo>
                    <a:pt x="298" y="387"/>
                  </a:lnTo>
                  <a:lnTo>
                    <a:pt x="290" y="378"/>
                  </a:lnTo>
                  <a:lnTo>
                    <a:pt x="281" y="372"/>
                  </a:lnTo>
                  <a:lnTo>
                    <a:pt x="274" y="362"/>
                  </a:lnTo>
                  <a:lnTo>
                    <a:pt x="270" y="359"/>
                  </a:lnTo>
                  <a:lnTo>
                    <a:pt x="265" y="351"/>
                  </a:lnTo>
                  <a:lnTo>
                    <a:pt x="255" y="344"/>
                  </a:lnTo>
                  <a:lnTo>
                    <a:pt x="248" y="334"/>
                  </a:lnTo>
                  <a:lnTo>
                    <a:pt x="236" y="324"/>
                  </a:lnTo>
                  <a:lnTo>
                    <a:pt x="234" y="312"/>
                  </a:lnTo>
                  <a:lnTo>
                    <a:pt x="228" y="297"/>
                  </a:lnTo>
                  <a:lnTo>
                    <a:pt x="217" y="290"/>
                  </a:lnTo>
                  <a:lnTo>
                    <a:pt x="197" y="270"/>
                  </a:lnTo>
                  <a:lnTo>
                    <a:pt x="191" y="258"/>
                  </a:lnTo>
                  <a:lnTo>
                    <a:pt x="194" y="245"/>
                  </a:lnTo>
                  <a:lnTo>
                    <a:pt x="197" y="235"/>
                  </a:lnTo>
                  <a:lnTo>
                    <a:pt x="199" y="222"/>
                  </a:lnTo>
                  <a:lnTo>
                    <a:pt x="211" y="195"/>
                  </a:lnTo>
                  <a:lnTo>
                    <a:pt x="239" y="171"/>
                  </a:lnTo>
                  <a:lnTo>
                    <a:pt x="243" y="166"/>
                  </a:lnTo>
                  <a:lnTo>
                    <a:pt x="247" y="152"/>
                  </a:lnTo>
                  <a:lnTo>
                    <a:pt x="253" y="145"/>
                  </a:lnTo>
                  <a:lnTo>
                    <a:pt x="258" y="140"/>
                  </a:lnTo>
                  <a:lnTo>
                    <a:pt x="276" y="132"/>
                  </a:lnTo>
                  <a:lnTo>
                    <a:pt x="286" y="124"/>
                  </a:lnTo>
                  <a:lnTo>
                    <a:pt x="287" y="116"/>
                  </a:lnTo>
                  <a:lnTo>
                    <a:pt x="307" y="105"/>
                  </a:lnTo>
                  <a:lnTo>
                    <a:pt x="315" y="108"/>
                  </a:lnTo>
                  <a:lnTo>
                    <a:pt x="318" y="106"/>
                  </a:lnTo>
                  <a:lnTo>
                    <a:pt x="319" y="102"/>
                  </a:lnTo>
                  <a:lnTo>
                    <a:pt x="312" y="97"/>
                  </a:lnTo>
                  <a:lnTo>
                    <a:pt x="293" y="98"/>
                  </a:lnTo>
                  <a:lnTo>
                    <a:pt x="283" y="96"/>
                  </a:lnTo>
                  <a:lnTo>
                    <a:pt x="278" y="91"/>
                  </a:lnTo>
                  <a:lnTo>
                    <a:pt x="255" y="77"/>
                  </a:lnTo>
                  <a:lnTo>
                    <a:pt x="248" y="65"/>
                  </a:lnTo>
                  <a:lnTo>
                    <a:pt x="243" y="50"/>
                  </a:lnTo>
                  <a:lnTo>
                    <a:pt x="248" y="35"/>
                  </a:lnTo>
                  <a:lnTo>
                    <a:pt x="244" y="26"/>
                  </a:lnTo>
                  <a:lnTo>
                    <a:pt x="224" y="25"/>
                  </a:lnTo>
                  <a:lnTo>
                    <a:pt x="211" y="21"/>
                  </a:lnTo>
                  <a:lnTo>
                    <a:pt x="196" y="15"/>
                  </a:lnTo>
                  <a:lnTo>
                    <a:pt x="184" y="5"/>
                  </a:lnTo>
                  <a:lnTo>
                    <a:pt x="169" y="0"/>
                  </a:lnTo>
                  <a:lnTo>
                    <a:pt x="162" y="1"/>
                  </a:lnTo>
                  <a:lnTo>
                    <a:pt x="152" y="12"/>
                  </a:lnTo>
                  <a:lnTo>
                    <a:pt x="142" y="19"/>
                  </a:lnTo>
                  <a:lnTo>
                    <a:pt x="127" y="27"/>
                  </a:lnTo>
                  <a:lnTo>
                    <a:pt x="121" y="28"/>
                  </a:lnTo>
                  <a:lnTo>
                    <a:pt x="113" y="26"/>
                  </a:lnTo>
                  <a:lnTo>
                    <a:pt x="104" y="33"/>
                  </a:lnTo>
                  <a:lnTo>
                    <a:pt x="94" y="38"/>
                  </a:lnTo>
                  <a:lnTo>
                    <a:pt x="91" y="32"/>
                  </a:lnTo>
                  <a:lnTo>
                    <a:pt x="77" y="36"/>
                  </a:lnTo>
                  <a:lnTo>
                    <a:pt x="71" y="31"/>
                  </a:lnTo>
                  <a:lnTo>
                    <a:pt x="65" y="32"/>
                  </a:lnTo>
                  <a:lnTo>
                    <a:pt x="50" y="42"/>
                  </a:lnTo>
                  <a:lnTo>
                    <a:pt x="44" y="41"/>
                  </a:lnTo>
                  <a:lnTo>
                    <a:pt x="36" y="33"/>
                  </a:lnTo>
                  <a:lnTo>
                    <a:pt x="23" y="31"/>
                  </a:lnTo>
                  <a:lnTo>
                    <a:pt x="21" y="28"/>
                  </a:lnTo>
                  <a:lnTo>
                    <a:pt x="17" y="31"/>
                  </a:lnTo>
                  <a:lnTo>
                    <a:pt x="13" y="37"/>
                  </a:lnTo>
                  <a:lnTo>
                    <a:pt x="7" y="44"/>
                  </a:lnTo>
                  <a:lnTo>
                    <a:pt x="7" y="48"/>
                  </a:lnTo>
                  <a:lnTo>
                    <a:pt x="0" y="44"/>
                  </a:lnTo>
                  <a:lnTo>
                    <a:pt x="12" y="60"/>
                  </a:lnTo>
                  <a:lnTo>
                    <a:pt x="29" y="80"/>
                  </a:lnTo>
                  <a:lnTo>
                    <a:pt x="39" y="90"/>
                  </a:lnTo>
                  <a:lnTo>
                    <a:pt x="44" y="100"/>
                  </a:lnTo>
                  <a:lnTo>
                    <a:pt x="41" y="112"/>
                  </a:lnTo>
                  <a:lnTo>
                    <a:pt x="43" y="120"/>
                  </a:lnTo>
                  <a:lnTo>
                    <a:pt x="57" y="135"/>
                  </a:lnTo>
                  <a:lnTo>
                    <a:pt x="77" y="139"/>
                  </a:lnTo>
                  <a:lnTo>
                    <a:pt x="97" y="134"/>
                  </a:lnTo>
                  <a:lnTo>
                    <a:pt x="113" y="135"/>
                  </a:lnTo>
                  <a:lnTo>
                    <a:pt x="122" y="146"/>
                  </a:lnTo>
                  <a:lnTo>
                    <a:pt x="127" y="155"/>
                  </a:lnTo>
                  <a:lnTo>
                    <a:pt x="129" y="162"/>
                  </a:lnTo>
                  <a:lnTo>
                    <a:pt x="137" y="168"/>
                  </a:lnTo>
                  <a:lnTo>
                    <a:pt x="141" y="177"/>
                  </a:lnTo>
                  <a:lnTo>
                    <a:pt x="147" y="183"/>
                  </a:lnTo>
                  <a:lnTo>
                    <a:pt x="146" y="192"/>
                  </a:lnTo>
                  <a:lnTo>
                    <a:pt x="130" y="208"/>
                  </a:lnTo>
                  <a:lnTo>
                    <a:pt x="125" y="208"/>
                  </a:lnTo>
                  <a:lnTo>
                    <a:pt x="114" y="205"/>
                  </a:lnTo>
                  <a:lnTo>
                    <a:pt x="107" y="208"/>
                  </a:lnTo>
                  <a:lnTo>
                    <a:pt x="103" y="213"/>
                  </a:lnTo>
                  <a:lnTo>
                    <a:pt x="99" y="222"/>
                  </a:lnTo>
                  <a:lnTo>
                    <a:pt x="100" y="229"/>
                  </a:lnTo>
                  <a:lnTo>
                    <a:pt x="107" y="231"/>
                  </a:lnTo>
                  <a:lnTo>
                    <a:pt x="115" y="237"/>
                  </a:lnTo>
                  <a:lnTo>
                    <a:pt x="134" y="247"/>
                  </a:lnTo>
                  <a:lnTo>
                    <a:pt x="161" y="267"/>
                  </a:lnTo>
                  <a:lnTo>
                    <a:pt x="165" y="280"/>
                  </a:lnTo>
                  <a:lnTo>
                    <a:pt x="188" y="301"/>
                  </a:lnTo>
                  <a:lnTo>
                    <a:pt x="191" y="311"/>
                  </a:lnTo>
                  <a:lnTo>
                    <a:pt x="208" y="331"/>
                  </a:lnTo>
                  <a:lnTo>
                    <a:pt x="213" y="332"/>
                  </a:lnTo>
                  <a:lnTo>
                    <a:pt x="231" y="344"/>
                  </a:lnTo>
                  <a:lnTo>
                    <a:pt x="236" y="358"/>
                  </a:lnTo>
                  <a:lnTo>
                    <a:pt x="239" y="370"/>
                  </a:lnTo>
                  <a:lnTo>
                    <a:pt x="238" y="371"/>
                  </a:lnTo>
                  <a:lnTo>
                    <a:pt x="239" y="372"/>
                  </a:lnTo>
                  <a:lnTo>
                    <a:pt x="243" y="386"/>
                  </a:lnTo>
                  <a:lnTo>
                    <a:pt x="251" y="386"/>
                  </a:lnTo>
                  <a:lnTo>
                    <a:pt x="265" y="396"/>
                  </a:lnTo>
                  <a:lnTo>
                    <a:pt x="274" y="404"/>
                  </a:lnTo>
                  <a:lnTo>
                    <a:pt x="278" y="421"/>
                  </a:lnTo>
                  <a:lnTo>
                    <a:pt x="291" y="450"/>
                  </a:lnTo>
                  <a:lnTo>
                    <a:pt x="292" y="457"/>
                  </a:lnTo>
                  <a:lnTo>
                    <a:pt x="292" y="490"/>
                  </a:lnTo>
                  <a:lnTo>
                    <a:pt x="290" y="527"/>
                  </a:lnTo>
                  <a:lnTo>
                    <a:pt x="292" y="543"/>
                  </a:lnTo>
                  <a:lnTo>
                    <a:pt x="299" y="558"/>
                  </a:lnTo>
                  <a:lnTo>
                    <a:pt x="298" y="607"/>
                  </a:lnTo>
                  <a:lnTo>
                    <a:pt x="296" y="619"/>
                  </a:lnTo>
                  <a:lnTo>
                    <a:pt x="290" y="628"/>
                  </a:lnTo>
                  <a:lnTo>
                    <a:pt x="281" y="625"/>
                  </a:lnTo>
                  <a:lnTo>
                    <a:pt x="271" y="634"/>
                  </a:lnTo>
                  <a:lnTo>
                    <a:pt x="264" y="638"/>
                  </a:lnTo>
                  <a:lnTo>
                    <a:pt x="256" y="638"/>
                  </a:lnTo>
                  <a:lnTo>
                    <a:pt x="238" y="646"/>
                  </a:lnTo>
                  <a:lnTo>
                    <a:pt x="237" y="656"/>
                  </a:lnTo>
                  <a:lnTo>
                    <a:pt x="218" y="657"/>
                  </a:lnTo>
                  <a:lnTo>
                    <a:pt x="208" y="661"/>
                  </a:lnTo>
                  <a:lnTo>
                    <a:pt x="206" y="674"/>
                  </a:lnTo>
                  <a:lnTo>
                    <a:pt x="207" y="683"/>
                  </a:lnTo>
                  <a:lnTo>
                    <a:pt x="208" y="692"/>
                  </a:lnTo>
                  <a:lnTo>
                    <a:pt x="202" y="694"/>
                  </a:lnTo>
                  <a:lnTo>
                    <a:pt x="194" y="697"/>
                  </a:lnTo>
                  <a:lnTo>
                    <a:pt x="183" y="704"/>
                  </a:lnTo>
                  <a:lnTo>
                    <a:pt x="173" y="708"/>
                  </a:lnTo>
                  <a:lnTo>
                    <a:pt x="165" y="705"/>
                  </a:lnTo>
                  <a:lnTo>
                    <a:pt x="158" y="705"/>
                  </a:lnTo>
                  <a:lnTo>
                    <a:pt x="157" y="715"/>
                  </a:lnTo>
                  <a:lnTo>
                    <a:pt x="152" y="720"/>
                  </a:lnTo>
                  <a:lnTo>
                    <a:pt x="145" y="724"/>
                  </a:lnTo>
                  <a:lnTo>
                    <a:pt x="134" y="726"/>
                  </a:lnTo>
                  <a:lnTo>
                    <a:pt x="129" y="727"/>
                  </a:lnTo>
                  <a:lnTo>
                    <a:pt x="136" y="738"/>
                  </a:lnTo>
                  <a:lnTo>
                    <a:pt x="154" y="746"/>
                  </a:lnTo>
                  <a:lnTo>
                    <a:pt x="161" y="752"/>
                  </a:lnTo>
                  <a:lnTo>
                    <a:pt x="157" y="760"/>
                  </a:lnTo>
                  <a:lnTo>
                    <a:pt x="150" y="770"/>
                  </a:lnTo>
                  <a:lnTo>
                    <a:pt x="148" y="786"/>
                  </a:lnTo>
                  <a:lnTo>
                    <a:pt x="148" y="797"/>
                  </a:lnTo>
                  <a:lnTo>
                    <a:pt x="151" y="810"/>
                  </a:lnTo>
                  <a:lnTo>
                    <a:pt x="156" y="822"/>
                  </a:lnTo>
                  <a:lnTo>
                    <a:pt x="151" y="827"/>
                  </a:lnTo>
                  <a:lnTo>
                    <a:pt x="153" y="832"/>
                  </a:lnTo>
                  <a:lnTo>
                    <a:pt x="162" y="830"/>
                  </a:lnTo>
                  <a:lnTo>
                    <a:pt x="175" y="821"/>
                  </a:lnTo>
                  <a:lnTo>
                    <a:pt x="186" y="807"/>
                  </a:lnTo>
                  <a:lnTo>
                    <a:pt x="195" y="797"/>
                  </a:lnTo>
                  <a:lnTo>
                    <a:pt x="216" y="789"/>
                  </a:lnTo>
                  <a:lnTo>
                    <a:pt x="220" y="785"/>
                  </a:lnTo>
                  <a:lnTo>
                    <a:pt x="220" y="778"/>
                  </a:lnTo>
                  <a:lnTo>
                    <a:pt x="228" y="77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94" name="Freeform 91">
              <a:extLst>
                <a:ext uri="{FF2B5EF4-FFF2-40B4-BE49-F238E27FC236}">
                  <a16:creationId xmlns:a16="http://schemas.microsoft.com/office/drawing/2014/main" id="{0550DD30-4488-A565-0618-33B6A86424E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980215" y="4126081"/>
              <a:ext cx="280560" cy="187480"/>
            </a:xfrm>
            <a:custGeom>
              <a:avLst/>
              <a:gdLst>
                <a:gd name="T0" fmla="*/ 2147483647 w 530"/>
                <a:gd name="T1" fmla="*/ 2147483647 h 330"/>
                <a:gd name="T2" fmla="*/ 2147483647 w 530"/>
                <a:gd name="T3" fmla="*/ 2147483647 h 330"/>
                <a:gd name="T4" fmla="*/ 2147483647 w 530"/>
                <a:gd name="T5" fmla="*/ 2147483647 h 330"/>
                <a:gd name="T6" fmla="*/ 2147483647 w 530"/>
                <a:gd name="T7" fmla="*/ 2147483647 h 330"/>
                <a:gd name="T8" fmla="*/ 2147483647 w 530"/>
                <a:gd name="T9" fmla="*/ 2147483647 h 330"/>
                <a:gd name="T10" fmla="*/ 2147483647 w 530"/>
                <a:gd name="T11" fmla="*/ 2147483647 h 330"/>
                <a:gd name="T12" fmla="*/ 2147483647 w 530"/>
                <a:gd name="T13" fmla="*/ 2147483647 h 330"/>
                <a:gd name="T14" fmla="*/ 2147483647 w 530"/>
                <a:gd name="T15" fmla="*/ 2147483647 h 330"/>
                <a:gd name="T16" fmla="*/ 2147483647 w 530"/>
                <a:gd name="T17" fmla="*/ 2147483647 h 330"/>
                <a:gd name="T18" fmla="*/ 2147483647 w 530"/>
                <a:gd name="T19" fmla="*/ 2147483647 h 330"/>
                <a:gd name="T20" fmla="*/ 2147483647 w 530"/>
                <a:gd name="T21" fmla="*/ 0 h 330"/>
                <a:gd name="T22" fmla="*/ 2147483647 w 530"/>
                <a:gd name="T23" fmla="*/ 0 h 330"/>
                <a:gd name="T24" fmla="*/ 2147483647 w 530"/>
                <a:gd name="T25" fmla="*/ 0 h 330"/>
                <a:gd name="T26" fmla="*/ 2147483647 w 530"/>
                <a:gd name="T27" fmla="*/ 0 h 330"/>
                <a:gd name="T28" fmla="*/ 2147483647 w 530"/>
                <a:gd name="T29" fmla="*/ 0 h 330"/>
                <a:gd name="T30" fmla="*/ 2147483647 w 530"/>
                <a:gd name="T31" fmla="*/ 0 h 330"/>
                <a:gd name="T32" fmla="*/ 2147483647 w 530"/>
                <a:gd name="T33" fmla="*/ 0 h 330"/>
                <a:gd name="T34" fmla="*/ 2147483647 w 530"/>
                <a:gd name="T35" fmla="*/ 0 h 330"/>
                <a:gd name="T36" fmla="*/ 2147483647 w 530"/>
                <a:gd name="T37" fmla="*/ 0 h 330"/>
                <a:gd name="T38" fmla="*/ 2147483647 w 530"/>
                <a:gd name="T39" fmla="*/ 0 h 330"/>
                <a:gd name="T40" fmla="*/ 2147483647 w 530"/>
                <a:gd name="T41" fmla="*/ 0 h 330"/>
                <a:gd name="T42" fmla="*/ 2147483647 w 530"/>
                <a:gd name="T43" fmla="*/ 0 h 330"/>
                <a:gd name="T44" fmla="*/ 2147483647 w 530"/>
                <a:gd name="T45" fmla="*/ 2147483647 h 330"/>
                <a:gd name="T46" fmla="*/ 2147483647 w 530"/>
                <a:gd name="T47" fmla="*/ 2147483647 h 330"/>
                <a:gd name="T48" fmla="*/ 2147483647 w 530"/>
                <a:gd name="T49" fmla="*/ 2147483647 h 330"/>
                <a:gd name="T50" fmla="*/ 2147483647 w 530"/>
                <a:gd name="T51" fmla="*/ 2147483647 h 330"/>
                <a:gd name="T52" fmla="*/ 2147483647 w 530"/>
                <a:gd name="T53" fmla="*/ 2147483647 h 330"/>
                <a:gd name="T54" fmla="*/ 2147483647 w 530"/>
                <a:gd name="T55" fmla="*/ 2147483647 h 330"/>
                <a:gd name="T56" fmla="*/ 2147483647 w 530"/>
                <a:gd name="T57" fmla="*/ 2147483647 h 330"/>
                <a:gd name="T58" fmla="*/ 2147483647 w 530"/>
                <a:gd name="T59" fmla="*/ 2147483647 h 330"/>
                <a:gd name="T60" fmla="*/ 2147483647 w 530"/>
                <a:gd name="T61" fmla="*/ 2147483647 h 330"/>
                <a:gd name="T62" fmla="*/ 2147483647 w 530"/>
                <a:gd name="T63" fmla="*/ 2147483647 h 330"/>
                <a:gd name="T64" fmla="*/ 2147483647 w 530"/>
                <a:gd name="T65" fmla="*/ 2147483647 h 330"/>
                <a:gd name="T66" fmla="*/ 2147483647 w 530"/>
                <a:gd name="T67" fmla="*/ 2147483647 h 330"/>
                <a:gd name="T68" fmla="*/ 2147483647 w 530"/>
                <a:gd name="T69" fmla="*/ 2147483647 h 330"/>
                <a:gd name="T70" fmla="*/ 2147483647 w 530"/>
                <a:gd name="T71" fmla="*/ 2147483647 h 330"/>
                <a:gd name="T72" fmla="*/ 2147483647 w 530"/>
                <a:gd name="T73" fmla="*/ 2147483647 h 330"/>
                <a:gd name="T74" fmla="*/ 2147483647 w 530"/>
                <a:gd name="T75" fmla="*/ 2147483647 h 330"/>
                <a:gd name="T76" fmla="*/ 2147483647 w 530"/>
                <a:gd name="T77" fmla="*/ 2147483647 h 330"/>
                <a:gd name="T78" fmla="*/ 2147483647 w 530"/>
                <a:gd name="T79" fmla="*/ 2147483647 h 330"/>
                <a:gd name="T80" fmla="*/ 2147483647 w 530"/>
                <a:gd name="T81" fmla="*/ 2147483647 h 330"/>
                <a:gd name="T82" fmla="*/ 2147483647 w 530"/>
                <a:gd name="T83" fmla="*/ 2147483647 h 330"/>
                <a:gd name="T84" fmla="*/ 0 w 530"/>
                <a:gd name="T85" fmla="*/ 2147483647 h 330"/>
                <a:gd name="T86" fmla="*/ 0 w 530"/>
                <a:gd name="T87" fmla="*/ 2147483647 h 330"/>
                <a:gd name="T88" fmla="*/ 0 w 530"/>
                <a:gd name="T89" fmla="*/ 2147483647 h 330"/>
                <a:gd name="T90" fmla="*/ 0 w 530"/>
                <a:gd name="T91" fmla="*/ 2147483647 h 330"/>
                <a:gd name="T92" fmla="*/ 2147483647 w 530"/>
                <a:gd name="T93" fmla="*/ 2147483647 h 330"/>
                <a:gd name="T94" fmla="*/ 2147483647 w 530"/>
                <a:gd name="T95" fmla="*/ 2147483647 h 330"/>
                <a:gd name="T96" fmla="*/ 2147483647 w 530"/>
                <a:gd name="T97" fmla="*/ 2147483647 h 330"/>
                <a:gd name="T98" fmla="*/ 2147483647 w 530"/>
                <a:gd name="T99" fmla="*/ 2147483647 h 330"/>
                <a:gd name="T100" fmla="*/ 2147483647 w 530"/>
                <a:gd name="T101" fmla="*/ 2147483647 h 330"/>
                <a:gd name="T102" fmla="*/ 2147483647 w 530"/>
                <a:gd name="T103" fmla="*/ 2147483647 h 330"/>
                <a:gd name="T104" fmla="*/ 2147483647 w 530"/>
                <a:gd name="T105" fmla="*/ 2147483647 h 330"/>
                <a:gd name="T106" fmla="*/ 2147483647 w 530"/>
                <a:gd name="T107" fmla="*/ 2147483647 h 330"/>
                <a:gd name="T108" fmla="*/ 2147483647 w 530"/>
                <a:gd name="T109" fmla="*/ 2147483647 h 330"/>
                <a:gd name="T110" fmla="*/ 2147483647 w 530"/>
                <a:gd name="T111" fmla="*/ 2147483647 h 330"/>
                <a:gd name="T112" fmla="*/ 2147483647 w 530"/>
                <a:gd name="T113" fmla="*/ 2147483647 h 33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530"/>
                <a:gd name="T172" fmla="*/ 0 h 330"/>
                <a:gd name="T173" fmla="*/ 530 w 530"/>
                <a:gd name="T174" fmla="*/ 330 h 33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530" h="330">
                  <a:moveTo>
                    <a:pt x="242" y="129"/>
                  </a:moveTo>
                  <a:lnTo>
                    <a:pt x="245" y="131"/>
                  </a:lnTo>
                  <a:lnTo>
                    <a:pt x="249" y="133"/>
                  </a:lnTo>
                  <a:lnTo>
                    <a:pt x="259" y="144"/>
                  </a:lnTo>
                  <a:lnTo>
                    <a:pt x="263" y="150"/>
                  </a:lnTo>
                  <a:lnTo>
                    <a:pt x="268" y="155"/>
                  </a:lnTo>
                  <a:lnTo>
                    <a:pt x="271" y="159"/>
                  </a:lnTo>
                  <a:lnTo>
                    <a:pt x="276" y="160"/>
                  </a:lnTo>
                  <a:lnTo>
                    <a:pt x="281" y="158"/>
                  </a:lnTo>
                  <a:lnTo>
                    <a:pt x="283" y="150"/>
                  </a:lnTo>
                  <a:lnTo>
                    <a:pt x="285" y="126"/>
                  </a:lnTo>
                  <a:lnTo>
                    <a:pt x="288" y="121"/>
                  </a:lnTo>
                  <a:lnTo>
                    <a:pt x="293" y="118"/>
                  </a:lnTo>
                  <a:lnTo>
                    <a:pt x="298" y="118"/>
                  </a:lnTo>
                  <a:lnTo>
                    <a:pt x="301" y="122"/>
                  </a:lnTo>
                  <a:lnTo>
                    <a:pt x="303" y="129"/>
                  </a:lnTo>
                  <a:lnTo>
                    <a:pt x="307" y="137"/>
                  </a:lnTo>
                  <a:lnTo>
                    <a:pt x="312" y="139"/>
                  </a:lnTo>
                  <a:lnTo>
                    <a:pt x="318" y="139"/>
                  </a:lnTo>
                  <a:lnTo>
                    <a:pt x="319" y="134"/>
                  </a:lnTo>
                  <a:lnTo>
                    <a:pt x="319" y="128"/>
                  </a:lnTo>
                  <a:lnTo>
                    <a:pt x="318" y="123"/>
                  </a:lnTo>
                  <a:lnTo>
                    <a:pt x="314" y="116"/>
                  </a:lnTo>
                  <a:lnTo>
                    <a:pt x="309" y="111"/>
                  </a:lnTo>
                  <a:lnTo>
                    <a:pt x="315" y="110"/>
                  </a:lnTo>
                  <a:lnTo>
                    <a:pt x="320" y="106"/>
                  </a:lnTo>
                  <a:lnTo>
                    <a:pt x="328" y="96"/>
                  </a:lnTo>
                  <a:lnTo>
                    <a:pt x="322" y="94"/>
                  </a:lnTo>
                  <a:lnTo>
                    <a:pt x="319" y="88"/>
                  </a:lnTo>
                  <a:lnTo>
                    <a:pt x="324" y="81"/>
                  </a:lnTo>
                  <a:lnTo>
                    <a:pt x="329" y="79"/>
                  </a:lnTo>
                  <a:lnTo>
                    <a:pt x="339" y="79"/>
                  </a:lnTo>
                  <a:lnTo>
                    <a:pt x="351" y="64"/>
                  </a:lnTo>
                  <a:lnTo>
                    <a:pt x="357" y="53"/>
                  </a:lnTo>
                  <a:lnTo>
                    <a:pt x="357" y="47"/>
                  </a:lnTo>
                  <a:lnTo>
                    <a:pt x="383" y="20"/>
                  </a:lnTo>
                  <a:lnTo>
                    <a:pt x="387" y="13"/>
                  </a:lnTo>
                  <a:lnTo>
                    <a:pt x="388" y="6"/>
                  </a:lnTo>
                  <a:lnTo>
                    <a:pt x="392" y="0"/>
                  </a:lnTo>
                  <a:lnTo>
                    <a:pt x="394" y="0"/>
                  </a:lnTo>
                  <a:lnTo>
                    <a:pt x="395" y="3"/>
                  </a:lnTo>
                  <a:lnTo>
                    <a:pt x="395" y="14"/>
                  </a:lnTo>
                  <a:lnTo>
                    <a:pt x="393" y="20"/>
                  </a:lnTo>
                  <a:lnTo>
                    <a:pt x="393" y="22"/>
                  </a:lnTo>
                  <a:lnTo>
                    <a:pt x="404" y="9"/>
                  </a:lnTo>
                  <a:lnTo>
                    <a:pt x="408" y="2"/>
                  </a:lnTo>
                  <a:lnTo>
                    <a:pt x="415" y="2"/>
                  </a:lnTo>
                  <a:lnTo>
                    <a:pt x="417" y="4"/>
                  </a:lnTo>
                  <a:lnTo>
                    <a:pt x="422" y="19"/>
                  </a:lnTo>
                  <a:lnTo>
                    <a:pt x="428" y="22"/>
                  </a:lnTo>
                  <a:lnTo>
                    <a:pt x="433" y="20"/>
                  </a:lnTo>
                  <a:lnTo>
                    <a:pt x="443" y="29"/>
                  </a:lnTo>
                  <a:lnTo>
                    <a:pt x="446" y="40"/>
                  </a:lnTo>
                  <a:lnTo>
                    <a:pt x="442" y="43"/>
                  </a:lnTo>
                  <a:lnTo>
                    <a:pt x="443" y="57"/>
                  </a:lnTo>
                  <a:lnTo>
                    <a:pt x="444" y="58"/>
                  </a:lnTo>
                  <a:lnTo>
                    <a:pt x="448" y="57"/>
                  </a:lnTo>
                  <a:lnTo>
                    <a:pt x="452" y="57"/>
                  </a:lnTo>
                  <a:lnTo>
                    <a:pt x="458" y="54"/>
                  </a:lnTo>
                  <a:lnTo>
                    <a:pt x="463" y="54"/>
                  </a:lnTo>
                  <a:lnTo>
                    <a:pt x="467" y="59"/>
                  </a:lnTo>
                  <a:lnTo>
                    <a:pt x="465" y="64"/>
                  </a:lnTo>
                  <a:lnTo>
                    <a:pt x="462" y="68"/>
                  </a:lnTo>
                  <a:lnTo>
                    <a:pt x="463" y="70"/>
                  </a:lnTo>
                  <a:lnTo>
                    <a:pt x="469" y="70"/>
                  </a:lnTo>
                  <a:lnTo>
                    <a:pt x="474" y="65"/>
                  </a:lnTo>
                  <a:lnTo>
                    <a:pt x="480" y="65"/>
                  </a:lnTo>
                  <a:lnTo>
                    <a:pt x="486" y="69"/>
                  </a:lnTo>
                  <a:lnTo>
                    <a:pt x="502" y="80"/>
                  </a:lnTo>
                  <a:lnTo>
                    <a:pt x="523" y="86"/>
                  </a:lnTo>
                  <a:lnTo>
                    <a:pt x="529" y="91"/>
                  </a:lnTo>
                  <a:lnTo>
                    <a:pt x="530" y="95"/>
                  </a:lnTo>
                  <a:lnTo>
                    <a:pt x="528" y="100"/>
                  </a:lnTo>
                  <a:lnTo>
                    <a:pt x="518" y="104"/>
                  </a:lnTo>
                  <a:lnTo>
                    <a:pt x="512" y="108"/>
                  </a:lnTo>
                  <a:lnTo>
                    <a:pt x="501" y="112"/>
                  </a:lnTo>
                  <a:lnTo>
                    <a:pt x="491" y="115"/>
                  </a:lnTo>
                  <a:lnTo>
                    <a:pt x="482" y="110"/>
                  </a:lnTo>
                  <a:lnTo>
                    <a:pt x="475" y="113"/>
                  </a:lnTo>
                  <a:lnTo>
                    <a:pt x="474" y="121"/>
                  </a:lnTo>
                  <a:lnTo>
                    <a:pt x="476" y="126"/>
                  </a:lnTo>
                  <a:lnTo>
                    <a:pt x="482" y="132"/>
                  </a:lnTo>
                  <a:lnTo>
                    <a:pt x="487" y="133"/>
                  </a:lnTo>
                  <a:lnTo>
                    <a:pt x="492" y="137"/>
                  </a:lnTo>
                  <a:lnTo>
                    <a:pt x="494" y="140"/>
                  </a:lnTo>
                  <a:lnTo>
                    <a:pt x="480" y="143"/>
                  </a:lnTo>
                  <a:lnTo>
                    <a:pt x="463" y="149"/>
                  </a:lnTo>
                  <a:lnTo>
                    <a:pt x="457" y="149"/>
                  </a:lnTo>
                  <a:lnTo>
                    <a:pt x="452" y="147"/>
                  </a:lnTo>
                  <a:lnTo>
                    <a:pt x="446" y="143"/>
                  </a:lnTo>
                  <a:lnTo>
                    <a:pt x="444" y="143"/>
                  </a:lnTo>
                  <a:lnTo>
                    <a:pt x="443" y="148"/>
                  </a:lnTo>
                  <a:lnTo>
                    <a:pt x="439" y="151"/>
                  </a:lnTo>
                  <a:lnTo>
                    <a:pt x="435" y="151"/>
                  </a:lnTo>
                  <a:lnTo>
                    <a:pt x="421" y="147"/>
                  </a:lnTo>
                  <a:lnTo>
                    <a:pt x="412" y="142"/>
                  </a:lnTo>
                  <a:lnTo>
                    <a:pt x="361" y="140"/>
                  </a:lnTo>
                  <a:lnTo>
                    <a:pt x="342" y="142"/>
                  </a:lnTo>
                  <a:lnTo>
                    <a:pt x="336" y="150"/>
                  </a:lnTo>
                  <a:lnTo>
                    <a:pt x="330" y="167"/>
                  </a:lnTo>
                  <a:lnTo>
                    <a:pt x="328" y="189"/>
                  </a:lnTo>
                  <a:lnTo>
                    <a:pt x="323" y="201"/>
                  </a:lnTo>
                  <a:lnTo>
                    <a:pt x="297" y="230"/>
                  </a:lnTo>
                  <a:lnTo>
                    <a:pt x="291" y="257"/>
                  </a:lnTo>
                  <a:lnTo>
                    <a:pt x="282" y="275"/>
                  </a:lnTo>
                  <a:lnTo>
                    <a:pt x="275" y="287"/>
                  </a:lnTo>
                  <a:lnTo>
                    <a:pt x="271" y="294"/>
                  </a:lnTo>
                  <a:lnTo>
                    <a:pt x="265" y="299"/>
                  </a:lnTo>
                  <a:lnTo>
                    <a:pt x="252" y="303"/>
                  </a:lnTo>
                  <a:lnTo>
                    <a:pt x="240" y="305"/>
                  </a:lnTo>
                  <a:lnTo>
                    <a:pt x="231" y="307"/>
                  </a:lnTo>
                  <a:lnTo>
                    <a:pt x="220" y="314"/>
                  </a:lnTo>
                  <a:lnTo>
                    <a:pt x="210" y="314"/>
                  </a:lnTo>
                  <a:lnTo>
                    <a:pt x="189" y="306"/>
                  </a:lnTo>
                  <a:lnTo>
                    <a:pt x="184" y="306"/>
                  </a:lnTo>
                  <a:lnTo>
                    <a:pt x="183" y="299"/>
                  </a:lnTo>
                  <a:lnTo>
                    <a:pt x="178" y="296"/>
                  </a:lnTo>
                  <a:lnTo>
                    <a:pt x="151" y="295"/>
                  </a:lnTo>
                  <a:lnTo>
                    <a:pt x="146" y="296"/>
                  </a:lnTo>
                  <a:lnTo>
                    <a:pt x="139" y="305"/>
                  </a:lnTo>
                  <a:lnTo>
                    <a:pt x="123" y="323"/>
                  </a:lnTo>
                  <a:lnTo>
                    <a:pt x="115" y="327"/>
                  </a:lnTo>
                  <a:lnTo>
                    <a:pt x="105" y="326"/>
                  </a:lnTo>
                  <a:lnTo>
                    <a:pt x="96" y="326"/>
                  </a:lnTo>
                  <a:lnTo>
                    <a:pt x="87" y="330"/>
                  </a:lnTo>
                  <a:lnTo>
                    <a:pt x="77" y="323"/>
                  </a:lnTo>
                  <a:lnTo>
                    <a:pt x="66" y="325"/>
                  </a:lnTo>
                  <a:lnTo>
                    <a:pt x="54" y="328"/>
                  </a:lnTo>
                  <a:lnTo>
                    <a:pt x="40" y="325"/>
                  </a:lnTo>
                  <a:lnTo>
                    <a:pt x="27" y="314"/>
                  </a:lnTo>
                  <a:lnTo>
                    <a:pt x="0" y="274"/>
                  </a:lnTo>
                  <a:lnTo>
                    <a:pt x="0" y="269"/>
                  </a:lnTo>
                  <a:lnTo>
                    <a:pt x="2" y="268"/>
                  </a:lnTo>
                  <a:lnTo>
                    <a:pt x="5" y="266"/>
                  </a:lnTo>
                  <a:lnTo>
                    <a:pt x="7" y="264"/>
                  </a:lnTo>
                  <a:lnTo>
                    <a:pt x="10" y="273"/>
                  </a:lnTo>
                  <a:lnTo>
                    <a:pt x="13" y="278"/>
                  </a:lnTo>
                  <a:lnTo>
                    <a:pt x="28" y="283"/>
                  </a:lnTo>
                  <a:lnTo>
                    <a:pt x="34" y="284"/>
                  </a:lnTo>
                  <a:lnTo>
                    <a:pt x="48" y="283"/>
                  </a:lnTo>
                  <a:lnTo>
                    <a:pt x="53" y="284"/>
                  </a:lnTo>
                  <a:lnTo>
                    <a:pt x="59" y="288"/>
                  </a:lnTo>
                  <a:lnTo>
                    <a:pt x="67" y="290"/>
                  </a:lnTo>
                  <a:lnTo>
                    <a:pt x="84" y="293"/>
                  </a:lnTo>
                  <a:lnTo>
                    <a:pt x="86" y="285"/>
                  </a:lnTo>
                  <a:lnTo>
                    <a:pt x="89" y="279"/>
                  </a:lnTo>
                  <a:lnTo>
                    <a:pt x="91" y="269"/>
                  </a:lnTo>
                  <a:lnTo>
                    <a:pt x="93" y="263"/>
                  </a:lnTo>
                  <a:lnTo>
                    <a:pt x="91" y="253"/>
                  </a:lnTo>
                  <a:lnTo>
                    <a:pt x="96" y="250"/>
                  </a:lnTo>
                  <a:lnTo>
                    <a:pt x="102" y="251"/>
                  </a:lnTo>
                  <a:lnTo>
                    <a:pt x="103" y="253"/>
                  </a:lnTo>
                  <a:lnTo>
                    <a:pt x="103" y="239"/>
                  </a:lnTo>
                  <a:lnTo>
                    <a:pt x="105" y="235"/>
                  </a:lnTo>
                  <a:lnTo>
                    <a:pt x="113" y="225"/>
                  </a:lnTo>
                  <a:lnTo>
                    <a:pt x="116" y="221"/>
                  </a:lnTo>
                  <a:lnTo>
                    <a:pt x="134" y="220"/>
                  </a:lnTo>
                  <a:lnTo>
                    <a:pt x="137" y="219"/>
                  </a:lnTo>
                  <a:lnTo>
                    <a:pt x="137" y="218"/>
                  </a:lnTo>
                  <a:lnTo>
                    <a:pt x="142" y="217"/>
                  </a:lnTo>
                  <a:lnTo>
                    <a:pt x="152" y="217"/>
                  </a:lnTo>
                  <a:lnTo>
                    <a:pt x="161" y="215"/>
                  </a:lnTo>
                  <a:lnTo>
                    <a:pt x="174" y="214"/>
                  </a:lnTo>
                  <a:lnTo>
                    <a:pt x="179" y="212"/>
                  </a:lnTo>
                  <a:lnTo>
                    <a:pt x="190" y="201"/>
                  </a:lnTo>
                  <a:lnTo>
                    <a:pt x="205" y="183"/>
                  </a:lnTo>
                  <a:lnTo>
                    <a:pt x="207" y="177"/>
                  </a:lnTo>
                  <a:lnTo>
                    <a:pt x="215" y="167"/>
                  </a:lnTo>
                  <a:lnTo>
                    <a:pt x="231" y="154"/>
                  </a:lnTo>
                  <a:lnTo>
                    <a:pt x="238" y="143"/>
                  </a:lnTo>
                  <a:lnTo>
                    <a:pt x="240" y="131"/>
                  </a:lnTo>
                  <a:lnTo>
                    <a:pt x="242" y="12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95" name="Freeform 92">
              <a:extLst>
                <a:ext uri="{FF2B5EF4-FFF2-40B4-BE49-F238E27FC236}">
                  <a16:creationId xmlns:a16="http://schemas.microsoft.com/office/drawing/2014/main" id="{D77E2D89-C6B1-BA20-D156-503F3FA91F8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704132" y="4132179"/>
              <a:ext cx="119387" cy="167664"/>
            </a:xfrm>
            <a:custGeom>
              <a:avLst/>
              <a:gdLst>
                <a:gd name="T0" fmla="*/ 0 w 226"/>
                <a:gd name="T1" fmla="*/ 0 h 291"/>
                <a:gd name="T2" fmla="*/ 0 w 226"/>
                <a:gd name="T3" fmla="*/ 0 h 291"/>
                <a:gd name="T4" fmla="*/ 0 w 226"/>
                <a:gd name="T5" fmla="*/ 0 h 291"/>
                <a:gd name="T6" fmla="*/ 0 w 226"/>
                <a:gd name="T7" fmla="*/ 0 h 291"/>
                <a:gd name="T8" fmla="*/ 0 w 226"/>
                <a:gd name="T9" fmla="*/ 0 h 291"/>
                <a:gd name="T10" fmla="*/ 0 w 226"/>
                <a:gd name="T11" fmla="*/ 2147483647 h 291"/>
                <a:gd name="T12" fmla="*/ 0 w 226"/>
                <a:gd name="T13" fmla="*/ 2147483647 h 291"/>
                <a:gd name="T14" fmla="*/ 0 w 226"/>
                <a:gd name="T15" fmla="*/ 2147483647 h 291"/>
                <a:gd name="T16" fmla="*/ 0 w 226"/>
                <a:gd name="T17" fmla="*/ 2147483647 h 291"/>
                <a:gd name="T18" fmla="*/ 0 w 226"/>
                <a:gd name="T19" fmla="*/ 2147483647 h 291"/>
                <a:gd name="T20" fmla="*/ 0 w 226"/>
                <a:gd name="T21" fmla="*/ 2147483647 h 291"/>
                <a:gd name="T22" fmla="*/ 0 w 226"/>
                <a:gd name="T23" fmla="*/ 2147483647 h 291"/>
                <a:gd name="T24" fmla="*/ 2147483647 w 226"/>
                <a:gd name="T25" fmla="*/ 2147483647 h 291"/>
                <a:gd name="T26" fmla="*/ 2147483647 w 226"/>
                <a:gd name="T27" fmla="*/ 2147483647 h 291"/>
                <a:gd name="T28" fmla="*/ 2147483647 w 226"/>
                <a:gd name="T29" fmla="*/ 2147483647 h 291"/>
                <a:gd name="T30" fmla="*/ 2147483647 w 226"/>
                <a:gd name="T31" fmla="*/ 2147483647 h 291"/>
                <a:gd name="T32" fmla="*/ 2147483647 w 226"/>
                <a:gd name="T33" fmla="*/ 2147483647 h 291"/>
                <a:gd name="T34" fmla="*/ 2147483647 w 226"/>
                <a:gd name="T35" fmla="*/ 2147483647 h 291"/>
                <a:gd name="T36" fmla="*/ 2147483647 w 226"/>
                <a:gd name="T37" fmla="*/ 2147483647 h 291"/>
                <a:gd name="T38" fmla="*/ 2147483647 w 226"/>
                <a:gd name="T39" fmla="*/ 2147483647 h 291"/>
                <a:gd name="T40" fmla="*/ 2147483647 w 226"/>
                <a:gd name="T41" fmla="*/ 2147483647 h 291"/>
                <a:gd name="T42" fmla="*/ 2147483647 w 226"/>
                <a:gd name="T43" fmla="*/ 2147483647 h 291"/>
                <a:gd name="T44" fmla="*/ 2147483647 w 226"/>
                <a:gd name="T45" fmla="*/ 2147483647 h 291"/>
                <a:gd name="T46" fmla="*/ 2147483647 w 226"/>
                <a:gd name="T47" fmla="*/ 2147483647 h 291"/>
                <a:gd name="T48" fmla="*/ 2147483647 w 226"/>
                <a:gd name="T49" fmla="*/ 2147483647 h 291"/>
                <a:gd name="T50" fmla="*/ 2147483647 w 226"/>
                <a:gd name="T51" fmla="*/ 2147483647 h 291"/>
                <a:gd name="T52" fmla="*/ 2147483647 w 226"/>
                <a:gd name="T53" fmla="*/ 2147483647 h 291"/>
                <a:gd name="T54" fmla="*/ 2147483647 w 226"/>
                <a:gd name="T55" fmla="*/ 2147483647 h 291"/>
                <a:gd name="T56" fmla="*/ 2147483647 w 226"/>
                <a:gd name="T57" fmla="*/ 2147483647 h 291"/>
                <a:gd name="T58" fmla="*/ 2147483647 w 226"/>
                <a:gd name="T59" fmla="*/ 2147483647 h 291"/>
                <a:gd name="T60" fmla="*/ 2147483647 w 226"/>
                <a:gd name="T61" fmla="*/ 2147483647 h 291"/>
                <a:gd name="T62" fmla="*/ 2147483647 w 226"/>
                <a:gd name="T63" fmla="*/ 2147483647 h 291"/>
                <a:gd name="T64" fmla="*/ 2147483647 w 226"/>
                <a:gd name="T65" fmla="*/ 2147483647 h 291"/>
                <a:gd name="T66" fmla="*/ 2147483647 w 226"/>
                <a:gd name="T67" fmla="*/ 2147483647 h 291"/>
                <a:gd name="T68" fmla="*/ 2147483647 w 226"/>
                <a:gd name="T69" fmla="*/ 2147483647 h 291"/>
                <a:gd name="T70" fmla="*/ 2147483647 w 226"/>
                <a:gd name="T71" fmla="*/ 2147483647 h 291"/>
                <a:gd name="T72" fmla="*/ 2147483647 w 226"/>
                <a:gd name="T73" fmla="*/ 2147483647 h 291"/>
                <a:gd name="T74" fmla="*/ 2147483647 w 226"/>
                <a:gd name="T75" fmla="*/ 2147483647 h 291"/>
                <a:gd name="T76" fmla="*/ 2147483647 w 226"/>
                <a:gd name="T77" fmla="*/ 2147483647 h 291"/>
                <a:gd name="T78" fmla="*/ 2147483647 w 226"/>
                <a:gd name="T79" fmla="*/ 2147483647 h 291"/>
                <a:gd name="T80" fmla="*/ 2147483647 w 226"/>
                <a:gd name="T81" fmla="*/ 2147483647 h 291"/>
                <a:gd name="T82" fmla="*/ 2147483647 w 226"/>
                <a:gd name="T83" fmla="*/ 2147483647 h 291"/>
                <a:gd name="T84" fmla="*/ 2147483647 w 226"/>
                <a:gd name="T85" fmla="*/ 0 h 291"/>
                <a:gd name="T86" fmla="*/ 2147483647 w 226"/>
                <a:gd name="T87" fmla="*/ 0 h 291"/>
                <a:gd name="T88" fmla="*/ 2147483647 w 226"/>
                <a:gd name="T89" fmla="*/ 0 h 291"/>
                <a:gd name="T90" fmla="*/ 2147483647 w 226"/>
                <a:gd name="T91" fmla="*/ 0 h 291"/>
                <a:gd name="T92" fmla="*/ 2147483647 w 226"/>
                <a:gd name="T93" fmla="*/ 0 h 291"/>
                <a:gd name="T94" fmla="*/ 2147483647 w 226"/>
                <a:gd name="T95" fmla="*/ 0 h 291"/>
                <a:gd name="T96" fmla="*/ 2147483647 w 226"/>
                <a:gd name="T97" fmla="*/ 0 h 291"/>
                <a:gd name="T98" fmla="*/ 2147483647 w 226"/>
                <a:gd name="T99" fmla="*/ 0 h 291"/>
                <a:gd name="T100" fmla="*/ 2147483647 w 226"/>
                <a:gd name="T101" fmla="*/ 0 h 291"/>
                <a:gd name="T102" fmla="*/ 2147483647 w 226"/>
                <a:gd name="T103" fmla="*/ 0 h 291"/>
                <a:gd name="T104" fmla="*/ 0 w 226"/>
                <a:gd name="T105" fmla="*/ 0 h 291"/>
                <a:gd name="T106" fmla="*/ 0 w 226"/>
                <a:gd name="T107" fmla="*/ 0 h 291"/>
                <a:gd name="T108" fmla="*/ 0 w 226"/>
                <a:gd name="T109" fmla="*/ 0 h 291"/>
                <a:gd name="T110" fmla="*/ 0 w 226"/>
                <a:gd name="T111" fmla="*/ 0 h 291"/>
                <a:gd name="T112" fmla="*/ 0 w 226"/>
                <a:gd name="T113" fmla="*/ 0 h 291"/>
                <a:gd name="T114" fmla="*/ 0 w 226"/>
                <a:gd name="T115" fmla="*/ 0 h 29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26"/>
                <a:gd name="T175" fmla="*/ 0 h 291"/>
                <a:gd name="T176" fmla="*/ 226 w 226"/>
                <a:gd name="T177" fmla="*/ 291 h 29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26" h="291">
                  <a:moveTo>
                    <a:pt x="5" y="16"/>
                  </a:moveTo>
                  <a:lnTo>
                    <a:pt x="2" y="16"/>
                  </a:lnTo>
                  <a:lnTo>
                    <a:pt x="7" y="24"/>
                  </a:lnTo>
                  <a:lnTo>
                    <a:pt x="10" y="43"/>
                  </a:lnTo>
                  <a:lnTo>
                    <a:pt x="14" y="55"/>
                  </a:lnTo>
                  <a:lnTo>
                    <a:pt x="15" y="87"/>
                  </a:lnTo>
                  <a:lnTo>
                    <a:pt x="18" y="98"/>
                  </a:lnTo>
                  <a:lnTo>
                    <a:pt x="26" y="104"/>
                  </a:lnTo>
                  <a:lnTo>
                    <a:pt x="27" y="115"/>
                  </a:lnTo>
                  <a:lnTo>
                    <a:pt x="26" y="130"/>
                  </a:lnTo>
                  <a:lnTo>
                    <a:pt x="32" y="141"/>
                  </a:lnTo>
                  <a:lnTo>
                    <a:pt x="33" y="148"/>
                  </a:lnTo>
                  <a:lnTo>
                    <a:pt x="52" y="173"/>
                  </a:lnTo>
                  <a:lnTo>
                    <a:pt x="60" y="183"/>
                  </a:lnTo>
                  <a:lnTo>
                    <a:pt x="66" y="196"/>
                  </a:lnTo>
                  <a:lnTo>
                    <a:pt x="68" y="208"/>
                  </a:lnTo>
                  <a:lnTo>
                    <a:pt x="77" y="218"/>
                  </a:lnTo>
                  <a:lnTo>
                    <a:pt x="93" y="229"/>
                  </a:lnTo>
                  <a:lnTo>
                    <a:pt x="114" y="248"/>
                  </a:lnTo>
                  <a:lnTo>
                    <a:pt x="129" y="253"/>
                  </a:lnTo>
                  <a:lnTo>
                    <a:pt x="144" y="265"/>
                  </a:lnTo>
                  <a:lnTo>
                    <a:pt x="152" y="269"/>
                  </a:lnTo>
                  <a:lnTo>
                    <a:pt x="166" y="276"/>
                  </a:lnTo>
                  <a:lnTo>
                    <a:pt x="178" y="287"/>
                  </a:lnTo>
                  <a:lnTo>
                    <a:pt x="182" y="285"/>
                  </a:lnTo>
                  <a:lnTo>
                    <a:pt x="185" y="291"/>
                  </a:lnTo>
                  <a:lnTo>
                    <a:pt x="189" y="287"/>
                  </a:lnTo>
                  <a:lnTo>
                    <a:pt x="192" y="281"/>
                  </a:lnTo>
                  <a:lnTo>
                    <a:pt x="198" y="277"/>
                  </a:lnTo>
                  <a:lnTo>
                    <a:pt x="211" y="280"/>
                  </a:lnTo>
                  <a:lnTo>
                    <a:pt x="220" y="288"/>
                  </a:lnTo>
                  <a:lnTo>
                    <a:pt x="224" y="281"/>
                  </a:lnTo>
                  <a:lnTo>
                    <a:pt x="226" y="265"/>
                  </a:lnTo>
                  <a:lnTo>
                    <a:pt x="210" y="237"/>
                  </a:lnTo>
                  <a:lnTo>
                    <a:pt x="205" y="222"/>
                  </a:lnTo>
                  <a:lnTo>
                    <a:pt x="188" y="210"/>
                  </a:lnTo>
                  <a:lnTo>
                    <a:pt x="182" y="191"/>
                  </a:lnTo>
                  <a:lnTo>
                    <a:pt x="179" y="151"/>
                  </a:lnTo>
                  <a:lnTo>
                    <a:pt x="183" y="126"/>
                  </a:lnTo>
                  <a:lnTo>
                    <a:pt x="183" y="108"/>
                  </a:lnTo>
                  <a:lnTo>
                    <a:pt x="181" y="95"/>
                  </a:lnTo>
                  <a:lnTo>
                    <a:pt x="174" y="83"/>
                  </a:lnTo>
                  <a:lnTo>
                    <a:pt x="158" y="60"/>
                  </a:lnTo>
                  <a:lnTo>
                    <a:pt x="136" y="44"/>
                  </a:lnTo>
                  <a:lnTo>
                    <a:pt x="123" y="28"/>
                  </a:lnTo>
                  <a:lnTo>
                    <a:pt x="111" y="29"/>
                  </a:lnTo>
                  <a:lnTo>
                    <a:pt x="103" y="41"/>
                  </a:lnTo>
                  <a:lnTo>
                    <a:pt x="92" y="43"/>
                  </a:lnTo>
                  <a:lnTo>
                    <a:pt x="81" y="41"/>
                  </a:lnTo>
                  <a:lnTo>
                    <a:pt x="58" y="56"/>
                  </a:lnTo>
                  <a:lnTo>
                    <a:pt x="54" y="45"/>
                  </a:lnTo>
                  <a:lnTo>
                    <a:pt x="57" y="29"/>
                  </a:lnTo>
                  <a:lnTo>
                    <a:pt x="47" y="14"/>
                  </a:lnTo>
                  <a:lnTo>
                    <a:pt x="37" y="12"/>
                  </a:lnTo>
                  <a:lnTo>
                    <a:pt x="20" y="9"/>
                  </a:lnTo>
                  <a:lnTo>
                    <a:pt x="12" y="0"/>
                  </a:lnTo>
                  <a:lnTo>
                    <a:pt x="0" y="0"/>
                  </a:lnTo>
                  <a:lnTo>
                    <a:pt x="5" y="1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96" name="Freeform 93">
              <a:extLst>
                <a:ext uri="{FF2B5EF4-FFF2-40B4-BE49-F238E27FC236}">
                  <a16:creationId xmlns:a16="http://schemas.microsoft.com/office/drawing/2014/main" id="{70FC7F23-AB2B-CE1F-2357-930F00A24DA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629515" y="3684058"/>
              <a:ext cx="229821" cy="480129"/>
            </a:xfrm>
            <a:custGeom>
              <a:avLst/>
              <a:gdLst>
                <a:gd name="T0" fmla="*/ 2147483647 w 431"/>
                <a:gd name="T1" fmla="*/ 0 h 844"/>
                <a:gd name="T2" fmla="*/ 2147483647 w 431"/>
                <a:gd name="T3" fmla="*/ 0 h 844"/>
                <a:gd name="T4" fmla="*/ 0 w 431"/>
                <a:gd name="T5" fmla="*/ 0 h 844"/>
                <a:gd name="T6" fmla="*/ 0 w 431"/>
                <a:gd name="T7" fmla="*/ 2147483647 h 844"/>
                <a:gd name="T8" fmla="*/ 0 w 431"/>
                <a:gd name="T9" fmla="*/ 2147483647 h 844"/>
                <a:gd name="T10" fmla="*/ 2147483647 w 431"/>
                <a:gd name="T11" fmla="*/ 2147483647 h 844"/>
                <a:gd name="T12" fmla="*/ 2147483647 w 431"/>
                <a:gd name="T13" fmla="*/ 2147483647 h 844"/>
                <a:gd name="T14" fmla="*/ 0 w 431"/>
                <a:gd name="T15" fmla="*/ 2147483647 h 844"/>
                <a:gd name="T16" fmla="*/ 2147483647 w 431"/>
                <a:gd name="T17" fmla="*/ 2147483647 h 844"/>
                <a:gd name="T18" fmla="*/ 2147483647 w 431"/>
                <a:gd name="T19" fmla="*/ 2147483647 h 844"/>
                <a:gd name="T20" fmla="*/ 2147483647 w 431"/>
                <a:gd name="T21" fmla="*/ 2147483647 h 844"/>
                <a:gd name="T22" fmla="*/ 2147483647 w 431"/>
                <a:gd name="T23" fmla="*/ 2147483647 h 844"/>
                <a:gd name="T24" fmla="*/ 2147483647 w 431"/>
                <a:gd name="T25" fmla="*/ 2147483647 h 844"/>
                <a:gd name="T26" fmla="*/ 0 w 431"/>
                <a:gd name="T27" fmla="*/ 2147483647 h 844"/>
                <a:gd name="T28" fmla="*/ 2147483647 w 431"/>
                <a:gd name="T29" fmla="*/ 2147483647 h 844"/>
                <a:gd name="T30" fmla="*/ 2147483647 w 431"/>
                <a:gd name="T31" fmla="*/ 2147483647 h 844"/>
                <a:gd name="T32" fmla="*/ 2147483647 w 431"/>
                <a:gd name="T33" fmla="*/ 2147483647 h 844"/>
                <a:gd name="T34" fmla="*/ 2147483647 w 431"/>
                <a:gd name="T35" fmla="*/ 2147483647 h 844"/>
                <a:gd name="T36" fmla="*/ 2147483647 w 431"/>
                <a:gd name="T37" fmla="*/ 2147483647 h 844"/>
                <a:gd name="T38" fmla="*/ 2147483647 w 431"/>
                <a:gd name="T39" fmla="*/ 2147483647 h 844"/>
                <a:gd name="T40" fmla="*/ 2147483647 w 431"/>
                <a:gd name="T41" fmla="*/ 2147483647 h 844"/>
                <a:gd name="T42" fmla="*/ 2147483647 w 431"/>
                <a:gd name="T43" fmla="*/ 2147483647 h 844"/>
                <a:gd name="T44" fmla="*/ 2147483647 w 431"/>
                <a:gd name="T45" fmla="*/ 2147483647 h 844"/>
                <a:gd name="T46" fmla="*/ 2147483647 w 431"/>
                <a:gd name="T47" fmla="*/ 2147483647 h 844"/>
                <a:gd name="T48" fmla="*/ 2147483647 w 431"/>
                <a:gd name="T49" fmla="*/ 2147483647 h 844"/>
                <a:gd name="T50" fmla="*/ 2147483647 w 431"/>
                <a:gd name="T51" fmla="*/ 2147483647 h 844"/>
                <a:gd name="T52" fmla="*/ 2147483647 w 431"/>
                <a:gd name="T53" fmla="*/ 2147483647 h 844"/>
                <a:gd name="T54" fmla="*/ 2147483647 w 431"/>
                <a:gd name="T55" fmla="*/ 2147483647 h 844"/>
                <a:gd name="T56" fmla="*/ 2147483647 w 431"/>
                <a:gd name="T57" fmla="*/ 2147483647 h 844"/>
                <a:gd name="T58" fmla="*/ 2147483647 w 431"/>
                <a:gd name="T59" fmla="*/ 2147483647 h 844"/>
                <a:gd name="T60" fmla="*/ 2147483647 w 431"/>
                <a:gd name="T61" fmla="*/ 2147483647 h 844"/>
                <a:gd name="T62" fmla="*/ 2147483647 w 431"/>
                <a:gd name="T63" fmla="*/ 2147483647 h 844"/>
                <a:gd name="T64" fmla="*/ 2147483647 w 431"/>
                <a:gd name="T65" fmla="*/ 2147483647 h 844"/>
                <a:gd name="T66" fmla="*/ 2147483647 w 431"/>
                <a:gd name="T67" fmla="*/ 2147483647 h 844"/>
                <a:gd name="T68" fmla="*/ 2147483647 w 431"/>
                <a:gd name="T69" fmla="*/ 2147483647 h 844"/>
                <a:gd name="T70" fmla="*/ 2147483647 w 431"/>
                <a:gd name="T71" fmla="*/ 2147483647 h 844"/>
                <a:gd name="T72" fmla="*/ 2147483647 w 431"/>
                <a:gd name="T73" fmla="*/ 2147483647 h 844"/>
                <a:gd name="T74" fmla="*/ 2147483647 w 431"/>
                <a:gd name="T75" fmla="*/ 2147483647 h 844"/>
                <a:gd name="T76" fmla="*/ 2147483647 w 431"/>
                <a:gd name="T77" fmla="*/ 2147483647 h 844"/>
                <a:gd name="T78" fmla="*/ 2147483647 w 431"/>
                <a:gd name="T79" fmla="*/ 2147483647 h 844"/>
                <a:gd name="T80" fmla="*/ 2147483647 w 431"/>
                <a:gd name="T81" fmla="*/ 2147483647 h 844"/>
                <a:gd name="T82" fmla="*/ 2147483647 w 431"/>
                <a:gd name="T83" fmla="*/ 2147483647 h 844"/>
                <a:gd name="T84" fmla="*/ 2147483647 w 431"/>
                <a:gd name="T85" fmla="*/ 2147483647 h 844"/>
                <a:gd name="T86" fmla="*/ 2147483647 w 431"/>
                <a:gd name="T87" fmla="*/ 2147483647 h 844"/>
                <a:gd name="T88" fmla="*/ 2147483647 w 431"/>
                <a:gd name="T89" fmla="*/ 2147483647 h 844"/>
                <a:gd name="T90" fmla="*/ 2147483647 w 431"/>
                <a:gd name="T91" fmla="*/ 2147483647 h 844"/>
                <a:gd name="T92" fmla="*/ 2147483647 w 431"/>
                <a:gd name="T93" fmla="*/ 2147483647 h 844"/>
                <a:gd name="T94" fmla="*/ 2147483647 w 431"/>
                <a:gd name="T95" fmla="*/ 2147483647 h 844"/>
                <a:gd name="T96" fmla="*/ 2147483647 w 431"/>
                <a:gd name="T97" fmla="*/ 2147483647 h 844"/>
                <a:gd name="T98" fmla="*/ 2147483647 w 431"/>
                <a:gd name="T99" fmla="*/ 2147483647 h 844"/>
                <a:gd name="T100" fmla="*/ 2147483647 w 431"/>
                <a:gd name="T101" fmla="*/ 0 h 844"/>
                <a:gd name="T102" fmla="*/ 2147483647 w 431"/>
                <a:gd name="T103" fmla="*/ 0 h 844"/>
                <a:gd name="T104" fmla="*/ 2147483647 w 431"/>
                <a:gd name="T105" fmla="*/ 0 h 84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31"/>
                <a:gd name="T160" fmla="*/ 0 h 844"/>
                <a:gd name="T161" fmla="*/ 431 w 431"/>
                <a:gd name="T162" fmla="*/ 844 h 84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31" h="844">
                  <a:moveTo>
                    <a:pt x="144" y="0"/>
                  </a:moveTo>
                  <a:lnTo>
                    <a:pt x="138" y="3"/>
                  </a:lnTo>
                  <a:lnTo>
                    <a:pt x="131" y="11"/>
                  </a:lnTo>
                  <a:lnTo>
                    <a:pt x="125" y="24"/>
                  </a:lnTo>
                  <a:lnTo>
                    <a:pt x="112" y="27"/>
                  </a:lnTo>
                  <a:lnTo>
                    <a:pt x="103" y="32"/>
                  </a:lnTo>
                  <a:lnTo>
                    <a:pt x="88" y="43"/>
                  </a:lnTo>
                  <a:lnTo>
                    <a:pt x="77" y="49"/>
                  </a:lnTo>
                  <a:lnTo>
                    <a:pt x="66" y="60"/>
                  </a:lnTo>
                  <a:lnTo>
                    <a:pt x="55" y="64"/>
                  </a:lnTo>
                  <a:lnTo>
                    <a:pt x="37" y="65"/>
                  </a:lnTo>
                  <a:lnTo>
                    <a:pt x="23" y="67"/>
                  </a:lnTo>
                  <a:lnTo>
                    <a:pt x="9" y="106"/>
                  </a:lnTo>
                  <a:lnTo>
                    <a:pt x="7" y="118"/>
                  </a:lnTo>
                  <a:lnTo>
                    <a:pt x="9" y="128"/>
                  </a:lnTo>
                  <a:lnTo>
                    <a:pt x="0" y="135"/>
                  </a:lnTo>
                  <a:lnTo>
                    <a:pt x="1" y="142"/>
                  </a:lnTo>
                  <a:lnTo>
                    <a:pt x="7" y="159"/>
                  </a:lnTo>
                  <a:lnTo>
                    <a:pt x="17" y="182"/>
                  </a:lnTo>
                  <a:lnTo>
                    <a:pt x="40" y="199"/>
                  </a:lnTo>
                  <a:lnTo>
                    <a:pt x="48" y="209"/>
                  </a:lnTo>
                  <a:lnTo>
                    <a:pt x="50" y="225"/>
                  </a:lnTo>
                  <a:lnTo>
                    <a:pt x="49" y="240"/>
                  </a:lnTo>
                  <a:lnTo>
                    <a:pt x="52" y="252"/>
                  </a:lnTo>
                  <a:lnTo>
                    <a:pt x="61" y="253"/>
                  </a:lnTo>
                  <a:lnTo>
                    <a:pt x="65" y="263"/>
                  </a:lnTo>
                  <a:lnTo>
                    <a:pt x="59" y="269"/>
                  </a:lnTo>
                  <a:lnTo>
                    <a:pt x="53" y="283"/>
                  </a:lnTo>
                  <a:lnTo>
                    <a:pt x="50" y="291"/>
                  </a:lnTo>
                  <a:lnTo>
                    <a:pt x="50" y="304"/>
                  </a:lnTo>
                  <a:lnTo>
                    <a:pt x="47" y="307"/>
                  </a:lnTo>
                  <a:lnTo>
                    <a:pt x="38" y="315"/>
                  </a:lnTo>
                  <a:lnTo>
                    <a:pt x="34" y="323"/>
                  </a:lnTo>
                  <a:lnTo>
                    <a:pt x="33" y="337"/>
                  </a:lnTo>
                  <a:lnTo>
                    <a:pt x="39" y="354"/>
                  </a:lnTo>
                  <a:lnTo>
                    <a:pt x="58" y="366"/>
                  </a:lnTo>
                  <a:lnTo>
                    <a:pt x="76" y="386"/>
                  </a:lnTo>
                  <a:lnTo>
                    <a:pt x="79" y="392"/>
                  </a:lnTo>
                  <a:lnTo>
                    <a:pt x="81" y="401"/>
                  </a:lnTo>
                  <a:lnTo>
                    <a:pt x="82" y="434"/>
                  </a:lnTo>
                  <a:lnTo>
                    <a:pt x="88" y="452"/>
                  </a:lnTo>
                  <a:lnTo>
                    <a:pt x="91" y="454"/>
                  </a:lnTo>
                  <a:lnTo>
                    <a:pt x="96" y="469"/>
                  </a:lnTo>
                  <a:lnTo>
                    <a:pt x="111" y="503"/>
                  </a:lnTo>
                  <a:lnTo>
                    <a:pt x="109" y="510"/>
                  </a:lnTo>
                  <a:lnTo>
                    <a:pt x="91" y="540"/>
                  </a:lnTo>
                  <a:lnTo>
                    <a:pt x="80" y="547"/>
                  </a:lnTo>
                  <a:lnTo>
                    <a:pt x="72" y="559"/>
                  </a:lnTo>
                  <a:lnTo>
                    <a:pt x="70" y="574"/>
                  </a:lnTo>
                  <a:lnTo>
                    <a:pt x="65" y="586"/>
                  </a:lnTo>
                  <a:lnTo>
                    <a:pt x="60" y="594"/>
                  </a:lnTo>
                  <a:lnTo>
                    <a:pt x="59" y="597"/>
                  </a:lnTo>
                  <a:lnTo>
                    <a:pt x="54" y="610"/>
                  </a:lnTo>
                  <a:lnTo>
                    <a:pt x="53" y="618"/>
                  </a:lnTo>
                  <a:lnTo>
                    <a:pt x="39" y="664"/>
                  </a:lnTo>
                  <a:lnTo>
                    <a:pt x="37" y="681"/>
                  </a:lnTo>
                  <a:lnTo>
                    <a:pt x="37" y="696"/>
                  </a:lnTo>
                  <a:lnTo>
                    <a:pt x="40" y="705"/>
                  </a:lnTo>
                  <a:lnTo>
                    <a:pt x="60" y="703"/>
                  </a:lnTo>
                  <a:lnTo>
                    <a:pt x="80" y="725"/>
                  </a:lnTo>
                  <a:lnTo>
                    <a:pt x="86" y="729"/>
                  </a:lnTo>
                  <a:lnTo>
                    <a:pt x="101" y="750"/>
                  </a:lnTo>
                  <a:lnTo>
                    <a:pt x="112" y="759"/>
                  </a:lnTo>
                  <a:lnTo>
                    <a:pt x="118" y="774"/>
                  </a:lnTo>
                  <a:lnTo>
                    <a:pt x="145" y="804"/>
                  </a:lnTo>
                  <a:lnTo>
                    <a:pt x="140" y="788"/>
                  </a:lnTo>
                  <a:lnTo>
                    <a:pt x="152" y="788"/>
                  </a:lnTo>
                  <a:lnTo>
                    <a:pt x="160" y="797"/>
                  </a:lnTo>
                  <a:lnTo>
                    <a:pt x="177" y="800"/>
                  </a:lnTo>
                  <a:lnTo>
                    <a:pt x="187" y="802"/>
                  </a:lnTo>
                  <a:lnTo>
                    <a:pt x="197" y="817"/>
                  </a:lnTo>
                  <a:lnTo>
                    <a:pt x="194" y="833"/>
                  </a:lnTo>
                  <a:lnTo>
                    <a:pt x="198" y="844"/>
                  </a:lnTo>
                  <a:lnTo>
                    <a:pt x="221" y="829"/>
                  </a:lnTo>
                  <a:lnTo>
                    <a:pt x="232" y="831"/>
                  </a:lnTo>
                  <a:lnTo>
                    <a:pt x="243" y="829"/>
                  </a:lnTo>
                  <a:lnTo>
                    <a:pt x="251" y="817"/>
                  </a:lnTo>
                  <a:lnTo>
                    <a:pt x="242" y="804"/>
                  </a:lnTo>
                  <a:lnTo>
                    <a:pt x="230" y="790"/>
                  </a:lnTo>
                  <a:lnTo>
                    <a:pt x="215" y="778"/>
                  </a:lnTo>
                  <a:lnTo>
                    <a:pt x="181" y="773"/>
                  </a:lnTo>
                  <a:lnTo>
                    <a:pt x="168" y="758"/>
                  </a:lnTo>
                  <a:lnTo>
                    <a:pt x="162" y="754"/>
                  </a:lnTo>
                  <a:lnTo>
                    <a:pt x="157" y="745"/>
                  </a:lnTo>
                  <a:lnTo>
                    <a:pt x="151" y="709"/>
                  </a:lnTo>
                  <a:lnTo>
                    <a:pt x="145" y="699"/>
                  </a:lnTo>
                  <a:lnTo>
                    <a:pt x="136" y="691"/>
                  </a:lnTo>
                  <a:lnTo>
                    <a:pt x="131" y="676"/>
                  </a:lnTo>
                  <a:lnTo>
                    <a:pt x="129" y="660"/>
                  </a:lnTo>
                  <a:lnTo>
                    <a:pt x="124" y="649"/>
                  </a:lnTo>
                  <a:lnTo>
                    <a:pt x="114" y="646"/>
                  </a:lnTo>
                  <a:lnTo>
                    <a:pt x="102" y="651"/>
                  </a:lnTo>
                  <a:lnTo>
                    <a:pt x="92" y="649"/>
                  </a:lnTo>
                  <a:lnTo>
                    <a:pt x="88" y="640"/>
                  </a:lnTo>
                  <a:lnTo>
                    <a:pt x="86" y="623"/>
                  </a:lnTo>
                  <a:lnTo>
                    <a:pt x="85" y="607"/>
                  </a:lnTo>
                  <a:lnTo>
                    <a:pt x="85" y="592"/>
                  </a:lnTo>
                  <a:lnTo>
                    <a:pt x="86" y="586"/>
                  </a:lnTo>
                  <a:lnTo>
                    <a:pt x="92" y="578"/>
                  </a:lnTo>
                  <a:lnTo>
                    <a:pt x="93" y="568"/>
                  </a:lnTo>
                  <a:lnTo>
                    <a:pt x="98" y="563"/>
                  </a:lnTo>
                  <a:lnTo>
                    <a:pt x="103" y="553"/>
                  </a:lnTo>
                  <a:lnTo>
                    <a:pt x="103" y="542"/>
                  </a:lnTo>
                  <a:lnTo>
                    <a:pt x="112" y="515"/>
                  </a:lnTo>
                  <a:lnTo>
                    <a:pt x="119" y="501"/>
                  </a:lnTo>
                  <a:lnTo>
                    <a:pt x="126" y="487"/>
                  </a:lnTo>
                  <a:lnTo>
                    <a:pt x="128" y="471"/>
                  </a:lnTo>
                  <a:lnTo>
                    <a:pt x="133" y="439"/>
                  </a:lnTo>
                  <a:lnTo>
                    <a:pt x="129" y="415"/>
                  </a:lnTo>
                  <a:lnTo>
                    <a:pt x="142" y="411"/>
                  </a:lnTo>
                  <a:lnTo>
                    <a:pt x="157" y="409"/>
                  </a:lnTo>
                  <a:lnTo>
                    <a:pt x="161" y="409"/>
                  </a:lnTo>
                  <a:lnTo>
                    <a:pt x="168" y="411"/>
                  </a:lnTo>
                  <a:lnTo>
                    <a:pt x="179" y="414"/>
                  </a:lnTo>
                  <a:lnTo>
                    <a:pt x="182" y="419"/>
                  </a:lnTo>
                  <a:lnTo>
                    <a:pt x="179" y="455"/>
                  </a:lnTo>
                  <a:lnTo>
                    <a:pt x="183" y="462"/>
                  </a:lnTo>
                  <a:lnTo>
                    <a:pt x="187" y="462"/>
                  </a:lnTo>
                  <a:lnTo>
                    <a:pt x="184" y="458"/>
                  </a:lnTo>
                  <a:lnTo>
                    <a:pt x="189" y="458"/>
                  </a:lnTo>
                  <a:lnTo>
                    <a:pt x="212" y="460"/>
                  </a:lnTo>
                  <a:lnTo>
                    <a:pt x="222" y="458"/>
                  </a:lnTo>
                  <a:lnTo>
                    <a:pt x="233" y="461"/>
                  </a:lnTo>
                  <a:lnTo>
                    <a:pt x="251" y="476"/>
                  </a:lnTo>
                  <a:lnTo>
                    <a:pt x="257" y="484"/>
                  </a:lnTo>
                  <a:lnTo>
                    <a:pt x="264" y="488"/>
                  </a:lnTo>
                  <a:lnTo>
                    <a:pt x="270" y="492"/>
                  </a:lnTo>
                  <a:lnTo>
                    <a:pt x="271" y="489"/>
                  </a:lnTo>
                  <a:lnTo>
                    <a:pt x="276" y="493"/>
                  </a:lnTo>
                  <a:lnTo>
                    <a:pt x="285" y="511"/>
                  </a:lnTo>
                  <a:lnTo>
                    <a:pt x="291" y="516"/>
                  </a:lnTo>
                  <a:lnTo>
                    <a:pt x="292" y="510"/>
                  </a:lnTo>
                  <a:lnTo>
                    <a:pt x="292" y="501"/>
                  </a:lnTo>
                  <a:lnTo>
                    <a:pt x="286" y="487"/>
                  </a:lnTo>
                  <a:lnTo>
                    <a:pt x="280" y="473"/>
                  </a:lnTo>
                  <a:lnTo>
                    <a:pt x="265" y="462"/>
                  </a:lnTo>
                  <a:lnTo>
                    <a:pt x="258" y="440"/>
                  </a:lnTo>
                  <a:lnTo>
                    <a:pt x="255" y="429"/>
                  </a:lnTo>
                  <a:lnTo>
                    <a:pt x="258" y="411"/>
                  </a:lnTo>
                  <a:lnTo>
                    <a:pt x="265" y="407"/>
                  </a:lnTo>
                  <a:lnTo>
                    <a:pt x="270" y="396"/>
                  </a:lnTo>
                  <a:lnTo>
                    <a:pt x="278" y="392"/>
                  </a:lnTo>
                  <a:lnTo>
                    <a:pt x="292" y="372"/>
                  </a:lnTo>
                  <a:lnTo>
                    <a:pt x="298" y="366"/>
                  </a:lnTo>
                  <a:lnTo>
                    <a:pt x="307" y="363"/>
                  </a:lnTo>
                  <a:lnTo>
                    <a:pt x="334" y="365"/>
                  </a:lnTo>
                  <a:lnTo>
                    <a:pt x="350" y="368"/>
                  </a:lnTo>
                  <a:lnTo>
                    <a:pt x="368" y="365"/>
                  </a:lnTo>
                  <a:lnTo>
                    <a:pt x="396" y="364"/>
                  </a:lnTo>
                  <a:lnTo>
                    <a:pt x="405" y="374"/>
                  </a:lnTo>
                  <a:lnTo>
                    <a:pt x="416" y="369"/>
                  </a:lnTo>
                  <a:lnTo>
                    <a:pt x="416" y="365"/>
                  </a:lnTo>
                  <a:lnTo>
                    <a:pt x="420" y="365"/>
                  </a:lnTo>
                  <a:lnTo>
                    <a:pt x="427" y="354"/>
                  </a:lnTo>
                  <a:lnTo>
                    <a:pt x="427" y="312"/>
                  </a:lnTo>
                  <a:lnTo>
                    <a:pt x="431" y="302"/>
                  </a:lnTo>
                  <a:lnTo>
                    <a:pt x="430" y="293"/>
                  </a:lnTo>
                  <a:lnTo>
                    <a:pt x="429" y="286"/>
                  </a:lnTo>
                  <a:lnTo>
                    <a:pt x="424" y="280"/>
                  </a:lnTo>
                  <a:lnTo>
                    <a:pt x="416" y="275"/>
                  </a:lnTo>
                  <a:lnTo>
                    <a:pt x="414" y="268"/>
                  </a:lnTo>
                  <a:lnTo>
                    <a:pt x="404" y="267"/>
                  </a:lnTo>
                  <a:lnTo>
                    <a:pt x="397" y="262"/>
                  </a:lnTo>
                  <a:lnTo>
                    <a:pt x="389" y="252"/>
                  </a:lnTo>
                  <a:lnTo>
                    <a:pt x="386" y="241"/>
                  </a:lnTo>
                  <a:lnTo>
                    <a:pt x="387" y="216"/>
                  </a:lnTo>
                  <a:lnTo>
                    <a:pt x="386" y="203"/>
                  </a:lnTo>
                  <a:lnTo>
                    <a:pt x="382" y="191"/>
                  </a:lnTo>
                  <a:lnTo>
                    <a:pt x="377" y="181"/>
                  </a:lnTo>
                  <a:lnTo>
                    <a:pt x="370" y="176"/>
                  </a:lnTo>
                  <a:lnTo>
                    <a:pt x="368" y="169"/>
                  </a:lnTo>
                  <a:lnTo>
                    <a:pt x="360" y="165"/>
                  </a:lnTo>
                  <a:lnTo>
                    <a:pt x="353" y="158"/>
                  </a:lnTo>
                  <a:lnTo>
                    <a:pt x="348" y="150"/>
                  </a:lnTo>
                  <a:lnTo>
                    <a:pt x="335" y="135"/>
                  </a:lnTo>
                  <a:lnTo>
                    <a:pt x="323" y="134"/>
                  </a:lnTo>
                  <a:lnTo>
                    <a:pt x="312" y="135"/>
                  </a:lnTo>
                  <a:lnTo>
                    <a:pt x="301" y="138"/>
                  </a:lnTo>
                  <a:lnTo>
                    <a:pt x="297" y="149"/>
                  </a:lnTo>
                  <a:lnTo>
                    <a:pt x="292" y="153"/>
                  </a:lnTo>
                  <a:lnTo>
                    <a:pt x="285" y="156"/>
                  </a:lnTo>
                  <a:lnTo>
                    <a:pt x="273" y="162"/>
                  </a:lnTo>
                  <a:lnTo>
                    <a:pt x="264" y="162"/>
                  </a:lnTo>
                  <a:lnTo>
                    <a:pt x="255" y="156"/>
                  </a:lnTo>
                  <a:lnTo>
                    <a:pt x="249" y="146"/>
                  </a:lnTo>
                  <a:lnTo>
                    <a:pt x="242" y="144"/>
                  </a:lnTo>
                  <a:lnTo>
                    <a:pt x="233" y="146"/>
                  </a:lnTo>
                  <a:lnTo>
                    <a:pt x="220" y="151"/>
                  </a:lnTo>
                  <a:lnTo>
                    <a:pt x="208" y="164"/>
                  </a:lnTo>
                  <a:lnTo>
                    <a:pt x="195" y="169"/>
                  </a:lnTo>
                  <a:lnTo>
                    <a:pt x="188" y="178"/>
                  </a:lnTo>
                  <a:lnTo>
                    <a:pt x="183" y="182"/>
                  </a:lnTo>
                  <a:lnTo>
                    <a:pt x="184" y="177"/>
                  </a:lnTo>
                  <a:lnTo>
                    <a:pt x="181" y="164"/>
                  </a:lnTo>
                  <a:lnTo>
                    <a:pt x="185" y="150"/>
                  </a:lnTo>
                  <a:lnTo>
                    <a:pt x="188" y="126"/>
                  </a:lnTo>
                  <a:lnTo>
                    <a:pt x="193" y="115"/>
                  </a:lnTo>
                  <a:lnTo>
                    <a:pt x="193" y="106"/>
                  </a:lnTo>
                  <a:lnTo>
                    <a:pt x="194" y="97"/>
                  </a:lnTo>
                  <a:lnTo>
                    <a:pt x="190" y="81"/>
                  </a:lnTo>
                  <a:lnTo>
                    <a:pt x="194" y="64"/>
                  </a:lnTo>
                  <a:lnTo>
                    <a:pt x="190" y="60"/>
                  </a:lnTo>
                  <a:lnTo>
                    <a:pt x="169" y="60"/>
                  </a:lnTo>
                  <a:lnTo>
                    <a:pt x="163" y="59"/>
                  </a:lnTo>
                  <a:lnTo>
                    <a:pt x="161" y="58"/>
                  </a:lnTo>
                  <a:lnTo>
                    <a:pt x="161" y="40"/>
                  </a:lnTo>
                  <a:lnTo>
                    <a:pt x="158" y="25"/>
                  </a:lnTo>
                  <a:lnTo>
                    <a:pt x="152" y="16"/>
                  </a:lnTo>
                  <a:lnTo>
                    <a:pt x="149" y="11"/>
                  </a:lnTo>
                  <a:lnTo>
                    <a:pt x="142" y="14"/>
                  </a:lnTo>
                  <a:lnTo>
                    <a:pt x="140" y="8"/>
                  </a:lnTo>
                  <a:lnTo>
                    <a:pt x="141" y="0"/>
                  </a:lnTo>
                  <a:lnTo>
                    <a:pt x="144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97" name="Freeform 94">
              <a:extLst>
                <a:ext uri="{FF2B5EF4-FFF2-40B4-BE49-F238E27FC236}">
                  <a16:creationId xmlns:a16="http://schemas.microsoft.com/office/drawing/2014/main" id="{7E798E38-48C7-2BDC-8BFA-2A9352C3F69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472819" y="3424941"/>
              <a:ext cx="258176" cy="597493"/>
            </a:xfrm>
            <a:custGeom>
              <a:avLst/>
              <a:gdLst>
                <a:gd name="T0" fmla="*/ 2147483647 w 489"/>
                <a:gd name="T1" fmla="*/ 2147483647 h 1050"/>
                <a:gd name="T2" fmla="*/ 2147483647 w 489"/>
                <a:gd name="T3" fmla="*/ 2147483647 h 1050"/>
                <a:gd name="T4" fmla="*/ 2147483647 w 489"/>
                <a:gd name="T5" fmla="*/ 2147483647 h 1050"/>
                <a:gd name="T6" fmla="*/ 2147483647 w 489"/>
                <a:gd name="T7" fmla="*/ 2147483647 h 1050"/>
                <a:gd name="T8" fmla="*/ 2147483647 w 489"/>
                <a:gd name="T9" fmla="*/ 2147483647 h 1050"/>
                <a:gd name="T10" fmla="*/ 0 w 489"/>
                <a:gd name="T11" fmla="*/ 2147483647 h 1050"/>
                <a:gd name="T12" fmla="*/ 0 w 489"/>
                <a:gd name="T13" fmla="*/ 2147483647 h 1050"/>
                <a:gd name="T14" fmla="*/ 0 w 489"/>
                <a:gd name="T15" fmla="*/ 2147483647 h 1050"/>
                <a:gd name="T16" fmla="*/ 0 w 489"/>
                <a:gd name="T17" fmla="*/ 2147483647 h 1050"/>
                <a:gd name="T18" fmla="*/ 0 w 489"/>
                <a:gd name="T19" fmla="*/ 2147483647 h 1050"/>
                <a:gd name="T20" fmla="*/ 0 w 489"/>
                <a:gd name="T21" fmla="*/ 2147483647 h 1050"/>
                <a:gd name="T22" fmla="*/ 2147483647 w 489"/>
                <a:gd name="T23" fmla="*/ 2147483647 h 1050"/>
                <a:gd name="T24" fmla="*/ 2147483647 w 489"/>
                <a:gd name="T25" fmla="*/ 2147483647 h 1050"/>
                <a:gd name="T26" fmla="*/ 2147483647 w 489"/>
                <a:gd name="T27" fmla="*/ 2147483647 h 1050"/>
                <a:gd name="T28" fmla="*/ 2147483647 w 489"/>
                <a:gd name="T29" fmla="*/ 2147483647 h 1050"/>
                <a:gd name="T30" fmla="*/ 2147483647 w 489"/>
                <a:gd name="T31" fmla="*/ 2147483647 h 1050"/>
                <a:gd name="T32" fmla="*/ 2147483647 w 489"/>
                <a:gd name="T33" fmla="*/ 0 h 1050"/>
                <a:gd name="T34" fmla="*/ 2147483647 w 489"/>
                <a:gd name="T35" fmla="*/ 0 h 1050"/>
                <a:gd name="T36" fmla="*/ 2147483647 w 489"/>
                <a:gd name="T37" fmla="*/ 0 h 1050"/>
                <a:gd name="T38" fmla="*/ 2147483647 w 489"/>
                <a:gd name="T39" fmla="*/ 0 h 1050"/>
                <a:gd name="T40" fmla="*/ 2147483647 w 489"/>
                <a:gd name="T41" fmla="*/ 2147483647 h 1050"/>
                <a:gd name="T42" fmla="*/ 2147483647 w 489"/>
                <a:gd name="T43" fmla="*/ 2147483647 h 1050"/>
                <a:gd name="T44" fmla="*/ 2147483647 w 489"/>
                <a:gd name="T45" fmla="*/ 2147483647 h 1050"/>
                <a:gd name="T46" fmla="*/ 2147483647 w 489"/>
                <a:gd name="T47" fmla="*/ 2147483647 h 1050"/>
                <a:gd name="T48" fmla="*/ 2147483647 w 489"/>
                <a:gd name="T49" fmla="*/ 2147483647 h 1050"/>
                <a:gd name="T50" fmla="*/ 2147483647 w 489"/>
                <a:gd name="T51" fmla="*/ 2147483647 h 1050"/>
                <a:gd name="T52" fmla="*/ 2147483647 w 489"/>
                <a:gd name="T53" fmla="*/ 2147483647 h 1050"/>
                <a:gd name="T54" fmla="*/ 2147483647 w 489"/>
                <a:gd name="T55" fmla="*/ 2147483647 h 1050"/>
                <a:gd name="T56" fmla="*/ 2147483647 w 489"/>
                <a:gd name="T57" fmla="*/ 2147483647 h 1050"/>
                <a:gd name="T58" fmla="*/ 2147483647 w 489"/>
                <a:gd name="T59" fmla="*/ 2147483647 h 1050"/>
                <a:gd name="T60" fmla="*/ 2147483647 w 489"/>
                <a:gd name="T61" fmla="*/ 2147483647 h 1050"/>
                <a:gd name="T62" fmla="*/ 2147483647 w 489"/>
                <a:gd name="T63" fmla="*/ 2147483647 h 1050"/>
                <a:gd name="T64" fmla="*/ 2147483647 w 489"/>
                <a:gd name="T65" fmla="*/ 2147483647 h 1050"/>
                <a:gd name="T66" fmla="*/ 2147483647 w 489"/>
                <a:gd name="T67" fmla="*/ 2147483647 h 1050"/>
                <a:gd name="T68" fmla="*/ 2147483647 w 489"/>
                <a:gd name="T69" fmla="*/ 2147483647 h 1050"/>
                <a:gd name="T70" fmla="*/ 2147483647 w 489"/>
                <a:gd name="T71" fmla="*/ 2147483647 h 1050"/>
                <a:gd name="T72" fmla="*/ 2147483647 w 489"/>
                <a:gd name="T73" fmla="*/ 2147483647 h 1050"/>
                <a:gd name="T74" fmla="*/ 2147483647 w 489"/>
                <a:gd name="T75" fmla="*/ 2147483647 h 1050"/>
                <a:gd name="T76" fmla="*/ 2147483647 w 489"/>
                <a:gd name="T77" fmla="*/ 2147483647 h 1050"/>
                <a:gd name="T78" fmla="*/ 2147483647 w 489"/>
                <a:gd name="T79" fmla="*/ 2147483647 h 1050"/>
                <a:gd name="T80" fmla="*/ 2147483647 w 489"/>
                <a:gd name="T81" fmla="*/ 2147483647 h 1050"/>
                <a:gd name="T82" fmla="*/ 2147483647 w 489"/>
                <a:gd name="T83" fmla="*/ 2147483647 h 1050"/>
                <a:gd name="T84" fmla="*/ 2147483647 w 489"/>
                <a:gd name="T85" fmla="*/ 2147483647 h 1050"/>
                <a:gd name="T86" fmla="*/ 2147483647 w 489"/>
                <a:gd name="T87" fmla="*/ 2147483647 h 1050"/>
                <a:gd name="T88" fmla="*/ 2147483647 w 489"/>
                <a:gd name="T89" fmla="*/ 2147483647 h 1050"/>
                <a:gd name="T90" fmla="*/ 2147483647 w 489"/>
                <a:gd name="T91" fmla="*/ 2147483647 h 1050"/>
                <a:gd name="T92" fmla="*/ 2147483647 w 489"/>
                <a:gd name="T93" fmla="*/ 2147483647 h 1050"/>
                <a:gd name="T94" fmla="*/ 2147483647 w 489"/>
                <a:gd name="T95" fmla="*/ 2147483647 h 1050"/>
                <a:gd name="T96" fmla="*/ 2147483647 w 489"/>
                <a:gd name="T97" fmla="*/ 2147483647 h 1050"/>
                <a:gd name="T98" fmla="*/ 2147483647 w 489"/>
                <a:gd name="T99" fmla="*/ 2147483647 h 1050"/>
                <a:gd name="T100" fmla="*/ 2147483647 w 489"/>
                <a:gd name="T101" fmla="*/ 2147483647 h 1050"/>
                <a:gd name="T102" fmla="*/ 2147483647 w 489"/>
                <a:gd name="T103" fmla="*/ 2147483647 h 1050"/>
                <a:gd name="T104" fmla="*/ 2147483647 w 489"/>
                <a:gd name="T105" fmla="*/ 2147483647 h 1050"/>
                <a:gd name="T106" fmla="*/ 2147483647 w 489"/>
                <a:gd name="T107" fmla="*/ 2147483647 h 1050"/>
                <a:gd name="T108" fmla="*/ 2147483647 w 489"/>
                <a:gd name="T109" fmla="*/ 2147483647 h 1050"/>
                <a:gd name="T110" fmla="*/ 2147483647 w 489"/>
                <a:gd name="T111" fmla="*/ 2147483647 h 1050"/>
                <a:gd name="T112" fmla="*/ 2147483647 w 489"/>
                <a:gd name="T113" fmla="*/ 2147483647 h 105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89"/>
                <a:gd name="T172" fmla="*/ 0 h 1050"/>
                <a:gd name="T173" fmla="*/ 489 w 489"/>
                <a:gd name="T174" fmla="*/ 1050 h 105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89" h="1050">
                  <a:moveTo>
                    <a:pt x="112" y="704"/>
                  </a:moveTo>
                  <a:lnTo>
                    <a:pt x="117" y="690"/>
                  </a:lnTo>
                  <a:lnTo>
                    <a:pt x="119" y="673"/>
                  </a:lnTo>
                  <a:lnTo>
                    <a:pt x="125" y="657"/>
                  </a:lnTo>
                  <a:lnTo>
                    <a:pt x="125" y="638"/>
                  </a:lnTo>
                  <a:lnTo>
                    <a:pt x="121" y="607"/>
                  </a:lnTo>
                  <a:lnTo>
                    <a:pt x="117" y="599"/>
                  </a:lnTo>
                  <a:lnTo>
                    <a:pt x="116" y="592"/>
                  </a:lnTo>
                  <a:lnTo>
                    <a:pt x="109" y="580"/>
                  </a:lnTo>
                  <a:lnTo>
                    <a:pt x="95" y="556"/>
                  </a:lnTo>
                  <a:lnTo>
                    <a:pt x="92" y="545"/>
                  </a:lnTo>
                  <a:lnTo>
                    <a:pt x="89" y="559"/>
                  </a:lnTo>
                  <a:lnTo>
                    <a:pt x="78" y="553"/>
                  </a:lnTo>
                  <a:lnTo>
                    <a:pt x="71" y="539"/>
                  </a:lnTo>
                  <a:lnTo>
                    <a:pt x="74" y="531"/>
                  </a:lnTo>
                  <a:lnTo>
                    <a:pt x="85" y="536"/>
                  </a:lnTo>
                  <a:lnTo>
                    <a:pt x="84" y="531"/>
                  </a:lnTo>
                  <a:lnTo>
                    <a:pt x="76" y="525"/>
                  </a:lnTo>
                  <a:lnTo>
                    <a:pt x="79" y="518"/>
                  </a:lnTo>
                  <a:lnTo>
                    <a:pt x="78" y="512"/>
                  </a:lnTo>
                  <a:lnTo>
                    <a:pt x="38" y="493"/>
                  </a:lnTo>
                  <a:lnTo>
                    <a:pt x="37" y="482"/>
                  </a:lnTo>
                  <a:lnTo>
                    <a:pt x="28" y="479"/>
                  </a:lnTo>
                  <a:lnTo>
                    <a:pt x="22" y="470"/>
                  </a:lnTo>
                  <a:lnTo>
                    <a:pt x="21" y="474"/>
                  </a:lnTo>
                  <a:lnTo>
                    <a:pt x="14" y="468"/>
                  </a:lnTo>
                  <a:lnTo>
                    <a:pt x="10" y="458"/>
                  </a:lnTo>
                  <a:lnTo>
                    <a:pt x="0" y="443"/>
                  </a:lnTo>
                  <a:lnTo>
                    <a:pt x="1" y="425"/>
                  </a:lnTo>
                  <a:lnTo>
                    <a:pt x="3" y="418"/>
                  </a:lnTo>
                  <a:lnTo>
                    <a:pt x="7" y="413"/>
                  </a:lnTo>
                  <a:lnTo>
                    <a:pt x="19" y="416"/>
                  </a:lnTo>
                  <a:lnTo>
                    <a:pt x="17" y="387"/>
                  </a:lnTo>
                  <a:lnTo>
                    <a:pt x="19" y="384"/>
                  </a:lnTo>
                  <a:lnTo>
                    <a:pt x="22" y="381"/>
                  </a:lnTo>
                  <a:lnTo>
                    <a:pt x="27" y="376"/>
                  </a:lnTo>
                  <a:lnTo>
                    <a:pt x="36" y="378"/>
                  </a:lnTo>
                  <a:lnTo>
                    <a:pt x="41" y="377"/>
                  </a:lnTo>
                  <a:lnTo>
                    <a:pt x="46" y="371"/>
                  </a:lnTo>
                  <a:lnTo>
                    <a:pt x="47" y="365"/>
                  </a:lnTo>
                  <a:lnTo>
                    <a:pt x="44" y="365"/>
                  </a:lnTo>
                  <a:lnTo>
                    <a:pt x="41" y="355"/>
                  </a:lnTo>
                  <a:lnTo>
                    <a:pt x="41" y="339"/>
                  </a:lnTo>
                  <a:lnTo>
                    <a:pt x="42" y="326"/>
                  </a:lnTo>
                  <a:lnTo>
                    <a:pt x="53" y="327"/>
                  </a:lnTo>
                  <a:lnTo>
                    <a:pt x="57" y="322"/>
                  </a:lnTo>
                  <a:lnTo>
                    <a:pt x="60" y="302"/>
                  </a:lnTo>
                  <a:lnTo>
                    <a:pt x="59" y="276"/>
                  </a:lnTo>
                  <a:lnTo>
                    <a:pt x="66" y="269"/>
                  </a:lnTo>
                  <a:lnTo>
                    <a:pt x="80" y="265"/>
                  </a:lnTo>
                  <a:lnTo>
                    <a:pt x="93" y="268"/>
                  </a:lnTo>
                  <a:lnTo>
                    <a:pt x="101" y="268"/>
                  </a:lnTo>
                  <a:lnTo>
                    <a:pt x="106" y="263"/>
                  </a:lnTo>
                  <a:lnTo>
                    <a:pt x="112" y="243"/>
                  </a:lnTo>
                  <a:lnTo>
                    <a:pt x="130" y="208"/>
                  </a:lnTo>
                  <a:lnTo>
                    <a:pt x="134" y="197"/>
                  </a:lnTo>
                  <a:lnTo>
                    <a:pt x="132" y="187"/>
                  </a:lnTo>
                  <a:lnTo>
                    <a:pt x="138" y="178"/>
                  </a:lnTo>
                  <a:lnTo>
                    <a:pt x="154" y="167"/>
                  </a:lnTo>
                  <a:lnTo>
                    <a:pt x="160" y="155"/>
                  </a:lnTo>
                  <a:lnTo>
                    <a:pt x="159" y="127"/>
                  </a:lnTo>
                  <a:lnTo>
                    <a:pt x="166" y="111"/>
                  </a:lnTo>
                  <a:lnTo>
                    <a:pt x="179" y="100"/>
                  </a:lnTo>
                  <a:lnTo>
                    <a:pt x="194" y="92"/>
                  </a:lnTo>
                  <a:lnTo>
                    <a:pt x="204" y="84"/>
                  </a:lnTo>
                  <a:lnTo>
                    <a:pt x="211" y="70"/>
                  </a:lnTo>
                  <a:lnTo>
                    <a:pt x="231" y="66"/>
                  </a:lnTo>
                  <a:lnTo>
                    <a:pt x="242" y="63"/>
                  </a:lnTo>
                  <a:lnTo>
                    <a:pt x="258" y="68"/>
                  </a:lnTo>
                  <a:lnTo>
                    <a:pt x="263" y="63"/>
                  </a:lnTo>
                  <a:lnTo>
                    <a:pt x="259" y="47"/>
                  </a:lnTo>
                  <a:lnTo>
                    <a:pt x="264" y="33"/>
                  </a:lnTo>
                  <a:lnTo>
                    <a:pt x="275" y="28"/>
                  </a:lnTo>
                  <a:lnTo>
                    <a:pt x="281" y="21"/>
                  </a:lnTo>
                  <a:lnTo>
                    <a:pt x="281" y="9"/>
                  </a:lnTo>
                  <a:lnTo>
                    <a:pt x="290" y="5"/>
                  </a:lnTo>
                  <a:lnTo>
                    <a:pt x="294" y="0"/>
                  </a:lnTo>
                  <a:lnTo>
                    <a:pt x="297" y="0"/>
                  </a:lnTo>
                  <a:lnTo>
                    <a:pt x="310" y="6"/>
                  </a:lnTo>
                  <a:lnTo>
                    <a:pt x="322" y="20"/>
                  </a:lnTo>
                  <a:lnTo>
                    <a:pt x="326" y="37"/>
                  </a:lnTo>
                  <a:lnTo>
                    <a:pt x="331" y="45"/>
                  </a:lnTo>
                  <a:lnTo>
                    <a:pt x="347" y="47"/>
                  </a:lnTo>
                  <a:lnTo>
                    <a:pt x="354" y="79"/>
                  </a:lnTo>
                  <a:lnTo>
                    <a:pt x="355" y="100"/>
                  </a:lnTo>
                  <a:lnTo>
                    <a:pt x="351" y="128"/>
                  </a:lnTo>
                  <a:lnTo>
                    <a:pt x="351" y="136"/>
                  </a:lnTo>
                  <a:lnTo>
                    <a:pt x="342" y="163"/>
                  </a:lnTo>
                  <a:lnTo>
                    <a:pt x="333" y="174"/>
                  </a:lnTo>
                  <a:lnTo>
                    <a:pt x="326" y="177"/>
                  </a:lnTo>
                  <a:lnTo>
                    <a:pt x="322" y="187"/>
                  </a:lnTo>
                  <a:lnTo>
                    <a:pt x="311" y="198"/>
                  </a:lnTo>
                  <a:lnTo>
                    <a:pt x="307" y="217"/>
                  </a:lnTo>
                  <a:lnTo>
                    <a:pt x="301" y="231"/>
                  </a:lnTo>
                  <a:lnTo>
                    <a:pt x="305" y="247"/>
                  </a:lnTo>
                  <a:lnTo>
                    <a:pt x="304" y="256"/>
                  </a:lnTo>
                  <a:lnTo>
                    <a:pt x="294" y="273"/>
                  </a:lnTo>
                  <a:lnTo>
                    <a:pt x="299" y="278"/>
                  </a:lnTo>
                  <a:lnTo>
                    <a:pt x="312" y="264"/>
                  </a:lnTo>
                  <a:lnTo>
                    <a:pt x="323" y="258"/>
                  </a:lnTo>
                  <a:lnTo>
                    <a:pt x="342" y="257"/>
                  </a:lnTo>
                  <a:lnTo>
                    <a:pt x="361" y="256"/>
                  </a:lnTo>
                  <a:lnTo>
                    <a:pt x="361" y="267"/>
                  </a:lnTo>
                  <a:lnTo>
                    <a:pt x="366" y="281"/>
                  </a:lnTo>
                  <a:lnTo>
                    <a:pt x="367" y="301"/>
                  </a:lnTo>
                  <a:lnTo>
                    <a:pt x="381" y="311"/>
                  </a:lnTo>
                  <a:lnTo>
                    <a:pt x="397" y="319"/>
                  </a:lnTo>
                  <a:lnTo>
                    <a:pt x="391" y="346"/>
                  </a:lnTo>
                  <a:lnTo>
                    <a:pt x="387" y="366"/>
                  </a:lnTo>
                  <a:lnTo>
                    <a:pt x="402" y="369"/>
                  </a:lnTo>
                  <a:lnTo>
                    <a:pt x="420" y="375"/>
                  </a:lnTo>
                  <a:lnTo>
                    <a:pt x="423" y="387"/>
                  </a:lnTo>
                  <a:lnTo>
                    <a:pt x="441" y="404"/>
                  </a:lnTo>
                  <a:lnTo>
                    <a:pt x="461" y="402"/>
                  </a:lnTo>
                  <a:lnTo>
                    <a:pt x="476" y="389"/>
                  </a:lnTo>
                  <a:lnTo>
                    <a:pt x="488" y="391"/>
                  </a:lnTo>
                  <a:lnTo>
                    <a:pt x="489" y="397"/>
                  </a:lnTo>
                  <a:lnTo>
                    <a:pt x="488" y="402"/>
                  </a:lnTo>
                  <a:lnTo>
                    <a:pt x="483" y="409"/>
                  </a:lnTo>
                  <a:lnTo>
                    <a:pt x="456" y="427"/>
                  </a:lnTo>
                  <a:lnTo>
                    <a:pt x="456" y="432"/>
                  </a:lnTo>
                  <a:lnTo>
                    <a:pt x="458" y="440"/>
                  </a:lnTo>
                  <a:lnTo>
                    <a:pt x="452" y="441"/>
                  </a:lnTo>
                  <a:lnTo>
                    <a:pt x="445" y="443"/>
                  </a:lnTo>
                  <a:lnTo>
                    <a:pt x="440" y="447"/>
                  </a:lnTo>
                  <a:lnTo>
                    <a:pt x="439" y="453"/>
                  </a:lnTo>
                  <a:lnTo>
                    <a:pt x="433" y="456"/>
                  </a:lnTo>
                  <a:lnTo>
                    <a:pt x="426" y="464"/>
                  </a:lnTo>
                  <a:lnTo>
                    <a:pt x="420" y="477"/>
                  </a:lnTo>
                  <a:lnTo>
                    <a:pt x="407" y="480"/>
                  </a:lnTo>
                  <a:lnTo>
                    <a:pt x="398" y="485"/>
                  </a:lnTo>
                  <a:lnTo>
                    <a:pt x="383" y="496"/>
                  </a:lnTo>
                  <a:lnTo>
                    <a:pt x="372" y="502"/>
                  </a:lnTo>
                  <a:lnTo>
                    <a:pt x="361" y="513"/>
                  </a:lnTo>
                  <a:lnTo>
                    <a:pt x="350" y="517"/>
                  </a:lnTo>
                  <a:lnTo>
                    <a:pt x="332" y="518"/>
                  </a:lnTo>
                  <a:lnTo>
                    <a:pt x="318" y="520"/>
                  </a:lnTo>
                  <a:lnTo>
                    <a:pt x="304" y="559"/>
                  </a:lnTo>
                  <a:lnTo>
                    <a:pt x="302" y="571"/>
                  </a:lnTo>
                  <a:lnTo>
                    <a:pt x="304" y="581"/>
                  </a:lnTo>
                  <a:lnTo>
                    <a:pt x="295" y="588"/>
                  </a:lnTo>
                  <a:lnTo>
                    <a:pt x="296" y="595"/>
                  </a:lnTo>
                  <a:lnTo>
                    <a:pt x="302" y="612"/>
                  </a:lnTo>
                  <a:lnTo>
                    <a:pt x="312" y="635"/>
                  </a:lnTo>
                  <a:lnTo>
                    <a:pt x="335" y="652"/>
                  </a:lnTo>
                  <a:lnTo>
                    <a:pt x="343" y="662"/>
                  </a:lnTo>
                  <a:lnTo>
                    <a:pt x="345" y="678"/>
                  </a:lnTo>
                  <a:lnTo>
                    <a:pt x="344" y="693"/>
                  </a:lnTo>
                  <a:lnTo>
                    <a:pt x="347" y="705"/>
                  </a:lnTo>
                  <a:lnTo>
                    <a:pt x="356" y="706"/>
                  </a:lnTo>
                  <a:lnTo>
                    <a:pt x="360" y="716"/>
                  </a:lnTo>
                  <a:lnTo>
                    <a:pt x="354" y="722"/>
                  </a:lnTo>
                  <a:lnTo>
                    <a:pt x="348" y="736"/>
                  </a:lnTo>
                  <a:lnTo>
                    <a:pt x="345" y="744"/>
                  </a:lnTo>
                  <a:lnTo>
                    <a:pt x="345" y="757"/>
                  </a:lnTo>
                  <a:lnTo>
                    <a:pt x="342" y="760"/>
                  </a:lnTo>
                  <a:lnTo>
                    <a:pt x="333" y="768"/>
                  </a:lnTo>
                  <a:lnTo>
                    <a:pt x="329" y="776"/>
                  </a:lnTo>
                  <a:lnTo>
                    <a:pt x="328" y="790"/>
                  </a:lnTo>
                  <a:lnTo>
                    <a:pt x="334" y="807"/>
                  </a:lnTo>
                  <a:lnTo>
                    <a:pt x="353" y="819"/>
                  </a:lnTo>
                  <a:lnTo>
                    <a:pt x="371" y="839"/>
                  </a:lnTo>
                  <a:lnTo>
                    <a:pt x="374" y="845"/>
                  </a:lnTo>
                  <a:lnTo>
                    <a:pt x="376" y="854"/>
                  </a:lnTo>
                  <a:lnTo>
                    <a:pt x="377" y="887"/>
                  </a:lnTo>
                  <a:lnTo>
                    <a:pt x="383" y="905"/>
                  </a:lnTo>
                  <a:lnTo>
                    <a:pt x="386" y="907"/>
                  </a:lnTo>
                  <a:lnTo>
                    <a:pt x="391" y="922"/>
                  </a:lnTo>
                  <a:lnTo>
                    <a:pt x="406" y="956"/>
                  </a:lnTo>
                  <a:lnTo>
                    <a:pt x="404" y="963"/>
                  </a:lnTo>
                  <a:lnTo>
                    <a:pt x="386" y="993"/>
                  </a:lnTo>
                  <a:lnTo>
                    <a:pt x="375" y="1000"/>
                  </a:lnTo>
                  <a:lnTo>
                    <a:pt x="367" y="1012"/>
                  </a:lnTo>
                  <a:lnTo>
                    <a:pt x="365" y="1027"/>
                  </a:lnTo>
                  <a:lnTo>
                    <a:pt x="360" y="1039"/>
                  </a:lnTo>
                  <a:lnTo>
                    <a:pt x="355" y="1047"/>
                  </a:lnTo>
                  <a:lnTo>
                    <a:pt x="354" y="1050"/>
                  </a:lnTo>
                  <a:lnTo>
                    <a:pt x="344" y="1043"/>
                  </a:lnTo>
                  <a:lnTo>
                    <a:pt x="345" y="1031"/>
                  </a:lnTo>
                  <a:lnTo>
                    <a:pt x="349" y="1017"/>
                  </a:lnTo>
                  <a:lnTo>
                    <a:pt x="359" y="993"/>
                  </a:lnTo>
                  <a:lnTo>
                    <a:pt x="359" y="981"/>
                  </a:lnTo>
                  <a:lnTo>
                    <a:pt x="361" y="964"/>
                  </a:lnTo>
                  <a:lnTo>
                    <a:pt x="351" y="958"/>
                  </a:lnTo>
                  <a:lnTo>
                    <a:pt x="344" y="953"/>
                  </a:lnTo>
                  <a:lnTo>
                    <a:pt x="345" y="946"/>
                  </a:lnTo>
                  <a:lnTo>
                    <a:pt x="354" y="947"/>
                  </a:lnTo>
                  <a:lnTo>
                    <a:pt x="351" y="937"/>
                  </a:lnTo>
                  <a:lnTo>
                    <a:pt x="354" y="924"/>
                  </a:lnTo>
                  <a:lnTo>
                    <a:pt x="349" y="897"/>
                  </a:lnTo>
                  <a:lnTo>
                    <a:pt x="338" y="870"/>
                  </a:lnTo>
                  <a:lnTo>
                    <a:pt x="333" y="851"/>
                  </a:lnTo>
                  <a:lnTo>
                    <a:pt x="329" y="855"/>
                  </a:lnTo>
                  <a:lnTo>
                    <a:pt x="327" y="860"/>
                  </a:lnTo>
                  <a:lnTo>
                    <a:pt x="322" y="844"/>
                  </a:lnTo>
                  <a:lnTo>
                    <a:pt x="317" y="821"/>
                  </a:lnTo>
                  <a:lnTo>
                    <a:pt x="311" y="805"/>
                  </a:lnTo>
                  <a:lnTo>
                    <a:pt x="306" y="784"/>
                  </a:lnTo>
                  <a:lnTo>
                    <a:pt x="301" y="759"/>
                  </a:lnTo>
                  <a:lnTo>
                    <a:pt x="297" y="721"/>
                  </a:lnTo>
                  <a:lnTo>
                    <a:pt x="299" y="695"/>
                  </a:lnTo>
                  <a:lnTo>
                    <a:pt x="295" y="695"/>
                  </a:lnTo>
                  <a:lnTo>
                    <a:pt x="291" y="694"/>
                  </a:lnTo>
                  <a:lnTo>
                    <a:pt x="279" y="688"/>
                  </a:lnTo>
                  <a:lnTo>
                    <a:pt x="269" y="679"/>
                  </a:lnTo>
                  <a:lnTo>
                    <a:pt x="262" y="671"/>
                  </a:lnTo>
                  <a:lnTo>
                    <a:pt x="254" y="673"/>
                  </a:lnTo>
                  <a:lnTo>
                    <a:pt x="251" y="653"/>
                  </a:lnTo>
                  <a:lnTo>
                    <a:pt x="246" y="642"/>
                  </a:lnTo>
                  <a:lnTo>
                    <a:pt x="246" y="662"/>
                  </a:lnTo>
                  <a:lnTo>
                    <a:pt x="241" y="685"/>
                  </a:lnTo>
                  <a:lnTo>
                    <a:pt x="226" y="693"/>
                  </a:lnTo>
                  <a:lnTo>
                    <a:pt x="211" y="700"/>
                  </a:lnTo>
                  <a:lnTo>
                    <a:pt x="200" y="710"/>
                  </a:lnTo>
                  <a:lnTo>
                    <a:pt x="189" y="717"/>
                  </a:lnTo>
                  <a:lnTo>
                    <a:pt x="179" y="726"/>
                  </a:lnTo>
                  <a:lnTo>
                    <a:pt x="170" y="738"/>
                  </a:lnTo>
                  <a:lnTo>
                    <a:pt x="165" y="733"/>
                  </a:lnTo>
                  <a:lnTo>
                    <a:pt x="159" y="735"/>
                  </a:lnTo>
                  <a:lnTo>
                    <a:pt x="154" y="728"/>
                  </a:lnTo>
                  <a:lnTo>
                    <a:pt x="146" y="738"/>
                  </a:lnTo>
                  <a:lnTo>
                    <a:pt x="136" y="733"/>
                  </a:lnTo>
                  <a:lnTo>
                    <a:pt x="127" y="730"/>
                  </a:lnTo>
                  <a:lnTo>
                    <a:pt x="122" y="726"/>
                  </a:lnTo>
                  <a:lnTo>
                    <a:pt x="125" y="717"/>
                  </a:lnTo>
                  <a:lnTo>
                    <a:pt x="116" y="725"/>
                  </a:lnTo>
                  <a:lnTo>
                    <a:pt x="109" y="721"/>
                  </a:lnTo>
                  <a:lnTo>
                    <a:pt x="112" y="70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98" name="Freeform 95">
              <a:extLst>
                <a:ext uri="{FF2B5EF4-FFF2-40B4-BE49-F238E27FC236}">
                  <a16:creationId xmlns:a16="http://schemas.microsoft.com/office/drawing/2014/main" id="{098C65EF-4FFE-DED7-8592-C24C73E15E5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766811" y="3879158"/>
              <a:ext cx="153711" cy="135656"/>
            </a:xfrm>
            <a:custGeom>
              <a:avLst/>
              <a:gdLst>
                <a:gd name="T0" fmla="*/ 2147483647 w 290"/>
                <a:gd name="T1" fmla="*/ 2147483647 h 237"/>
                <a:gd name="T2" fmla="*/ 2147483647 w 290"/>
                <a:gd name="T3" fmla="*/ 2147483647 h 237"/>
                <a:gd name="T4" fmla="*/ 2147483647 w 290"/>
                <a:gd name="T5" fmla="*/ 2147483647 h 237"/>
                <a:gd name="T6" fmla="*/ 2147483647 w 290"/>
                <a:gd name="T7" fmla="*/ 2147483647 h 237"/>
                <a:gd name="T8" fmla="*/ 2147483647 w 290"/>
                <a:gd name="T9" fmla="*/ 2147483647 h 237"/>
                <a:gd name="T10" fmla="*/ 2147483647 w 290"/>
                <a:gd name="T11" fmla="*/ 2147483647 h 237"/>
                <a:gd name="T12" fmla="*/ 2147483647 w 290"/>
                <a:gd name="T13" fmla="*/ 2147483647 h 237"/>
                <a:gd name="T14" fmla="*/ 0 w 290"/>
                <a:gd name="T15" fmla="*/ 2147483647 h 237"/>
                <a:gd name="T16" fmla="*/ 0 w 290"/>
                <a:gd name="T17" fmla="*/ 2147483647 h 237"/>
                <a:gd name="T18" fmla="*/ 0 w 290"/>
                <a:gd name="T19" fmla="*/ 2147483647 h 237"/>
                <a:gd name="T20" fmla="*/ 0 w 290"/>
                <a:gd name="T21" fmla="*/ 2147483647 h 237"/>
                <a:gd name="T22" fmla="*/ 0 w 290"/>
                <a:gd name="T23" fmla="*/ 2147483647 h 237"/>
                <a:gd name="T24" fmla="*/ 0 w 290"/>
                <a:gd name="T25" fmla="*/ 2147483647 h 237"/>
                <a:gd name="T26" fmla="*/ 0 w 290"/>
                <a:gd name="T27" fmla="*/ 0 h 237"/>
                <a:gd name="T28" fmla="*/ 0 w 290"/>
                <a:gd name="T29" fmla="*/ 0 h 237"/>
                <a:gd name="T30" fmla="*/ 0 w 290"/>
                <a:gd name="T31" fmla="*/ 0 h 237"/>
                <a:gd name="T32" fmla="*/ 2147483647 w 290"/>
                <a:gd name="T33" fmla="*/ 0 h 237"/>
                <a:gd name="T34" fmla="*/ 2147483647 w 290"/>
                <a:gd name="T35" fmla="*/ 0 h 237"/>
                <a:gd name="T36" fmla="*/ 2147483647 w 290"/>
                <a:gd name="T37" fmla="*/ 0 h 237"/>
                <a:gd name="T38" fmla="*/ 2147483647 w 290"/>
                <a:gd name="T39" fmla="*/ 0 h 237"/>
                <a:gd name="T40" fmla="*/ 2147483647 w 290"/>
                <a:gd name="T41" fmla="*/ 0 h 237"/>
                <a:gd name="T42" fmla="*/ 2147483647 w 290"/>
                <a:gd name="T43" fmla="*/ 0 h 237"/>
                <a:gd name="T44" fmla="*/ 2147483647 w 290"/>
                <a:gd name="T45" fmla="*/ 0 h 237"/>
                <a:gd name="T46" fmla="*/ 2147483647 w 290"/>
                <a:gd name="T47" fmla="*/ 0 h 237"/>
                <a:gd name="T48" fmla="*/ 2147483647 w 290"/>
                <a:gd name="T49" fmla="*/ 0 h 237"/>
                <a:gd name="T50" fmla="*/ 2147483647 w 290"/>
                <a:gd name="T51" fmla="*/ 0 h 237"/>
                <a:gd name="T52" fmla="*/ 2147483647 w 290"/>
                <a:gd name="T53" fmla="*/ 0 h 237"/>
                <a:gd name="T54" fmla="*/ 2147483647 w 290"/>
                <a:gd name="T55" fmla="*/ 0 h 237"/>
                <a:gd name="T56" fmla="*/ 2147483647 w 290"/>
                <a:gd name="T57" fmla="*/ 2147483647 h 237"/>
                <a:gd name="T58" fmla="*/ 2147483647 w 290"/>
                <a:gd name="T59" fmla="*/ 2147483647 h 237"/>
                <a:gd name="T60" fmla="*/ 2147483647 w 290"/>
                <a:gd name="T61" fmla="*/ 2147483647 h 237"/>
                <a:gd name="T62" fmla="*/ 2147483647 w 290"/>
                <a:gd name="T63" fmla="*/ 2147483647 h 237"/>
                <a:gd name="T64" fmla="*/ 2147483647 w 290"/>
                <a:gd name="T65" fmla="*/ 2147483647 h 237"/>
                <a:gd name="T66" fmla="*/ 2147483647 w 290"/>
                <a:gd name="T67" fmla="*/ 2147483647 h 237"/>
                <a:gd name="T68" fmla="*/ 2147483647 w 290"/>
                <a:gd name="T69" fmla="*/ 2147483647 h 237"/>
                <a:gd name="T70" fmla="*/ 2147483647 w 290"/>
                <a:gd name="T71" fmla="*/ 2147483647 h 237"/>
                <a:gd name="T72" fmla="*/ 2147483647 w 290"/>
                <a:gd name="T73" fmla="*/ 2147483647 h 237"/>
                <a:gd name="T74" fmla="*/ 2147483647 w 290"/>
                <a:gd name="T75" fmla="*/ 2147483647 h 237"/>
                <a:gd name="T76" fmla="*/ 2147483647 w 290"/>
                <a:gd name="T77" fmla="*/ 2147483647 h 237"/>
                <a:gd name="T78" fmla="*/ 2147483647 w 290"/>
                <a:gd name="T79" fmla="*/ 2147483647 h 237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90"/>
                <a:gd name="T121" fmla="*/ 0 h 237"/>
                <a:gd name="T122" fmla="*/ 290 w 290"/>
                <a:gd name="T123" fmla="*/ 237 h 237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90" h="237">
                  <a:moveTo>
                    <a:pt x="120" y="237"/>
                  </a:moveTo>
                  <a:lnTo>
                    <a:pt x="115" y="236"/>
                  </a:lnTo>
                  <a:lnTo>
                    <a:pt x="112" y="234"/>
                  </a:lnTo>
                  <a:lnTo>
                    <a:pt x="106" y="230"/>
                  </a:lnTo>
                  <a:lnTo>
                    <a:pt x="89" y="229"/>
                  </a:lnTo>
                  <a:lnTo>
                    <a:pt x="82" y="232"/>
                  </a:lnTo>
                  <a:lnTo>
                    <a:pt x="72" y="232"/>
                  </a:lnTo>
                  <a:lnTo>
                    <a:pt x="72" y="221"/>
                  </a:lnTo>
                  <a:lnTo>
                    <a:pt x="77" y="214"/>
                  </a:lnTo>
                  <a:lnTo>
                    <a:pt x="75" y="204"/>
                  </a:lnTo>
                  <a:lnTo>
                    <a:pt x="69" y="202"/>
                  </a:lnTo>
                  <a:lnTo>
                    <a:pt x="64" y="203"/>
                  </a:lnTo>
                  <a:lnTo>
                    <a:pt x="59" y="211"/>
                  </a:lnTo>
                  <a:lnTo>
                    <a:pt x="50" y="214"/>
                  </a:lnTo>
                  <a:lnTo>
                    <a:pt x="41" y="188"/>
                  </a:lnTo>
                  <a:lnTo>
                    <a:pt x="41" y="186"/>
                  </a:lnTo>
                  <a:lnTo>
                    <a:pt x="45" y="189"/>
                  </a:lnTo>
                  <a:lnTo>
                    <a:pt x="45" y="184"/>
                  </a:lnTo>
                  <a:lnTo>
                    <a:pt x="36" y="173"/>
                  </a:lnTo>
                  <a:lnTo>
                    <a:pt x="36" y="172"/>
                  </a:lnTo>
                  <a:lnTo>
                    <a:pt x="37" y="166"/>
                  </a:lnTo>
                  <a:lnTo>
                    <a:pt x="37" y="157"/>
                  </a:lnTo>
                  <a:lnTo>
                    <a:pt x="31" y="143"/>
                  </a:lnTo>
                  <a:lnTo>
                    <a:pt x="25" y="129"/>
                  </a:lnTo>
                  <a:lnTo>
                    <a:pt x="10" y="118"/>
                  </a:lnTo>
                  <a:lnTo>
                    <a:pt x="3" y="96"/>
                  </a:lnTo>
                  <a:lnTo>
                    <a:pt x="0" y="85"/>
                  </a:lnTo>
                  <a:lnTo>
                    <a:pt x="3" y="67"/>
                  </a:lnTo>
                  <a:lnTo>
                    <a:pt x="10" y="63"/>
                  </a:lnTo>
                  <a:lnTo>
                    <a:pt x="15" y="52"/>
                  </a:lnTo>
                  <a:lnTo>
                    <a:pt x="23" y="48"/>
                  </a:lnTo>
                  <a:lnTo>
                    <a:pt x="37" y="28"/>
                  </a:lnTo>
                  <a:lnTo>
                    <a:pt x="43" y="22"/>
                  </a:lnTo>
                  <a:lnTo>
                    <a:pt x="52" y="19"/>
                  </a:lnTo>
                  <a:lnTo>
                    <a:pt x="79" y="21"/>
                  </a:lnTo>
                  <a:lnTo>
                    <a:pt x="95" y="24"/>
                  </a:lnTo>
                  <a:lnTo>
                    <a:pt x="113" y="21"/>
                  </a:lnTo>
                  <a:lnTo>
                    <a:pt x="141" y="20"/>
                  </a:lnTo>
                  <a:lnTo>
                    <a:pt x="150" y="30"/>
                  </a:lnTo>
                  <a:lnTo>
                    <a:pt x="161" y="25"/>
                  </a:lnTo>
                  <a:lnTo>
                    <a:pt x="169" y="33"/>
                  </a:lnTo>
                  <a:lnTo>
                    <a:pt x="187" y="37"/>
                  </a:lnTo>
                  <a:lnTo>
                    <a:pt x="198" y="41"/>
                  </a:lnTo>
                  <a:lnTo>
                    <a:pt x="207" y="38"/>
                  </a:lnTo>
                  <a:lnTo>
                    <a:pt x="207" y="24"/>
                  </a:lnTo>
                  <a:lnTo>
                    <a:pt x="223" y="15"/>
                  </a:lnTo>
                  <a:lnTo>
                    <a:pt x="234" y="11"/>
                  </a:lnTo>
                  <a:lnTo>
                    <a:pt x="242" y="11"/>
                  </a:lnTo>
                  <a:lnTo>
                    <a:pt x="251" y="20"/>
                  </a:lnTo>
                  <a:lnTo>
                    <a:pt x="258" y="20"/>
                  </a:lnTo>
                  <a:lnTo>
                    <a:pt x="268" y="15"/>
                  </a:lnTo>
                  <a:lnTo>
                    <a:pt x="279" y="6"/>
                  </a:lnTo>
                  <a:lnTo>
                    <a:pt x="283" y="0"/>
                  </a:lnTo>
                  <a:lnTo>
                    <a:pt x="281" y="37"/>
                  </a:lnTo>
                  <a:lnTo>
                    <a:pt x="283" y="53"/>
                  </a:lnTo>
                  <a:lnTo>
                    <a:pt x="290" y="68"/>
                  </a:lnTo>
                  <a:lnTo>
                    <a:pt x="289" y="117"/>
                  </a:lnTo>
                  <a:lnTo>
                    <a:pt x="287" y="129"/>
                  </a:lnTo>
                  <a:lnTo>
                    <a:pt x="281" y="138"/>
                  </a:lnTo>
                  <a:lnTo>
                    <a:pt x="272" y="135"/>
                  </a:lnTo>
                  <a:lnTo>
                    <a:pt x="262" y="144"/>
                  </a:lnTo>
                  <a:lnTo>
                    <a:pt x="255" y="148"/>
                  </a:lnTo>
                  <a:lnTo>
                    <a:pt x="247" y="148"/>
                  </a:lnTo>
                  <a:lnTo>
                    <a:pt x="229" y="156"/>
                  </a:lnTo>
                  <a:lnTo>
                    <a:pt x="228" y="166"/>
                  </a:lnTo>
                  <a:lnTo>
                    <a:pt x="209" y="167"/>
                  </a:lnTo>
                  <a:lnTo>
                    <a:pt x="199" y="171"/>
                  </a:lnTo>
                  <a:lnTo>
                    <a:pt x="197" y="184"/>
                  </a:lnTo>
                  <a:lnTo>
                    <a:pt x="198" y="193"/>
                  </a:lnTo>
                  <a:lnTo>
                    <a:pt x="199" y="202"/>
                  </a:lnTo>
                  <a:lnTo>
                    <a:pt x="193" y="204"/>
                  </a:lnTo>
                  <a:lnTo>
                    <a:pt x="185" y="207"/>
                  </a:lnTo>
                  <a:lnTo>
                    <a:pt x="174" y="214"/>
                  </a:lnTo>
                  <a:lnTo>
                    <a:pt x="164" y="218"/>
                  </a:lnTo>
                  <a:lnTo>
                    <a:pt x="156" y="215"/>
                  </a:lnTo>
                  <a:lnTo>
                    <a:pt x="149" y="215"/>
                  </a:lnTo>
                  <a:lnTo>
                    <a:pt x="148" y="225"/>
                  </a:lnTo>
                  <a:lnTo>
                    <a:pt x="143" y="230"/>
                  </a:lnTo>
                  <a:lnTo>
                    <a:pt x="136" y="234"/>
                  </a:lnTo>
                  <a:lnTo>
                    <a:pt x="125" y="236"/>
                  </a:lnTo>
                  <a:lnTo>
                    <a:pt x="120" y="23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99" name="Freeform 96">
              <a:extLst>
                <a:ext uri="{FF2B5EF4-FFF2-40B4-BE49-F238E27FC236}">
                  <a16:creationId xmlns:a16="http://schemas.microsoft.com/office/drawing/2014/main" id="{5DAF3700-ED29-A793-78A5-FB95EB46F65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704132" y="3624614"/>
              <a:ext cx="210420" cy="280456"/>
            </a:xfrm>
            <a:custGeom>
              <a:avLst/>
              <a:gdLst>
                <a:gd name="T0" fmla="*/ 2147483647 w 398"/>
                <a:gd name="T1" fmla="*/ 0 h 490"/>
                <a:gd name="T2" fmla="*/ 2147483647 w 398"/>
                <a:gd name="T3" fmla="*/ 0 h 490"/>
                <a:gd name="T4" fmla="*/ 2147483647 w 398"/>
                <a:gd name="T5" fmla="*/ 2147483647 h 490"/>
                <a:gd name="T6" fmla="*/ 2147483647 w 398"/>
                <a:gd name="T7" fmla="*/ 2147483647 h 490"/>
                <a:gd name="T8" fmla="*/ 2147483647 w 398"/>
                <a:gd name="T9" fmla="*/ 2147483647 h 490"/>
                <a:gd name="T10" fmla="*/ 2147483647 w 398"/>
                <a:gd name="T11" fmla="*/ 2147483647 h 490"/>
                <a:gd name="T12" fmla="*/ 2147483647 w 398"/>
                <a:gd name="T13" fmla="*/ 2147483647 h 490"/>
                <a:gd name="T14" fmla="*/ 2147483647 w 398"/>
                <a:gd name="T15" fmla="*/ 2147483647 h 490"/>
                <a:gd name="T16" fmla="*/ 2147483647 w 398"/>
                <a:gd name="T17" fmla="*/ 2147483647 h 490"/>
                <a:gd name="T18" fmla="*/ 2147483647 w 398"/>
                <a:gd name="T19" fmla="*/ 2147483647 h 490"/>
                <a:gd name="T20" fmla="*/ 2147483647 w 398"/>
                <a:gd name="T21" fmla="*/ 2147483647 h 490"/>
                <a:gd name="T22" fmla="*/ 2147483647 w 398"/>
                <a:gd name="T23" fmla="*/ 2147483647 h 490"/>
                <a:gd name="T24" fmla="*/ 2147483647 w 398"/>
                <a:gd name="T25" fmla="*/ 2147483647 h 490"/>
                <a:gd name="T26" fmla="*/ 2147483647 w 398"/>
                <a:gd name="T27" fmla="*/ 2147483647 h 490"/>
                <a:gd name="T28" fmla="*/ 2147483647 w 398"/>
                <a:gd name="T29" fmla="*/ 2147483647 h 490"/>
                <a:gd name="T30" fmla="*/ 2147483647 w 398"/>
                <a:gd name="T31" fmla="*/ 2147483647 h 490"/>
                <a:gd name="T32" fmla="*/ 2147483647 w 398"/>
                <a:gd name="T33" fmla="*/ 2147483647 h 490"/>
                <a:gd name="T34" fmla="*/ 2147483647 w 398"/>
                <a:gd name="T35" fmla="*/ 2147483647 h 490"/>
                <a:gd name="T36" fmla="*/ 2147483647 w 398"/>
                <a:gd name="T37" fmla="*/ 2147483647 h 490"/>
                <a:gd name="T38" fmla="*/ 2147483647 w 398"/>
                <a:gd name="T39" fmla="*/ 2147483647 h 490"/>
                <a:gd name="T40" fmla="*/ 2147483647 w 398"/>
                <a:gd name="T41" fmla="*/ 2147483647 h 490"/>
                <a:gd name="T42" fmla="*/ 2147483647 w 398"/>
                <a:gd name="T43" fmla="*/ 2147483647 h 490"/>
                <a:gd name="T44" fmla="*/ 2147483647 w 398"/>
                <a:gd name="T45" fmla="*/ 2147483647 h 490"/>
                <a:gd name="T46" fmla="*/ 2147483647 w 398"/>
                <a:gd name="T47" fmla="*/ 2147483647 h 490"/>
                <a:gd name="T48" fmla="*/ 2147483647 w 398"/>
                <a:gd name="T49" fmla="*/ 2147483647 h 490"/>
                <a:gd name="T50" fmla="*/ 2147483647 w 398"/>
                <a:gd name="T51" fmla="*/ 2147483647 h 490"/>
                <a:gd name="T52" fmla="*/ 2147483647 w 398"/>
                <a:gd name="T53" fmla="*/ 2147483647 h 490"/>
                <a:gd name="T54" fmla="*/ 2147483647 w 398"/>
                <a:gd name="T55" fmla="*/ 2147483647 h 490"/>
                <a:gd name="T56" fmla="*/ 2147483647 w 398"/>
                <a:gd name="T57" fmla="*/ 2147483647 h 490"/>
                <a:gd name="T58" fmla="*/ 2147483647 w 398"/>
                <a:gd name="T59" fmla="*/ 2147483647 h 490"/>
                <a:gd name="T60" fmla="*/ 2147483647 w 398"/>
                <a:gd name="T61" fmla="*/ 2147483647 h 490"/>
                <a:gd name="T62" fmla="*/ 2147483647 w 398"/>
                <a:gd name="T63" fmla="*/ 2147483647 h 490"/>
                <a:gd name="T64" fmla="*/ 2147483647 w 398"/>
                <a:gd name="T65" fmla="*/ 2147483647 h 490"/>
                <a:gd name="T66" fmla="*/ 0 w 398"/>
                <a:gd name="T67" fmla="*/ 2147483647 h 490"/>
                <a:gd name="T68" fmla="*/ 2147483647 w 398"/>
                <a:gd name="T69" fmla="*/ 2147483647 h 490"/>
                <a:gd name="T70" fmla="*/ 2147483647 w 398"/>
                <a:gd name="T71" fmla="*/ 2147483647 h 490"/>
                <a:gd name="T72" fmla="*/ 2147483647 w 398"/>
                <a:gd name="T73" fmla="*/ 2147483647 h 490"/>
                <a:gd name="T74" fmla="*/ 0 w 398"/>
                <a:gd name="T75" fmla="*/ 2147483647 h 490"/>
                <a:gd name="T76" fmla="*/ 0 w 398"/>
                <a:gd name="T77" fmla="*/ 2147483647 h 490"/>
                <a:gd name="T78" fmla="*/ 0 w 398"/>
                <a:gd name="T79" fmla="*/ 2147483647 h 490"/>
                <a:gd name="T80" fmla="*/ 0 w 398"/>
                <a:gd name="T81" fmla="*/ 2147483647 h 490"/>
                <a:gd name="T82" fmla="*/ 0 w 398"/>
                <a:gd name="T83" fmla="*/ 2147483647 h 490"/>
                <a:gd name="T84" fmla="*/ 2147483647 w 398"/>
                <a:gd name="T85" fmla="*/ 0 h 490"/>
                <a:gd name="T86" fmla="*/ 2147483647 w 398"/>
                <a:gd name="T87" fmla="*/ 0 h 490"/>
                <a:gd name="T88" fmla="*/ 2147483647 w 398"/>
                <a:gd name="T89" fmla="*/ 0 h 490"/>
                <a:gd name="T90" fmla="*/ 2147483647 w 398"/>
                <a:gd name="T91" fmla="*/ 0 h 490"/>
                <a:gd name="T92" fmla="*/ 2147483647 w 398"/>
                <a:gd name="T93" fmla="*/ 0 h 4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8"/>
                <a:gd name="T142" fmla="*/ 0 h 490"/>
                <a:gd name="T143" fmla="*/ 398 w 398"/>
                <a:gd name="T144" fmla="*/ 490 h 4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8" h="490">
                  <a:moveTo>
                    <a:pt x="106" y="3"/>
                  </a:moveTo>
                  <a:lnTo>
                    <a:pt x="118" y="19"/>
                  </a:lnTo>
                  <a:lnTo>
                    <a:pt x="135" y="39"/>
                  </a:lnTo>
                  <a:lnTo>
                    <a:pt x="145" y="49"/>
                  </a:lnTo>
                  <a:lnTo>
                    <a:pt x="150" y="59"/>
                  </a:lnTo>
                  <a:lnTo>
                    <a:pt x="147" y="71"/>
                  </a:lnTo>
                  <a:lnTo>
                    <a:pt x="149" y="79"/>
                  </a:lnTo>
                  <a:lnTo>
                    <a:pt x="163" y="94"/>
                  </a:lnTo>
                  <a:lnTo>
                    <a:pt x="183" y="98"/>
                  </a:lnTo>
                  <a:lnTo>
                    <a:pt x="203" y="93"/>
                  </a:lnTo>
                  <a:lnTo>
                    <a:pt x="219" y="94"/>
                  </a:lnTo>
                  <a:lnTo>
                    <a:pt x="228" y="105"/>
                  </a:lnTo>
                  <a:lnTo>
                    <a:pt x="233" y="114"/>
                  </a:lnTo>
                  <a:lnTo>
                    <a:pt x="235" y="121"/>
                  </a:lnTo>
                  <a:lnTo>
                    <a:pt x="243" y="127"/>
                  </a:lnTo>
                  <a:lnTo>
                    <a:pt x="247" y="136"/>
                  </a:lnTo>
                  <a:lnTo>
                    <a:pt x="253" y="142"/>
                  </a:lnTo>
                  <a:lnTo>
                    <a:pt x="252" y="151"/>
                  </a:lnTo>
                  <a:lnTo>
                    <a:pt x="236" y="167"/>
                  </a:lnTo>
                  <a:lnTo>
                    <a:pt x="231" y="167"/>
                  </a:lnTo>
                  <a:lnTo>
                    <a:pt x="220" y="164"/>
                  </a:lnTo>
                  <a:lnTo>
                    <a:pt x="213" y="167"/>
                  </a:lnTo>
                  <a:lnTo>
                    <a:pt x="209" y="172"/>
                  </a:lnTo>
                  <a:lnTo>
                    <a:pt x="205" y="181"/>
                  </a:lnTo>
                  <a:lnTo>
                    <a:pt x="206" y="188"/>
                  </a:lnTo>
                  <a:lnTo>
                    <a:pt x="213" y="190"/>
                  </a:lnTo>
                  <a:lnTo>
                    <a:pt x="221" y="196"/>
                  </a:lnTo>
                  <a:lnTo>
                    <a:pt x="240" y="206"/>
                  </a:lnTo>
                  <a:lnTo>
                    <a:pt x="267" y="226"/>
                  </a:lnTo>
                  <a:lnTo>
                    <a:pt x="271" y="239"/>
                  </a:lnTo>
                  <a:lnTo>
                    <a:pt x="294" y="260"/>
                  </a:lnTo>
                  <a:lnTo>
                    <a:pt x="297" y="270"/>
                  </a:lnTo>
                  <a:lnTo>
                    <a:pt x="314" y="290"/>
                  </a:lnTo>
                  <a:lnTo>
                    <a:pt x="319" y="291"/>
                  </a:lnTo>
                  <a:lnTo>
                    <a:pt x="337" y="303"/>
                  </a:lnTo>
                  <a:lnTo>
                    <a:pt x="342" y="317"/>
                  </a:lnTo>
                  <a:lnTo>
                    <a:pt x="345" y="329"/>
                  </a:lnTo>
                  <a:lnTo>
                    <a:pt x="344" y="330"/>
                  </a:lnTo>
                  <a:lnTo>
                    <a:pt x="345" y="331"/>
                  </a:lnTo>
                  <a:lnTo>
                    <a:pt x="349" y="345"/>
                  </a:lnTo>
                  <a:lnTo>
                    <a:pt x="357" y="345"/>
                  </a:lnTo>
                  <a:lnTo>
                    <a:pt x="371" y="355"/>
                  </a:lnTo>
                  <a:lnTo>
                    <a:pt x="380" y="363"/>
                  </a:lnTo>
                  <a:lnTo>
                    <a:pt x="384" y="380"/>
                  </a:lnTo>
                  <a:lnTo>
                    <a:pt x="397" y="409"/>
                  </a:lnTo>
                  <a:lnTo>
                    <a:pt x="398" y="416"/>
                  </a:lnTo>
                  <a:lnTo>
                    <a:pt x="398" y="449"/>
                  </a:lnTo>
                  <a:lnTo>
                    <a:pt x="394" y="455"/>
                  </a:lnTo>
                  <a:lnTo>
                    <a:pt x="383" y="464"/>
                  </a:lnTo>
                  <a:lnTo>
                    <a:pt x="373" y="469"/>
                  </a:lnTo>
                  <a:lnTo>
                    <a:pt x="366" y="469"/>
                  </a:lnTo>
                  <a:lnTo>
                    <a:pt x="357" y="460"/>
                  </a:lnTo>
                  <a:lnTo>
                    <a:pt x="349" y="460"/>
                  </a:lnTo>
                  <a:lnTo>
                    <a:pt x="338" y="464"/>
                  </a:lnTo>
                  <a:lnTo>
                    <a:pt x="322" y="473"/>
                  </a:lnTo>
                  <a:lnTo>
                    <a:pt x="322" y="487"/>
                  </a:lnTo>
                  <a:lnTo>
                    <a:pt x="313" y="490"/>
                  </a:lnTo>
                  <a:lnTo>
                    <a:pt x="302" y="486"/>
                  </a:lnTo>
                  <a:lnTo>
                    <a:pt x="284" y="482"/>
                  </a:lnTo>
                  <a:lnTo>
                    <a:pt x="276" y="474"/>
                  </a:lnTo>
                  <a:lnTo>
                    <a:pt x="276" y="470"/>
                  </a:lnTo>
                  <a:lnTo>
                    <a:pt x="280" y="470"/>
                  </a:lnTo>
                  <a:lnTo>
                    <a:pt x="287" y="459"/>
                  </a:lnTo>
                  <a:lnTo>
                    <a:pt x="287" y="417"/>
                  </a:lnTo>
                  <a:lnTo>
                    <a:pt x="291" y="407"/>
                  </a:lnTo>
                  <a:lnTo>
                    <a:pt x="290" y="398"/>
                  </a:lnTo>
                  <a:lnTo>
                    <a:pt x="289" y="391"/>
                  </a:lnTo>
                  <a:lnTo>
                    <a:pt x="284" y="385"/>
                  </a:lnTo>
                  <a:lnTo>
                    <a:pt x="276" y="380"/>
                  </a:lnTo>
                  <a:lnTo>
                    <a:pt x="274" y="373"/>
                  </a:lnTo>
                  <a:lnTo>
                    <a:pt x="264" y="372"/>
                  </a:lnTo>
                  <a:lnTo>
                    <a:pt x="257" y="367"/>
                  </a:lnTo>
                  <a:lnTo>
                    <a:pt x="249" y="357"/>
                  </a:lnTo>
                  <a:lnTo>
                    <a:pt x="246" y="346"/>
                  </a:lnTo>
                  <a:lnTo>
                    <a:pt x="247" y="321"/>
                  </a:lnTo>
                  <a:lnTo>
                    <a:pt x="246" y="308"/>
                  </a:lnTo>
                  <a:lnTo>
                    <a:pt x="242" y="296"/>
                  </a:lnTo>
                  <a:lnTo>
                    <a:pt x="237" y="286"/>
                  </a:lnTo>
                  <a:lnTo>
                    <a:pt x="230" y="281"/>
                  </a:lnTo>
                  <a:lnTo>
                    <a:pt x="228" y="274"/>
                  </a:lnTo>
                  <a:lnTo>
                    <a:pt x="220" y="270"/>
                  </a:lnTo>
                  <a:lnTo>
                    <a:pt x="213" y="263"/>
                  </a:lnTo>
                  <a:lnTo>
                    <a:pt x="208" y="255"/>
                  </a:lnTo>
                  <a:lnTo>
                    <a:pt x="195" y="240"/>
                  </a:lnTo>
                  <a:lnTo>
                    <a:pt x="183" y="239"/>
                  </a:lnTo>
                  <a:lnTo>
                    <a:pt x="172" y="240"/>
                  </a:lnTo>
                  <a:lnTo>
                    <a:pt x="161" y="243"/>
                  </a:lnTo>
                  <a:lnTo>
                    <a:pt x="157" y="254"/>
                  </a:lnTo>
                  <a:lnTo>
                    <a:pt x="152" y="258"/>
                  </a:lnTo>
                  <a:lnTo>
                    <a:pt x="145" y="261"/>
                  </a:lnTo>
                  <a:lnTo>
                    <a:pt x="133" y="267"/>
                  </a:lnTo>
                  <a:lnTo>
                    <a:pt x="124" y="267"/>
                  </a:lnTo>
                  <a:lnTo>
                    <a:pt x="115" y="261"/>
                  </a:lnTo>
                  <a:lnTo>
                    <a:pt x="109" y="251"/>
                  </a:lnTo>
                  <a:lnTo>
                    <a:pt x="102" y="249"/>
                  </a:lnTo>
                  <a:lnTo>
                    <a:pt x="93" y="251"/>
                  </a:lnTo>
                  <a:lnTo>
                    <a:pt x="80" y="256"/>
                  </a:lnTo>
                  <a:lnTo>
                    <a:pt x="68" y="269"/>
                  </a:lnTo>
                  <a:lnTo>
                    <a:pt x="55" y="274"/>
                  </a:lnTo>
                  <a:lnTo>
                    <a:pt x="48" y="283"/>
                  </a:lnTo>
                  <a:lnTo>
                    <a:pt x="43" y="287"/>
                  </a:lnTo>
                  <a:lnTo>
                    <a:pt x="44" y="282"/>
                  </a:lnTo>
                  <a:lnTo>
                    <a:pt x="41" y="269"/>
                  </a:lnTo>
                  <a:lnTo>
                    <a:pt x="45" y="255"/>
                  </a:lnTo>
                  <a:lnTo>
                    <a:pt x="48" y="231"/>
                  </a:lnTo>
                  <a:lnTo>
                    <a:pt x="53" y="220"/>
                  </a:lnTo>
                  <a:lnTo>
                    <a:pt x="53" y="211"/>
                  </a:lnTo>
                  <a:lnTo>
                    <a:pt x="54" y="202"/>
                  </a:lnTo>
                  <a:lnTo>
                    <a:pt x="50" y="186"/>
                  </a:lnTo>
                  <a:lnTo>
                    <a:pt x="54" y="169"/>
                  </a:lnTo>
                  <a:lnTo>
                    <a:pt x="50" y="165"/>
                  </a:lnTo>
                  <a:lnTo>
                    <a:pt x="29" y="165"/>
                  </a:lnTo>
                  <a:lnTo>
                    <a:pt x="23" y="164"/>
                  </a:lnTo>
                  <a:lnTo>
                    <a:pt x="21" y="163"/>
                  </a:lnTo>
                  <a:lnTo>
                    <a:pt x="21" y="145"/>
                  </a:lnTo>
                  <a:lnTo>
                    <a:pt x="18" y="130"/>
                  </a:lnTo>
                  <a:lnTo>
                    <a:pt x="12" y="121"/>
                  </a:lnTo>
                  <a:lnTo>
                    <a:pt x="9" y="116"/>
                  </a:lnTo>
                  <a:lnTo>
                    <a:pt x="2" y="119"/>
                  </a:lnTo>
                  <a:lnTo>
                    <a:pt x="0" y="113"/>
                  </a:lnTo>
                  <a:lnTo>
                    <a:pt x="1" y="105"/>
                  </a:lnTo>
                  <a:lnTo>
                    <a:pt x="4" y="105"/>
                  </a:lnTo>
                  <a:lnTo>
                    <a:pt x="5" y="99"/>
                  </a:lnTo>
                  <a:lnTo>
                    <a:pt x="10" y="95"/>
                  </a:lnTo>
                  <a:lnTo>
                    <a:pt x="17" y="93"/>
                  </a:lnTo>
                  <a:lnTo>
                    <a:pt x="23" y="92"/>
                  </a:lnTo>
                  <a:lnTo>
                    <a:pt x="21" y="84"/>
                  </a:lnTo>
                  <a:lnTo>
                    <a:pt x="21" y="79"/>
                  </a:lnTo>
                  <a:lnTo>
                    <a:pt x="48" y="61"/>
                  </a:lnTo>
                  <a:lnTo>
                    <a:pt x="53" y="54"/>
                  </a:lnTo>
                  <a:lnTo>
                    <a:pt x="54" y="49"/>
                  </a:lnTo>
                  <a:lnTo>
                    <a:pt x="59" y="76"/>
                  </a:lnTo>
                  <a:lnTo>
                    <a:pt x="80" y="71"/>
                  </a:lnTo>
                  <a:lnTo>
                    <a:pt x="84" y="67"/>
                  </a:lnTo>
                  <a:lnTo>
                    <a:pt x="85" y="52"/>
                  </a:lnTo>
                  <a:lnTo>
                    <a:pt x="79" y="36"/>
                  </a:lnTo>
                  <a:lnTo>
                    <a:pt x="76" y="19"/>
                  </a:lnTo>
                  <a:lnTo>
                    <a:pt x="77" y="7"/>
                  </a:lnTo>
                  <a:lnTo>
                    <a:pt x="86" y="0"/>
                  </a:lnTo>
                  <a:lnTo>
                    <a:pt x="106" y="1"/>
                  </a:lnTo>
                  <a:lnTo>
                    <a:pt x="106" y="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00" name="Freeform 98">
              <a:extLst>
                <a:ext uri="{FF2B5EF4-FFF2-40B4-BE49-F238E27FC236}">
                  <a16:creationId xmlns:a16="http://schemas.microsoft.com/office/drawing/2014/main" id="{8D7BE77B-60BB-03D8-9CC8-11302B57322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422079" y="3616993"/>
              <a:ext cx="7462" cy="15242"/>
            </a:xfrm>
            <a:custGeom>
              <a:avLst/>
              <a:gdLst>
                <a:gd name="T0" fmla="*/ 0 w 14"/>
                <a:gd name="T1" fmla="*/ 0 h 27"/>
                <a:gd name="T2" fmla="*/ 0 w 14"/>
                <a:gd name="T3" fmla="*/ 0 h 27"/>
                <a:gd name="T4" fmla="*/ 0 w 14"/>
                <a:gd name="T5" fmla="*/ 0 h 27"/>
                <a:gd name="T6" fmla="*/ 0 w 14"/>
                <a:gd name="T7" fmla="*/ 0 h 27"/>
                <a:gd name="T8" fmla="*/ 0 w 14"/>
                <a:gd name="T9" fmla="*/ 0 h 27"/>
                <a:gd name="T10" fmla="*/ 0 w 14"/>
                <a:gd name="T11" fmla="*/ 0 h 27"/>
                <a:gd name="T12" fmla="*/ 0 w 14"/>
                <a:gd name="T13" fmla="*/ 0 h 27"/>
                <a:gd name="T14" fmla="*/ 0 w 14"/>
                <a:gd name="T15" fmla="*/ 0 h 2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27"/>
                <a:gd name="T26" fmla="*/ 14 w 14"/>
                <a:gd name="T27" fmla="*/ 27 h 2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27">
                  <a:moveTo>
                    <a:pt x="0" y="4"/>
                  </a:moveTo>
                  <a:lnTo>
                    <a:pt x="1" y="26"/>
                  </a:lnTo>
                  <a:lnTo>
                    <a:pt x="9" y="27"/>
                  </a:lnTo>
                  <a:lnTo>
                    <a:pt x="14" y="21"/>
                  </a:lnTo>
                  <a:lnTo>
                    <a:pt x="14" y="12"/>
                  </a:lnTo>
                  <a:lnTo>
                    <a:pt x="9" y="3"/>
                  </a:lnTo>
                  <a:lnTo>
                    <a:pt x="5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01" name="Freeform 99">
              <a:extLst>
                <a:ext uri="{FF2B5EF4-FFF2-40B4-BE49-F238E27FC236}">
                  <a16:creationId xmlns:a16="http://schemas.microsoft.com/office/drawing/2014/main" id="{FCF4779E-B152-B5D7-0236-E8C6CF3E2D5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762464" y="3146010"/>
              <a:ext cx="858097" cy="943490"/>
            </a:xfrm>
            <a:custGeom>
              <a:avLst/>
              <a:gdLst>
                <a:gd name="T0" fmla="*/ 2147483647 w 1608"/>
                <a:gd name="T1" fmla="*/ 2147483647 h 1661"/>
                <a:gd name="T2" fmla="*/ 2147483647 w 1608"/>
                <a:gd name="T3" fmla="*/ 2147483647 h 1661"/>
                <a:gd name="T4" fmla="*/ 2147483647 w 1608"/>
                <a:gd name="T5" fmla="*/ 2147483647 h 1661"/>
                <a:gd name="T6" fmla="*/ 2147483647 w 1608"/>
                <a:gd name="T7" fmla="*/ 2147483647 h 1661"/>
                <a:gd name="T8" fmla="*/ 2147483647 w 1608"/>
                <a:gd name="T9" fmla="*/ 2147483647 h 1661"/>
                <a:gd name="T10" fmla="*/ 2147483647 w 1608"/>
                <a:gd name="T11" fmla="*/ 2147483647 h 1661"/>
                <a:gd name="T12" fmla="*/ 2147483647 w 1608"/>
                <a:gd name="T13" fmla="*/ 2147483647 h 1661"/>
                <a:gd name="T14" fmla="*/ 2147483647 w 1608"/>
                <a:gd name="T15" fmla="*/ 2147483647 h 1661"/>
                <a:gd name="T16" fmla="*/ 2147483647 w 1608"/>
                <a:gd name="T17" fmla="*/ 2147483647 h 1661"/>
                <a:gd name="T18" fmla="*/ 2147483647 w 1608"/>
                <a:gd name="T19" fmla="*/ 2147483647 h 1661"/>
                <a:gd name="T20" fmla="*/ 2147483647 w 1608"/>
                <a:gd name="T21" fmla="*/ 2147483647 h 1661"/>
                <a:gd name="T22" fmla="*/ 2147483647 w 1608"/>
                <a:gd name="T23" fmla="*/ 2147483647 h 1661"/>
                <a:gd name="T24" fmla="*/ 2147483647 w 1608"/>
                <a:gd name="T25" fmla="*/ 2147483647 h 1661"/>
                <a:gd name="T26" fmla="*/ 2147483647 w 1608"/>
                <a:gd name="T27" fmla="*/ 2147483647 h 1661"/>
                <a:gd name="T28" fmla="*/ 2147483647 w 1608"/>
                <a:gd name="T29" fmla="*/ 2147483647 h 1661"/>
                <a:gd name="T30" fmla="*/ 2147483647 w 1608"/>
                <a:gd name="T31" fmla="*/ 2147483647 h 1661"/>
                <a:gd name="T32" fmla="*/ 2147483647 w 1608"/>
                <a:gd name="T33" fmla="*/ 2147483647 h 1661"/>
                <a:gd name="T34" fmla="*/ 2147483647 w 1608"/>
                <a:gd name="T35" fmla="*/ 2147483647 h 1661"/>
                <a:gd name="T36" fmla="*/ 2147483647 w 1608"/>
                <a:gd name="T37" fmla="*/ 2147483647 h 1661"/>
                <a:gd name="T38" fmla="*/ 2147483647 w 1608"/>
                <a:gd name="T39" fmla="*/ 2147483647 h 1661"/>
                <a:gd name="T40" fmla="*/ 2147483647 w 1608"/>
                <a:gd name="T41" fmla="*/ 2147483647 h 1661"/>
                <a:gd name="T42" fmla="*/ 2147483647 w 1608"/>
                <a:gd name="T43" fmla="*/ 2147483647 h 1661"/>
                <a:gd name="T44" fmla="*/ 2147483647 w 1608"/>
                <a:gd name="T45" fmla="*/ 2147483647 h 1661"/>
                <a:gd name="T46" fmla="*/ 2147483647 w 1608"/>
                <a:gd name="T47" fmla="*/ 2147483647 h 1661"/>
                <a:gd name="T48" fmla="*/ 2147483647 w 1608"/>
                <a:gd name="T49" fmla="*/ 2147483647 h 1661"/>
                <a:gd name="T50" fmla="*/ 2147483647 w 1608"/>
                <a:gd name="T51" fmla="*/ 2147483647 h 1661"/>
                <a:gd name="T52" fmla="*/ 2147483647 w 1608"/>
                <a:gd name="T53" fmla="*/ 2147483647 h 1661"/>
                <a:gd name="T54" fmla="*/ 2147483647 w 1608"/>
                <a:gd name="T55" fmla="*/ 2147483647 h 1661"/>
                <a:gd name="T56" fmla="*/ 2147483647 w 1608"/>
                <a:gd name="T57" fmla="*/ 2147483647 h 1661"/>
                <a:gd name="T58" fmla="*/ 2147483647 w 1608"/>
                <a:gd name="T59" fmla="*/ 2147483647 h 1661"/>
                <a:gd name="T60" fmla="*/ 2147483647 w 1608"/>
                <a:gd name="T61" fmla="*/ 2147483647 h 1661"/>
                <a:gd name="T62" fmla="*/ 2147483647 w 1608"/>
                <a:gd name="T63" fmla="*/ 2147483647 h 1661"/>
                <a:gd name="T64" fmla="*/ 2147483647 w 1608"/>
                <a:gd name="T65" fmla="*/ 0 h 1661"/>
                <a:gd name="T66" fmla="*/ 2147483647 w 1608"/>
                <a:gd name="T67" fmla="*/ 0 h 1661"/>
                <a:gd name="T68" fmla="*/ 2147483647 w 1608"/>
                <a:gd name="T69" fmla="*/ 0 h 1661"/>
                <a:gd name="T70" fmla="*/ 2147483647 w 1608"/>
                <a:gd name="T71" fmla="*/ 0 h 1661"/>
                <a:gd name="T72" fmla="*/ 2147483647 w 1608"/>
                <a:gd name="T73" fmla="*/ 0 h 1661"/>
                <a:gd name="T74" fmla="*/ 2147483647 w 1608"/>
                <a:gd name="T75" fmla="*/ 0 h 1661"/>
                <a:gd name="T76" fmla="*/ 2147483647 w 1608"/>
                <a:gd name="T77" fmla="*/ 0 h 1661"/>
                <a:gd name="T78" fmla="*/ 2147483647 w 1608"/>
                <a:gd name="T79" fmla="*/ 0 h 1661"/>
                <a:gd name="T80" fmla="*/ 2147483647 w 1608"/>
                <a:gd name="T81" fmla="*/ 0 h 1661"/>
                <a:gd name="T82" fmla="*/ 2147483647 w 1608"/>
                <a:gd name="T83" fmla="*/ 0 h 1661"/>
                <a:gd name="T84" fmla="*/ 2147483647 w 1608"/>
                <a:gd name="T85" fmla="*/ 0 h 1661"/>
                <a:gd name="T86" fmla="*/ 2147483647 w 1608"/>
                <a:gd name="T87" fmla="*/ 0 h 1661"/>
                <a:gd name="T88" fmla="*/ 2147483647 w 1608"/>
                <a:gd name="T89" fmla="*/ 0 h 1661"/>
                <a:gd name="T90" fmla="*/ 2147483647 w 1608"/>
                <a:gd name="T91" fmla="*/ 0 h 1661"/>
                <a:gd name="T92" fmla="*/ 2147483647 w 1608"/>
                <a:gd name="T93" fmla="*/ 0 h 1661"/>
                <a:gd name="T94" fmla="*/ 2147483647 w 1608"/>
                <a:gd name="T95" fmla="*/ 2147483647 h 1661"/>
                <a:gd name="T96" fmla="*/ 2147483647 w 1608"/>
                <a:gd name="T97" fmla="*/ 2147483647 h 1661"/>
                <a:gd name="T98" fmla="*/ 0 w 1608"/>
                <a:gd name="T99" fmla="*/ 2147483647 h 1661"/>
                <a:gd name="T100" fmla="*/ 0 w 1608"/>
                <a:gd name="T101" fmla="*/ 2147483647 h 1661"/>
                <a:gd name="T102" fmla="*/ 0 w 1608"/>
                <a:gd name="T103" fmla="*/ 2147483647 h 1661"/>
                <a:gd name="T104" fmla="*/ 0 w 1608"/>
                <a:gd name="T105" fmla="*/ 2147483647 h 1661"/>
                <a:gd name="T106" fmla="*/ 0 w 1608"/>
                <a:gd name="T107" fmla="*/ 2147483647 h 1661"/>
                <a:gd name="T108" fmla="*/ 0 w 1608"/>
                <a:gd name="T109" fmla="*/ 2147483647 h 1661"/>
                <a:gd name="T110" fmla="*/ 0 w 1608"/>
                <a:gd name="T111" fmla="*/ 2147483647 h 1661"/>
                <a:gd name="T112" fmla="*/ 0 w 1608"/>
                <a:gd name="T113" fmla="*/ 2147483647 h 1661"/>
                <a:gd name="T114" fmla="*/ 0 w 1608"/>
                <a:gd name="T115" fmla="*/ 2147483647 h 1661"/>
                <a:gd name="T116" fmla="*/ 0 w 1608"/>
                <a:gd name="T117" fmla="*/ 2147483647 h 1661"/>
                <a:gd name="T118" fmla="*/ 0 w 1608"/>
                <a:gd name="T119" fmla="*/ 2147483647 h 1661"/>
                <a:gd name="T120" fmla="*/ 0 w 1608"/>
                <a:gd name="T121" fmla="*/ 2147483647 h 1661"/>
                <a:gd name="T122" fmla="*/ 0 w 1608"/>
                <a:gd name="T123" fmla="*/ 2147483647 h 1661"/>
                <a:gd name="T124" fmla="*/ 0 w 1608"/>
                <a:gd name="T125" fmla="*/ 2147483647 h 166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608"/>
                <a:gd name="T190" fmla="*/ 0 h 1661"/>
                <a:gd name="T191" fmla="*/ 1608 w 1608"/>
                <a:gd name="T192" fmla="*/ 1661 h 166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608" h="1661">
                  <a:moveTo>
                    <a:pt x="304" y="1236"/>
                  </a:moveTo>
                  <a:lnTo>
                    <a:pt x="306" y="1238"/>
                  </a:lnTo>
                  <a:lnTo>
                    <a:pt x="310" y="1250"/>
                  </a:lnTo>
                  <a:lnTo>
                    <a:pt x="312" y="1252"/>
                  </a:lnTo>
                  <a:lnTo>
                    <a:pt x="315" y="1249"/>
                  </a:lnTo>
                  <a:lnTo>
                    <a:pt x="320" y="1250"/>
                  </a:lnTo>
                  <a:lnTo>
                    <a:pt x="316" y="1255"/>
                  </a:lnTo>
                  <a:lnTo>
                    <a:pt x="316" y="1260"/>
                  </a:lnTo>
                  <a:lnTo>
                    <a:pt x="322" y="1281"/>
                  </a:lnTo>
                  <a:lnTo>
                    <a:pt x="331" y="1293"/>
                  </a:lnTo>
                  <a:lnTo>
                    <a:pt x="338" y="1297"/>
                  </a:lnTo>
                  <a:lnTo>
                    <a:pt x="348" y="1319"/>
                  </a:lnTo>
                  <a:lnTo>
                    <a:pt x="351" y="1334"/>
                  </a:lnTo>
                  <a:lnTo>
                    <a:pt x="358" y="1343"/>
                  </a:lnTo>
                  <a:lnTo>
                    <a:pt x="364" y="1358"/>
                  </a:lnTo>
                  <a:lnTo>
                    <a:pt x="370" y="1388"/>
                  </a:lnTo>
                  <a:lnTo>
                    <a:pt x="382" y="1426"/>
                  </a:lnTo>
                  <a:lnTo>
                    <a:pt x="382" y="1429"/>
                  </a:lnTo>
                  <a:lnTo>
                    <a:pt x="391" y="1444"/>
                  </a:lnTo>
                  <a:lnTo>
                    <a:pt x="401" y="1453"/>
                  </a:lnTo>
                  <a:lnTo>
                    <a:pt x="418" y="1475"/>
                  </a:lnTo>
                  <a:lnTo>
                    <a:pt x="425" y="1494"/>
                  </a:lnTo>
                  <a:lnTo>
                    <a:pt x="432" y="1519"/>
                  </a:lnTo>
                  <a:lnTo>
                    <a:pt x="454" y="1572"/>
                  </a:lnTo>
                  <a:lnTo>
                    <a:pt x="461" y="1600"/>
                  </a:lnTo>
                  <a:lnTo>
                    <a:pt x="468" y="1614"/>
                  </a:lnTo>
                  <a:lnTo>
                    <a:pt x="481" y="1633"/>
                  </a:lnTo>
                  <a:lnTo>
                    <a:pt x="495" y="1650"/>
                  </a:lnTo>
                  <a:lnTo>
                    <a:pt x="508" y="1661"/>
                  </a:lnTo>
                  <a:lnTo>
                    <a:pt x="525" y="1661"/>
                  </a:lnTo>
                  <a:lnTo>
                    <a:pt x="534" y="1653"/>
                  </a:lnTo>
                  <a:lnTo>
                    <a:pt x="534" y="1650"/>
                  </a:lnTo>
                  <a:lnTo>
                    <a:pt x="540" y="1647"/>
                  </a:lnTo>
                  <a:lnTo>
                    <a:pt x="546" y="1642"/>
                  </a:lnTo>
                  <a:lnTo>
                    <a:pt x="548" y="1636"/>
                  </a:lnTo>
                  <a:lnTo>
                    <a:pt x="547" y="1632"/>
                  </a:lnTo>
                  <a:lnTo>
                    <a:pt x="554" y="1611"/>
                  </a:lnTo>
                  <a:lnTo>
                    <a:pt x="577" y="1600"/>
                  </a:lnTo>
                  <a:lnTo>
                    <a:pt x="594" y="1598"/>
                  </a:lnTo>
                  <a:lnTo>
                    <a:pt x="593" y="1588"/>
                  </a:lnTo>
                  <a:lnTo>
                    <a:pt x="594" y="1578"/>
                  </a:lnTo>
                  <a:lnTo>
                    <a:pt x="607" y="1560"/>
                  </a:lnTo>
                  <a:lnTo>
                    <a:pt x="610" y="1552"/>
                  </a:lnTo>
                  <a:lnTo>
                    <a:pt x="615" y="1541"/>
                  </a:lnTo>
                  <a:lnTo>
                    <a:pt x="628" y="1539"/>
                  </a:lnTo>
                  <a:lnTo>
                    <a:pt x="632" y="1542"/>
                  </a:lnTo>
                  <a:lnTo>
                    <a:pt x="643" y="1542"/>
                  </a:lnTo>
                  <a:lnTo>
                    <a:pt x="643" y="1525"/>
                  </a:lnTo>
                  <a:lnTo>
                    <a:pt x="640" y="1496"/>
                  </a:lnTo>
                  <a:lnTo>
                    <a:pt x="640" y="1467"/>
                  </a:lnTo>
                  <a:lnTo>
                    <a:pt x="643" y="1456"/>
                  </a:lnTo>
                  <a:lnTo>
                    <a:pt x="655" y="1431"/>
                  </a:lnTo>
                  <a:lnTo>
                    <a:pt x="660" y="1417"/>
                  </a:lnTo>
                  <a:lnTo>
                    <a:pt x="667" y="1390"/>
                  </a:lnTo>
                  <a:lnTo>
                    <a:pt x="669" y="1381"/>
                  </a:lnTo>
                  <a:lnTo>
                    <a:pt x="667" y="1368"/>
                  </a:lnTo>
                  <a:lnTo>
                    <a:pt x="661" y="1363"/>
                  </a:lnTo>
                  <a:lnTo>
                    <a:pt x="660" y="1358"/>
                  </a:lnTo>
                  <a:lnTo>
                    <a:pt x="658" y="1356"/>
                  </a:lnTo>
                  <a:lnTo>
                    <a:pt x="660" y="1352"/>
                  </a:lnTo>
                  <a:lnTo>
                    <a:pt x="664" y="1356"/>
                  </a:lnTo>
                  <a:lnTo>
                    <a:pt x="656" y="1324"/>
                  </a:lnTo>
                  <a:lnTo>
                    <a:pt x="659" y="1314"/>
                  </a:lnTo>
                  <a:lnTo>
                    <a:pt x="659" y="1304"/>
                  </a:lnTo>
                  <a:lnTo>
                    <a:pt x="659" y="1302"/>
                  </a:lnTo>
                  <a:lnTo>
                    <a:pt x="655" y="1297"/>
                  </a:lnTo>
                  <a:lnTo>
                    <a:pt x="654" y="1284"/>
                  </a:lnTo>
                  <a:lnTo>
                    <a:pt x="654" y="1262"/>
                  </a:lnTo>
                  <a:lnTo>
                    <a:pt x="661" y="1251"/>
                  </a:lnTo>
                  <a:lnTo>
                    <a:pt x="670" y="1238"/>
                  </a:lnTo>
                  <a:lnTo>
                    <a:pt x="680" y="1233"/>
                  </a:lnTo>
                  <a:lnTo>
                    <a:pt x="688" y="1232"/>
                  </a:lnTo>
                  <a:lnTo>
                    <a:pt x="698" y="1238"/>
                  </a:lnTo>
                  <a:lnTo>
                    <a:pt x="706" y="1234"/>
                  </a:lnTo>
                  <a:lnTo>
                    <a:pt x="713" y="1222"/>
                  </a:lnTo>
                  <a:lnTo>
                    <a:pt x="718" y="1208"/>
                  </a:lnTo>
                  <a:lnTo>
                    <a:pt x="720" y="1208"/>
                  </a:lnTo>
                  <a:lnTo>
                    <a:pt x="733" y="1205"/>
                  </a:lnTo>
                  <a:lnTo>
                    <a:pt x="746" y="1202"/>
                  </a:lnTo>
                  <a:lnTo>
                    <a:pt x="769" y="1193"/>
                  </a:lnTo>
                  <a:lnTo>
                    <a:pt x="776" y="1185"/>
                  </a:lnTo>
                  <a:lnTo>
                    <a:pt x="776" y="1174"/>
                  </a:lnTo>
                  <a:lnTo>
                    <a:pt x="782" y="1164"/>
                  </a:lnTo>
                  <a:lnTo>
                    <a:pt x="795" y="1155"/>
                  </a:lnTo>
                  <a:lnTo>
                    <a:pt x="820" y="1136"/>
                  </a:lnTo>
                  <a:lnTo>
                    <a:pt x="837" y="1123"/>
                  </a:lnTo>
                  <a:lnTo>
                    <a:pt x="849" y="1109"/>
                  </a:lnTo>
                  <a:lnTo>
                    <a:pt x="864" y="1098"/>
                  </a:lnTo>
                  <a:lnTo>
                    <a:pt x="875" y="1092"/>
                  </a:lnTo>
                  <a:lnTo>
                    <a:pt x="878" y="1088"/>
                  </a:lnTo>
                  <a:lnTo>
                    <a:pt x="880" y="1087"/>
                  </a:lnTo>
                  <a:lnTo>
                    <a:pt x="890" y="1077"/>
                  </a:lnTo>
                  <a:lnTo>
                    <a:pt x="925" y="1034"/>
                  </a:lnTo>
                  <a:lnTo>
                    <a:pt x="938" y="1024"/>
                  </a:lnTo>
                  <a:lnTo>
                    <a:pt x="968" y="1007"/>
                  </a:lnTo>
                  <a:lnTo>
                    <a:pt x="986" y="1001"/>
                  </a:lnTo>
                  <a:lnTo>
                    <a:pt x="995" y="996"/>
                  </a:lnTo>
                  <a:lnTo>
                    <a:pt x="998" y="996"/>
                  </a:lnTo>
                  <a:lnTo>
                    <a:pt x="1015" y="981"/>
                  </a:lnTo>
                  <a:lnTo>
                    <a:pt x="1024" y="970"/>
                  </a:lnTo>
                  <a:lnTo>
                    <a:pt x="1026" y="964"/>
                  </a:lnTo>
                  <a:lnTo>
                    <a:pt x="1036" y="953"/>
                  </a:lnTo>
                  <a:lnTo>
                    <a:pt x="1030" y="929"/>
                  </a:lnTo>
                  <a:lnTo>
                    <a:pt x="1036" y="913"/>
                  </a:lnTo>
                  <a:lnTo>
                    <a:pt x="1068" y="897"/>
                  </a:lnTo>
                  <a:lnTo>
                    <a:pt x="1078" y="894"/>
                  </a:lnTo>
                  <a:lnTo>
                    <a:pt x="1084" y="889"/>
                  </a:lnTo>
                  <a:lnTo>
                    <a:pt x="1089" y="880"/>
                  </a:lnTo>
                  <a:lnTo>
                    <a:pt x="1091" y="874"/>
                  </a:lnTo>
                  <a:lnTo>
                    <a:pt x="1096" y="868"/>
                  </a:lnTo>
                  <a:lnTo>
                    <a:pt x="1100" y="868"/>
                  </a:lnTo>
                  <a:lnTo>
                    <a:pt x="1097" y="880"/>
                  </a:lnTo>
                  <a:lnTo>
                    <a:pt x="1097" y="893"/>
                  </a:lnTo>
                  <a:lnTo>
                    <a:pt x="1099" y="894"/>
                  </a:lnTo>
                  <a:lnTo>
                    <a:pt x="1101" y="894"/>
                  </a:lnTo>
                  <a:lnTo>
                    <a:pt x="1104" y="895"/>
                  </a:lnTo>
                  <a:lnTo>
                    <a:pt x="1107" y="902"/>
                  </a:lnTo>
                  <a:lnTo>
                    <a:pt x="1116" y="901"/>
                  </a:lnTo>
                  <a:lnTo>
                    <a:pt x="1121" y="897"/>
                  </a:lnTo>
                  <a:lnTo>
                    <a:pt x="1124" y="899"/>
                  </a:lnTo>
                  <a:lnTo>
                    <a:pt x="1126" y="890"/>
                  </a:lnTo>
                  <a:lnTo>
                    <a:pt x="1128" y="886"/>
                  </a:lnTo>
                  <a:lnTo>
                    <a:pt x="1131" y="896"/>
                  </a:lnTo>
                  <a:lnTo>
                    <a:pt x="1134" y="900"/>
                  </a:lnTo>
                  <a:lnTo>
                    <a:pt x="1142" y="897"/>
                  </a:lnTo>
                  <a:lnTo>
                    <a:pt x="1135" y="884"/>
                  </a:lnTo>
                  <a:lnTo>
                    <a:pt x="1137" y="878"/>
                  </a:lnTo>
                  <a:lnTo>
                    <a:pt x="1135" y="874"/>
                  </a:lnTo>
                  <a:lnTo>
                    <a:pt x="1133" y="863"/>
                  </a:lnTo>
                  <a:lnTo>
                    <a:pt x="1134" y="854"/>
                  </a:lnTo>
                  <a:lnTo>
                    <a:pt x="1132" y="846"/>
                  </a:lnTo>
                  <a:lnTo>
                    <a:pt x="1127" y="841"/>
                  </a:lnTo>
                  <a:lnTo>
                    <a:pt x="1124" y="832"/>
                  </a:lnTo>
                  <a:lnTo>
                    <a:pt x="1124" y="823"/>
                  </a:lnTo>
                  <a:lnTo>
                    <a:pt x="1126" y="820"/>
                  </a:lnTo>
                  <a:lnTo>
                    <a:pt x="1127" y="804"/>
                  </a:lnTo>
                  <a:lnTo>
                    <a:pt x="1126" y="800"/>
                  </a:lnTo>
                  <a:lnTo>
                    <a:pt x="1122" y="799"/>
                  </a:lnTo>
                  <a:lnTo>
                    <a:pt x="1122" y="784"/>
                  </a:lnTo>
                  <a:lnTo>
                    <a:pt x="1116" y="778"/>
                  </a:lnTo>
                  <a:lnTo>
                    <a:pt x="1116" y="770"/>
                  </a:lnTo>
                  <a:lnTo>
                    <a:pt x="1118" y="759"/>
                  </a:lnTo>
                  <a:lnTo>
                    <a:pt x="1120" y="738"/>
                  </a:lnTo>
                  <a:lnTo>
                    <a:pt x="1111" y="728"/>
                  </a:lnTo>
                  <a:lnTo>
                    <a:pt x="1105" y="723"/>
                  </a:lnTo>
                  <a:lnTo>
                    <a:pt x="1094" y="718"/>
                  </a:lnTo>
                  <a:lnTo>
                    <a:pt x="1085" y="714"/>
                  </a:lnTo>
                  <a:lnTo>
                    <a:pt x="1084" y="708"/>
                  </a:lnTo>
                  <a:lnTo>
                    <a:pt x="1085" y="703"/>
                  </a:lnTo>
                  <a:lnTo>
                    <a:pt x="1090" y="695"/>
                  </a:lnTo>
                  <a:lnTo>
                    <a:pt x="1097" y="694"/>
                  </a:lnTo>
                  <a:lnTo>
                    <a:pt x="1104" y="690"/>
                  </a:lnTo>
                  <a:lnTo>
                    <a:pt x="1106" y="683"/>
                  </a:lnTo>
                  <a:lnTo>
                    <a:pt x="1126" y="681"/>
                  </a:lnTo>
                  <a:lnTo>
                    <a:pt x="1126" y="673"/>
                  </a:lnTo>
                  <a:lnTo>
                    <a:pt x="1122" y="669"/>
                  </a:lnTo>
                  <a:lnTo>
                    <a:pt x="1123" y="665"/>
                  </a:lnTo>
                  <a:lnTo>
                    <a:pt x="1108" y="667"/>
                  </a:lnTo>
                  <a:lnTo>
                    <a:pt x="1101" y="662"/>
                  </a:lnTo>
                  <a:lnTo>
                    <a:pt x="1099" y="648"/>
                  </a:lnTo>
                  <a:lnTo>
                    <a:pt x="1095" y="644"/>
                  </a:lnTo>
                  <a:lnTo>
                    <a:pt x="1110" y="620"/>
                  </a:lnTo>
                  <a:lnTo>
                    <a:pt x="1112" y="608"/>
                  </a:lnTo>
                  <a:lnTo>
                    <a:pt x="1117" y="605"/>
                  </a:lnTo>
                  <a:lnTo>
                    <a:pt x="1126" y="622"/>
                  </a:lnTo>
                  <a:lnTo>
                    <a:pt x="1132" y="630"/>
                  </a:lnTo>
                  <a:lnTo>
                    <a:pt x="1133" y="622"/>
                  </a:lnTo>
                  <a:lnTo>
                    <a:pt x="1137" y="610"/>
                  </a:lnTo>
                  <a:lnTo>
                    <a:pt x="1143" y="613"/>
                  </a:lnTo>
                  <a:lnTo>
                    <a:pt x="1145" y="627"/>
                  </a:lnTo>
                  <a:lnTo>
                    <a:pt x="1153" y="636"/>
                  </a:lnTo>
                  <a:lnTo>
                    <a:pt x="1159" y="632"/>
                  </a:lnTo>
                  <a:lnTo>
                    <a:pt x="1166" y="638"/>
                  </a:lnTo>
                  <a:lnTo>
                    <a:pt x="1175" y="624"/>
                  </a:lnTo>
                  <a:lnTo>
                    <a:pt x="1177" y="628"/>
                  </a:lnTo>
                  <a:lnTo>
                    <a:pt x="1180" y="648"/>
                  </a:lnTo>
                  <a:lnTo>
                    <a:pt x="1185" y="667"/>
                  </a:lnTo>
                  <a:lnTo>
                    <a:pt x="1192" y="675"/>
                  </a:lnTo>
                  <a:lnTo>
                    <a:pt x="1203" y="680"/>
                  </a:lnTo>
                  <a:lnTo>
                    <a:pt x="1246" y="684"/>
                  </a:lnTo>
                  <a:lnTo>
                    <a:pt x="1250" y="681"/>
                  </a:lnTo>
                  <a:lnTo>
                    <a:pt x="1264" y="679"/>
                  </a:lnTo>
                  <a:lnTo>
                    <a:pt x="1288" y="681"/>
                  </a:lnTo>
                  <a:lnTo>
                    <a:pt x="1311" y="685"/>
                  </a:lnTo>
                  <a:lnTo>
                    <a:pt x="1326" y="691"/>
                  </a:lnTo>
                  <a:lnTo>
                    <a:pt x="1325" y="696"/>
                  </a:lnTo>
                  <a:lnTo>
                    <a:pt x="1315" y="701"/>
                  </a:lnTo>
                  <a:lnTo>
                    <a:pt x="1310" y="714"/>
                  </a:lnTo>
                  <a:lnTo>
                    <a:pt x="1298" y="729"/>
                  </a:lnTo>
                  <a:lnTo>
                    <a:pt x="1288" y="739"/>
                  </a:lnTo>
                  <a:lnTo>
                    <a:pt x="1276" y="744"/>
                  </a:lnTo>
                  <a:lnTo>
                    <a:pt x="1262" y="754"/>
                  </a:lnTo>
                  <a:lnTo>
                    <a:pt x="1260" y="762"/>
                  </a:lnTo>
                  <a:lnTo>
                    <a:pt x="1261" y="778"/>
                  </a:lnTo>
                  <a:lnTo>
                    <a:pt x="1268" y="798"/>
                  </a:lnTo>
                  <a:lnTo>
                    <a:pt x="1278" y="799"/>
                  </a:lnTo>
                  <a:lnTo>
                    <a:pt x="1284" y="809"/>
                  </a:lnTo>
                  <a:lnTo>
                    <a:pt x="1292" y="814"/>
                  </a:lnTo>
                  <a:lnTo>
                    <a:pt x="1295" y="807"/>
                  </a:lnTo>
                  <a:lnTo>
                    <a:pt x="1301" y="786"/>
                  </a:lnTo>
                  <a:lnTo>
                    <a:pt x="1312" y="771"/>
                  </a:lnTo>
                  <a:lnTo>
                    <a:pt x="1319" y="772"/>
                  </a:lnTo>
                  <a:lnTo>
                    <a:pt x="1326" y="786"/>
                  </a:lnTo>
                  <a:lnTo>
                    <a:pt x="1331" y="803"/>
                  </a:lnTo>
                  <a:lnTo>
                    <a:pt x="1333" y="811"/>
                  </a:lnTo>
                  <a:lnTo>
                    <a:pt x="1336" y="819"/>
                  </a:lnTo>
                  <a:lnTo>
                    <a:pt x="1342" y="847"/>
                  </a:lnTo>
                  <a:lnTo>
                    <a:pt x="1346" y="881"/>
                  </a:lnTo>
                  <a:lnTo>
                    <a:pt x="1349" y="878"/>
                  </a:lnTo>
                  <a:lnTo>
                    <a:pt x="1354" y="873"/>
                  </a:lnTo>
                  <a:lnTo>
                    <a:pt x="1363" y="875"/>
                  </a:lnTo>
                  <a:lnTo>
                    <a:pt x="1368" y="874"/>
                  </a:lnTo>
                  <a:lnTo>
                    <a:pt x="1373" y="868"/>
                  </a:lnTo>
                  <a:lnTo>
                    <a:pt x="1374" y="862"/>
                  </a:lnTo>
                  <a:lnTo>
                    <a:pt x="1371" y="862"/>
                  </a:lnTo>
                  <a:lnTo>
                    <a:pt x="1368" y="852"/>
                  </a:lnTo>
                  <a:lnTo>
                    <a:pt x="1368" y="836"/>
                  </a:lnTo>
                  <a:lnTo>
                    <a:pt x="1369" y="823"/>
                  </a:lnTo>
                  <a:lnTo>
                    <a:pt x="1380" y="824"/>
                  </a:lnTo>
                  <a:lnTo>
                    <a:pt x="1384" y="819"/>
                  </a:lnTo>
                  <a:lnTo>
                    <a:pt x="1387" y="799"/>
                  </a:lnTo>
                  <a:lnTo>
                    <a:pt x="1386" y="773"/>
                  </a:lnTo>
                  <a:lnTo>
                    <a:pt x="1393" y="766"/>
                  </a:lnTo>
                  <a:lnTo>
                    <a:pt x="1407" y="762"/>
                  </a:lnTo>
                  <a:lnTo>
                    <a:pt x="1420" y="765"/>
                  </a:lnTo>
                  <a:lnTo>
                    <a:pt x="1428" y="765"/>
                  </a:lnTo>
                  <a:lnTo>
                    <a:pt x="1433" y="760"/>
                  </a:lnTo>
                  <a:lnTo>
                    <a:pt x="1439" y="740"/>
                  </a:lnTo>
                  <a:lnTo>
                    <a:pt x="1457" y="705"/>
                  </a:lnTo>
                  <a:lnTo>
                    <a:pt x="1461" y="694"/>
                  </a:lnTo>
                  <a:lnTo>
                    <a:pt x="1459" y="684"/>
                  </a:lnTo>
                  <a:lnTo>
                    <a:pt x="1465" y="675"/>
                  </a:lnTo>
                  <a:lnTo>
                    <a:pt x="1481" y="664"/>
                  </a:lnTo>
                  <a:lnTo>
                    <a:pt x="1487" y="652"/>
                  </a:lnTo>
                  <a:lnTo>
                    <a:pt x="1486" y="624"/>
                  </a:lnTo>
                  <a:lnTo>
                    <a:pt x="1493" y="608"/>
                  </a:lnTo>
                  <a:lnTo>
                    <a:pt x="1506" y="597"/>
                  </a:lnTo>
                  <a:lnTo>
                    <a:pt x="1521" y="589"/>
                  </a:lnTo>
                  <a:lnTo>
                    <a:pt x="1531" y="581"/>
                  </a:lnTo>
                  <a:lnTo>
                    <a:pt x="1538" y="567"/>
                  </a:lnTo>
                  <a:lnTo>
                    <a:pt x="1558" y="563"/>
                  </a:lnTo>
                  <a:lnTo>
                    <a:pt x="1569" y="560"/>
                  </a:lnTo>
                  <a:lnTo>
                    <a:pt x="1585" y="565"/>
                  </a:lnTo>
                  <a:lnTo>
                    <a:pt x="1590" y="560"/>
                  </a:lnTo>
                  <a:lnTo>
                    <a:pt x="1586" y="544"/>
                  </a:lnTo>
                  <a:lnTo>
                    <a:pt x="1591" y="530"/>
                  </a:lnTo>
                  <a:lnTo>
                    <a:pt x="1602" y="525"/>
                  </a:lnTo>
                  <a:lnTo>
                    <a:pt x="1608" y="518"/>
                  </a:lnTo>
                  <a:lnTo>
                    <a:pt x="1608" y="506"/>
                  </a:lnTo>
                  <a:lnTo>
                    <a:pt x="1604" y="493"/>
                  </a:lnTo>
                  <a:lnTo>
                    <a:pt x="1594" y="490"/>
                  </a:lnTo>
                  <a:lnTo>
                    <a:pt x="1580" y="490"/>
                  </a:lnTo>
                  <a:lnTo>
                    <a:pt x="1570" y="486"/>
                  </a:lnTo>
                  <a:lnTo>
                    <a:pt x="1552" y="486"/>
                  </a:lnTo>
                  <a:lnTo>
                    <a:pt x="1554" y="470"/>
                  </a:lnTo>
                  <a:lnTo>
                    <a:pt x="1556" y="455"/>
                  </a:lnTo>
                  <a:lnTo>
                    <a:pt x="1543" y="453"/>
                  </a:lnTo>
                  <a:lnTo>
                    <a:pt x="1541" y="442"/>
                  </a:lnTo>
                  <a:lnTo>
                    <a:pt x="1543" y="434"/>
                  </a:lnTo>
                  <a:lnTo>
                    <a:pt x="1532" y="422"/>
                  </a:lnTo>
                  <a:lnTo>
                    <a:pt x="1520" y="426"/>
                  </a:lnTo>
                  <a:lnTo>
                    <a:pt x="1505" y="436"/>
                  </a:lnTo>
                  <a:lnTo>
                    <a:pt x="1492" y="439"/>
                  </a:lnTo>
                  <a:lnTo>
                    <a:pt x="1472" y="441"/>
                  </a:lnTo>
                  <a:lnTo>
                    <a:pt x="1463" y="439"/>
                  </a:lnTo>
                  <a:lnTo>
                    <a:pt x="1457" y="434"/>
                  </a:lnTo>
                  <a:lnTo>
                    <a:pt x="1452" y="433"/>
                  </a:lnTo>
                  <a:lnTo>
                    <a:pt x="1443" y="438"/>
                  </a:lnTo>
                  <a:lnTo>
                    <a:pt x="1434" y="444"/>
                  </a:lnTo>
                  <a:lnTo>
                    <a:pt x="1428" y="455"/>
                  </a:lnTo>
                  <a:lnTo>
                    <a:pt x="1408" y="472"/>
                  </a:lnTo>
                  <a:lnTo>
                    <a:pt x="1393" y="476"/>
                  </a:lnTo>
                  <a:lnTo>
                    <a:pt x="1379" y="492"/>
                  </a:lnTo>
                  <a:lnTo>
                    <a:pt x="1369" y="499"/>
                  </a:lnTo>
                  <a:lnTo>
                    <a:pt x="1354" y="507"/>
                  </a:lnTo>
                  <a:lnTo>
                    <a:pt x="1342" y="515"/>
                  </a:lnTo>
                  <a:lnTo>
                    <a:pt x="1314" y="522"/>
                  </a:lnTo>
                  <a:lnTo>
                    <a:pt x="1296" y="527"/>
                  </a:lnTo>
                  <a:lnTo>
                    <a:pt x="1298" y="529"/>
                  </a:lnTo>
                  <a:lnTo>
                    <a:pt x="1298" y="531"/>
                  </a:lnTo>
                  <a:lnTo>
                    <a:pt x="1295" y="538"/>
                  </a:lnTo>
                  <a:lnTo>
                    <a:pt x="1295" y="540"/>
                  </a:lnTo>
                  <a:lnTo>
                    <a:pt x="1296" y="542"/>
                  </a:lnTo>
                  <a:lnTo>
                    <a:pt x="1315" y="550"/>
                  </a:lnTo>
                  <a:lnTo>
                    <a:pt x="1321" y="556"/>
                  </a:lnTo>
                  <a:lnTo>
                    <a:pt x="1319" y="570"/>
                  </a:lnTo>
                  <a:lnTo>
                    <a:pt x="1320" y="574"/>
                  </a:lnTo>
                  <a:lnTo>
                    <a:pt x="1320" y="577"/>
                  </a:lnTo>
                  <a:lnTo>
                    <a:pt x="1312" y="581"/>
                  </a:lnTo>
                  <a:lnTo>
                    <a:pt x="1292" y="584"/>
                  </a:lnTo>
                  <a:lnTo>
                    <a:pt x="1278" y="585"/>
                  </a:lnTo>
                  <a:lnTo>
                    <a:pt x="1257" y="589"/>
                  </a:lnTo>
                  <a:lnTo>
                    <a:pt x="1249" y="590"/>
                  </a:lnTo>
                  <a:lnTo>
                    <a:pt x="1240" y="590"/>
                  </a:lnTo>
                  <a:lnTo>
                    <a:pt x="1230" y="587"/>
                  </a:lnTo>
                  <a:lnTo>
                    <a:pt x="1225" y="587"/>
                  </a:lnTo>
                  <a:lnTo>
                    <a:pt x="1202" y="595"/>
                  </a:lnTo>
                  <a:lnTo>
                    <a:pt x="1183" y="595"/>
                  </a:lnTo>
                  <a:lnTo>
                    <a:pt x="1160" y="592"/>
                  </a:lnTo>
                  <a:lnTo>
                    <a:pt x="1149" y="588"/>
                  </a:lnTo>
                  <a:lnTo>
                    <a:pt x="1145" y="585"/>
                  </a:lnTo>
                  <a:lnTo>
                    <a:pt x="1142" y="585"/>
                  </a:lnTo>
                  <a:lnTo>
                    <a:pt x="1140" y="584"/>
                  </a:lnTo>
                  <a:lnTo>
                    <a:pt x="1140" y="577"/>
                  </a:lnTo>
                  <a:lnTo>
                    <a:pt x="1139" y="574"/>
                  </a:lnTo>
                  <a:lnTo>
                    <a:pt x="1134" y="573"/>
                  </a:lnTo>
                  <a:lnTo>
                    <a:pt x="1134" y="568"/>
                  </a:lnTo>
                  <a:lnTo>
                    <a:pt x="1143" y="560"/>
                  </a:lnTo>
                  <a:lnTo>
                    <a:pt x="1144" y="556"/>
                  </a:lnTo>
                  <a:lnTo>
                    <a:pt x="1139" y="556"/>
                  </a:lnTo>
                  <a:lnTo>
                    <a:pt x="1135" y="554"/>
                  </a:lnTo>
                  <a:lnTo>
                    <a:pt x="1133" y="551"/>
                  </a:lnTo>
                  <a:lnTo>
                    <a:pt x="1133" y="544"/>
                  </a:lnTo>
                  <a:lnTo>
                    <a:pt x="1137" y="531"/>
                  </a:lnTo>
                  <a:lnTo>
                    <a:pt x="1137" y="525"/>
                  </a:lnTo>
                  <a:lnTo>
                    <a:pt x="1134" y="515"/>
                  </a:lnTo>
                  <a:lnTo>
                    <a:pt x="1133" y="512"/>
                  </a:lnTo>
                  <a:lnTo>
                    <a:pt x="1128" y="509"/>
                  </a:lnTo>
                  <a:lnTo>
                    <a:pt x="1123" y="511"/>
                  </a:lnTo>
                  <a:lnTo>
                    <a:pt x="1115" y="517"/>
                  </a:lnTo>
                  <a:lnTo>
                    <a:pt x="1107" y="517"/>
                  </a:lnTo>
                  <a:lnTo>
                    <a:pt x="1099" y="520"/>
                  </a:lnTo>
                  <a:lnTo>
                    <a:pt x="1097" y="522"/>
                  </a:lnTo>
                  <a:lnTo>
                    <a:pt x="1094" y="529"/>
                  </a:lnTo>
                  <a:lnTo>
                    <a:pt x="1090" y="541"/>
                  </a:lnTo>
                  <a:lnTo>
                    <a:pt x="1091" y="556"/>
                  </a:lnTo>
                  <a:lnTo>
                    <a:pt x="1090" y="570"/>
                  </a:lnTo>
                  <a:lnTo>
                    <a:pt x="1086" y="574"/>
                  </a:lnTo>
                  <a:lnTo>
                    <a:pt x="1086" y="578"/>
                  </a:lnTo>
                  <a:lnTo>
                    <a:pt x="1094" y="582"/>
                  </a:lnTo>
                  <a:lnTo>
                    <a:pt x="1099" y="592"/>
                  </a:lnTo>
                  <a:lnTo>
                    <a:pt x="1099" y="599"/>
                  </a:lnTo>
                  <a:lnTo>
                    <a:pt x="1092" y="610"/>
                  </a:lnTo>
                  <a:lnTo>
                    <a:pt x="1092" y="613"/>
                  </a:lnTo>
                  <a:lnTo>
                    <a:pt x="1080" y="611"/>
                  </a:lnTo>
                  <a:lnTo>
                    <a:pt x="1069" y="614"/>
                  </a:lnTo>
                  <a:lnTo>
                    <a:pt x="1054" y="613"/>
                  </a:lnTo>
                  <a:lnTo>
                    <a:pt x="1046" y="615"/>
                  </a:lnTo>
                  <a:lnTo>
                    <a:pt x="1036" y="610"/>
                  </a:lnTo>
                  <a:lnTo>
                    <a:pt x="1026" y="609"/>
                  </a:lnTo>
                  <a:lnTo>
                    <a:pt x="1020" y="609"/>
                  </a:lnTo>
                  <a:lnTo>
                    <a:pt x="973" y="601"/>
                  </a:lnTo>
                  <a:lnTo>
                    <a:pt x="967" y="595"/>
                  </a:lnTo>
                  <a:lnTo>
                    <a:pt x="959" y="592"/>
                  </a:lnTo>
                  <a:lnTo>
                    <a:pt x="945" y="593"/>
                  </a:lnTo>
                  <a:lnTo>
                    <a:pt x="925" y="589"/>
                  </a:lnTo>
                  <a:lnTo>
                    <a:pt x="913" y="581"/>
                  </a:lnTo>
                  <a:lnTo>
                    <a:pt x="907" y="576"/>
                  </a:lnTo>
                  <a:lnTo>
                    <a:pt x="897" y="562"/>
                  </a:lnTo>
                  <a:lnTo>
                    <a:pt x="891" y="558"/>
                  </a:lnTo>
                  <a:lnTo>
                    <a:pt x="873" y="555"/>
                  </a:lnTo>
                  <a:lnTo>
                    <a:pt x="869" y="555"/>
                  </a:lnTo>
                  <a:lnTo>
                    <a:pt x="866" y="558"/>
                  </a:lnTo>
                  <a:lnTo>
                    <a:pt x="860" y="557"/>
                  </a:lnTo>
                  <a:lnTo>
                    <a:pt x="852" y="554"/>
                  </a:lnTo>
                  <a:lnTo>
                    <a:pt x="841" y="554"/>
                  </a:lnTo>
                  <a:lnTo>
                    <a:pt x="832" y="558"/>
                  </a:lnTo>
                  <a:lnTo>
                    <a:pt x="827" y="558"/>
                  </a:lnTo>
                  <a:lnTo>
                    <a:pt x="806" y="554"/>
                  </a:lnTo>
                  <a:lnTo>
                    <a:pt x="796" y="541"/>
                  </a:lnTo>
                  <a:lnTo>
                    <a:pt x="794" y="539"/>
                  </a:lnTo>
                  <a:lnTo>
                    <a:pt x="785" y="538"/>
                  </a:lnTo>
                  <a:lnTo>
                    <a:pt x="782" y="538"/>
                  </a:lnTo>
                  <a:lnTo>
                    <a:pt x="772" y="530"/>
                  </a:lnTo>
                  <a:lnTo>
                    <a:pt x="761" y="525"/>
                  </a:lnTo>
                  <a:lnTo>
                    <a:pt x="751" y="524"/>
                  </a:lnTo>
                  <a:lnTo>
                    <a:pt x="741" y="519"/>
                  </a:lnTo>
                  <a:lnTo>
                    <a:pt x="736" y="515"/>
                  </a:lnTo>
                  <a:lnTo>
                    <a:pt x="724" y="501"/>
                  </a:lnTo>
                  <a:lnTo>
                    <a:pt x="715" y="495"/>
                  </a:lnTo>
                  <a:lnTo>
                    <a:pt x="707" y="491"/>
                  </a:lnTo>
                  <a:lnTo>
                    <a:pt x="703" y="487"/>
                  </a:lnTo>
                  <a:lnTo>
                    <a:pt x="690" y="480"/>
                  </a:lnTo>
                  <a:lnTo>
                    <a:pt x="687" y="480"/>
                  </a:lnTo>
                  <a:lnTo>
                    <a:pt x="686" y="484"/>
                  </a:lnTo>
                  <a:lnTo>
                    <a:pt x="681" y="484"/>
                  </a:lnTo>
                  <a:lnTo>
                    <a:pt x="676" y="480"/>
                  </a:lnTo>
                  <a:lnTo>
                    <a:pt x="675" y="474"/>
                  </a:lnTo>
                  <a:lnTo>
                    <a:pt x="670" y="469"/>
                  </a:lnTo>
                  <a:lnTo>
                    <a:pt x="659" y="468"/>
                  </a:lnTo>
                  <a:lnTo>
                    <a:pt x="658" y="465"/>
                  </a:lnTo>
                  <a:lnTo>
                    <a:pt x="659" y="458"/>
                  </a:lnTo>
                  <a:lnTo>
                    <a:pt x="664" y="450"/>
                  </a:lnTo>
                  <a:lnTo>
                    <a:pt x="667" y="449"/>
                  </a:lnTo>
                  <a:lnTo>
                    <a:pt x="669" y="442"/>
                  </a:lnTo>
                  <a:lnTo>
                    <a:pt x="672" y="438"/>
                  </a:lnTo>
                  <a:lnTo>
                    <a:pt x="669" y="429"/>
                  </a:lnTo>
                  <a:lnTo>
                    <a:pt x="672" y="422"/>
                  </a:lnTo>
                  <a:lnTo>
                    <a:pt x="677" y="416"/>
                  </a:lnTo>
                  <a:lnTo>
                    <a:pt x="675" y="409"/>
                  </a:lnTo>
                  <a:lnTo>
                    <a:pt x="675" y="405"/>
                  </a:lnTo>
                  <a:lnTo>
                    <a:pt x="679" y="400"/>
                  </a:lnTo>
                  <a:lnTo>
                    <a:pt x="685" y="400"/>
                  </a:lnTo>
                  <a:lnTo>
                    <a:pt x="688" y="393"/>
                  </a:lnTo>
                  <a:lnTo>
                    <a:pt x="696" y="388"/>
                  </a:lnTo>
                  <a:lnTo>
                    <a:pt x="699" y="382"/>
                  </a:lnTo>
                  <a:lnTo>
                    <a:pt x="701" y="377"/>
                  </a:lnTo>
                  <a:lnTo>
                    <a:pt x="703" y="375"/>
                  </a:lnTo>
                  <a:lnTo>
                    <a:pt x="706" y="377"/>
                  </a:lnTo>
                  <a:lnTo>
                    <a:pt x="712" y="375"/>
                  </a:lnTo>
                  <a:lnTo>
                    <a:pt x="709" y="374"/>
                  </a:lnTo>
                  <a:lnTo>
                    <a:pt x="692" y="369"/>
                  </a:lnTo>
                  <a:lnTo>
                    <a:pt x="690" y="367"/>
                  </a:lnTo>
                  <a:lnTo>
                    <a:pt x="686" y="361"/>
                  </a:lnTo>
                  <a:lnTo>
                    <a:pt x="681" y="359"/>
                  </a:lnTo>
                  <a:lnTo>
                    <a:pt x="669" y="350"/>
                  </a:lnTo>
                  <a:lnTo>
                    <a:pt x="663" y="350"/>
                  </a:lnTo>
                  <a:lnTo>
                    <a:pt x="656" y="346"/>
                  </a:lnTo>
                  <a:lnTo>
                    <a:pt x="654" y="342"/>
                  </a:lnTo>
                  <a:lnTo>
                    <a:pt x="654" y="339"/>
                  </a:lnTo>
                  <a:lnTo>
                    <a:pt x="651" y="335"/>
                  </a:lnTo>
                  <a:lnTo>
                    <a:pt x="647" y="335"/>
                  </a:lnTo>
                  <a:lnTo>
                    <a:pt x="645" y="332"/>
                  </a:lnTo>
                  <a:lnTo>
                    <a:pt x="640" y="330"/>
                  </a:lnTo>
                  <a:lnTo>
                    <a:pt x="632" y="334"/>
                  </a:lnTo>
                  <a:lnTo>
                    <a:pt x="631" y="332"/>
                  </a:lnTo>
                  <a:lnTo>
                    <a:pt x="629" y="326"/>
                  </a:lnTo>
                  <a:lnTo>
                    <a:pt x="628" y="325"/>
                  </a:lnTo>
                  <a:lnTo>
                    <a:pt x="624" y="324"/>
                  </a:lnTo>
                  <a:lnTo>
                    <a:pt x="621" y="325"/>
                  </a:lnTo>
                  <a:lnTo>
                    <a:pt x="612" y="324"/>
                  </a:lnTo>
                  <a:lnTo>
                    <a:pt x="608" y="325"/>
                  </a:lnTo>
                  <a:lnTo>
                    <a:pt x="602" y="329"/>
                  </a:lnTo>
                  <a:lnTo>
                    <a:pt x="599" y="329"/>
                  </a:lnTo>
                  <a:lnTo>
                    <a:pt x="596" y="326"/>
                  </a:lnTo>
                  <a:lnTo>
                    <a:pt x="597" y="316"/>
                  </a:lnTo>
                  <a:lnTo>
                    <a:pt x="593" y="313"/>
                  </a:lnTo>
                  <a:lnTo>
                    <a:pt x="589" y="307"/>
                  </a:lnTo>
                  <a:lnTo>
                    <a:pt x="589" y="304"/>
                  </a:lnTo>
                  <a:lnTo>
                    <a:pt x="584" y="299"/>
                  </a:lnTo>
                  <a:lnTo>
                    <a:pt x="584" y="294"/>
                  </a:lnTo>
                  <a:lnTo>
                    <a:pt x="586" y="287"/>
                  </a:lnTo>
                  <a:lnTo>
                    <a:pt x="583" y="281"/>
                  </a:lnTo>
                  <a:lnTo>
                    <a:pt x="583" y="277"/>
                  </a:lnTo>
                  <a:lnTo>
                    <a:pt x="584" y="270"/>
                  </a:lnTo>
                  <a:lnTo>
                    <a:pt x="586" y="264"/>
                  </a:lnTo>
                  <a:lnTo>
                    <a:pt x="579" y="254"/>
                  </a:lnTo>
                  <a:lnTo>
                    <a:pt x="572" y="246"/>
                  </a:lnTo>
                  <a:lnTo>
                    <a:pt x="572" y="237"/>
                  </a:lnTo>
                  <a:lnTo>
                    <a:pt x="569" y="229"/>
                  </a:lnTo>
                  <a:lnTo>
                    <a:pt x="570" y="226"/>
                  </a:lnTo>
                  <a:lnTo>
                    <a:pt x="581" y="224"/>
                  </a:lnTo>
                  <a:lnTo>
                    <a:pt x="584" y="221"/>
                  </a:lnTo>
                  <a:lnTo>
                    <a:pt x="585" y="222"/>
                  </a:lnTo>
                  <a:lnTo>
                    <a:pt x="586" y="229"/>
                  </a:lnTo>
                  <a:lnTo>
                    <a:pt x="589" y="234"/>
                  </a:lnTo>
                  <a:lnTo>
                    <a:pt x="591" y="237"/>
                  </a:lnTo>
                  <a:lnTo>
                    <a:pt x="599" y="239"/>
                  </a:lnTo>
                  <a:lnTo>
                    <a:pt x="601" y="238"/>
                  </a:lnTo>
                  <a:lnTo>
                    <a:pt x="604" y="237"/>
                  </a:lnTo>
                  <a:lnTo>
                    <a:pt x="607" y="238"/>
                  </a:lnTo>
                  <a:lnTo>
                    <a:pt x="608" y="232"/>
                  </a:lnTo>
                  <a:lnTo>
                    <a:pt x="612" y="229"/>
                  </a:lnTo>
                  <a:lnTo>
                    <a:pt x="616" y="223"/>
                  </a:lnTo>
                  <a:lnTo>
                    <a:pt x="617" y="223"/>
                  </a:lnTo>
                  <a:lnTo>
                    <a:pt x="621" y="228"/>
                  </a:lnTo>
                  <a:lnTo>
                    <a:pt x="623" y="228"/>
                  </a:lnTo>
                  <a:lnTo>
                    <a:pt x="632" y="217"/>
                  </a:lnTo>
                  <a:lnTo>
                    <a:pt x="632" y="215"/>
                  </a:lnTo>
                  <a:lnTo>
                    <a:pt x="628" y="208"/>
                  </a:lnTo>
                  <a:lnTo>
                    <a:pt x="622" y="200"/>
                  </a:lnTo>
                  <a:lnTo>
                    <a:pt x="621" y="195"/>
                  </a:lnTo>
                  <a:lnTo>
                    <a:pt x="622" y="192"/>
                  </a:lnTo>
                  <a:lnTo>
                    <a:pt x="622" y="189"/>
                  </a:lnTo>
                  <a:lnTo>
                    <a:pt x="612" y="184"/>
                  </a:lnTo>
                  <a:lnTo>
                    <a:pt x="607" y="185"/>
                  </a:lnTo>
                  <a:lnTo>
                    <a:pt x="606" y="181"/>
                  </a:lnTo>
                  <a:lnTo>
                    <a:pt x="597" y="174"/>
                  </a:lnTo>
                  <a:lnTo>
                    <a:pt x="597" y="159"/>
                  </a:lnTo>
                  <a:lnTo>
                    <a:pt x="602" y="158"/>
                  </a:lnTo>
                  <a:lnTo>
                    <a:pt x="600" y="152"/>
                  </a:lnTo>
                  <a:lnTo>
                    <a:pt x="601" y="149"/>
                  </a:lnTo>
                  <a:lnTo>
                    <a:pt x="602" y="148"/>
                  </a:lnTo>
                  <a:lnTo>
                    <a:pt x="595" y="141"/>
                  </a:lnTo>
                  <a:lnTo>
                    <a:pt x="596" y="135"/>
                  </a:lnTo>
                  <a:lnTo>
                    <a:pt x="596" y="133"/>
                  </a:lnTo>
                  <a:lnTo>
                    <a:pt x="606" y="133"/>
                  </a:lnTo>
                  <a:lnTo>
                    <a:pt x="610" y="130"/>
                  </a:lnTo>
                  <a:lnTo>
                    <a:pt x="621" y="133"/>
                  </a:lnTo>
                  <a:lnTo>
                    <a:pt x="623" y="131"/>
                  </a:lnTo>
                  <a:lnTo>
                    <a:pt x="628" y="126"/>
                  </a:lnTo>
                  <a:lnTo>
                    <a:pt x="633" y="116"/>
                  </a:lnTo>
                  <a:lnTo>
                    <a:pt x="633" y="105"/>
                  </a:lnTo>
                  <a:lnTo>
                    <a:pt x="643" y="104"/>
                  </a:lnTo>
                  <a:lnTo>
                    <a:pt x="644" y="103"/>
                  </a:lnTo>
                  <a:lnTo>
                    <a:pt x="642" y="100"/>
                  </a:lnTo>
                  <a:lnTo>
                    <a:pt x="643" y="97"/>
                  </a:lnTo>
                  <a:lnTo>
                    <a:pt x="647" y="94"/>
                  </a:lnTo>
                  <a:lnTo>
                    <a:pt x="648" y="92"/>
                  </a:lnTo>
                  <a:lnTo>
                    <a:pt x="651" y="88"/>
                  </a:lnTo>
                  <a:lnTo>
                    <a:pt x="658" y="83"/>
                  </a:lnTo>
                  <a:lnTo>
                    <a:pt x="658" y="77"/>
                  </a:lnTo>
                  <a:lnTo>
                    <a:pt x="664" y="71"/>
                  </a:lnTo>
                  <a:lnTo>
                    <a:pt x="666" y="52"/>
                  </a:lnTo>
                  <a:lnTo>
                    <a:pt x="669" y="50"/>
                  </a:lnTo>
                  <a:lnTo>
                    <a:pt x="669" y="43"/>
                  </a:lnTo>
                  <a:lnTo>
                    <a:pt x="675" y="35"/>
                  </a:lnTo>
                  <a:lnTo>
                    <a:pt x="675" y="32"/>
                  </a:lnTo>
                  <a:lnTo>
                    <a:pt x="671" y="29"/>
                  </a:lnTo>
                  <a:lnTo>
                    <a:pt x="667" y="29"/>
                  </a:lnTo>
                  <a:lnTo>
                    <a:pt x="660" y="38"/>
                  </a:lnTo>
                  <a:lnTo>
                    <a:pt x="658" y="38"/>
                  </a:lnTo>
                  <a:lnTo>
                    <a:pt x="655" y="34"/>
                  </a:lnTo>
                  <a:lnTo>
                    <a:pt x="653" y="23"/>
                  </a:lnTo>
                  <a:lnTo>
                    <a:pt x="648" y="27"/>
                  </a:lnTo>
                  <a:lnTo>
                    <a:pt x="644" y="27"/>
                  </a:lnTo>
                  <a:lnTo>
                    <a:pt x="642" y="22"/>
                  </a:lnTo>
                  <a:lnTo>
                    <a:pt x="639" y="22"/>
                  </a:lnTo>
                  <a:lnTo>
                    <a:pt x="637" y="20"/>
                  </a:lnTo>
                  <a:lnTo>
                    <a:pt x="636" y="11"/>
                  </a:lnTo>
                  <a:lnTo>
                    <a:pt x="632" y="9"/>
                  </a:lnTo>
                  <a:lnTo>
                    <a:pt x="631" y="7"/>
                  </a:lnTo>
                  <a:lnTo>
                    <a:pt x="628" y="6"/>
                  </a:lnTo>
                  <a:lnTo>
                    <a:pt x="624" y="6"/>
                  </a:lnTo>
                  <a:lnTo>
                    <a:pt x="621" y="1"/>
                  </a:lnTo>
                  <a:lnTo>
                    <a:pt x="618" y="0"/>
                  </a:lnTo>
                  <a:lnTo>
                    <a:pt x="615" y="0"/>
                  </a:lnTo>
                  <a:lnTo>
                    <a:pt x="610" y="2"/>
                  </a:lnTo>
                  <a:lnTo>
                    <a:pt x="604" y="2"/>
                  </a:lnTo>
                  <a:lnTo>
                    <a:pt x="599" y="6"/>
                  </a:lnTo>
                  <a:lnTo>
                    <a:pt x="585" y="6"/>
                  </a:lnTo>
                  <a:lnTo>
                    <a:pt x="575" y="13"/>
                  </a:lnTo>
                  <a:lnTo>
                    <a:pt x="564" y="19"/>
                  </a:lnTo>
                  <a:lnTo>
                    <a:pt x="557" y="24"/>
                  </a:lnTo>
                  <a:lnTo>
                    <a:pt x="552" y="29"/>
                  </a:lnTo>
                  <a:lnTo>
                    <a:pt x="547" y="30"/>
                  </a:lnTo>
                  <a:lnTo>
                    <a:pt x="543" y="35"/>
                  </a:lnTo>
                  <a:lnTo>
                    <a:pt x="536" y="32"/>
                  </a:lnTo>
                  <a:lnTo>
                    <a:pt x="531" y="35"/>
                  </a:lnTo>
                  <a:lnTo>
                    <a:pt x="526" y="35"/>
                  </a:lnTo>
                  <a:lnTo>
                    <a:pt x="492" y="60"/>
                  </a:lnTo>
                  <a:lnTo>
                    <a:pt x="488" y="66"/>
                  </a:lnTo>
                  <a:lnTo>
                    <a:pt x="489" y="68"/>
                  </a:lnTo>
                  <a:lnTo>
                    <a:pt x="489" y="71"/>
                  </a:lnTo>
                  <a:lnTo>
                    <a:pt x="486" y="79"/>
                  </a:lnTo>
                  <a:lnTo>
                    <a:pt x="482" y="83"/>
                  </a:lnTo>
                  <a:lnTo>
                    <a:pt x="478" y="82"/>
                  </a:lnTo>
                  <a:lnTo>
                    <a:pt x="475" y="78"/>
                  </a:lnTo>
                  <a:lnTo>
                    <a:pt x="456" y="79"/>
                  </a:lnTo>
                  <a:lnTo>
                    <a:pt x="454" y="81"/>
                  </a:lnTo>
                  <a:lnTo>
                    <a:pt x="449" y="87"/>
                  </a:lnTo>
                  <a:lnTo>
                    <a:pt x="446" y="88"/>
                  </a:lnTo>
                  <a:lnTo>
                    <a:pt x="440" y="88"/>
                  </a:lnTo>
                  <a:lnTo>
                    <a:pt x="433" y="86"/>
                  </a:lnTo>
                  <a:lnTo>
                    <a:pt x="429" y="88"/>
                  </a:lnTo>
                  <a:lnTo>
                    <a:pt x="427" y="92"/>
                  </a:lnTo>
                  <a:lnTo>
                    <a:pt x="423" y="94"/>
                  </a:lnTo>
                  <a:lnTo>
                    <a:pt x="421" y="95"/>
                  </a:lnTo>
                  <a:lnTo>
                    <a:pt x="414" y="94"/>
                  </a:lnTo>
                  <a:lnTo>
                    <a:pt x="411" y="95"/>
                  </a:lnTo>
                  <a:lnTo>
                    <a:pt x="407" y="93"/>
                  </a:lnTo>
                  <a:lnTo>
                    <a:pt x="395" y="93"/>
                  </a:lnTo>
                  <a:lnTo>
                    <a:pt x="390" y="92"/>
                  </a:lnTo>
                  <a:lnTo>
                    <a:pt x="385" y="92"/>
                  </a:lnTo>
                  <a:lnTo>
                    <a:pt x="370" y="83"/>
                  </a:lnTo>
                  <a:lnTo>
                    <a:pt x="360" y="81"/>
                  </a:lnTo>
                  <a:lnTo>
                    <a:pt x="342" y="73"/>
                  </a:lnTo>
                  <a:lnTo>
                    <a:pt x="337" y="76"/>
                  </a:lnTo>
                  <a:lnTo>
                    <a:pt x="333" y="79"/>
                  </a:lnTo>
                  <a:lnTo>
                    <a:pt x="326" y="78"/>
                  </a:lnTo>
                  <a:lnTo>
                    <a:pt x="322" y="79"/>
                  </a:lnTo>
                  <a:lnTo>
                    <a:pt x="321" y="82"/>
                  </a:lnTo>
                  <a:lnTo>
                    <a:pt x="320" y="90"/>
                  </a:lnTo>
                  <a:lnTo>
                    <a:pt x="312" y="104"/>
                  </a:lnTo>
                  <a:lnTo>
                    <a:pt x="312" y="106"/>
                  </a:lnTo>
                  <a:lnTo>
                    <a:pt x="321" y="106"/>
                  </a:lnTo>
                  <a:lnTo>
                    <a:pt x="323" y="111"/>
                  </a:lnTo>
                  <a:lnTo>
                    <a:pt x="323" y="115"/>
                  </a:lnTo>
                  <a:lnTo>
                    <a:pt x="319" y="117"/>
                  </a:lnTo>
                  <a:lnTo>
                    <a:pt x="317" y="119"/>
                  </a:lnTo>
                  <a:lnTo>
                    <a:pt x="317" y="122"/>
                  </a:lnTo>
                  <a:lnTo>
                    <a:pt x="320" y="126"/>
                  </a:lnTo>
                  <a:lnTo>
                    <a:pt x="322" y="127"/>
                  </a:lnTo>
                  <a:lnTo>
                    <a:pt x="333" y="126"/>
                  </a:lnTo>
                  <a:lnTo>
                    <a:pt x="336" y="129"/>
                  </a:lnTo>
                  <a:lnTo>
                    <a:pt x="337" y="132"/>
                  </a:lnTo>
                  <a:lnTo>
                    <a:pt x="337" y="133"/>
                  </a:lnTo>
                  <a:lnTo>
                    <a:pt x="332" y="138"/>
                  </a:lnTo>
                  <a:lnTo>
                    <a:pt x="326" y="141"/>
                  </a:lnTo>
                  <a:lnTo>
                    <a:pt x="325" y="147"/>
                  </a:lnTo>
                  <a:lnTo>
                    <a:pt x="337" y="158"/>
                  </a:lnTo>
                  <a:lnTo>
                    <a:pt x="337" y="164"/>
                  </a:lnTo>
                  <a:lnTo>
                    <a:pt x="336" y="169"/>
                  </a:lnTo>
                  <a:lnTo>
                    <a:pt x="322" y="178"/>
                  </a:lnTo>
                  <a:lnTo>
                    <a:pt x="321" y="181"/>
                  </a:lnTo>
                  <a:lnTo>
                    <a:pt x="330" y="185"/>
                  </a:lnTo>
                  <a:lnTo>
                    <a:pt x="333" y="194"/>
                  </a:lnTo>
                  <a:lnTo>
                    <a:pt x="343" y="200"/>
                  </a:lnTo>
                  <a:lnTo>
                    <a:pt x="342" y="207"/>
                  </a:lnTo>
                  <a:lnTo>
                    <a:pt x="349" y="208"/>
                  </a:lnTo>
                  <a:lnTo>
                    <a:pt x="352" y="212"/>
                  </a:lnTo>
                  <a:lnTo>
                    <a:pt x="358" y="210"/>
                  </a:lnTo>
                  <a:lnTo>
                    <a:pt x="363" y="211"/>
                  </a:lnTo>
                  <a:lnTo>
                    <a:pt x="363" y="216"/>
                  </a:lnTo>
                  <a:lnTo>
                    <a:pt x="362" y="222"/>
                  </a:lnTo>
                  <a:lnTo>
                    <a:pt x="365" y="229"/>
                  </a:lnTo>
                  <a:lnTo>
                    <a:pt x="366" y="230"/>
                  </a:lnTo>
                  <a:lnTo>
                    <a:pt x="384" y="232"/>
                  </a:lnTo>
                  <a:lnTo>
                    <a:pt x="389" y="235"/>
                  </a:lnTo>
                  <a:lnTo>
                    <a:pt x="394" y="234"/>
                  </a:lnTo>
                  <a:lnTo>
                    <a:pt x="400" y="242"/>
                  </a:lnTo>
                  <a:lnTo>
                    <a:pt x="398" y="246"/>
                  </a:lnTo>
                  <a:lnTo>
                    <a:pt x="401" y="250"/>
                  </a:lnTo>
                  <a:lnTo>
                    <a:pt x="396" y="255"/>
                  </a:lnTo>
                  <a:lnTo>
                    <a:pt x="394" y="259"/>
                  </a:lnTo>
                  <a:lnTo>
                    <a:pt x="386" y="260"/>
                  </a:lnTo>
                  <a:lnTo>
                    <a:pt x="382" y="260"/>
                  </a:lnTo>
                  <a:lnTo>
                    <a:pt x="380" y="259"/>
                  </a:lnTo>
                  <a:lnTo>
                    <a:pt x="375" y="260"/>
                  </a:lnTo>
                  <a:lnTo>
                    <a:pt x="373" y="262"/>
                  </a:lnTo>
                  <a:lnTo>
                    <a:pt x="362" y="267"/>
                  </a:lnTo>
                  <a:lnTo>
                    <a:pt x="358" y="275"/>
                  </a:lnTo>
                  <a:lnTo>
                    <a:pt x="357" y="286"/>
                  </a:lnTo>
                  <a:lnTo>
                    <a:pt x="362" y="292"/>
                  </a:lnTo>
                  <a:lnTo>
                    <a:pt x="360" y="297"/>
                  </a:lnTo>
                  <a:lnTo>
                    <a:pt x="363" y="298"/>
                  </a:lnTo>
                  <a:lnTo>
                    <a:pt x="364" y="301"/>
                  </a:lnTo>
                  <a:lnTo>
                    <a:pt x="363" y="304"/>
                  </a:lnTo>
                  <a:lnTo>
                    <a:pt x="358" y="308"/>
                  </a:lnTo>
                  <a:lnTo>
                    <a:pt x="357" y="314"/>
                  </a:lnTo>
                  <a:lnTo>
                    <a:pt x="357" y="316"/>
                  </a:lnTo>
                  <a:lnTo>
                    <a:pt x="359" y="318"/>
                  </a:lnTo>
                  <a:lnTo>
                    <a:pt x="369" y="318"/>
                  </a:lnTo>
                  <a:lnTo>
                    <a:pt x="371" y="324"/>
                  </a:lnTo>
                  <a:lnTo>
                    <a:pt x="369" y="326"/>
                  </a:lnTo>
                  <a:lnTo>
                    <a:pt x="365" y="328"/>
                  </a:lnTo>
                  <a:lnTo>
                    <a:pt x="362" y="326"/>
                  </a:lnTo>
                  <a:lnTo>
                    <a:pt x="359" y="324"/>
                  </a:lnTo>
                  <a:lnTo>
                    <a:pt x="357" y="331"/>
                  </a:lnTo>
                  <a:lnTo>
                    <a:pt x="343" y="336"/>
                  </a:lnTo>
                  <a:lnTo>
                    <a:pt x="331" y="352"/>
                  </a:lnTo>
                  <a:lnTo>
                    <a:pt x="326" y="355"/>
                  </a:lnTo>
                  <a:lnTo>
                    <a:pt x="321" y="361"/>
                  </a:lnTo>
                  <a:lnTo>
                    <a:pt x="317" y="366"/>
                  </a:lnTo>
                  <a:lnTo>
                    <a:pt x="316" y="372"/>
                  </a:lnTo>
                  <a:lnTo>
                    <a:pt x="317" y="380"/>
                  </a:lnTo>
                  <a:lnTo>
                    <a:pt x="314" y="388"/>
                  </a:lnTo>
                  <a:lnTo>
                    <a:pt x="305" y="393"/>
                  </a:lnTo>
                  <a:lnTo>
                    <a:pt x="298" y="393"/>
                  </a:lnTo>
                  <a:lnTo>
                    <a:pt x="292" y="398"/>
                  </a:lnTo>
                  <a:lnTo>
                    <a:pt x="287" y="406"/>
                  </a:lnTo>
                  <a:lnTo>
                    <a:pt x="283" y="417"/>
                  </a:lnTo>
                  <a:lnTo>
                    <a:pt x="277" y="428"/>
                  </a:lnTo>
                  <a:lnTo>
                    <a:pt x="262" y="450"/>
                  </a:lnTo>
                  <a:lnTo>
                    <a:pt x="256" y="457"/>
                  </a:lnTo>
                  <a:lnTo>
                    <a:pt x="244" y="464"/>
                  </a:lnTo>
                  <a:lnTo>
                    <a:pt x="233" y="474"/>
                  </a:lnTo>
                  <a:lnTo>
                    <a:pt x="229" y="479"/>
                  </a:lnTo>
                  <a:lnTo>
                    <a:pt x="219" y="495"/>
                  </a:lnTo>
                  <a:lnTo>
                    <a:pt x="212" y="504"/>
                  </a:lnTo>
                  <a:lnTo>
                    <a:pt x="204" y="519"/>
                  </a:lnTo>
                  <a:lnTo>
                    <a:pt x="199" y="522"/>
                  </a:lnTo>
                  <a:lnTo>
                    <a:pt x="195" y="523"/>
                  </a:lnTo>
                  <a:lnTo>
                    <a:pt x="172" y="523"/>
                  </a:lnTo>
                  <a:lnTo>
                    <a:pt x="169" y="524"/>
                  </a:lnTo>
                  <a:lnTo>
                    <a:pt x="161" y="527"/>
                  </a:lnTo>
                  <a:lnTo>
                    <a:pt x="156" y="533"/>
                  </a:lnTo>
                  <a:lnTo>
                    <a:pt x="152" y="534"/>
                  </a:lnTo>
                  <a:lnTo>
                    <a:pt x="149" y="533"/>
                  </a:lnTo>
                  <a:lnTo>
                    <a:pt x="147" y="528"/>
                  </a:lnTo>
                  <a:lnTo>
                    <a:pt x="139" y="514"/>
                  </a:lnTo>
                  <a:lnTo>
                    <a:pt x="136" y="512"/>
                  </a:lnTo>
                  <a:lnTo>
                    <a:pt x="132" y="513"/>
                  </a:lnTo>
                  <a:lnTo>
                    <a:pt x="122" y="522"/>
                  </a:lnTo>
                  <a:lnTo>
                    <a:pt x="118" y="528"/>
                  </a:lnTo>
                  <a:lnTo>
                    <a:pt x="107" y="538"/>
                  </a:lnTo>
                  <a:lnTo>
                    <a:pt x="93" y="556"/>
                  </a:lnTo>
                  <a:lnTo>
                    <a:pt x="85" y="563"/>
                  </a:lnTo>
                  <a:lnTo>
                    <a:pt x="83" y="570"/>
                  </a:lnTo>
                  <a:lnTo>
                    <a:pt x="79" y="588"/>
                  </a:lnTo>
                  <a:lnTo>
                    <a:pt x="79" y="593"/>
                  </a:lnTo>
                  <a:lnTo>
                    <a:pt x="81" y="598"/>
                  </a:lnTo>
                  <a:lnTo>
                    <a:pt x="88" y="601"/>
                  </a:lnTo>
                  <a:lnTo>
                    <a:pt x="94" y="600"/>
                  </a:lnTo>
                  <a:lnTo>
                    <a:pt x="101" y="603"/>
                  </a:lnTo>
                  <a:lnTo>
                    <a:pt x="111" y="603"/>
                  </a:lnTo>
                  <a:lnTo>
                    <a:pt x="113" y="604"/>
                  </a:lnTo>
                  <a:lnTo>
                    <a:pt x="117" y="608"/>
                  </a:lnTo>
                  <a:lnTo>
                    <a:pt x="118" y="611"/>
                  </a:lnTo>
                  <a:lnTo>
                    <a:pt x="118" y="616"/>
                  </a:lnTo>
                  <a:lnTo>
                    <a:pt x="112" y="636"/>
                  </a:lnTo>
                  <a:lnTo>
                    <a:pt x="112" y="641"/>
                  </a:lnTo>
                  <a:lnTo>
                    <a:pt x="113" y="646"/>
                  </a:lnTo>
                  <a:lnTo>
                    <a:pt x="123" y="657"/>
                  </a:lnTo>
                  <a:lnTo>
                    <a:pt x="127" y="658"/>
                  </a:lnTo>
                  <a:lnTo>
                    <a:pt x="137" y="654"/>
                  </a:lnTo>
                  <a:lnTo>
                    <a:pt x="139" y="655"/>
                  </a:lnTo>
                  <a:lnTo>
                    <a:pt x="142" y="658"/>
                  </a:lnTo>
                  <a:lnTo>
                    <a:pt x="142" y="669"/>
                  </a:lnTo>
                  <a:lnTo>
                    <a:pt x="143" y="678"/>
                  </a:lnTo>
                  <a:lnTo>
                    <a:pt x="148" y="685"/>
                  </a:lnTo>
                  <a:lnTo>
                    <a:pt x="150" y="692"/>
                  </a:lnTo>
                  <a:lnTo>
                    <a:pt x="155" y="698"/>
                  </a:lnTo>
                  <a:lnTo>
                    <a:pt x="160" y="703"/>
                  </a:lnTo>
                  <a:lnTo>
                    <a:pt x="160" y="706"/>
                  </a:lnTo>
                  <a:lnTo>
                    <a:pt x="164" y="711"/>
                  </a:lnTo>
                  <a:lnTo>
                    <a:pt x="165" y="714"/>
                  </a:lnTo>
                  <a:lnTo>
                    <a:pt x="160" y="716"/>
                  </a:lnTo>
                  <a:lnTo>
                    <a:pt x="160" y="718"/>
                  </a:lnTo>
                  <a:lnTo>
                    <a:pt x="160" y="728"/>
                  </a:lnTo>
                  <a:lnTo>
                    <a:pt x="159" y="732"/>
                  </a:lnTo>
                  <a:lnTo>
                    <a:pt x="166" y="733"/>
                  </a:lnTo>
                  <a:lnTo>
                    <a:pt x="166" y="735"/>
                  </a:lnTo>
                  <a:lnTo>
                    <a:pt x="159" y="735"/>
                  </a:lnTo>
                  <a:lnTo>
                    <a:pt x="154" y="739"/>
                  </a:lnTo>
                  <a:lnTo>
                    <a:pt x="154" y="741"/>
                  </a:lnTo>
                  <a:lnTo>
                    <a:pt x="150" y="743"/>
                  </a:lnTo>
                  <a:lnTo>
                    <a:pt x="147" y="743"/>
                  </a:lnTo>
                  <a:lnTo>
                    <a:pt x="140" y="743"/>
                  </a:lnTo>
                  <a:lnTo>
                    <a:pt x="139" y="740"/>
                  </a:lnTo>
                  <a:lnTo>
                    <a:pt x="138" y="739"/>
                  </a:lnTo>
                  <a:lnTo>
                    <a:pt x="139" y="733"/>
                  </a:lnTo>
                  <a:lnTo>
                    <a:pt x="139" y="732"/>
                  </a:lnTo>
                  <a:lnTo>
                    <a:pt x="132" y="730"/>
                  </a:lnTo>
                  <a:lnTo>
                    <a:pt x="127" y="734"/>
                  </a:lnTo>
                  <a:lnTo>
                    <a:pt x="115" y="738"/>
                  </a:lnTo>
                  <a:lnTo>
                    <a:pt x="111" y="745"/>
                  </a:lnTo>
                  <a:lnTo>
                    <a:pt x="110" y="746"/>
                  </a:lnTo>
                  <a:lnTo>
                    <a:pt x="107" y="746"/>
                  </a:lnTo>
                  <a:lnTo>
                    <a:pt x="93" y="746"/>
                  </a:lnTo>
                  <a:lnTo>
                    <a:pt x="84" y="739"/>
                  </a:lnTo>
                  <a:lnTo>
                    <a:pt x="78" y="741"/>
                  </a:lnTo>
                  <a:lnTo>
                    <a:pt x="74" y="739"/>
                  </a:lnTo>
                  <a:lnTo>
                    <a:pt x="62" y="740"/>
                  </a:lnTo>
                  <a:lnTo>
                    <a:pt x="58" y="739"/>
                  </a:lnTo>
                  <a:lnTo>
                    <a:pt x="52" y="740"/>
                  </a:lnTo>
                  <a:lnTo>
                    <a:pt x="48" y="739"/>
                  </a:lnTo>
                  <a:lnTo>
                    <a:pt x="47" y="740"/>
                  </a:lnTo>
                  <a:lnTo>
                    <a:pt x="46" y="740"/>
                  </a:lnTo>
                  <a:lnTo>
                    <a:pt x="43" y="735"/>
                  </a:lnTo>
                  <a:lnTo>
                    <a:pt x="41" y="735"/>
                  </a:lnTo>
                  <a:lnTo>
                    <a:pt x="40" y="740"/>
                  </a:lnTo>
                  <a:lnTo>
                    <a:pt x="40" y="757"/>
                  </a:lnTo>
                  <a:lnTo>
                    <a:pt x="20" y="757"/>
                  </a:lnTo>
                  <a:lnTo>
                    <a:pt x="16" y="759"/>
                  </a:lnTo>
                  <a:lnTo>
                    <a:pt x="11" y="757"/>
                  </a:lnTo>
                  <a:lnTo>
                    <a:pt x="9" y="762"/>
                  </a:lnTo>
                  <a:lnTo>
                    <a:pt x="7" y="764"/>
                  </a:lnTo>
                  <a:lnTo>
                    <a:pt x="5" y="767"/>
                  </a:lnTo>
                  <a:lnTo>
                    <a:pt x="0" y="771"/>
                  </a:lnTo>
                  <a:lnTo>
                    <a:pt x="0" y="773"/>
                  </a:lnTo>
                  <a:lnTo>
                    <a:pt x="2" y="782"/>
                  </a:lnTo>
                  <a:lnTo>
                    <a:pt x="9" y="782"/>
                  </a:lnTo>
                  <a:lnTo>
                    <a:pt x="13" y="791"/>
                  </a:lnTo>
                  <a:lnTo>
                    <a:pt x="27" y="809"/>
                  </a:lnTo>
                  <a:lnTo>
                    <a:pt x="37" y="820"/>
                  </a:lnTo>
                  <a:lnTo>
                    <a:pt x="47" y="825"/>
                  </a:lnTo>
                  <a:lnTo>
                    <a:pt x="67" y="827"/>
                  </a:lnTo>
                  <a:lnTo>
                    <a:pt x="89" y="825"/>
                  </a:lnTo>
                  <a:lnTo>
                    <a:pt x="105" y="821"/>
                  </a:lnTo>
                  <a:lnTo>
                    <a:pt x="113" y="818"/>
                  </a:lnTo>
                  <a:lnTo>
                    <a:pt x="117" y="810"/>
                  </a:lnTo>
                  <a:lnTo>
                    <a:pt x="122" y="808"/>
                  </a:lnTo>
                  <a:lnTo>
                    <a:pt x="124" y="814"/>
                  </a:lnTo>
                  <a:lnTo>
                    <a:pt x="117" y="834"/>
                  </a:lnTo>
                  <a:lnTo>
                    <a:pt x="106" y="843"/>
                  </a:lnTo>
                  <a:lnTo>
                    <a:pt x="96" y="850"/>
                  </a:lnTo>
                  <a:lnTo>
                    <a:pt x="84" y="852"/>
                  </a:lnTo>
                  <a:lnTo>
                    <a:pt x="70" y="854"/>
                  </a:lnTo>
                  <a:lnTo>
                    <a:pt x="59" y="857"/>
                  </a:lnTo>
                  <a:lnTo>
                    <a:pt x="51" y="850"/>
                  </a:lnTo>
                  <a:lnTo>
                    <a:pt x="47" y="854"/>
                  </a:lnTo>
                  <a:lnTo>
                    <a:pt x="50" y="870"/>
                  </a:lnTo>
                  <a:lnTo>
                    <a:pt x="90" y="911"/>
                  </a:lnTo>
                  <a:lnTo>
                    <a:pt x="104" y="926"/>
                  </a:lnTo>
                  <a:lnTo>
                    <a:pt x="124" y="944"/>
                  </a:lnTo>
                  <a:lnTo>
                    <a:pt x="131" y="945"/>
                  </a:lnTo>
                  <a:lnTo>
                    <a:pt x="156" y="947"/>
                  </a:lnTo>
                  <a:lnTo>
                    <a:pt x="167" y="944"/>
                  </a:lnTo>
                  <a:lnTo>
                    <a:pt x="174" y="943"/>
                  </a:lnTo>
                  <a:lnTo>
                    <a:pt x="183" y="936"/>
                  </a:lnTo>
                  <a:lnTo>
                    <a:pt x="190" y="936"/>
                  </a:lnTo>
                  <a:lnTo>
                    <a:pt x="207" y="924"/>
                  </a:lnTo>
                  <a:lnTo>
                    <a:pt x="213" y="916"/>
                  </a:lnTo>
                  <a:lnTo>
                    <a:pt x="218" y="906"/>
                  </a:lnTo>
                  <a:lnTo>
                    <a:pt x="219" y="879"/>
                  </a:lnTo>
                  <a:lnTo>
                    <a:pt x="222" y="867"/>
                  </a:lnTo>
                  <a:lnTo>
                    <a:pt x="224" y="852"/>
                  </a:lnTo>
                  <a:lnTo>
                    <a:pt x="226" y="856"/>
                  </a:lnTo>
                  <a:lnTo>
                    <a:pt x="229" y="857"/>
                  </a:lnTo>
                  <a:lnTo>
                    <a:pt x="258" y="858"/>
                  </a:lnTo>
                  <a:lnTo>
                    <a:pt x="260" y="859"/>
                  </a:lnTo>
                  <a:lnTo>
                    <a:pt x="253" y="866"/>
                  </a:lnTo>
                  <a:lnTo>
                    <a:pt x="242" y="866"/>
                  </a:lnTo>
                  <a:lnTo>
                    <a:pt x="239" y="879"/>
                  </a:lnTo>
                  <a:lnTo>
                    <a:pt x="241" y="880"/>
                  </a:lnTo>
                  <a:lnTo>
                    <a:pt x="240" y="891"/>
                  </a:lnTo>
                  <a:lnTo>
                    <a:pt x="242" y="894"/>
                  </a:lnTo>
                  <a:lnTo>
                    <a:pt x="249" y="897"/>
                  </a:lnTo>
                  <a:lnTo>
                    <a:pt x="242" y="911"/>
                  </a:lnTo>
                  <a:lnTo>
                    <a:pt x="242" y="922"/>
                  </a:lnTo>
                  <a:lnTo>
                    <a:pt x="242" y="924"/>
                  </a:lnTo>
                  <a:lnTo>
                    <a:pt x="246" y="924"/>
                  </a:lnTo>
                  <a:lnTo>
                    <a:pt x="249" y="928"/>
                  </a:lnTo>
                  <a:lnTo>
                    <a:pt x="249" y="934"/>
                  </a:lnTo>
                  <a:lnTo>
                    <a:pt x="255" y="952"/>
                  </a:lnTo>
                  <a:lnTo>
                    <a:pt x="256" y="963"/>
                  </a:lnTo>
                  <a:lnTo>
                    <a:pt x="256" y="971"/>
                  </a:lnTo>
                  <a:lnTo>
                    <a:pt x="250" y="987"/>
                  </a:lnTo>
                  <a:lnTo>
                    <a:pt x="247" y="998"/>
                  </a:lnTo>
                  <a:lnTo>
                    <a:pt x="247" y="1009"/>
                  </a:lnTo>
                  <a:lnTo>
                    <a:pt x="251" y="1028"/>
                  </a:lnTo>
                  <a:lnTo>
                    <a:pt x="253" y="1031"/>
                  </a:lnTo>
                  <a:lnTo>
                    <a:pt x="253" y="1047"/>
                  </a:lnTo>
                  <a:lnTo>
                    <a:pt x="257" y="1044"/>
                  </a:lnTo>
                  <a:lnTo>
                    <a:pt x="261" y="1041"/>
                  </a:lnTo>
                  <a:lnTo>
                    <a:pt x="262" y="1045"/>
                  </a:lnTo>
                  <a:lnTo>
                    <a:pt x="263" y="1052"/>
                  </a:lnTo>
                  <a:lnTo>
                    <a:pt x="261" y="1056"/>
                  </a:lnTo>
                  <a:lnTo>
                    <a:pt x="261" y="1060"/>
                  </a:lnTo>
                  <a:lnTo>
                    <a:pt x="260" y="1065"/>
                  </a:lnTo>
                  <a:lnTo>
                    <a:pt x="257" y="1084"/>
                  </a:lnTo>
                  <a:lnTo>
                    <a:pt x="263" y="1093"/>
                  </a:lnTo>
                  <a:lnTo>
                    <a:pt x="262" y="1096"/>
                  </a:lnTo>
                  <a:lnTo>
                    <a:pt x="265" y="1114"/>
                  </a:lnTo>
                  <a:lnTo>
                    <a:pt x="266" y="1114"/>
                  </a:lnTo>
                  <a:lnTo>
                    <a:pt x="273" y="1139"/>
                  </a:lnTo>
                  <a:lnTo>
                    <a:pt x="276" y="1147"/>
                  </a:lnTo>
                  <a:lnTo>
                    <a:pt x="276" y="1157"/>
                  </a:lnTo>
                  <a:lnTo>
                    <a:pt x="278" y="1163"/>
                  </a:lnTo>
                  <a:lnTo>
                    <a:pt x="282" y="1192"/>
                  </a:lnTo>
                  <a:lnTo>
                    <a:pt x="284" y="1201"/>
                  </a:lnTo>
                  <a:lnTo>
                    <a:pt x="289" y="1212"/>
                  </a:lnTo>
                  <a:lnTo>
                    <a:pt x="293" y="1214"/>
                  </a:lnTo>
                  <a:lnTo>
                    <a:pt x="295" y="1225"/>
                  </a:lnTo>
                  <a:lnTo>
                    <a:pt x="304" y="123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02" name="Freeform 100">
              <a:extLst>
                <a:ext uri="{FF2B5EF4-FFF2-40B4-BE49-F238E27FC236}">
                  <a16:creationId xmlns:a16="http://schemas.microsoft.com/office/drawing/2014/main" id="{BEB427B7-157D-12BE-7580-37F6274D2D2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550552" y="3106380"/>
              <a:ext cx="492473" cy="477079"/>
            </a:xfrm>
            <a:custGeom>
              <a:avLst/>
              <a:gdLst>
                <a:gd name="T0" fmla="*/ 0 w 921"/>
                <a:gd name="T1" fmla="*/ 2147483647 h 842"/>
                <a:gd name="T2" fmla="*/ 0 w 921"/>
                <a:gd name="T3" fmla="*/ 2147483647 h 842"/>
                <a:gd name="T4" fmla="*/ 0 w 921"/>
                <a:gd name="T5" fmla="*/ 2147483647 h 842"/>
                <a:gd name="T6" fmla="*/ 0 w 921"/>
                <a:gd name="T7" fmla="*/ 2147483647 h 842"/>
                <a:gd name="T8" fmla="*/ 0 w 921"/>
                <a:gd name="T9" fmla="*/ 2147483647 h 842"/>
                <a:gd name="T10" fmla="*/ 0 w 921"/>
                <a:gd name="T11" fmla="*/ 2147483647 h 842"/>
                <a:gd name="T12" fmla="*/ 2147483647 w 921"/>
                <a:gd name="T13" fmla="*/ 2147483647 h 842"/>
                <a:gd name="T14" fmla="*/ 2147483647 w 921"/>
                <a:gd name="T15" fmla="*/ 2147483647 h 842"/>
                <a:gd name="T16" fmla="*/ 2147483647 w 921"/>
                <a:gd name="T17" fmla="*/ 2147483647 h 842"/>
                <a:gd name="T18" fmla="*/ 2147483647 w 921"/>
                <a:gd name="T19" fmla="*/ 2147483647 h 842"/>
                <a:gd name="T20" fmla="*/ 2147483647 w 921"/>
                <a:gd name="T21" fmla="*/ 0 h 842"/>
                <a:gd name="T22" fmla="*/ 2147483647 w 921"/>
                <a:gd name="T23" fmla="*/ 0 h 842"/>
                <a:gd name="T24" fmla="*/ 2147483647 w 921"/>
                <a:gd name="T25" fmla="*/ 0 h 842"/>
                <a:gd name="T26" fmla="*/ 2147483647 w 921"/>
                <a:gd name="T27" fmla="*/ 0 h 842"/>
                <a:gd name="T28" fmla="*/ 2147483647 w 921"/>
                <a:gd name="T29" fmla="*/ 0 h 842"/>
                <a:gd name="T30" fmla="*/ 2147483647 w 921"/>
                <a:gd name="T31" fmla="*/ 0 h 842"/>
                <a:gd name="T32" fmla="*/ 2147483647 w 921"/>
                <a:gd name="T33" fmla="*/ 0 h 842"/>
                <a:gd name="T34" fmla="*/ 2147483647 w 921"/>
                <a:gd name="T35" fmla="*/ 0 h 842"/>
                <a:gd name="T36" fmla="*/ 2147483647 w 921"/>
                <a:gd name="T37" fmla="*/ 0 h 842"/>
                <a:gd name="T38" fmla="*/ 2147483647 w 921"/>
                <a:gd name="T39" fmla="*/ 0 h 842"/>
                <a:gd name="T40" fmla="*/ 2147483647 w 921"/>
                <a:gd name="T41" fmla="*/ 0 h 842"/>
                <a:gd name="T42" fmla="*/ 2147483647 w 921"/>
                <a:gd name="T43" fmla="*/ 0 h 842"/>
                <a:gd name="T44" fmla="*/ 2147483647 w 921"/>
                <a:gd name="T45" fmla="*/ 0 h 842"/>
                <a:gd name="T46" fmla="*/ 2147483647 w 921"/>
                <a:gd name="T47" fmla="*/ 0 h 842"/>
                <a:gd name="T48" fmla="*/ 2147483647 w 921"/>
                <a:gd name="T49" fmla="*/ 0 h 842"/>
                <a:gd name="T50" fmla="*/ 2147483647 w 921"/>
                <a:gd name="T51" fmla="*/ 0 h 842"/>
                <a:gd name="T52" fmla="*/ 2147483647 w 921"/>
                <a:gd name="T53" fmla="*/ 0 h 842"/>
                <a:gd name="T54" fmla="*/ 2147483647 w 921"/>
                <a:gd name="T55" fmla="*/ 0 h 842"/>
                <a:gd name="T56" fmla="*/ 2147483647 w 921"/>
                <a:gd name="T57" fmla="*/ 0 h 842"/>
                <a:gd name="T58" fmla="*/ 2147483647 w 921"/>
                <a:gd name="T59" fmla="*/ 0 h 842"/>
                <a:gd name="T60" fmla="*/ 2147483647 w 921"/>
                <a:gd name="T61" fmla="*/ 0 h 842"/>
                <a:gd name="T62" fmla="*/ 2147483647 w 921"/>
                <a:gd name="T63" fmla="*/ 0 h 842"/>
                <a:gd name="T64" fmla="*/ 2147483647 w 921"/>
                <a:gd name="T65" fmla="*/ 0 h 842"/>
                <a:gd name="T66" fmla="*/ 2147483647 w 921"/>
                <a:gd name="T67" fmla="*/ 0 h 842"/>
                <a:gd name="T68" fmla="*/ 2147483647 w 921"/>
                <a:gd name="T69" fmla="*/ 2147483647 h 842"/>
                <a:gd name="T70" fmla="*/ 2147483647 w 921"/>
                <a:gd name="T71" fmla="*/ 2147483647 h 842"/>
                <a:gd name="T72" fmla="*/ 2147483647 w 921"/>
                <a:gd name="T73" fmla="*/ 2147483647 h 842"/>
                <a:gd name="T74" fmla="*/ 2147483647 w 921"/>
                <a:gd name="T75" fmla="*/ 2147483647 h 842"/>
                <a:gd name="T76" fmla="*/ 2147483647 w 921"/>
                <a:gd name="T77" fmla="*/ 2147483647 h 842"/>
                <a:gd name="T78" fmla="*/ 2147483647 w 921"/>
                <a:gd name="T79" fmla="*/ 2147483647 h 842"/>
                <a:gd name="T80" fmla="*/ 2147483647 w 921"/>
                <a:gd name="T81" fmla="*/ 2147483647 h 842"/>
                <a:gd name="T82" fmla="*/ 2147483647 w 921"/>
                <a:gd name="T83" fmla="*/ 2147483647 h 842"/>
                <a:gd name="T84" fmla="*/ 2147483647 w 921"/>
                <a:gd name="T85" fmla="*/ 2147483647 h 842"/>
                <a:gd name="T86" fmla="*/ 2147483647 w 921"/>
                <a:gd name="T87" fmla="*/ 2147483647 h 842"/>
                <a:gd name="T88" fmla="*/ 2147483647 w 921"/>
                <a:gd name="T89" fmla="*/ 2147483647 h 842"/>
                <a:gd name="T90" fmla="*/ 2147483647 w 921"/>
                <a:gd name="T91" fmla="*/ 2147483647 h 842"/>
                <a:gd name="T92" fmla="*/ 2147483647 w 921"/>
                <a:gd name="T93" fmla="*/ 2147483647 h 842"/>
                <a:gd name="T94" fmla="*/ 2147483647 w 921"/>
                <a:gd name="T95" fmla="*/ 2147483647 h 842"/>
                <a:gd name="T96" fmla="*/ 2147483647 w 921"/>
                <a:gd name="T97" fmla="*/ 2147483647 h 842"/>
                <a:gd name="T98" fmla="*/ 2147483647 w 921"/>
                <a:gd name="T99" fmla="*/ 2147483647 h 842"/>
                <a:gd name="T100" fmla="*/ 2147483647 w 921"/>
                <a:gd name="T101" fmla="*/ 2147483647 h 842"/>
                <a:gd name="T102" fmla="*/ 2147483647 w 921"/>
                <a:gd name="T103" fmla="*/ 2147483647 h 842"/>
                <a:gd name="T104" fmla="*/ 2147483647 w 921"/>
                <a:gd name="T105" fmla="*/ 2147483647 h 842"/>
                <a:gd name="T106" fmla="*/ 0 w 921"/>
                <a:gd name="T107" fmla="*/ 2147483647 h 842"/>
                <a:gd name="T108" fmla="*/ 0 w 921"/>
                <a:gd name="T109" fmla="*/ 2147483647 h 842"/>
                <a:gd name="T110" fmla="*/ 0 w 921"/>
                <a:gd name="T111" fmla="*/ 2147483647 h 84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921"/>
                <a:gd name="T169" fmla="*/ 0 h 842"/>
                <a:gd name="T170" fmla="*/ 921 w 921"/>
                <a:gd name="T171" fmla="*/ 842 h 84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921" h="842">
                  <a:moveTo>
                    <a:pt x="42" y="757"/>
                  </a:moveTo>
                  <a:lnTo>
                    <a:pt x="42" y="743"/>
                  </a:lnTo>
                  <a:lnTo>
                    <a:pt x="44" y="730"/>
                  </a:lnTo>
                  <a:lnTo>
                    <a:pt x="55" y="701"/>
                  </a:lnTo>
                  <a:lnTo>
                    <a:pt x="64" y="689"/>
                  </a:lnTo>
                  <a:lnTo>
                    <a:pt x="77" y="679"/>
                  </a:lnTo>
                  <a:lnTo>
                    <a:pt x="91" y="674"/>
                  </a:lnTo>
                  <a:lnTo>
                    <a:pt x="106" y="668"/>
                  </a:lnTo>
                  <a:lnTo>
                    <a:pt x="118" y="665"/>
                  </a:lnTo>
                  <a:lnTo>
                    <a:pt x="131" y="653"/>
                  </a:lnTo>
                  <a:lnTo>
                    <a:pt x="134" y="647"/>
                  </a:lnTo>
                  <a:lnTo>
                    <a:pt x="133" y="637"/>
                  </a:lnTo>
                  <a:lnTo>
                    <a:pt x="128" y="632"/>
                  </a:lnTo>
                  <a:lnTo>
                    <a:pt x="108" y="628"/>
                  </a:lnTo>
                  <a:lnTo>
                    <a:pt x="109" y="614"/>
                  </a:lnTo>
                  <a:lnTo>
                    <a:pt x="108" y="599"/>
                  </a:lnTo>
                  <a:lnTo>
                    <a:pt x="103" y="573"/>
                  </a:lnTo>
                  <a:lnTo>
                    <a:pt x="98" y="567"/>
                  </a:lnTo>
                  <a:lnTo>
                    <a:pt x="71" y="558"/>
                  </a:lnTo>
                  <a:lnTo>
                    <a:pt x="55" y="550"/>
                  </a:lnTo>
                  <a:lnTo>
                    <a:pt x="43" y="540"/>
                  </a:lnTo>
                  <a:lnTo>
                    <a:pt x="22" y="497"/>
                  </a:lnTo>
                  <a:lnTo>
                    <a:pt x="8" y="485"/>
                  </a:lnTo>
                  <a:lnTo>
                    <a:pt x="0" y="475"/>
                  </a:lnTo>
                  <a:lnTo>
                    <a:pt x="4" y="470"/>
                  </a:lnTo>
                  <a:lnTo>
                    <a:pt x="63" y="486"/>
                  </a:lnTo>
                  <a:lnTo>
                    <a:pt x="81" y="496"/>
                  </a:lnTo>
                  <a:lnTo>
                    <a:pt x="88" y="497"/>
                  </a:lnTo>
                  <a:lnTo>
                    <a:pt x="92" y="496"/>
                  </a:lnTo>
                  <a:lnTo>
                    <a:pt x="96" y="493"/>
                  </a:lnTo>
                  <a:lnTo>
                    <a:pt x="99" y="492"/>
                  </a:lnTo>
                  <a:lnTo>
                    <a:pt x="109" y="492"/>
                  </a:lnTo>
                  <a:lnTo>
                    <a:pt x="118" y="491"/>
                  </a:lnTo>
                  <a:lnTo>
                    <a:pt x="130" y="491"/>
                  </a:lnTo>
                  <a:lnTo>
                    <a:pt x="144" y="490"/>
                  </a:lnTo>
                  <a:lnTo>
                    <a:pt x="161" y="490"/>
                  </a:lnTo>
                  <a:lnTo>
                    <a:pt x="177" y="497"/>
                  </a:lnTo>
                  <a:lnTo>
                    <a:pt x="180" y="495"/>
                  </a:lnTo>
                  <a:lnTo>
                    <a:pt x="184" y="490"/>
                  </a:lnTo>
                  <a:lnTo>
                    <a:pt x="187" y="487"/>
                  </a:lnTo>
                  <a:lnTo>
                    <a:pt x="194" y="485"/>
                  </a:lnTo>
                  <a:lnTo>
                    <a:pt x="206" y="485"/>
                  </a:lnTo>
                  <a:lnTo>
                    <a:pt x="232" y="486"/>
                  </a:lnTo>
                  <a:lnTo>
                    <a:pt x="248" y="482"/>
                  </a:lnTo>
                  <a:lnTo>
                    <a:pt x="268" y="475"/>
                  </a:lnTo>
                  <a:lnTo>
                    <a:pt x="293" y="470"/>
                  </a:lnTo>
                  <a:lnTo>
                    <a:pt x="302" y="464"/>
                  </a:lnTo>
                  <a:lnTo>
                    <a:pt x="302" y="458"/>
                  </a:lnTo>
                  <a:lnTo>
                    <a:pt x="298" y="454"/>
                  </a:lnTo>
                  <a:lnTo>
                    <a:pt x="298" y="450"/>
                  </a:lnTo>
                  <a:lnTo>
                    <a:pt x="302" y="431"/>
                  </a:lnTo>
                  <a:lnTo>
                    <a:pt x="301" y="418"/>
                  </a:lnTo>
                  <a:lnTo>
                    <a:pt x="305" y="404"/>
                  </a:lnTo>
                  <a:lnTo>
                    <a:pt x="308" y="398"/>
                  </a:lnTo>
                  <a:lnTo>
                    <a:pt x="319" y="389"/>
                  </a:lnTo>
                  <a:lnTo>
                    <a:pt x="325" y="378"/>
                  </a:lnTo>
                  <a:lnTo>
                    <a:pt x="333" y="374"/>
                  </a:lnTo>
                  <a:lnTo>
                    <a:pt x="336" y="377"/>
                  </a:lnTo>
                  <a:lnTo>
                    <a:pt x="336" y="380"/>
                  </a:lnTo>
                  <a:lnTo>
                    <a:pt x="348" y="382"/>
                  </a:lnTo>
                  <a:lnTo>
                    <a:pt x="359" y="379"/>
                  </a:lnTo>
                  <a:lnTo>
                    <a:pt x="370" y="377"/>
                  </a:lnTo>
                  <a:lnTo>
                    <a:pt x="377" y="375"/>
                  </a:lnTo>
                  <a:lnTo>
                    <a:pt x="379" y="373"/>
                  </a:lnTo>
                  <a:lnTo>
                    <a:pt x="379" y="371"/>
                  </a:lnTo>
                  <a:lnTo>
                    <a:pt x="372" y="368"/>
                  </a:lnTo>
                  <a:lnTo>
                    <a:pt x="371" y="366"/>
                  </a:lnTo>
                  <a:lnTo>
                    <a:pt x="375" y="362"/>
                  </a:lnTo>
                  <a:lnTo>
                    <a:pt x="392" y="353"/>
                  </a:lnTo>
                  <a:lnTo>
                    <a:pt x="394" y="348"/>
                  </a:lnTo>
                  <a:lnTo>
                    <a:pt x="399" y="346"/>
                  </a:lnTo>
                  <a:lnTo>
                    <a:pt x="405" y="346"/>
                  </a:lnTo>
                  <a:lnTo>
                    <a:pt x="421" y="351"/>
                  </a:lnTo>
                  <a:lnTo>
                    <a:pt x="421" y="348"/>
                  </a:lnTo>
                  <a:lnTo>
                    <a:pt x="418" y="347"/>
                  </a:lnTo>
                  <a:lnTo>
                    <a:pt x="420" y="343"/>
                  </a:lnTo>
                  <a:lnTo>
                    <a:pt x="424" y="343"/>
                  </a:lnTo>
                  <a:lnTo>
                    <a:pt x="431" y="348"/>
                  </a:lnTo>
                  <a:lnTo>
                    <a:pt x="432" y="352"/>
                  </a:lnTo>
                  <a:lnTo>
                    <a:pt x="435" y="356"/>
                  </a:lnTo>
                  <a:lnTo>
                    <a:pt x="441" y="358"/>
                  </a:lnTo>
                  <a:lnTo>
                    <a:pt x="443" y="358"/>
                  </a:lnTo>
                  <a:lnTo>
                    <a:pt x="463" y="337"/>
                  </a:lnTo>
                  <a:lnTo>
                    <a:pt x="463" y="334"/>
                  </a:lnTo>
                  <a:lnTo>
                    <a:pt x="461" y="323"/>
                  </a:lnTo>
                  <a:lnTo>
                    <a:pt x="459" y="305"/>
                  </a:lnTo>
                  <a:lnTo>
                    <a:pt x="461" y="302"/>
                  </a:lnTo>
                  <a:lnTo>
                    <a:pt x="464" y="297"/>
                  </a:lnTo>
                  <a:lnTo>
                    <a:pt x="467" y="292"/>
                  </a:lnTo>
                  <a:lnTo>
                    <a:pt x="469" y="292"/>
                  </a:lnTo>
                  <a:lnTo>
                    <a:pt x="470" y="288"/>
                  </a:lnTo>
                  <a:lnTo>
                    <a:pt x="469" y="282"/>
                  </a:lnTo>
                  <a:lnTo>
                    <a:pt x="470" y="277"/>
                  </a:lnTo>
                  <a:lnTo>
                    <a:pt x="476" y="275"/>
                  </a:lnTo>
                  <a:lnTo>
                    <a:pt x="478" y="261"/>
                  </a:lnTo>
                  <a:lnTo>
                    <a:pt x="490" y="258"/>
                  </a:lnTo>
                  <a:lnTo>
                    <a:pt x="497" y="259"/>
                  </a:lnTo>
                  <a:lnTo>
                    <a:pt x="507" y="251"/>
                  </a:lnTo>
                  <a:lnTo>
                    <a:pt x="515" y="249"/>
                  </a:lnTo>
                  <a:lnTo>
                    <a:pt x="519" y="243"/>
                  </a:lnTo>
                  <a:lnTo>
                    <a:pt x="519" y="239"/>
                  </a:lnTo>
                  <a:lnTo>
                    <a:pt x="515" y="234"/>
                  </a:lnTo>
                  <a:lnTo>
                    <a:pt x="510" y="218"/>
                  </a:lnTo>
                  <a:lnTo>
                    <a:pt x="506" y="218"/>
                  </a:lnTo>
                  <a:lnTo>
                    <a:pt x="500" y="208"/>
                  </a:lnTo>
                  <a:lnTo>
                    <a:pt x="499" y="205"/>
                  </a:lnTo>
                  <a:lnTo>
                    <a:pt x="500" y="200"/>
                  </a:lnTo>
                  <a:lnTo>
                    <a:pt x="504" y="197"/>
                  </a:lnTo>
                  <a:lnTo>
                    <a:pt x="508" y="199"/>
                  </a:lnTo>
                  <a:lnTo>
                    <a:pt x="527" y="203"/>
                  </a:lnTo>
                  <a:lnTo>
                    <a:pt x="538" y="205"/>
                  </a:lnTo>
                  <a:lnTo>
                    <a:pt x="549" y="202"/>
                  </a:lnTo>
                  <a:lnTo>
                    <a:pt x="555" y="199"/>
                  </a:lnTo>
                  <a:lnTo>
                    <a:pt x="562" y="189"/>
                  </a:lnTo>
                  <a:lnTo>
                    <a:pt x="562" y="181"/>
                  </a:lnTo>
                  <a:lnTo>
                    <a:pt x="566" y="178"/>
                  </a:lnTo>
                  <a:lnTo>
                    <a:pt x="562" y="175"/>
                  </a:lnTo>
                  <a:lnTo>
                    <a:pt x="558" y="173"/>
                  </a:lnTo>
                  <a:lnTo>
                    <a:pt x="558" y="167"/>
                  </a:lnTo>
                  <a:lnTo>
                    <a:pt x="561" y="163"/>
                  </a:lnTo>
                  <a:lnTo>
                    <a:pt x="565" y="156"/>
                  </a:lnTo>
                  <a:lnTo>
                    <a:pt x="572" y="147"/>
                  </a:lnTo>
                  <a:lnTo>
                    <a:pt x="581" y="141"/>
                  </a:lnTo>
                  <a:lnTo>
                    <a:pt x="587" y="133"/>
                  </a:lnTo>
                  <a:lnTo>
                    <a:pt x="591" y="126"/>
                  </a:lnTo>
                  <a:lnTo>
                    <a:pt x="591" y="120"/>
                  </a:lnTo>
                  <a:lnTo>
                    <a:pt x="588" y="116"/>
                  </a:lnTo>
                  <a:lnTo>
                    <a:pt x="588" y="114"/>
                  </a:lnTo>
                  <a:lnTo>
                    <a:pt x="593" y="105"/>
                  </a:lnTo>
                  <a:lnTo>
                    <a:pt x="593" y="104"/>
                  </a:lnTo>
                  <a:lnTo>
                    <a:pt x="588" y="94"/>
                  </a:lnTo>
                  <a:lnTo>
                    <a:pt x="585" y="81"/>
                  </a:lnTo>
                  <a:lnTo>
                    <a:pt x="578" y="73"/>
                  </a:lnTo>
                  <a:lnTo>
                    <a:pt x="570" y="67"/>
                  </a:lnTo>
                  <a:lnTo>
                    <a:pt x="569" y="66"/>
                  </a:lnTo>
                  <a:lnTo>
                    <a:pt x="570" y="60"/>
                  </a:lnTo>
                  <a:lnTo>
                    <a:pt x="574" y="56"/>
                  </a:lnTo>
                  <a:lnTo>
                    <a:pt x="591" y="43"/>
                  </a:lnTo>
                  <a:lnTo>
                    <a:pt x="591" y="38"/>
                  </a:lnTo>
                  <a:lnTo>
                    <a:pt x="592" y="36"/>
                  </a:lnTo>
                  <a:lnTo>
                    <a:pt x="597" y="36"/>
                  </a:lnTo>
                  <a:lnTo>
                    <a:pt x="602" y="39"/>
                  </a:lnTo>
                  <a:lnTo>
                    <a:pt x="605" y="38"/>
                  </a:lnTo>
                  <a:lnTo>
                    <a:pt x="604" y="34"/>
                  </a:lnTo>
                  <a:lnTo>
                    <a:pt x="605" y="32"/>
                  </a:lnTo>
                  <a:lnTo>
                    <a:pt x="615" y="29"/>
                  </a:lnTo>
                  <a:lnTo>
                    <a:pt x="619" y="25"/>
                  </a:lnTo>
                  <a:lnTo>
                    <a:pt x="619" y="23"/>
                  </a:lnTo>
                  <a:lnTo>
                    <a:pt x="624" y="22"/>
                  </a:lnTo>
                  <a:lnTo>
                    <a:pt x="628" y="19"/>
                  </a:lnTo>
                  <a:lnTo>
                    <a:pt x="636" y="18"/>
                  </a:lnTo>
                  <a:lnTo>
                    <a:pt x="645" y="12"/>
                  </a:lnTo>
                  <a:lnTo>
                    <a:pt x="652" y="12"/>
                  </a:lnTo>
                  <a:lnTo>
                    <a:pt x="662" y="7"/>
                  </a:lnTo>
                  <a:lnTo>
                    <a:pt x="666" y="8"/>
                  </a:lnTo>
                  <a:lnTo>
                    <a:pt x="701" y="6"/>
                  </a:lnTo>
                  <a:lnTo>
                    <a:pt x="705" y="7"/>
                  </a:lnTo>
                  <a:lnTo>
                    <a:pt x="712" y="6"/>
                  </a:lnTo>
                  <a:lnTo>
                    <a:pt x="726" y="11"/>
                  </a:lnTo>
                  <a:lnTo>
                    <a:pt x="731" y="11"/>
                  </a:lnTo>
                  <a:lnTo>
                    <a:pt x="737" y="6"/>
                  </a:lnTo>
                  <a:lnTo>
                    <a:pt x="741" y="6"/>
                  </a:lnTo>
                  <a:lnTo>
                    <a:pt x="746" y="2"/>
                  </a:lnTo>
                  <a:lnTo>
                    <a:pt x="755" y="4"/>
                  </a:lnTo>
                  <a:lnTo>
                    <a:pt x="757" y="0"/>
                  </a:lnTo>
                  <a:lnTo>
                    <a:pt x="755" y="1"/>
                  </a:lnTo>
                  <a:lnTo>
                    <a:pt x="766" y="4"/>
                  </a:lnTo>
                  <a:lnTo>
                    <a:pt x="780" y="2"/>
                  </a:lnTo>
                  <a:lnTo>
                    <a:pt x="784" y="3"/>
                  </a:lnTo>
                  <a:lnTo>
                    <a:pt x="789" y="6"/>
                  </a:lnTo>
                  <a:lnTo>
                    <a:pt x="796" y="4"/>
                  </a:lnTo>
                  <a:lnTo>
                    <a:pt x="798" y="7"/>
                  </a:lnTo>
                  <a:lnTo>
                    <a:pt x="798" y="19"/>
                  </a:lnTo>
                  <a:lnTo>
                    <a:pt x="800" y="20"/>
                  </a:lnTo>
                  <a:lnTo>
                    <a:pt x="806" y="16"/>
                  </a:lnTo>
                  <a:lnTo>
                    <a:pt x="811" y="16"/>
                  </a:lnTo>
                  <a:lnTo>
                    <a:pt x="822" y="23"/>
                  </a:lnTo>
                  <a:lnTo>
                    <a:pt x="828" y="29"/>
                  </a:lnTo>
                  <a:lnTo>
                    <a:pt x="830" y="35"/>
                  </a:lnTo>
                  <a:lnTo>
                    <a:pt x="830" y="41"/>
                  </a:lnTo>
                  <a:lnTo>
                    <a:pt x="828" y="47"/>
                  </a:lnTo>
                  <a:lnTo>
                    <a:pt x="830" y="50"/>
                  </a:lnTo>
                  <a:lnTo>
                    <a:pt x="832" y="55"/>
                  </a:lnTo>
                  <a:lnTo>
                    <a:pt x="830" y="59"/>
                  </a:lnTo>
                  <a:lnTo>
                    <a:pt x="825" y="60"/>
                  </a:lnTo>
                  <a:lnTo>
                    <a:pt x="825" y="62"/>
                  </a:lnTo>
                  <a:lnTo>
                    <a:pt x="827" y="66"/>
                  </a:lnTo>
                  <a:lnTo>
                    <a:pt x="834" y="67"/>
                  </a:lnTo>
                  <a:lnTo>
                    <a:pt x="840" y="78"/>
                  </a:lnTo>
                  <a:lnTo>
                    <a:pt x="844" y="79"/>
                  </a:lnTo>
                  <a:lnTo>
                    <a:pt x="849" y="78"/>
                  </a:lnTo>
                  <a:lnTo>
                    <a:pt x="852" y="78"/>
                  </a:lnTo>
                  <a:lnTo>
                    <a:pt x="857" y="74"/>
                  </a:lnTo>
                  <a:lnTo>
                    <a:pt x="861" y="73"/>
                  </a:lnTo>
                  <a:lnTo>
                    <a:pt x="862" y="77"/>
                  </a:lnTo>
                  <a:lnTo>
                    <a:pt x="862" y="83"/>
                  </a:lnTo>
                  <a:lnTo>
                    <a:pt x="872" y="89"/>
                  </a:lnTo>
                  <a:lnTo>
                    <a:pt x="889" y="95"/>
                  </a:lnTo>
                  <a:lnTo>
                    <a:pt x="897" y="100"/>
                  </a:lnTo>
                  <a:lnTo>
                    <a:pt x="903" y="99"/>
                  </a:lnTo>
                  <a:lnTo>
                    <a:pt x="910" y="104"/>
                  </a:lnTo>
                  <a:lnTo>
                    <a:pt x="921" y="105"/>
                  </a:lnTo>
                  <a:lnTo>
                    <a:pt x="887" y="130"/>
                  </a:lnTo>
                  <a:lnTo>
                    <a:pt x="883" y="136"/>
                  </a:lnTo>
                  <a:lnTo>
                    <a:pt x="884" y="138"/>
                  </a:lnTo>
                  <a:lnTo>
                    <a:pt x="884" y="141"/>
                  </a:lnTo>
                  <a:lnTo>
                    <a:pt x="881" y="149"/>
                  </a:lnTo>
                  <a:lnTo>
                    <a:pt x="877" y="153"/>
                  </a:lnTo>
                  <a:lnTo>
                    <a:pt x="873" y="152"/>
                  </a:lnTo>
                  <a:lnTo>
                    <a:pt x="870" y="148"/>
                  </a:lnTo>
                  <a:lnTo>
                    <a:pt x="851" y="149"/>
                  </a:lnTo>
                  <a:lnTo>
                    <a:pt x="849" y="151"/>
                  </a:lnTo>
                  <a:lnTo>
                    <a:pt x="844" y="157"/>
                  </a:lnTo>
                  <a:lnTo>
                    <a:pt x="841" y="158"/>
                  </a:lnTo>
                  <a:lnTo>
                    <a:pt x="835" y="158"/>
                  </a:lnTo>
                  <a:lnTo>
                    <a:pt x="828" y="156"/>
                  </a:lnTo>
                  <a:lnTo>
                    <a:pt x="824" y="158"/>
                  </a:lnTo>
                  <a:lnTo>
                    <a:pt x="822" y="162"/>
                  </a:lnTo>
                  <a:lnTo>
                    <a:pt x="818" y="164"/>
                  </a:lnTo>
                  <a:lnTo>
                    <a:pt x="816" y="165"/>
                  </a:lnTo>
                  <a:lnTo>
                    <a:pt x="809" y="164"/>
                  </a:lnTo>
                  <a:lnTo>
                    <a:pt x="806" y="165"/>
                  </a:lnTo>
                  <a:lnTo>
                    <a:pt x="802" y="163"/>
                  </a:lnTo>
                  <a:lnTo>
                    <a:pt x="790" y="163"/>
                  </a:lnTo>
                  <a:lnTo>
                    <a:pt x="785" y="162"/>
                  </a:lnTo>
                  <a:lnTo>
                    <a:pt x="780" y="162"/>
                  </a:lnTo>
                  <a:lnTo>
                    <a:pt x="765" y="153"/>
                  </a:lnTo>
                  <a:lnTo>
                    <a:pt x="755" y="151"/>
                  </a:lnTo>
                  <a:lnTo>
                    <a:pt x="737" y="143"/>
                  </a:lnTo>
                  <a:lnTo>
                    <a:pt x="732" y="146"/>
                  </a:lnTo>
                  <a:lnTo>
                    <a:pt x="728" y="149"/>
                  </a:lnTo>
                  <a:lnTo>
                    <a:pt x="721" y="148"/>
                  </a:lnTo>
                  <a:lnTo>
                    <a:pt x="717" y="149"/>
                  </a:lnTo>
                  <a:lnTo>
                    <a:pt x="716" y="152"/>
                  </a:lnTo>
                  <a:lnTo>
                    <a:pt x="715" y="160"/>
                  </a:lnTo>
                  <a:lnTo>
                    <a:pt x="707" y="174"/>
                  </a:lnTo>
                  <a:lnTo>
                    <a:pt x="707" y="176"/>
                  </a:lnTo>
                  <a:lnTo>
                    <a:pt x="716" y="176"/>
                  </a:lnTo>
                  <a:lnTo>
                    <a:pt x="718" y="181"/>
                  </a:lnTo>
                  <a:lnTo>
                    <a:pt x="718" y="185"/>
                  </a:lnTo>
                  <a:lnTo>
                    <a:pt x="714" y="187"/>
                  </a:lnTo>
                  <a:lnTo>
                    <a:pt x="712" y="189"/>
                  </a:lnTo>
                  <a:lnTo>
                    <a:pt x="712" y="192"/>
                  </a:lnTo>
                  <a:lnTo>
                    <a:pt x="715" y="196"/>
                  </a:lnTo>
                  <a:lnTo>
                    <a:pt x="717" y="197"/>
                  </a:lnTo>
                  <a:lnTo>
                    <a:pt x="728" y="196"/>
                  </a:lnTo>
                  <a:lnTo>
                    <a:pt x="731" y="199"/>
                  </a:lnTo>
                  <a:lnTo>
                    <a:pt x="732" y="202"/>
                  </a:lnTo>
                  <a:lnTo>
                    <a:pt x="732" y="203"/>
                  </a:lnTo>
                  <a:lnTo>
                    <a:pt x="727" y="208"/>
                  </a:lnTo>
                  <a:lnTo>
                    <a:pt x="721" y="211"/>
                  </a:lnTo>
                  <a:lnTo>
                    <a:pt x="720" y="217"/>
                  </a:lnTo>
                  <a:lnTo>
                    <a:pt x="732" y="228"/>
                  </a:lnTo>
                  <a:lnTo>
                    <a:pt x="732" y="234"/>
                  </a:lnTo>
                  <a:lnTo>
                    <a:pt x="731" y="239"/>
                  </a:lnTo>
                  <a:lnTo>
                    <a:pt x="717" y="248"/>
                  </a:lnTo>
                  <a:lnTo>
                    <a:pt x="716" y="251"/>
                  </a:lnTo>
                  <a:lnTo>
                    <a:pt x="725" y="255"/>
                  </a:lnTo>
                  <a:lnTo>
                    <a:pt x="728" y="264"/>
                  </a:lnTo>
                  <a:lnTo>
                    <a:pt x="738" y="270"/>
                  </a:lnTo>
                  <a:lnTo>
                    <a:pt x="737" y="277"/>
                  </a:lnTo>
                  <a:lnTo>
                    <a:pt x="744" y="278"/>
                  </a:lnTo>
                  <a:lnTo>
                    <a:pt x="747" y="282"/>
                  </a:lnTo>
                  <a:lnTo>
                    <a:pt x="753" y="280"/>
                  </a:lnTo>
                  <a:lnTo>
                    <a:pt x="758" y="281"/>
                  </a:lnTo>
                  <a:lnTo>
                    <a:pt x="758" y="286"/>
                  </a:lnTo>
                  <a:lnTo>
                    <a:pt x="757" y="292"/>
                  </a:lnTo>
                  <a:lnTo>
                    <a:pt x="760" y="299"/>
                  </a:lnTo>
                  <a:lnTo>
                    <a:pt x="761" y="300"/>
                  </a:lnTo>
                  <a:lnTo>
                    <a:pt x="779" y="302"/>
                  </a:lnTo>
                  <a:lnTo>
                    <a:pt x="784" y="305"/>
                  </a:lnTo>
                  <a:lnTo>
                    <a:pt x="789" y="304"/>
                  </a:lnTo>
                  <a:lnTo>
                    <a:pt x="795" y="312"/>
                  </a:lnTo>
                  <a:lnTo>
                    <a:pt x="793" y="316"/>
                  </a:lnTo>
                  <a:lnTo>
                    <a:pt x="796" y="320"/>
                  </a:lnTo>
                  <a:lnTo>
                    <a:pt x="791" y="325"/>
                  </a:lnTo>
                  <a:lnTo>
                    <a:pt x="789" y="329"/>
                  </a:lnTo>
                  <a:lnTo>
                    <a:pt x="781" y="330"/>
                  </a:lnTo>
                  <a:lnTo>
                    <a:pt x="777" y="330"/>
                  </a:lnTo>
                  <a:lnTo>
                    <a:pt x="775" y="329"/>
                  </a:lnTo>
                  <a:lnTo>
                    <a:pt x="770" y="330"/>
                  </a:lnTo>
                  <a:lnTo>
                    <a:pt x="768" y="332"/>
                  </a:lnTo>
                  <a:lnTo>
                    <a:pt x="757" y="337"/>
                  </a:lnTo>
                  <a:lnTo>
                    <a:pt x="753" y="345"/>
                  </a:lnTo>
                  <a:lnTo>
                    <a:pt x="752" y="356"/>
                  </a:lnTo>
                  <a:lnTo>
                    <a:pt x="757" y="362"/>
                  </a:lnTo>
                  <a:lnTo>
                    <a:pt x="755" y="367"/>
                  </a:lnTo>
                  <a:lnTo>
                    <a:pt x="758" y="368"/>
                  </a:lnTo>
                  <a:lnTo>
                    <a:pt x="759" y="371"/>
                  </a:lnTo>
                  <a:lnTo>
                    <a:pt x="758" y="374"/>
                  </a:lnTo>
                  <a:lnTo>
                    <a:pt x="753" y="378"/>
                  </a:lnTo>
                  <a:lnTo>
                    <a:pt x="752" y="384"/>
                  </a:lnTo>
                  <a:lnTo>
                    <a:pt x="752" y="386"/>
                  </a:lnTo>
                  <a:lnTo>
                    <a:pt x="754" y="388"/>
                  </a:lnTo>
                  <a:lnTo>
                    <a:pt x="764" y="388"/>
                  </a:lnTo>
                  <a:lnTo>
                    <a:pt x="766" y="394"/>
                  </a:lnTo>
                  <a:lnTo>
                    <a:pt x="764" y="396"/>
                  </a:lnTo>
                  <a:lnTo>
                    <a:pt x="760" y="398"/>
                  </a:lnTo>
                  <a:lnTo>
                    <a:pt x="757" y="396"/>
                  </a:lnTo>
                  <a:lnTo>
                    <a:pt x="754" y="394"/>
                  </a:lnTo>
                  <a:lnTo>
                    <a:pt x="752" y="401"/>
                  </a:lnTo>
                  <a:lnTo>
                    <a:pt x="738" y="406"/>
                  </a:lnTo>
                  <a:lnTo>
                    <a:pt x="726" y="422"/>
                  </a:lnTo>
                  <a:lnTo>
                    <a:pt x="721" y="425"/>
                  </a:lnTo>
                  <a:lnTo>
                    <a:pt x="716" y="431"/>
                  </a:lnTo>
                  <a:lnTo>
                    <a:pt x="712" y="436"/>
                  </a:lnTo>
                  <a:lnTo>
                    <a:pt x="711" y="442"/>
                  </a:lnTo>
                  <a:lnTo>
                    <a:pt x="712" y="450"/>
                  </a:lnTo>
                  <a:lnTo>
                    <a:pt x="709" y="458"/>
                  </a:lnTo>
                  <a:lnTo>
                    <a:pt x="700" y="463"/>
                  </a:lnTo>
                  <a:lnTo>
                    <a:pt x="693" y="463"/>
                  </a:lnTo>
                  <a:lnTo>
                    <a:pt x="687" y="468"/>
                  </a:lnTo>
                  <a:lnTo>
                    <a:pt x="682" y="476"/>
                  </a:lnTo>
                  <a:lnTo>
                    <a:pt x="678" y="487"/>
                  </a:lnTo>
                  <a:lnTo>
                    <a:pt x="672" y="498"/>
                  </a:lnTo>
                  <a:lnTo>
                    <a:pt x="657" y="520"/>
                  </a:lnTo>
                  <a:lnTo>
                    <a:pt x="651" y="527"/>
                  </a:lnTo>
                  <a:lnTo>
                    <a:pt x="639" y="534"/>
                  </a:lnTo>
                  <a:lnTo>
                    <a:pt x="628" y="544"/>
                  </a:lnTo>
                  <a:lnTo>
                    <a:pt x="624" y="549"/>
                  </a:lnTo>
                  <a:lnTo>
                    <a:pt x="614" y="565"/>
                  </a:lnTo>
                  <a:lnTo>
                    <a:pt x="607" y="574"/>
                  </a:lnTo>
                  <a:lnTo>
                    <a:pt x="599" y="589"/>
                  </a:lnTo>
                  <a:lnTo>
                    <a:pt x="594" y="592"/>
                  </a:lnTo>
                  <a:lnTo>
                    <a:pt x="590" y="593"/>
                  </a:lnTo>
                  <a:lnTo>
                    <a:pt x="567" y="593"/>
                  </a:lnTo>
                  <a:lnTo>
                    <a:pt x="564" y="594"/>
                  </a:lnTo>
                  <a:lnTo>
                    <a:pt x="556" y="597"/>
                  </a:lnTo>
                  <a:lnTo>
                    <a:pt x="551" y="603"/>
                  </a:lnTo>
                  <a:lnTo>
                    <a:pt x="547" y="604"/>
                  </a:lnTo>
                  <a:lnTo>
                    <a:pt x="544" y="603"/>
                  </a:lnTo>
                  <a:lnTo>
                    <a:pt x="542" y="598"/>
                  </a:lnTo>
                  <a:lnTo>
                    <a:pt x="534" y="584"/>
                  </a:lnTo>
                  <a:lnTo>
                    <a:pt x="531" y="582"/>
                  </a:lnTo>
                  <a:lnTo>
                    <a:pt x="527" y="583"/>
                  </a:lnTo>
                  <a:lnTo>
                    <a:pt x="517" y="592"/>
                  </a:lnTo>
                  <a:lnTo>
                    <a:pt x="513" y="598"/>
                  </a:lnTo>
                  <a:lnTo>
                    <a:pt x="502" y="608"/>
                  </a:lnTo>
                  <a:lnTo>
                    <a:pt x="488" y="626"/>
                  </a:lnTo>
                  <a:lnTo>
                    <a:pt x="480" y="633"/>
                  </a:lnTo>
                  <a:lnTo>
                    <a:pt x="478" y="640"/>
                  </a:lnTo>
                  <a:lnTo>
                    <a:pt x="474" y="658"/>
                  </a:lnTo>
                  <a:lnTo>
                    <a:pt x="474" y="663"/>
                  </a:lnTo>
                  <a:lnTo>
                    <a:pt x="476" y="668"/>
                  </a:lnTo>
                  <a:lnTo>
                    <a:pt x="483" y="671"/>
                  </a:lnTo>
                  <a:lnTo>
                    <a:pt x="489" y="670"/>
                  </a:lnTo>
                  <a:lnTo>
                    <a:pt x="496" y="673"/>
                  </a:lnTo>
                  <a:lnTo>
                    <a:pt x="506" y="673"/>
                  </a:lnTo>
                  <a:lnTo>
                    <a:pt x="508" y="674"/>
                  </a:lnTo>
                  <a:lnTo>
                    <a:pt x="512" y="678"/>
                  </a:lnTo>
                  <a:lnTo>
                    <a:pt x="513" y="681"/>
                  </a:lnTo>
                  <a:lnTo>
                    <a:pt x="513" y="686"/>
                  </a:lnTo>
                  <a:lnTo>
                    <a:pt x="507" y="706"/>
                  </a:lnTo>
                  <a:lnTo>
                    <a:pt x="507" y="711"/>
                  </a:lnTo>
                  <a:lnTo>
                    <a:pt x="508" y="716"/>
                  </a:lnTo>
                  <a:lnTo>
                    <a:pt x="518" y="727"/>
                  </a:lnTo>
                  <a:lnTo>
                    <a:pt x="522" y="728"/>
                  </a:lnTo>
                  <a:lnTo>
                    <a:pt x="532" y="724"/>
                  </a:lnTo>
                  <a:lnTo>
                    <a:pt x="534" y="725"/>
                  </a:lnTo>
                  <a:lnTo>
                    <a:pt x="537" y="728"/>
                  </a:lnTo>
                  <a:lnTo>
                    <a:pt x="537" y="739"/>
                  </a:lnTo>
                  <a:lnTo>
                    <a:pt x="538" y="748"/>
                  </a:lnTo>
                  <a:lnTo>
                    <a:pt x="543" y="755"/>
                  </a:lnTo>
                  <a:lnTo>
                    <a:pt x="545" y="762"/>
                  </a:lnTo>
                  <a:lnTo>
                    <a:pt x="550" y="768"/>
                  </a:lnTo>
                  <a:lnTo>
                    <a:pt x="555" y="773"/>
                  </a:lnTo>
                  <a:lnTo>
                    <a:pt x="555" y="776"/>
                  </a:lnTo>
                  <a:lnTo>
                    <a:pt x="559" y="781"/>
                  </a:lnTo>
                  <a:lnTo>
                    <a:pt x="560" y="784"/>
                  </a:lnTo>
                  <a:lnTo>
                    <a:pt x="555" y="786"/>
                  </a:lnTo>
                  <a:lnTo>
                    <a:pt x="555" y="788"/>
                  </a:lnTo>
                  <a:lnTo>
                    <a:pt x="555" y="798"/>
                  </a:lnTo>
                  <a:lnTo>
                    <a:pt x="554" y="802"/>
                  </a:lnTo>
                  <a:lnTo>
                    <a:pt x="561" y="803"/>
                  </a:lnTo>
                  <a:lnTo>
                    <a:pt x="561" y="805"/>
                  </a:lnTo>
                  <a:lnTo>
                    <a:pt x="554" y="805"/>
                  </a:lnTo>
                  <a:lnTo>
                    <a:pt x="549" y="809"/>
                  </a:lnTo>
                  <a:lnTo>
                    <a:pt x="549" y="811"/>
                  </a:lnTo>
                  <a:lnTo>
                    <a:pt x="545" y="813"/>
                  </a:lnTo>
                  <a:lnTo>
                    <a:pt x="542" y="813"/>
                  </a:lnTo>
                  <a:lnTo>
                    <a:pt x="535" y="813"/>
                  </a:lnTo>
                  <a:lnTo>
                    <a:pt x="534" y="810"/>
                  </a:lnTo>
                  <a:lnTo>
                    <a:pt x="533" y="809"/>
                  </a:lnTo>
                  <a:lnTo>
                    <a:pt x="534" y="803"/>
                  </a:lnTo>
                  <a:lnTo>
                    <a:pt x="534" y="802"/>
                  </a:lnTo>
                  <a:lnTo>
                    <a:pt x="527" y="800"/>
                  </a:lnTo>
                  <a:lnTo>
                    <a:pt x="522" y="804"/>
                  </a:lnTo>
                  <a:lnTo>
                    <a:pt x="510" y="808"/>
                  </a:lnTo>
                  <a:lnTo>
                    <a:pt x="506" y="815"/>
                  </a:lnTo>
                  <a:lnTo>
                    <a:pt x="505" y="816"/>
                  </a:lnTo>
                  <a:lnTo>
                    <a:pt x="502" y="816"/>
                  </a:lnTo>
                  <a:lnTo>
                    <a:pt x="488" y="816"/>
                  </a:lnTo>
                  <a:lnTo>
                    <a:pt x="479" y="809"/>
                  </a:lnTo>
                  <a:lnTo>
                    <a:pt x="473" y="811"/>
                  </a:lnTo>
                  <a:lnTo>
                    <a:pt x="469" y="809"/>
                  </a:lnTo>
                  <a:lnTo>
                    <a:pt x="457" y="810"/>
                  </a:lnTo>
                  <a:lnTo>
                    <a:pt x="453" y="809"/>
                  </a:lnTo>
                  <a:lnTo>
                    <a:pt x="447" y="810"/>
                  </a:lnTo>
                  <a:lnTo>
                    <a:pt x="443" y="809"/>
                  </a:lnTo>
                  <a:lnTo>
                    <a:pt x="442" y="810"/>
                  </a:lnTo>
                  <a:lnTo>
                    <a:pt x="441" y="810"/>
                  </a:lnTo>
                  <a:lnTo>
                    <a:pt x="438" y="805"/>
                  </a:lnTo>
                  <a:lnTo>
                    <a:pt x="436" y="805"/>
                  </a:lnTo>
                  <a:lnTo>
                    <a:pt x="435" y="810"/>
                  </a:lnTo>
                  <a:lnTo>
                    <a:pt x="435" y="827"/>
                  </a:lnTo>
                  <a:lnTo>
                    <a:pt x="415" y="827"/>
                  </a:lnTo>
                  <a:lnTo>
                    <a:pt x="411" y="829"/>
                  </a:lnTo>
                  <a:lnTo>
                    <a:pt x="406" y="827"/>
                  </a:lnTo>
                  <a:lnTo>
                    <a:pt x="404" y="832"/>
                  </a:lnTo>
                  <a:lnTo>
                    <a:pt x="402" y="834"/>
                  </a:lnTo>
                  <a:lnTo>
                    <a:pt x="400" y="837"/>
                  </a:lnTo>
                  <a:lnTo>
                    <a:pt x="395" y="841"/>
                  </a:lnTo>
                  <a:lnTo>
                    <a:pt x="391" y="842"/>
                  </a:lnTo>
                  <a:lnTo>
                    <a:pt x="378" y="837"/>
                  </a:lnTo>
                  <a:lnTo>
                    <a:pt x="367" y="836"/>
                  </a:lnTo>
                  <a:lnTo>
                    <a:pt x="363" y="834"/>
                  </a:lnTo>
                  <a:lnTo>
                    <a:pt x="362" y="827"/>
                  </a:lnTo>
                  <a:lnTo>
                    <a:pt x="360" y="824"/>
                  </a:lnTo>
                  <a:lnTo>
                    <a:pt x="355" y="820"/>
                  </a:lnTo>
                  <a:lnTo>
                    <a:pt x="350" y="808"/>
                  </a:lnTo>
                  <a:lnTo>
                    <a:pt x="344" y="791"/>
                  </a:lnTo>
                  <a:lnTo>
                    <a:pt x="344" y="784"/>
                  </a:lnTo>
                  <a:lnTo>
                    <a:pt x="340" y="784"/>
                  </a:lnTo>
                  <a:lnTo>
                    <a:pt x="329" y="781"/>
                  </a:lnTo>
                  <a:lnTo>
                    <a:pt x="322" y="776"/>
                  </a:lnTo>
                  <a:lnTo>
                    <a:pt x="318" y="756"/>
                  </a:lnTo>
                  <a:lnTo>
                    <a:pt x="316" y="751"/>
                  </a:lnTo>
                  <a:lnTo>
                    <a:pt x="308" y="745"/>
                  </a:lnTo>
                  <a:lnTo>
                    <a:pt x="302" y="741"/>
                  </a:lnTo>
                  <a:lnTo>
                    <a:pt x="292" y="740"/>
                  </a:lnTo>
                  <a:lnTo>
                    <a:pt x="271" y="744"/>
                  </a:lnTo>
                  <a:lnTo>
                    <a:pt x="250" y="744"/>
                  </a:lnTo>
                  <a:lnTo>
                    <a:pt x="236" y="750"/>
                  </a:lnTo>
                  <a:lnTo>
                    <a:pt x="227" y="748"/>
                  </a:lnTo>
                  <a:lnTo>
                    <a:pt x="212" y="746"/>
                  </a:lnTo>
                  <a:lnTo>
                    <a:pt x="205" y="759"/>
                  </a:lnTo>
                  <a:lnTo>
                    <a:pt x="200" y="753"/>
                  </a:lnTo>
                  <a:lnTo>
                    <a:pt x="188" y="753"/>
                  </a:lnTo>
                  <a:lnTo>
                    <a:pt x="178" y="745"/>
                  </a:lnTo>
                  <a:lnTo>
                    <a:pt x="164" y="746"/>
                  </a:lnTo>
                  <a:lnTo>
                    <a:pt x="151" y="745"/>
                  </a:lnTo>
                  <a:lnTo>
                    <a:pt x="144" y="753"/>
                  </a:lnTo>
                  <a:lnTo>
                    <a:pt x="130" y="755"/>
                  </a:lnTo>
                  <a:lnTo>
                    <a:pt x="102" y="751"/>
                  </a:lnTo>
                  <a:lnTo>
                    <a:pt x="91" y="751"/>
                  </a:lnTo>
                  <a:lnTo>
                    <a:pt x="76" y="759"/>
                  </a:lnTo>
                  <a:lnTo>
                    <a:pt x="69" y="755"/>
                  </a:lnTo>
                  <a:lnTo>
                    <a:pt x="61" y="761"/>
                  </a:lnTo>
                  <a:lnTo>
                    <a:pt x="53" y="761"/>
                  </a:lnTo>
                  <a:lnTo>
                    <a:pt x="48" y="765"/>
                  </a:lnTo>
                  <a:lnTo>
                    <a:pt x="45" y="759"/>
                  </a:lnTo>
                  <a:lnTo>
                    <a:pt x="42" y="75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03" name="Freeform 101">
              <a:extLst>
                <a:ext uri="{FF2B5EF4-FFF2-40B4-BE49-F238E27FC236}">
                  <a16:creationId xmlns:a16="http://schemas.microsoft.com/office/drawing/2014/main" id="{126F009E-624C-495A-CEAD-AA96E434DA5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368355" y="3426466"/>
              <a:ext cx="97003" cy="56396"/>
            </a:xfrm>
            <a:custGeom>
              <a:avLst/>
              <a:gdLst>
                <a:gd name="T0" fmla="*/ 0 w 187"/>
                <a:gd name="T1" fmla="*/ 0 h 98"/>
                <a:gd name="T2" fmla="*/ 0 w 187"/>
                <a:gd name="T3" fmla="*/ 0 h 98"/>
                <a:gd name="T4" fmla="*/ 0 w 187"/>
                <a:gd name="T5" fmla="*/ 0 h 98"/>
                <a:gd name="T6" fmla="*/ 0 w 187"/>
                <a:gd name="T7" fmla="*/ 0 h 98"/>
                <a:gd name="T8" fmla="*/ 0 w 187"/>
                <a:gd name="T9" fmla="*/ 0 h 98"/>
                <a:gd name="T10" fmla="*/ 0 w 187"/>
                <a:gd name="T11" fmla="*/ 0 h 98"/>
                <a:gd name="T12" fmla="*/ 0 w 187"/>
                <a:gd name="T13" fmla="*/ 0 h 98"/>
                <a:gd name="T14" fmla="*/ 0 w 187"/>
                <a:gd name="T15" fmla="*/ 0 h 98"/>
                <a:gd name="T16" fmla="*/ 0 w 187"/>
                <a:gd name="T17" fmla="*/ 0 h 98"/>
                <a:gd name="T18" fmla="*/ 0 w 187"/>
                <a:gd name="T19" fmla="*/ 0 h 98"/>
                <a:gd name="T20" fmla="*/ 0 w 187"/>
                <a:gd name="T21" fmla="*/ 0 h 98"/>
                <a:gd name="T22" fmla="*/ 0 w 187"/>
                <a:gd name="T23" fmla="*/ 0 h 98"/>
                <a:gd name="T24" fmla="*/ 0 w 187"/>
                <a:gd name="T25" fmla="*/ 0 h 98"/>
                <a:gd name="T26" fmla="*/ 0 w 187"/>
                <a:gd name="T27" fmla="*/ 0 h 98"/>
                <a:gd name="T28" fmla="*/ 0 w 187"/>
                <a:gd name="T29" fmla="*/ 0 h 98"/>
                <a:gd name="T30" fmla="*/ 0 w 187"/>
                <a:gd name="T31" fmla="*/ 0 h 98"/>
                <a:gd name="T32" fmla="*/ 0 w 187"/>
                <a:gd name="T33" fmla="*/ 0 h 98"/>
                <a:gd name="T34" fmla="*/ 0 w 187"/>
                <a:gd name="T35" fmla="*/ 0 h 98"/>
                <a:gd name="T36" fmla="*/ 0 w 187"/>
                <a:gd name="T37" fmla="*/ 0 h 98"/>
                <a:gd name="T38" fmla="*/ 0 w 187"/>
                <a:gd name="T39" fmla="*/ 0 h 98"/>
                <a:gd name="T40" fmla="*/ 0 w 187"/>
                <a:gd name="T41" fmla="*/ 0 h 98"/>
                <a:gd name="T42" fmla="*/ 0 w 187"/>
                <a:gd name="T43" fmla="*/ 0 h 98"/>
                <a:gd name="T44" fmla="*/ 0 w 187"/>
                <a:gd name="T45" fmla="*/ 0 h 98"/>
                <a:gd name="T46" fmla="*/ 0 w 187"/>
                <a:gd name="T47" fmla="*/ 0 h 98"/>
                <a:gd name="T48" fmla="*/ 0 w 187"/>
                <a:gd name="T49" fmla="*/ 0 h 98"/>
                <a:gd name="T50" fmla="*/ 0 w 187"/>
                <a:gd name="T51" fmla="*/ 0 h 98"/>
                <a:gd name="T52" fmla="*/ 0 w 187"/>
                <a:gd name="T53" fmla="*/ 0 h 98"/>
                <a:gd name="T54" fmla="*/ 0 w 187"/>
                <a:gd name="T55" fmla="*/ 0 h 98"/>
                <a:gd name="T56" fmla="*/ 0 w 187"/>
                <a:gd name="T57" fmla="*/ 0 h 98"/>
                <a:gd name="T58" fmla="*/ 0 w 187"/>
                <a:gd name="T59" fmla="*/ 0 h 98"/>
                <a:gd name="T60" fmla="*/ 0 w 187"/>
                <a:gd name="T61" fmla="*/ 0 h 98"/>
                <a:gd name="T62" fmla="*/ 0 w 187"/>
                <a:gd name="T63" fmla="*/ 0 h 98"/>
                <a:gd name="T64" fmla="*/ 0 w 187"/>
                <a:gd name="T65" fmla="*/ 0 h 98"/>
                <a:gd name="T66" fmla="*/ 0 w 187"/>
                <a:gd name="T67" fmla="*/ 0 h 98"/>
                <a:gd name="T68" fmla="*/ 0 w 187"/>
                <a:gd name="T69" fmla="*/ 0 h 98"/>
                <a:gd name="T70" fmla="*/ 0 w 187"/>
                <a:gd name="T71" fmla="*/ 0 h 98"/>
                <a:gd name="T72" fmla="*/ 0 w 187"/>
                <a:gd name="T73" fmla="*/ 0 h 98"/>
                <a:gd name="T74" fmla="*/ 0 w 187"/>
                <a:gd name="T75" fmla="*/ 0 h 98"/>
                <a:gd name="T76" fmla="*/ 0 w 187"/>
                <a:gd name="T77" fmla="*/ 0 h 98"/>
                <a:gd name="T78" fmla="*/ 0 w 187"/>
                <a:gd name="T79" fmla="*/ 0 h 98"/>
                <a:gd name="T80" fmla="*/ 0 w 187"/>
                <a:gd name="T81" fmla="*/ 0 h 98"/>
                <a:gd name="T82" fmla="*/ 0 w 187"/>
                <a:gd name="T83" fmla="*/ 0 h 98"/>
                <a:gd name="T84" fmla="*/ 0 w 187"/>
                <a:gd name="T85" fmla="*/ 0 h 98"/>
                <a:gd name="T86" fmla="*/ 0 w 187"/>
                <a:gd name="T87" fmla="*/ 0 h 98"/>
                <a:gd name="T88" fmla="*/ 0 w 187"/>
                <a:gd name="T89" fmla="*/ 0 h 98"/>
                <a:gd name="T90" fmla="*/ 0 w 187"/>
                <a:gd name="T91" fmla="*/ 0 h 98"/>
                <a:gd name="T92" fmla="*/ 0 w 187"/>
                <a:gd name="T93" fmla="*/ 0 h 98"/>
                <a:gd name="T94" fmla="*/ 0 w 187"/>
                <a:gd name="T95" fmla="*/ 0 h 98"/>
                <a:gd name="T96" fmla="*/ 0 w 187"/>
                <a:gd name="T97" fmla="*/ 0 h 9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87"/>
                <a:gd name="T148" fmla="*/ 0 h 98"/>
                <a:gd name="T149" fmla="*/ 187 w 187"/>
                <a:gd name="T150" fmla="*/ 98 h 98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87" h="98">
                  <a:moveTo>
                    <a:pt x="164" y="32"/>
                  </a:moveTo>
                  <a:lnTo>
                    <a:pt x="164" y="30"/>
                  </a:lnTo>
                  <a:lnTo>
                    <a:pt x="150" y="22"/>
                  </a:lnTo>
                  <a:lnTo>
                    <a:pt x="148" y="18"/>
                  </a:lnTo>
                  <a:lnTo>
                    <a:pt x="145" y="17"/>
                  </a:lnTo>
                  <a:lnTo>
                    <a:pt x="130" y="21"/>
                  </a:lnTo>
                  <a:lnTo>
                    <a:pt x="126" y="21"/>
                  </a:lnTo>
                  <a:lnTo>
                    <a:pt x="112" y="16"/>
                  </a:lnTo>
                  <a:lnTo>
                    <a:pt x="96" y="15"/>
                  </a:lnTo>
                  <a:lnTo>
                    <a:pt x="89" y="10"/>
                  </a:lnTo>
                  <a:lnTo>
                    <a:pt x="89" y="7"/>
                  </a:lnTo>
                  <a:lnTo>
                    <a:pt x="85" y="1"/>
                  </a:lnTo>
                  <a:lnTo>
                    <a:pt x="79" y="0"/>
                  </a:lnTo>
                  <a:lnTo>
                    <a:pt x="65" y="1"/>
                  </a:lnTo>
                  <a:lnTo>
                    <a:pt x="53" y="6"/>
                  </a:lnTo>
                  <a:lnTo>
                    <a:pt x="42" y="17"/>
                  </a:lnTo>
                  <a:lnTo>
                    <a:pt x="32" y="33"/>
                  </a:lnTo>
                  <a:lnTo>
                    <a:pt x="11" y="53"/>
                  </a:lnTo>
                  <a:lnTo>
                    <a:pt x="10" y="59"/>
                  </a:lnTo>
                  <a:lnTo>
                    <a:pt x="9" y="63"/>
                  </a:lnTo>
                  <a:lnTo>
                    <a:pt x="0" y="71"/>
                  </a:lnTo>
                  <a:lnTo>
                    <a:pt x="0" y="76"/>
                  </a:lnTo>
                  <a:lnTo>
                    <a:pt x="5" y="77"/>
                  </a:lnTo>
                  <a:lnTo>
                    <a:pt x="6" y="80"/>
                  </a:lnTo>
                  <a:lnTo>
                    <a:pt x="6" y="87"/>
                  </a:lnTo>
                  <a:lnTo>
                    <a:pt x="8" y="88"/>
                  </a:lnTo>
                  <a:lnTo>
                    <a:pt x="11" y="88"/>
                  </a:lnTo>
                  <a:lnTo>
                    <a:pt x="15" y="91"/>
                  </a:lnTo>
                  <a:lnTo>
                    <a:pt x="26" y="95"/>
                  </a:lnTo>
                  <a:lnTo>
                    <a:pt x="49" y="98"/>
                  </a:lnTo>
                  <a:lnTo>
                    <a:pt x="68" y="98"/>
                  </a:lnTo>
                  <a:lnTo>
                    <a:pt x="91" y="90"/>
                  </a:lnTo>
                  <a:lnTo>
                    <a:pt x="96" y="90"/>
                  </a:lnTo>
                  <a:lnTo>
                    <a:pt x="106" y="93"/>
                  </a:lnTo>
                  <a:lnTo>
                    <a:pt x="115" y="93"/>
                  </a:lnTo>
                  <a:lnTo>
                    <a:pt x="123" y="92"/>
                  </a:lnTo>
                  <a:lnTo>
                    <a:pt x="144" y="88"/>
                  </a:lnTo>
                  <a:lnTo>
                    <a:pt x="158" y="87"/>
                  </a:lnTo>
                  <a:lnTo>
                    <a:pt x="178" y="84"/>
                  </a:lnTo>
                  <a:lnTo>
                    <a:pt x="186" y="80"/>
                  </a:lnTo>
                  <a:lnTo>
                    <a:pt x="186" y="77"/>
                  </a:lnTo>
                  <a:lnTo>
                    <a:pt x="185" y="73"/>
                  </a:lnTo>
                  <a:lnTo>
                    <a:pt x="187" y="59"/>
                  </a:lnTo>
                  <a:lnTo>
                    <a:pt x="181" y="53"/>
                  </a:lnTo>
                  <a:lnTo>
                    <a:pt x="162" y="45"/>
                  </a:lnTo>
                  <a:lnTo>
                    <a:pt x="161" y="43"/>
                  </a:lnTo>
                  <a:lnTo>
                    <a:pt x="161" y="41"/>
                  </a:lnTo>
                  <a:lnTo>
                    <a:pt x="164" y="34"/>
                  </a:lnTo>
                  <a:lnTo>
                    <a:pt x="164" y="3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04" name="Freeform 102">
              <a:extLst>
                <a:ext uri="{FF2B5EF4-FFF2-40B4-BE49-F238E27FC236}">
                  <a16:creationId xmlns:a16="http://schemas.microsoft.com/office/drawing/2014/main" id="{D3B31A2F-55E8-C9C5-09C5-552676C097A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114657" y="3354827"/>
              <a:ext cx="234298" cy="140228"/>
            </a:xfrm>
            <a:custGeom>
              <a:avLst/>
              <a:gdLst>
                <a:gd name="T0" fmla="*/ 2147483647 w 441"/>
                <a:gd name="T1" fmla="*/ 0 h 244"/>
                <a:gd name="T2" fmla="*/ 2147483647 w 441"/>
                <a:gd name="T3" fmla="*/ 0 h 244"/>
                <a:gd name="T4" fmla="*/ 2147483647 w 441"/>
                <a:gd name="T5" fmla="*/ 0 h 244"/>
                <a:gd name="T6" fmla="*/ 2147483647 w 441"/>
                <a:gd name="T7" fmla="*/ 0 h 244"/>
                <a:gd name="T8" fmla="*/ 2147483647 w 441"/>
                <a:gd name="T9" fmla="*/ 0 h 244"/>
                <a:gd name="T10" fmla="*/ 2147483647 w 441"/>
                <a:gd name="T11" fmla="*/ 0 h 244"/>
                <a:gd name="T12" fmla="*/ 0 w 441"/>
                <a:gd name="T13" fmla="*/ 0 h 244"/>
                <a:gd name="T14" fmla="*/ 0 w 441"/>
                <a:gd name="T15" fmla="*/ 0 h 244"/>
                <a:gd name="T16" fmla="*/ 0 w 441"/>
                <a:gd name="T17" fmla="*/ 0 h 244"/>
                <a:gd name="T18" fmla="*/ 0 w 441"/>
                <a:gd name="T19" fmla="*/ 0 h 244"/>
                <a:gd name="T20" fmla="*/ 0 w 441"/>
                <a:gd name="T21" fmla="*/ 0 h 244"/>
                <a:gd name="T22" fmla="*/ 0 w 441"/>
                <a:gd name="T23" fmla="*/ 0 h 244"/>
                <a:gd name="T24" fmla="*/ 0 w 441"/>
                <a:gd name="T25" fmla="*/ 0 h 244"/>
                <a:gd name="T26" fmla="*/ 0 w 441"/>
                <a:gd name="T27" fmla="*/ 0 h 244"/>
                <a:gd name="T28" fmla="*/ 0 w 441"/>
                <a:gd name="T29" fmla="*/ 0 h 244"/>
                <a:gd name="T30" fmla="*/ 0 w 441"/>
                <a:gd name="T31" fmla="*/ 0 h 244"/>
                <a:gd name="T32" fmla="*/ 0 w 441"/>
                <a:gd name="T33" fmla="*/ 0 h 244"/>
                <a:gd name="T34" fmla="*/ 0 w 441"/>
                <a:gd name="T35" fmla="*/ 0 h 244"/>
                <a:gd name="T36" fmla="*/ 0 w 441"/>
                <a:gd name="T37" fmla="*/ 0 h 244"/>
                <a:gd name="T38" fmla="*/ 0 w 441"/>
                <a:gd name="T39" fmla="*/ 0 h 244"/>
                <a:gd name="T40" fmla="*/ 0 w 441"/>
                <a:gd name="T41" fmla="*/ 0 h 244"/>
                <a:gd name="T42" fmla="*/ 0 w 441"/>
                <a:gd name="T43" fmla="*/ 0 h 244"/>
                <a:gd name="T44" fmla="*/ 0 w 441"/>
                <a:gd name="T45" fmla="*/ 0 h 244"/>
                <a:gd name="T46" fmla="*/ 0 w 441"/>
                <a:gd name="T47" fmla="*/ 0 h 244"/>
                <a:gd name="T48" fmla="*/ 0 w 441"/>
                <a:gd name="T49" fmla="*/ 0 h 244"/>
                <a:gd name="T50" fmla="*/ 0 w 441"/>
                <a:gd name="T51" fmla="*/ 0 h 244"/>
                <a:gd name="T52" fmla="*/ 0 w 441"/>
                <a:gd name="T53" fmla="*/ 0 h 244"/>
                <a:gd name="T54" fmla="*/ 0 w 441"/>
                <a:gd name="T55" fmla="*/ 0 h 244"/>
                <a:gd name="T56" fmla="*/ 0 w 441"/>
                <a:gd name="T57" fmla="*/ 0 h 244"/>
                <a:gd name="T58" fmla="*/ 0 w 441"/>
                <a:gd name="T59" fmla="*/ 0 h 244"/>
                <a:gd name="T60" fmla="*/ 0 w 441"/>
                <a:gd name="T61" fmla="*/ 0 h 244"/>
                <a:gd name="T62" fmla="*/ 0 w 441"/>
                <a:gd name="T63" fmla="*/ 0 h 244"/>
                <a:gd name="T64" fmla="*/ 0 w 441"/>
                <a:gd name="T65" fmla="*/ 0 h 244"/>
                <a:gd name="T66" fmla="*/ 0 w 441"/>
                <a:gd name="T67" fmla="*/ 0 h 244"/>
                <a:gd name="T68" fmla="*/ 0 w 441"/>
                <a:gd name="T69" fmla="*/ 0 h 244"/>
                <a:gd name="T70" fmla="*/ 0 w 441"/>
                <a:gd name="T71" fmla="*/ 0 h 244"/>
                <a:gd name="T72" fmla="*/ 0 w 441"/>
                <a:gd name="T73" fmla="*/ 0 h 244"/>
                <a:gd name="T74" fmla="*/ 0 w 441"/>
                <a:gd name="T75" fmla="*/ 0 h 244"/>
                <a:gd name="T76" fmla="*/ 0 w 441"/>
                <a:gd name="T77" fmla="*/ 0 h 244"/>
                <a:gd name="T78" fmla="*/ 0 w 441"/>
                <a:gd name="T79" fmla="*/ 0 h 244"/>
                <a:gd name="T80" fmla="*/ 0 w 441"/>
                <a:gd name="T81" fmla="*/ 0 h 244"/>
                <a:gd name="T82" fmla="*/ 0 w 441"/>
                <a:gd name="T83" fmla="*/ 0 h 244"/>
                <a:gd name="T84" fmla="*/ 0 w 441"/>
                <a:gd name="T85" fmla="*/ 0 h 244"/>
                <a:gd name="T86" fmla="*/ 2147483647 w 441"/>
                <a:gd name="T87" fmla="*/ 0 h 244"/>
                <a:gd name="T88" fmla="*/ 2147483647 w 441"/>
                <a:gd name="T89" fmla="*/ 0 h 244"/>
                <a:gd name="T90" fmla="*/ 2147483647 w 441"/>
                <a:gd name="T91" fmla="*/ 0 h 244"/>
                <a:gd name="T92" fmla="*/ 2147483647 w 441"/>
                <a:gd name="T93" fmla="*/ 0 h 244"/>
                <a:gd name="T94" fmla="*/ 2147483647 w 441"/>
                <a:gd name="T95" fmla="*/ 0 h 244"/>
                <a:gd name="T96" fmla="*/ 2147483647 w 441"/>
                <a:gd name="T97" fmla="*/ 0 h 244"/>
                <a:gd name="T98" fmla="*/ 2147483647 w 441"/>
                <a:gd name="T99" fmla="*/ 0 h 244"/>
                <a:gd name="T100" fmla="*/ 2147483647 w 441"/>
                <a:gd name="T101" fmla="*/ 0 h 24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244"/>
                <a:gd name="T155" fmla="*/ 441 w 441"/>
                <a:gd name="T156" fmla="*/ 244 h 24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244">
                  <a:moveTo>
                    <a:pt x="439" y="151"/>
                  </a:moveTo>
                  <a:lnTo>
                    <a:pt x="436" y="158"/>
                  </a:lnTo>
                  <a:lnTo>
                    <a:pt x="432" y="170"/>
                  </a:lnTo>
                  <a:lnTo>
                    <a:pt x="433" y="185"/>
                  </a:lnTo>
                  <a:lnTo>
                    <a:pt x="432" y="199"/>
                  </a:lnTo>
                  <a:lnTo>
                    <a:pt x="428" y="203"/>
                  </a:lnTo>
                  <a:lnTo>
                    <a:pt x="428" y="207"/>
                  </a:lnTo>
                  <a:lnTo>
                    <a:pt x="436" y="211"/>
                  </a:lnTo>
                  <a:lnTo>
                    <a:pt x="441" y="221"/>
                  </a:lnTo>
                  <a:lnTo>
                    <a:pt x="441" y="228"/>
                  </a:lnTo>
                  <a:lnTo>
                    <a:pt x="434" y="239"/>
                  </a:lnTo>
                  <a:lnTo>
                    <a:pt x="434" y="242"/>
                  </a:lnTo>
                  <a:lnTo>
                    <a:pt x="422" y="240"/>
                  </a:lnTo>
                  <a:lnTo>
                    <a:pt x="411" y="243"/>
                  </a:lnTo>
                  <a:lnTo>
                    <a:pt x="396" y="242"/>
                  </a:lnTo>
                  <a:lnTo>
                    <a:pt x="388" y="244"/>
                  </a:lnTo>
                  <a:lnTo>
                    <a:pt x="378" y="239"/>
                  </a:lnTo>
                  <a:lnTo>
                    <a:pt x="368" y="238"/>
                  </a:lnTo>
                  <a:lnTo>
                    <a:pt x="362" y="238"/>
                  </a:lnTo>
                  <a:lnTo>
                    <a:pt x="315" y="230"/>
                  </a:lnTo>
                  <a:lnTo>
                    <a:pt x="308" y="224"/>
                  </a:lnTo>
                  <a:lnTo>
                    <a:pt x="299" y="221"/>
                  </a:lnTo>
                  <a:lnTo>
                    <a:pt x="287" y="222"/>
                  </a:lnTo>
                  <a:lnTo>
                    <a:pt x="267" y="218"/>
                  </a:lnTo>
                  <a:lnTo>
                    <a:pt x="255" y="210"/>
                  </a:lnTo>
                  <a:lnTo>
                    <a:pt x="249" y="205"/>
                  </a:lnTo>
                  <a:lnTo>
                    <a:pt x="239" y="191"/>
                  </a:lnTo>
                  <a:lnTo>
                    <a:pt x="232" y="187"/>
                  </a:lnTo>
                  <a:lnTo>
                    <a:pt x="213" y="184"/>
                  </a:lnTo>
                  <a:lnTo>
                    <a:pt x="211" y="184"/>
                  </a:lnTo>
                  <a:lnTo>
                    <a:pt x="208" y="187"/>
                  </a:lnTo>
                  <a:lnTo>
                    <a:pt x="202" y="186"/>
                  </a:lnTo>
                  <a:lnTo>
                    <a:pt x="192" y="184"/>
                  </a:lnTo>
                  <a:lnTo>
                    <a:pt x="183" y="183"/>
                  </a:lnTo>
                  <a:lnTo>
                    <a:pt x="173" y="187"/>
                  </a:lnTo>
                  <a:lnTo>
                    <a:pt x="168" y="187"/>
                  </a:lnTo>
                  <a:lnTo>
                    <a:pt x="148" y="183"/>
                  </a:lnTo>
                  <a:lnTo>
                    <a:pt x="138" y="170"/>
                  </a:lnTo>
                  <a:lnTo>
                    <a:pt x="136" y="168"/>
                  </a:lnTo>
                  <a:lnTo>
                    <a:pt x="127" y="167"/>
                  </a:lnTo>
                  <a:lnTo>
                    <a:pt x="124" y="167"/>
                  </a:lnTo>
                  <a:lnTo>
                    <a:pt x="114" y="159"/>
                  </a:lnTo>
                  <a:lnTo>
                    <a:pt x="103" y="154"/>
                  </a:lnTo>
                  <a:lnTo>
                    <a:pt x="93" y="153"/>
                  </a:lnTo>
                  <a:lnTo>
                    <a:pt x="83" y="148"/>
                  </a:lnTo>
                  <a:lnTo>
                    <a:pt x="78" y="144"/>
                  </a:lnTo>
                  <a:lnTo>
                    <a:pt x="66" y="130"/>
                  </a:lnTo>
                  <a:lnTo>
                    <a:pt x="57" y="124"/>
                  </a:lnTo>
                  <a:lnTo>
                    <a:pt x="49" y="120"/>
                  </a:lnTo>
                  <a:lnTo>
                    <a:pt x="45" y="116"/>
                  </a:lnTo>
                  <a:lnTo>
                    <a:pt x="32" y="109"/>
                  </a:lnTo>
                  <a:lnTo>
                    <a:pt x="28" y="109"/>
                  </a:lnTo>
                  <a:lnTo>
                    <a:pt x="28" y="113"/>
                  </a:lnTo>
                  <a:lnTo>
                    <a:pt x="23" y="113"/>
                  </a:lnTo>
                  <a:lnTo>
                    <a:pt x="18" y="109"/>
                  </a:lnTo>
                  <a:lnTo>
                    <a:pt x="17" y="103"/>
                  </a:lnTo>
                  <a:lnTo>
                    <a:pt x="12" y="98"/>
                  </a:lnTo>
                  <a:lnTo>
                    <a:pt x="1" y="97"/>
                  </a:lnTo>
                  <a:lnTo>
                    <a:pt x="0" y="94"/>
                  </a:lnTo>
                  <a:lnTo>
                    <a:pt x="1" y="87"/>
                  </a:lnTo>
                  <a:lnTo>
                    <a:pt x="6" y="79"/>
                  </a:lnTo>
                  <a:lnTo>
                    <a:pt x="9" y="78"/>
                  </a:lnTo>
                  <a:lnTo>
                    <a:pt x="11" y="71"/>
                  </a:lnTo>
                  <a:lnTo>
                    <a:pt x="14" y="67"/>
                  </a:lnTo>
                  <a:lnTo>
                    <a:pt x="11" y="58"/>
                  </a:lnTo>
                  <a:lnTo>
                    <a:pt x="14" y="51"/>
                  </a:lnTo>
                  <a:lnTo>
                    <a:pt x="19" y="45"/>
                  </a:lnTo>
                  <a:lnTo>
                    <a:pt x="17" y="38"/>
                  </a:lnTo>
                  <a:lnTo>
                    <a:pt x="17" y="34"/>
                  </a:lnTo>
                  <a:lnTo>
                    <a:pt x="21" y="29"/>
                  </a:lnTo>
                  <a:lnTo>
                    <a:pt x="27" y="29"/>
                  </a:lnTo>
                  <a:lnTo>
                    <a:pt x="30" y="22"/>
                  </a:lnTo>
                  <a:lnTo>
                    <a:pt x="38" y="17"/>
                  </a:lnTo>
                  <a:lnTo>
                    <a:pt x="41" y="11"/>
                  </a:lnTo>
                  <a:lnTo>
                    <a:pt x="43" y="6"/>
                  </a:lnTo>
                  <a:lnTo>
                    <a:pt x="45" y="4"/>
                  </a:lnTo>
                  <a:lnTo>
                    <a:pt x="48" y="7"/>
                  </a:lnTo>
                  <a:lnTo>
                    <a:pt x="54" y="4"/>
                  </a:lnTo>
                  <a:lnTo>
                    <a:pt x="56" y="6"/>
                  </a:lnTo>
                  <a:lnTo>
                    <a:pt x="59" y="11"/>
                  </a:lnTo>
                  <a:lnTo>
                    <a:pt x="67" y="18"/>
                  </a:lnTo>
                  <a:lnTo>
                    <a:pt x="68" y="14"/>
                  </a:lnTo>
                  <a:lnTo>
                    <a:pt x="67" y="12"/>
                  </a:lnTo>
                  <a:lnTo>
                    <a:pt x="71" y="8"/>
                  </a:lnTo>
                  <a:lnTo>
                    <a:pt x="71" y="2"/>
                  </a:lnTo>
                  <a:lnTo>
                    <a:pt x="71" y="1"/>
                  </a:lnTo>
                  <a:lnTo>
                    <a:pt x="73" y="0"/>
                  </a:lnTo>
                  <a:lnTo>
                    <a:pt x="89" y="2"/>
                  </a:lnTo>
                  <a:lnTo>
                    <a:pt x="92" y="3"/>
                  </a:lnTo>
                  <a:lnTo>
                    <a:pt x="110" y="7"/>
                  </a:lnTo>
                  <a:lnTo>
                    <a:pt x="130" y="13"/>
                  </a:lnTo>
                  <a:lnTo>
                    <a:pt x="135" y="15"/>
                  </a:lnTo>
                  <a:lnTo>
                    <a:pt x="141" y="24"/>
                  </a:lnTo>
                  <a:lnTo>
                    <a:pt x="151" y="33"/>
                  </a:lnTo>
                  <a:lnTo>
                    <a:pt x="163" y="36"/>
                  </a:lnTo>
                  <a:lnTo>
                    <a:pt x="174" y="46"/>
                  </a:lnTo>
                  <a:lnTo>
                    <a:pt x="181" y="55"/>
                  </a:lnTo>
                  <a:lnTo>
                    <a:pt x="184" y="72"/>
                  </a:lnTo>
                  <a:lnTo>
                    <a:pt x="186" y="77"/>
                  </a:lnTo>
                  <a:lnTo>
                    <a:pt x="192" y="79"/>
                  </a:lnTo>
                  <a:lnTo>
                    <a:pt x="196" y="79"/>
                  </a:lnTo>
                  <a:lnTo>
                    <a:pt x="200" y="74"/>
                  </a:lnTo>
                  <a:lnTo>
                    <a:pt x="204" y="73"/>
                  </a:lnTo>
                  <a:lnTo>
                    <a:pt x="207" y="70"/>
                  </a:lnTo>
                  <a:lnTo>
                    <a:pt x="207" y="67"/>
                  </a:lnTo>
                  <a:lnTo>
                    <a:pt x="211" y="63"/>
                  </a:lnTo>
                  <a:lnTo>
                    <a:pt x="215" y="65"/>
                  </a:lnTo>
                  <a:lnTo>
                    <a:pt x="221" y="63"/>
                  </a:lnTo>
                  <a:lnTo>
                    <a:pt x="227" y="65"/>
                  </a:lnTo>
                  <a:lnTo>
                    <a:pt x="229" y="67"/>
                  </a:lnTo>
                  <a:lnTo>
                    <a:pt x="226" y="73"/>
                  </a:lnTo>
                  <a:lnTo>
                    <a:pt x="227" y="79"/>
                  </a:lnTo>
                  <a:lnTo>
                    <a:pt x="224" y="92"/>
                  </a:lnTo>
                  <a:lnTo>
                    <a:pt x="226" y="95"/>
                  </a:lnTo>
                  <a:lnTo>
                    <a:pt x="231" y="93"/>
                  </a:lnTo>
                  <a:lnTo>
                    <a:pt x="233" y="98"/>
                  </a:lnTo>
                  <a:lnTo>
                    <a:pt x="235" y="101"/>
                  </a:lnTo>
                  <a:lnTo>
                    <a:pt x="240" y="101"/>
                  </a:lnTo>
                  <a:lnTo>
                    <a:pt x="245" y="105"/>
                  </a:lnTo>
                  <a:lnTo>
                    <a:pt x="251" y="104"/>
                  </a:lnTo>
                  <a:lnTo>
                    <a:pt x="259" y="106"/>
                  </a:lnTo>
                  <a:lnTo>
                    <a:pt x="267" y="108"/>
                  </a:lnTo>
                  <a:lnTo>
                    <a:pt x="272" y="106"/>
                  </a:lnTo>
                  <a:lnTo>
                    <a:pt x="277" y="103"/>
                  </a:lnTo>
                  <a:lnTo>
                    <a:pt x="280" y="104"/>
                  </a:lnTo>
                  <a:lnTo>
                    <a:pt x="277" y="117"/>
                  </a:lnTo>
                  <a:lnTo>
                    <a:pt x="278" y="124"/>
                  </a:lnTo>
                  <a:lnTo>
                    <a:pt x="293" y="133"/>
                  </a:lnTo>
                  <a:lnTo>
                    <a:pt x="301" y="131"/>
                  </a:lnTo>
                  <a:lnTo>
                    <a:pt x="308" y="132"/>
                  </a:lnTo>
                  <a:lnTo>
                    <a:pt x="314" y="138"/>
                  </a:lnTo>
                  <a:lnTo>
                    <a:pt x="315" y="142"/>
                  </a:lnTo>
                  <a:lnTo>
                    <a:pt x="319" y="148"/>
                  </a:lnTo>
                  <a:lnTo>
                    <a:pt x="323" y="151"/>
                  </a:lnTo>
                  <a:lnTo>
                    <a:pt x="329" y="149"/>
                  </a:lnTo>
                  <a:lnTo>
                    <a:pt x="333" y="147"/>
                  </a:lnTo>
                  <a:lnTo>
                    <a:pt x="339" y="151"/>
                  </a:lnTo>
                  <a:lnTo>
                    <a:pt x="344" y="149"/>
                  </a:lnTo>
                  <a:lnTo>
                    <a:pt x="350" y="152"/>
                  </a:lnTo>
                  <a:lnTo>
                    <a:pt x="352" y="151"/>
                  </a:lnTo>
                  <a:lnTo>
                    <a:pt x="356" y="144"/>
                  </a:lnTo>
                  <a:lnTo>
                    <a:pt x="361" y="143"/>
                  </a:lnTo>
                  <a:lnTo>
                    <a:pt x="369" y="144"/>
                  </a:lnTo>
                  <a:lnTo>
                    <a:pt x="377" y="151"/>
                  </a:lnTo>
                  <a:lnTo>
                    <a:pt x="387" y="153"/>
                  </a:lnTo>
                  <a:lnTo>
                    <a:pt x="394" y="157"/>
                  </a:lnTo>
                  <a:lnTo>
                    <a:pt x="398" y="158"/>
                  </a:lnTo>
                  <a:lnTo>
                    <a:pt x="405" y="156"/>
                  </a:lnTo>
                  <a:lnTo>
                    <a:pt x="419" y="159"/>
                  </a:lnTo>
                  <a:lnTo>
                    <a:pt x="422" y="159"/>
                  </a:lnTo>
                  <a:lnTo>
                    <a:pt x="428" y="151"/>
                  </a:lnTo>
                  <a:lnTo>
                    <a:pt x="436" y="149"/>
                  </a:lnTo>
                  <a:lnTo>
                    <a:pt x="439" y="15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05" name="Freeform 103">
              <a:extLst>
                <a:ext uri="{FF2B5EF4-FFF2-40B4-BE49-F238E27FC236}">
                  <a16:creationId xmlns:a16="http://schemas.microsoft.com/office/drawing/2014/main" id="{1499197F-8420-BBE1-1DE4-200A525C352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341493" y="3488958"/>
              <a:ext cx="138788" cy="189003"/>
            </a:xfrm>
            <a:custGeom>
              <a:avLst/>
              <a:gdLst>
                <a:gd name="T0" fmla="*/ 0 w 262"/>
                <a:gd name="T1" fmla="*/ 2147483647 h 337"/>
                <a:gd name="T2" fmla="*/ 0 w 262"/>
                <a:gd name="T3" fmla="*/ 0 h 337"/>
                <a:gd name="T4" fmla="*/ 0 w 262"/>
                <a:gd name="T5" fmla="*/ 0 h 337"/>
                <a:gd name="T6" fmla="*/ 0 w 262"/>
                <a:gd name="T7" fmla="*/ 0 h 337"/>
                <a:gd name="T8" fmla="*/ 0 w 262"/>
                <a:gd name="T9" fmla="*/ 0 h 337"/>
                <a:gd name="T10" fmla="*/ 0 w 262"/>
                <a:gd name="T11" fmla="*/ 0 h 337"/>
                <a:gd name="T12" fmla="*/ 0 w 262"/>
                <a:gd name="T13" fmla="*/ 0 h 337"/>
                <a:gd name="T14" fmla="*/ 0 w 262"/>
                <a:gd name="T15" fmla="*/ 0 h 337"/>
                <a:gd name="T16" fmla="*/ 0 w 262"/>
                <a:gd name="T17" fmla="*/ 0 h 337"/>
                <a:gd name="T18" fmla="*/ 0 w 262"/>
                <a:gd name="T19" fmla="*/ 0 h 337"/>
                <a:gd name="T20" fmla="*/ 0 w 262"/>
                <a:gd name="T21" fmla="*/ 0 h 337"/>
                <a:gd name="T22" fmla="*/ 0 w 262"/>
                <a:gd name="T23" fmla="*/ 0 h 337"/>
                <a:gd name="T24" fmla="*/ 0 w 262"/>
                <a:gd name="T25" fmla="*/ 0 h 337"/>
                <a:gd name="T26" fmla="*/ 0 w 262"/>
                <a:gd name="T27" fmla="*/ 0 h 337"/>
                <a:gd name="T28" fmla="*/ 0 w 262"/>
                <a:gd name="T29" fmla="*/ 0 h 337"/>
                <a:gd name="T30" fmla="*/ 0 w 262"/>
                <a:gd name="T31" fmla="*/ 0 h 337"/>
                <a:gd name="T32" fmla="*/ 0 w 262"/>
                <a:gd name="T33" fmla="*/ 0 h 337"/>
                <a:gd name="T34" fmla="*/ 0 w 262"/>
                <a:gd name="T35" fmla="*/ 0 h 337"/>
                <a:gd name="T36" fmla="*/ 0 w 262"/>
                <a:gd name="T37" fmla="*/ 0 h 337"/>
                <a:gd name="T38" fmla="*/ 0 w 262"/>
                <a:gd name="T39" fmla="*/ 0 h 337"/>
                <a:gd name="T40" fmla="*/ 0 w 262"/>
                <a:gd name="T41" fmla="*/ 0 h 337"/>
                <a:gd name="T42" fmla="*/ 0 w 262"/>
                <a:gd name="T43" fmla="*/ 0 h 337"/>
                <a:gd name="T44" fmla="*/ 0 w 262"/>
                <a:gd name="T45" fmla="*/ 0 h 337"/>
                <a:gd name="T46" fmla="*/ 0 w 262"/>
                <a:gd name="T47" fmla="*/ 0 h 337"/>
                <a:gd name="T48" fmla="*/ 0 w 262"/>
                <a:gd name="T49" fmla="*/ 0 h 337"/>
                <a:gd name="T50" fmla="*/ 0 w 262"/>
                <a:gd name="T51" fmla="*/ 0 h 337"/>
                <a:gd name="T52" fmla="*/ 0 w 262"/>
                <a:gd name="T53" fmla="*/ 0 h 337"/>
                <a:gd name="T54" fmla="*/ 0 w 262"/>
                <a:gd name="T55" fmla="*/ 0 h 337"/>
                <a:gd name="T56" fmla="*/ 0 w 262"/>
                <a:gd name="T57" fmla="*/ 0 h 337"/>
                <a:gd name="T58" fmla="*/ 0 w 262"/>
                <a:gd name="T59" fmla="*/ 0 h 337"/>
                <a:gd name="T60" fmla="*/ 0 w 262"/>
                <a:gd name="T61" fmla="*/ 0 h 337"/>
                <a:gd name="T62" fmla="*/ 0 w 262"/>
                <a:gd name="T63" fmla="*/ 0 h 337"/>
                <a:gd name="T64" fmla="*/ 0 w 262"/>
                <a:gd name="T65" fmla="*/ 0 h 337"/>
                <a:gd name="T66" fmla="*/ 0 w 262"/>
                <a:gd name="T67" fmla="*/ 0 h 337"/>
                <a:gd name="T68" fmla="*/ 0 w 262"/>
                <a:gd name="T69" fmla="*/ 0 h 337"/>
                <a:gd name="T70" fmla="*/ 0 w 262"/>
                <a:gd name="T71" fmla="*/ 0 h 337"/>
                <a:gd name="T72" fmla="*/ 0 w 262"/>
                <a:gd name="T73" fmla="*/ 0 h 337"/>
                <a:gd name="T74" fmla="*/ 0 w 262"/>
                <a:gd name="T75" fmla="*/ 0 h 337"/>
                <a:gd name="T76" fmla="*/ 0 w 262"/>
                <a:gd name="T77" fmla="*/ 0 h 337"/>
                <a:gd name="T78" fmla="*/ 0 w 262"/>
                <a:gd name="T79" fmla="*/ 0 h 337"/>
                <a:gd name="T80" fmla="*/ 0 w 262"/>
                <a:gd name="T81" fmla="*/ 0 h 337"/>
                <a:gd name="T82" fmla="*/ 0 w 262"/>
                <a:gd name="T83" fmla="*/ 0 h 337"/>
                <a:gd name="T84" fmla="*/ 0 w 262"/>
                <a:gd name="T85" fmla="*/ 0 h 337"/>
                <a:gd name="T86" fmla="*/ 0 w 262"/>
                <a:gd name="T87" fmla="*/ 0 h 337"/>
                <a:gd name="T88" fmla="*/ 0 w 262"/>
                <a:gd name="T89" fmla="*/ 0 h 337"/>
                <a:gd name="T90" fmla="*/ 0 w 262"/>
                <a:gd name="T91" fmla="*/ 0 h 337"/>
                <a:gd name="T92" fmla="*/ 0 w 262"/>
                <a:gd name="T93" fmla="*/ 0 h 337"/>
                <a:gd name="T94" fmla="*/ 0 w 262"/>
                <a:gd name="T95" fmla="*/ 0 h 337"/>
                <a:gd name="T96" fmla="*/ 0 w 262"/>
                <a:gd name="T97" fmla="*/ 0 h 337"/>
                <a:gd name="T98" fmla="*/ 0 w 262"/>
                <a:gd name="T99" fmla="*/ 0 h 337"/>
                <a:gd name="T100" fmla="*/ 0 w 262"/>
                <a:gd name="T101" fmla="*/ 0 h 337"/>
                <a:gd name="T102" fmla="*/ 0 w 262"/>
                <a:gd name="T103" fmla="*/ 0 h 337"/>
                <a:gd name="T104" fmla="*/ 0 w 262"/>
                <a:gd name="T105" fmla="*/ 0 h 337"/>
                <a:gd name="T106" fmla="*/ 0 w 262"/>
                <a:gd name="T107" fmla="*/ 0 h 337"/>
                <a:gd name="T108" fmla="*/ 0 w 262"/>
                <a:gd name="T109" fmla="*/ 0 h 337"/>
                <a:gd name="T110" fmla="*/ 0 w 262"/>
                <a:gd name="T111" fmla="*/ 0 h 337"/>
                <a:gd name="T112" fmla="*/ 0 w 262"/>
                <a:gd name="T113" fmla="*/ 0 h 337"/>
                <a:gd name="T114" fmla="*/ 0 w 262"/>
                <a:gd name="T115" fmla="*/ 0 h 337"/>
                <a:gd name="T116" fmla="*/ 0 w 262"/>
                <a:gd name="T117" fmla="*/ 0 h 337"/>
                <a:gd name="T118" fmla="*/ 0 w 262"/>
                <a:gd name="T119" fmla="*/ 2147483647 h 33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62"/>
                <a:gd name="T181" fmla="*/ 0 h 337"/>
                <a:gd name="T182" fmla="*/ 262 w 262"/>
                <a:gd name="T183" fmla="*/ 337 h 337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62" h="337">
                  <a:moveTo>
                    <a:pt x="243" y="335"/>
                  </a:moveTo>
                  <a:lnTo>
                    <a:pt x="241" y="337"/>
                  </a:lnTo>
                  <a:lnTo>
                    <a:pt x="233" y="319"/>
                  </a:lnTo>
                  <a:lnTo>
                    <a:pt x="226" y="291"/>
                  </a:lnTo>
                  <a:lnTo>
                    <a:pt x="225" y="276"/>
                  </a:lnTo>
                  <a:lnTo>
                    <a:pt x="221" y="257"/>
                  </a:lnTo>
                  <a:lnTo>
                    <a:pt x="204" y="230"/>
                  </a:lnTo>
                  <a:lnTo>
                    <a:pt x="198" y="225"/>
                  </a:lnTo>
                  <a:lnTo>
                    <a:pt x="187" y="229"/>
                  </a:lnTo>
                  <a:lnTo>
                    <a:pt x="174" y="230"/>
                  </a:lnTo>
                  <a:lnTo>
                    <a:pt x="166" y="225"/>
                  </a:lnTo>
                  <a:lnTo>
                    <a:pt x="161" y="215"/>
                  </a:lnTo>
                  <a:lnTo>
                    <a:pt x="157" y="218"/>
                  </a:lnTo>
                  <a:lnTo>
                    <a:pt x="153" y="227"/>
                  </a:lnTo>
                  <a:lnTo>
                    <a:pt x="146" y="234"/>
                  </a:lnTo>
                  <a:lnTo>
                    <a:pt x="149" y="246"/>
                  </a:lnTo>
                  <a:lnTo>
                    <a:pt x="149" y="257"/>
                  </a:lnTo>
                  <a:lnTo>
                    <a:pt x="129" y="283"/>
                  </a:lnTo>
                  <a:lnTo>
                    <a:pt x="125" y="280"/>
                  </a:lnTo>
                  <a:lnTo>
                    <a:pt x="115" y="267"/>
                  </a:lnTo>
                  <a:lnTo>
                    <a:pt x="110" y="274"/>
                  </a:lnTo>
                  <a:lnTo>
                    <a:pt x="108" y="279"/>
                  </a:lnTo>
                  <a:lnTo>
                    <a:pt x="99" y="288"/>
                  </a:lnTo>
                  <a:lnTo>
                    <a:pt x="96" y="280"/>
                  </a:lnTo>
                  <a:lnTo>
                    <a:pt x="91" y="285"/>
                  </a:lnTo>
                  <a:lnTo>
                    <a:pt x="80" y="284"/>
                  </a:lnTo>
                  <a:lnTo>
                    <a:pt x="79" y="289"/>
                  </a:lnTo>
                  <a:lnTo>
                    <a:pt x="75" y="286"/>
                  </a:lnTo>
                  <a:lnTo>
                    <a:pt x="71" y="288"/>
                  </a:lnTo>
                  <a:lnTo>
                    <a:pt x="69" y="291"/>
                  </a:lnTo>
                  <a:lnTo>
                    <a:pt x="65" y="294"/>
                  </a:lnTo>
                  <a:lnTo>
                    <a:pt x="58" y="292"/>
                  </a:lnTo>
                  <a:lnTo>
                    <a:pt x="51" y="279"/>
                  </a:lnTo>
                  <a:lnTo>
                    <a:pt x="53" y="273"/>
                  </a:lnTo>
                  <a:lnTo>
                    <a:pt x="51" y="269"/>
                  </a:lnTo>
                  <a:lnTo>
                    <a:pt x="49" y="258"/>
                  </a:lnTo>
                  <a:lnTo>
                    <a:pt x="50" y="251"/>
                  </a:lnTo>
                  <a:lnTo>
                    <a:pt x="48" y="241"/>
                  </a:lnTo>
                  <a:lnTo>
                    <a:pt x="43" y="236"/>
                  </a:lnTo>
                  <a:lnTo>
                    <a:pt x="40" y="227"/>
                  </a:lnTo>
                  <a:lnTo>
                    <a:pt x="40" y="218"/>
                  </a:lnTo>
                  <a:lnTo>
                    <a:pt x="42" y="215"/>
                  </a:lnTo>
                  <a:lnTo>
                    <a:pt x="43" y="199"/>
                  </a:lnTo>
                  <a:lnTo>
                    <a:pt x="42" y="195"/>
                  </a:lnTo>
                  <a:lnTo>
                    <a:pt x="38" y="194"/>
                  </a:lnTo>
                  <a:lnTo>
                    <a:pt x="38" y="179"/>
                  </a:lnTo>
                  <a:lnTo>
                    <a:pt x="32" y="173"/>
                  </a:lnTo>
                  <a:lnTo>
                    <a:pt x="32" y="165"/>
                  </a:lnTo>
                  <a:lnTo>
                    <a:pt x="34" y="154"/>
                  </a:lnTo>
                  <a:lnTo>
                    <a:pt x="36" y="133"/>
                  </a:lnTo>
                  <a:lnTo>
                    <a:pt x="27" y="123"/>
                  </a:lnTo>
                  <a:lnTo>
                    <a:pt x="21" y="118"/>
                  </a:lnTo>
                  <a:lnTo>
                    <a:pt x="10" y="113"/>
                  </a:lnTo>
                  <a:lnTo>
                    <a:pt x="1" y="109"/>
                  </a:lnTo>
                  <a:lnTo>
                    <a:pt x="0" y="103"/>
                  </a:lnTo>
                  <a:lnTo>
                    <a:pt x="1" y="98"/>
                  </a:lnTo>
                  <a:lnTo>
                    <a:pt x="6" y="90"/>
                  </a:lnTo>
                  <a:lnTo>
                    <a:pt x="13" y="89"/>
                  </a:lnTo>
                  <a:lnTo>
                    <a:pt x="20" y="85"/>
                  </a:lnTo>
                  <a:lnTo>
                    <a:pt x="22" y="78"/>
                  </a:lnTo>
                  <a:lnTo>
                    <a:pt x="42" y="76"/>
                  </a:lnTo>
                  <a:lnTo>
                    <a:pt x="42" y="68"/>
                  </a:lnTo>
                  <a:lnTo>
                    <a:pt x="38" y="64"/>
                  </a:lnTo>
                  <a:lnTo>
                    <a:pt x="39" y="60"/>
                  </a:lnTo>
                  <a:lnTo>
                    <a:pt x="24" y="62"/>
                  </a:lnTo>
                  <a:lnTo>
                    <a:pt x="17" y="57"/>
                  </a:lnTo>
                  <a:lnTo>
                    <a:pt x="15" y="43"/>
                  </a:lnTo>
                  <a:lnTo>
                    <a:pt x="11" y="39"/>
                  </a:lnTo>
                  <a:lnTo>
                    <a:pt x="26" y="15"/>
                  </a:lnTo>
                  <a:lnTo>
                    <a:pt x="28" y="3"/>
                  </a:lnTo>
                  <a:lnTo>
                    <a:pt x="32" y="0"/>
                  </a:lnTo>
                  <a:lnTo>
                    <a:pt x="42" y="17"/>
                  </a:lnTo>
                  <a:lnTo>
                    <a:pt x="48" y="25"/>
                  </a:lnTo>
                  <a:lnTo>
                    <a:pt x="49" y="17"/>
                  </a:lnTo>
                  <a:lnTo>
                    <a:pt x="53" y="5"/>
                  </a:lnTo>
                  <a:lnTo>
                    <a:pt x="59" y="8"/>
                  </a:lnTo>
                  <a:lnTo>
                    <a:pt x="61" y="22"/>
                  </a:lnTo>
                  <a:lnTo>
                    <a:pt x="69" y="31"/>
                  </a:lnTo>
                  <a:lnTo>
                    <a:pt x="74" y="27"/>
                  </a:lnTo>
                  <a:lnTo>
                    <a:pt x="82" y="33"/>
                  </a:lnTo>
                  <a:lnTo>
                    <a:pt x="91" y="19"/>
                  </a:lnTo>
                  <a:lnTo>
                    <a:pt x="93" y="23"/>
                  </a:lnTo>
                  <a:lnTo>
                    <a:pt x="96" y="43"/>
                  </a:lnTo>
                  <a:lnTo>
                    <a:pt x="101" y="62"/>
                  </a:lnTo>
                  <a:lnTo>
                    <a:pt x="107" y="70"/>
                  </a:lnTo>
                  <a:lnTo>
                    <a:pt x="118" y="75"/>
                  </a:lnTo>
                  <a:lnTo>
                    <a:pt x="162" y="79"/>
                  </a:lnTo>
                  <a:lnTo>
                    <a:pt x="166" y="76"/>
                  </a:lnTo>
                  <a:lnTo>
                    <a:pt x="180" y="74"/>
                  </a:lnTo>
                  <a:lnTo>
                    <a:pt x="203" y="76"/>
                  </a:lnTo>
                  <a:lnTo>
                    <a:pt x="227" y="80"/>
                  </a:lnTo>
                  <a:lnTo>
                    <a:pt x="242" y="86"/>
                  </a:lnTo>
                  <a:lnTo>
                    <a:pt x="239" y="91"/>
                  </a:lnTo>
                  <a:lnTo>
                    <a:pt x="231" y="96"/>
                  </a:lnTo>
                  <a:lnTo>
                    <a:pt x="226" y="109"/>
                  </a:lnTo>
                  <a:lnTo>
                    <a:pt x="214" y="124"/>
                  </a:lnTo>
                  <a:lnTo>
                    <a:pt x="203" y="134"/>
                  </a:lnTo>
                  <a:lnTo>
                    <a:pt x="192" y="140"/>
                  </a:lnTo>
                  <a:lnTo>
                    <a:pt x="178" y="149"/>
                  </a:lnTo>
                  <a:lnTo>
                    <a:pt x="176" y="157"/>
                  </a:lnTo>
                  <a:lnTo>
                    <a:pt x="177" y="173"/>
                  </a:lnTo>
                  <a:lnTo>
                    <a:pt x="184" y="193"/>
                  </a:lnTo>
                  <a:lnTo>
                    <a:pt x="194" y="194"/>
                  </a:lnTo>
                  <a:lnTo>
                    <a:pt x="199" y="204"/>
                  </a:lnTo>
                  <a:lnTo>
                    <a:pt x="206" y="210"/>
                  </a:lnTo>
                  <a:lnTo>
                    <a:pt x="211" y="202"/>
                  </a:lnTo>
                  <a:lnTo>
                    <a:pt x="217" y="181"/>
                  </a:lnTo>
                  <a:lnTo>
                    <a:pt x="228" y="166"/>
                  </a:lnTo>
                  <a:lnTo>
                    <a:pt x="233" y="167"/>
                  </a:lnTo>
                  <a:lnTo>
                    <a:pt x="241" y="181"/>
                  </a:lnTo>
                  <a:lnTo>
                    <a:pt x="246" y="198"/>
                  </a:lnTo>
                  <a:lnTo>
                    <a:pt x="249" y="206"/>
                  </a:lnTo>
                  <a:lnTo>
                    <a:pt x="252" y="215"/>
                  </a:lnTo>
                  <a:lnTo>
                    <a:pt x="258" y="243"/>
                  </a:lnTo>
                  <a:lnTo>
                    <a:pt x="262" y="276"/>
                  </a:lnTo>
                  <a:lnTo>
                    <a:pt x="260" y="279"/>
                  </a:lnTo>
                  <a:lnTo>
                    <a:pt x="262" y="308"/>
                  </a:lnTo>
                  <a:lnTo>
                    <a:pt x="250" y="305"/>
                  </a:lnTo>
                  <a:lnTo>
                    <a:pt x="244" y="310"/>
                  </a:lnTo>
                  <a:lnTo>
                    <a:pt x="243" y="318"/>
                  </a:lnTo>
                  <a:lnTo>
                    <a:pt x="243" y="33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06" name="Freeform 104">
              <a:extLst>
                <a:ext uri="{FF2B5EF4-FFF2-40B4-BE49-F238E27FC236}">
                  <a16:creationId xmlns:a16="http://schemas.microsoft.com/office/drawing/2014/main" id="{12EDB569-2F66-0C0D-985D-ACB7797143E2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104211" y="4034628"/>
              <a:ext cx="61186" cy="121938"/>
            </a:xfrm>
            <a:custGeom>
              <a:avLst/>
              <a:gdLst>
                <a:gd name="T0" fmla="*/ 0 w 116"/>
                <a:gd name="T1" fmla="*/ 0 h 211"/>
                <a:gd name="T2" fmla="*/ 0 w 116"/>
                <a:gd name="T3" fmla="*/ 0 h 211"/>
                <a:gd name="T4" fmla="*/ 0 w 116"/>
                <a:gd name="T5" fmla="*/ 0 h 211"/>
                <a:gd name="T6" fmla="*/ 0 w 116"/>
                <a:gd name="T7" fmla="*/ 0 h 211"/>
                <a:gd name="T8" fmla="*/ 0 w 116"/>
                <a:gd name="T9" fmla="*/ 0 h 211"/>
                <a:gd name="T10" fmla="*/ 0 w 116"/>
                <a:gd name="T11" fmla="*/ 0 h 211"/>
                <a:gd name="T12" fmla="*/ 0 w 116"/>
                <a:gd name="T13" fmla="*/ 0 h 211"/>
                <a:gd name="T14" fmla="*/ 0 w 116"/>
                <a:gd name="T15" fmla="*/ 0 h 211"/>
                <a:gd name="T16" fmla="*/ 0 w 116"/>
                <a:gd name="T17" fmla="*/ 0 h 211"/>
                <a:gd name="T18" fmla="*/ 0 w 116"/>
                <a:gd name="T19" fmla="*/ 0 h 211"/>
                <a:gd name="T20" fmla="*/ 0 w 116"/>
                <a:gd name="T21" fmla="*/ 0 h 211"/>
                <a:gd name="T22" fmla="*/ 0 w 116"/>
                <a:gd name="T23" fmla="*/ 0 h 211"/>
                <a:gd name="T24" fmla="*/ 0 w 116"/>
                <a:gd name="T25" fmla="*/ 0 h 211"/>
                <a:gd name="T26" fmla="*/ 0 w 116"/>
                <a:gd name="T27" fmla="*/ 0 h 211"/>
                <a:gd name="T28" fmla="*/ 0 w 116"/>
                <a:gd name="T29" fmla="*/ 0 h 211"/>
                <a:gd name="T30" fmla="*/ 0 w 116"/>
                <a:gd name="T31" fmla="*/ 0 h 211"/>
                <a:gd name="T32" fmla="*/ 0 w 116"/>
                <a:gd name="T33" fmla="*/ 0 h 211"/>
                <a:gd name="T34" fmla="*/ 0 w 116"/>
                <a:gd name="T35" fmla="*/ 0 h 211"/>
                <a:gd name="T36" fmla="*/ 0 w 116"/>
                <a:gd name="T37" fmla="*/ 0 h 211"/>
                <a:gd name="T38" fmla="*/ 0 w 116"/>
                <a:gd name="T39" fmla="*/ 0 h 211"/>
                <a:gd name="T40" fmla="*/ 0 w 116"/>
                <a:gd name="T41" fmla="*/ 0 h 211"/>
                <a:gd name="T42" fmla="*/ 0 w 116"/>
                <a:gd name="T43" fmla="*/ 0 h 211"/>
                <a:gd name="T44" fmla="*/ 0 w 116"/>
                <a:gd name="T45" fmla="*/ 0 h 211"/>
                <a:gd name="T46" fmla="*/ 0 w 116"/>
                <a:gd name="T47" fmla="*/ 0 h 211"/>
                <a:gd name="T48" fmla="*/ 0 w 116"/>
                <a:gd name="T49" fmla="*/ 0 h 211"/>
                <a:gd name="T50" fmla="*/ 0 w 116"/>
                <a:gd name="T51" fmla="*/ 0 h 211"/>
                <a:gd name="T52" fmla="*/ 0 w 116"/>
                <a:gd name="T53" fmla="*/ 0 h 211"/>
                <a:gd name="T54" fmla="*/ 0 w 116"/>
                <a:gd name="T55" fmla="*/ 0 h 211"/>
                <a:gd name="T56" fmla="*/ 0 w 116"/>
                <a:gd name="T57" fmla="*/ 0 h 211"/>
                <a:gd name="T58" fmla="*/ 0 w 116"/>
                <a:gd name="T59" fmla="*/ 0 h 211"/>
                <a:gd name="T60" fmla="*/ 0 w 116"/>
                <a:gd name="T61" fmla="*/ 0 h 211"/>
                <a:gd name="T62" fmla="*/ 0 w 116"/>
                <a:gd name="T63" fmla="*/ 0 h 211"/>
                <a:gd name="T64" fmla="*/ 0 w 116"/>
                <a:gd name="T65" fmla="*/ 0 h 211"/>
                <a:gd name="T66" fmla="*/ 0 w 116"/>
                <a:gd name="T67" fmla="*/ 0 h 211"/>
                <a:gd name="T68" fmla="*/ 0 w 116"/>
                <a:gd name="T69" fmla="*/ 0 h 211"/>
                <a:gd name="T70" fmla="*/ 0 w 116"/>
                <a:gd name="T71" fmla="*/ 0 h 211"/>
                <a:gd name="T72" fmla="*/ 0 w 116"/>
                <a:gd name="T73" fmla="*/ 0 h 211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16"/>
                <a:gd name="T112" fmla="*/ 0 h 211"/>
                <a:gd name="T113" fmla="*/ 116 w 116"/>
                <a:gd name="T114" fmla="*/ 211 h 211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16" h="211">
                  <a:moveTo>
                    <a:pt x="18" y="0"/>
                  </a:moveTo>
                  <a:lnTo>
                    <a:pt x="13" y="4"/>
                  </a:lnTo>
                  <a:lnTo>
                    <a:pt x="19" y="9"/>
                  </a:lnTo>
                  <a:lnTo>
                    <a:pt x="28" y="12"/>
                  </a:lnTo>
                  <a:lnTo>
                    <a:pt x="33" y="19"/>
                  </a:lnTo>
                  <a:lnTo>
                    <a:pt x="28" y="19"/>
                  </a:lnTo>
                  <a:lnTo>
                    <a:pt x="22" y="25"/>
                  </a:lnTo>
                  <a:lnTo>
                    <a:pt x="19" y="38"/>
                  </a:lnTo>
                  <a:lnTo>
                    <a:pt x="13" y="47"/>
                  </a:lnTo>
                  <a:lnTo>
                    <a:pt x="7" y="95"/>
                  </a:lnTo>
                  <a:lnTo>
                    <a:pt x="2" y="91"/>
                  </a:lnTo>
                  <a:lnTo>
                    <a:pt x="0" y="95"/>
                  </a:lnTo>
                  <a:lnTo>
                    <a:pt x="0" y="111"/>
                  </a:lnTo>
                  <a:lnTo>
                    <a:pt x="7" y="166"/>
                  </a:lnTo>
                  <a:lnTo>
                    <a:pt x="11" y="182"/>
                  </a:lnTo>
                  <a:lnTo>
                    <a:pt x="19" y="198"/>
                  </a:lnTo>
                  <a:lnTo>
                    <a:pt x="29" y="209"/>
                  </a:lnTo>
                  <a:lnTo>
                    <a:pt x="45" y="211"/>
                  </a:lnTo>
                  <a:lnTo>
                    <a:pt x="59" y="211"/>
                  </a:lnTo>
                  <a:lnTo>
                    <a:pt x="86" y="197"/>
                  </a:lnTo>
                  <a:lnTo>
                    <a:pt x="100" y="187"/>
                  </a:lnTo>
                  <a:lnTo>
                    <a:pt x="113" y="170"/>
                  </a:lnTo>
                  <a:lnTo>
                    <a:pt x="115" y="145"/>
                  </a:lnTo>
                  <a:lnTo>
                    <a:pt x="116" y="125"/>
                  </a:lnTo>
                  <a:lnTo>
                    <a:pt x="115" y="117"/>
                  </a:lnTo>
                  <a:lnTo>
                    <a:pt x="108" y="114"/>
                  </a:lnTo>
                  <a:lnTo>
                    <a:pt x="98" y="87"/>
                  </a:lnTo>
                  <a:lnTo>
                    <a:pt x="92" y="75"/>
                  </a:lnTo>
                  <a:lnTo>
                    <a:pt x="86" y="69"/>
                  </a:lnTo>
                  <a:lnTo>
                    <a:pt x="83" y="62"/>
                  </a:lnTo>
                  <a:lnTo>
                    <a:pt x="80" y="55"/>
                  </a:lnTo>
                  <a:lnTo>
                    <a:pt x="67" y="44"/>
                  </a:lnTo>
                  <a:lnTo>
                    <a:pt x="64" y="33"/>
                  </a:lnTo>
                  <a:lnTo>
                    <a:pt x="45" y="12"/>
                  </a:lnTo>
                  <a:lnTo>
                    <a:pt x="35" y="4"/>
                  </a:lnTo>
                  <a:lnTo>
                    <a:pt x="27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07" name="Freeform 105">
              <a:extLst>
                <a:ext uri="{FF2B5EF4-FFF2-40B4-BE49-F238E27FC236}">
                  <a16:creationId xmlns:a16="http://schemas.microsoft.com/office/drawing/2014/main" id="{C53E242B-7D34-FBE6-26B8-9220A272C1D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286146" y="3531637"/>
              <a:ext cx="50740" cy="114317"/>
            </a:xfrm>
            <a:custGeom>
              <a:avLst/>
              <a:gdLst>
                <a:gd name="T0" fmla="*/ 2147483647 w 97"/>
                <a:gd name="T1" fmla="*/ 0 h 199"/>
                <a:gd name="T2" fmla="*/ 2147483647 w 97"/>
                <a:gd name="T3" fmla="*/ 0 h 199"/>
                <a:gd name="T4" fmla="*/ 2147483647 w 97"/>
                <a:gd name="T5" fmla="*/ 0 h 199"/>
                <a:gd name="T6" fmla="*/ 2147483647 w 97"/>
                <a:gd name="T7" fmla="*/ 0 h 199"/>
                <a:gd name="T8" fmla="*/ 2147483647 w 97"/>
                <a:gd name="T9" fmla="*/ 0 h 199"/>
                <a:gd name="T10" fmla="*/ 2147483647 w 97"/>
                <a:gd name="T11" fmla="*/ 0 h 199"/>
                <a:gd name="T12" fmla="*/ 2147483647 w 97"/>
                <a:gd name="T13" fmla="*/ 0 h 199"/>
                <a:gd name="T14" fmla="*/ 2147483647 w 97"/>
                <a:gd name="T15" fmla="*/ 0 h 199"/>
                <a:gd name="T16" fmla="*/ 2147483647 w 97"/>
                <a:gd name="T17" fmla="*/ 0 h 199"/>
                <a:gd name="T18" fmla="*/ 2147483647 w 97"/>
                <a:gd name="T19" fmla="*/ 0 h 199"/>
                <a:gd name="T20" fmla="*/ 2147483647 w 97"/>
                <a:gd name="T21" fmla="*/ 0 h 199"/>
                <a:gd name="T22" fmla="*/ 2147483647 w 97"/>
                <a:gd name="T23" fmla="*/ 0 h 199"/>
                <a:gd name="T24" fmla="*/ 2147483647 w 97"/>
                <a:gd name="T25" fmla="*/ 2147483647 h 199"/>
                <a:gd name="T26" fmla="*/ 2147483647 w 97"/>
                <a:gd name="T27" fmla="*/ 2147483647 h 199"/>
                <a:gd name="T28" fmla="*/ 2147483647 w 97"/>
                <a:gd name="T29" fmla="*/ 2147483647 h 199"/>
                <a:gd name="T30" fmla="*/ 0 w 97"/>
                <a:gd name="T31" fmla="*/ 2147483647 h 199"/>
                <a:gd name="T32" fmla="*/ 0 w 97"/>
                <a:gd name="T33" fmla="*/ 2147483647 h 199"/>
                <a:gd name="T34" fmla="*/ 0 w 97"/>
                <a:gd name="T35" fmla="*/ 2147483647 h 199"/>
                <a:gd name="T36" fmla="*/ 0 w 97"/>
                <a:gd name="T37" fmla="*/ 2147483647 h 199"/>
                <a:gd name="T38" fmla="*/ 0 w 97"/>
                <a:gd name="T39" fmla="*/ 2147483647 h 199"/>
                <a:gd name="T40" fmla="*/ 0 w 97"/>
                <a:gd name="T41" fmla="*/ 2147483647 h 199"/>
                <a:gd name="T42" fmla="*/ 0 w 97"/>
                <a:gd name="T43" fmla="*/ 2147483647 h 199"/>
                <a:gd name="T44" fmla="*/ 0 w 97"/>
                <a:gd name="T45" fmla="*/ 2147483647 h 199"/>
                <a:gd name="T46" fmla="*/ 0 w 97"/>
                <a:gd name="T47" fmla="*/ 2147483647 h 199"/>
                <a:gd name="T48" fmla="*/ 0 w 97"/>
                <a:gd name="T49" fmla="*/ 2147483647 h 199"/>
                <a:gd name="T50" fmla="*/ 0 w 97"/>
                <a:gd name="T51" fmla="*/ 2147483647 h 199"/>
                <a:gd name="T52" fmla="*/ 0 w 97"/>
                <a:gd name="T53" fmla="*/ 2147483647 h 199"/>
                <a:gd name="T54" fmla="*/ 0 w 97"/>
                <a:gd name="T55" fmla="*/ 2147483647 h 199"/>
                <a:gd name="T56" fmla="*/ 0 w 97"/>
                <a:gd name="T57" fmla="*/ 0 h 199"/>
                <a:gd name="T58" fmla="*/ 2147483647 w 97"/>
                <a:gd name="T59" fmla="*/ 0 h 199"/>
                <a:gd name="T60" fmla="*/ 2147483647 w 97"/>
                <a:gd name="T61" fmla="*/ 0 h 199"/>
                <a:gd name="T62" fmla="*/ 2147483647 w 97"/>
                <a:gd name="T63" fmla="*/ 0 h 1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7"/>
                <a:gd name="T97" fmla="*/ 0 h 199"/>
                <a:gd name="T98" fmla="*/ 97 w 97"/>
                <a:gd name="T99" fmla="*/ 199 h 199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7" h="199">
                  <a:moveTo>
                    <a:pt x="75" y="0"/>
                  </a:moveTo>
                  <a:lnTo>
                    <a:pt x="82" y="4"/>
                  </a:lnTo>
                  <a:lnTo>
                    <a:pt x="87" y="9"/>
                  </a:lnTo>
                  <a:lnTo>
                    <a:pt x="92" y="9"/>
                  </a:lnTo>
                  <a:lnTo>
                    <a:pt x="94" y="10"/>
                  </a:lnTo>
                  <a:lnTo>
                    <a:pt x="97" y="15"/>
                  </a:lnTo>
                  <a:lnTo>
                    <a:pt x="97" y="18"/>
                  </a:lnTo>
                  <a:lnTo>
                    <a:pt x="93" y="26"/>
                  </a:lnTo>
                  <a:lnTo>
                    <a:pt x="93" y="32"/>
                  </a:lnTo>
                  <a:lnTo>
                    <a:pt x="94" y="41"/>
                  </a:lnTo>
                  <a:lnTo>
                    <a:pt x="92" y="50"/>
                  </a:lnTo>
                  <a:lnTo>
                    <a:pt x="83" y="69"/>
                  </a:lnTo>
                  <a:lnTo>
                    <a:pt x="79" y="95"/>
                  </a:lnTo>
                  <a:lnTo>
                    <a:pt x="76" y="114"/>
                  </a:lnTo>
                  <a:lnTo>
                    <a:pt x="68" y="131"/>
                  </a:lnTo>
                  <a:lnTo>
                    <a:pt x="57" y="150"/>
                  </a:lnTo>
                  <a:lnTo>
                    <a:pt x="51" y="159"/>
                  </a:lnTo>
                  <a:lnTo>
                    <a:pt x="48" y="168"/>
                  </a:lnTo>
                  <a:lnTo>
                    <a:pt x="40" y="199"/>
                  </a:lnTo>
                  <a:lnTo>
                    <a:pt x="36" y="195"/>
                  </a:lnTo>
                  <a:lnTo>
                    <a:pt x="33" y="182"/>
                  </a:lnTo>
                  <a:lnTo>
                    <a:pt x="25" y="170"/>
                  </a:lnTo>
                  <a:lnTo>
                    <a:pt x="16" y="163"/>
                  </a:lnTo>
                  <a:lnTo>
                    <a:pt x="6" y="147"/>
                  </a:lnTo>
                  <a:lnTo>
                    <a:pt x="1" y="122"/>
                  </a:lnTo>
                  <a:lnTo>
                    <a:pt x="0" y="102"/>
                  </a:lnTo>
                  <a:lnTo>
                    <a:pt x="2" y="92"/>
                  </a:lnTo>
                  <a:lnTo>
                    <a:pt x="9" y="76"/>
                  </a:lnTo>
                  <a:lnTo>
                    <a:pt x="48" y="17"/>
                  </a:lnTo>
                  <a:lnTo>
                    <a:pt x="65" y="7"/>
                  </a:lnTo>
                  <a:lnTo>
                    <a:pt x="68" y="3"/>
                  </a:lnTo>
                  <a:lnTo>
                    <a:pt x="75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08" name="Freeform 107">
              <a:extLst>
                <a:ext uri="{FF2B5EF4-FFF2-40B4-BE49-F238E27FC236}">
                  <a16:creationId xmlns:a16="http://schemas.microsoft.com/office/drawing/2014/main" id="{A7AC7A8C-89A4-C1D1-3F01-84D6C615C97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865174" y="2755809"/>
              <a:ext cx="176096" cy="173761"/>
            </a:xfrm>
            <a:custGeom>
              <a:avLst/>
              <a:gdLst>
                <a:gd name="T0" fmla="*/ 0 w 330"/>
                <a:gd name="T1" fmla="*/ 0 h 307"/>
                <a:gd name="T2" fmla="*/ 0 w 330"/>
                <a:gd name="T3" fmla="*/ 0 h 307"/>
                <a:gd name="T4" fmla="*/ 0 w 330"/>
                <a:gd name="T5" fmla="*/ 0 h 307"/>
                <a:gd name="T6" fmla="*/ 0 w 330"/>
                <a:gd name="T7" fmla="*/ 0 h 307"/>
                <a:gd name="T8" fmla="*/ 2147483647 w 330"/>
                <a:gd name="T9" fmla="*/ 0 h 307"/>
                <a:gd name="T10" fmla="*/ 0 w 330"/>
                <a:gd name="T11" fmla="*/ 0 h 307"/>
                <a:gd name="T12" fmla="*/ 0 w 330"/>
                <a:gd name="T13" fmla="*/ 0 h 307"/>
                <a:gd name="T14" fmla="*/ 0 w 330"/>
                <a:gd name="T15" fmla="*/ 0 h 307"/>
                <a:gd name="T16" fmla="*/ 0 w 330"/>
                <a:gd name="T17" fmla="*/ 0 h 307"/>
                <a:gd name="T18" fmla="*/ 0 w 330"/>
                <a:gd name="T19" fmla="*/ 0 h 307"/>
                <a:gd name="T20" fmla="*/ 0 w 330"/>
                <a:gd name="T21" fmla="*/ 0 h 307"/>
                <a:gd name="T22" fmla="*/ 0 w 330"/>
                <a:gd name="T23" fmla="*/ 0 h 307"/>
                <a:gd name="T24" fmla="*/ 0 w 330"/>
                <a:gd name="T25" fmla="*/ 0 h 307"/>
                <a:gd name="T26" fmla="*/ 0 w 330"/>
                <a:gd name="T27" fmla="*/ 0 h 307"/>
                <a:gd name="T28" fmla="*/ 0 w 330"/>
                <a:gd name="T29" fmla="*/ 0 h 307"/>
                <a:gd name="T30" fmla="*/ 0 w 330"/>
                <a:gd name="T31" fmla="*/ 0 h 307"/>
                <a:gd name="T32" fmla="*/ 0 w 330"/>
                <a:gd name="T33" fmla="*/ 0 h 307"/>
                <a:gd name="T34" fmla="*/ 0 w 330"/>
                <a:gd name="T35" fmla="*/ 0 h 307"/>
                <a:gd name="T36" fmla="*/ 0 w 330"/>
                <a:gd name="T37" fmla="*/ 0 h 307"/>
                <a:gd name="T38" fmla="*/ 0 w 330"/>
                <a:gd name="T39" fmla="*/ 0 h 307"/>
                <a:gd name="T40" fmla="*/ 0 w 330"/>
                <a:gd name="T41" fmla="*/ 0 h 307"/>
                <a:gd name="T42" fmla="*/ 0 w 330"/>
                <a:gd name="T43" fmla="*/ 0 h 307"/>
                <a:gd name="T44" fmla="*/ 0 w 330"/>
                <a:gd name="T45" fmla="*/ 0 h 307"/>
                <a:gd name="T46" fmla="*/ 0 w 330"/>
                <a:gd name="T47" fmla="*/ 0 h 307"/>
                <a:gd name="T48" fmla="*/ 0 w 330"/>
                <a:gd name="T49" fmla="*/ 0 h 307"/>
                <a:gd name="T50" fmla="*/ 0 w 330"/>
                <a:gd name="T51" fmla="*/ 0 h 307"/>
                <a:gd name="T52" fmla="*/ 0 w 330"/>
                <a:gd name="T53" fmla="*/ 0 h 307"/>
                <a:gd name="T54" fmla="*/ 0 w 330"/>
                <a:gd name="T55" fmla="*/ 0 h 307"/>
                <a:gd name="T56" fmla="*/ 0 w 330"/>
                <a:gd name="T57" fmla="*/ 0 h 307"/>
                <a:gd name="T58" fmla="*/ 0 w 330"/>
                <a:gd name="T59" fmla="*/ 0 h 307"/>
                <a:gd name="T60" fmla="*/ 0 w 330"/>
                <a:gd name="T61" fmla="*/ 0 h 307"/>
                <a:gd name="T62" fmla="*/ 0 w 330"/>
                <a:gd name="T63" fmla="*/ 0 h 307"/>
                <a:gd name="T64" fmla="*/ 0 w 330"/>
                <a:gd name="T65" fmla="*/ 0 h 307"/>
                <a:gd name="T66" fmla="*/ 0 w 330"/>
                <a:gd name="T67" fmla="*/ 0 h 307"/>
                <a:gd name="T68" fmla="*/ 0 w 330"/>
                <a:gd name="T69" fmla="*/ 0 h 307"/>
                <a:gd name="T70" fmla="*/ 0 w 330"/>
                <a:gd name="T71" fmla="*/ 0 h 307"/>
                <a:gd name="T72" fmla="*/ 0 w 330"/>
                <a:gd name="T73" fmla="*/ 0 h 307"/>
                <a:gd name="T74" fmla="*/ 0 w 330"/>
                <a:gd name="T75" fmla="*/ 0 h 307"/>
                <a:gd name="T76" fmla="*/ 0 w 330"/>
                <a:gd name="T77" fmla="*/ 0 h 30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30"/>
                <a:gd name="T118" fmla="*/ 0 h 307"/>
                <a:gd name="T119" fmla="*/ 330 w 330"/>
                <a:gd name="T120" fmla="*/ 307 h 307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30" h="307">
                  <a:moveTo>
                    <a:pt x="285" y="108"/>
                  </a:moveTo>
                  <a:lnTo>
                    <a:pt x="301" y="94"/>
                  </a:lnTo>
                  <a:lnTo>
                    <a:pt x="305" y="97"/>
                  </a:lnTo>
                  <a:lnTo>
                    <a:pt x="299" y="113"/>
                  </a:lnTo>
                  <a:lnTo>
                    <a:pt x="291" y="129"/>
                  </a:lnTo>
                  <a:lnTo>
                    <a:pt x="294" y="141"/>
                  </a:lnTo>
                  <a:lnTo>
                    <a:pt x="304" y="148"/>
                  </a:lnTo>
                  <a:lnTo>
                    <a:pt x="304" y="164"/>
                  </a:lnTo>
                  <a:lnTo>
                    <a:pt x="315" y="164"/>
                  </a:lnTo>
                  <a:lnTo>
                    <a:pt x="330" y="159"/>
                  </a:lnTo>
                  <a:lnTo>
                    <a:pt x="325" y="170"/>
                  </a:lnTo>
                  <a:lnTo>
                    <a:pt x="308" y="177"/>
                  </a:lnTo>
                  <a:lnTo>
                    <a:pt x="293" y="188"/>
                  </a:lnTo>
                  <a:lnTo>
                    <a:pt x="283" y="191"/>
                  </a:lnTo>
                  <a:lnTo>
                    <a:pt x="277" y="187"/>
                  </a:lnTo>
                  <a:lnTo>
                    <a:pt x="271" y="195"/>
                  </a:lnTo>
                  <a:lnTo>
                    <a:pt x="254" y="193"/>
                  </a:lnTo>
                  <a:lnTo>
                    <a:pt x="238" y="195"/>
                  </a:lnTo>
                  <a:lnTo>
                    <a:pt x="223" y="204"/>
                  </a:lnTo>
                  <a:lnTo>
                    <a:pt x="208" y="223"/>
                  </a:lnTo>
                  <a:lnTo>
                    <a:pt x="199" y="241"/>
                  </a:lnTo>
                  <a:lnTo>
                    <a:pt x="195" y="259"/>
                  </a:lnTo>
                  <a:lnTo>
                    <a:pt x="189" y="268"/>
                  </a:lnTo>
                  <a:lnTo>
                    <a:pt x="162" y="248"/>
                  </a:lnTo>
                  <a:lnTo>
                    <a:pt x="142" y="241"/>
                  </a:lnTo>
                  <a:lnTo>
                    <a:pt x="114" y="224"/>
                  </a:lnTo>
                  <a:lnTo>
                    <a:pt x="97" y="221"/>
                  </a:lnTo>
                  <a:lnTo>
                    <a:pt x="84" y="227"/>
                  </a:lnTo>
                  <a:lnTo>
                    <a:pt x="74" y="236"/>
                  </a:lnTo>
                  <a:lnTo>
                    <a:pt x="63" y="235"/>
                  </a:lnTo>
                  <a:lnTo>
                    <a:pt x="52" y="225"/>
                  </a:lnTo>
                  <a:lnTo>
                    <a:pt x="36" y="226"/>
                  </a:lnTo>
                  <a:lnTo>
                    <a:pt x="28" y="240"/>
                  </a:lnTo>
                  <a:lnTo>
                    <a:pt x="34" y="251"/>
                  </a:lnTo>
                  <a:lnTo>
                    <a:pt x="57" y="262"/>
                  </a:lnTo>
                  <a:lnTo>
                    <a:pt x="74" y="277"/>
                  </a:lnTo>
                  <a:lnTo>
                    <a:pt x="71" y="284"/>
                  </a:lnTo>
                  <a:lnTo>
                    <a:pt x="59" y="283"/>
                  </a:lnTo>
                  <a:lnTo>
                    <a:pt x="50" y="283"/>
                  </a:lnTo>
                  <a:lnTo>
                    <a:pt x="40" y="289"/>
                  </a:lnTo>
                  <a:lnTo>
                    <a:pt x="35" y="297"/>
                  </a:lnTo>
                  <a:lnTo>
                    <a:pt x="22" y="307"/>
                  </a:lnTo>
                  <a:lnTo>
                    <a:pt x="14" y="305"/>
                  </a:lnTo>
                  <a:lnTo>
                    <a:pt x="11" y="295"/>
                  </a:lnTo>
                  <a:lnTo>
                    <a:pt x="18" y="264"/>
                  </a:lnTo>
                  <a:lnTo>
                    <a:pt x="0" y="247"/>
                  </a:lnTo>
                  <a:lnTo>
                    <a:pt x="2" y="224"/>
                  </a:lnTo>
                  <a:lnTo>
                    <a:pt x="11" y="214"/>
                  </a:lnTo>
                  <a:lnTo>
                    <a:pt x="24" y="207"/>
                  </a:lnTo>
                  <a:lnTo>
                    <a:pt x="34" y="195"/>
                  </a:lnTo>
                  <a:lnTo>
                    <a:pt x="38" y="184"/>
                  </a:lnTo>
                  <a:lnTo>
                    <a:pt x="31" y="176"/>
                  </a:lnTo>
                  <a:lnTo>
                    <a:pt x="34" y="167"/>
                  </a:lnTo>
                  <a:lnTo>
                    <a:pt x="47" y="171"/>
                  </a:lnTo>
                  <a:lnTo>
                    <a:pt x="60" y="175"/>
                  </a:lnTo>
                  <a:lnTo>
                    <a:pt x="81" y="175"/>
                  </a:lnTo>
                  <a:lnTo>
                    <a:pt x="88" y="160"/>
                  </a:lnTo>
                  <a:lnTo>
                    <a:pt x="87" y="146"/>
                  </a:lnTo>
                  <a:lnTo>
                    <a:pt x="87" y="135"/>
                  </a:lnTo>
                  <a:lnTo>
                    <a:pt x="94" y="127"/>
                  </a:lnTo>
                  <a:lnTo>
                    <a:pt x="100" y="110"/>
                  </a:lnTo>
                  <a:lnTo>
                    <a:pt x="102" y="90"/>
                  </a:lnTo>
                  <a:lnTo>
                    <a:pt x="109" y="58"/>
                  </a:lnTo>
                  <a:lnTo>
                    <a:pt x="99" y="25"/>
                  </a:lnTo>
                  <a:lnTo>
                    <a:pt x="99" y="15"/>
                  </a:lnTo>
                  <a:lnTo>
                    <a:pt x="110" y="3"/>
                  </a:lnTo>
                  <a:lnTo>
                    <a:pt x="115" y="0"/>
                  </a:lnTo>
                  <a:lnTo>
                    <a:pt x="122" y="8"/>
                  </a:lnTo>
                  <a:lnTo>
                    <a:pt x="126" y="15"/>
                  </a:lnTo>
                  <a:lnTo>
                    <a:pt x="135" y="22"/>
                  </a:lnTo>
                  <a:lnTo>
                    <a:pt x="158" y="54"/>
                  </a:lnTo>
                  <a:lnTo>
                    <a:pt x="179" y="75"/>
                  </a:lnTo>
                  <a:lnTo>
                    <a:pt x="199" y="92"/>
                  </a:lnTo>
                  <a:lnTo>
                    <a:pt x="222" y="103"/>
                  </a:lnTo>
                  <a:lnTo>
                    <a:pt x="244" y="108"/>
                  </a:lnTo>
                  <a:lnTo>
                    <a:pt x="250" y="116"/>
                  </a:lnTo>
                  <a:lnTo>
                    <a:pt x="261" y="121"/>
                  </a:lnTo>
                  <a:lnTo>
                    <a:pt x="272" y="118"/>
                  </a:lnTo>
                  <a:lnTo>
                    <a:pt x="285" y="10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09" name="Freeform 108">
              <a:extLst>
                <a:ext uri="{FF2B5EF4-FFF2-40B4-BE49-F238E27FC236}">
                  <a16:creationId xmlns:a16="http://schemas.microsoft.com/office/drawing/2014/main" id="{0AF5CAF0-B631-168D-42FC-E2E0340630F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602522" y="2926522"/>
              <a:ext cx="328315" cy="312464"/>
            </a:xfrm>
            <a:custGeom>
              <a:avLst/>
              <a:gdLst>
                <a:gd name="T0" fmla="*/ 2147483647 w 613"/>
                <a:gd name="T1" fmla="*/ 0 h 552"/>
                <a:gd name="T2" fmla="*/ 2147483647 w 613"/>
                <a:gd name="T3" fmla="*/ 0 h 552"/>
                <a:gd name="T4" fmla="*/ 2147483647 w 613"/>
                <a:gd name="T5" fmla="*/ 0 h 552"/>
                <a:gd name="T6" fmla="*/ 2147483647 w 613"/>
                <a:gd name="T7" fmla="*/ 0 h 552"/>
                <a:gd name="T8" fmla="*/ 2147483647 w 613"/>
                <a:gd name="T9" fmla="*/ 0 h 552"/>
                <a:gd name="T10" fmla="*/ 2147483647 w 613"/>
                <a:gd name="T11" fmla="*/ 0 h 552"/>
                <a:gd name="T12" fmla="*/ 2147483647 w 613"/>
                <a:gd name="T13" fmla="*/ 0 h 552"/>
                <a:gd name="T14" fmla="*/ 2147483647 w 613"/>
                <a:gd name="T15" fmla="*/ 2147483647 h 552"/>
                <a:gd name="T16" fmla="*/ 2147483647 w 613"/>
                <a:gd name="T17" fmla="*/ 2147483647 h 552"/>
                <a:gd name="T18" fmla="*/ 2147483647 w 613"/>
                <a:gd name="T19" fmla="*/ 2147483647 h 552"/>
                <a:gd name="T20" fmla="*/ 2147483647 w 613"/>
                <a:gd name="T21" fmla="*/ 2147483647 h 552"/>
                <a:gd name="T22" fmla="*/ 2147483647 w 613"/>
                <a:gd name="T23" fmla="*/ 2147483647 h 552"/>
                <a:gd name="T24" fmla="*/ 2147483647 w 613"/>
                <a:gd name="T25" fmla="*/ 2147483647 h 552"/>
                <a:gd name="T26" fmla="*/ 2147483647 w 613"/>
                <a:gd name="T27" fmla="*/ 2147483647 h 552"/>
                <a:gd name="T28" fmla="*/ 2147483647 w 613"/>
                <a:gd name="T29" fmla="*/ 2147483647 h 552"/>
                <a:gd name="T30" fmla="*/ 2147483647 w 613"/>
                <a:gd name="T31" fmla="*/ 2147483647 h 552"/>
                <a:gd name="T32" fmla="*/ 2147483647 w 613"/>
                <a:gd name="T33" fmla="*/ 2147483647 h 552"/>
                <a:gd name="T34" fmla="*/ 2147483647 w 613"/>
                <a:gd name="T35" fmla="*/ 2147483647 h 552"/>
                <a:gd name="T36" fmla="*/ 2147483647 w 613"/>
                <a:gd name="T37" fmla="*/ 2147483647 h 552"/>
                <a:gd name="T38" fmla="*/ 2147483647 w 613"/>
                <a:gd name="T39" fmla="*/ 2147483647 h 552"/>
                <a:gd name="T40" fmla="*/ 2147483647 w 613"/>
                <a:gd name="T41" fmla="*/ 2147483647 h 552"/>
                <a:gd name="T42" fmla="*/ 2147483647 w 613"/>
                <a:gd name="T43" fmla="*/ 2147483647 h 552"/>
                <a:gd name="T44" fmla="*/ 2147483647 w 613"/>
                <a:gd name="T45" fmla="*/ 2147483647 h 552"/>
                <a:gd name="T46" fmla="*/ 0 w 613"/>
                <a:gd name="T47" fmla="*/ 2147483647 h 552"/>
                <a:gd name="T48" fmla="*/ 0 w 613"/>
                <a:gd name="T49" fmla="*/ 2147483647 h 552"/>
                <a:gd name="T50" fmla="*/ 0 w 613"/>
                <a:gd name="T51" fmla="*/ 2147483647 h 552"/>
                <a:gd name="T52" fmla="*/ 0 w 613"/>
                <a:gd name="T53" fmla="*/ 2147483647 h 552"/>
                <a:gd name="T54" fmla="*/ 0 w 613"/>
                <a:gd name="T55" fmla="*/ 2147483647 h 552"/>
                <a:gd name="T56" fmla="*/ 0 w 613"/>
                <a:gd name="T57" fmla="*/ 2147483647 h 552"/>
                <a:gd name="T58" fmla="*/ 0 w 613"/>
                <a:gd name="T59" fmla="*/ 2147483647 h 552"/>
                <a:gd name="T60" fmla="*/ 0 w 613"/>
                <a:gd name="T61" fmla="*/ 2147483647 h 552"/>
                <a:gd name="T62" fmla="*/ 0 w 613"/>
                <a:gd name="T63" fmla="*/ 2147483647 h 552"/>
                <a:gd name="T64" fmla="*/ 0 w 613"/>
                <a:gd name="T65" fmla="*/ 2147483647 h 552"/>
                <a:gd name="T66" fmla="*/ 0 w 613"/>
                <a:gd name="T67" fmla="*/ 2147483647 h 552"/>
                <a:gd name="T68" fmla="*/ 0 w 613"/>
                <a:gd name="T69" fmla="*/ 2147483647 h 552"/>
                <a:gd name="T70" fmla="*/ 0 w 613"/>
                <a:gd name="T71" fmla="*/ 2147483647 h 552"/>
                <a:gd name="T72" fmla="*/ 0 w 613"/>
                <a:gd name="T73" fmla="*/ 2147483647 h 552"/>
                <a:gd name="T74" fmla="*/ 0 w 613"/>
                <a:gd name="T75" fmla="*/ 2147483647 h 552"/>
                <a:gd name="T76" fmla="*/ 0 w 613"/>
                <a:gd name="T77" fmla="*/ 2147483647 h 552"/>
                <a:gd name="T78" fmla="*/ 0 w 613"/>
                <a:gd name="T79" fmla="*/ 2147483647 h 552"/>
                <a:gd name="T80" fmla="*/ 0 w 613"/>
                <a:gd name="T81" fmla="*/ 2147483647 h 552"/>
                <a:gd name="T82" fmla="*/ 0 w 613"/>
                <a:gd name="T83" fmla="*/ 2147483647 h 552"/>
                <a:gd name="T84" fmla="*/ 0 w 613"/>
                <a:gd name="T85" fmla="*/ 2147483647 h 552"/>
                <a:gd name="T86" fmla="*/ 0 w 613"/>
                <a:gd name="T87" fmla="*/ 2147483647 h 552"/>
                <a:gd name="T88" fmla="*/ 0 w 613"/>
                <a:gd name="T89" fmla="*/ 2147483647 h 552"/>
                <a:gd name="T90" fmla="*/ 2147483647 w 613"/>
                <a:gd name="T91" fmla="*/ 0 h 552"/>
                <a:gd name="T92" fmla="*/ 2147483647 w 613"/>
                <a:gd name="T93" fmla="*/ 0 h 552"/>
                <a:gd name="T94" fmla="*/ 2147483647 w 613"/>
                <a:gd name="T95" fmla="*/ 0 h 552"/>
                <a:gd name="T96" fmla="*/ 2147483647 w 613"/>
                <a:gd name="T97" fmla="*/ 2147483647 h 552"/>
                <a:gd name="T98" fmla="*/ 2147483647 w 613"/>
                <a:gd name="T99" fmla="*/ 2147483647 h 552"/>
                <a:gd name="T100" fmla="*/ 2147483647 w 613"/>
                <a:gd name="T101" fmla="*/ 0 h 552"/>
                <a:gd name="T102" fmla="*/ 2147483647 w 613"/>
                <a:gd name="T103" fmla="*/ 0 h 552"/>
                <a:gd name="T104" fmla="*/ 2147483647 w 613"/>
                <a:gd name="T105" fmla="*/ 0 h 552"/>
                <a:gd name="T106" fmla="*/ 2147483647 w 613"/>
                <a:gd name="T107" fmla="*/ 0 h 552"/>
                <a:gd name="T108" fmla="*/ 2147483647 w 613"/>
                <a:gd name="T109" fmla="*/ 0 h 552"/>
                <a:gd name="T110" fmla="*/ 2147483647 w 613"/>
                <a:gd name="T111" fmla="*/ 0 h 552"/>
                <a:gd name="T112" fmla="*/ 2147483647 w 613"/>
                <a:gd name="T113" fmla="*/ 0 h 552"/>
                <a:gd name="T114" fmla="*/ 2147483647 w 613"/>
                <a:gd name="T115" fmla="*/ 0 h 552"/>
                <a:gd name="T116" fmla="*/ 2147483647 w 613"/>
                <a:gd name="T117" fmla="*/ 0 h 552"/>
                <a:gd name="T118" fmla="*/ 2147483647 w 613"/>
                <a:gd name="T119" fmla="*/ 0 h 552"/>
                <a:gd name="T120" fmla="*/ 2147483647 w 613"/>
                <a:gd name="T121" fmla="*/ 0 h 552"/>
                <a:gd name="T122" fmla="*/ 2147483647 w 613"/>
                <a:gd name="T123" fmla="*/ 0 h 552"/>
                <a:gd name="T124" fmla="*/ 2147483647 w 613"/>
                <a:gd name="T125" fmla="*/ 0 h 55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613"/>
                <a:gd name="T190" fmla="*/ 0 h 552"/>
                <a:gd name="T191" fmla="*/ 613 w 613"/>
                <a:gd name="T192" fmla="*/ 552 h 55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613" h="552">
                  <a:moveTo>
                    <a:pt x="560" y="6"/>
                  </a:moveTo>
                  <a:lnTo>
                    <a:pt x="576" y="6"/>
                  </a:lnTo>
                  <a:lnTo>
                    <a:pt x="578" y="13"/>
                  </a:lnTo>
                  <a:lnTo>
                    <a:pt x="576" y="37"/>
                  </a:lnTo>
                  <a:lnTo>
                    <a:pt x="577" y="53"/>
                  </a:lnTo>
                  <a:lnTo>
                    <a:pt x="582" y="69"/>
                  </a:lnTo>
                  <a:lnTo>
                    <a:pt x="592" y="83"/>
                  </a:lnTo>
                  <a:lnTo>
                    <a:pt x="598" y="96"/>
                  </a:lnTo>
                  <a:lnTo>
                    <a:pt x="607" y="118"/>
                  </a:lnTo>
                  <a:lnTo>
                    <a:pt x="613" y="143"/>
                  </a:lnTo>
                  <a:lnTo>
                    <a:pt x="612" y="153"/>
                  </a:lnTo>
                  <a:lnTo>
                    <a:pt x="608" y="160"/>
                  </a:lnTo>
                  <a:lnTo>
                    <a:pt x="607" y="171"/>
                  </a:lnTo>
                  <a:lnTo>
                    <a:pt x="599" y="180"/>
                  </a:lnTo>
                  <a:lnTo>
                    <a:pt x="593" y="180"/>
                  </a:lnTo>
                  <a:lnTo>
                    <a:pt x="585" y="208"/>
                  </a:lnTo>
                  <a:lnTo>
                    <a:pt x="583" y="224"/>
                  </a:lnTo>
                  <a:lnTo>
                    <a:pt x="571" y="223"/>
                  </a:lnTo>
                  <a:lnTo>
                    <a:pt x="556" y="232"/>
                  </a:lnTo>
                  <a:lnTo>
                    <a:pt x="551" y="251"/>
                  </a:lnTo>
                  <a:lnTo>
                    <a:pt x="554" y="268"/>
                  </a:lnTo>
                  <a:lnTo>
                    <a:pt x="556" y="284"/>
                  </a:lnTo>
                  <a:lnTo>
                    <a:pt x="556" y="305"/>
                  </a:lnTo>
                  <a:lnTo>
                    <a:pt x="558" y="317"/>
                  </a:lnTo>
                  <a:lnTo>
                    <a:pt x="548" y="327"/>
                  </a:lnTo>
                  <a:lnTo>
                    <a:pt x="539" y="347"/>
                  </a:lnTo>
                  <a:lnTo>
                    <a:pt x="535" y="365"/>
                  </a:lnTo>
                  <a:lnTo>
                    <a:pt x="535" y="386"/>
                  </a:lnTo>
                  <a:lnTo>
                    <a:pt x="543" y="397"/>
                  </a:lnTo>
                  <a:lnTo>
                    <a:pt x="545" y="404"/>
                  </a:lnTo>
                  <a:lnTo>
                    <a:pt x="537" y="409"/>
                  </a:lnTo>
                  <a:lnTo>
                    <a:pt x="527" y="425"/>
                  </a:lnTo>
                  <a:lnTo>
                    <a:pt x="521" y="439"/>
                  </a:lnTo>
                  <a:lnTo>
                    <a:pt x="494" y="459"/>
                  </a:lnTo>
                  <a:lnTo>
                    <a:pt x="491" y="449"/>
                  </a:lnTo>
                  <a:lnTo>
                    <a:pt x="495" y="425"/>
                  </a:lnTo>
                  <a:lnTo>
                    <a:pt x="502" y="417"/>
                  </a:lnTo>
                  <a:lnTo>
                    <a:pt x="505" y="408"/>
                  </a:lnTo>
                  <a:lnTo>
                    <a:pt x="491" y="408"/>
                  </a:lnTo>
                  <a:lnTo>
                    <a:pt x="489" y="419"/>
                  </a:lnTo>
                  <a:lnTo>
                    <a:pt x="484" y="429"/>
                  </a:lnTo>
                  <a:lnTo>
                    <a:pt x="483" y="440"/>
                  </a:lnTo>
                  <a:lnTo>
                    <a:pt x="475" y="434"/>
                  </a:lnTo>
                  <a:lnTo>
                    <a:pt x="462" y="433"/>
                  </a:lnTo>
                  <a:lnTo>
                    <a:pt x="456" y="443"/>
                  </a:lnTo>
                  <a:lnTo>
                    <a:pt x="451" y="468"/>
                  </a:lnTo>
                  <a:lnTo>
                    <a:pt x="445" y="476"/>
                  </a:lnTo>
                  <a:lnTo>
                    <a:pt x="437" y="474"/>
                  </a:lnTo>
                  <a:lnTo>
                    <a:pt x="435" y="459"/>
                  </a:lnTo>
                  <a:lnTo>
                    <a:pt x="436" y="447"/>
                  </a:lnTo>
                  <a:lnTo>
                    <a:pt x="427" y="446"/>
                  </a:lnTo>
                  <a:lnTo>
                    <a:pt x="419" y="455"/>
                  </a:lnTo>
                  <a:lnTo>
                    <a:pt x="410" y="466"/>
                  </a:lnTo>
                  <a:lnTo>
                    <a:pt x="404" y="478"/>
                  </a:lnTo>
                  <a:lnTo>
                    <a:pt x="402" y="479"/>
                  </a:lnTo>
                  <a:lnTo>
                    <a:pt x="384" y="476"/>
                  </a:lnTo>
                  <a:lnTo>
                    <a:pt x="356" y="476"/>
                  </a:lnTo>
                  <a:lnTo>
                    <a:pt x="341" y="479"/>
                  </a:lnTo>
                  <a:lnTo>
                    <a:pt x="345" y="474"/>
                  </a:lnTo>
                  <a:lnTo>
                    <a:pt x="351" y="470"/>
                  </a:lnTo>
                  <a:lnTo>
                    <a:pt x="339" y="467"/>
                  </a:lnTo>
                  <a:lnTo>
                    <a:pt x="336" y="463"/>
                  </a:lnTo>
                  <a:lnTo>
                    <a:pt x="333" y="470"/>
                  </a:lnTo>
                  <a:lnTo>
                    <a:pt x="327" y="462"/>
                  </a:lnTo>
                  <a:lnTo>
                    <a:pt x="325" y="449"/>
                  </a:lnTo>
                  <a:lnTo>
                    <a:pt x="320" y="451"/>
                  </a:lnTo>
                  <a:lnTo>
                    <a:pt x="309" y="476"/>
                  </a:lnTo>
                  <a:lnTo>
                    <a:pt x="328" y="488"/>
                  </a:lnTo>
                  <a:lnTo>
                    <a:pt x="328" y="504"/>
                  </a:lnTo>
                  <a:lnTo>
                    <a:pt x="320" y="498"/>
                  </a:lnTo>
                  <a:lnTo>
                    <a:pt x="314" y="501"/>
                  </a:lnTo>
                  <a:lnTo>
                    <a:pt x="307" y="503"/>
                  </a:lnTo>
                  <a:lnTo>
                    <a:pt x="300" y="508"/>
                  </a:lnTo>
                  <a:lnTo>
                    <a:pt x="296" y="514"/>
                  </a:lnTo>
                  <a:lnTo>
                    <a:pt x="295" y="517"/>
                  </a:lnTo>
                  <a:lnTo>
                    <a:pt x="279" y="546"/>
                  </a:lnTo>
                  <a:lnTo>
                    <a:pt x="268" y="552"/>
                  </a:lnTo>
                  <a:lnTo>
                    <a:pt x="252" y="546"/>
                  </a:lnTo>
                  <a:lnTo>
                    <a:pt x="247" y="536"/>
                  </a:lnTo>
                  <a:lnTo>
                    <a:pt x="236" y="529"/>
                  </a:lnTo>
                  <a:lnTo>
                    <a:pt x="233" y="517"/>
                  </a:lnTo>
                  <a:lnTo>
                    <a:pt x="233" y="499"/>
                  </a:lnTo>
                  <a:lnTo>
                    <a:pt x="238" y="494"/>
                  </a:lnTo>
                  <a:lnTo>
                    <a:pt x="248" y="479"/>
                  </a:lnTo>
                  <a:lnTo>
                    <a:pt x="249" y="474"/>
                  </a:lnTo>
                  <a:lnTo>
                    <a:pt x="247" y="472"/>
                  </a:lnTo>
                  <a:lnTo>
                    <a:pt x="228" y="476"/>
                  </a:lnTo>
                  <a:lnTo>
                    <a:pt x="216" y="471"/>
                  </a:lnTo>
                  <a:lnTo>
                    <a:pt x="203" y="468"/>
                  </a:lnTo>
                  <a:lnTo>
                    <a:pt x="190" y="468"/>
                  </a:lnTo>
                  <a:lnTo>
                    <a:pt x="179" y="478"/>
                  </a:lnTo>
                  <a:lnTo>
                    <a:pt x="163" y="488"/>
                  </a:lnTo>
                  <a:lnTo>
                    <a:pt x="156" y="483"/>
                  </a:lnTo>
                  <a:lnTo>
                    <a:pt x="147" y="487"/>
                  </a:lnTo>
                  <a:lnTo>
                    <a:pt x="142" y="487"/>
                  </a:lnTo>
                  <a:lnTo>
                    <a:pt x="133" y="492"/>
                  </a:lnTo>
                  <a:lnTo>
                    <a:pt x="126" y="492"/>
                  </a:lnTo>
                  <a:lnTo>
                    <a:pt x="119" y="495"/>
                  </a:lnTo>
                  <a:lnTo>
                    <a:pt x="92" y="503"/>
                  </a:lnTo>
                  <a:lnTo>
                    <a:pt x="85" y="497"/>
                  </a:lnTo>
                  <a:lnTo>
                    <a:pt x="78" y="498"/>
                  </a:lnTo>
                  <a:lnTo>
                    <a:pt x="69" y="524"/>
                  </a:lnTo>
                  <a:lnTo>
                    <a:pt x="64" y="525"/>
                  </a:lnTo>
                  <a:lnTo>
                    <a:pt x="51" y="520"/>
                  </a:lnTo>
                  <a:lnTo>
                    <a:pt x="43" y="515"/>
                  </a:lnTo>
                  <a:lnTo>
                    <a:pt x="32" y="519"/>
                  </a:lnTo>
                  <a:lnTo>
                    <a:pt x="24" y="519"/>
                  </a:lnTo>
                  <a:lnTo>
                    <a:pt x="20" y="521"/>
                  </a:lnTo>
                  <a:lnTo>
                    <a:pt x="10" y="517"/>
                  </a:lnTo>
                  <a:lnTo>
                    <a:pt x="0" y="516"/>
                  </a:lnTo>
                  <a:lnTo>
                    <a:pt x="0" y="503"/>
                  </a:lnTo>
                  <a:lnTo>
                    <a:pt x="1" y="495"/>
                  </a:lnTo>
                  <a:lnTo>
                    <a:pt x="26" y="488"/>
                  </a:lnTo>
                  <a:lnTo>
                    <a:pt x="35" y="478"/>
                  </a:lnTo>
                  <a:lnTo>
                    <a:pt x="45" y="471"/>
                  </a:lnTo>
                  <a:lnTo>
                    <a:pt x="63" y="461"/>
                  </a:lnTo>
                  <a:lnTo>
                    <a:pt x="74" y="446"/>
                  </a:lnTo>
                  <a:lnTo>
                    <a:pt x="87" y="438"/>
                  </a:lnTo>
                  <a:lnTo>
                    <a:pt x="94" y="424"/>
                  </a:lnTo>
                  <a:lnTo>
                    <a:pt x="106" y="417"/>
                  </a:lnTo>
                  <a:lnTo>
                    <a:pt x="118" y="413"/>
                  </a:lnTo>
                  <a:lnTo>
                    <a:pt x="136" y="418"/>
                  </a:lnTo>
                  <a:lnTo>
                    <a:pt x="155" y="416"/>
                  </a:lnTo>
                  <a:lnTo>
                    <a:pt x="169" y="417"/>
                  </a:lnTo>
                  <a:lnTo>
                    <a:pt x="209" y="408"/>
                  </a:lnTo>
                  <a:lnTo>
                    <a:pt x="219" y="407"/>
                  </a:lnTo>
                  <a:lnTo>
                    <a:pt x="228" y="403"/>
                  </a:lnTo>
                  <a:lnTo>
                    <a:pt x="238" y="403"/>
                  </a:lnTo>
                  <a:lnTo>
                    <a:pt x="237" y="412"/>
                  </a:lnTo>
                  <a:lnTo>
                    <a:pt x="260" y="418"/>
                  </a:lnTo>
                  <a:lnTo>
                    <a:pt x="265" y="417"/>
                  </a:lnTo>
                  <a:lnTo>
                    <a:pt x="270" y="412"/>
                  </a:lnTo>
                  <a:lnTo>
                    <a:pt x="282" y="403"/>
                  </a:lnTo>
                  <a:lnTo>
                    <a:pt x="284" y="371"/>
                  </a:lnTo>
                  <a:lnTo>
                    <a:pt x="300" y="357"/>
                  </a:lnTo>
                  <a:lnTo>
                    <a:pt x="312" y="339"/>
                  </a:lnTo>
                  <a:lnTo>
                    <a:pt x="320" y="320"/>
                  </a:lnTo>
                  <a:lnTo>
                    <a:pt x="322" y="305"/>
                  </a:lnTo>
                  <a:lnTo>
                    <a:pt x="324" y="294"/>
                  </a:lnTo>
                  <a:lnTo>
                    <a:pt x="343" y="283"/>
                  </a:lnTo>
                  <a:lnTo>
                    <a:pt x="351" y="284"/>
                  </a:lnTo>
                  <a:lnTo>
                    <a:pt x="350" y="294"/>
                  </a:lnTo>
                  <a:lnTo>
                    <a:pt x="341" y="298"/>
                  </a:lnTo>
                  <a:lnTo>
                    <a:pt x="333" y="306"/>
                  </a:lnTo>
                  <a:lnTo>
                    <a:pt x="332" y="309"/>
                  </a:lnTo>
                  <a:lnTo>
                    <a:pt x="336" y="321"/>
                  </a:lnTo>
                  <a:lnTo>
                    <a:pt x="336" y="333"/>
                  </a:lnTo>
                  <a:lnTo>
                    <a:pt x="341" y="333"/>
                  </a:lnTo>
                  <a:lnTo>
                    <a:pt x="354" y="332"/>
                  </a:lnTo>
                  <a:lnTo>
                    <a:pt x="363" y="321"/>
                  </a:lnTo>
                  <a:lnTo>
                    <a:pt x="377" y="314"/>
                  </a:lnTo>
                  <a:lnTo>
                    <a:pt x="393" y="309"/>
                  </a:lnTo>
                  <a:lnTo>
                    <a:pt x="410" y="295"/>
                  </a:lnTo>
                  <a:lnTo>
                    <a:pt x="422" y="284"/>
                  </a:lnTo>
                  <a:lnTo>
                    <a:pt x="430" y="269"/>
                  </a:lnTo>
                  <a:lnTo>
                    <a:pt x="440" y="257"/>
                  </a:lnTo>
                  <a:lnTo>
                    <a:pt x="453" y="247"/>
                  </a:lnTo>
                  <a:lnTo>
                    <a:pt x="459" y="247"/>
                  </a:lnTo>
                  <a:lnTo>
                    <a:pt x="467" y="235"/>
                  </a:lnTo>
                  <a:lnTo>
                    <a:pt x="468" y="225"/>
                  </a:lnTo>
                  <a:lnTo>
                    <a:pt x="470" y="215"/>
                  </a:lnTo>
                  <a:lnTo>
                    <a:pt x="486" y="188"/>
                  </a:lnTo>
                  <a:lnTo>
                    <a:pt x="490" y="176"/>
                  </a:lnTo>
                  <a:lnTo>
                    <a:pt x="492" y="165"/>
                  </a:lnTo>
                  <a:lnTo>
                    <a:pt x="499" y="154"/>
                  </a:lnTo>
                  <a:lnTo>
                    <a:pt x="502" y="139"/>
                  </a:lnTo>
                  <a:lnTo>
                    <a:pt x="502" y="123"/>
                  </a:lnTo>
                  <a:lnTo>
                    <a:pt x="495" y="117"/>
                  </a:lnTo>
                  <a:lnTo>
                    <a:pt x="484" y="112"/>
                  </a:lnTo>
                  <a:lnTo>
                    <a:pt x="489" y="107"/>
                  </a:lnTo>
                  <a:lnTo>
                    <a:pt x="499" y="92"/>
                  </a:lnTo>
                  <a:lnTo>
                    <a:pt x="497" y="62"/>
                  </a:lnTo>
                  <a:lnTo>
                    <a:pt x="502" y="53"/>
                  </a:lnTo>
                  <a:lnTo>
                    <a:pt x="512" y="49"/>
                  </a:lnTo>
                  <a:lnTo>
                    <a:pt x="513" y="32"/>
                  </a:lnTo>
                  <a:lnTo>
                    <a:pt x="517" y="24"/>
                  </a:lnTo>
                  <a:lnTo>
                    <a:pt x="524" y="20"/>
                  </a:lnTo>
                  <a:lnTo>
                    <a:pt x="531" y="29"/>
                  </a:lnTo>
                  <a:lnTo>
                    <a:pt x="535" y="42"/>
                  </a:lnTo>
                  <a:lnTo>
                    <a:pt x="539" y="48"/>
                  </a:lnTo>
                  <a:lnTo>
                    <a:pt x="547" y="38"/>
                  </a:lnTo>
                  <a:lnTo>
                    <a:pt x="553" y="42"/>
                  </a:lnTo>
                  <a:lnTo>
                    <a:pt x="560" y="41"/>
                  </a:lnTo>
                  <a:lnTo>
                    <a:pt x="566" y="27"/>
                  </a:lnTo>
                  <a:lnTo>
                    <a:pt x="567" y="15"/>
                  </a:lnTo>
                  <a:lnTo>
                    <a:pt x="559" y="22"/>
                  </a:lnTo>
                  <a:lnTo>
                    <a:pt x="547" y="26"/>
                  </a:lnTo>
                  <a:lnTo>
                    <a:pt x="543" y="14"/>
                  </a:lnTo>
                  <a:lnTo>
                    <a:pt x="547" y="3"/>
                  </a:lnTo>
                  <a:lnTo>
                    <a:pt x="551" y="0"/>
                  </a:lnTo>
                  <a:lnTo>
                    <a:pt x="560" y="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10" name="Freeform 109">
              <a:extLst>
                <a:ext uri="{FF2B5EF4-FFF2-40B4-BE49-F238E27FC236}">
                  <a16:creationId xmlns:a16="http://schemas.microsoft.com/office/drawing/2014/main" id="{8E4C91DA-A63E-6EBD-8DAA-51E03500CA5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641323" y="3208502"/>
              <a:ext cx="74617" cy="59445"/>
            </a:xfrm>
            <a:custGeom>
              <a:avLst/>
              <a:gdLst>
                <a:gd name="T0" fmla="*/ 0 w 140"/>
                <a:gd name="T1" fmla="*/ 0 h 107"/>
                <a:gd name="T2" fmla="*/ 0 w 140"/>
                <a:gd name="T3" fmla="*/ 0 h 107"/>
                <a:gd name="T4" fmla="*/ 0 w 140"/>
                <a:gd name="T5" fmla="*/ 0 h 107"/>
                <a:gd name="T6" fmla="*/ 0 w 140"/>
                <a:gd name="T7" fmla="*/ 0 h 107"/>
                <a:gd name="T8" fmla="*/ 0 w 140"/>
                <a:gd name="T9" fmla="*/ 0 h 107"/>
                <a:gd name="T10" fmla="*/ 0 w 140"/>
                <a:gd name="T11" fmla="*/ 0 h 107"/>
                <a:gd name="T12" fmla="*/ 0 w 140"/>
                <a:gd name="T13" fmla="*/ 0 h 107"/>
                <a:gd name="T14" fmla="*/ 0 w 140"/>
                <a:gd name="T15" fmla="*/ 0 h 107"/>
                <a:gd name="T16" fmla="*/ 0 w 140"/>
                <a:gd name="T17" fmla="*/ 0 h 107"/>
                <a:gd name="T18" fmla="*/ 0 w 140"/>
                <a:gd name="T19" fmla="*/ 0 h 107"/>
                <a:gd name="T20" fmla="*/ 0 w 140"/>
                <a:gd name="T21" fmla="*/ 0 h 107"/>
                <a:gd name="T22" fmla="*/ 0 w 140"/>
                <a:gd name="T23" fmla="*/ 0 h 107"/>
                <a:gd name="T24" fmla="*/ 0 w 140"/>
                <a:gd name="T25" fmla="*/ 0 h 107"/>
                <a:gd name="T26" fmla="*/ 0 w 140"/>
                <a:gd name="T27" fmla="*/ 0 h 107"/>
                <a:gd name="T28" fmla="*/ 0 w 140"/>
                <a:gd name="T29" fmla="*/ 0 h 107"/>
                <a:gd name="T30" fmla="*/ 0 w 140"/>
                <a:gd name="T31" fmla="*/ 0 h 107"/>
                <a:gd name="T32" fmla="*/ 0 w 140"/>
                <a:gd name="T33" fmla="*/ 0 h 107"/>
                <a:gd name="T34" fmla="*/ 0 w 140"/>
                <a:gd name="T35" fmla="*/ 0 h 107"/>
                <a:gd name="T36" fmla="*/ 0 w 140"/>
                <a:gd name="T37" fmla="*/ 0 h 107"/>
                <a:gd name="T38" fmla="*/ 0 w 140"/>
                <a:gd name="T39" fmla="*/ 0 h 107"/>
                <a:gd name="T40" fmla="*/ 0 w 140"/>
                <a:gd name="T41" fmla="*/ 0 h 107"/>
                <a:gd name="T42" fmla="*/ 0 w 140"/>
                <a:gd name="T43" fmla="*/ 0 h 107"/>
                <a:gd name="T44" fmla="*/ 0 w 140"/>
                <a:gd name="T45" fmla="*/ 0 h 107"/>
                <a:gd name="T46" fmla="*/ 0 w 140"/>
                <a:gd name="T47" fmla="*/ 0 h 107"/>
                <a:gd name="T48" fmla="*/ 0 w 140"/>
                <a:gd name="T49" fmla="*/ 0 h 107"/>
                <a:gd name="T50" fmla="*/ 0 w 140"/>
                <a:gd name="T51" fmla="*/ 0 h 107"/>
                <a:gd name="T52" fmla="*/ 0 w 140"/>
                <a:gd name="T53" fmla="*/ 0 h 107"/>
                <a:gd name="T54" fmla="*/ 0 w 140"/>
                <a:gd name="T55" fmla="*/ 0 h 107"/>
                <a:gd name="T56" fmla="*/ 0 w 140"/>
                <a:gd name="T57" fmla="*/ 0 h 107"/>
                <a:gd name="T58" fmla="*/ 0 w 140"/>
                <a:gd name="T59" fmla="*/ 0 h 107"/>
                <a:gd name="T60" fmla="*/ 0 w 140"/>
                <a:gd name="T61" fmla="*/ 0 h 107"/>
                <a:gd name="T62" fmla="*/ 0 w 140"/>
                <a:gd name="T63" fmla="*/ 0 h 107"/>
                <a:gd name="T64" fmla="*/ 0 w 140"/>
                <a:gd name="T65" fmla="*/ 0 h 107"/>
                <a:gd name="T66" fmla="*/ 0 w 140"/>
                <a:gd name="T67" fmla="*/ 0 h 107"/>
                <a:gd name="T68" fmla="*/ 0 w 140"/>
                <a:gd name="T69" fmla="*/ 0 h 1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40"/>
                <a:gd name="T106" fmla="*/ 0 h 107"/>
                <a:gd name="T107" fmla="*/ 140 w 140"/>
                <a:gd name="T108" fmla="*/ 107 h 10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40" h="107">
                  <a:moveTo>
                    <a:pt x="113" y="70"/>
                  </a:moveTo>
                  <a:lnTo>
                    <a:pt x="102" y="63"/>
                  </a:lnTo>
                  <a:lnTo>
                    <a:pt x="88" y="58"/>
                  </a:lnTo>
                  <a:lnTo>
                    <a:pt x="74" y="62"/>
                  </a:lnTo>
                  <a:lnTo>
                    <a:pt x="66" y="68"/>
                  </a:lnTo>
                  <a:lnTo>
                    <a:pt x="59" y="80"/>
                  </a:lnTo>
                  <a:lnTo>
                    <a:pt x="50" y="95"/>
                  </a:lnTo>
                  <a:lnTo>
                    <a:pt x="48" y="106"/>
                  </a:lnTo>
                  <a:lnTo>
                    <a:pt x="39" y="107"/>
                  </a:lnTo>
                  <a:lnTo>
                    <a:pt x="30" y="100"/>
                  </a:lnTo>
                  <a:lnTo>
                    <a:pt x="26" y="95"/>
                  </a:lnTo>
                  <a:lnTo>
                    <a:pt x="19" y="82"/>
                  </a:lnTo>
                  <a:lnTo>
                    <a:pt x="20" y="76"/>
                  </a:lnTo>
                  <a:lnTo>
                    <a:pt x="16" y="69"/>
                  </a:lnTo>
                  <a:lnTo>
                    <a:pt x="10" y="64"/>
                  </a:lnTo>
                  <a:lnTo>
                    <a:pt x="0" y="64"/>
                  </a:lnTo>
                  <a:lnTo>
                    <a:pt x="15" y="53"/>
                  </a:lnTo>
                  <a:lnTo>
                    <a:pt x="37" y="23"/>
                  </a:lnTo>
                  <a:lnTo>
                    <a:pt x="50" y="25"/>
                  </a:lnTo>
                  <a:lnTo>
                    <a:pt x="57" y="28"/>
                  </a:lnTo>
                  <a:lnTo>
                    <a:pt x="68" y="26"/>
                  </a:lnTo>
                  <a:lnTo>
                    <a:pt x="78" y="21"/>
                  </a:lnTo>
                  <a:lnTo>
                    <a:pt x="82" y="14"/>
                  </a:lnTo>
                  <a:lnTo>
                    <a:pt x="95" y="1"/>
                  </a:lnTo>
                  <a:lnTo>
                    <a:pt x="102" y="0"/>
                  </a:lnTo>
                  <a:lnTo>
                    <a:pt x="112" y="3"/>
                  </a:lnTo>
                  <a:lnTo>
                    <a:pt x="123" y="9"/>
                  </a:lnTo>
                  <a:lnTo>
                    <a:pt x="132" y="10"/>
                  </a:lnTo>
                  <a:lnTo>
                    <a:pt x="138" y="33"/>
                  </a:lnTo>
                  <a:lnTo>
                    <a:pt x="140" y="36"/>
                  </a:lnTo>
                  <a:lnTo>
                    <a:pt x="134" y="44"/>
                  </a:lnTo>
                  <a:lnTo>
                    <a:pt x="128" y="47"/>
                  </a:lnTo>
                  <a:lnTo>
                    <a:pt x="123" y="54"/>
                  </a:lnTo>
                  <a:lnTo>
                    <a:pt x="118" y="63"/>
                  </a:lnTo>
                  <a:lnTo>
                    <a:pt x="113" y="7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11" name="Freeform 110">
              <a:extLst>
                <a:ext uri="{FF2B5EF4-FFF2-40B4-BE49-F238E27FC236}">
                  <a16:creationId xmlns:a16="http://schemas.microsoft.com/office/drawing/2014/main" id="{A72B038E-6FE2-06C2-F72A-06AC95BD5CA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565213" y="3222220"/>
              <a:ext cx="70141" cy="108219"/>
            </a:xfrm>
            <a:custGeom>
              <a:avLst/>
              <a:gdLst>
                <a:gd name="T0" fmla="*/ 0 w 131"/>
                <a:gd name="T1" fmla="*/ 0 h 187"/>
                <a:gd name="T2" fmla="*/ 0 w 131"/>
                <a:gd name="T3" fmla="*/ 0 h 187"/>
                <a:gd name="T4" fmla="*/ 0 w 131"/>
                <a:gd name="T5" fmla="*/ 0 h 187"/>
                <a:gd name="T6" fmla="*/ 0 w 131"/>
                <a:gd name="T7" fmla="*/ 0 h 187"/>
                <a:gd name="T8" fmla="*/ 0 w 131"/>
                <a:gd name="T9" fmla="*/ 0 h 187"/>
                <a:gd name="T10" fmla="*/ 0 w 131"/>
                <a:gd name="T11" fmla="*/ 0 h 187"/>
                <a:gd name="T12" fmla="*/ 0 w 131"/>
                <a:gd name="T13" fmla="*/ 0 h 187"/>
                <a:gd name="T14" fmla="*/ 0 w 131"/>
                <a:gd name="T15" fmla="*/ 0 h 187"/>
                <a:gd name="T16" fmla="*/ 0 w 131"/>
                <a:gd name="T17" fmla="*/ 0 h 187"/>
                <a:gd name="T18" fmla="*/ 0 w 131"/>
                <a:gd name="T19" fmla="*/ 0 h 187"/>
                <a:gd name="T20" fmla="*/ 0 w 131"/>
                <a:gd name="T21" fmla="*/ 0 h 187"/>
                <a:gd name="T22" fmla="*/ 0 w 131"/>
                <a:gd name="T23" fmla="*/ 0 h 187"/>
                <a:gd name="T24" fmla="*/ 0 w 131"/>
                <a:gd name="T25" fmla="*/ 0 h 187"/>
                <a:gd name="T26" fmla="*/ 0 w 131"/>
                <a:gd name="T27" fmla="*/ 0 h 187"/>
                <a:gd name="T28" fmla="*/ 0 w 131"/>
                <a:gd name="T29" fmla="*/ 0 h 187"/>
                <a:gd name="T30" fmla="*/ 0 w 131"/>
                <a:gd name="T31" fmla="*/ 0 h 187"/>
                <a:gd name="T32" fmla="*/ 0 w 131"/>
                <a:gd name="T33" fmla="*/ 0 h 187"/>
                <a:gd name="T34" fmla="*/ 0 w 131"/>
                <a:gd name="T35" fmla="*/ 0 h 187"/>
                <a:gd name="T36" fmla="*/ 0 w 131"/>
                <a:gd name="T37" fmla="*/ 0 h 187"/>
                <a:gd name="T38" fmla="*/ 0 w 131"/>
                <a:gd name="T39" fmla="*/ 0 h 187"/>
                <a:gd name="T40" fmla="*/ 0 w 131"/>
                <a:gd name="T41" fmla="*/ 0 h 187"/>
                <a:gd name="T42" fmla="*/ 0 w 131"/>
                <a:gd name="T43" fmla="*/ 0 h 187"/>
                <a:gd name="T44" fmla="*/ 0 w 131"/>
                <a:gd name="T45" fmla="*/ 0 h 187"/>
                <a:gd name="T46" fmla="*/ 0 w 131"/>
                <a:gd name="T47" fmla="*/ 0 h 187"/>
                <a:gd name="T48" fmla="*/ 0 w 131"/>
                <a:gd name="T49" fmla="*/ 0 h 187"/>
                <a:gd name="T50" fmla="*/ 0 w 131"/>
                <a:gd name="T51" fmla="*/ 0 h 187"/>
                <a:gd name="T52" fmla="*/ 0 w 131"/>
                <a:gd name="T53" fmla="*/ 0 h 187"/>
                <a:gd name="T54" fmla="*/ 0 w 131"/>
                <a:gd name="T55" fmla="*/ 0 h 187"/>
                <a:gd name="T56" fmla="*/ 0 w 131"/>
                <a:gd name="T57" fmla="*/ 0 h 187"/>
                <a:gd name="T58" fmla="*/ 0 w 131"/>
                <a:gd name="T59" fmla="*/ 0 h 187"/>
                <a:gd name="T60" fmla="*/ 0 w 131"/>
                <a:gd name="T61" fmla="*/ 0 h 187"/>
                <a:gd name="T62" fmla="*/ 0 w 131"/>
                <a:gd name="T63" fmla="*/ 0 h 187"/>
                <a:gd name="T64" fmla="*/ 0 w 131"/>
                <a:gd name="T65" fmla="*/ 0 h 187"/>
                <a:gd name="T66" fmla="*/ 0 w 131"/>
                <a:gd name="T67" fmla="*/ 0 h 187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31"/>
                <a:gd name="T103" fmla="*/ 0 h 187"/>
                <a:gd name="T104" fmla="*/ 131 w 131"/>
                <a:gd name="T105" fmla="*/ 187 h 187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31" h="187">
                  <a:moveTo>
                    <a:pt x="67" y="2"/>
                  </a:moveTo>
                  <a:lnTo>
                    <a:pt x="69" y="2"/>
                  </a:lnTo>
                  <a:lnTo>
                    <a:pt x="64" y="0"/>
                  </a:lnTo>
                  <a:lnTo>
                    <a:pt x="56" y="4"/>
                  </a:lnTo>
                  <a:lnTo>
                    <a:pt x="47" y="13"/>
                  </a:lnTo>
                  <a:lnTo>
                    <a:pt x="42" y="22"/>
                  </a:lnTo>
                  <a:lnTo>
                    <a:pt x="35" y="22"/>
                  </a:lnTo>
                  <a:lnTo>
                    <a:pt x="29" y="29"/>
                  </a:lnTo>
                  <a:lnTo>
                    <a:pt x="21" y="32"/>
                  </a:lnTo>
                  <a:lnTo>
                    <a:pt x="18" y="29"/>
                  </a:lnTo>
                  <a:lnTo>
                    <a:pt x="11" y="34"/>
                  </a:lnTo>
                  <a:lnTo>
                    <a:pt x="0" y="48"/>
                  </a:lnTo>
                  <a:lnTo>
                    <a:pt x="10" y="56"/>
                  </a:lnTo>
                  <a:lnTo>
                    <a:pt x="16" y="64"/>
                  </a:lnTo>
                  <a:lnTo>
                    <a:pt x="16" y="72"/>
                  </a:lnTo>
                  <a:lnTo>
                    <a:pt x="11" y="62"/>
                  </a:lnTo>
                  <a:lnTo>
                    <a:pt x="5" y="62"/>
                  </a:lnTo>
                  <a:lnTo>
                    <a:pt x="9" y="88"/>
                  </a:lnTo>
                  <a:lnTo>
                    <a:pt x="14" y="81"/>
                  </a:lnTo>
                  <a:lnTo>
                    <a:pt x="27" y="78"/>
                  </a:lnTo>
                  <a:lnTo>
                    <a:pt x="37" y="84"/>
                  </a:lnTo>
                  <a:lnTo>
                    <a:pt x="41" y="75"/>
                  </a:lnTo>
                  <a:lnTo>
                    <a:pt x="35" y="72"/>
                  </a:lnTo>
                  <a:lnTo>
                    <a:pt x="32" y="65"/>
                  </a:lnTo>
                  <a:lnTo>
                    <a:pt x="32" y="54"/>
                  </a:lnTo>
                  <a:lnTo>
                    <a:pt x="37" y="50"/>
                  </a:lnTo>
                  <a:lnTo>
                    <a:pt x="43" y="63"/>
                  </a:lnTo>
                  <a:lnTo>
                    <a:pt x="51" y="74"/>
                  </a:lnTo>
                  <a:lnTo>
                    <a:pt x="51" y="85"/>
                  </a:lnTo>
                  <a:lnTo>
                    <a:pt x="53" y="86"/>
                  </a:lnTo>
                  <a:lnTo>
                    <a:pt x="53" y="100"/>
                  </a:lnTo>
                  <a:lnTo>
                    <a:pt x="47" y="112"/>
                  </a:lnTo>
                  <a:lnTo>
                    <a:pt x="41" y="118"/>
                  </a:lnTo>
                  <a:lnTo>
                    <a:pt x="36" y="128"/>
                  </a:lnTo>
                  <a:lnTo>
                    <a:pt x="35" y="143"/>
                  </a:lnTo>
                  <a:lnTo>
                    <a:pt x="38" y="159"/>
                  </a:lnTo>
                  <a:lnTo>
                    <a:pt x="35" y="167"/>
                  </a:lnTo>
                  <a:lnTo>
                    <a:pt x="41" y="174"/>
                  </a:lnTo>
                  <a:lnTo>
                    <a:pt x="54" y="180"/>
                  </a:lnTo>
                  <a:lnTo>
                    <a:pt x="58" y="166"/>
                  </a:lnTo>
                  <a:lnTo>
                    <a:pt x="53" y="155"/>
                  </a:lnTo>
                  <a:lnTo>
                    <a:pt x="57" y="145"/>
                  </a:lnTo>
                  <a:lnTo>
                    <a:pt x="65" y="148"/>
                  </a:lnTo>
                  <a:lnTo>
                    <a:pt x="62" y="151"/>
                  </a:lnTo>
                  <a:lnTo>
                    <a:pt x="61" y="160"/>
                  </a:lnTo>
                  <a:lnTo>
                    <a:pt x="63" y="172"/>
                  </a:lnTo>
                  <a:lnTo>
                    <a:pt x="63" y="187"/>
                  </a:lnTo>
                  <a:lnTo>
                    <a:pt x="70" y="185"/>
                  </a:lnTo>
                  <a:lnTo>
                    <a:pt x="79" y="177"/>
                  </a:lnTo>
                  <a:lnTo>
                    <a:pt x="79" y="169"/>
                  </a:lnTo>
                  <a:lnTo>
                    <a:pt x="88" y="160"/>
                  </a:lnTo>
                  <a:lnTo>
                    <a:pt x="94" y="164"/>
                  </a:lnTo>
                  <a:lnTo>
                    <a:pt x="100" y="148"/>
                  </a:lnTo>
                  <a:lnTo>
                    <a:pt x="107" y="117"/>
                  </a:lnTo>
                  <a:lnTo>
                    <a:pt x="113" y="100"/>
                  </a:lnTo>
                  <a:lnTo>
                    <a:pt x="120" y="89"/>
                  </a:lnTo>
                  <a:lnTo>
                    <a:pt x="127" y="78"/>
                  </a:lnTo>
                  <a:lnTo>
                    <a:pt x="131" y="69"/>
                  </a:lnTo>
                  <a:lnTo>
                    <a:pt x="129" y="59"/>
                  </a:lnTo>
                  <a:lnTo>
                    <a:pt x="124" y="48"/>
                  </a:lnTo>
                  <a:lnTo>
                    <a:pt x="111" y="45"/>
                  </a:lnTo>
                  <a:lnTo>
                    <a:pt x="110" y="40"/>
                  </a:lnTo>
                  <a:lnTo>
                    <a:pt x="115" y="26"/>
                  </a:lnTo>
                  <a:lnTo>
                    <a:pt x="112" y="19"/>
                  </a:lnTo>
                  <a:lnTo>
                    <a:pt x="104" y="21"/>
                  </a:lnTo>
                  <a:lnTo>
                    <a:pt x="86" y="22"/>
                  </a:lnTo>
                  <a:lnTo>
                    <a:pt x="77" y="9"/>
                  </a:lnTo>
                  <a:lnTo>
                    <a:pt x="77" y="3"/>
                  </a:lnTo>
                  <a:lnTo>
                    <a:pt x="67" y="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12" name="Freeform 111">
              <a:extLst>
                <a:ext uri="{FF2B5EF4-FFF2-40B4-BE49-F238E27FC236}">
                  <a16:creationId xmlns:a16="http://schemas.microsoft.com/office/drawing/2014/main" id="{45C5C117-9BEB-C970-15CE-230E795904C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462242" y="3045411"/>
              <a:ext cx="101479" cy="161567"/>
            </a:xfrm>
            <a:custGeom>
              <a:avLst/>
              <a:gdLst>
                <a:gd name="T0" fmla="*/ 2147483647 w 190"/>
                <a:gd name="T1" fmla="*/ 0 h 285"/>
                <a:gd name="T2" fmla="*/ 2147483647 w 190"/>
                <a:gd name="T3" fmla="*/ 0 h 285"/>
                <a:gd name="T4" fmla="*/ 2147483647 w 190"/>
                <a:gd name="T5" fmla="*/ 0 h 285"/>
                <a:gd name="T6" fmla="*/ 2147483647 w 190"/>
                <a:gd name="T7" fmla="*/ 2147483647 h 285"/>
                <a:gd name="T8" fmla="*/ 2147483647 w 190"/>
                <a:gd name="T9" fmla="*/ 2147483647 h 285"/>
                <a:gd name="T10" fmla="*/ 2147483647 w 190"/>
                <a:gd name="T11" fmla="*/ 2147483647 h 285"/>
                <a:gd name="T12" fmla="*/ 2147483647 w 190"/>
                <a:gd name="T13" fmla="*/ 2147483647 h 285"/>
                <a:gd name="T14" fmla="*/ 2147483647 w 190"/>
                <a:gd name="T15" fmla="*/ 2147483647 h 285"/>
                <a:gd name="T16" fmla="*/ 2147483647 w 190"/>
                <a:gd name="T17" fmla="*/ 2147483647 h 285"/>
                <a:gd name="T18" fmla="*/ 2147483647 w 190"/>
                <a:gd name="T19" fmla="*/ 2147483647 h 285"/>
                <a:gd name="T20" fmla="*/ 2147483647 w 190"/>
                <a:gd name="T21" fmla="*/ 2147483647 h 285"/>
                <a:gd name="T22" fmla="*/ 2147483647 w 190"/>
                <a:gd name="T23" fmla="*/ 2147483647 h 285"/>
                <a:gd name="T24" fmla="*/ 2147483647 w 190"/>
                <a:gd name="T25" fmla="*/ 2147483647 h 285"/>
                <a:gd name="T26" fmla="*/ 2147483647 w 190"/>
                <a:gd name="T27" fmla="*/ 2147483647 h 285"/>
                <a:gd name="T28" fmla="*/ 2147483647 w 190"/>
                <a:gd name="T29" fmla="*/ 2147483647 h 285"/>
                <a:gd name="T30" fmla="*/ 2147483647 w 190"/>
                <a:gd name="T31" fmla="*/ 2147483647 h 285"/>
                <a:gd name="T32" fmla="*/ 2147483647 w 190"/>
                <a:gd name="T33" fmla="*/ 2147483647 h 285"/>
                <a:gd name="T34" fmla="*/ 2147483647 w 190"/>
                <a:gd name="T35" fmla="*/ 2147483647 h 285"/>
                <a:gd name="T36" fmla="*/ 2147483647 w 190"/>
                <a:gd name="T37" fmla="*/ 2147483647 h 285"/>
                <a:gd name="T38" fmla="*/ 0 w 190"/>
                <a:gd name="T39" fmla="*/ 2147483647 h 285"/>
                <a:gd name="T40" fmla="*/ 0 w 190"/>
                <a:gd name="T41" fmla="*/ 2147483647 h 285"/>
                <a:gd name="T42" fmla="*/ 0 w 190"/>
                <a:gd name="T43" fmla="*/ 2147483647 h 285"/>
                <a:gd name="T44" fmla="*/ 0 w 190"/>
                <a:gd name="T45" fmla="*/ 2147483647 h 285"/>
                <a:gd name="T46" fmla="*/ 0 w 190"/>
                <a:gd name="T47" fmla="*/ 2147483647 h 285"/>
                <a:gd name="T48" fmla="*/ 0 w 190"/>
                <a:gd name="T49" fmla="*/ 2147483647 h 285"/>
                <a:gd name="T50" fmla="*/ 0 w 190"/>
                <a:gd name="T51" fmla="*/ 2147483647 h 285"/>
                <a:gd name="T52" fmla="*/ 0 w 190"/>
                <a:gd name="T53" fmla="*/ 2147483647 h 285"/>
                <a:gd name="T54" fmla="*/ 0 w 190"/>
                <a:gd name="T55" fmla="*/ 2147483647 h 285"/>
                <a:gd name="T56" fmla="*/ 0 w 190"/>
                <a:gd name="T57" fmla="*/ 2147483647 h 285"/>
                <a:gd name="T58" fmla="*/ 0 w 190"/>
                <a:gd name="T59" fmla="*/ 2147483647 h 285"/>
                <a:gd name="T60" fmla="*/ 0 w 190"/>
                <a:gd name="T61" fmla="*/ 2147483647 h 285"/>
                <a:gd name="T62" fmla="*/ 0 w 190"/>
                <a:gd name="T63" fmla="*/ 2147483647 h 285"/>
                <a:gd name="T64" fmla="*/ 0 w 190"/>
                <a:gd name="T65" fmla="*/ 2147483647 h 285"/>
                <a:gd name="T66" fmla="*/ 0 w 190"/>
                <a:gd name="T67" fmla="*/ 2147483647 h 285"/>
                <a:gd name="T68" fmla="*/ 0 w 190"/>
                <a:gd name="T69" fmla="*/ 2147483647 h 285"/>
                <a:gd name="T70" fmla="*/ 0 w 190"/>
                <a:gd name="T71" fmla="*/ 2147483647 h 285"/>
                <a:gd name="T72" fmla="*/ 0 w 190"/>
                <a:gd name="T73" fmla="*/ 2147483647 h 285"/>
                <a:gd name="T74" fmla="*/ 0 w 190"/>
                <a:gd name="T75" fmla="*/ 2147483647 h 285"/>
                <a:gd name="T76" fmla="*/ 0 w 190"/>
                <a:gd name="T77" fmla="*/ 2147483647 h 285"/>
                <a:gd name="T78" fmla="*/ 0 w 190"/>
                <a:gd name="T79" fmla="*/ 2147483647 h 285"/>
                <a:gd name="T80" fmla="*/ 0 w 190"/>
                <a:gd name="T81" fmla="*/ 2147483647 h 285"/>
                <a:gd name="T82" fmla="*/ 0 w 190"/>
                <a:gd name="T83" fmla="*/ 2147483647 h 285"/>
                <a:gd name="T84" fmla="*/ 0 w 190"/>
                <a:gd name="T85" fmla="*/ 2147483647 h 285"/>
                <a:gd name="T86" fmla="*/ 0 w 190"/>
                <a:gd name="T87" fmla="*/ 0 h 285"/>
                <a:gd name="T88" fmla="*/ 0 w 190"/>
                <a:gd name="T89" fmla="*/ 0 h 285"/>
                <a:gd name="T90" fmla="*/ 0 w 190"/>
                <a:gd name="T91" fmla="*/ 0 h 285"/>
                <a:gd name="T92" fmla="*/ 0 w 190"/>
                <a:gd name="T93" fmla="*/ 0 h 285"/>
                <a:gd name="T94" fmla="*/ 2147483647 w 190"/>
                <a:gd name="T95" fmla="*/ 0 h 285"/>
                <a:gd name="T96" fmla="*/ 2147483647 w 190"/>
                <a:gd name="T97" fmla="*/ 0 h 28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90"/>
                <a:gd name="T148" fmla="*/ 0 h 285"/>
                <a:gd name="T149" fmla="*/ 190 w 190"/>
                <a:gd name="T150" fmla="*/ 285 h 28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90" h="285">
                  <a:moveTo>
                    <a:pt x="125" y="0"/>
                  </a:moveTo>
                  <a:lnTo>
                    <a:pt x="130" y="5"/>
                  </a:lnTo>
                  <a:lnTo>
                    <a:pt x="146" y="36"/>
                  </a:lnTo>
                  <a:lnTo>
                    <a:pt x="156" y="46"/>
                  </a:lnTo>
                  <a:lnTo>
                    <a:pt x="165" y="58"/>
                  </a:lnTo>
                  <a:lnTo>
                    <a:pt x="173" y="73"/>
                  </a:lnTo>
                  <a:lnTo>
                    <a:pt x="180" y="91"/>
                  </a:lnTo>
                  <a:lnTo>
                    <a:pt x="184" y="113"/>
                  </a:lnTo>
                  <a:lnTo>
                    <a:pt x="183" y="150"/>
                  </a:lnTo>
                  <a:lnTo>
                    <a:pt x="184" y="170"/>
                  </a:lnTo>
                  <a:lnTo>
                    <a:pt x="190" y="171"/>
                  </a:lnTo>
                  <a:lnTo>
                    <a:pt x="181" y="201"/>
                  </a:lnTo>
                  <a:lnTo>
                    <a:pt x="174" y="217"/>
                  </a:lnTo>
                  <a:lnTo>
                    <a:pt x="163" y="228"/>
                  </a:lnTo>
                  <a:lnTo>
                    <a:pt x="154" y="230"/>
                  </a:lnTo>
                  <a:lnTo>
                    <a:pt x="142" y="233"/>
                  </a:lnTo>
                  <a:lnTo>
                    <a:pt x="135" y="230"/>
                  </a:lnTo>
                  <a:lnTo>
                    <a:pt x="131" y="235"/>
                  </a:lnTo>
                  <a:lnTo>
                    <a:pt x="127" y="242"/>
                  </a:lnTo>
                  <a:lnTo>
                    <a:pt x="120" y="252"/>
                  </a:lnTo>
                  <a:lnTo>
                    <a:pt x="116" y="245"/>
                  </a:lnTo>
                  <a:lnTo>
                    <a:pt x="111" y="245"/>
                  </a:lnTo>
                  <a:lnTo>
                    <a:pt x="101" y="240"/>
                  </a:lnTo>
                  <a:lnTo>
                    <a:pt x="95" y="241"/>
                  </a:lnTo>
                  <a:lnTo>
                    <a:pt x="83" y="246"/>
                  </a:lnTo>
                  <a:lnTo>
                    <a:pt x="88" y="252"/>
                  </a:lnTo>
                  <a:lnTo>
                    <a:pt x="86" y="260"/>
                  </a:lnTo>
                  <a:lnTo>
                    <a:pt x="79" y="263"/>
                  </a:lnTo>
                  <a:lnTo>
                    <a:pt x="76" y="256"/>
                  </a:lnTo>
                  <a:lnTo>
                    <a:pt x="72" y="252"/>
                  </a:lnTo>
                  <a:lnTo>
                    <a:pt x="71" y="268"/>
                  </a:lnTo>
                  <a:lnTo>
                    <a:pt x="66" y="272"/>
                  </a:lnTo>
                  <a:lnTo>
                    <a:pt x="61" y="273"/>
                  </a:lnTo>
                  <a:lnTo>
                    <a:pt x="57" y="269"/>
                  </a:lnTo>
                  <a:lnTo>
                    <a:pt x="65" y="263"/>
                  </a:lnTo>
                  <a:lnTo>
                    <a:pt x="66" y="257"/>
                  </a:lnTo>
                  <a:lnTo>
                    <a:pt x="60" y="260"/>
                  </a:lnTo>
                  <a:lnTo>
                    <a:pt x="51" y="264"/>
                  </a:lnTo>
                  <a:lnTo>
                    <a:pt x="41" y="276"/>
                  </a:lnTo>
                  <a:lnTo>
                    <a:pt x="38" y="276"/>
                  </a:lnTo>
                  <a:lnTo>
                    <a:pt x="35" y="269"/>
                  </a:lnTo>
                  <a:lnTo>
                    <a:pt x="31" y="274"/>
                  </a:lnTo>
                  <a:lnTo>
                    <a:pt x="22" y="283"/>
                  </a:lnTo>
                  <a:lnTo>
                    <a:pt x="20" y="274"/>
                  </a:lnTo>
                  <a:lnTo>
                    <a:pt x="12" y="277"/>
                  </a:lnTo>
                  <a:lnTo>
                    <a:pt x="8" y="285"/>
                  </a:lnTo>
                  <a:lnTo>
                    <a:pt x="4" y="282"/>
                  </a:lnTo>
                  <a:lnTo>
                    <a:pt x="9" y="273"/>
                  </a:lnTo>
                  <a:lnTo>
                    <a:pt x="11" y="263"/>
                  </a:lnTo>
                  <a:lnTo>
                    <a:pt x="22" y="267"/>
                  </a:lnTo>
                  <a:lnTo>
                    <a:pt x="20" y="261"/>
                  </a:lnTo>
                  <a:lnTo>
                    <a:pt x="24" y="253"/>
                  </a:lnTo>
                  <a:lnTo>
                    <a:pt x="19" y="250"/>
                  </a:lnTo>
                  <a:lnTo>
                    <a:pt x="13" y="256"/>
                  </a:lnTo>
                  <a:lnTo>
                    <a:pt x="11" y="247"/>
                  </a:lnTo>
                  <a:lnTo>
                    <a:pt x="15" y="235"/>
                  </a:lnTo>
                  <a:lnTo>
                    <a:pt x="15" y="225"/>
                  </a:lnTo>
                  <a:lnTo>
                    <a:pt x="20" y="212"/>
                  </a:lnTo>
                  <a:lnTo>
                    <a:pt x="27" y="203"/>
                  </a:lnTo>
                  <a:lnTo>
                    <a:pt x="23" y="199"/>
                  </a:lnTo>
                  <a:lnTo>
                    <a:pt x="31" y="193"/>
                  </a:lnTo>
                  <a:lnTo>
                    <a:pt x="34" y="186"/>
                  </a:lnTo>
                  <a:lnTo>
                    <a:pt x="30" y="180"/>
                  </a:lnTo>
                  <a:lnTo>
                    <a:pt x="30" y="174"/>
                  </a:lnTo>
                  <a:lnTo>
                    <a:pt x="24" y="167"/>
                  </a:lnTo>
                  <a:lnTo>
                    <a:pt x="23" y="155"/>
                  </a:lnTo>
                  <a:lnTo>
                    <a:pt x="20" y="143"/>
                  </a:lnTo>
                  <a:lnTo>
                    <a:pt x="19" y="129"/>
                  </a:lnTo>
                  <a:lnTo>
                    <a:pt x="13" y="127"/>
                  </a:lnTo>
                  <a:lnTo>
                    <a:pt x="15" y="139"/>
                  </a:lnTo>
                  <a:lnTo>
                    <a:pt x="11" y="14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1" y="123"/>
                  </a:lnTo>
                  <a:lnTo>
                    <a:pt x="8" y="115"/>
                  </a:lnTo>
                  <a:lnTo>
                    <a:pt x="17" y="115"/>
                  </a:lnTo>
                  <a:lnTo>
                    <a:pt x="29" y="110"/>
                  </a:lnTo>
                  <a:lnTo>
                    <a:pt x="39" y="117"/>
                  </a:lnTo>
                  <a:lnTo>
                    <a:pt x="43" y="118"/>
                  </a:lnTo>
                  <a:lnTo>
                    <a:pt x="38" y="108"/>
                  </a:lnTo>
                  <a:lnTo>
                    <a:pt x="38" y="100"/>
                  </a:lnTo>
                  <a:lnTo>
                    <a:pt x="34" y="95"/>
                  </a:lnTo>
                  <a:lnTo>
                    <a:pt x="35" y="89"/>
                  </a:lnTo>
                  <a:lnTo>
                    <a:pt x="38" y="86"/>
                  </a:lnTo>
                  <a:lnTo>
                    <a:pt x="31" y="81"/>
                  </a:lnTo>
                  <a:lnTo>
                    <a:pt x="29" y="83"/>
                  </a:lnTo>
                  <a:lnTo>
                    <a:pt x="25" y="77"/>
                  </a:lnTo>
                  <a:lnTo>
                    <a:pt x="24" y="72"/>
                  </a:lnTo>
                  <a:lnTo>
                    <a:pt x="28" y="72"/>
                  </a:lnTo>
                  <a:lnTo>
                    <a:pt x="22" y="64"/>
                  </a:lnTo>
                  <a:lnTo>
                    <a:pt x="19" y="58"/>
                  </a:lnTo>
                  <a:lnTo>
                    <a:pt x="19" y="53"/>
                  </a:lnTo>
                  <a:lnTo>
                    <a:pt x="23" y="56"/>
                  </a:lnTo>
                  <a:lnTo>
                    <a:pt x="36" y="45"/>
                  </a:lnTo>
                  <a:lnTo>
                    <a:pt x="58" y="22"/>
                  </a:lnTo>
                  <a:lnTo>
                    <a:pt x="76" y="21"/>
                  </a:lnTo>
                  <a:lnTo>
                    <a:pt x="93" y="22"/>
                  </a:lnTo>
                  <a:lnTo>
                    <a:pt x="108" y="16"/>
                  </a:lnTo>
                  <a:lnTo>
                    <a:pt x="125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13" name="Freeform 112">
              <a:extLst>
                <a:ext uri="{FF2B5EF4-FFF2-40B4-BE49-F238E27FC236}">
                  <a16:creationId xmlns:a16="http://schemas.microsoft.com/office/drawing/2014/main" id="{AEB68A84-385B-0B2D-7B2D-08FBAE6DB46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341493" y="2438773"/>
              <a:ext cx="925252" cy="481653"/>
            </a:xfrm>
            <a:custGeom>
              <a:avLst/>
              <a:gdLst>
                <a:gd name="T0" fmla="*/ 0 w 1734"/>
                <a:gd name="T1" fmla="*/ 2147483647 h 848"/>
                <a:gd name="T2" fmla="*/ 2147483647 w 1734"/>
                <a:gd name="T3" fmla="*/ 2147483647 h 848"/>
                <a:gd name="T4" fmla="*/ 2147483647 w 1734"/>
                <a:gd name="T5" fmla="*/ 2147483647 h 848"/>
                <a:gd name="T6" fmla="*/ 2147483647 w 1734"/>
                <a:gd name="T7" fmla="*/ 2147483647 h 848"/>
                <a:gd name="T8" fmla="*/ 2147483647 w 1734"/>
                <a:gd name="T9" fmla="*/ 2147483647 h 848"/>
                <a:gd name="T10" fmla="*/ 2147483647 w 1734"/>
                <a:gd name="T11" fmla="*/ 2147483647 h 848"/>
                <a:gd name="T12" fmla="*/ 2147483647 w 1734"/>
                <a:gd name="T13" fmla="*/ 2147483647 h 848"/>
                <a:gd name="T14" fmla="*/ 2147483647 w 1734"/>
                <a:gd name="T15" fmla="*/ 2147483647 h 848"/>
                <a:gd name="T16" fmla="*/ 2147483647 w 1734"/>
                <a:gd name="T17" fmla="*/ 0 h 848"/>
                <a:gd name="T18" fmla="*/ 2147483647 w 1734"/>
                <a:gd name="T19" fmla="*/ 0 h 848"/>
                <a:gd name="T20" fmla="*/ 2147483647 w 1734"/>
                <a:gd name="T21" fmla="*/ 0 h 848"/>
                <a:gd name="T22" fmla="*/ 2147483647 w 1734"/>
                <a:gd name="T23" fmla="*/ 2147483647 h 848"/>
                <a:gd name="T24" fmla="*/ 2147483647 w 1734"/>
                <a:gd name="T25" fmla="*/ 2147483647 h 848"/>
                <a:gd name="T26" fmla="*/ 2147483647 w 1734"/>
                <a:gd name="T27" fmla="*/ 2147483647 h 848"/>
                <a:gd name="T28" fmla="*/ 2147483647 w 1734"/>
                <a:gd name="T29" fmla="*/ 2147483647 h 848"/>
                <a:gd name="T30" fmla="*/ 2147483647 w 1734"/>
                <a:gd name="T31" fmla="*/ 2147483647 h 848"/>
                <a:gd name="T32" fmla="*/ 2147483647 w 1734"/>
                <a:gd name="T33" fmla="*/ 2147483647 h 848"/>
                <a:gd name="T34" fmla="*/ 2147483647 w 1734"/>
                <a:gd name="T35" fmla="*/ 2147483647 h 848"/>
                <a:gd name="T36" fmla="*/ 2147483647 w 1734"/>
                <a:gd name="T37" fmla="*/ 2147483647 h 848"/>
                <a:gd name="T38" fmla="*/ 2147483647 w 1734"/>
                <a:gd name="T39" fmla="*/ 2147483647 h 848"/>
                <a:gd name="T40" fmla="*/ 2147483647 w 1734"/>
                <a:gd name="T41" fmla="*/ 2147483647 h 848"/>
                <a:gd name="T42" fmla="*/ 2147483647 w 1734"/>
                <a:gd name="T43" fmla="*/ 2147483647 h 848"/>
                <a:gd name="T44" fmla="*/ 2147483647 w 1734"/>
                <a:gd name="T45" fmla="*/ 2147483647 h 848"/>
                <a:gd name="T46" fmla="*/ 2147483647 w 1734"/>
                <a:gd name="T47" fmla="*/ 2147483647 h 848"/>
                <a:gd name="T48" fmla="*/ 2147483647 w 1734"/>
                <a:gd name="T49" fmla="*/ 2147483647 h 848"/>
                <a:gd name="T50" fmla="*/ 2147483647 w 1734"/>
                <a:gd name="T51" fmla="*/ 2147483647 h 848"/>
                <a:gd name="T52" fmla="*/ 2147483647 w 1734"/>
                <a:gd name="T53" fmla="*/ 2147483647 h 848"/>
                <a:gd name="T54" fmla="*/ 2147483647 w 1734"/>
                <a:gd name="T55" fmla="*/ 2147483647 h 848"/>
                <a:gd name="T56" fmla="*/ 2147483647 w 1734"/>
                <a:gd name="T57" fmla="*/ 2147483647 h 848"/>
                <a:gd name="T58" fmla="*/ 2147483647 w 1734"/>
                <a:gd name="T59" fmla="*/ 2147483647 h 848"/>
                <a:gd name="T60" fmla="*/ 2147483647 w 1734"/>
                <a:gd name="T61" fmla="*/ 2147483647 h 848"/>
                <a:gd name="T62" fmla="*/ 2147483647 w 1734"/>
                <a:gd name="T63" fmla="*/ 2147483647 h 848"/>
                <a:gd name="T64" fmla="*/ 2147483647 w 1734"/>
                <a:gd name="T65" fmla="*/ 2147483647 h 848"/>
                <a:gd name="T66" fmla="*/ 2147483647 w 1734"/>
                <a:gd name="T67" fmla="*/ 2147483647 h 848"/>
                <a:gd name="T68" fmla="*/ 2147483647 w 1734"/>
                <a:gd name="T69" fmla="*/ 2147483647 h 848"/>
                <a:gd name="T70" fmla="*/ 2147483647 w 1734"/>
                <a:gd name="T71" fmla="*/ 2147483647 h 848"/>
                <a:gd name="T72" fmla="*/ 2147483647 w 1734"/>
                <a:gd name="T73" fmla="*/ 2147483647 h 848"/>
                <a:gd name="T74" fmla="*/ 2147483647 w 1734"/>
                <a:gd name="T75" fmla="*/ 2147483647 h 848"/>
                <a:gd name="T76" fmla="*/ 2147483647 w 1734"/>
                <a:gd name="T77" fmla="*/ 2147483647 h 848"/>
                <a:gd name="T78" fmla="*/ 2147483647 w 1734"/>
                <a:gd name="T79" fmla="*/ 2147483647 h 848"/>
                <a:gd name="T80" fmla="*/ 2147483647 w 1734"/>
                <a:gd name="T81" fmla="*/ 2147483647 h 848"/>
                <a:gd name="T82" fmla="*/ 2147483647 w 1734"/>
                <a:gd name="T83" fmla="*/ 2147483647 h 848"/>
                <a:gd name="T84" fmla="*/ 2147483647 w 1734"/>
                <a:gd name="T85" fmla="*/ 2147483647 h 848"/>
                <a:gd name="T86" fmla="*/ 2147483647 w 1734"/>
                <a:gd name="T87" fmla="*/ 2147483647 h 848"/>
                <a:gd name="T88" fmla="*/ 2147483647 w 1734"/>
                <a:gd name="T89" fmla="*/ 2147483647 h 848"/>
                <a:gd name="T90" fmla="*/ 2147483647 w 1734"/>
                <a:gd name="T91" fmla="*/ 2147483647 h 848"/>
                <a:gd name="T92" fmla="*/ 2147483647 w 1734"/>
                <a:gd name="T93" fmla="*/ 2147483647 h 848"/>
                <a:gd name="T94" fmla="*/ 2147483647 w 1734"/>
                <a:gd name="T95" fmla="*/ 2147483647 h 848"/>
                <a:gd name="T96" fmla="*/ 2147483647 w 1734"/>
                <a:gd name="T97" fmla="*/ 2147483647 h 848"/>
                <a:gd name="T98" fmla="*/ 2147483647 w 1734"/>
                <a:gd name="T99" fmla="*/ 2147483647 h 848"/>
                <a:gd name="T100" fmla="*/ 2147483647 w 1734"/>
                <a:gd name="T101" fmla="*/ 2147483647 h 848"/>
                <a:gd name="T102" fmla="*/ 0 w 1734"/>
                <a:gd name="T103" fmla="*/ 2147483647 h 84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734"/>
                <a:gd name="T157" fmla="*/ 0 h 848"/>
                <a:gd name="T158" fmla="*/ 1734 w 1734"/>
                <a:gd name="T159" fmla="*/ 848 h 84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734" h="848">
                  <a:moveTo>
                    <a:pt x="0" y="273"/>
                  </a:moveTo>
                  <a:lnTo>
                    <a:pt x="12" y="251"/>
                  </a:lnTo>
                  <a:lnTo>
                    <a:pt x="28" y="234"/>
                  </a:lnTo>
                  <a:lnTo>
                    <a:pt x="46" y="227"/>
                  </a:lnTo>
                  <a:lnTo>
                    <a:pt x="65" y="221"/>
                  </a:lnTo>
                  <a:lnTo>
                    <a:pt x="84" y="208"/>
                  </a:lnTo>
                  <a:lnTo>
                    <a:pt x="104" y="192"/>
                  </a:lnTo>
                  <a:lnTo>
                    <a:pt x="129" y="180"/>
                  </a:lnTo>
                  <a:lnTo>
                    <a:pt x="154" y="158"/>
                  </a:lnTo>
                  <a:lnTo>
                    <a:pt x="195" y="146"/>
                  </a:lnTo>
                  <a:lnTo>
                    <a:pt x="220" y="135"/>
                  </a:lnTo>
                  <a:lnTo>
                    <a:pt x="243" y="132"/>
                  </a:lnTo>
                  <a:lnTo>
                    <a:pt x="265" y="136"/>
                  </a:lnTo>
                  <a:lnTo>
                    <a:pt x="281" y="142"/>
                  </a:lnTo>
                  <a:lnTo>
                    <a:pt x="294" y="153"/>
                  </a:lnTo>
                  <a:lnTo>
                    <a:pt x="313" y="149"/>
                  </a:lnTo>
                  <a:lnTo>
                    <a:pt x="334" y="148"/>
                  </a:lnTo>
                  <a:lnTo>
                    <a:pt x="351" y="151"/>
                  </a:lnTo>
                  <a:lnTo>
                    <a:pt x="382" y="180"/>
                  </a:lnTo>
                  <a:lnTo>
                    <a:pt x="387" y="187"/>
                  </a:lnTo>
                  <a:lnTo>
                    <a:pt x="404" y="190"/>
                  </a:lnTo>
                  <a:lnTo>
                    <a:pt x="451" y="183"/>
                  </a:lnTo>
                  <a:lnTo>
                    <a:pt x="464" y="189"/>
                  </a:lnTo>
                  <a:lnTo>
                    <a:pt x="508" y="190"/>
                  </a:lnTo>
                  <a:lnTo>
                    <a:pt x="546" y="185"/>
                  </a:lnTo>
                  <a:lnTo>
                    <a:pt x="556" y="180"/>
                  </a:lnTo>
                  <a:lnTo>
                    <a:pt x="556" y="172"/>
                  </a:lnTo>
                  <a:lnTo>
                    <a:pt x="552" y="160"/>
                  </a:lnTo>
                  <a:lnTo>
                    <a:pt x="555" y="146"/>
                  </a:lnTo>
                  <a:lnTo>
                    <a:pt x="565" y="130"/>
                  </a:lnTo>
                  <a:lnTo>
                    <a:pt x="565" y="114"/>
                  </a:lnTo>
                  <a:lnTo>
                    <a:pt x="554" y="99"/>
                  </a:lnTo>
                  <a:lnTo>
                    <a:pt x="550" y="81"/>
                  </a:lnTo>
                  <a:lnTo>
                    <a:pt x="552" y="63"/>
                  </a:lnTo>
                  <a:lnTo>
                    <a:pt x="568" y="49"/>
                  </a:lnTo>
                  <a:lnTo>
                    <a:pt x="582" y="33"/>
                  </a:lnTo>
                  <a:lnTo>
                    <a:pt x="600" y="18"/>
                  </a:lnTo>
                  <a:lnTo>
                    <a:pt x="611" y="1"/>
                  </a:lnTo>
                  <a:lnTo>
                    <a:pt x="625" y="0"/>
                  </a:lnTo>
                  <a:lnTo>
                    <a:pt x="645" y="6"/>
                  </a:lnTo>
                  <a:lnTo>
                    <a:pt x="659" y="17"/>
                  </a:lnTo>
                  <a:lnTo>
                    <a:pt x="696" y="27"/>
                  </a:lnTo>
                  <a:lnTo>
                    <a:pt x="707" y="41"/>
                  </a:lnTo>
                  <a:lnTo>
                    <a:pt x="731" y="47"/>
                  </a:lnTo>
                  <a:lnTo>
                    <a:pt x="755" y="50"/>
                  </a:lnTo>
                  <a:lnTo>
                    <a:pt x="772" y="57"/>
                  </a:lnTo>
                  <a:lnTo>
                    <a:pt x="782" y="73"/>
                  </a:lnTo>
                  <a:lnTo>
                    <a:pt x="787" y="103"/>
                  </a:lnTo>
                  <a:lnTo>
                    <a:pt x="787" y="124"/>
                  </a:lnTo>
                  <a:lnTo>
                    <a:pt x="792" y="124"/>
                  </a:lnTo>
                  <a:lnTo>
                    <a:pt x="807" y="138"/>
                  </a:lnTo>
                  <a:lnTo>
                    <a:pt x="830" y="154"/>
                  </a:lnTo>
                  <a:lnTo>
                    <a:pt x="864" y="165"/>
                  </a:lnTo>
                  <a:lnTo>
                    <a:pt x="892" y="159"/>
                  </a:lnTo>
                  <a:lnTo>
                    <a:pt x="919" y="144"/>
                  </a:lnTo>
                  <a:lnTo>
                    <a:pt x="944" y="132"/>
                  </a:lnTo>
                  <a:lnTo>
                    <a:pt x="975" y="140"/>
                  </a:lnTo>
                  <a:lnTo>
                    <a:pt x="1023" y="157"/>
                  </a:lnTo>
                  <a:lnTo>
                    <a:pt x="1033" y="169"/>
                  </a:lnTo>
                  <a:lnTo>
                    <a:pt x="1034" y="169"/>
                  </a:lnTo>
                  <a:lnTo>
                    <a:pt x="1040" y="174"/>
                  </a:lnTo>
                  <a:lnTo>
                    <a:pt x="1062" y="186"/>
                  </a:lnTo>
                  <a:lnTo>
                    <a:pt x="1083" y="192"/>
                  </a:lnTo>
                  <a:lnTo>
                    <a:pt x="1104" y="201"/>
                  </a:lnTo>
                  <a:lnTo>
                    <a:pt x="1118" y="221"/>
                  </a:lnTo>
                  <a:lnTo>
                    <a:pt x="1145" y="237"/>
                  </a:lnTo>
                  <a:lnTo>
                    <a:pt x="1177" y="242"/>
                  </a:lnTo>
                  <a:lnTo>
                    <a:pt x="1200" y="249"/>
                  </a:lnTo>
                  <a:lnTo>
                    <a:pt x="1218" y="250"/>
                  </a:lnTo>
                  <a:lnTo>
                    <a:pt x="1243" y="248"/>
                  </a:lnTo>
                  <a:lnTo>
                    <a:pt x="1261" y="256"/>
                  </a:lnTo>
                  <a:lnTo>
                    <a:pt x="1317" y="237"/>
                  </a:lnTo>
                  <a:lnTo>
                    <a:pt x="1351" y="229"/>
                  </a:lnTo>
                  <a:lnTo>
                    <a:pt x="1378" y="224"/>
                  </a:lnTo>
                  <a:lnTo>
                    <a:pt x="1415" y="195"/>
                  </a:lnTo>
                  <a:lnTo>
                    <a:pt x="1439" y="179"/>
                  </a:lnTo>
                  <a:lnTo>
                    <a:pt x="1464" y="170"/>
                  </a:lnTo>
                  <a:lnTo>
                    <a:pt x="1489" y="180"/>
                  </a:lnTo>
                  <a:lnTo>
                    <a:pt x="1507" y="195"/>
                  </a:lnTo>
                  <a:lnTo>
                    <a:pt x="1528" y="199"/>
                  </a:lnTo>
                  <a:lnTo>
                    <a:pt x="1545" y="195"/>
                  </a:lnTo>
                  <a:lnTo>
                    <a:pt x="1559" y="187"/>
                  </a:lnTo>
                  <a:lnTo>
                    <a:pt x="1565" y="190"/>
                  </a:lnTo>
                  <a:lnTo>
                    <a:pt x="1565" y="195"/>
                  </a:lnTo>
                  <a:lnTo>
                    <a:pt x="1556" y="203"/>
                  </a:lnTo>
                  <a:lnTo>
                    <a:pt x="1540" y="232"/>
                  </a:lnTo>
                  <a:lnTo>
                    <a:pt x="1529" y="246"/>
                  </a:lnTo>
                  <a:lnTo>
                    <a:pt x="1525" y="255"/>
                  </a:lnTo>
                  <a:lnTo>
                    <a:pt x="1525" y="271"/>
                  </a:lnTo>
                  <a:lnTo>
                    <a:pt x="1528" y="288"/>
                  </a:lnTo>
                  <a:lnTo>
                    <a:pt x="1525" y="308"/>
                  </a:lnTo>
                  <a:lnTo>
                    <a:pt x="1517" y="325"/>
                  </a:lnTo>
                  <a:lnTo>
                    <a:pt x="1517" y="347"/>
                  </a:lnTo>
                  <a:lnTo>
                    <a:pt x="1520" y="367"/>
                  </a:lnTo>
                  <a:lnTo>
                    <a:pt x="1529" y="382"/>
                  </a:lnTo>
                  <a:lnTo>
                    <a:pt x="1570" y="391"/>
                  </a:lnTo>
                  <a:lnTo>
                    <a:pt x="1595" y="389"/>
                  </a:lnTo>
                  <a:lnTo>
                    <a:pt x="1620" y="382"/>
                  </a:lnTo>
                  <a:lnTo>
                    <a:pt x="1638" y="369"/>
                  </a:lnTo>
                  <a:lnTo>
                    <a:pt x="1667" y="348"/>
                  </a:lnTo>
                  <a:lnTo>
                    <a:pt x="1673" y="362"/>
                  </a:lnTo>
                  <a:lnTo>
                    <a:pt x="1686" y="377"/>
                  </a:lnTo>
                  <a:lnTo>
                    <a:pt x="1715" y="401"/>
                  </a:lnTo>
                  <a:lnTo>
                    <a:pt x="1721" y="415"/>
                  </a:lnTo>
                  <a:lnTo>
                    <a:pt x="1719" y="428"/>
                  </a:lnTo>
                  <a:lnTo>
                    <a:pt x="1719" y="437"/>
                  </a:lnTo>
                  <a:lnTo>
                    <a:pt x="1733" y="445"/>
                  </a:lnTo>
                  <a:lnTo>
                    <a:pt x="1734" y="458"/>
                  </a:lnTo>
                  <a:lnTo>
                    <a:pt x="1724" y="464"/>
                  </a:lnTo>
                  <a:lnTo>
                    <a:pt x="1707" y="461"/>
                  </a:lnTo>
                  <a:lnTo>
                    <a:pt x="1688" y="456"/>
                  </a:lnTo>
                  <a:lnTo>
                    <a:pt x="1663" y="461"/>
                  </a:lnTo>
                  <a:lnTo>
                    <a:pt x="1638" y="465"/>
                  </a:lnTo>
                  <a:lnTo>
                    <a:pt x="1613" y="464"/>
                  </a:lnTo>
                  <a:lnTo>
                    <a:pt x="1592" y="468"/>
                  </a:lnTo>
                  <a:lnTo>
                    <a:pt x="1576" y="482"/>
                  </a:lnTo>
                  <a:lnTo>
                    <a:pt x="1525" y="538"/>
                  </a:lnTo>
                  <a:lnTo>
                    <a:pt x="1507" y="550"/>
                  </a:lnTo>
                  <a:lnTo>
                    <a:pt x="1500" y="552"/>
                  </a:lnTo>
                  <a:lnTo>
                    <a:pt x="1489" y="551"/>
                  </a:lnTo>
                  <a:lnTo>
                    <a:pt x="1477" y="551"/>
                  </a:lnTo>
                  <a:lnTo>
                    <a:pt x="1457" y="573"/>
                  </a:lnTo>
                  <a:lnTo>
                    <a:pt x="1438" y="594"/>
                  </a:lnTo>
                  <a:lnTo>
                    <a:pt x="1411" y="611"/>
                  </a:lnTo>
                  <a:lnTo>
                    <a:pt x="1393" y="611"/>
                  </a:lnTo>
                  <a:lnTo>
                    <a:pt x="1372" y="606"/>
                  </a:lnTo>
                  <a:lnTo>
                    <a:pt x="1360" y="593"/>
                  </a:lnTo>
                  <a:lnTo>
                    <a:pt x="1344" y="588"/>
                  </a:lnTo>
                  <a:lnTo>
                    <a:pt x="1323" y="594"/>
                  </a:lnTo>
                  <a:lnTo>
                    <a:pt x="1314" y="611"/>
                  </a:lnTo>
                  <a:lnTo>
                    <a:pt x="1301" y="631"/>
                  </a:lnTo>
                  <a:lnTo>
                    <a:pt x="1298" y="646"/>
                  </a:lnTo>
                  <a:lnTo>
                    <a:pt x="1320" y="675"/>
                  </a:lnTo>
                  <a:lnTo>
                    <a:pt x="1323" y="689"/>
                  </a:lnTo>
                  <a:lnTo>
                    <a:pt x="1265" y="738"/>
                  </a:lnTo>
                  <a:lnTo>
                    <a:pt x="1255" y="752"/>
                  </a:lnTo>
                  <a:lnTo>
                    <a:pt x="1235" y="767"/>
                  </a:lnTo>
                  <a:lnTo>
                    <a:pt x="1221" y="776"/>
                  </a:lnTo>
                  <a:lnTo>
                    <a:pt x="1191" y="787"/>
                  </a:lnTo>
                  <a:lnTo>
                    <a:pt x="1163" y="789"/>
                  </a:lnTo>
                  <a:lnTo>
                    <a:pt x="1158" y="792"/>
                  </a:lnTo>
                  <a:lnTo>
                    <a:pt x="1130" y="783"/>
                  </a:lnTo>
                  <a:lnTo>
                    <a:pt x="1114" y="789"/>
                  </a:lnTo>
                  <a:lnTo>
                    <a:pt x="1088" y="788"/>
                  </a:lnTo>
                  <a:lnTo>
                    <a:pt x="1070" y="795"/>
                  </a:lnTo>
                  <a:lnTo>
                    <a:pt x="1033" y="802"/>
                  </a:lnTo>
                  <a:lnTo>
                    <a:pt x="1022" y="805"/>
                  </a:lnTo>
                  <a:lnTo>
                    <a:pt x="1014" y="815"/>
                  </a:lnTo>
                  <a:lnTo>
                    <a:pt x="1003" y="819"/>
                  </a:lnTo>
                  <a:lnTo>
                    <a:pt x="990" y="821"/>
                  </a:lnTo>
                  <a:lnTo>
                    <a:pt x="960" y="832"/>
                  </a:lnTo>
                  <a:lnTo>
                    <a:pt x="942" y="847"/>
                  </a:lnTo>
                  <a:lnTo>
                    <a:pt x="932" y="848"/>
                  </a:lnTo>
                  <a:lnTo>
                    <a:pt x="920" y="845"/>
                  </a:lnTo>
                  <a:lnTo>
                    <a:pt x="909" y="836"/>
                  </a:lnTo>
                  <a:lnTo>
                    <a:pt x="903" y="834"/>
                  </a:lnTo>
                  <a:lnTo>
                    <a:pt x="874" y="832"/>
                  </a:lnTo>
                  <a:lnTo>
                    <a:pt x="852" y="825"/>
                  </a:lnTo>
                  <a:lnTo>
                    <a:pt x="834" y="815"/>
                  </a:lnTo>
                  <a:lnTo>
                    <a:pt x="801" y="805"/>
                  </a:lnTo>
                  <a:lnTo>
                    <a:pt x="778" y="795"/>
                  </a:lnTo>
                  <a:lnTo>
                    <a:pt x="763" y="782"/>
                  </a:lnTo>
                  <a:lnTo>
                    <a:pt x="754" y="771"/>
                  </a:lnTo>
                  <a:lnTo>
                    <a:pt x="744" y="767"/>
                  </a:lnTo>
                  <a:lnTo>
                    <a:pt x="710" y="756"/>
                  </a:lnTo>
                  <a:lnTo>
                    <a:pt x="693" y="754"/>
                  </a:lnTo>
                  <a:lnTo>
                    <a:pt x="675" y="756"/>
                  </a:lnTo>
                  <a:lnTo>
                    <a:pt x="527" y="766"/>
                  </a:lnTo>
                  <a:lnTo>
                    <a:pt x="506" y="766"/>
                  </a:lnTo>
                  <a:lnTo>
                    <a:pt x="492" y="760"/>
                  </a:lnTo>
                  <a:lnTo>
                    <a:pt x="476" y="746"/>
                  </a:lnTo>
                  <a:lnTo>
                    <a:pt x="463" y="730"/>
                  </a:lnTo>
                  <a:lnTo>
                    <a:pt x="451" y="716"/>
                  </a:lnTo>
                  <a:lnTo>
                    <a:pt x="439" y="696"/>
                  </a:lnTo>
                  <a:lnTo>
                    <a:pt x="432" y="676"/>
                  </a:lnTo>
                  <a:lnTo>
                    <a:pt x="421" y="659"/>
                  </a:lnTo>
                  <a:lnTo>
                    <a:pt x="410" y="644"/>
                  </a:lnTo>
                  <a:lnTo>
                    <a:pt x="398" y="643"/>
                  </a:lnTo>
                  <a:lnTo>
                    <a:pt x="385" y="633"/>
                  </a:lnTo>
                  <a:lnTo>
                    <a:pt x="353" y="625"/>
                  </a:lnTo>
                  <a:lnTo>
                    <a:pt x="337" y="616"/>
                  </a:lnTo>
                  <a:lnTo>
                    <a:pt x="322" y="606"/>
                  </a:lnTo>
                  <a:lnTo>
                    <a:pt x="292" y="596"/>
                  </a:lnTo>
                  <a:lnTo>
                    <a:pt x="280" y="590"/>
                  </a:lnTo>
                  <a:lnTo>
                    <a:pt x="267" y="590"/>
                  </a:lnTo>
                  <a:lnTo>
                    <a:pt x="254" y="595"/>
                  </a:lnTo>
                  <a:lnTo>
                    <a:pt x="245" y="595"/>
                  </a:lnTo>
                  <a:lnTo>
                    <a:pt x="211" y="584"/>
                  </a:lnTo>
                  <a:lnTo>
                    <a:pt x="180" y="581"/>
                  </a:lnTo>
                  <a:lnTo>
                    <a:pt x="164" y="574"/>
                  </a:lnTo>
                  <a:lnTo>
                    <a:pt x="157" y="567"/>
                  </a:lnTo>
                  <a:lnTo>
                    <a:pt x="158" y="552"/>
                  </a:lnTo>
                  <a:lnTo>
                    <a:pt x="166" y="536"/>
                  </a:lnTo>
                  <a:lnTo>
                    <a:pt x="167" y="517"/>
                  </a:lnTo>
                  <a:lnTo>
                    <a:pt x="163" y="498"/>
                  </a:lnTo>
                  <a:lnTo>
                    <a:pt x="163" y="470"/>
                  </a:lnTo>
                  <a:lnTo>
                    <a:pt x="151" y="427"/>
                  </a:lnTo>
                  <a:lnTo>
                    <a:pt x="141" y="410"/>
                  </a:lnTo>
                  <a:lnTo>
                    <a:pt x="134" y="388"/>
                  </a:lnTo>
                  <a:lnTo>
                    <a:pt x="124" y="372"/>
                  </a:lnTo>
                  <a:lnTo>
                    <a:pt x="108" y="369"/>
                  </a:lnTo>
                  <a:lnTo>
                    <a:pt x="93" y="361"/>
                  </a:lnTo>
                  <a:lnTo>
                    <a:pt x="77" y="358"/>
                  </a:lnTo>
                  <a:lnTo>
                    <a:pt x="70" y="369"/>
                  </a:lnTo>
                  <a:lnTo>
                    <a:pt x="55" y="358"/>
                  </a:lnTo>
                  <a:lnTo>
                    <a:pt x="44" y="337"/>
                  </a:lnTo>
                  <a:lnTo>
                    <a:pt x="14" y="314"/>
                  </a:lnTo>
                  <a:lnTo>
                    <a:pt x="3" y="288"/>
                  </a:lnTo>
                  <a:lnTo>
                    <a:pt x="0" y="277"/>
                  </a:lnTo>
                  <a:lnTo>
                    <a:pt x="0" y="27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14" name="Freeform 113">
              <a:extLst>
                <a:ext uri="{FF2B5EF4-FFF2-40B4-BE49-F238E27FC236}">
                  <a16:creationId xmlns:a16="http://schemas.microsoft.com/office/drawing/2014/main" id="{CCC6E7F2-BBDD-5C23-F782-B1540E946FC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950368" y="3702348"/>
              <a:ext cx="70141" cy="65542"/>
            </a:xfrm>
            <a:custGeom>
              <a:avLst/>
              <a:gdLst>
                <a:gd name="T0" fmla="*/ 2147483647 w 127"/>
                <a:gd name="T1" fmla="*/ 0 h 113"/>
                <a:gd name="T2" fmla="*/ 2147483647 w 127"/>
                <a:gd name="T3" fmla="*/ 0 h 113"/>
                <a:gd name="T4" fmla="*/ 2147483647 w 127"/>
                <a:gd name="T5" fmla="*/ 0 h 113"/>
                <a:gd name="T6" fmla="*/ 2147483647 w 127"/>
                <a:gd name="T7" fmla="*/ 0 h 113"/>
                <a:gd name="T8" fmla="*/ 2147483647 w 127"/>
                <a:gd name="T9" fmla="*/ 0 h 113"/>
                <a:gd name="T10" fmla="*/ 2147483647 w 127"/>
                <a:gd name="T11" fmla="*/ 0 h 113"/>
                <a:gd name="T12" fmla="*/ 2147483647 w 127"/>
                <a:gd name="T13" fmla="*/ 0 h 113"/>
                <a:gd name="T14" fmla="*/ 2147483647 w 127"/>
                <a:gd name="T15" fmla="*/ 0 h 113"/>
                <a:gd name="T16" fmla="*/ 2147483647 w 127"/>
                <a:gd name="T17" fmla="*/ 0 h 113"/>
                <a:gd name="T18" fmla="*/ 2147483647 w 127"/>
                <a:gd name="T19" fmla="*/ 2147483647 h 113"/>
                <a:gd name="T20" fmla="*/ 2147483647 w 127"/>
                <a:gd name="T21" fmla="*/ 2147483647 h 113"/>
                <a:gd name="T22" fmla="*/ 2147483647 w 127"/>
                <a:gd name="T23" fmla="*/ 2147483647 h 113"/>
                <a:gd name="T24" fmla="*/ 2147483647 w 127"/>
                <a:gd name="T25" fmla="*/ 2147483647 h 113"/>
                <a:gd name="T26" fmla="*/ 2147483647 w 127"/>
                <a:gd name="T27" fmla="*/ 2147483647 h 113"/>
                <a:gd name="T28" fmla="*/ 2147483647 w 127"/>
                <a:gd name="T29" fmla="*/ 2147483647 h 113"/>
                <a:gd name="T30" fmla="*/ 2147483647 w 127"/>
                <a:gd name="T31" fmla="*/ 2147483647 h 113"/>
                <a:gd name="T32" fmla="*/ 0 w 127"/>
                <a:gd name="T33" fmla="*/ 2147483647 h 113"/>
                <a:gd name="T34" fmla="*/ 0 w 127"/>
                <a:gd name="T35" fmla="*/ 2147483647 h 113"/>
                <a:gd name="T36" fmla="*/ 0 w 127"/>
                <a:gd name="T37" fmla="*/ 0 h 113"/>
                <a:gd name="T38" fmla="*/ 0 w 127"/>
                <a:gd name="T39" fmla="*/ 0 h 113"/>
                <a:gd name="T40" fmla="*/ 0 w 127"/>
                <a:gd name="T41" fmla="*/ 0 h 113"/>
                <a:gd name="T42" fmla="*/ 0 w 127"/>
                <a:gd name="T43" fmla="*/ 0 h 113"/>
                <a:gd name="T44" fmla="*/ 0 w 127"/>
                <a:gd name="T45" fmla="*/ 0 h 113"/>
                <a:gd name="T46" fmla="*/ 0 w 127"/>
                <a:gd name="T47" fmla="*/ 0 h 113"/>
                <a:gd name="T48" fmla="*/ 2147483647 w 127"/>
                <a:gd name="T49" fmla="*/ 0 h 113"/>
                <a:gd name="T50" fmla="*/ 2147483647 w 127"/>
                <a:gd name="T51" fmla="*/ 0 h 113"/>
                <a:gd name="T52" fmla="*/ 2147483647 w 127"/>
                <a:gd name="T53" fmla="*/ 0 h 113"/>
                <a:gd name="T54" fmla="*/ 2147483647 w 127"/>
                <a:gd name="T55" fmla="*/ 0 h 113"/>
                <a:gd name="T56" fmla="*/ 2147483647 w 127"/>
                <a:gd name="T57" fmla="*/ 0 h 113"/>
                <a:gd name="T58" fmla="*/ 2147483647 w 127"/>
                <a:gd name="T59" fmla="*/ 0 h 113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27"/>
                <a:gd name="T91" fmla="*/ 0 h 113"/>
                <a:gd name="T92" fmla="*/ 127 w 127"/>
                <a:gd name="T93" fmla="*/ 113 h 113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27" h="113">
                  <a:moveTo>
                    <a:pt x="102" y="5"/>
                  </a:moveTo>
                  <a:lnTo>
                    <a:pt x="100" y="5"/>
                  </a:lnTo>
                  <a:lnTo>
                    <a:pt x="105" y="0"/>
                  </a:lnTo>
                  <a:lnTo>
                    <a:pt x="112" y="5"/>
                  </a:lnTo>
                  <a:lnTo>
                    <a:pt x="123" y="8"/>
                  </a:lnTo>
                  <a:lnTo>
                    <a:pt x="127" y="20"/>
                  </a:lnTo>
                  <a:lnTo>
                    <a:pt x="127" y="27"/>
                  </a:lnTo>
                  <a:lnTo>
                    <a:pt x="117" y="37"/>
                  </a:lnTo>
                  <a:lnTo>
                    <a:pt x="105" y="61"/>
                  </a:lnTo>
                  <a:lnTo>
                    <a:pt x="100" y="79"/>
                  </a:lnTo>
                  <a:lnTo>
                    <a:pt x="91" y="85"/>
                  </a:lnTo>
                  <a:lnTo>
                    <a:pt x="78" y="99"/>
                  </a:lnTo>
                  <a:lnTo>
                    <a:pt x="66" y="101"/>
                  </a:lnTo>
                  <a:lnTo>
                    <a:pt x="59" y="113"/>
                  </a:lnTo>
                  <a:lnTo>
                    <a:pt x="53" y="112"/>
                  </a:lnTo>
                  <a:lnTo>
                    <a:pt x="48" y="109"/>
                  </a:lnTo>
                  <a:lnTo>
                    <a:pt x="11" y="97"/>
                  </a:lnTo>
                  <a:lnTo>
                    <a:pt x="3" y="86"/>
                  </a:lnTo>
                  <a:lnTo>
                    <a:pt x="0" y="50"/>
                  </a:lnTo>
                  <a:lnTo>
                    <a:pt x="6" y="45"/>
                  </a:lnTo>
                  <a:lnTo>
                    <a:pt x="19" y="31"/>
                  </a:lnTo>
                  <a:lnTo>
                    <a:pt x="28" y="24"/>
                  </a:lnTo>
                  <a:lnTo>
                    <a:pt x="30" y="20"/>
                  </a:lnTo>
                  <a:lnTo>
                    <a:pt x="37" y="15"/>
                  </a:lnTo>
                  <a:lnTo>
                    <a:pt x="49" y="10"/>
                  </a:lnTo>
                  <a:lnTo>
                    <a:pt x="78" y="9"/>
                  </a:lnTo>
                  <a:lnTo>
                    <a:pt x="85" y="4"/>
                  </a:lnTo>
                  <a:lnTo>
                    <a:pt x="92" y="5"/>
                  </a:lnTo>
                  <a:lnTo>
                    <a:pt x="97" y="4"/>
                  </a:lnTo>
                  <a:lnTo>
                    <a:pt x="102" y="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15" name="Freeform 114">
              <a:extLst>
                <a:ext uri="{FF2B5EF4-FFF2-40B4-BE49-F238E27FC236}">
                  <a16:creationId xmlns:a16="http://schemas.microsoft.com/office/drawing/2014/main" id="{1583ED70-6059-86A2-BE3C-25250AE0F52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925130" y="2371707"/>
              <a:ext cx="1792302" cy="1327593"/>
            </a:xfrm>
            <a:custGeom>
              <a:avLst/>
              <a:gdLst>
                <a:gd name="T0" fmla="*/ 2147483647 w 3356"/>
                <a:gd name="T1" fmla="*/ 2147483647 h 2335"/>
                <a:gd name="T2" fmla="*/ 2147483647 w 3356"/>
                <a:gd name="T3" fmla="*/ 2147483647 h 2335"/>
                <a:gd name="T4" fmla="*/ 2147483647 w 3356"/>
                <a:gd name="T5" fmla="*/ 2147483647 h 2335"/>
                <a:gd name="T6" fmla="*/ 2147483647 w 3356"/>
                <a:gd name="T7" fmla="*/ 2147483647 h 2335"/>
                <a:gd name="T8" fmla="*/ 2147483647 w 3356"/>
                <a:gd name="T9" fmla="*/ 2147483647 h 2335"/>
                <a:gd name="T10" fmla="*/ 2147483647 w 3356"/>
                <a:gd name="T11" fmla="*/ 2147483647 h 2335"/>
                <a:gd name="T12" fmla="*/ 2147483647 w 3356"/>
                <a:gd name="T13" fmla="*/ 2147483647 h 2335"/>
                <a:gd name="T14" fmla="*/ 2147483647 w 3356"/>
                <a:gd name="T15" fmla="*/ 2147483647 h 2335"/>
                <a:gd name="T16" fmla="*/ 2147483647 w 3356"/>
                <a:gd name="T17" fmla="*/ 2147483647 h 2335"/>
                <a:gd name="T18" fmla="*/ 2147483647 w 3356"/>
                <a:gd name="T19" fmla="*/ 2147483647 h 2335"/>
                <a:gd name="T20" fmla="*/ 2147483647 w 3356"/>
                <a:gd name="T21" fmla="*/ 2147483647 h 2335"/>
                <a:gd name="T22" fmla="*/ 2147483647 w 3356"/>
                <a:gd name="T23" fmla="*/ 2147483647 h 2335"/>
                <a:gd name="T24" fmla="*/ 2147483647 w 3356"/>
                <a:gd name="T25" fmla="*/ 2147483647 h 2335"/>
                <a:gd name="T26" fmla="*/ 2147483647 w 3356"/>
                <a:gd name="T27" fmla="*/ 2147483647 h 2335"/>
                <a:gd name="T28" fmla="*/ 2147483647 w 3356"/>
                <a:gd name="T29" fmla="*/ 2147483647 h 2335"/>
                <a:gd name="T30" fmla="*/ 2147483647 w 3356"/>
                <a:gd name="T31" fmla="*/ 2147483647 h 2335"/>
                <a:gd name="T32" fmla="*/ 2147483647 w 3356"/>
                <a:gd name="T33" fmla="*/ 2147483647 h 2335"/>
                <a:gd name="T34" fmla="*/ 2147483647 w 3356"/>
                <a:gd name="T35" fmla="*/ 2147483647 h 2335"/>
                <a:gd name="T36" fmla="*/ 2147483647 w 3356"/>
                <a:gd name="T37" fmla="*/ 2147483647 h 2335"/>
                <a:gd name="T38" fmla="*/ 2147483647 w 3356"/>
                <a:gd name="T39" fmla="*/ 2147483647 h 2335"/>
                <a:gd name="T40" fmla="*/ 2147483647 w 3356"/>
                <a:gd name="T41" fmla="*/ 2147483647 h 2335"/>
                <a:gd name="T42" fmla="*/ 2147483647 w 3356"/>
                <a:gd name="T43" fmla="*/ 2147483647 h 2335"/>
                <a:gd name="T44" fmla="*/ 2147483647 w 3356"/>
                <a:gd name="T45" fmla="*/ 2147483647 h 2335"/>
                <a:gd name="T46" fmla="*/ 2147483647 w 3356"/>
                <a:gd name="T47" fmla="*/ 2147483647 h 2335"/>
                <a:gd name="T48" fmla="*/ 2147483647 w 3356"/>
                <a:gd name="T49" fmla="*/ 2147483647 h 2335"/>
                <a:gd name="T50" fmla="*/ 2147483647 w 3356"/>
                <a:gd name="T51" fmla="*/ 2147483647 h 2335"/>
                <a:gd name="T52" fmla="*/ 2147483647 w 3356"/>
                <a:gd name="T53" fmla="*/ 2147483647 h 2335"/>
                <a:gd name="T54" fmla="*/ 2147483647 w 3356"/>
                <a:gd name="T55" fmla="*/ 2147483647 h 2335"/>
                <a:gd name="T56" fmla="*/ 2147483647 w 3356"/>
                <a:gd name="T57" fmla="*/ 2147483647 h 2335"/>
                <a:gd name="T58" fmla="*/ 2147483647 w 3356"/>
                <a:gd name="T59" fmla="*/ 2147483647 h 2335"/>
                <a:gd name="T60" fmla="*/ 2147483647 w 3356"/>
                <a:gd name="T61" fmla="*/ 2147483647 h 2335"/>
                <a:gd name="T62" fmla="*/ 2147483647 w 3356"/>
                <a:gd name="T63" fmla="*/ 2147483647 h 2335"/>
                <a:gd name="T64" fmla="*/ 2147483647 w 3356"/>
                <a:gd name="T65" fmla="*/ 2147483647 h 2335"/>
                <a:gd name="T66" fmla="*/ 2147483647 w 3356"/>
                <a:gd name="T67" fmla="*/ 2147483647 h 2335"/>
                <a:gd name="T68" fmla="*/ 2147483647 w 3356"/>
                <a:gd name="T69" fmla="*/ 2147483647 h 2335"/>
                <a:gd name="T70" fmla="*/ 2147483647 w 3356"/>
                <a:gd name="T71" fmla="*/ 2147483647 h 2335"/>
                <a:gd name="T72" fmla="*/ 2147483647 w 3356"/>
                <a:gd name="T73" fmla="*/ 2147483647 h 2335"/>
                <a:gd name="T74" fmla="*/ 2147483647 w 3356"/>
                <a:gd name="T75" fmla="*/ 2147483647 h 2335"/>
                <a:gd name="T76" fmla="*/ 2147483647 w 3356"/>
                <a:gd name="T77" fmla="*/ 2147483647 h 2335"/>
                <a:gd name="T78" fmla="*/ 2147483647 w 3356"/>
                <a:gd name="T79" fmla="*/ 2147483647 h 2335"/>
                <a:gd name="T80" fmla="*/ 2147483647 w 3356"/>
                <a:gd name="T81" fmla="*/ 2147483647 h 2335"/>
                <a:gd name="T82" fmla="*/ 2147483647 w 3356"/>
                <a:gd name="T83" fmla="*/ 0 h 2335"/>
                <a:gd name="T84" fmla="*/ 2147483647 w 3356"/>
                <a:gd name="T85" fmla="*/ 2147483647 h 2335"/>
                <a:gd name="T86" fmla="*/ 2147483647 w 3356"/>
                <a:gd name="T87" fmla="*/ 2147483647 h 2335"/>
                <a:gd name="T88" fmla="*/ 2147483647 w 3356"/>
                <a:gd name="T89" fmla="*/ 2147483647 h 2335"/>
                <a:gd name="T90" fmla="*/ 2147483647 w 3356"/>
                <a:gd name="T91" fmla="*/ 2147483647 h 2335"/>
                <a:gd name="T92" fmla="*/ 2147483647 w 3356"/>
                <a:gd name="T93" fmla="*/ 2147483647 h 2335"/>
                <a:gd name="T94" fmla="*/ 2147483647 w 3356"/>
                <a:gd name="T95" fmla="*/ 2147483647 h 2335"/>
                <a:gd name="T96" fmla="*/ 2147483647 w 3356"/>
                <a:gd name="T97" fmla="*/ 2147483647 h 2335"/>
                <a:gd name="T98" fmla="*/ 2147483647 w 3356"/>
                <a:gd name="T99" fmla="*/ 2147483647 h 2335"/>
                <a:gd name="T100" fmla="*/ 2147483647 w 3356"/>
                <a:gd name="T101" fmla="*/ 2147483647 h 2335"/>
                <a:gd name="T102" fmla="*/ 2147483647 w 3356"/>
                <a:gd name="T103" fmla="*/ 2147483647 h 2335"/>
                <a:gd name="T104" fmla="*/ 2147483647 w 3356"/>
                <a:gd name="T105" fmla="*/ 2147483647 h 2335"/>
                <a:gd name="T106" fmla="*/ 2147483647 w 3356"/>
                <a:gd name="T107" fmla="*/ 2147483647 h 2335"/>
                <a:gd name="T108" fmla="*/ 2147483647 w 3356"/>
                <a:gd name="T109" fmla="*/ 2147483647 h 2335"/>
                <a:gd name="T110" fmla="*/ 2147483647 w 3356"/>
                <a:gd name="T111" fmla="*/ 2147483647 h 2335"/>
                <a:gd name="T112" fmla="*/ 2147483647 w 3356"/>
                <a:gd name="T113" fmla="*/ 2147483647 h 2335"/>
                <a:gd name="T114" fmla="*/ 2147483647 w 3356"/>
                <a:gd name="T115" fmla="*/ 2147483647 h 2335"/>
                <a:gd name="T116" fmla="*/ 2147483647 w 3356"/>
                <a:gd name="T117" fmla="*/ 2147483647 h 2335"/>
                <a:gd name="T118" fmla="*/ 2147483647 w 3356"/>
                <a:gd name="T119" fmla="*/ 2147483647 h 2335"/>
                <a:gd name="T120" fmla="*/ 2147483647 w 3356"/>
                <a:gd name="T121" fmla="*/ 2147483647 h 2335"/>
                <a:gd name="T122" fmla="*/ 2147483647 w 3356"/>
                <a:gd name="T123" fmla="*/ 2147483647 h 2335"/>
                <a:gd name="T124" fmla="*/ 2147483647 w 3356"/>
                <a:gd name="T125" fmla="*/ 2147483647 h 233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356"/>
                <a:gd name="T190" fmla="*/ 0 h 2335"/>
                <a:gd name="T191" fmla="*/ 3356 w 3356"/>
                <a:gd name="T192" fmla="*/ 2335 h 233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356" h="2335">
                  <a:moveTo>
                    <a:pt x="2243" y="2202"/>
                  </a:moveTo>
                  <a:lnTo>
                    <a:pt x="2240" y="2209"/>
                  </a:lnTo>
                  <a:lnTo>
                    <a:pt x="2239" y="2206"/>
                  </a:lnTo>
                  <a:lnTo>
                    <a:pt x="2239" y="2202"/>
                  </a:lnTo>
                  <a:lnTo>
                    <a:pt x="2235" y="2199"/>
                  </a:lnTo>
                  <a:lnTo>
                    <a:pt x="2226" y="2201"/>
                  </a:lnTo>
                  <a:lnTo>
                    <a:pt x="2225" y="2202"/>
                  </a:lnTo>
                  <a:lnTo>
                    <a:pt x="2224" y="2202"/>
                  </a:lnTo>
                  <a:lnTo>
                    <a:pt x="2224" y="2205"/>
                  </a:lnTo>
                  <a:lnTo>
                    <a:pt x="2229" y="2211"/>
                  </a:lnTo>
                  <a:lnTo>
                    <a:pt x="2224" y="2212"/>
                  </a:lnTo>
                  <a:lnTo>
                    <a:pt x="2211" y="2213"/>
                  </a:lnTo>
                  <a:lnTo>
                    <a:pt x="2210" y="2209"/>
                  </a:lnTo>
                  <a:lnTo>
                    <a:pt x="2211" y="2206"/>
                  </a:lnTo>
                  <a:lnTo>
                    <a:pt x="2209" y="2202"/>
                  </a:lnTo>
                  <a:lnTo>
                    <a:pt x="2199" y="2194"/>
                  </a:lnTo>
                  <a:lnTo>
                    <a:pt x="2191" y="2191"/>
                  </a:lnTo>
                  <a:lnTo>
                    <a:pt x="2188" y="2185"/>
                  </a:lnTo>
                  <a:lnTo>
                    <a:pt x="2186" y="2198"/>
                  </a:lnTo>
                  <a:lnTo>
                    <a:pt x="2186" y="2209"/>
                  </a:lnTo>
                  <a:lnTo>
                    <a:pt x="2187" y="2216"/>
                  </a:lnTo>
                  <a:lnTo>
                    <a:pt x="2187" y="2218"/>
                  </a:lnTo>
                  <a:lnTo>
                    <a:pt x="2183" y="2220"/>
                  </a:lnTo>
                  <a:lnTo>
                    <a:pt x="2180" y="2220"/>
                  </a:lnTo>
                  <a:lnTo>
                    <a:pt x="2171" y="2209"/>
                  </a:lnTo>
                  <a:lnTo>
                    <a:pt x="2164" y="2204"/>
                  </a:lnTo>
                  <a:lnTo>
                    <a:pt x="2161" y="2198"/>
                  </a:lnTo>
                  <a:lnTo>
                    <a:pt x="2155" y="2215"/>
                  </a:lnTo>
                  <a:lnTo>
                    <a:pt x="2155" y="2222"/>
                  </a:lnTo>
                  <a:lnTo>
                    <a:pt x="2156" y="2227"/>
                  </a:lnTo>
                  <a:lnTo>
                    <a:pt x="2156" y="2236"/>
                  </a:lnTo>
                  <a:lnTo>
                    <a:pt x="2153" y="2239"/>
                  </a:lnTo>
                  <a:lnTo>
                    <a:pt x="2149" y="2237"/>
                  </a:lnTo>
                  <a:lnTo>
                    <a:pt x="2134" y="2244"/>
                  </a:lnTo>
                  <a:lnTo>
                    <a:pt x="2123" y="2245"/>
                  </a:lnTo>
                  <a:lnTo>
                    <a:pt x="2116" y="2249"/>
                  </a:lnTo>
                  <a:lnTo>
                    <a:pt x="2107" y="2249"/>
                  </a:lnTo>
                  <a:lnTo>
                    <a:pt x="2105" y="2247"/>
                  </a:lnTo>
                  <a:lnTo>
                    <a:pt x="2094" y="2249"/>
                  </a:lnTo>
                  <a:lnTo>
                    <a:pt x="2084" y="2258"/>
                  </a:lnTo>
                  <a:lnTo>
                    <a:pt x="2073" y="2261"/>
                  </a:lnTo>
                  <a:lnTo>
                    <a:pt x="2059" y="2263"/>
                  </a:lnTo>
                  <a:lnTo>
                    <a:pt x="2051" y="2261"/>
                  </a:lnTo>
                  <a:lnTo>
                    <a:pt x="2048" y="2265"/>
                  </a:lnTo>
                  <a:lnTo>
                    <a:pt x="2038" y="2270"/>
                  </a:lnTo>
                  <a:lnTo>
                    <a:pt x="2024" y="2274"/>
                  </a:lnTo>
                  <a:lnTo>
                    <a:pt x="2015" y="2271"/>
                  </a:lnTo>
                  <a:lnTo>
                    <a:pt x="2004" y="2297"/>
                  </a:lnTo>
                  <a:lnTo>
                    <a:pt x="2011" y="2309"/>
                  </a:lnTo>
                  <a:lnTo>
                    <a:pt x="2015" y="2317"/>
                  </a:lnTo>
                  <a:lnTo>
                    <a:pt x="2015" y="2329"/>
                  </a:lnTo>
                  <a:lnTo>
                    <a:pt x="1999" y="2335"/>
                  </a:lnTo>
                  <a:lnTo>
                    <a:pt x="1988" y="2329"/>
                  </a:lnTo>
                  <a:lnTo>
                    <a:pt x="1973" y="2298"/>
                  </a:lnTo>
                  <a:lnTo>
                    <a:pt x="1971" y="2291"/>
                  </a:lnTo>
                  <a:lnTo>
                    <a:pt x="1972" y="2288"/>
                  </a:lnTo>
                  <a:lnTo>
                    <a:pt x="1978" y="2266"/>
                  </a:lnTo>
                  <a:lnTo>
                    <a:pt x="1974" y="2259"/>
                  </a:lnTo>
                  <a:lnTo>
                    <a:pt x="1968" y="2261"/>
                  </a:lnTo>
                  <a:lnTo>
                    <a:pt x="1958" y="2269"/>
                  </a:lnTo>
                  <a:lnTo>
                    <a:pt x="1947" y="2269"/>
                  </a:lnTo>
                  <a:lnTo>
                    <a:pt x="1942" y="2264"/>
                  </a:lnTo>
                  <a:lnTo>
                    <a:pt x="1941" y="2259"/>
                  </a:lnTo>
                  <a:lnTo>
                    <a:pt x="1923" y="2254"/>
                  </a:lnTo>
                  <a:lnTo>
                    <a:pt x="1915" y="2252"/>
                  </a:lnTo>
                  <a:lnTo>
                    <a:pt x="1911" y="2252"/>
                  </a:lnTo>
                  <a:lnTo>
                    <a:pt x="1907" y="2260"/>
                  </a:lnTo>
                  <a:lnTo>
                    <a:pt x="1898" y="2261"/>
                  </a:lnTo>
                  <a:lnTo>
                    <a:pt x="1898" y="2269"/>
                  </a:lnTo>
                  <a:lnTo>
                    <a:pt x="1895" y="2258"/>
                  </a:lnTo>
                  <a:lnTo>
                    <a:pt x="1890" y="2261"/>
                  </a:lnTo>
                  <a:lnTo>
                    <a:pt x="1881" y="2265"/>
                  </a:lnTo>
                  <a:lnTo>
                    <a:pt x="1874" y="2260"/>
                  </a:lnTo>
                  <a:lnTo>
                    <a:pt x="1855" y="2261"/>
                  </a:lnTo>
                  <a:lnTo>
                    <a:pt x="1845" y="2259"/>
                  </a:lnTo>
                  <a:lnTo>
                    <a:pt x="1840" y="2254"/>
                  </a:lnTo>
                  <a:lnTo>
                    <a:pt x="1817" y="2240"/>
                  </a:lnTo>
                  <a:lnTo>
                    <a:pt x="1810" y="2228"/>
                  </a:lnTo>
                  <a:lnTo>
                    <a:pt x="1805" y="2213"/>
                  </a:lnTo>
                  <a:lnTo>
                    <a:pt x="1810" y="2198"/>
                  </a:lnTo>
                  <a:lnTo>
                    <a:pt x="1806" y="2189"/>
                  </a:lnTo>
                  <a:lnTo>
                    <a:pt x="1786" y="2188"/>
                  </a:lnTo>
                  <a:lnTo>
                    <a:pt x="1773" y="2184"/>
                  </a:lnTo>
                  <a:lnTo>
                    <a:pt x="1758" y="2178"/>
                  </a:lnTo>
                  <a:lnTo>
                    <a:pt x="1746" y="2168"/>
                  </a:lnTo>
                  <a:lnTo>
                    <a:pt x="1731" y="2163"/>
                  </a:lnTo>
                  <a:lnTo>
                    <a:pt x="1724" y="2164"/>
                  </a:lnTo>
                  <a:lnTo>
                    <a:pt x="1714" y="2175"/>
                  </a:lnTo>
                  <a:lnTo>
                    <a:pt x="1704" y="2182"/>
                  </a:lnTo>
                  <a:lnTo>
                    <a:pt x="1689" y="2190"/>
                  </a:lnTo>
                  <a:lnTo>
                    <a:pt x="1683" y="2191"/>
                  </a:lnTo>
                  <a:lnTo>
                    <a:pt x="1675" y="2189"/>
                  </a:lnTo>
                  <a:lnTo>
                    <a:pt x="1666" y="2196"/>
                  </a:lnTo>
                  <a:lnTo>
                    <a:pt x="1656" y="2201"/>
                  </a:lnTo>
                  <a:lnTo>
                    <a:pt x="1653" y="2195"/>
                  </a:lnTo>
                  <a:lnTo>
                    <a:pt x="1639" y="2199"/>
                  </a:lnTo>
                  <a:lnTo>
                    <a:pt x="1633" y="2194"/>
                  </a:lnTo>
                  <a:lnTo>
                    <a:pt x="1627" y="2195"/>
                  </a:lnTo>
                  <a:lnTo>
                    <a:pt x="1612" y="2205"/>
                  </a:lnTo>
                  <a:lnTo>
                    <a:pt x="1606" y="2204"/>
                  </a:lnTo>
                  <a:lnTo>
                    <a:pt x="1598" y="2196"/>
                  </a:lnTo>
                  <a:lnTo>
                    <a:pt x="1585" y="2194"/>
                  </a:lnTo>
                  <a:lnTo>
                    <a:pt x="1583" y="2191"/>
                  </a:lnTo>
                  <a:lnTo>
                    <a:pt x="1579" y="2194"/>
                  </a:lnTo>
                  <a:lnTo>
                    <a:pt x="1575" y="2200"/>
                  </a:lnTo>
                  <a:lnTo>
                    <a:pt x="1569" y="2207"/>
                  </a:lnTo>
                  <a:lnTo>
                    <a:pt x="1569" y="2211"/>
                  </a:lnTo>
                  <a:lnTo>
                    <a:pt x="1562" y="2207"/>
                  </a:lnTo>
                  <a:lnTo>
                    <a:pt x="1562" y="2205"/>
                  </a:lnTo>
                  <a:lnTo>
                    <a:pt x="1542" y="2204"/>
                  </a:lnTo>
                  <a:lnTo>
                    <a:pt x="1533" y="2211"/>
                  </a:lnTo>
                  <a:lnTo>
                    <a:pt x="1532" y="2223"/>
                  </a:lnTo>
                  <a:lnTo>
                    <a:pt x="1535" y="2240"/>
                  </a:lnTo>
                  <a:lnTo>
                    <a:pt x="1541" y="2256"/>
                  </a:lnTo>
                  <a:lnTo>
                    <a:pt x="1540" y="2271"/>
                  </a:lnTo>
                  <a:lnTo>
                    <a:pt x="1536" y="2275"/>
                  </a:lnTo>
                  <a:lnTo>
                    <a:pt x="1515" y="2280"/>
                  </a:lnTo>
                  <a:lnTo>
                    <a:pt x="1510" y="2253"/>
                  </a:lnTo>
                  <a:lnTo>
                    <a:pt x="1509" y="2247"/>
                  </a:lnTo>
                  <a:lnTo>
                    <a:pt x="1497" y="2245"/>
                  </a:lnTo>
                  <a:lnTo>
                    <a:pt x="1482" y="2258"/>
                  </a:lnTo>
                  <a:lnTo>
                    <a:pt x="1462" y="2260"/>
                  </a:lnTo>
                  <a:lnTo>
                    <a:pt x="1444" y="2243"/>
                  </a:lnTo>
                  <a:lnTo>
                    <a:pt x="1441" y="2231"/>
                  </a:lnTo>
                  <a:lnTo>
                    <a:pt x="1423" y="2225"/>
                  </a:lnTo>
                  <a:lnTo>
                    <a:pt x="1408" y="2222"/>
                  </a:lnTo>
                  <a:lnTo>
                    <a:pt x="1412" y="2202"/>
                  </a:lnTo>
                  <a:lnTo>
                    <a:pt x="1418" y="2175"/>
                  </a:lnTo>
                  <a:lnTo>
                    <a:pt x="1402" y="2167"/>
                  </a:lnTo>
                  <a:lnTo>
                    <a:pt x="1388" y="2157"/>
                  </a:lnTo>
                  <a:lnTo>
                    <a:pt x="1387" y="2137"/>
                  </a:lnTo>
                  <a:lnTo>
                    <a:pt x="1382" y="2123"/>
                  </a:lnTo>
                  <a:lnTo>
                    <a:pt x="1382" y="2112"/>
                  </a:lnTo>
                  <a:lnTo>
                    <a:pt x="1363" y="2113"/>
                  </a:lnTo>
                  <a:lnTo>
                    <a:pt x="1344" y="2114"/>
                  </a:lnTo>
                  <a:lnTo>
                    <a:pt x="1333" y="2120"/>
                  </a:lnTo>
                  <a:lnTo>
                    <a:pt x="1320" y="2134"/>
                  </a:lnTo>
                  <a:lnTo>
                    <a:pt x="1315" y="2129"/>
                  </a:lnTo>
                  <a:lnTo>
                    <a:pt x="1325" y="2112"/>
                  </a:lnTo>
                  <a:lnTo>
                    <a:pt x="1326" y="2103"/>
                  </a:lnTo>
                  <a:lnTo>
                    <a:pt x="1322" y="2087"/>
                  </a:lnTo>
                  <a:lnTo>
                    <a:pt x="1328" y="2073"/>
                  </a:lnTo>
                  <a:lnTo>
                    <a:pt x="1332" y="2054"/>
                  </a:lnTo>
                  <a:lnTo>
                    <a:pt x="1343" y="2043"/>
                  </a:lnTo>
                  <a:lnTo>
                    <a:pt x="1347" y="2033"/>
                  </a:lnTo>
                  <a:lnTo>
                    <a:pt x="1354" y="2030"/>
                  </a:lnTo>
                  <a:lnTo>
                    <a:pt x="1363" y="2019"/>
                  </a:lnTo>
                  <a:lnTo>
                    <a:pt x="1372" y="1992"/>
                  </a:lnTo>
                  <a:lnTo>
                    <a:pt x="1372" y="1984"/>
                  </a:lnTo>
                  <a:lnTo>
                    <a:pt x="1376" y="1956"/>
                  </a:lnTo>
                  <a:lnTo>
                    <a:pt x="1375" y="1935"/>
                  </a:lnTo>
                  <a:lnTo>
                    <a:pt x="1368" y="1903"/>
                  </a:lnTo>
                  <a:lnTo>
                    <a:pt x="1352" y="1901"/>
                  </a:lnTo>
                  <a:lnTo>
                    <a:pt x="1347" y="1893"/>
                  </a:lnTo>
                  <a:lnTo>
                    <a:pt x="1343" y="1876"/>
                  </a:lnTo>
                  <a:lnTo>
                    <a:pt x="1331" y="1862"/>
                  </a:lnTo>
                  <a:lnTo>
                    <a:pt x="1318" y="1856"/>
                  </a:lnTo>
                  <a:lnTo>
                    <a:pt x="1315" y="1856"/>
                  </a:lnTo>
                  <a:lnTo>
                    <a:pt x="1311" y="1861"/>
                  </a:lnTo>
                  <a:lnTo>
                    <a:pt x="1302" y="1865"/>
                  </a:lnTo>
                  <a:lnTo>
                    <a:pt x="1298" y="1852"/>
                  </a:lnTo>
                  <a:lnTo>
                    <a:pt x="1288" y="1849"/>
                  </a:lnTo>
                  <a:lnTo>
                    <a:pt x="1274" y="1849"/>
                  </a:lnTo>
                  <a:lnTo>
                    <a:pt x="1264" y="1845"/>
                  </a:lnTo>
                  <a:lnTo>
                    <a:pt x="1246" y="1845"/>
                  </a:lnTo>
                  <a:lnTo>
                    <a:pt x="1248" y="1829"/>
                  </a:lnTo>
                  <a:lnTo>
                    <a:pt x="1250" y="1814"/>
                  </a:lnTo>
                  <a:lnTo>
                    <a:pt x="1237" y="1812"/>
                  </a:lnTo>
                  <a:lnTo>
                    <a:pt x="1235" y="1801"/>
                  </a:lnTo>
                  <a:lnTo>
                    <a:pt x="1237" y="1793"/>
                  </a:lnTo>
                  <a:lnTo>
                    <a:pt x="1226" y="1781"/>
                  </a:lnTo>
                  <a:lnTo>
                    <a:pt x="1214" y="1785"/>
                  </a:lnTo>
                  <a:lnTo>
                    <a:pt x="1199" y="1795"/>
                  </a:lnTo>
                  <a:lnTo>
                    <a:pt x="1186" y="1798"/>
                  </a:lnTo>
                  <a:lnTo>
                    <a:pt x="1166" y="1800"/>
                  </a:lnTo>
                  <a:lnTo>
                    <a:pt x="1157" y="1798"/>
                  </a:lnTo>
                  <a:lnTo>
                    <a:pt x="1151" y="1793"/>
                  </a:lnTo>
                  <a:lnTo>
                    <a:pt x="1146" y="1792"/>
                  </a:lnTo>
                  <a:lnTo>
                    <a:pt x="1137" y="1797"/>
                  </a:lnTo>
                  <a:lnTo>
                    <a:pt x="1128" y="1803"/>
                  </a:lnTo>
                  <a:lnTo>
                    <a:pt x="1122" y="1814"/>
                  </a:lnTo>
                  <a:lnTo>
                    <a:pt x="1102" y="1831"/>
                  </a:lnTo>
                  <a:lnTo>
                    <a:pt x="1087" y="1835"/>
                  </a:lnTo>
                  <a:lnTo>
                    <a:pt x="1073" y="1851"/>
                  </a:lnTo>
                  <a:lnTo>
                    <a:pt x="1063" y="1858"/>
                  </a:lnTo>
                  <a:lnTo>
                    <a:pt x="1048" y="1866"/>
                  </a:lnTo>
                  <a:lnTo>
                    <a:pt x="1036" y="1874"/>
                  </a:lnTo>
                  <a:lnTo>
                    <a:pt x="1008" y="1881"/>
                  </a:lnTo>
                  <a:lnTo>
                    <a:pt x="990" y="1886"/>
                  </a:lnTo>
                  <a:lnTo>
                    <a:pt x="992" y="1888"/>
                  </a:lnTo>
                  <a:lnTo>
                    <a:pt x="992" y="1886"/>
                  </a:lnTo>
                  <a:lnTo>
                    <a:pt x="978" y="1878"/>
                  </a:lnTo>
                  <a:lnTo>
                    <a:pt x="976" y="1874"/>
                  </a:lnTo>
                  <a:lnTo>
                    <a:pt x="973" y="1873"/>
                  </a:lnTo>
                  <a:lnTo>
                    <a:pt x="958" y="1877"/>
                  </a:lnTo>
                  <a:lnTo>
                    <a:pt x="954" y="1877"/>
                  </a:lnTo>
                  <a:lnTo>
                    <a:pt x="940" y="1872"/>
                  </a:lnTo>
                  <a:lnTo>
                    <a:pt x="924" y="1871"/>
                  </a:lnTo>
                  <a:lnTo>
                    <a:pt x="917" y="1866"/>
                  </a:lnTo>
                  <a:lnTo>
                    <a:pt x="917" y="1863"/>
                  </a:lnTo>
                  <a:lnTo>
                    <a:pt x="913" y="1857"/>
                  </a:lnTo>
                  <a:lnTo>
                    <a:pt x="907" y="1856"/>
                  </a:lnTo>
                  <a:lnTo>
                    <a:pt x="893" y="1857"/>
                  </a:lnTo>
                  <a:lnTo>
                    <a:pt x="881" y="1862"/>
                  </a:lnTo>
                  <a:lnTo>
                    <a:pt x="870" y="1873"/>
                  </a:lnTo>
                  <a:lnTo>
                    <a:pt x="860" y="1889"/>
                  </a:lnTo>
                  <a:lnTo>
                    <a:pt x="839" y="1909"/>
                  </a:lnTo>
                  <a:lnTo>
                    <a:pt x="838" y="1915"/>
                  </a:lnTo>
                  <a:lnTo>
                    <a:pt x="833" y="1915"/>
                  </a:lnTo>
                  <a:lnTo>
                    <a:pt x="829" y="1913"/>
                  </a:lnTo>
                  <a:lnTo>
                    <a:pt x="827" y="1910"/>
                  </a:lnTo>
                  <a:lnTo>
                    <a:pt x="827" y="1903"/>
                  </a:lnTo>
                  <a:lnTo>
                    <a:pt x="831" y="1890"/>
                  </a:lnTo>
                  <a:lnTo>
                    <a:pt x="831" y="1884"/>
                  </a:lnTo>
                  <a:lnTo>
                    <a:pt x="828" y="1874"/>
                  </a:lnTo>
                  <a:lnTo>
                    <a:pt x="827" y="1871"/>
                  </a:lnTo>
                  <a:lnTo>
                    <a:pt x="822" y="1868"/>
                  </a:lnTo>
                  <a:lnTo>
                    <a:pt x="817" y="1870"/>
                  </a:lnTo>
                  <a:lnTo>
                    <a:pt x="809" y="1876"/>
                  </a:lnTo>
                  <a:lnTo>
                    <a:pt x="801" y="1876"/>
                  </a:lnTo>
                  <a:lnTo>
                    <a:pt x="793" y="1879"/>
                  </a:lnTo>
                  <a:lnTo>
                    <a:pt x="791" y="1881"/>
                  </a:lnTo>
                  <a:lnTo>
                    <a:pt x="788" y="1879"/>
                  </a:lnTo>
                  <a:lnTo>
                    <a:pt x="780" y="1881"/>
                  </a:lnTo>
                  <a:lnTo>
                    <a:pt x="774" y="1889"/>
                  </a:lnTo>
                  <a:lnTo>
                    <a:pt x="771" y="1889"/>
                  </a:lnTo>
                  <a:lnTo>
                    <a:pt x="757" y="1886"/>
                  </a:lnTo>
                  <a:lnTo>
                    <a:pt x="750" y="1888"/>
                  </a:lnTo>
                  <a:lnTo>
                    <a:pt x="746" y="1887"/>
                  </a:lnTo>
                  <a:lnTo>
                    <a:pt x="739" y="1883"/>
                  </a:lnTo>
                  <a:lnTo>
                    <a:pt x="729" y="1881"/>
                  </a:lnTo>
                  <a:lnTo>
                    <a:pt x="723" y="1873"/>
                  </a:lnTo>
                  <a:lnTo>
                    <a:pt x="713" y="1873"/>
                  </a:lnTo>
                  <a:lnTo>
                    <a:pt x="708" y="1874"/>
                  </a:lnTo>
                  <a:lnTo>
                    <a:pt x="704" y="1881"/>
                  </a:lnTo>
                  <a:lnTo>
                    <a:pt x="702" y="1882"/>
                  </a:lnTo>
                  <a:lnTo>
                    <a:pt x="696" y="1879"/>
                  </a:lnTo>
                  <a:lnTo>
                    <a:pt x="691" y="1881"/>
                  </a:lnTo>
                  <a:lnTo>
                    <a:pt x="685" y="1877"/>
                  </a:lnTo>
                  <a:lnTo>
                    <a:pt x="681" y="1879"/>
                  </a:lnTo>
                  <a:lnTo>
                    <a:pt x="675" y="1881"/>
                  </a:lnTo>
                  <a:lnTo>
                    <a:pt x="671" y="1878"/>
                  </a:lnTo>
                  <a:lnTo>
                    <a:pt x="667" y="1872"/>
                  </a:lnTo>
                  <a:lnTo>
                    <a:pt x="666" y="1868"/>
                  </a:lnTo>
                  <a:lnTo>
                    <a:pt x="661" y="1862"/>
                  </a:lnTo>
                  <a:lnTo>
                    <a:pt x="653" y="1861"/>
                  </a:lnTo>
                  <a:lnTo>
                    <a:pt x="645" y="1863"/>
                  </a:lnTo>
                  <a:lnTo>
                    <a:pt x="630" y="1854"/>
                  </a:lnTo>
                  <a:lnTo>
                    <a:pt x="629" y="1847"/>
                  </a:lnTo>
                  <a:lnTo>
                    <a:pt x="632" y="1834"/>
                  </a:lnTo>
                  <a:lnTo>
                    <a:pt x="629" y="1833"/>
                  </a:lnTo>
                  <a:lnTo>
                    <a:pt x="624" y="1836"/>
                  </a:lnTo>
                  <a:lnTo>
                    <a:pt x="619" y="1838"/>
                  </a:lnTo>
                  <a:lnTo>
                    <a:pt x="611" y="1836"/>
                  </a:lnTo>
                  <a:lnTo>
                    <a:pt x="603" y="1834"/>
                  </a:lnTo>
                  <a:lnTo>
                    <a:pt x="599" y="1835"/>
                  </a:lnTo>
                  <a:lnTo>
                    <a:pt x="592" y="1831"/>
                  </a:lnTo>
                  <a:lnTo>
                    <a:pt x="589" y="1831"/>
                  </a:lnTo>
                  <a:lnTo>
                    <a:pt x="585" y="1828"/>
                  </a:lnTo>
                  <a:lnTo>
                    <a:pt x="583" y="1823"/>
                  </a:lnTo>
                  <a:lnTo>
                    <a:pt x="578" y="1825"/>
                  </a:lnTo>
                  <a:lnTo>
                    <a:pt x="576" y="1822"/>
                  </a:lnTo>
                  <a:lnTo>
                    <a:pt x="579" y="1809"/>
                  </a:lnTo>
                  <a:lnTo>
                    <a:pt x="578" y="1803"/>
                  </a:lnTo>
                  <a:lnTo>
                    <a:pt x="581" y="1797"/>
                  </a:lnTo>
                  <a:lnTo>
                    <a:pt x="579" y="1795"/>
                  </a:lnTo>
                  <a:lnTo>
                    <a:pt x="573" y="1793"/>
                  </a:lnTo>
                  <a:lnTo>
                    <a:pt x="567" y="1795"/>
                  </a:lnTo>
                  <a:lnTo>
                    <a:pt x="563" y="1793"/>
                  </a:lnTo>
                  <a:lnTo>
                    <a:pt x="560" y="1797"/>
                  </a:lnTo>
                  <a:lnTo>
                    <a:pt x="559" y="1800"/>
                  </a:lnTo>
                  <a:lnTo>
                    <a:pt x="556" y="1803"/>
                  </a:lnTo>
                  <a:lnTo>
                    <a:pt x="553" y="1804"/>
                  </a:lnTo>
                  <a:lnTo>
                    <a:pt x="548" y="1809"/>
                  </a:lnTo>
                  <a:lnTo>
                    <a:pt x="544" y="1808"/>
                  </a:lnTo>
                  <a:lnTo>
                    <a:pt x="538" y="1807"/>
                  </a:lnTo>
                  <a:lnTo>
                    <a:pt x="536" y="1802"/>
                  </a:lnTo>
                  <a:lnTo>
                    <a:pt x="533" y="1785"/>
                  </a:lnTo>
                  <a:lnTo>
                    <a:pt x="527" y="1776"/>
                  </a:lnTo>
                  <a:lnTo>
                    <a:pt x="515" y="1766"/>
                  </a:lnTo>
                  <a:lnTo>
                    <a:pt x="503" y="1763"/>
                  </a:lnTo>
                  <a:lnTo>
                    <a:pt x="493" y="1754"/>
                  </a:lnTo>
                  <a:lnTo>
                    <a:pt x="487" y="1745"/>
                  </a:lnTo>
                  <a:lnTo>
                    <a:pt x="482" y="1743"/>
                  </a:lnTo>
                  <a:lnTo>
                    <a:pt x="462" y="1737"/>
                  </a:lnTo>
                  <a:lnTo>
                    <a:pt x="444" y="1733"/>
                  </a:lnTo>
                  <a:lnTo>
                    <a:pt x="441" y="1732"/>
                  </a:lnTo>
                  <a:lnTo>
                    <a:pt x="425" y="1730"/>
                  </a:lnTo>
                  <a:lnTo>
                    <a:pt x="423" y="1731"/>
                  </a:lnTo>
                  <a:lnTo>
                    <a:pt x="423" y="1732"/>
                  </a:lnTo>
                  <a:lnTo>
                    <a:pt x="423" y="1737"/>
                  </a:lnTo>
                  <a:lnTo>
                    <a:pt x="419" y="1742"/>
                  </a:lnTo>
                  <a:lnTo>
                    <a:pt x="420" y="1744"/>
                  </a:lnTo>
                  <a:lnTo>
                    <a:pt x="419" y="1748"/>
                  </a:lnTo>
                  <a:lnTo>
                    <a:pt x="411" y="1741"/>
                  </a:lnTo>
                  <a:lnTo>
                    <a:pt x="408" y="1736"/>
                  </a:lnTo>
                  <a:lnTo>
                    <a:pt x="406" y="1734"/>
                  </a:lnTo>
                  <a:lnTo>
                    <a:pt x="403" y="1733"/>
                  </a:lnTo>
                  <a:lnTo>
                    <a:pt x="386" y="1728"/>
                  </a:lnTo>
                  <a:lnTo>
                    <a:pt x="384" y="1726"/>
                  </a:lnTo>
                  <a:lnTo>
                    <a:pt x="380" y="1720"/>
                  </a:lnTo>
                  <a:lnTo>
                    <a:pt x="375" y="1718"/>
                  </a:lnTo>
                  <a:lnTo>
                    <a:pt x="363" y="1709"/>
                  </a:lnTo>
                  <a:lnTo>
                    <a:pt x="357" y="1709"/>
                  </a:lnTo>
                  <a:lnTo>
                    <a:pt x="350" y="1705"/>
                  </a:lnTo>
                  <a:lnTo>
                    <a:pt x="348" y="1701"/>
                  </a:lnTo>
                  <a:lnTo>
                    <a:pt x="348" y="1698"/>
                  </a:lnTo>
                  <a:lnTo>
                    <a:pt x="345" y="1694"/>
                  </a:lnTo>
                  <a:lnTo>
                    <a:pt x="341" y="1694"/>
                  </a:lnTo>
                  <a:lnTo>
                    <a:pt x="339" y="1691"/>
                  </a:lnTo>
                  <a:lnTo>
                    <a:pt x="334" y="1689"/>
                  </a:lnTo>
                  <a:lnTo>
                    <a:pt x="326" y="1693"/>
                  </a:lnTo>
                  <a:lnTo>
                    <a:pt x="325" y="1691"/>
                  </a:lnTo>
                  <a:lnTo>
                    <a:pt x="323" y="1685"/>
                  </a:lnTo>
                  <a:lnTo>
                    <a:pt x="322" y="1684"/>
                  </a:lnTo>
                  <a:lnTo>
                    <a:pt x="318" y="1683"/>
                  </a:lnTo>
                  <a:lnTo>
                    <a:pt x="315" y="1684"/>
                  </a:lnTo>
                  <a:lnTo>
                    <a:pt x="306" y="1683"/>
                  </a:lnTo>
                  <a:lnTo>
                    <a:pt x="302" y="1684"/>
                  </a:lnTo>
                  <a:lnTo>
                    <a:pt x="296" y="1688"/>
                  </a:lnTo>
                  <a:lnTo>
                    <a:pt x="293" y="1688"/>
                  </a:lnTo>
                  <a:lnTo>
                    <a:pt x="290" y="1685"/>
                  </a:lnTo>
                  <a:lnTo>
                    <a:pt x="291" y="1675"/>
                  </a:lnTo>
                  <a:lnTo>
                    <a:pt x="287" y="1672"/>
                  </a:lnTo>
                  <a:lnTo>
                    <a:pt x="283" y="1666"/>
                  </a:lnTo>
                  <a:lnTo>
                    <a:pt x="283" y="1663"/>
                  </a:lnTo>
                  <a:lnTo>
                    <a:pt x="278" y="1658"/>
                  </a:lnTo>
                  <a:lnTo>
                    <a:pt x="278" y="1653"/>
                  </a:lnTo>
                  <a:lnTo>
                    <a:pt x="280" y="1646"/>
                  </a:lnTo>
                  <a:lnTo>
                    <a:pt x="277" y="1640"/>
                  </a:lnTo>
                  <a:lnTo>
                    <a:pt x="277" y="1636"/>
                  </a:lnTo>
                  <a:lnTo>
                    <a:pt x="278" y="1629"/>
                  </a:lnTo>
                  <a:lnTo>
                    <a:pt x="280" y="1623"/>
                  </a:lnTo>
                  <a:lnTo>
                    <a:pt x="273" y="1613"/>
                  </a:lnTo>
                  <a:lnTo>
                    <a:pt x="266" y="1605"/>
                  </a:lnTo>
                  <a:lnTo>
                    <a:pt x="266" y="1596"/>
                  </a:lnTo>
                  <a:lnTo>
                    <a:pt x="263" y="1588"/>
                  </a:lnTo>
                  <a:lnTo>
                    <a:pt x="264" y="1585"/>
                  </a:lnTo>
                  <a:lnTo>
                    <a:pt x="275" y="1583"/>
                  </a:lnTo>
                  <a:lnTo>
                    <a:pt x="278" y="1580"/>
                  </a:lnTo>
                  <a:lnTo>
                    <a:pt x="279" y="1581"/>
                  </a:lnTo>
                  <a:lnTo>
                    <a:pt x="280" y="1588"/>
                  </a:lnTo>
                  <a:lnTo>
                    <a:pt x="283" y="1593"/>
                  </a:lnTo>
                  <a:lnTo>
                    <a:pt x="285" y="1596"/>
                  </a:lnTo>
                  <a:lnTo>
                    <a:pt x="293" y="1598"/>
                  </a:lnTo>
                  <a:lnTo>
                    <a:pt x="295" y="1597"/>
                  </a:lnTo>
                  <a:lnTo>
                    <a:pt x="298" y="1596"/>
                  </a:lnTo>
                  <a:lnTo>
                    <a:pt x="301" y="1597"/>
                  </a:lnTo>
                  <a:lnTo>
                    <a:pt x="302" y="1591"/>
                  </a:lnTo>
                  <a:lnTo>
                    <a:pt x="306" y="1588"/>
                  </a:lnTo>
                  <a:lnTo>
                    <a:pt x="310" y="1582"/>
                  </a:lnTo>
                  <a:lnTo>
                    <a:pt x="311" y="1582"/>
                  </a:lnTo>
                  <a:lnTo>
                    <a:pt x="315" y="1587"/>
                  </a:lnTo>
                  <a:lnTo>
                    <a:pt x="317" y="1587"/>
                  </a:lnTo>
                  <a:lnTo>
                    <a:pt x="326" y="1576"/>
                  </a:lnTo>
                  <a:lnTo>
                    <a:pt x="326" y="1574"/>
                  </a:lnTo>
                  <a:lnTo>
                    <a:pt x="322" y="1567"/>
                  </a:lnTo>
                  <a:lnTo>
                    <a:pt x="316" y="1559"/>
                  </a:lnTo>
                  <a:lnTo>
                    <a:pt x="315" y="1554"/>
                  </a:lnTo>
                  <a:lnTo>
                    <a:pt x="316" y="1551"/>
                  </a:lnTo>
                  <a:lnTo>
                    <a:pt x="316" y="1548"/>
                  </a:lnTo>
                  <a:lnTo>
                    <a:pt x="306" y="1543"/>
                  </a:lnTo>
                  <a:lnTo>
                    <a:pt x="301" y="1544"/>
                  </a:lnTo>
                  <a:lnTo>
                    <a:pt x="300" y="1540"/>
                  </a:lnTo>
                  <a:lnTo>
                    <a:pt x="291" y="1533"/>
                  </a:lnTo>
                  <a:lnTo>
                    <a:pt x="291" y="1518"/>
                  </a:lnTo>
                  <a:lnTo>
                    <a:pt x="296" y="1517"/>
                  </a:lnTo>
                  <a:lnTo>
                    <a:pt x="294" y="1511"/>
                  </a:lnTo>
                  <a:lnTo>
                    <a:pt x="295" y="1508"/>
                  </a:lnTo>
                  <a:lnTo>
                    <a:pt x="296" y="1507"/>
                  </a:lnTo>
                  <a:lnTo>
                    <a:pt x="289" y="1500"/>
                  </a:lnTo>
                  <a:lnTo>
                    <a:pt x="290" y="1494"/>
                  </a:lnTo>
                  <a:lnTo>
                    <a:pt x="290" y="1492"/>
                  </a:lnTo>
                  <a:lnTo>
                    <a:pt x="300" y="1492"/>
                  </a:lnTo>
                  <a:lnTo>
                    <a:pt x="304" y="1489"/>
                  </a:lnTo>
                  <a:lnTo>
                    <a:pt x="315" y="1492"/>
                  </a:lnTo>
                  <a:lnTo>
                    <a:pt x="317" y="1490"/>
                  </a:lnTo>
                  <a:lnTo>
                    <a:pt x="322" y="1485"/>
                  </a:lnTo>
                  <a:lnTo>
                    <a:pt x="327" y="1475"/>
                  </a:lnTo>
                  <a:lnTo>
                    <a:pt x="327" y="1464"/>
                  </a:lnTo>
                  <a:lnTo>
                    <a:pt x="337" y="1463"/>
                  </a:lnTo>
                  <a:lnTo>
                    <a:pt x="338" y="1462"/>
                  </a:lnTo>
                  <a:lnTo>
                    <a:pt x="336" y="1459"/>
                  </a:lnTo>
                  <a:lnTo>
                    <a:pt x="337" y="1456"/>
                  </a:lnTo>
                  <a:lnTo>
                    <a:pt x="341" y="1453"/>
                  </a:lnTo>
                  <a:lnTo>
                    <a:pt x="342" y="1451"/>
                  </a:lnTo>
                  <a:lnTo>
                    <a:pt x="345" y="1447"/>
                  </a:lnTo>
                  <a:lnTo>
                    <a:pt x="352" y="1442"/>
                  </a:lnTo>
                  <a:lnTo>
                    <a:pt x="352" y="1436"/>
                  </a:lnTo>
                  <a:lnTo>
                    <a:pt x="358" y="1430"/>
                  </a:lnTo>
                  <a:lnTo>
                    <a:pt x="360" y="1411"/>
                  </a:lnTo>
                  <a:lnTo>
                    <a:pt x="363" y="1409"/>
                  </a:lnTo>
                  <a:lnTo>
                    <a:pt x="363" y="1402"/>
                  </a:lnTo>
                  <a:lnTo>
                    <a:pt x="369" y="1394"/>
                  </a:lnTo>
                  <a:lnTo>
                    <a:pt x="369" y="1391"/>
                  </a:lnTo>
                  <a:lnTo>
                    <a:pt x="365" y="1388"/>
                  </a:lnTo>
                  <a:lnTo>
                    <a:pt x="361" y="1388"/>
                  </a:lnTo>
                  <a:lnTo>
                    <a:pt x="354" y="1397"/>
                  </a:lnTo>
                  <a:lnTo>
                    <a:pt x="352" y="1397"/>
                  </a:lnTo>
                  <a:lnTo>
                    <a:pt x="349" y="1393"/>
                  </a:lnTo>
                  <a:lnTo>
                    <a:pt x="347" y="1382"/>
                  </a:lnTo>
                  <a:lnTo>
                    <a:pt x="342" y="1386"/>
                  </a:lnTo>
                  <a:lnTo>
                    <a:pt x="338" y="1386"/>
                  </a:lnTo>
                  <a:lnTo>
                    <a:pt x="336" y="1381"/>
                  </a:lnTo>
                  <a:lnTo>
                    <a:pt x="333" y="1381"/>
                  </a:lnTo>
                  <a:lnTo>
                    <a:pt x="331" y="1379"/>
                  </a:lnTo>
                  <a:lnTo>
                    <a:pt x="330" y="1370"/>
                  </a:lnTo>
                  <a:lnTo>
                    <a:pt x="326" y="1368"/>
                  </a:lnTo>
                  <a:lnTo>
                    <a:pt x="325" y="1366"/>
                  </a:lnTo>
                  <a:lnTo>
                    <a:pt x="322" y="1365"/>
                  </a:lnTo>
                  <a:lnTo>
                    <a:pt x="318" y="1365"/>
                  </a:lnTo>
                  <a:lnTo>
                    <a:pt x="315" y="1360"/>
                  </a:lnTo>
                  <a:lnTo>
                    <a:pt x="312" y="1359"/>
                  </a:lnTo>
                  <a:lnTo>
                    <a:pt x="309" y="1359"/>
                  </a:lnTo>
                  <a:lnTo>
                    <a:pt x="304" y="1361"/>
                  </a:lnTo>
                  <a:lnTo>
                    <a:pt x="298" y="1361"/>
                  </a:lnTo>
                  <a:lnTo>
                    <a:pt x="293" y="1365"/>
                  </a:lnTo>
                  <a:lnTo>
                    <a:pt x="279" y="1365"/>
                  </a:lnTo>
                  <a:lnTo>
                    <a:pt x="269" y="1372"/>
                  </a:lnTo>
                  <a:lnTo>
                    <a:pt x="258" y="1378"/>
                  </a:lnTo>
                  <a:lnTo>
                    <a:pt x="251" y="1383"/>
                  </a:lnTo>
                  <a:lnTo>
                    <a:pt x="246" y="1388"/>
                  </a:lnTo>
                  <a:lnTo>
                    <a:pt x="241" y="1389"/>
                  </a:lnTo>
                  <a:lnTo>
                    <a:pt x="237" y="1394"/>
                  </a:lnTo>
                  <a:lnTo>
                    <a:pt x="230" y="1391"/>
                  </a:lnTo>
                  <a:lnTo>
                    <a:pt x="225" y="1394"/>
                  </a:lnTo>
                  <a:lnTo>
                    <a:pt x="220" y="1394"/>
                  </a:lnTo>
                  <a:lnTo>
                    <a:pt x="209" y="1393"/>
                  </a:lnTo>
                  <a:lnTo>
                    <a:pt x="202" y="1388"/>
                  </a:lnTo>
                  <a:lnTo>
                    <a:pt x="196" y="1389"/>
                  </a:lnTo>
                  <a:lnTo>
                    <a:pt x="188" y="1384"/>
                  </a:lnTo>
                  <a:lnTo>
                    <a:pt x="171" y="1378"/>
                  </a:lnTo>
                  <a:lnTo>
                    <a:pt x="161" y="1372"/>
                  </a:lnTo>
                  <a:lnTo>
                    <a:pt x="161" y="1366"/>
                  </a:lnTo>
                  <a:lnTo>
                    <a:pt x="160" y="1362"/>
                  </a:lnTo>
                  <a:lnTo>
                    <a:pt x="156" y="1363"/>
                  </a:lnTo>
                  <a:lnTo>
                    <a:pt x="151" y="1367"/>
                  </a:lnTo>
                  <a:lnTo>
                    <a:pt x="148" y="1367"/>
                  </a:lnTo>
                  <a:lnTo>
                    <a:pt x="143" y="1368"/>
                  </a:lnTo>
                  <a:lnTo>
                    <a:pt x="139" y="1367"/>
                  </a:lnTo>
                  <a:lnTo>
                    <a:pt x="133" y="1356"/>
                  </a:lnTo>
                  <a:lnTo>
                    <a:pt x="126" y="1355"/>
                  </a:lnTo>
                  <a:lnTo>
                    <a:pt x="124" y="1351"/>
                  </a:lnTo>
                  <a:lnTo>
                    <a:pt x="124" y="1349"/>
                  </a:lnTo>
                  <a:lnTo>
                    <a:pt x="129" y="1348"/>
                  </a:lnTo>
                  <a:lnTo>
                    <a:pt x="131" y="1344"/>
                  </a:lnTo>
                  <a:lnTo>
                    <a:pt x="129" y="1339"/>
                  </a:lnTo>
                  <a:lnTo>
                    <a:pt x="127" y="1336"/>
                  </a:lnTo>
                  <a:lnTo>
                    <a:pt x="129" y="1330"/>
                  </a:lnTo>
                  <a:lnTo>
                    <a:pt x="129" y="1324"/>
                  </a:lnTo>
                  <a:lnTo>
                    <a:pt x="127" y="1318"/>
                  </a:lnTo>
                  <a:lnTo>
                    <a:pt x="121" y="1312"/>
                  </a:lnTo>
                  <a:lnTo>
                    <a:pt x="110" y="1305"/>
                  </a:lnTo>
                  <a:lnTo>
                    <a:pt x="105" y="1305"/>
                  </a:lnTo>
                  <a:lnTo>
                    <a:pt x="99" y="1309"/>
                  </a:lnTo>
                  <a:lnTo>
                    <a:pt x="97" y="1308"/>
                  </a:lnTo>
                  <a:lnTo>
                    <a:pt x="97" y="1296"/>
                  </a:lnTo>
                  <a:lnTo>
                    <a:pt x="95" y="1293"/>
                  </a:lnTo>
                  <a:lnTo>
                    <a:pt x="88" y="1295"/>
                  </a:lnTo>
                  <a:lnTo>
                    <a:pt x="83" y="1292"/>
                  </a:lnTo>
                  <a:lnTo>
                    <a:pt x="79" y="1291"/>
                  </a:lnTo>
                  <a:lnTo>
                    <a:pt x="65" y="1293"/>
                  </a:lnTo>
                  <a:lnTo>
                    <a:pt x="54" y="1290"/>
                  </a:lnTo>
                  <a:lnTo>
                    <a:pt x="56" y="1289"/>
                  </a:lnTo>
                  <a:lnTo>
                    <a:pt x="53" y="1284"/>
                  </a:lnTo>
                  <a:lnTo>
                    <a:pt x="47" y="1281"/>
                  </a:lnTo>
                  <a:lnTo>
                    <a:pt x="46" y="1278"/>
                  </a:lnTo>
                  <a:lnTo>
                    <a:pt x="53" y="1270"/>
                  </a:lnTo>
                  <a:lnTo>
                    <a:pt x="57" y="1269"/>
                  </a:lnTo>
                  <a:lnTo>
                    <a:pt x="62" y="1271"/>
                  </a:lnTo>
                  <a:lnTo>
                    <a:pt x="65" y="1271"/>
                  </a:lnTo>
                  <a:lnTo>
                    <a:pt x="62" y="1271"/>
                  </a:lnTo>
                  <a:lnTo>
                    <a:pt x="70" y="1274"/>
                  </a:lnTo>
                  <a:lnTo>
                    <a:pt x="73" y="1273"/>
                  </a:lnTo>
                  <a:lnTo>
                    <a:pt x="73" y="1237"/>
                  </a:lnTo>
                  <a:lnTo>
                    <a:pt x="63" y="1212"/>
                  </a:lnTo>
                  <a:lnTo>
                    <a:pt x="63" y="1193"/>
                  </a:lnTo>
                  <a:lnTo>
                    <a:pt x="56" y="1182"/>
                  </a:lnTo>
                  <a:lnTo>
                    <a:pt x="37" y="1180"/>
                  </a:lnTo>
                  <a:lnTo>
                    <a:pt x="17" y="1187"/>
                  </a:lnTo>
                  <a:lnTo>
                    <a:pt x="6" y="1179"/>
                  </a:lnTo>
                  <a:lnTo>
                    <a:pt x="2" y="1162"/>
                  </a:lnTo>
                  <a:lnTo>
                    <a:pt x="0" y="1142"/>
                  </a:lnTo>
                  <a:lnTo>
                    <a:pt x="11" y="1108"/>
                  </a:lnTo>
                  <a:lnTo>
                    <a:pt x="10" y="1097"/>
                  </a:lnTo>
                  <a:lnTo>
                    <a:pt x="19" y="1079"/>
                  </a:lnTo>
                  <a:lnTo>
                    <a:pt x="51" y="1064"/>
                  </a:lnTo>
                  <a:lnTo>
                    <a:pt x="56" y="1059"/>
                  </a:lnTo>
                  <a:lnTo>
                    <a:pt x="63" y="1059"/>
                  </a:lnTo>
                  <a:lnTo>
                    <a:pt x="69" y="1044"/>
                  </a:lnTo>
                  <a:lnTo>
                    <a:pt x="79" y="1048"/>
                  </a:lnTo>
                  <a:lnTo>
                    <a:pt x="94" y="1042"/>
                  </a:lnTo>
                  <a:lnTo>
                    <a:pt x="105" y="1043"/>
                  </a:lnTo>
                  <a:lnTo>
                    <a:pt x="111" y="1056"/>
                  </a:lnTo>
                  <a:lnTo>
                    <a:pt x="122" y="1058"/>
                  </a:lnTo>
                  <a:lnTo>
                    <a:pt x="138" y="1054"/>
                  </a:lnTo>
                  <a:lnTo>
                    <a:pt x="148" y="1055"/>
                  </a:lnTo>
                  <a:lnTo>
                    <a:pt x="161" y="1045"/>
                  </a:lnTo>
                  <a:lnTo>
                    <a:pt x="167" y="1027"/>
                  </a:lnTo>
                  <a:lnTo>
                    <a:pt x="176" y="1016"/>
                  </a:lnTo>
                  <a:lnTo>
                    <a:pt x="193" y="1011"/>
                  </a:lnTo>
                  <a:lnTo>
                    <a:pt x="212" y="1010"/>
                  </a:lnTo>
                  <a:lnTo>
                    <a:pt x="239" y="1005"/>
                  </a:lnTo>
                  <a:lnTo>
                    <a:pt x="251" y="1000"/>
                  </a:lnTo>
                  <a:lnTo>
                    <a:pt x="259" y="986"/>
                  </a:lnTo>
                  <a:lnTo>
                    <a:pt x="274" y="973"/>
                  </a:lnTo>
                  <a:lnTo>
                    <a:pt x="310" y="953"/>
                  </a:lnTo>
                  <a:lnTo>
                    <a:pt x="348" y="941"/>
                  </a:lnTo>
                  <a:lnTo>
                    <a:pt x="358" y="934"/>
                  </a:lnTo>
                  <a:lnTo>
                    <a:pt x="364" y="920"/>
                  </a:lnTo>
                  <a:lnTo>
                    <a:pt x="364" y="892"/>
                  </a:lnTo>
                  <a:lnTo>
                    <a:pt x="366" y="881"/>
                  </a:lnTo>
                  <a:lnTo>
                    <a:pt x="374" y="871"/>
                  </a:lnTo>
                  <a:lnTo>
                    <a:pt x="373" y="859"/>
                  </a:lnTo>
                  <a:lnTo>
                    <a:pt x="386" y="849"/>
                  </a:lnTo>
                  <a:lnTo>
                    <a:pt x="386" y="834"/>
                  </a:lnTo>
                  <a:lnTo>
                    <a:pt x="377" y="807"/>
                  </a:lnTo>
                  <a:lnTo>
                    <a:pt x="370" y="795"/>
                  </a:lnTo>
                  <a:lnTo>
                    <a:pt x="366" y="780"/>
                  </a:lnTo>
                  <a:lnTo>
                    <a:pt x="361" y="742"/>
                  </a:lnTo>
                  <a:lnTo>
                    <a:pt x="354" y="727"/>
                  </a:lnTo>
                  <a:lnTo>
                    <a:pt x="347" y="720"/>
                  </a:lnTo>
                  <a:lnTo>
                    <a:pt x="355" y="712"/>
                  </a:lnTo>
                  <a:lnTo>
                    <a:pt x="375" y="705"/>
                  </a:lnTo>
                  <a:lnTo>
                    <a:pt x="393" y="703"/>
                  </a:lnTo>
                  <a:lnTo>
                    <a:pt x="416" y="695"/>
                  </a:lnTo>
                  <a:lnTo>
                    <a:pt x="471" y="693"/>
                  </a:lnTo>
                  <a:lnTo>
                    <a:pt x="478" y="688"/>
                  </a:lnTo>
                  <a:lnTo>
                    <a:pt x="472" y="670"/>
                  </a:lnTo>
                  <a:lnTo>
                    <a:pt x="470" y="655"/>
                  </a:lnTo>
                  <a:lnTo>
                    <a:pt x="473" y="635"/>
                  </a:lnTo>
                  <a:lnTo>
                    <a:pt x="479" y="611"/>
                  </a:lnTo>
                  <a:lnTo>
                    <a:pt x="492" y="584"/>
                  </a:lnTo>
                  <a:lnTo>
                    <a:pt x="500" y="558"/>
                  </a:lnTo>
                  <a:lnTo>
                    <a:pt x="511" y="537"/>
                  </a:lnTo>
                  <a:lnTo>
                    <a:pt x="535" y="537"/>
                  </a:lnTo>
                  <a:lnTo>
                    <a:pt x="544" y="544"/>
                  </a:lnTo>
                  <a:lnTo>
                    <a:pt x="563" y="550"/>
                  </a:lnTo>
                  <a:lnTo>
                    <a:pt x="597" y="547"/>
                  </a:lnTo>
                  <a:lnTo>
                    <a:pt x="606" y="556"/>
                  </a:lnTo>
                  <a:lnTo>
                    <a:pt x="616" y="563"/>
                  </a:lnTo>
                  <a:lnTo>
                    <a:pt x="630" y="552"/>
                  </a:lnTo>
                  <a:lnTo>
                    <a:pt x="653" y="544"/>
                  </a:lnTo>
                  <a:lnTo>
                    <a:pt x="656" y="507"/>
                  </a:lnTo>
                  <a:lnTo>
                    <a:pt x="654" y="484"/>
                  </a:lnTo>
                  <a:lnTo>
                    <a:pt x="659" y="459"/>
                  </a:lnTo>
                  <a:lnTo>
                    <a:pt x="670" y="439"/>
                  </a:lnTo>
                  <a:lnTo>
                    <a:pt x="686" y="440"/>
                  </a:lnTo>
                  <a:lnTo>
                    <a:pt x="705" y="434"/>
                  </a:lnTo>
                  <a:lnTo>
                    <a:pt x="721" y="418"/>
                  </a:lnTo>
                  <a:lnTo>
                    <a:pt x="731" y="398"/>
                  </a:lnTo>
                  <a:lnTo>
                    <a:pt x="756" y="405"/>
                  </a:lnTo>
                  <a:lnTo>
                    <a:pt x="772" y="389"/>
                  </a:lnTo>
                  <a:lnTo>
                    <a:pt x="777" y="389"/>
                  </a:lnTo>
                  <a:lnTo>
                    <a:pt x="777" y="393"/>
                  </a:lnTo>
                  <a:lnTo>
                    <a:pt x="780" y="404"/>
                  </a:lnTo>
                  <a:lnTo>
                    <a:pt x="791" y="430"/>
                  </a:lnTo>
                  <a:lnTo>
                    <a:pt x="821" y="453"/>
                  </a:lnTo>
                  <a:lnTo>
                    <a:pt x="832" y="474"/>
                  </a:lnTo>
                  <a:lnTo>
                    <a:pt x="847" y="485"/>
                  </a:lnTo>
                  <a:lnTo>
                    <a:pt x="854" y="474"/>
                  </a:lnTo>
                  <a:lnTo>
                    <a:pt x="870" y="477"/>
                  </a:lnTo>
                  <a:lnTo>
                    <a:pt x="885" y="485"/>
                  </a:lnTo>
                  <a:lnTo>
                    <a:pt x="901" y="488"/>
                  </a:lnTo>
                  <a:lnTo>
                    <a:pt x="911" y="504"/>
                  </a:lnTo>
                  <a:lnTo>
                    <a:pt x="918" y="526"/>
                  </a:lnTo>
                  <a:lnTo>
                    <a:pt x="928" y="543"/>
                  </a:lnTo>
                  <a:lnTo>
                    <a:pt x="940" y="586"/>
                  </a:lnTo>
                  <a:lnTo>
                    <a:pt x="940" y="614"/>
                  </a:lnTo>
                  <a:lnTo>
                    <a:pt x="944" y="633"/>
                  </a:lnTo>
                  <a:lnTo>
                    <a:pt x="943" y="652"/>
                  </a:lnTo>
                  <a:lnTo>
                    <a:pt x="935" y="668"/>
                  </a:lnTo>
                  <a:lnTo>
                    <a:pt x="934" y="683"/>
                  </a:lnTo>
                  <a:lnTo>
                    <a:pt x="941" y="690"/>
                  </a:lnTo>
                  <a:lnTo>
                    <a:pt x="957" y="697"/>
                  </a:lnTo>
                  <a:lnTo>
                    <a:pt x="988" y="700"/>
                  </a:lnTo>
                  <a:lnTo>
                    <a:pt x="1022" y="711"/>
                  </a:lnTo>
                  <a:lnTo>
                    <a:pt x="1031" y="711"/>
                  </a:lnTo>
                  <a:lnTo>
                    <a:pt x="1044" y="706"/>
                  </a:lnTo>
                  <a:lnTo>
                    <a:pt x="1057" y="706"/>
                  </a:lnTo>
                  <a:lnTo>
                    <a:pt x="1069" y="712"/>
                  </a:lnTo>
                  <a:lnTo>
                    <a:pt x="1099" y="722"/>
                  </a:lnTo>
                  <a:lnTo>
                    <a:pt x="1114" y="732"/>
                  </a:lnTo>
                  <a:lnTo>
                    <a:pt x="1130" y="741"/>
                  </a:lnTo>
                  <a:lnTo>
                    <a:pt x="1162" y="749"/>
                  </a:lnTo>
                  <a:lnTo>
                    <a:pt x="1175" y="759"/>
                  </a:lnTo>
                  <a:lnTo>
                    <a:pt x="1187" y="760"/>
                  </a:lnTo>
                  <a:lnTo>
                    <a:pt x="1198" y="775"/>
                  </a:lnTo>
                  <a:lnTo>
                    <a:pt x="1209" y="792"/>
                  </a:lnTo>
                  <a:lnTo>
                    <a:pt x="1216" y="812"/>
                  </a:lnTo>
                  <a:lnTo>
                    <a:pt x="1228" y="832"/>
                  </a:lnTo>
                  <a:lnTo>
                    <a:pt x="1240" y="846"/>
                  </a:lnTo>
                  <a:lnTo>
                    <a:pt x="1253" y="862"/>
                  </a:lnTo>
                  <a:lnTo>
                    <a:pt x="1269" y="876"/>
                  </a:lnTo>
                  <a:lnTo>
                    <a:pt x="1283" y="882"/>
                  </a:lnTo>
                  <a:lnTo>
                    <a:pt x="1304" y="882"/>
                  </a:lnTo>
                  <a:lnTo>
                    <a:pt x="1452" y="872"/>
                  </a:lnTo>
                  <a:lnTo>
                    <a:pt x="1470" y="870"/>
                  </a:lnTo>
                  <a:lnTo>
                    <a:pt x="1487" y="872"/>
                  </a:lnTo>
                  <a:lnTo>
                    <a:pt x="1521" y="883"/>
                  </a:lnTo>
                  <a:lnTo>
                    <a:pt x="1531" y="887"/>
                  </a:lnTo>
                  <a:lnTo>
                    <a:pt x="1540" y="898"/>
                  </a:lnTo>
                  <a:lnTo>
                    <a:pt x="1555" y="911"/>
                  </a:lnTo>
                  <a:lnTo>
                    <a:pt x="1578" y="921"/>
                  </a:lnTo>
                  <a:lnTo>
                    <a:pt x="1611" y="931"/>
                  </a:lnTo>
                  <a:lnTo>
                    <a:pt x="1629" y="941"/>
                  </a:lnTo>
                  <a:lnTo>
                    <a:pt x="1651" y="948"/>
                  </a:lnTo>
                  <a:lnTo>
                    <a:pt x="1680" y="950"/>
                  </a:lnTo>
                  <a:lnTo>
                    <a:pt x="1686" y="952"/>
                  </a:lnTo>
                  <a:lnTo>
                    <a:pt x="1697" y="961"/>
                  </a:lnTo>
                  <a:lnTo>
                    <a:pt x="1709" y="964"/>
                  </a:lnTo>
                  <a:lnTo>
                    <a:pt x="1719" y="963"/>
                  </a:lnTo>
                  <a:lnTo>
                    <a:pt x="1737" y="948"/>
                  </a:lnTo>
                  <a:lnTo>
                    <a:pt x="1767" y="937"/>
                  </a:lnTo>
                  <a:lnTo>
                    <a:pt x="1780" y="935"/>
                  </a:lnTo>
                  <a:lnTo>
                    <a:pt x="1791" y="931"/>
                  </a:lnTo>
                  <a:lnTo>
                    <a:pt x="1799" y="921"/>
                  </a:lnTo>
                  <a:lnTo>
                    <a:pt x="1810" y="918"/>
                  </a:lnTo>
                  <a:lnTo>
                    <a:pt x="1847" y="911"/>
                  </a:lnTo>
                  <a:lnTo>
                    <a:pt x="1865" y="904"/>
                  </a:lnTo>
                  <a:lnTo>
                    <a:pt x="1891" y="905"/>
                  </a:lnTo>
                  <a:lnTo>
                    <a:pt x="1907" y="899"/>
                  </a:lnTo>
                  <a:lnTo>
                    <a:pt x="1935" y="908"/>
                  </a:lnTo>
                  <a:lnTo>
                    <a:pt x="1940" y="905"/>
                  </a:lnTo>
                  <a:lnTo>
                    <a:pt x="1968" y="903"/>
                  </a:lnTo>
                  <a:lnTo>
                    <a:pt x="1998" y="892"/>
                  </a:lnTo>
                  <a:lnTo>
                    <a:pt x="2012" y="883"/>
                  </a:lnTo>
                  <a:lnTo>
                    <a:pt x="2032" y="868"/>
                  </a:lnTo>
                  <a:lnTo>
                    <a:pt x="2042" y="854"/>
                  </a:lnTo>
                  <a:lnTo>
                    <a:pt x="2100" y="805"/>
                  </a:lnTo>
                  <a:lnTo>
                    <a:pt x="2097" y="791"/>
                  </a:lnTo>
                  <a:lnTo>
                    <a:pt x="2075" y="762"/>
                  </a:lnTo>
                  <a:lnTo>
                    <a:pt x="2078" y="747"/>
                  </a:lnTo>
                  <a:lnTo>
                    <a:pt x="2091" y="727"/>
                  </a:lnTo>
                  <a:lnTo>
                    <a:pt x="2100" y="710"/>
                  </a:lnTo>
                  <a:lnTo>
                    <a:pt x="2121" y="704"/>
                  </a:lnTo>
                  <a:lnTo>
                    <a:pt x="2137" y="709"/>
                  </a:lnTo>
                  <a:lnTo>
                    <a:pt x="2149" y="722"/>
                  </a:lnTo>
                  <a:lnTo>
                    <a:pt x="2170" y="727"/>
                  </a:lnTo>
                  <a:lnTo>
                    <a:pt x="2188" y="727"/>
                  </a:lnTo>
                  <a:lnTo>
                    <a:pt x="2215" y="710"/>
                  </a:lnTo>
                  <a:lnTo>
                    <a:pt x="2234" y="689"/>
                  </a:lnTo>
                  <a:lnTo>
                    <a:pt x="2254" y="667"/>
                  </a:lnTo>
                  <a:lnTo>
                    <a:pt x="2266" y="667"/>
                  </a:lnTo>
                  <a:lnTo>
                    <a:pt x="2277" y="668"/>
                  </a:lnTo>
                  <a:lnTo>
                    <a:pt x="2284" y="666"/>
                  </a:lnTo>
                  <a:lnTo>
                    <a:pt x="2302" y="654"/>
                  </a:lnTo>
                  <a:lnTo>
                    <a:pt x="2353" y="598"/>
                  </a:lnTo>
                  <a:lnTo>
                    <a:pt x="2369" y="584"/>
                  </a:lnTo>
                  <a:lnTo>
                    <a:pt x="2390" y="580"/>
                  </a:lnTo>
                  <a:lnTo>
                    <a:pt x="2415" y="581"/>
                  </a:lnTo>
                  <a:lnTo>
                    <a:pt x="2440" y="577"/>
                  </a:lnTo>
                  <a:lnTo>
                    <a:pt x="2465" y="572"/>
                  </a:lnTo>
                  <a:lnTo>
                    <a:pt x="2484" y="577"/>
                  </a:lnTo>
                  <a:lnTo>
                    <a:pt x="2501" y="580"/>
                  </a:lnTo>
                  <a:lnTo>
                    <a:pt x="2511" y="574"/>
                  </a:lnTo>
                  <a:lnTo>
                    <a:pt x="2510" y="561"/>
                  </a:lnTo>
                  <a:lnTo>
                    <a:pt x="2496" y="553"/>
                  </a:lnTo>
                  <a:lnTo>
                    <a:pt x="2496" y="544"/>
                  </a:lnTo>
                  <a:lnTo>
                    <a:pt x="2498" y="531"/>
                  </a:lnTo>
                  <a:lnTo>
                    <a:pt x="2492" y="517"/>
                  </a:lnTo>
                  <a:lnTo>
                    <a:pt x="2463" y="493"/>
                  </a:lnTo>
                  <a:lnTo>
                    <a:pt x="2450" y="478"/>
                  </a:lnTo>
                  <a:lnTo>
                    <a:pt x="2444" y="464"/>
                  </a:lnTo>
                  <a:lnTo>
                    <a:pt x="2415" y="485"/>
                  </a:lnTo>
                  <a:lnTo>
                    <a:pt x="2397" y="498"/>
                  </a:lnTo>
                  <a:lnTo>
                    <a:pt x="2372" y="505"/>
                  </a:lnTo>
                  <a:lnTo>
                    <a:pt x="2347" y="507"/>
                  </a:lnTo>
                  <a:lnTo>
                    <a:pt x="2306" y="498"/>
                  </a:lnTo>
                  <a:lnTo>
                    <a:pt x="2297" y="483"/>
                  </a:lnTo>
                  <a:lnTo>
                    <a:pt x="2294" y="463"/>
                  </a:lnTo>
                  <a:lnTo>
                    <a:pt x="2294" y="441"/>
                  </a:lnTo>
                  <a:lnTo>
                    <a:pt x="2302" y="424"/>
                  </a:lnTo>
                  <a:lnTo>
                    <a:pt x="2305" y="404"/>
                  </a:lnTo>
                  <a:lnTo>
                    <a:pt x="2302" y="387"/>
                  </a:lnTo>
                  <a:lnTo>
                    <a:pt x="2302" y="371"/>
                  </a:lnTo>
                  <a:lnTo>
                    <a:pt x="2306" y="362"/>
                  </a:lnTo>
                  <a:lnTo>
                    <a:pt x="2317" y="348"/>
                  </a:lnTo>
                  <a:lnTo>
                    <a:pt x="2333" y="319"/>
                  </a:lnTo>
                  <a:lnTo>
                    <a:pt x="2342" y="311"/>
                  </a:lnTo>
                  <a:lnTo>
                    <a:pt x="2342" y="306"/>
                  </a:lnTo>
                  <a:lnTo>
                    <a:pt x="2353" y="308"/>
                  </a:lnTo>
                  <a:lnTo>
                    <a:pt x="2366" y="318"/>
                  </a:lnTo>
                  <a:lnTo>
                    <a:pt x="2398" y="328"/>
                  </a:lnTo>
                  <a:lnTo>
                    <a:pt x="2423" y="340"/>
                  </a:lnTo>
                  <a:lnTo>
                    <a:pt x="2434" y="338"/>
                  </a:lnTo>
                  <a:lnTo>
                    <a:pt x="2449" y="327"/>
                  </a:lnTo>
                  <a:lnTo>
                    <a:pt x="2499" y="296"/>
                  </a:lnTo>
                  <a:lnTo>
                    <a:pt x="2500" y="289"/>
                  </a:lnTo>
                  <a:lnTo>
                    <a:pt x="2498" y="276"/>
                  </a:lnTo>
                  <a:lnTo>
                    <a:pt x="2501" y="264"/>
                  </a:lnTo>
                  <a:lnTo>
                    <a:pt x="2512" y="251"/>
                  </a:lnTo>
                  <a:lnTo>
                    <a:pt x="2519" y="240"/>
                  </a:lnTo>
                  <a:lnTo>
                    <a:pt x="2526" y="210"/>
                  </a:lnTo>
                  <a:lnTo>
                    <a:pt x="2531" y="188"/>
                  </a:lnTo>
                  <a:lnTo>
                    <a:pt x="2538" y="171"/>
                  </a:lnTo>
                  <a:lnTo>
                    <a:pt x="2557" y="161"/>
                  </a:lnTo>
                  <a:lnTo>
                    <a:pt x="2581" y="134"/>
                  </a:lnTo>
                  <a:lnTo>
                    <a:pt x="2581" y="129"/>
                  </a:lnTo>
                  <a:lnTo>
                    <a:pt x="2576" y="118"/>
                  </a:lnTo>
                  <a:lnTo>
                    <a:pt x="2578" y="91"/>
                  </a:lnTo>
                  <a:lnTo>
                    <a:pt x="2571" y="87"/>
                  </a:lnTo>
                  <a:lnTo>
                    <a:pt x="2560" y="87"/>
                  </a:lnTo>
                  <a:lnTo>
                    <a:pt x="2542" y="92"/>
                  </a:lnTo>
                  <a:lnTo>
                    <a:pt x="2538" y="87"/>
                  </a:lnTo>
                  <a:lnTo>
                    <a:pt x="2543" y="74"/>
                  </a:lnTo>
                  <a:lnTo>
                    <a:pt x="2567" y="50"/>
                  </a:lnTo>
                  <a:lnTo>
                    <a:pt x="2575" y="38"/>
                  </a:lnTo>
                  <a:lnTo>
                    <a:pt x="2591" y="26"/>
                  </a:lnTo>
                  <a:lnTo>
                    <a:pt x="2625" y="20"/>
                  </a:lnTo>
                  <a:lnTo>
                    <a:pt x="2666" y="5"/>
                  </a:lnTo>
                  <a:lnTo>
                    <a:pt x="2691" y="6"/>
                  </a:lnTo>
                  <a:lnTo>
                    <a:pt x="2726" y="0"/>
                  </a:lnTo>
                  <a:lnTo>
                    <a:pt x="2738" y="0"/>
                  </a:lnTo>
                  <a:lnTo>
                    <a:pt x="2757" y="9"/>
                  </a:lnTo>
                  <a:lnTo>
                    <a:pt x="2774" y="21"/>
                  </a:lnTo>
                  <a:lnTo>
                    <a:pt x="2785" y="33"/>
                  </a:lnTo>
                  <a:lnTo>
                    <a:pt x="2801" y="37"/>
                  </a:lnTo>
                  <a:lnTo>
                    <a:pt x="2820" y="34"/>
                  </a:lnTo>
                  <a:lnTo>
                    <a:pt x="2836" y="38"/>
                  </a:lnTo>
                  <a:lnTo>
                    <a:pt x="2850" y="44"/>
                  </a:lnTo>
                  <a:lnTo>
                    <a:pt x="2858" y="58"/>
                  </a:lnTo>
                  <a:lnTo>
                    <a:pt x="2870" y="76"/>
                  </a:lnTo>
                  <a:lnTo>
                    <a:pt x="2871" y="89"/>
                  </a:lnTo>
                  <a:lnTo>
                    <a:pt x="2879" y="96"/>
                  </a:lnTo>
                  <a:lnTo>
                    <a:pt x="2888" y="102"/>
                  </a:lnTo>
                  <a:lnTo>
                    <a:pt x="2890" y="111"/>
                  </a:lnTo>
                  <a:lnTo>
                    <a:pt x="2891" y="106"/>
                  </a:lnTo>
                  <a:lnTo>
                    <a:pt x="2893" y="119"/>
                  </a:lnTo>
                  <a:lnTo>
                    <a:pt x="2898" y="134"/>
                  </a:lnTo>
                  <a:lnTo>
                    <a:pt x="2901" y="155"/>
                  </a:lnTo>
                  <a:lnTo>
                    <a:pt x="2909" y="172"/>
                  </a:lnTo>
                  <a:lnTo>
                    <a:pt x="2914" y="189"/>
                  </a:lnTo>
                  <a:lnTo>
                    <a:pt x="2935" y="229"/>
                  </a:lnTo>
                  <a:lnTo>
                    <a:pt x="2941" y="270"/>
                  </a:lnTo>
                  <a:lnTo>
                    <a:pt x="2950" y="289"/>
                  </a:lnTo>
                  <a:lnTo>
                    <a:pt x="2949" y="294"/>
                  </a:lnTo>
                  <a:lnTo>
                    <a:pt x="2950" y="295"/>
                  </a:lnTo>
                  <a:lnTo>
                    <a:pt x="2952" y="313"/>
                  </a:lnTo>
                  <a:lnTo>
                    <a:pt x="2952" y="334"/>
                  </a:lnTo>
                  <a:lnTo>
                    <a:pt x="2965" y="345"/>
                  </a:lnTo>
                  <a:lnTo>
                    <a:pt x="2988" y="348"/>
                  </a:lnTo>
                  <a:lnTo>
                    <a:pt x="3009" y="340"/>
                  </a:lnTo>
                  <a:lnTo>
                    <a:pt x="3025" y="348"/>
                  </a:lnTo>
                  <a:lnTo>
                    <a:pt x="3044" y="350"/>
                  </a:lnTo>
                  <a:lnTo>
                    <a:pt x="3062" y="359"/>
                  </a:lnTo>
                  <a:lnTo>
                    <a:pt x="3094" y="387"/>
                  </a:lnTo>
                  <a:lnTo>
                    <a:pt x="3109" y="394"/>
                  </a:lnTo>
                  <a:lnTo>
                    <a:pt x="3121" y="396"/>
                  </a:lnTo>
                  <a:lnTo>
                    <a:pt x="3125" y="403"/>
                  </a:lnTo>
                  <a:lnTo>
                    <a:pt x="3125" y="408"/>
                  </a:lnTo>
                  <a:lnTo>
                    <a:pt x="3127" y="407"/>
                  </a:lnTo>
                  <a:lnTo>
                    <a:pt x="3128" y="423"/>
                  </a:lnTo>
                  <a:lnTo>
                    <a:pt x="3135" y="432"/>
                  </a:lnTo>
                  <a:lnTo>
                    <a:pt x="3134" y="448"/>
                  </a:lnTo>
                  <a:lnTo>
                    <a:pt x="3135" y="466"/>
                  </a:lnTo>
                  <a:lnTo>
                    <a:pt x="3145" y="482"/>
                  </a:lnTo>
                  <a:lnTo>
                    <a:pt x="3151" y="495"/>
                  </a:lnTo>
                  <a:lnTo>
                    <a:pt x="3170" y="494"/>
                  </a:lnTo>
                  <a:lnTo>
                    <a:pt x="3189" y="500"/>
                  </a:lnTo>
                  <a:lnTo>
                    <a:pt x="3207" y="498"/>
                  </a:lnTo>
                  <a:lnTo>
                    <a:pt x="3238" y="483"/>
                  </a:lnTo>
                  <a:lnTo>
                    <a:pt x="3272" y="461"/>
                  </a:lnTo>
                  <a:lnTo>
                    <a:pt x="3290" y="459"/>
                  </a:lnTo>
                  <a:lnTo>
                    <a:pt x="3323" y="441"/>
                  </a:lnTo>
                  <a:lnTo>
                    <a:pt x="3355" y="432"/>
                  </a:lnTo>
                  <a:lnTo>
                    <a:pt x="3356" y="435"/>
                  </a:lnTo>
                  <a:lnTo>
                    <a:pt x="3348" y="448"/>
                  </a:lnTo>
                  <a:lnTo>
                    <a:pt x="3348" y="468"/>
                  </a:lnTo>
                  <a:lnTo>
                    <a:pt x="3353" y="484"/>
                  </a:lnTo>
                  <a:lnTo>
                    <a:pt x="3350" y="504"/>
                  </a:lnTo>
                  <a:lnTo>
                    <a:pt x="3338" y="514"/>
                  </a:lnTo>
                  <a:lnTo>
                    <a:pt x="3324" y="527"/>
                  </a:lnTo>
                  <a:lnTo>
                    <a:pt x="3322" y="548"/>
                  </a:lnTo>
                  <a:lnTo>
                    <a:pt x="3308" y="581"/>
                  </a:lnTo>
                  <a:lnTo>
                    <a:pt x="3300" y="623"/>
                  </a:lnTo>
                  <a:lnTo>
                    <a:pt x="3281" y="661"/>
                  </a:lnTo>
                  <a:lnTo>
                    <a:pt x="3268" y="679"/>
                  </a:lnTo>
                  <a:lnTo>
                    <a:pt x="3263" y="699"/>
                  </a:lnTo>
                  <a:lnTo>
                    <a:pt x="3251" y="709"/>
                  </a:lnTo>
                  <a:lnTo>
                    <a:pt x="3246" y="705"/>
                  </a:lnTo>
                  <a:lnTo>
                    <a:pt x="3195" y="693"/>
                  </a:lnTo>
                  <a:lnTo>
                    <a:pt x="3182" y="700"/>
                  </a:lnTo>
                  <a:lnTo>
                    <a:pt x="3146" y="735"/>
                  </a:lnTo>
                  <a:lnTo>
                    <a:pt x="3154" y="748"/>
                  </a:lnTo>
                  <a:lnTo>
                    <a:pt x="3160" y="775"/>
                  </a:lnTo>
                  <a:lnTo>
                    <a:pt x="3160" y="834"/>
                  </a:lnTo>
                  <a:lnTo>
                    <a:pt x="3144" y="859"/>
                  </a:lnTo>
                  <a:lnTo>
                    <a:pt x="3124" y="876"/>
                  </a:lnTo>
                  <a:lnTo>
                    <a:pt x="3124" y="894"/>
                  </a:lnTo>
                  <a:lnTo>
                    <a:pt x="3116" y="893"/>
                  </a:lnTo>
                  <a:lnTo>
                    <a:pt x="3108" y="878"/>
                  </a:lnTo>
                  <a:lnTo>
                    <a:pt x="3097" y="867"/>
                  </a:lnTo>
                  <a:lnTo>
                    <a:pt x="3086" y="876"/>
                  </a:lnTo>
                  <a:lnTo>
                    <a:pt x="3079" y="896"/>
                  </a:lnTo>
                  <a:lnTo>
                    <a:pt x="3069" y="911"/>
                  </a:lnTo>
                  <a:lnTo>
                    <a:pt x="3038" y="935"/>
                  </a:lnTo>
                  <a:lnTo>
                    <a:pt x="3014" y="941"/>
                  </a:lnTo>
                  <a:lnTo>
                    <a:pt x="2994" y="941"/>
                  </a:lnTo>
                  <a:lnTo>
                    <a:pt x="2989" y="950"/>
                  </a:lnTo>
                  <a:lnTo>
                    <a:pt x="2995" y="981"/>
                  </a:lnTo>
                  <a:lnTo>
                    <a:pt x="2953" y="985"/>
                  </a:lnTo>
                  <a:lnTo>
                    <a:pt x="2939" y="975"/>
                  </a:lnTo>
                  <a:lnTo>
                    <a:pt x="2920" y="970"/>
                  </a:lnTo>
                  <a:lnTo>
                    <a:pt x="2908" y="980"/>
                  </a:lnTo>
                  <a:lnTo>
                    <a:pt x="2883" y="1009"/>
                  </a:lnTo>
                  <a:lnTo>
                    <a:pt x="2865" y="1024"/>
                  </a:lnTo>
                  <a:lnTo>
                    <a:pt x="2826" y="1045"/>
                  </a:lnTo>
                  <a:lnTo>
                    <a:pt x="2811" y="1052"/>
                  </a:lnTo>
                  <a:lnTo>
                    <a:pt x="2783" y="1087"/>
                  </a:lnTo>
                  <a:lnTo>
                    <a:pt x="2781" y="1091"/>
                  </a:lnTo>
                  <a:lnTo>
                    <a:pt x="2774" y="1094"/>
                  </a:lnTo>
                  <a:lnTo>
                    <a:pt x="2767" y="1097"/>
                  </a:lnTo>
                  <a:lnTo>
                    <a:pt x="2756" y="1097"/>
                  </a:lnTo>
                  <a:lnTo>
                    <a:pt x="2734" y="1104"/>
                  </a:lnTo>
                  <a:lnTo>
                    <a:pt x="2729" y="1097"/>
                  </a:lnTo>
                  <a:lnTo>
                    <a:pt x="2724" y="1102"/>
                  </a:lnTo>
                  <a:lnTo>
                    <a:pt x="2709" y="1113"/>
                  </a:lnTo>
                  <a:lnTo>
                    <a:pt x="2673" y="1128"/>
                  </a:lnTo>
                  <a:lnTo>
                    <a:pt x="2665" y="1136"/>
                  </a:lnTo>
                  <a:lnTo>
                    <a:pt x="2657" y="1149"/>
                  </a:lnTo>
                  <a:lnTo>
                    <a:pt x="2646" y="1157"/>
                  </a:lnTo>
                  <a:lnTo>
                    <a:pt x="2638" y="1157"/>
                  </a:lnTo>
                  <a:lnTo>
                    <a:pt x="2632" y="1163"/>
                  </a:lnTo>
                  <a:lnTo>
                    <a:pt x="2613" y="1172"/>
                  </a:lnTo>
                  <a:lnTo>
                    <a:pt x="2607" y="1168"/>
                  </a:lnTo>
                  <a:lnTo>
                    <a:pt x="2616" y="1156"/>
                  </a:lnTo>
                  <a:lnTo>
                    <a:pt x="2630" y="1151"/>
                  </a:lnTo>
                  <a:lnTo>
                    <a:pt x="2635" y="1140"/>
                  </a:lnTo>
                  <a:lnTo>
                    <a:pt x="2638" y="1129"/>
                  </a:lnTo>
                  <a:lnTo>
                    <a:pt x="2630" y="1126"/>
                  </a:lnTo>
                  <a:lnTo>
                    <a:pt x="2622" y="1119"/>
                  </a:lnTo>
                  <a:lnTo>
                    <a:pt x="2616" y="1118"/>
                  </a:lnTo>
                  <a:lnTo>
                    <a:pt x="2625" y="1112"/>
                  </a:lnTo>
                  <a:lnTo>
                    <a:pt x="2627" y="1101"/>
                  </a:lnTo>
                  <a:lnTo>
                    <a:pt x="2638" y="1093"/>
                  </a:lnTo>
                  <a:lnTo>
                    <a:pt x="2660" y="1063"/>
                  </a:lnTo>
                  <a:lnTo>
                    <a:pt x="2667" y="1050"/>
                  </a:lnTo>
                  <a:lnTo>
                    <a:pt x="2665" y="1042"/>
                  </a:lnTo>
                  <a:lnTo>
                    <a:pt x="2652" y="1028"/>
                  </a:lnTo>
                  <a:lnTo>
                    <a:pt x="2649" y="1016"/>
                  </a:lnTo>
                  <a:lnTo>
                    <a:pt x="2644" y="1010"/>
                  </a:lnTo>
                  <a:lnTo>
                    <a:pt x="2639" y="1016"/>
                  </a:lnTo>
                  <a:lnTo>
                    <a:pt x="2616" y="1017"/>
                  </a:lnTo>
                  <a:lnTo>
                    <a:pt x="2606" y="1021"/>
                  </a:lnTo>
                  <a:lnTo>
                    <a:pt x="2590" y="1038"/>
                  </a:lnTo>
                  <a:lnTo>
                    <a:pt x="2578" y="1053"/>
                  </a:lnTo>
                  <a:lnTo>
                    <a:pt x="2571" y="1065"/>
                  </a:lnTo>
                  <a:lnTo>
                    <a:pt x="2568" y="1070"/>
                  </a:lnTo>
                  <a:lnTo>
                    <a:pt x="2542" y="1082"/>
                  </a:lnTo>
                  <a:lnTo>
                    <a:pt x="2524" y="1096"/>
                  </a:lnTo>
                  <a:lnTo>
                    <a:pt x="2516" y="1098"/>
                  </a:lnTo>
                  <a:lnTo>
                    <a:pt x="2509" y="1112"/>
                  </a:lnTo>
                  <a:lnTo>
                    <a:pt x="2506" y="1126"/>
                  </a:lnTo>
                  <a:lnTo>
                    <a:pt x="2498" y="1135"/>
                  </a:lnTo>
                  <a:lnTo>
                    <a:pt x="2488" y="1141"/>
                  </a:lnTo>
                  <a:lnTo>
                    <a:pt x="2473" y="1144"/>
                  </a:lnTo>
                  <a:lnTo>
                    <a:pt x="2462" y="1147"/>
                  </a:lnTo>
                  <a:lnTo>
                    <a:pt x="2451" y="1147"/>
                  </a:lnTo>
                  <a:lnTo>
                    <a:pt x="2445" y="1144"/>
                  </a:lnTo>
                  <a:lnTo>
                    <a:pt x="2433" y="1142"/>
                  </a:lnTo>
                  <a:lnTo>
                    <a:pt x="2423" y="1152"/>
                  </a:lnTo>
                  <a:lnTo>
                    <a:pt x="2417" y="1172"/>
                  </a:lnTo>
                  <a:lnTo>
                    <a:pt x="2414" y="1189"/>
                  </a:lnTo>
                  <a:lnTo>
                    <a:pt x="2431" y="1207"/>
                  </a:lnTo>
                  <a:lnTo>
                    <a:pt x="2435" y="1216"/>
                  </a:lnTo>
                  <a:lnTo>
                    <a:pt x="2444" y="1221"/>
                  </a:lnTo>
                  <a:lnTo>
                    <a:pt x="2451" y="1221"/>
                  </a:lnTo>
                  <a:lnTo>
                    <a:pt x="2456" y="1228"/>
                  </a:lnTo>
                  <a:lnTo>
                    <a:pt x="2465" y="1228"/>
                  </a:lnTo>
                  <a:lnTo>
                    <a:pt x="2469" y="1239"/>
                  </a:lnTo>
                  <a:lnTo>
                    <a:pt x="2479" y="1247"/>
                  </a:lnTo>
                  <a:lnTo>
                    <a:pt x="2482" y="1255"/>
                  </a:lnTo>
                  <a:lnTo>
                    <a:pt x="2482" y="1265"/>
                  </a:lnTo>
                  <a:lnTo>
                    <a:pt x="2490" y="1276"/>
                  </a:lnTo>
                  <a:lnTo>
                    <a:pt x="2517" y="1286"/>
                  </a:lnTo>
                  <a:lnTo>
                    <a:pt x="2531" y="1285"/>
                  </a:lnTo>
                  <a:lnTo>
                    <a:pt x="2543" y="1269"/>
                  </a:lnTo>
                  <a:lnTo>
                    <a:pt x="2554" y="1260"/>
                  </a:lnTo>
                  <a:lnTo>
                    <a:pt x="2562" y="1249"/>
                  </a:lnTo>
                  <a:lnTo>
                    <a:pt x="2584" y="1239"/>
                  </a:lnTo>
                  <a:lnTo>
                    <a:pt x="2591" y="1238"/>
                  </a:lnTo>
                  <a:lnTo>
                    <a:pt x="2602" y="1249"/>
                  </a:lnTo>
                  <a:lnTo>
                    <a:pt x="2611" y="1254"/>
                  </a:lnTo>
                  <a:lnTo>
                    <a:pt x="2622" y="1255"/>
                  </a:lnTo>
                  <a:lnTo>
                    <a:pt x="2629" y="1264"/>
                  </a:lnTo>
                  <a:lnTo>
                    <a:pt x="2637" y="1265"/>
                  </a:lnTo>
                  <a:lnTo>
                    <a:pt x="2649" y="1263"/>
                  </a:lnTo>
                  <a:lnTo>
                    <a:pt x="2657" y="1258"/>
                  </a:lnTo>
                  <a:lnTo>
                    <a:pt x="2671" y="1264"/>
                  </a:lnTo>
                  <a:lnTo>
                    <a:pt x="2683" y="1266"/>
                  </a:lnTo>
                  <a:lnTo>
                    <a:pt x="2687" y="1268"/>
                  </a:lnTo>
                  <a:lnTo>
                    <a:pt x="2684" y="1281"/>
                  </a:lnTo>
                  <a:lnTo>
                    <a:pt x="2680" y="1290"/>
                  </a:lnTo>
                  <a:lnTo>
                    <a:pt x="2680" y="1295"/>
                  </a:lnTo>
                  <a:lnTo>
                    <a:pt x="2670" y="1307"/>
                  </a:lnTo>
                  <a:lnTo>
                    <a:pt x="2666" y="1303"/>
                  </a:lnTo>
                  <a:lnTo>
                    <a:pt x="2662" y="1293"/>
                  </a:lnTo>
                  <a:lnTo>
                    <a:pt x="2656" y="1297"/>
                  </a:lnTo>
                  <a:lnTo>
                    <a:pt x="2650" y="1295"/>
                  </a:lnTo>
                  <a:lnTo>
                    <a:pt x="2643" y="1301"/>
                  </a:lnTo>
                  <a:lnTo>
                    <a:pt x="2637" y="1311"/>
                  </a:lnTo>
                  <a:lnTo>
                    <a:pt x="2614" y="1313"/>
                  </a:lnTo>
                  <a:lnTo>
                    <a:pt x="2602" y="1319"/>
                  </a:lnTo>
                  <a:lnTo>
                    <a:pt x="2591" y="1319"/>
                  </a:lnTo>
                  <a:lnTo>
                    <a:pt x="2594" y="1333"/>
                  </a:lnTo>
                  <a:lnTo>
                    <a:pt x="2590" y="1333"/>
                  </a:lnTo>
                  <a:lnTo>
                    <a:pt x="2585" y="1338"/>
                  </a:lnTo>
                  <a:lnTo>
                    <a:pt x="2578" y="1355"/>
                  </a:lnTo>
                  <a:lnTo>
                    <a:pt x="2568" y="1356"/>
                  </a:lnTo>
                  <a:lnTo>
                    <a:pt x="2564" y="1345"/>
                  </a:lnTo>
                  <a:lnTo>
                    <a:pt x="2555" y="1345"/>
                  </a:lnTo>
                  <a:lnTo>
                    <a:pt x="2548" y="1354"/>
                  </a:lnTo>
                  <a:lnTo>
                    <a:pt x="2555" y="1362"/>
                  </a:lnTo>
                  <a:lnTo>
                    <a:pt x="2552" y="1371"/>
                  </a:lnTo>
                  <a:lnTo>
                    <a:pt x="2544" y="1381"/>
                  </a:lnTo>
                  <a:lnTo>
                    <a:pt x="2526" y="1391"/>
                  </a:lnTo>
                  <a:lnTo>
                    <a:pt x="2521" y="1404"/>
                  </a:lnTo>
                  <a:lnTo>
                    <a:pt x="2509" y="1421"/>
                  </a:lnTo>
                  <a:lnTo>
                    <a:pt x="2500" y="1437"/>
                  </a:lnTo>
                  <a:lnTo>
                    <a:pt x="2503" y="1446"/>
                  </a:lnTo>
                  <a:lnTo>
                    <a:pt x="2514" y="1448"/>
                  </a:lnTo>
                  <a:lnTo>
                    <a:pt x="2522" y="1456"/>
                  </a:lnTo>
                  <a:lnTo>
                    <a:pt x="2555" y="1473"/>
                  </a:lnTo>
                  <a:lnTo>
                    <a:pt x="2562" y="1483"/>
                  </a:lnTo>
                  <a:lnTo>
                    <a:pt x="2567" y="1499"/>
                  </a:lnTo>
                  <a:lnTo>
                    <a:pt x="2574" y="1508"/>
                  </a:lnTo>
                  <a:lnTo>
                    <a:pt x="2584" y="1548"/>
                  </a:lnTo>
                  <a:lnTo>
                    <a:pt x="2590" y="1561"/>
                  </a:lnTo>
                  <a:lnTo>
                    <a:pt x="2594" y="1578"/>
                  </a:lnTo>
                  <a:lnTo>
                    <a:pt x="2603" y="1592"/>
                  </a:lnTo>
                  <a:lnTo>
                    <a:pt x="2617" y="1598"/>
                  </a:lnTo>
                  <a:lnTo>
                    <a:pt x="2618" y="1608"/>
                  </a:lnTo>
                  <a:lnTo>
                    <a:pt x="2635" y="1625"/>
                  </a:lnTo>
                  <a:lnTo>
                    <a:pt x="2646" y="1642"/>
                  </a:lnTo>
                  <a:lnTo>
                    <a:pt x="2646" y="1646"/>
                  </a:lnTo>
                  <a:lnTo>
                    <a:pt x="2628" y="1637"/>
                  </a:lnTo>
                  <a:lnTo>
                    <a:pt x="2613" y="1632"/>
                  </a:lnTo>
                  <a:lnTo>
                    <a:pt x="2602" y="1632"/>
                  </a:lnTo>
                  <a:lnTo>
                    <a:pt x="2590" y="1624"/>
                  </a:lnTo>
                  <a:lnTo>
                    <a:pt x="2576" y="1620"/>
                  </a:lnTo>
                  <a:lnTo>
                    <a:pt x="2551" y="1625"/>
                  </a:lnTo>
                  <a:lnTo>
                    <a:pt x="2551" y="1631"/>
                  </a:lnTo>
                  <a:lnTo>
                    <a:pt x="2576" y="1626"/>
                  </a:lnTo>
                  <a:lnTo>
                    <a:pt x="2581" y="1630"/>
                  </a:lnTo>
                  <a:lnTo>
                    <a:pt x="2584" y="1637"/>
                  </a:lnTo>
                  <a:lnTo>
                    <a:pt x="2595" y="1639"/>
                  </a:lnTo>
                  <a:lnTo>
                    <a:pt x="2607" y="1647"/>
                  </a:lnTo>
                  <a:lnTo>
                    <a:pt x="2618" y="1660"/>
                  </a:lnTo>
                  <a:lnTo>
                    <a:pt x="2627" y="1664"/>
                  </a:lnTo>
                  <a:lnTo>
                    <a:pt x="2632" y="1667"/>
                  </a:lnTo>
                  <a:lnTo>
                    <a:pt x="2640" y="1677"/>
                  </a:lnTo>
                  <a:lnTo>
                    <a:pt x="2648" y="1690"/>
                  </a:lnTo>
                  <a:lnTo>
                    <a:pt x="2646" y="1695"/>
                  </a:lnTo>
                  <a:lnTo>
                    <a:pt x="2633" y="1696"/>
                  </a:lnTo>
                  <a:lnTo>
                    <a:pt x="2622" y="1706"/>
                  </a:lnTo>
                  <a:lnTo>
                    <a:pt x="2611" y="1710"/>
                  </a:lnTo>
                  <a:lnTo>
                    <a:pt x="2603" y="1715"/>
                  </a:lnTo>
                  <a:lnTo>
                    <a:pt x="2600" y="1720"/>
                  </a:lnTo>
                  <a:lnTo>
                    <a:pt x="2589" y="1727"/>
                  </a:lnTo>
                  <a:lnTo>
                    <a:pt x="2573" y="1727"/>
                  </a:lnTo>
                  <a:lnTo>
                    <a:pt x="2562" y="1730"/>
                  </a:lnTo>
                  <a:lnTo>
                    <a:pt x="2551" y="1734"/>
                  </a:lnTo>
                  <a:lnTo>
                    <a:pt x="2563" y="1733"/>
                  </a:lnTo>
                  <a:lnTo>
                    <a:pt x="2575" y="1737"/>
                  </a:lnTo>
                  <a:lnTo>
                    <a:pt x="2586" y="1742"/>
                  </a:lnTo>
                  <a:lnTo>
                    <a:pt x="2607" y="1733"/>
                  </a:lnTo>
                  <a:lnTo>
                    <a:pt x="2616" y="1736"/>
                  </a:lnTo>
                  <a:lnTo>
                    <a:pt x="2624" y="1743"/>
                  </a:lnTo>
                  <a:lnTo>
                    <a:pt x="2628" y="1749"/>
                  </a:lnTo>
                  <a:lnTo>
                    <a:pt x="2633" y="1753"/>
                  </a:lnTo>
                  <a:lnTo>
                    <a:pt x="2640" y="1755"/>
                  </a:lnTo>
                  <a:lnTo>
                    <a:pt x="2648" y="1755"/>
                  </a:lnTo>
                  <a:lnTo>
                    <a:pt x="2652" y="1758"/>
                  </a:lnTo>
                  <a:lnTo>
                    <a:pt x="2646" y="1761"/>
                  </a:lnTo>
                  <a:lnTo>
                    <a:pt x="2633" y="1776"/>
                  </a:lnTo>
                  <a:lnTo>
                    <a:pt x="2623" y="1781"/>
                  </a:lnTo>
                  <a:lnTo>
                    <a:pt x="2627" y="1782"/>
                  </a:lnTo>
                  <a:lnTo>
                    <a:pt x="2643" y="1775"/>
                  </a:lnTo>
                  <a:lnTo>
                    <a:pt x="2643" y="1788"/>
                  </a:lnTo>
                  <a:lnTo>
                    <a:pt x="2641" y="1798"/>
                  </a:lnTo>
                  <a:lnTo>
                    <a:pt x="2640" y="1795"/>
                  </a:lnTo>
                  <a:lnTo>
                    <a:pt x="2635" y="1798"/>
                  </a:lnTo>
                  <a:lnTo>
                    <a:pt x="2623" y="1802"/>
                  </a:lnTo>
                  <a:lnTo>
                    <a:pt x="2623" y="1804"/>
                  </a:lnTo>
                  <a:lnTo>
                    <a:pt x="2628" y="1814"/>
                  </a:lnTo>
                  <a:lnTo>
                    <a:pt x="2625" y="1829"/>
                  </a:lnTo>
                  <a:lnTo>
                    <a:pt x="2622" y="1833"/>
                  </a:lnTo>
                  <a:lnTo>
                    <a:pt x="2622" y="1850"/>
                  </a:lnTo>
                  <a:lnTo>
                    <a:pt x="2616" y="1865"/>
                  </a:lnTo>
                  <a:lnTo>
                    <a:pt x="2611" y="1862"/>
                  </a:lnTo>
                  <a:lnTo>
                    <a:pt x="2606" y="1856"/>
                  </a:lnTo>
                  <a:lnTo>
                    <a:pt x="2601" y="1860"/>
                  </a:lnTo>
                  <a:lnTo>
                    <a:pt x="2594" y="1871"/>
                  </a:lnTo>
                  <a:lnTo>
                    <a:pt x="2587" y="1879"/>
                  </a:lnTo>
                  <a:lnTo>
                    <a:pt x="2582" y="1887"/>
                  </a:lnTo>
                  <a:lnTo>
                    <a:pt x="2578" y="1890"/>
                  </a:lnTo>
                  <a:lnTo>
                    <a:pt x="2574" y="1897"/>
                  </a:lnTo>
                  <a:lnTo>
                    <a:pt x="2571" y="1904"/>
                  </a:lnTo>
                  <a:lnTo>
                    <a:pt x="2571" y="1911"/>
                  </a:lnTo>
                  <a:lnTo>
                    <a:pt x="2567" y="1921"/>
                  </a:lnTo>
                  <a:lnTo>
                    <a:pt x="2560" y="1930"/>
                  </a:lnTo>
                  <a:lnTo>
                    <a:pt x="2555" y="1933"/>
                  </a:lnTo>
                  <a:lnTo>
                    <a:pt x="2546" y="1943"/>
                  </a:lnTo>
                  <a:lnTo>
                    <a:pt x="2543" y="1957"/>
                  </a:lnTo>
                  <a:lnTo>
                    <a:pt x="2537" y="1964"/>
                  </a:lnTo>
                  <a:lnTo>
                    <a:pt x="2535" y="1962"/>
                  </a:lnTo>
                  <a:lnTo>
                    <a:pt x="2533" y="1948"/>
                  </a:lnTo>
                  <a:lnTo>
                    <a:pt x="2525" y="1949"/>
                  </a:lnTo>
                  <a:lnTo>
                    <a:pt x="2517" y="1956"/>
                  </a:lnTo>
                  <a:lnTo>
                    <a:pt x="2526" y="1973"/>
                  </a:lnTo>
                  <a:lnTo>
                    <a:pt x="2526" y="1976"/>
                  </a:lnTo>
                  <a:lnTo>
                    <a:pt x="2521" y="1992"/>
                  </a:lnTo>
                  <a:lnTo>
                    <a:pt x="2521" y="1997"/>
                  </a:lnTo>
                  <a:lnTo>
                    <a:pt x="2520" y="2003"/>
                  </a:lnTo>
                  <a:lnTo>
                    <a:pt x="2517" y="2010"/>
                  </a:lnTo>
                  <a:lnTo>
                    <a:pt x="2515" y="2013"/>
                  </a:lnTo>
                  <a:lnTo>
                    <a:pt x="2511" y="2014"/>
                  </a:lnTo>
                  <a:lnTo>
                    <a:pt x="2511" y="2021"/>
                  </a:lnTo>
                  <a:lnTo>
                    <a:pt x="2512" y="2028"/>
                  </a:lnTo>
                  <a:lnTo>
                    <a:pt x="2511" y="2030"/>
                  </a:lnTo>
                  <a:lnTo>
                    <a:pt x="2506" y="2028"/>
                  </a:lnTo>
                  <a:lnTo>
                    <a:pt x="2500" y="2028"/>
                  </a:lnTo>
                  <a:lnTo>
                    <a:pt x="2495" y="2033"/>
                  </a:lnTo>
                  <a:lnTo>
                    <a:pt x="2498" y="2040"/>
                  </a:lnTo>
                  <a:lnTo>
                    <a:pt x="2494" y="2046"/>
                  </a:lnTo>
                  <a:lnTo>
                    <a:pt x="2490" y="2044"/>
                  </a:lnTo>
                  <a:lnTo>
                    <a:pt x="2484" y="2045"/>
                  </a:lnTo>
                  <a:lnTo>
                    <a:pt x="2478" y="2060"/>
                  </a:lnTo>
                  <a:lnTo>
                    <a:pt x="2471" y="2065"/>
                  </a:lnTo>
                  <a:lnTo>
                    <a:pt x="2469" y="2075"/>
                  </a:lnTo>
                  <a:lnTo>
                    <a:pt x="2465" y="2081"/>
                  </a:lnTo>
                  <a:lnTo>
                    <a:pt x="2447" y="2083"/>
                  </a:lnTo>
                  <a:lnTo>
                    <a:pt x="2440" y="2081"/>
                  </a:lnTo>
                  <a:lnTo>
                    <a:pt x="2431" y="2088"/>
                  </a:lnTo>
                  <a:lnTo>
                    <a:pt x="2433" y="2091"/>
                  </a:lnTo>
                  <a:lnTo>
                    <a:pt x="2435" y="2097"/>
                  </a:lnTo>
                  <a:lnTo>
                    <a:pt x="2433" y="2105"/>
                  </a:lnTo>
                  <a:lnTo>
                    <a:pt x="2418" y="2119"/>
                  </a:lnTo>
                  <a:lnTo>
                    <a:pt x="2413" y="2119"/>
                  </a:lnTo>
                  <a:lnTo>
                    <a:pt x="2410" y="2131"/>
                  </a:lnTo>
                  <a:lnTo>
                    <a:pt x="2408" y="2123"/>
                  </a:lnTo>
                  <a:lnTo>
                    <a:pt x="2402" y="2127"/>
                  </a:lnTo>
                  <a:lnTo>
                    <a:pt x="2401" y="2135"/>
                  </a:lnTo>
                  <a:lnTo>
                    <a:pt x="2398" y="2134"/>
                  </a:lnTo>
                  <a:lnTo>
                    <a:pt x="2395" y="2134"/>
                  </a:lnTo>
                  <a:lnTo>
                    <a:pt x="2385" y="2141"/>
                  </a:lnTo>
                  <a:lnTo>
                    <a:pt x="2380" y="2140"/>
                  </a:lnTo>
                  <a:lnTo>
                    <a:pt x="2372" y="2141"/>
                  </a:lnTo>
                  <a:lnTo>
                    <a:pt x="2365" y="2152"/>
                  </a:lnTo>
                  <a:lnTo>
                    <a:pt x="2361" y="2159"/>
                  </a:lnTo>
                  <a:lnTo>
                    <a:pt x="2356" y="2164"/>
                  </a:lnTo>
                  <a:lnTo>
                    <a:pt x="2354" y="2170"/>
                  </a:lnTo>
                  <a:lnTo>
                    <a:pt x="2344" y="2177"/>
                  </a:lnTo>
                  <a:lnTo>
                    <a:pt x="2328" y="2183"/>
                  </a:lnTo>
                  <a:lnTo>
                    <a:pt x="2316" y="2189"/>
                  </a:lnTo>
                  <a:lnTo>
                    <a:pt x="2309" y="2186"/>
                  </a:lnTo>
                  <a:lnTo>
                    <a:pt x="2302" y="2184"/>
                  </a:lnTo>
                  <a:lnTo>
                    <a:pt x="2299" y="2189"/>
                  </a:lnTo>
                  <a:lnTo>
                    <a:pt x="2297" y="2193"/>
                  </a:lnTo>
                  <a:lnTo>
                    <a:pt x="2291" y="2195"/>
                  </a:lnTo>
                  <a:lnTo>
                    <a:pt x="2285" y="2193"/>
                  </a:lnTo>
                  <a:lnTo>
                    <a:pt x="2285" y="2188"/>
                  </a:lnTo>
                  <a:lnTo>
                    <a:pt x="2277" y="2184"/>
                  </a:lnTo>
                  <a:lnTo>
                    <a:pt x="2268" y="2190"/>
                  </a:lnTo>
                  <a:lnTo>
                    <a:pt x="2263" y="2199"/>
                  </a:lnTo>
                  <a:lnTo>
                    <a:pt x="2256" y="2199"/>
                  </a:lnTo>
                  <a:lnTo>
                    <a:pt x="2253" y="2193"/>
                  </a:lnTo>
                  <a:lnTo>
                    <a:pt x="2253" y="2189"/>
                  </a:lnTo>
                  <a:lnTo>
                    <a:pt x="2245" y="2191"/>
                  </a:lnTo>
                  <a:lnTo>
                    <a:pt x="2245" y="2202"/>
                  </a:lnTo>
                  <a:lnTo>
                    <a:pt x="2243" y="220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16" name="Freeform 115">
              <a:extLst>
                <a:ext uri="{FF2B5EF4-FFF2-40B4-BE49-F238E27FC236}">
                  <a16:creationId xmlns:a16="http://schemas.microsoft.com/office/drawing/2014/main" id="{34EC3E9E-27BA-551D-D707-81BF250C695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411502" y="2862505"/>
              <a:ext cx="183558" cy="217963"/>
            </a:xfrm>
            <a:custGeom>
              <a:avLst/>
              <a:gdLst>
                <a:gd name="T0" fmla="*/ 2147483647 w 349"/>
                <a:gd name="T1" fmla="*/ 2147483647 h 377"/>
                <a:gd name="T2" fmla="*/ 2147483647 w 349"/>
                <a:gd name="T3" fmla="*/ 2147483647 h 377"/>
                <a:gd name="T4" fmla="*/ 2147483647 w 349"/>
                <a:gd name="T5" fmla="*/ 2147483647 h 377"/>
                <a:gd name="T6" fmla="*/ 2147483647 w 349"/>
                <a:gd name="T7" fmla="*/ 2147483647 h 377"/>
                <a:gd name="T8" fmla="*/ 2147483647 w 349"/>
                <a:gd name="T9" fmla="*/ 2147483647 h 377"/>
                <a:gd name="T10" fmla="*/ 2147483647 w 349"/>
                <a:gd name="T11" fmla="*/ 2147483647 h 377"/>
                <a:gd name="T12" fmla="*/ 2147483647 w 349"/>
                <a:gd name="T13" fmla="*/ 2147483647 h 377"/>
                <a:gd name="T14" fmla="*/ 2147483647 w 349"/>
                <a:gd name="T15" fmla="*/ 2147483647 h 377"/>
                <a:gd name="T16" fmla="*/ 2147483647 w 349"/>
                <a:gd name="T17" fmla="*/ 2147483647 h 377"/>
                <a:gd name="T18" fmla="*/ 2147483647 w 349"/>
                <a:gd name="T19" fmla="*/ 2147483647 h 377"/>
                <a:gd name="T20" fmla="*/ 2147483647 w 349"/>
                <a:gd name="T21" fmla="*/ 2147483647 h 377"/>
                <a:gd name="T22" fmla="*/ 2147483647 w 349"/>
                <a:gd name="T23" fmla="*/ 2147483647 h 377"/>
                <a:gd name="T24" fmla="*/ 2147483647 w 349"/>
                <a:gd name="T25" fmla="*/ 2147483647 h 377"/>
                <a:gd name="T26" fmla="*/ 2147483647 w 349"/>
                <a:gd name="T27" fmla="*/ 0 h 377"/>
                <a:gd name="T28" fmla="*/ 2147483647 w 349"/>
                <a:gd name="T29" fmla="*/ 0 h 377"/>
                <a:gd name="T30" fmla="*/ 2147483647 w 349"/>
                <a:gd name="T31" fmla="*/ 0 h 377"/>
                <a:gd name="T32" fmla="*/ 2147483647 w 349"/>
                <a:gd name="T33" fmla="*/ 0 h 377"/>
                <a:gd name="T34" fmla="*/ 2147483647 w 349"/>
                <a:gd name="T35" fmla="*/ 0 h 377"/>
                <a:gd name="T36" fmla="*/ 2147483647 w 349"/>
                <a:gd name="T37" fmla="*/ 0 h 377"/>
                <a:gd name="T38" fmla="*/ 2147483647 w 349"/>
                <a:gd name="T39" fmla="*/ 0 h 377"/>
                <a:gd name="T40" fmla="*/ 2147483647 w 349"/>
                <a:gd name="T41" fmla="*/ 2147483647 h 377"/>
                <a:gd name="T42" fmla="*/ 2147483647 w 349"/>
                <a:gd name="T43" fmla="*/ 2147483647 h 377"/>
                <a:gd name="T44" fmla="*/ 2147483647 w 349"/>
                <a:gd name="T45" fmla="*/ 2147483647 h 377"/>
                <a:gd name="T46" fmla="*/ 2147483647 w 349"/>
                <a:gd name="T47" fmla="*/ 2147483647 h 377"/>
                <a:gd name="T48" fmla="*/ 0 w 349"/>
                <a:gd name="T49" fmla="*/ 2147483647 h 377"/>
                <a:gd name="T50" fmla="*/ 0 w 349"/>
                <a:gd name="T51" fmla="*/ 2147483647 h 377"/>
                <a:gd name="T52" fmla="*/ 0 w 349"/>
                <a:gd name="T53" fmla="*/ 2147483647 h 377"/>
                <a:gd name="T54" fmla="*/ 0 w 349"/>
                <a:gd name="T55" fmla="*/ 2147483647 h 377"/>
                <a:gd name="T56" fmla="*/ 2147483647 w 349"/>
                <a:gd name="T57" fmla="*/ 2147483647 h 377"/>
                <a:gd name="T58" fmla="*/ 2147483647 w 349"/>
                <a:gd name="T59" fmla="*/ 2147483647 h 377"/>
                <a:gd name="T60" fmla="*/ 2147483647 w 349"/>
                <a:gd name="T61" fmla="*/ 2147483647 h 377"/>
                <a:gd name="T62" fmla="*/ 2147483647 w 349"/>
                <a:gd name="T63" fmla="*/ 2147483647 h 377"/>
                <a:gd name="T64" fmla="*/ 0 w 349"/>
                <a:gd name="T65" fmla="*/ 2147483647 h 377"/>
                <a:gd name="T66" fmla="*/ 0 w 349"/>
                <a:gd name="T67" fmla="*/ 2147483647 h 377"/>
                <a:gd name="T68" fmla="*/ 0 w 349"/>
                <a:gd name="T69" fmla="*/ 2147483647 h 377"/>
                <a:gd name="T70" fmla="*/ 0 w 349"/>
                <a:gd name="T71" fmla="*/ 2147483647 h 377"/>
                <a:gd name="T72" fmla="*/ 0 w 349"/>
                <a:gd name="T73" fmla="*/ 2147483647 h 377"/>
                <a:gd name="T74" fmla="*/ 0 w 349"/>
                <a:gd name="T75" fmla="*/ 2147483647 h 377"/>
                <a:gd name="T76" fmla="*/ 2147483647 w 349"/>
                <a:gd name="T77" fmla="*/ 2147483647 h 377"/>
                <a:gd name="T78" fmla="*/ 2147483647 w 349"/>
                <a:gd name="T79" fmla="*/ 2147483647 h 377"/>
                <a:gd name="T80" fmla="*/ 2147483647 w 349"/>
                <a:gd name="T81" fmla="*/ 2147483647 h 377"/>
                <a:gd name="T82" fmla="*/ 2147483647 w 349"/>
                <a:gd name="T83" fmla="*/ 2147483647 h 377"/>
                <a:gd name="T84" fmla="*/ 2147483647 w 349"/>
                <a:gd name="T85" fmla="*/ 2147483647 h 377"/>
                <a:gd name="T86" fmla="*/ 2147483647 w 349"/>
                <a:gd name="T87" fmla="*/ 2147483647 h 377"/>
                <a:gd name="T88" fmla="*/ 2147483647 w 349"/>
                <a:gd name="T89" fmla="*/ 2147483647 h 377"/>
                <a:gd name="T90" fmla="*/ 2147483647 w 349"/>
                <a:gd name="T91" fmla="*/ 2147483647 h 377"/>
                <a:gd name="T92" fmla="*/ 2147483647 w 349"/>
                <a:gd name="T93" fmla="*/ 2147483647 h 377"/>
                <a:gd name="T94" fmla="*/ 2147483647 w 349"/>
                <a:gd name="T95" fmla="*/ 2147483647 h 37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49"/>
                <a:gd name="T145" fmla="*/ 0 h 377"/>
                <a:gd name="T146" fmla="*/ 349 w 349"/>
                <a:gd name="T147" fmla="*/ 377 h 37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49" h="377">
                  <a:moveTo>
                    <a:pt x="223" y="318"/>
                  </a:moveTo>
                  <a:lnTo>
                    <a:pt x="220" y="310"/>
                  </a:lnTo>
                  <a:lnTo>
                    <a:pt x="196" y="290"/>
                  </a:lnTo>
                  <a:lnTo>
                    <a:pt x="185" y="277"/>
                  </a:lnTo>
                  <a:lnTo>
                    <a:pt x="171" y="272"/>
                  </a:lnTo>
                  <a:lnTo>
                    <a:pt x="169" y="266"/>
                  </a:lnTo>
                  <a:lnTo>
                    <a:pt x="174" y="253"/>
                  </a:lnTo>
                  <a:lnTo>
                    <a:pt x="174" y="262"/>
                  </a:lnTo>
                  <a:lnTo>
                    <a:pt x="175" y="255"/>
                  </a:lnTo>
                  <a:lnTo>
                    <a:pt x="174" y="236"/>
                  </a:lnTo>
                  <a:lnTo>
                    <a:pt x="175" y="229"/>
                  </a:lnTo>
                  <a:lnTo>
                    <a:pt x="186" y="226"/>
                  </a:lnTo>
                  <a:lnTo>
                    <a:pt x="196" y="220"/>
                  </a:lnTo>
                  <a:lnTo>
                    <a:pt x="199" y="212"/>
                  </a:lnTo>
                  <a:lnTo>
                    <a:pt x="223" y="209"/>
                  </a:lnTo>
                  <a:lnTo>
                    <a:pt x="235" y="200"/>
                  </a:lnTo>
                  <a:lnTo>
                    <a:pt x="239" y="194"/>
                  </a:lnTo>
                  <a:lnTo>
                    <a:pt x="257" y="181"/>
                  </a:lnTo>
                  <a:lnTo>
                    <a:pt x="274" y="162"/>
                  </a:lnTo>
                  <a:lnTo>
                    <a:pt x="289" y="155"/>
                  </a:lnTo>
                  <a:lnTo>
                    <a:pt x="295" y="150"/>
                  </a:lnTo>
                  <a:lnTo>
                    <a:pt x="297" y="121"/>
                  </a:lnTo>
                  <a:lnTo>
                    <a:pt x="293" y="112"/>
                  </a:lnTo>
                  <a:lnTo>
                    <a:pt x="295" y="101"/>
                  </a:lnTo>
                  <a:lnTo>
                    <a:pt x="304" y="87"/>
                  </a:lnTo>
                  <a:lnTo>
                    <a:pt x="308" y="80"/>
                  </a:lnTo>
                  <a:lnTo>
                    <a:pt x="335" y="49"/>
                  </a:lnTo>
                  <a:lnTo>
                    <a:pt x="342" y="46"/>
                  </a:lnTo>
                  <a:lnTo>
                    <a:pt x="349" y="48"/>
                  </a:lnTo>
                  <a:lnTo>
                    <a:pt x="347" y="41"/>
                  </a:lnTo>
                  <a:lnTo>
                    <a:pt x="343" y="33"/>
                  </a:lnTo>
                  <a:lnTo>
                    <a:pt x="343" y="27"/>
                  </a:lnTo>
                  <a:lnTo>
                    <a:pt x="335" y="26"/>
                  </a:lnTo>
                  <a:lnTo>
                    <a:pt x="327" y="11"/>
                  </a:lnTo>
                  <a:lnTo>
                    <a:pt x="316" y="0"/>
                  </a:lnTo>
                  <a:lnTo>
                    <a:pt x="305" y="9"/>
                  </a:lnTo>
                  <a:lnTo>
                    <a:pt x="298" y="29"/>
                  </a:lnTo>
                  <a:lnTo>
                    <a:pt x="288" y="44"/>
                  </a:lnTo>
                  <a:lnTo>
                    <a:pt x="257" y="68"/>
                  </a:lnTo>
                  <a:lnTo>
                    <a:pt x="233" y="74"/>
                  </a:lnTo>
                  <a:lnTo>
                    <a:pt x="213" y="74"/>
                  </a:lnTo>
                  <a:lnTo>
                    <a:pt x="208" y="83"/>
                  </a:lnTo>
                  <a:lnTo>
                    <a:pt x="214" y="114"/>
                  </a:lnTo>
                  <a:lnTo>
                    <a:pt x="172" y="118"/>
                  </a:lnTo>
                  <a:lnTo>
                    <a:pt x="158" y="108"/>
                  </a:lnTo>
                  <a:lnTo>
                    <a:pt x="139" y="103"/>
                  </a:lnTo>
                  <a:lnTo>
                    <a:pt x="127" y="113"/>
                  </a:lnTo>
                  <a:lnTo>
                    <a:pt x="102" y="142"/>
                  </a:lnTo>
                  <a:lnTo>
                    <a:pt x="84" y="157"/>
                  </a:lnTo>
                  <a:lnTo>
                    <a:pt x="45" y="178"/>
                  </a:lnTo>
                  <a:lnTo>
                    <a:pt x="30" y="185"/>
                  </a:lnTo>
                  <a:lnTo>
                    <a:pt x="2" y="220"/>
                  </a:lnTo>
                  <a:lnTo>
                    <a:pt x="0" y="224"/>
                  </a:lnTo>
                  <a:lnTo>
                    <a:pt x="13" y="235"/>
                  </a:lnTo>
                  <a:lnTo>
                    <a:pt x="16" y="246"/>
                  </a:lnTo>
                  <a:lnTo>
                    <a:pt x="30" y="239"/>
                  </a:lnTo>
                  <a:lnTo>
                    <a:pt x="42" y="243"/>
                  </a:lnTo>
                  <a:lnTo>
                    <a:pt x="57" y="245"/>
                  </a:lnTo>
                  <a:lnTo>
                    <a:pt x="63" y="248"/>
                  </a:lnTo>
                  <a:lnTo>
                    <a:pt x="59" y="258"/>
                  </a:lnTo>
                  <a:lnTo>
                    <a:pt x="56" y="278"/>
                  </a:lnTo>
                  <a:lnTo>
                    <a:pt x="50" y="301"/>
                  </a:lnTo>
                  <a:lnTo>
                    <a:pt x="52" y="307"/>
                  </a:lnTo>
                  <a:lnTo>
                    <a:pt x="59" y="307"/>
                  </a:lnTo>
                  <a:lnTo>
                    <a:pt x="45" y="315"/>
                  </a:lnTo>
                  <a:lnTo>
                    <a:pt x="43" y="320"/>
                  </a:lnTo>
                  <a:lnTo>
                    <a:pt x="37" y="323"/>
                  </a:lnTo>
                  <a:lnTo>
                    <a:pt x="32" y="339"/>
                  </a:lnTo>
                  <a:lnTo>
                    <a:pt x="24" y="352"/>
                  </a:lnTo>
                  <a:lnTo>
                    <a:pt x="40" y="353"/>
                  </a:lnTo>
                  <a:lnTo>
                    <a:pt x="50" y="350"/>
                  </a:lnTo>
                  <a:lnTo>
                    <a:pt x="48" y="355"/>
                  </a:lnTo>
                  <a:lnTo>
                    <a:pt x="45" y="361"/>
                  </a:lnTo>
                  <a:lnTo>
                    <a:pt x="40" y="361"/>
                  </a:lnTo>
                  <a:lnTo>
                    <a:pt x="41" y="368"/>
                  </a:lnTo>
                  <a:lnTo>
                    <a:pt x="47" y="366"/>
                  </a:lnTo>
                  <a:lnTo>
                    <a:pt x="51" y="376"/>
                  </a:lnTo>
                  <a:lnTo>
                    <a:pt x="53" y="377"/>
                  </a:lnTo>
                  <a:lnTo>
                    <a:pt x="61" y="377"/>
                  </a:lnTo>
                  <a:lnTo>
                    <a:pt x="64" y="372"/>
                  </a:lnTo>
                  <a:lnTo>
                    <a:pt x="71" y="370"/>
                  </a:lnTo>
                  <a:lnTo>
                    <a:pt x="74" y="360"/>
                  </a:lnTo>
                  <a:lnTo>
                    <a:pt x="72" y="355"/>
                  </a:lnTo>
                  <a:lnTo>
                    <a:pt x="78" y="356"/>
                  </a:lnTo>
                  <a:lnTo>
                    <a:pt x="84" y="365"/>
                  </a:lnTo>
                  <a:lnTo>
                    <a:pt x="91" y="368"/>
                  </a:lnTo>
                  <a:lnTo>
                    <a:pt x="99" y="374"/>
                  </a:lnTo>
                  <a:lnTo>
                    <a:pt x="102" y="369"/>
                  </a:lnTo>
                  <a:lnTo>
                    <a:pt x="113" y="365"/>
                  </a:lnTo>
                  <a:lnTo>
                    <a:pt x="121" y="374"/>
                  </a:lnTo>
                  <a:lnTo>
                    <a:pt x="134" y="363"/>
                  </a:lnTo>
                  <a:lnTo>
                    <a:pt x="156" y="340"/>
                  </a:lnTo>
                  <a:lnTo>
                    <a:pt x="174" y="339"/>
                  </a:lnTo>
                  <a:lnTo>
                    <a:pt x="191" y="340"/>
                  </a:lnTo>
                  <a:lnTo>
                    <a:pt x="206" y="334"/>
                  </a:lnTo>
                  <a:lnTo>
                    <a:pt x="223" y="31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17" name="Freeform 118">
              <a:extLst>
                <a:ext uri="{FF2B5EF4-FFF2-40B4-BE49-F238E27FC236}">
                  <a16:creationId xmlns:a16="http://schemas.microsoft.com/office/drawing/2014/main" id="{96D59047-556C-88A9-5D7C-E2627C4D883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180171" y="1297016"/>
              <a:ext cx="61389" cy="71108"/>
            </a:xfrm>
            <a:custGeom>
              <a:avLst/>
              <a:gdLst>
                <a:gd name="T0" fmla="*/ 0 w 116"/>
                <a:gd name="T1" fmla="*/ 0 h 126"/>
                <a:gd name="T2" fmla="*/ 0 w 116"/>
                <a:gd name="T3" fmla="*/ 0 h 126"/>
                <a:gd name="T4" fmla="*/ 0 w 116"/>
                <a:gd name="T5" fmla="*/ 0 h 126"/>
                <a:gd name="T6" fmla="*/ 0 w 116"/>
                <a:gd name="T7" fmla="*/ 0 h 126"/>
                <a:gd name="T8" fmla="*/ 0 w 116"/>
                <a:gd name="T9" fmla="*/ 0 h 126"/>
                <a:gd name="T10" fmla="*/ 0 w 116"/>
                <a:gd name="T11" fmla="*/ 0 h 126"/>
                <a:gd name="T12" fmla="*/ 0 w 116"/>
                <a:gd name="T13" fmla="*/ 0 h 126"/>
                <a:gd name="T14" fmla="*/ 0 w 116"/>
                <a:gd name="T15" fmla="*/ 0 h 126"/>
                <a:gd name="T16" fmla="*/ 0 w 116"/>
                <a:gd name="T17" fmla="*/ 0 h 126"/>
                <a:gd name="T18" fmla="*/ 0 w 116"/>
                <a:gd name="T19" fmla="*/ 0 h 126"/>
                <a:gd name="T20" fmla="*/ 0 w 116"/>
                <a:gd name="T21" fmla="*/ 0 h 126"/>
                <a:gd name="T22" fmla="*/ 0 w 116"/>
                <a:gd name="T23" fmla="*/ 0 h 126"/>
                <a:gd name="T24" fmla="*/ 0 w 116"/>
                <a:gd name="T25" fmla="*/ 0 h 126"/>
                <a:gd name="T26" fmla="*/ 0 w 116"/>
                <a:gd name="T27" fmla="*/ 0 h 126"/>
                <a:gd name="T28" fmla="*/ 0 w 116"/>
                <a:gd name="T29" fmla="*/ 0 h 126"/>
                <a:gd name="T30" fmla="*/ 0 w 116"/>
                <a:gd name="T31" fmla="*/ 0 h 126"/>
                <a:gd name="T32" fmla="*/ 0 w 116"/>
                <a:gd name="T33" fmla="*/ 0 h 126"/>
                <a:gd name="T34" fmla="*/ 0 w 116"/>
                <a:gd name="T35" fmla="*/ 0 h 126"/>
                <a:gd name="T36" fmla="*/ 0 w 116"/>
                <a:gd name="T37" fmla="*/ 0 h 126"/>
                <a:gd name="T38" fmla="*/ 0 w 116"/>
                <a:gd name="T39" fmla="*/ 0 h 126"/>
                <a:gd name="T40" fmla="*/ 0 w 116"/>
                <a:gd name="T41" fmla="*/ 0 h 126"/>
                <a:gd name="T42" fmla="*/ 0 w 116"/>
                <a:gd name="T43" fmla="*/ 0 h 126"/>
                <a:gd name="T44" fmla="*/ 0 w 116"/>
                <a:gd name="T45" fmla="*/ 0 h 126"/>
                <a:gd name="T46" fmla="*/ 0 w 116"/>
                <a:gd name="T47" fmla="*/ 0 h 126"/>
                <a:gd name="T48" fmla="*/ 0 w 116"/>
                <a:gd name="T49" fmla="*/ 0 h 126"/>
                <a:gd name="T50" fmla="*/ 0 w 116"/>
                <a:gd name="T51" fmla="*/ 0 h 126"/>
                <a:gd name="T52" fmla="*/ 0 w 116"/>
                <a:gd name="T53" fmla="*/ 0 h 126"/>
                <a:gd name="T54" fmla="*/ 0 w 116"/>
                <a:gd name="T55" fmla="*/ 0 h 126"/>
                <a:gd name="T56" fmla="*/ 0 w 116"/>
                <a:gd name="T57" fmla="*/ 0 h 126"/>
                <a:gd name="T58" fmla="*/ 0 w 116"/>
                <a:gd name="T59" fmla="*/ 0 h 126"/>
                <a:gd name="T60" fmla="*/ 0 w 116"/>
                <a:gd name="T61" fmla="*/ 0 h 126"/>
                <a:gd name="T62" fmla="*/ 0 w 116"/>
                <a:gd name="T63" fmla="*/ 0 h 126"/>
                <a:gd name="T64" fmla="*/ 0 w 116"/>
                <a:gd name="T65" fmla="*/ 0 h 126"/>
                <a:gd name="T66" fmla="*/ 0 w 116"/>
                <a:gd name="T67" fmla="*/ 0 h 12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16"/>
                <a:gd name="T103" fmla="*/ 0 h 126"/>
                <a:gd name="T104" fmla="*/ 116 w 116"/>
                <a:gd name="T105" fmla="*/ 126 h 12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16" h="126">
                  <a:moveTo>
                    <a:pt x="27" y="8"/>
                  </a:moveTo>
                  <a:lnTo>
                    <a:pt x="29" y="5"/>
                  </a:lnTo>
                  <a:lnTo>
                    <a:pt x="34" y="3"/>
                  </a:lnTo>
                  <a:lnTo>
                    <a:pt x="38" y="7"/>
                  </a:lnTo>
                  <a:lnTo>
                    <a:pt x="49" y="0"/>
                  </a:lnTo>
                  <a:lnTo>
                    <a:pt x="54" y="0"/>
                  </a:lnTo>
                  <a:lnTo>
                    <a:pt x="94" y="37"/>
                  </a:lnTo>
                  <a:lnTo>
                    <a:pt x="100" y="51"/>
                  </a:lnTo>
                  <a:lnTo>
                    <a:pt x="105" y="53"/>
                  </a:lnTo>
                  <a:lnTo>
                    <a:pt x="105" y="34"/>
                  </a:lnTo>
                  <a:lnTo>
                    <a:pt x="109" y="49"/>
                  </a:lnTo>
                  <a:lnTo>
                    <a:pt x="116" y="65"/>
                  </a:lnTo>
                  <a:lnTo>
                    <a:pt x="115" y="78"/>
                  </a:lnTo>
                  <a:lnTo>
                    <a:pt x="109" y="64"/>
                  </a:lnTo>
                  <a:lnTo>
                    <a:pt x="97" y="76"/>
                  </a:lnTo>
                  <a:lnTo>
                    <a:pt x="77" y="105"/>
                  </a:lnTo>
                  <a:lnTo>
                    <a:pt x="63" y="113"/>
                  </a:lnTo>
                  <a:lnTo>
                    <a:pt x="55" y="113"/>
                  </a:lnTo>
                  <a:lnTo>
                    <a:pt x="45" y="124"/>
                  </a:lnTo>
                  <a:lnTo>
                    <a:pt x="35" y="125"/>
                  </a:lnTo>
                  <a:lnTo>
                    <a:pt x="30" y="118"/>
                  </a:lnTo>
                  <a:lnTo>
                    <a:pt x="28" y="126"/>
                  </a:lnTo>
                  <a:lnTo>
                    <a:pt x="19" y="118"/>
                  </a:lnTo>
                  <a:lnTo>
                    <a:pt x="12" y="105"/>
                  </a:lnTo>
                  <a:lnTo>
                    <a:pt x="6" y="105"/>
                  </a:lnTo>
                  <a:lnTo>
                    <a:pt x="4" y="118"/>
                  </a:lnTo>
                  <a:lnTo>
                    <a:pt x="8" y="125"/>
                  </a:lnTo>
                  <a:lnTo>
                    <a:pt x="2" y="115"/>
                  </a:lnTo>
                  <a:lnTo>
                    <a:pt x="0" y="104"/>
                  </a:lnTo>
                  <a:lnTo>
                    <a:pt x="2" y="91"/>
                  </a:lnTo>
                  <a:lnTo>
                    <a:pt x="3" y="56"/>
                  </a:lnTo>
                  <a:lnTo>
                    <a:pt x="7" y="41"/>
                  </a:lnTo>
                  <a:lnTo>
                    <a:pt x="19" y="17"/>
                  </a:lnTo>
                  <a:lnTo>
                    <a:pt x="27" y="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18" name="Freeform 119">
              <a:extLst>
                <a:ext uri="{FF2B5EF4-FFF2-40B4-BE49-F238E27FC236}">
                  <a16:creationId xmlns:a16="http://schemas.microsoft.com/office/drawing/2014/main" id="{C9AC9C94-8359-2093-010F-5D1A689FD2C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677515" y="99551"/>
              <a:ext cx="178827" cy="238924"/>
            </a:xfrm>
            <a:custGeom>
              <a:avLst/>
              <a:gdLst>
                <a:gd name="T0" fmla="*/ 0 w 337"/>
                <a:gd name="T1" fmla="*/ 0 h 418"/>
                <a:gd name="T2" fmla="*/ 0 w 337"/>
                <a:gd name="T3" fmla="*/ 0 h 418"/>
                <a:gd name="T4" fmla="*/ 0 w 337"/>
                <a:gd name="T5" fmla="*/ 0 h 418"/>
                <a:gd name="T6" fmla="*/ 0 w 337"/>
                <a:gd name="T7" fmla="*/ 0 h 418"/>
                <a:gd name="T8" fmla="*/ 0 w 337"/>
                <a:gd name="T9" fmla="*/ 0 h 418"/>
                <a:gd name="T10" fmla="*/ 0 w 337"/>
                <a:gd name="T11" fmla="*/ 0 h 418"/>
                <a:gd name="T12" fmla="*/ 0 w 337"/>
                <a:gd name="T13" fmla="*/ 0 h 418"/>
                <a:gd name="T14" fmla="*/ 0 w 337"/>
                <a:gd name="T15" fmla="*/ 0 h 418"/>
                <a:gd name="T16" fmla="*/ 0 w 337"/>
                <a:gd name="T17" fmla="*/ 0 h 418"/>
                <a:gd name="T18" fmla="*/ 0 w 337"/>
                <a:gd name="T19" fmla="*/ 0 h 418"/>
                <a:gd name="T20" fmla="*/ 0 w 337"/>
                <a:gd name="T21" fmla="*/ 0 h 418"/>
                <a:gd name="T22" fmla="*/ 0 w 337"/>
                <a:gd name="T23" fmla="*/ 0 h 418"/>
                <a:gd name="T24" fmla="*/ 0 w 337"/>
                <a:gd name="T25" fmla="*/ 0 h 418"/>
                <a:gd name="T26" fmla="*/ 0 w 337"/>
                <a:gd name="T27" fmla="*/ 0 h 418"/>
                <a:gd name="T28" fmla="*/ 0 w 337"/>
                <a:gd name="T29" fmla="*/ 0 h 418"/>
                <a:gd name="T30" fmla="*/ 0 w 337"/>
                <a:gd name="T31" fmla="*/ 0 h 418"/>
                <a:gd name="T32" fmla="*/ 0 w 337"/>
                <a:gd name="T33" fmla="*/ 0 h 418"/>
                <a:gd name="T34" fmla="*/ 0 w 337"/>
                <a:gd name="T35" fmla="*/ 0 h 418"/>
                <a:gd name="T36" fmla="*/ 0 w 337"/>
                <a:gd name="T37" fmla="*/ 0 h 418"/>
                <a:gd name="T38" fmla="*/ 0 w 337"/>
                <a:gd name="T39" fmla="*/ 0 h 418"/>
                <a:gd name="T40" fmla="*/ 0 w 337"/>
                <a:gd name="T41" fmla="*/ 0 h 418"/>
                <a:gd name="T42" fmla="*/ 0 w 337"/>
                <a:gd name="T43" fmla="*/ 0 h 418"/>
                <a:gd name="T44" fmla="*/ 0 w 337"/>
                <a:gd name="T45" fmla="*/ 0 h 418"/>
                <a:gd name="T46" fmla="*/ 0 w 337"/>
                <a:gd name="T47" fmla="*/ 0 h 418"/>
                <a:gd name="T48" fmla="*/ 0 w 337"/>
                <a:gd name="T49" fmla="*/ 0 h 418"/>
                <a:gd name="T50" fmla="*/ 0 w 337"/>
                <a:gd name="T51" fmla="*/ 0 h 418"/>
                <a:gd name="T52" fmla="*/ 0 w 337"/>
                <a:gd name="T53" fmla="*/ 0 h 418"/>
                <a:gd name="T54" fmla="*/ 0 w 337"/>
                <a:gd name="T55" fmla="*/ 0 h 418"/>
                <a:gd name="T56" fmla="*/ 0 w 337"/>
                <a:gd name="T57" fmla="*/ 0 h 418"/>
                <a:gd name="T58" fmla="*/ 0 w 337"/>
                <a:gd name="T59" fmla="*/ 0 h 418"/>
                <a:gd name="T60" fmla="*/ 0 w 337"/>
                <a:gd name="T61" fmla="*/ 0 h 418"/>
                <a:gd name="T62" fmla="*/ 0 w 337"/>
                <a:gd name="T63" fmla="*/ 0 h 418"/>
                <a:gd name="T64" fmla="*/ 0 w 337"/>
                <a:gd name="T65" fmla="*/ 0 h 418"/>
                <a:gd name="T66" fmla="*/ 0 w 337"/>
                <a:gd name="T67" fmla="*/ 0 h 418"/>
                <a:gd name="T68" fmla="*/ 0 w 337"/>
                <a:gd name="T69" fmla="*/ 0 h 418"/>
                <a:gd name="T70" fmla="*/ 0 w 337"/>
                <a:gd name="T71" fmla="*/ 0 h 418"/>
                <a:gd name="T72" fmla="*/ 0 w 337"/>
                <a:gd name="T73" fmla="*/ 0 h 418"/>
                <a:gd name="T74" fmla="*/ 0 w 337"/>
                <a:gd name="T75" fmla="*/ 0 h 418"/>
                <a:gd name="T76" fmla="*/ 0 w 337"/>
                <a:gd name="T77" fmla="*/ 0 h 418"/>
                <a:gd name="T78" fmla="*/ 0 w 337"/>
                <a:gd name="T79" fmla="*/ 0 h 418"/>
                <a:gd name="T80" fmla="*/ 0 w 337"/>
                <a:gd name="T81" fmla="*/ 0 h 418"/>
                <a:gd name="T82" fmla="*/ 0 w 337"/>
                <a:gd name="T83" fmla="*/ 0 h 418"/>
                <a:gd name="T84" fmla="*/ 0 w 337"/>
                <a:gd name="T85" fmla="*/ 0 h 418"/>
                <a:gd name="T86" fmla="*/ 0 w 337"/>
                <a:gd name="T87" fmla="*/ 0 h 418"/>
                <a:gd name="T88" fmla="*/ 0 w 337"/>
                <a:gd name="T89" fmla="*/ 0 h 418"/>
                <a:gd name="T90" fmla="*/ 0 w 337"/>
                <a:gd name="T91" fmla="*/ 0 h 418"/>
                <a:gd name="T92" fmla="*/ 0 w 337"/>
                <a:gd name="T93" fmla="*/ 0 h 418"/>
                <a:gd name="T94" fmla="*/ 0 w 337"/>
                <a:gd name="T95" fmla="*/ 0 h 41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37"/>
                <a:gd name="T145" fmla="*/ 0 h 418"/>
                <a:gd name="T146" fmla="*/ 337 w 337"/>
                <a:gd name="T147" fmla="*/ 418 h 41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37" h="418">
                  <a:moveTo>
                    <a:pt x="33" y="286"/>
                  </a:moveTo>
                  <a:lnTo>
                    <a:pt x="42" y="277"/>
                  </a:lnTo>
                  <a:lnTo>
                    <a:pt x="42" y="269"/>
                  </a:lnTo>
                  <a:lnTo>
                    <a:pt x="52" y="238"/>
                  </a:lnTo>
                  <a:lnTo>
                    <a:pt x="49" y="228"/>
                  </a:lnTo>
                  <a:lnTo>
                    <a:pt x="66" y="185"/>
                  </a:lnTo>
                  <a:lnTo>
                    <a:pt x="85" y="202"/>
                  </a:lnTo>
                  <a:lnTo>
                    <a:pt x="96" y="201"/>
                  </a:lnTo>
                  <a:lnTo>
                    <a:pt x="80" y="183"/>
                  </a:lnTo>
                  <a:lnTo>
                    <a:pt x="80" y="149"/>
                  </a:lnTo>
                  <a:lnTo>
                    <a:pt x="81" y="131"/>
                  </a:lnTo>
                  <a:lnTo>
                    <a:pt x="92" y="119"/>
                  </a:lnTo>
                  <a:lnTo>
                    <a:pt x="100" y="118"/>
                  </a:lnTo>
                  <a:lnTo>
                    <a:pt x="93" y="115"/>
                  </a:lnTo>
                  <a:lnTo>
                    <a:pt x="93" y="103"/>
                  </a:lnTo>
                  <a:lnTo>
                    <a:pt x="100" y="94"/>
                  </a:lnTo>
                  <a:lnTo>
                    <a:pt x="109" y="92"/>
                  </a:lnTo>
                  <a:lnTo>
                    <a:pt x="105" y="88"/>
                  </a:lnTo>
                  <a:lnTo>
                    <a:pt x="105" y="73"/>
                  </a:lnTo>
                  <a:lnTo>
                    <a:pt x="124" y="52"/>
                  </a:lnTo>
                  <a:lnTo>
                    <a:pt x="125" y="44"/>
                  </a:lnTo>
                  <a:lnTo>
                    <a:pt x="124" y="29"/>
                  </a:lnTo>
                  <a:lnTo>
                    <a:pt x="130" y="24"/>
                  </a:lnTo>
                  <a:lnTo>
                    <a:pt x="136" y="39"/>
                  </a:lnTo>
                  <a:lnTo>
                    <a:pt x="139" y="56"/>
                  </a:lnTo>
                  <a:lnTo>
                    <a:pt x="155" y="62"/>
                  </a:lnTo>
                  <a:lnTo>
                    <a:pt x="157" y="48"/>
                  </a:lnTo>
                  <a:lnTo>
                    <a:pt x="155" y="16"/>
                  </a:lnTo>
                  <a:lnTo>
                    <a:pt x="166" y="0"/>
                  </a:lnTo>
                  <a:lnTo>
                    <a:pt x="194" y="12"/>
                  </a:lnTo>
                  <a:lnTo>
                    <a:pt x="194" y="36"/>
                  </a:lnTo>
                  <a:lnTo>
                    <a:pt x="195" y="29"/>
                  </a:lnTo>
                  <a:lnTo>
                    <a:pt x="200" y="23"/>
                  </a:lnTo>
                  <a:lnTo>
                    <a:pt x="208" y="30"/>
                  </a:lnTo>
                  <a:lnTo>
                    <a:pt x="208" y="43"/>
                  </a:lnTo>
                  <a:lnTo>
                    <a:pt x="195" y="73"/>
                  </a:lnTo>
                  <a:lnTo>
                    <a:pt x="197" y="94"/>
                  </a:lnTo>
                  <a:lnTo>
                    <a:pt x="194" y="108"/>
                  </a:lnTo>
                  <a:lnTo>
                    <a:pt x="194" y="122"/>
                  </a:lnTo>
                  <a:lnTo>
                    <a:pt x="209" y="103"/>
                  </a:lnTo>
                  <a:lnTo>
                    <a:pt x="219" y="84"/>
                  </a:lnTo>
                  <a:lnTo>
                    <a:pt x="219" y="66"/>
                  </a:lnTo>
                  <a:lnTo>
                    <a:pt x="224" y="65"/>
                  </a:lnTo>
                  <a:lnTo>
                    <a:pt x="233" y="79"/>
                  </a:lnTo>
                  <a:lnTo>
                    <a:pt x="236" y="94"/>
                  </a:lnTo>
                  <a:lnTo>
                    <a:pt x="238" y="99"/>
                  </a:lnTo>
                  <a:lnTo>
                    <a:pt x="245" y="88"/>
                  </a:lnTo>
                  <a:lnTo>
                    <a:pt x="249" y="72"/>
                  </a:lnTo>
                  <a:lnTo>
                    <a:pt x="258" y="77"/>
                  </a:lnTo>
                  <a:lnTo>
                    <a:pt x="262" y="95"/>
                  </a:lnTo>
                  <a:lnTo>
                    <a:pt x="259" y="110"/>
                  </a:lnTo>
                  <a:lnTo>
                    <a:pt x="261" y="119"/>
                  </a:lnTo>
                  <a:lnTo>
                    <a:pt x="267" y="131"/>
                  </a:lnTo>
                  <a:lnTo>
                    <a:pt x="273" y="131"/>
                  </a:lnTo>
                  <a:lnTo>
                    <a:pt x="272" y="118"/>
                  </a:lnTo>
                  <a:lnTo>
                    <a:pt x="279" y="110"/>
                  </a:lnTo>
                  <a:lnTo>
                    <a:pt x="284" y="137"/>
                  </a:lnTo>
                  <a:lnTo>
                    <a:pt x="292" y="163"/>
                  </a:lnTo>
                  <a:lnTo>
                    <a:pt x="326" y="184"/>
                  </a:lnTo>
                  <a:lnTo>
                    <a:pt x="334" y="195"/>
                  </a:lnTo>
                  <a:lnTo>
                    <a:pt x="337" y="217"/>
                  </a:lnTo>
                  <a:lnTo>
                    <a:pt x="337" y="234"/>
                  </a:lnTo>
                  <a:lnTo>
                    <a:pt x="333" y="245"/>
                  </a:lnTo>
                  <a:lnTo>
                    <a:pt x="337" y="259"/>
                  </a:lnTo>
                  <a:lnTo>
                    <a:pt x="337" y="276"/>
                  </a:lnTo>
                  <a:lnTo>
                    <a:pt x="318" y="312"/>
                  </a:lnTo>
                  <a:lnTo>
                    <a:pt x="307" y="323"/>
                  </a:lnTo>
                  <a:lnTo>
                    <a:pt x="301" y="317"/>
                  </a:lnTo>
                  <a:lnTo>
                    <a:pt x="280" y="321"/>
                  </a:lnTo>
                  <a:lnTo>
                    <a:pt x="242" y="344"/>
                  </a:lnTo>
                  <a:lnTo>
                    <a:pt x="226" y="341"/>
                  </a:lnTo>
                  <a:lnTo>
                    <a:pt x="216" y="347"/>
                  </a:lnTo>
                  <a:lnTo>
                    <a:pt x="205" y="344"/>
                  </a:lnTo>
                  <a:lnTo>
                    <a:pt x="200" y="346"/>
                  </a:lnTo>
                  <a:lnTo>
                    <a:pt x="199" y="355"/>
                  </a:lnTo>
                  <a:lnTo>
                    <a:pt x="190" y="360"/>
                  </a:lnTo>
                  <a:lnTo>
                    <a:pt x="176" y="342"/>
                  </a:lnTo>
                  <a:lnTo>
                    <a:pt x="149" y="352"/>
                  </a:lnTo>
                  <a:lnTo>
                    <a:pt x="143" y="346"/>
                  </a:lnTo>
                  <a:lnTo>
                    <a:pt x="133" y="352"/>
                  </a:lnTo>
                  <a:lnTo>
                    <a:pt x="98" y="350"/>
                  </a:lnTo>
                  <a:lnTo>
                    <a:pt x="92" y="368"/>
                  </a:lnTo>
                  <a:lnTo>
                    <a:pt x="86" y="371"/>
                  </a:lnTo>
                  <a:lnTo>
                    <a:pt x="77" y="385"/>
                  </a:lnTo>
                  <a:lnTo>
                    <a:pt x="53" y="396"/>
                  </a:lnTo>
                  <a:lnTo>
                    <a:pt x="41" y="409"/>
                  </a:lnTo>
                  <a:lnTo>
                    <a:pt x="33" y="418"/>
                  </a:lnTo>
                  <a:lnTo>
                    <a:pt x="6" y="416"/>
                  </a:lnTo>
                  <a:lnTo>
                    <a:pt x="7" y="409"/>
                  </a:lnTo>
                  <a:lnTo>
                    <a:pt x="12" y="398"/>
                  </a:lnTo>
                  <a:lnTo>
                    <a:pt x="11" y="387"/>
                  </a:lnTo>
                  <a:lnTo>
                    <a:pt x="0" y="393"/>
                  </a:lnTo>
                  <a:lnTo>
                    <a:pt x="4" y="366"/>
                  </a:lnTo>
                  <a:lnTo>
                    <a:pt x="9" y="355"/>
                  </a:lnTo>
                  <a:lnTo>
                    <a:pt x="38" y="302"/>
                  </a:lnTo>
                  <a:lnTo>
                    <a:pt x="33" y="297"/>
                  </a:lnTo>
                  <a:lnTo>
                    <a:pt x="33" y="28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19" name="Freeform 120">
              <a:extLst>
                <a:ext uri="{FF2B5EF4-FFF2-40B4-BE49-F238E27FC236}">
                  <a16:creationId xmlns:a16="http://schemas.microsoft.com/office/drawing/2014/main" id="{5B5E9F2C-14B1-4325-8025-0F03BC2970A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771830" y="577400"/>
              <a:ext cx="194841" cy="190570"/>
            </a:xfrm>
            <a:custGeom>
              <a:avLst/>
              <a:gdLst>
                <a:gd name="T0" fmla="*/ 0 w 365"/>
                <a:gd name="T1" fmla="*/ 0 h 334"/>
                <a:gd name="T2" fmla="*/ 0 w 365"/>
                <a:gd name="T3" fmla="*/ 0 h 334"/>
                <a:gd name="T4" fmla="*/ 0 w 365"/>
                <a:gd name="T5" fmla="*/ 0 h 334"/>
                <a:gd name="T6" fmla="*/ 0 w 365"/>
                <a:gd name="T7" fmla="*/ 0 h 334"/>
                <a:gd name="T8" fmla="*/ 0 w 365"/>
                <a:gd name="T9" fmla="*/ 0 h 334"/>
                <a:gd name="T10" fmla="*/ 0 w 365"/>
                <a:gd name="T11" fmla="*/ 0 h 334"/>
                <a:gd name="T12" fmla="*/ 0 w 365"/>
                <a:gd name="T13" fmla="*/ 0 h 334"/>
                <a:gd name="T14" fmla="*/ 0 w 365"/>
                <a:gd name="T15" fmla="*/ 0 h 334"/>
                <a:gd name="T16" fmla="*/ 0 w 365"/>
                <a:gd name="T17" fmla="*/ 0 h 334"/>
                <a:gd name="T18" fmla="*/ 0 w 365"/>
                <a:gd name="T19" fmla="*/ 0 h 334"/>
                <a:gd name="T20" fmla="*/ 0 w 365"/>
                <a:gd name="T21" fmla="*/ 0 h 334"/>
                <a:gd name="T22" fmla="*/ 0 w 365"/>
                <a:gd name="T23" fmla="*/ 0 h 334"/>
                <a:gd name="T24" fmla="*/ 0 w 365"/>
                <a:gd name="T25" fmla="*/ 0 h 334"/>
                <a:gd name="T26" fmla="*/ 0 w 365"/>
                <a:gd name="T27" fmla="*/ 0 h 334"/>
                <a:gd name="T28" fmla="*/ 0 w 365"/>
                <a:gd name="T29" fmla="*/ 0 h 334"/>
                <a:gd name="T30" fmla="*/ 0 w 365"/>
                <a:gd name="T31" fmla="*/ 0 h 334"/>
                <a:gd name="T32" fmla="*/ 0 w 365"/>
                <a:gd name="T33" fmla="*/ 0 h 334"/>
                <a:gd name="T34" fmla="*/ 0 w 365"/>
                <a:gd name="T35" fmla="*/ 0 h 334"/>
                <a:gd name="T36" fmla="*/ 0 w 365"/>
                <a:gd name="T37" fmla="*/ 0 h 334"/>
                <a:gd name="T38" fmla="*/ 0 w 365"/>
                <a:gd name="T39" fmla="*/ 0 h 334"/>
                <a:gd name="T40" fmla="*/ 0 w 365"/>
                <a:gd name="T41" fmla="*/ 0 h 334"/>
                <a:gd name="T42" fmla="*/ 0 w 365"/>
                <a:gd name="T43" fmla="*/ 0 h 334"/>
                <a:gd name="T44" fmla="*/ 0 w 365"/>
                <a:gd name="T45" fmla="*/ 0 h 334"/>
                <a:gd name="T46" fmla="*/ 0 w 365"/>
                <a:gd name="T47" fmla="*/ 0 h 334"/>
                <a:gd name="T48" fmla="*/ 0 w 365"/>
                <a:gd name="T49" fmla="*/ 0 h 334"/>
                <a:gd name="T50" fmla="*/ 0 w 365"/>
                <a:gd name="T51" fmla="*/ 0 h 334"/>
                <a:gd name="T52" fmla="*/ 0 w 365"/>
                <a:gd name="T53" fmla="*/ 0 h 334"/>
                <a:gd name="T54" fmla="*/ 0 w 365"/>
                <a:gd name="T55" fmla="*/ 0 h 334"/>
                <a:gd name="T56" fmla="*/ 0 w 365"/>
                <a:gd name="T57" fmla="*/ 0 h 334"/>
                <a:gd name="T58" fmla="*/ 0 w 365"/>
                <a:gd name="T59" fmla="*/ 0 h 334"/>
                <a:gd name="T60" fmla="*/ 0 w 365"/>
                <a:gd name="T61" fmla="*/ 0 h 334"/>
                <a:gd name="T62" fmla="*/ 0 w 365"/>
                <a:gd name="T63" fmla="*/ 0 h 334"/>
                <a:gd name="T64" fmla="*/ 0 w 365"/>
                <a:gd name="T65" fmla="*/ 0 h 334"/>
                <a:gd name="T66" fmla="*/ 0 w 365"/>
                <a:gd name="T67" fmla="*/ 0 h 334"/>
                <a:gd name="T68" fmla="*/ 0 w 365"/>
                <a:gd name="T69" fmla="*/ 0 h 334"/>
                <a:gd name="T70" fmla="*/ 0 w 365"/>
                <a:gd name="T71" fmla="*/ 0 h 334"/>
                <a:gd name="T72" fmla="*/ 0 w 365"/>
                <a:gd name="T73" fmla="*/ 0 h 334"/>
                <a:gd name="T74" fmla="*/ 0 w 365"/>
                <a:gd name="T75" fmla="*/ 0 h 334"/>
                <a:gd name="T76" fmla="*/ 0 w 365"/>
                <a:gd name="T77" fmla="*/ 0 h 334"/>
                <a:gd name="T78" fmla="*/ 0 w 365"/>
                <a:gd name="T79" fmla="*/ 0 h 334"/>
                <a:gd name="T80" fmla="*/ 0 w 365"/>
                <a:gd name="T81" fmla="*/ 0 h 334"/>
                <a:gd name="T82" fmla="*/ 0 w 365"/>
                <a:gd name="T83" fmla="*/ 0 h 334"/>
                <a:gd name="T84" fmla="*/ 0 w 365"/>
                <a:gd name="T85" fmla="*/ 0 h 334"/>
                <a:gd name="T86" fmla="*/ 0 w 365"/>
                <a:gd name="T87" fmla="*/ 0 h 334"/>
                <a:gd name="T88" fmla="*/ 0 w 365"/>
                <a:gd name="T89" fmla="*/ 0 h 334"/>
                <a:gd name="T90" fmla="*/ 0 w 365"/>
                <a:gd name="T91" fmla="*/ 0 h 334"/>
                <a:gd name="T92" fmla="*/ 0 w 365"/>
                <a:gd name="T93" fmla="*/ 0 h 334"/>
                <a:gd name="T94" fmla="*/ 0 w 365"/>
                <a:gd name="T95" fmla="*/ 0 h 334"/>
                <a:gd name="T96" fmla="*/ 0 w 365"/>
                <a:gd name="T97" fmla="*/ 0 h 334"/>
                <a:gd name="T98" fmla="*/ 0 w 365"/>
                <a:gd name="T99" fmla="*/ 0 h 334"/>
                <a:gd name="T100" fmla="*/ 0 w 365"/>
                <a:gd name="T101" fmla="*/ 0 h 334"/>
                <a:gd name="T102" fmla="*/ 0 w 365"/>
                <a:gd name="T103" fmla="*/ 0 h 334"/>
                <a:gd name="T104" fmla="*/ 0 w 365"/>
                <a:gd name="T105" fmla="*/ 0 h 334"/>
                <a:gd name="T106" fmla="*/ 0 w 365"/>
                <a:gd name="T107" fmla="*/ 0 h 334"/>
                <a:gd name="T108" fmla="*/ 0 w 365"/>
                <a:gd name="T109" fmla="*/ 0 h 334"/>
                <a:gd name="T110" fmla="*/ 0 w 365"/>
                <a:gd name="T111" fmla="*/ 0 h 334"/>
                <a:gd name="T112" fmla="*/ 0 w 365"/>
                <a:gd name="T113" fmla="*/ 0 h 334"/>
                <a:gd name="T114" fmla="*/ 0 w 365"/>
                <a:gd name="T115" fmla="*/ 0 h 334"/>
                <a:gd name="T116" fmla="*/ 0 w 365"/>
                <a:gd name="T117" fmla="*/ 0 h 334"/>
                <a:gd name="T118" fmla="*/ 0 w 365"/>
                <a:gd name="T119" fmla="*/ 0 h 334"/>
                <a:gd name="T120" fmla="*/ 0 w 365"/>
                <a:gd name="T121" fmla="*/ 0 h 33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5"/>
                <a:gd name="T184" fmla="*/ 0 h 334"/>
                <a:gd name="T185" fmla="*/ 365 w 365"/>
                <a:gd name="T186" fmla="*/ 334 h 33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5" h="334">
                  <a:moveTo>
                    <a:pt x="178" y="86"/>
                  </a:moveTo>
                  <a:lnTo>
                    <a:pt x="179" y="89"/>
                  </a:lnTo>
                  <a:lnTo>
                    <a:pt x="180" y="95"/>
                  </a:lnTo>
                  <a:lnTo>
                    <a:pt x="185" y="89"/>
                  </a:lnTo>
                  <a:lnTo>
                    <a:pt x="201" y="94"/>
                  </a:lnTo>
                  <a:lnTo>
                    <a:pt x="200" y="103"/>
                  </a:lnTo>
                  <a:lnTo>
                    <a:pt x="201" y="106"/>
                  </a:lnTo>
                  <a:lnTo>
                    <a:pt x="194" y="120"/>
                  </a:lnTo>
                  <a:lnTo>
                    <a:pt x="196" y="121"/>
                  </a:lnTo>
                  <a:lnTo>
                    <a:pt x="195" y="127"/>
                  </a:lnTo>
                  <a:lnTo>
                    <a:pt x="198" y="135"/>
                  </a:lnTo>
                  <a:lnTo>
                    <a:pt x="205" y="132"/>
                  </a:lnTo>
                  <a:lnTo>
                    <a:pt x="210" y="138"/>
                  </a:lnTo>
                  <a:lnTo>
                    <a:pt x="216" y="133"/>
                  </a:lnTo>
                  <a:lnTo>
                    <a:pt x="226" y="137"/>
                  </a:lnTo>
                  <a:lnTo>
                    <a:pt x="228" y="133"/>
                  </a:lnTo>
                  <a:lnTo>
                    <a:pt x="228" y="109"/>
                  </a:lnTo>
                  <a:lnTo>
                    <a:pt x="233" y="103"/>
                  </a:lnTo>
                  <a:lnTo>
                    <a:pt x="226" y="92"/>
                  </a:lnTo>
                  <a:lnTo>
                    <a:pt x="225" y="60"/>
                  </a:lnTo>
                  <a:lnTo>
                    <a:pt x="225" y="47"/>
                  </a:lnTo>
                  <a:lnTo>
                    <a:pt x="235" y="34"/>
                  </a:lnTo>
                  <a:lnTo>
                    <a:pt x="242" y="30"/>
                  </a:lnTo>
                  <a:lnTo>
                    <a:pt x="268" y="49"/>
                  </a:lnTo>
                  <a:lnTo>
                    <a:pt x="287" y="78"/>
                  </a:lnTo>
                  <a:lnTo>
                    <a:pt x="290" y="89"/>
                  </a:lnTo>
                  <a:lnTo>
                    <a:pt x="297" y="109"/>
                  </a:lnTo>
                  <a:lnTo>
                    <a:pt x="307" y="109"/>
                  </a:lnTo>
                  <a:lnTo>
                    <a:pt x="314" y="115"/>
                  </a:lnTo>
                  <a:lnTo>
                    <a:pt x="314" y="127"/>
                  </a:lnTo>
                  <a:lnTo>
                    <a:pt x="311" y="138"/>
                  </a:lnTo>
                  <a:lnTo>
                    <a:pt x="309" y="151"/>
                  </a:lnTo>
                  <a:lnTo>
                    <a:pt x="305" y="163"/>
                  </a:lnTo>
                  <a:lnTo>
                    <a:pt x="300" y="170"/>
                  </a:lnTo>
                  <a:lnTo>
                    <a:pt x="296" y="181"/>
                  </a:lnTo>
                  <a:lnTo>
                    <a:pt x="296" y="191"/>
                  </a:lnTo>
                  <a:lnTo>
                    <a:pt x="298" y="201"/>
                  </a:lnTo>
                  <a:lnTo>
                    <a:pt x="309" y="234"/>
                  </a:lnTo>
                  <a:lnTo>
                    <a:pt x="323" y="254"/>
                  </a:lnTo>
                  <a:lnTo>
                    <a:pt x="344" y="259"/>
                  </a:lnTo>
                  <a:lnTo>
                    <a:pt x="361" y="272"/>
                  </a:lnTo>
                  <a:lnTo>
                    <a:pt x="365" y="280"/>
                  </a:lnTo>
                  <a:lnTo>
                    <a:pt x="364" y="283"/>
                  </a:lnTo>
                  <a:lnTo>
                    <a:pt x="343" y="289"/>
                  </a:lnTo>
                  <a:lnTo>
                    <a:pt x="317" y="277"/>
                  </a:lnTo>
                  <a:lnTo>
                    <a:pt x="314" y="287"/>
                  </a:lnTo>
                  <a:lnTo>
                    <a:pt x="314" y="296"/>
                  </a:lnTo>
                  <a:lnTo>
                    <a:pt x="305" y="302"/>
                  </a:lnTo>
                  <a:lnTo>
                    <a:pt x="281" y="273"/>
                  </a:lnTo>
                  <a:lnTo>
                    <a:pt x="287" y="272"/>
                  </a:lnTo>
                  <a:lnTo>
                    <a:pt x="289" y="261"/>
                  </a:lnTo>
                  <a:lnTo>
                    <a:pt x="279" y="253"/>
                  </a:lnTo>
                  <a:lnTo>
                    <a:pt x="265" y="272"/>
                  </a:lnTo>
                  <a:lnTo>
                    <a:pt x="238" y="280"/>
                  </a:lnTo>
                  <a:lnTo>
                    <a:pt x="225" y="287"/>
                  </a:lnTo>
                  <a:lnTo>
                    <a:pt x="211" y="301"/>
                  </a:lnTo>
                  <a:lnTo>
                    <a:pt x="183" y="312"/>
                  </a:lnTo>
                  <a:lnTo>
                    <a:pt x="174" y="310"/>
                  </a:lnTo>
                  <a:lnTo>
                    <a:pt x="165" y="302"/>
                  </a:lnTo>
                  <a:lnTo>
                    <a:pt x="172" y="303"/>
                  </a:lnTo>
                  <a:lnTo>
                    <a:pt x="179" y="296"/>
                  </a:lnTo>
                  <a:lnTo>
                    <a:pt x="169" y="289"/>
                  </a:lnTo>
                  <a:lnTo>
                    <a:pt x="162" y="276"/>
                  </a:lnTo>
                  <a:lnTo>
                    <a:pt x="162" y="256"/>
                  </a:lnTo>
                  <a:lnTo>
                    <a:pt x="149" y="265"/>
                  </a:lnTo>
                  <a:lnTo>
                    <a:pt x="146" y="288"/>
                  </a:lnTo>
                  <a:lnTo>
                    <a:pt x="155" y="285"/>
                  </a:lnTo>
                  <a:lnTo>
                    <a:pt x="150" y="298"/>
                  </a:lnTo>
                  <a:lnTo>
                    <a:pt x="146" y="320"/>
                  </a:lnTo>
                  <a:lnTo>
                    <a:pt x="140" y="331"/>
                  </a:lnTo>
                  <a:lnTo>
                    <a:pt x="130" y="334"/>
                  </a:lnTo>
                  <a:lnTo>
                    <a:pt x="113" y="324"/>
                  </a:lnTo>
                  <a:lnTo>
                    <a:pt x="90" y="320"/>
                  </a:lnTo>
                  <a:lnTo>
                    <a:pt x="70" y="307"/>
                  </a:lnTo>
                  <a:lnTo>
                    <a:pt x="61" y="289"/>
                  </a:lnTo>
                  <a:lnTo>
                    <a:pt x="54" y="260"/>
                  </a:lnTo>
                  <a:lnTo>
                    <a:pt x="42" y="262"/>
                  </a:lnTo>
                  <a:lnTo>
                    <a:pt x="15" y="242"/>
                  </a:lnTo>
                  <a:lnTo>
                    <a:pt x="10" y="223"/>
                  </a:lnTo>
                  <a:lnTo>
                    <a:pt x="0" y="196"/>
                  </a:lnTo>
                  <a:lnTo>
                    <a:pt x="10" y="190"/>
                  </a:lnTo>
                  <a:lnTo>
                    <a:pt x="20" y="196"/>
                  </a:lnTo>
                  <a:lnTo>
                    <a:pt x="32" y="190"/>
                  </a:lnTo>
                  <a:lnTo>
                    <a:pt x="27" y="179"/>
                  </a:lnTo>
                  <a:lnTo>
                    <a:pt x="17" y="181"/>
                  </a:lnTo>
                  <a:lnTo>
                    <a:pt x="15" y="176"/>
                  </a:lnTo>
                  <a:lnTo>
                    <a:pt x="17" y="173"/>
                  </a:lnTo>
                  <a:lnTo>
                    <a:pt x="26" y="173"/>
                  </a:lnTo>
                  <a:lnTo>
                    <a:pt x="24" y="159"/>
                  </a:lnTo>
                  <a:lnTo>
                    <a:pt x="13" y="152"/>
                  </a:lnTo>
                  <a:lnTo>
                    <a:pt x="7" y="141"/>
                  </a:lnTo>
                  <a:lnTo>
                    <a:pt x="8" y="140"/>
                  </a:lnTo>
                  <a:lnTo>
                    <a:pt x="17" y="151"/>
                  </a:lnTo>
                  <a:lnTo>
                    <a:pt x="21" y="143"/>
                  </a:lnTo>
                  <a:lnTo>
                    <a:pt x="22" y="132"/>
                  </a:lnTo>
                  <a:lnTo>
                    <a:pt x="17" y="122"/>
                  </a:lnTo>
                  <a:lnTo>
                    <a:pt x="17" y="106"/>
                  </a:lnTo>
                  <a:lnTo>
                    <a:pt x="26" y="99"/>
                  </a:lnTo>
                  <a:lnTo>
                    <a:pt x="39" y="103"/>
                  </a:lnTo>
                  <a:lnTo>
                    <a:pt x="44" y="95"/>
                  </a:lnTo>
                  <a:lnTo>
                    <a:pt x="38" y="83"/>
                  </a:lnTo>
                  <a:lnTo>
                    <a:pt x="33" y="88"/>
                  </a:lnTo>
                  <a:lnTo>
                    <a:pt x="29" y="82"/>
                  </a:lnTo>
                  <a:lnTo>
                    <a:pt x="26" y="67"/>
                  </a:lnTo>
                  <a:lnTo>
                    <a:pt x="28" y="62"/>
                  </a:lnTo>
                  <a:lnTo>
                    <a:pt x="36" y="51"/>
                  </a:lnTo>
                  <a:lnTo>
                    <a:pt x="42" y="55"/>
                  </a:lnTo>
                  <a:lnTo>
                    <a:pt x="67" y="43"/>
                  </a:lnTo>
                  <a:lnTo>
                    <a:pt x="77" y="18"/>
                  </a:lnTo>
                  <a:lnTo>
                    <a:pt x="80" y="22"/>
                  </a:lnTo>
                  <a:lnTo>
                    <a:pt x="103" y="4"/>
                  </a:lnTo>
                  <a:lnTo>
                    <a:pt x="119" y="0"/>
                  </a:lnTo>
                  <a:lnTo>
                    <a:pt x="123" y="1"/>
                  </a:lnTo>
                  <a:lnTo>
                    <a:pt x="117" y="13"/>
                  </a:lnTo>
                  <a:lnTo>
                    <a:pt x="119" y="24"/>
                  </a:lnTo>
                  <a:lnTo>
                    <a:pt x="146" y="54"/>
                  </a:lnTo>
                  <a:lnTo>
                    <a:pt x="151" y="57"/>
                  </a:lnTo>
                  <a:lnTo>
                    <a:pt x="160" y="54"/>
                  </a:lnTo>
                  <a:lnTo>
                    <a:pt x="162" y="62"/>
                  </a:lnTo>
                  <a:lnTo>
                    <a:pt x="169" y="68"/>
                  </a:lnTo>
                  <a:lnTo>
                    <a:pt x="163" y="78"/>
                  </a:lnTo>
                  <a:lnTo>
                    <a:pt x="168" y="87"/>
                  </a:lnTo>
                  <a:lnTo>
                    <a:pt x="178" y="8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20" name="Freeform 121">
              <a:extLst>
                <a:ext uri="{FF2B5EF4-FFF2-40B4-BE49-F238E27FC236}">
                  <a16:creationId xmlns:a16="http://schemas.microsoft.com/office/drawing/2014/main" id="{C6F64529-05F3-167D-F8D6-64153404C99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907953" y="585933"/>
              <a:ext cx="117439" cy="142217"/>
            </a:xfrm>
            <a:custGeom>
              <a:avLst/>
              <a:gdLst>
                <a:gd name="T0" fmla="*/ 0 w 224"/>
                <a:gd name="T1" fmla="*/ 0 h 248"/>
                <a:gd name="T2" fmla="*/ 0 w 224"/>
                <a:gd name="T3" fmla="*/ 0 h 248"/>
                <a:gd name="T4" fmla="*/ 0 w 224"/>
                <a:gd name="T5" fmla="*/ 0 h 248"/>
                <a:gd name="T6" fmla="*/ 0 w 224"/>
                <a:gd name="T7" fmla="*/ 0 h 248"/>
                <a:gd name="T8" fmla="*/ 0 w 224"/>
                <a:gd name="T9" fmla="*/ 0 h 248"/>
                <a:gd name="T10" fmla="*/ 0 w 224"/>
                <a:gd name="T11" fmla="*/ 0 h 248"/>
                <a:gd name="T12" fmla="*/ 0 w 224"/>
                <a:gd name="T13" fmla="*/ 0 h 248"/>
                <a:gd name="T14" fmla="*/ 0 w 224"/>
                <a:gd name="T15" fmla="*/ 0 h 248"/>
                <a:gd name="T16" fmla="*/ 0 w 224"/>
                <a:gd name="T17" fmla="*/ 0 h 248"/>
                <a:gd name="T18" fmla="*/ 0 w 224"/>
                <a:gd name="T19" fmla="*/ 0 h 248"/>
                <a:gd name="T20" fmla="*/ 0 w 224"/>
                <a:gd name="T21" fmla="*/ 0 h 248"/>
                <a:gd name="T22" fmla="*/ 0 w 224"/>
                <a:gd name="T23" fmla="*/ 0 h 248"/>
                <a:gd name="T24" fmla="*/ 0 w 224"/>
                <a:gd name="T25" fmla="*/ 0 h 248"/>
                <a:gd name="T26" fmla="*/ 0 w 224"/>
                <a:gd name="T27" fmla="*/ 0 h 248"/>
                <a:gd name="T28" fmla="*/ 0 w 224"/>
                <a:gd name="T29" fmla="*/ 0 h 248"/>
                <a:gd name="T30" fmla="*/ 0 w 224"/>
                <a:gd name="T31" fmla="*/ 0 h 248"/>
                <a:gd name="T32" fmla="*/ 0 w 224"/>
                <a:gd name="T33" fmla="*/ 0 h 248"/>
                <a:gd name="T34" fmla="*/ 0 w 224"/>
                <a:gd name="T35" fmla="*/ 0 h 248"/>
                <a:gd name="T36" fmla="*/ 0 w 224"/>
                <a:gd name="T37" fmla="*/ 0 h 248"/>
                <a:gd name="T38" fmla="*/ 0 w 224"/>
                <a:gd name="T39" fmla="*/ 0 h 248"/>
                <a:gd name="T40" fmla="*/ 0 w 224"/>
                <a:gd name="T41" fmla="*/ 0 h 248"/>
                <a:gd name="T42" fmla="*/ 0 w 224"/>
                <a:gd name="T43" fmla="*/ 0 h 248"/>
                <a:gd name="T44" fmla="*/ 0 w 224"/>
                <a:gd name="T45" fmla="*/ 0 h 248"/>
                <a:gd name="T46" fmla="*/ 0 w 224"/>
                <a:gd name="T47" fmla="*/ 0 h 248"/>
                <a:gd name="T48" fmla="*/ 0 w 224"/>
                <a:gd name="T49" fmla="*/ 0 h 248"/>
                <a:gd name="T50" fmla="*/ 0 w 224"/>
                <a:gd name="T51" fmla="*/ 0 h 248"/>
                <a:gd name="T52" fmla="*/ 0 w 224"/>
                <a:gd name="T53" fmla="*/ 0 h 248"/>
                <a:gd name="T54" fmla="*/ 0 w 224"/>
                <a:gd name="T55" fmla="*/ 0 h 248"/>
                <a:gd name="T56" fmla="*/ 0 w 224"/>
                <a:gd name="T57" fmla="*/ 0 h 248"/>
                <a:gd name="T58" fmla="*/ 0 w 224"/>
                <a:gd name="T59" fmla="*/ 0 h 248"/>
                <a:gd name="T60" fmla="*/ 0 w 224"/>
                <a:gd name="T61" fmla="*/ 0 h 248"/>
                <a:gd name="T62" fmla="*/ 0 w 224"/>
                <a:gd name="T63" fmla="*/ 0 h 248"/>
                <a:gd name="T64" fmla="*/ 0 w 224"/>
                <a:gd name="T65" fmla="*/ 0 h 248"/>
                <a:gd name="T66" fmla="*/ 0 w 224"/>
                <a:gd name="T67" fmla="*/ 0 h 248"/>
                <a:gd name="T68" fmla="*/ 0 w 224"/>
                <a:gd name="T69" fmla="*/ 0 h 248"/>
                <a:gd name="T70" fmla="*/ 0 w 224"/>
                <a:gd name="T71" fmla="*/ 0 h 248"/>
                <a:gd name="T72" fmla="*/ 0 w 224"/>
                <a:gd name="T73" fmla="*/ 0 h 248"/>
                <a:gd name="T74" fmla="*/ 0 w 224"/>
                <a:gd name="T75" fmla="*/ 0 h 248"/>
                <a:gd name="T76" fmla="*/ 0 w 224"/>
                <a:gd name="T77" fmla="*/ 0 h 248"/>
                <a:gd name="T78" fmla="*/ 0 w 224"/>
                <a:gd name="T79" fmla="*/ 0 h 248"/>
                <a:gd name="T80" fmla="*/ 0 w 224"/>
                <a:gd name="T81" fmla="*/ 0 h 248"/>
                <a:gd name="T82" fmla="*/ 0 w 224"/>
                <a:gd name="T83" fmla="*/ 0 h 24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4"/>
                <a:gd name="T127" fmla="*/ 0 h 248"/>
                <a:gd name="T128" fmla="*/ 224 w 224"/>
                <a:gd name="T129" fmla="*/ 248 h 248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4" h="248">
                  <a:moveTo>
                    <a:pt x="0" y="0"/>
                  </a:moveTo>
                  <a:lnTo>
                    <a:pt x="16" y="8"/>
                  </a:lnTo>
                  <a:lnTo>
                    <a:pt x="32" y="30"/>
                  </a:lnTo>
                  <a:lnTo>
                    <a:pt x="42" y="38"/>
                  </a:lnTo>
                  <a:lnTo>
                    <a:pt x="56" y="59"/>
                  </a:lnTo>
                  <a:lnTo>
                    <a:pt x="64" y="66"/>
                  </a:lnTo>
                  <a:lnTo>
                    <a:pt x="89" y="71"/>
                  </a:lnTo>
                  <a:lnTo>
                    <a:pt x="106" y="59"/>
                  </a:lnTo>
                  <a:lnTo>
                    <a:pt x="116" y="56"/>
                  </a:lnTo>
                  <a:lnTo>
                    <a:pt x="138" y="64"/>
                  </a:lnTo>
                  <a:lnTo>
                    <a:pt x="152" y="89"/>
                  </a:lnTo>
                  <a:lnTo>
                    <a:pt x="169" y="97"/>
                  </a:lnTo>
                  <a:lnTo>
                    <a:pt x="182" y="110"/>
                  </a:lnTo>
                  <a:lnTo>
                    <a:pt x="201" y="120"/>
                  </a:lnTo>
                  <a:lnTo>
                    <a:pt x="215" y="136"/>
                  </a:lnTo>
                  <a:lnTo>
                    <a:pt x="222" y="136"/>
                  </a:lnTo>
                  <a:lnTo>
                    <a:pt x="224" y="145"/>
                  </a:lnTo>
                  <a:lnTo>
                    <a:pt x="206" y="142"/>
                  </a:lnTo>
                  <a:lnTo>
                    <a:pt x="197" y="146"/>
                  </a:lnTo>
                  <a:lnTo>
                    <a:pt x="193" y="155"/>
                  </a:lnTo>
                  <a:lnTo>
                    <a:pt x="181" y="156"/>
                  </a:lnTo>
                  <a:lnTo>
                    <a:pt x="185" y="161"/>
                  </a:lnTo>
                  <a:lnTo>
                    <a:pt x="182" y="169"/>
                  </a:lnTo>
                  <a:lnTo>
                    <a:pt x="182" y="183"/>
                  </a:lnTo>
                  <a:lnTo>
                    <a:pt x="188" y="194"/>
                  </a:lnTo>
                  <a:lnTo>
                    <a:pt x="183" y="200"/>
                  </a:lnTo>
                  <a:lnTo>
                    <a:pt x="180" y="217"/>
                  </a:lnTo>
                  <a:lnTo>
                    <a:pt x="167" y="226"/>
                  </a:lnTo>
                  <a:lnTo>
                    <a:pt x="163" y="232"/>
                  </a:lnTo>
                  <a:lnTo>
                    <a:pt x="138" y="248"/>
                  </a:lnTo>
                  <a:lnTo>
                    <a:pt x="128" y="241"/>
                  </a:lnTo>
                  <a:lnTo>
                    <a:pt x="91" y="233"/>
                  </a:lnTo>
                  <a:lnTo>
                    <a:pt x="77" y="222"/>
                  </a:lnTo>
                  <a:lnTo>
                    <a:pt x="54" y="164"/>
                  </a:lnTo>
                  <a:lnTo>
                    <a:pt x="56" y="147"/>
                  </a:lnTo>
                  <a:lnTo>
                    <a:pt x="69" y="108"/>
                  </a:lnTo>
                  <a:lnTo>
                    <a:pt x="73" y="85"/>
                  </a:lnTo>
                  <a:lnTo>
                    <a:pt x="64" y="85"/>
                  </a:lnTo>
                  <a:lnTo>
                    <a:pt x="61" y="73"/>
                  </a:lnTo>
                  <a:lnTo>
                    <a:pt x="16" y="19"/>
                  </a:lnTo>
                  <a:lnTo>
                    <a:pt x="8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21" name="Freeform 122">
              <a:extLst>
                <a:ext uri="{FF2B5EF4-FFF2-40B4-BE49-F238E27FC236}">
                  <a16:creationId xmlns:a16="http://schemas.microsoft.com/office/drawing/2014/main" id="{9A4FA815-23D6-D677-F7BA-71B633D092B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0049413" y="662730"/>
              <a:ext cx="144130" cy="102396"/>
            </a:xfrm>
            <a:custGeom>
              <a:avLst/>
              <a:gdLst>
                <a:gd name="T0" fmla="*/ 0 w 266"/>
                <a:gd name="T1" fmla="*/ 0 h 180"/>
                <a:gd name="T2" fmla="*/ 0 w 266"/>
                <a:gd name="T3" fmla="*/ 0 h 180"/>
                <a:gd name="T4" fmla="*/ 0 w 266"/>
                <a:gd name="T5" fmla="*/ 0 h 180"/>
                <a:gd name="T6" fmla="*/ 0 w 266"/>
                <a:gd name="T7" fmla="*/ 0 h 180"/>
                <a:gd name="T8" fmla="*/ 0 w 266"/>
                <a:gd name="T9" fmla="*/ 0 h 180"/>
                <a:gd name="T10" fmla="*/ 0 w 266"/>
                <a:gd name="T11" fmla="*/ 0 h 180"/>
                <a:gd name="T12" fmla="*/ 0 w 266"/>
                <a:gd name="T13" fmla="*/ 0 h 180"/>
                <a:gd name="T14" fmla="*/ 0 w 266"/>
                <a:gd name="T15" fmla="*/ 0 h 180"/>
                <a:gd name="T16" fmla="*/ 0 w 266"/>
                <a:gd name="T17" fmla="*/ 0 h 180"/>
                <a:gd name="T18" fmla="*/ 0 w 266"/>
                <a:gd name="T19" fmla="*/ 0 h 180"/>
                <a:gd name="T20" fmla="*/ 0 w 266"/>
                <a:gd name="T21" fmla="*/ 0 h 180"/>
                <a:gd name="T22" fmla="*/ 0 w 266"/>
                <a:gd name="T23" fmla="*/ 0 h 180"/>
                <a:gd name="T24" fmla="*/ 0 w 266"/>
                <a:gd name="T25" fmla="*/ 0 h 180"/>
                <a:gd name="T26" fmla="*/ 0 w 266"/>
                <a:gd name="T27" fmla="*/ 0 h 180"/>
                <a:gd name="T28" fmla="*/ 0 w 266"/>
                <a:gd name="T29" fmla="*/ 0 h 180"/>
                <a:gd name="T30" fmla="*/ 0 w 266"/>
                <a:gd name="T31" fmla="*/ 0 h 180"/>
                <a:gd name="T32" fmla="*/ 0 w 266"/>
                <a:gd name="T33" fmla="*/ 0 h 180"/>
                <a:gd name="T34" fmla="*/ 0 w 266"/>
                <a:gd name="T35" fmla="*/ 0 h 180"/>
                <a:gd name="T36" fmla="*/ 0 w 266"/>
                <a:gd name="T37" fmla="*/ 0 h 180"/>
                <a:gd name="T38" fmla="*/ 0 w 266"/>
                <a:gd name="T39" fmla="*/ 0 h 180"/>
                <a:gd name="T40" fmla="*/ 0 w 266"/>
                <a:gd name="T41" fmla="*/ 0 h 180"/>
                <a:gd name="T42" fmla="*/ 0 w 266"/>
                <a:gd name="T43" fmla="*/ 0 h 180"/>
                <a:gd name="T44" fmla="*/ 0 w 266"/>
                <a:gd name="T45" fmla="*/ 0 h 180"/>
                <a:gd name="T46" fmla="*/ 0 w 266"/>
                <a:gd name="T47" fmla="*/ 0 h 180"/>
                <a:gd name="T48" fmla="*/ 0 w 266"/>
                <a:gd name="T49" fmla="*/ 0 h 180"/>
                <a:gd name="T50" fmla="*/ 0 w 266"/>
                <a:gd name="T51" fmla="*/ 0 h 180"/>
                <a:gd name="T52" fmla="*/ 0 w 266"/>
                <a:gd name="T53" fmla="*/ 0 h 180"/>
                <a:gd name="T54" fmla="*/ 0 w 266"/>
                <a:gd name="T55" fmla="*/ 0 h 180"/>
                <a:gd name="T56" fmla="*/ 0 w 266"/>
                <a:gd name="T57" fmla="*/ 0 h 180"/>
                <a:gd name="T58" fmla="*/ 0 w 266"/>
                <a:gd name="T59" fmla="*/ 0 h 180"/>
                <a:gd name="T60" fmla="*/ 0 w 266"/>
                <a:gd name="T61" fmla="*/ 0 h 180"/>
                <a:gd name="T62" fmla="*/ 0 w 266"/>
                <a:gd name="T63" fmla="*/ 0 h 180"/>
                <a:gd name="T64" fmla="*/ 0 w 266"/>
                <a:gd name="T65" fmla="*/ 0 h 180"/>
                <a:gd name="T66" fmla="*/ 0 w 266"/>
                <a:gd name="T67" fmla="*/ 0 h 180"/>
                <a:gd name="T68" fmla="*/ 0 w 266"/>
                <a:gd name="T69" fmla="*/ 0 h 180"/>
                <a:gd name="T70" fmla="*/ 0 w 266"/>
                <a:gd name="T71" fmla="*/ 0 h 180"/>
                <a:gd name="T72" fmla="*/ 0 w 266"/>
                <a:gd name="T73" fmla="*/ 0 h 180"/>
                <a:gd name="T74" fmla="*/ 0 w 266"/>
                <a:gd name="T75" fmla="*/ 0 h 180"/>
                <a:gd name="T76" fmla="*/ 0 w 266"/>
                <a:gd name="T77" fmla="*/ 0 h 180"/>
                <a:gd name="T78" fmla="*/ 0 w 266"/>
                <a:gd name="T79" fmla="*/ 0 h 180"/>
                <a:gd name="T80" fmla="*/ 0 w 266"/>
                <a:gd name="T81" fmla="*/ 0 h 180"/>
                <a:gd name="T82" fmla="*/ 0 w 266"/>
                <a:gd name="T83" fmla="*/ 0 h 180"/>
                <a:gd name="T84" fmla="*/ 0 w 266"/>
                <a:gd name="T85" fmla="*/ 0 h 180"/>
                <a:gd name="T86" fmla="*/ 0 w 266"/>
                <a:gd name="T87" fmla="*/ 0 h 180"/>
                <a:gd name="T88" fmla="*/ 0 w 266"/>
                <a:gd name="T89" fmla="*/ 0 h 180"/>
                <a:gd name="T90" fmla="*/ 0 w 266"/>
                <a:gd name="T91" fmla="*/ 0 h 180"/>
                <a:gd name="T92" fmla="*/ 0 w 266"/>
                <a:gd name="T93" fmla="*/ 0 h 180"/>
                <a:gd name="T94" fmla="*/ 0 w 266"/>
                <a:gd name="T95" fmla="*/ 0 h 180"/>
                <a:gd name="T96" fmla="*/ 0 w 266"/>
                <a:gd name="T97" fmla="*/ 0 h 180"/>
                <a:gd name="T98" fmla="*/ 0 w 266"/>
                <a:gd name="T99" fmla="*/ 0 h 18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66"/>
                <a:gd name="T151" fmla="*/ 0 h 180"/>
                <a:gd name="T152" fmla="*/ 266 w 266"/>
                <a:gd name="T153" fmla="*/ 180 h 18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66" h="180">
                  <a:moveTo>
                    <a:pt x="3" y="0"/>
                  </a:moveTo>
                  <a:lnTo>
                    <a:pt x="9" y="6"/>
                  </a:lnTo>
                  <a:lnTo>
                    <a:pt x="19" y="10"/>
                  </a:lnTo>
                  <a:lnTo>
                    <a:pt x="24" y="15"/>
                  </a:lnTo>
                  <a:lnTo>
                    <a:pt x="26" y="25"/>
                  </a:lnTo>
                  <a:lnTo>
                    <a:pt x="36" y="30"/>
                  </a:lnTo>
                  <a:lnTo>
                    <a:pt x="51" y="33"/>
                  </a:lnTo>
                  <a:lnTo>
                    <a:pt x="66" y="35"/>
                  </a:lnTo>
                  <a:lnTo>
                    <a:pt x="73" y="31"/>
                  </a:lnTo>
                  <a:lnTo>
                    <a:pt x="127" y="41"/>
                  </a:lnTo>
                  <a:lnTo>
                    <a:pt x="129" y="49"/>
                  </a:lnTo>
                  <a:lnTo>
                    <a:pt x="122" y="49"/>
                  </a:lnTo>
                  <a:lnTo>
                    <a:pt x="121" y="55"/>
                  </a:lnTo>
                  <a:lnTo>
                    <a:pt x="109" y="67"/>
                  </a:lnTo>
                  <a:lnTo>
                    <a:pt x="132" y="64"/>
                  </a:lnTo>
                  <a:lnTo>
                    <a:pt x="154" y="68"/>
                  </a:lnTo>
                  <a:lnTo>
                    <a:pt x="163" y="62"/>
                  </a:lnTo>
                  <a:lnTo>
                    <a:pt x="172" y="62"/>
                  </a:lnTo>
                  <a:lnTo>
                    <a:pt x="182" y="68"/>
                  </a:lnTo>
                  <a:lnTo>
                    <a:pt x="188" y="79"/>
                  </a:lnTo>
                  <a:lnTo>
                    <a:pt x="207" y="75"/>
                  </a:lnTo>
                  <a:lnTo>
                    <a:pt x="218" y="79"/>
                  </a:lnTo>
                  <a:lnTo>
                    <a:pt x="225" y="91"/>
                  </a:lnTo>
                  <a:lnTo>
                    <a:pt x="266" y="100"/>
                  </a:lnTo>
                  <a:lnTo>
                    <a:pt x="256" y="108"/>
                  </a:lnTo>
                  <a:lnTo>
                    <a:pt x="257" y="135"/>
                  </a:lnTo>
                  <a:lnTo>
                    <a:pt x="245" y="154"/>
                  </a:lnTo>
                  <a:lnTo>
                    <a:pt x="208" y="176"/>
                  </a:lnTo>
                  <a:lnTo>
                    <a:pt x="198" y="180"/>
                  </a:lnTo>
                  <a:lnTo>
                    <a:pt x="191" y="171"/>
                  </a:lnTo>
                  <a:lnTo>
                    <a:pt x="186" y="176"/>
                  </a:lnTo>
                  <a:lnTo>
                    <a:pt x="179" y="173"/>
                  </a:lnTo>
                  <a:lnTo>
                    <a:pt x="174" y="164"/>
                  </a:lnTo>
                  <a:lnTo>
                    <a:pt x="171" y="175"/>
                  </a:lnTo>
                  <a:lnTo>
                    <a:pt x="160" y="175"/>
                  </a:lnTo>
                  <a:lnTo>
                    <a:pt x="144" y="170"/>
                  </a:lnTo>
                  <a:lnTo>
                    <a:pt x="133" y="156"/>
                  </a:lnTo>
                  <a:lnTo>
                    <a:pt x="117" y="156"/>
                  </a:lnTo>
                  <a:lnTo>
                    <a:pt x="104" y="151"/>
                  </a:lnTo>
                  <a:lnTo>
                    <a:pt x="95" y="140"/>
                  </a:lnTo>
                  <a:lnTo>
                    <a:pt x="85" y="135"/>
                  </a:lnTo>
                  <a:lnTo>
                    <a:pt x="75" y="123"/>
                  </a:lnTo>
                  <a:lnTo>
                    <a:pt x="57" y="118"/>
                  </a:lnTo>
                  <a:lnTo>
                    <a:pt x="46" y="110"/>
                  </a:lnTo>
                  <a:lnTo>
                    <a:pt x="45" y="81"/>
                  </a:lnTo>
                  <a:lnTo>
                    <a:pt x="31" y="67"/>
                  </a:lnTo>
                  <a:lnTo>
                    <a:pt x="26" y="47"/>
                  </a:lnTo>
                  <a:lnTo>
                    <a:pt x="5" y="20"/>
                  </a:ln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22" name="Freeform 123">
              <a:extLst>
                <a:ext uri="{FF2B5EF4-FFF2-40B4-BE49-F238E27FC236}">
                  <a16:creationId xmlns:a16="http://schemas.microsoft.com/office/drawing/2014/main" id="{EBC39F87-AF32-AB19-750A-CCE38AA7F0F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857240" y="856144"/>
              <a:ext cx="114770" cy="76797"/>
            </a:xfrm>
            <a:custGeom>
              <a:avLst/>
              <a:gdLst>
                <a:gd name="T0" fmla="*/ 0 w 212"/>
                <a:gd name="T1" fmla="*/ 0 h 136"/>
                <a:gd name="T2" fmla="*/ 0 w 212"/>
                <a:gd name="T3" fmla="*/ 0 h 136"/>
                <a:gd name="T4" fmla="*/ 0 w 212"/>
                <a:gd name="T5" fmla="*/ 0 h 136"/>
                <a:gd name="T6" fmla="*/ 0 w 212"/>
                <a:gd name="T7" fmla="*/ 0 h 136"/>
                <a:gd name="T8" fmla="*/ 0 w 212"/>
                <a:gd name="T9" fmla="*/ 0 h 136"/>
                <a:gd name="T10" fmla="*/ 0 w 212"/>
                <a:gd name="T11" fmla="*/ 0 h 136"/>
                <a:gd name="T12" fmla="*/ 0 w 212"/>
                <a:gd name="T13" fmla="*/ 0 h 136"/>
                <a:gd name="T14" fmla="*/ 0 w 212"/>
                <a:gd name="T15" fmla="*/ 0 h 136"/>
                <a:gd name="T16" fmla="*/ 0 w 212"/>
                <a:gd name="T17" fmla="*/ 0 h 136"/>
                <a:gd name="T18" fmla="*/ 0 w 212"/>
                <a:gd name="T19" fmla="*/ 0 h 136"/>
                <a:gd name="T20" fmla="*/ 0 w 212"/>
                <a:gd name="T21" fmla="*/ 0 h 136"/>
                <a:gd name="T22" fmla="*/ 0 w 212"/>
                <a:gd name="T23" fmla="*/ 0 h 136"/>
                <a:gd name="T24" fmla="*/ 0 w 212"/>
                <a:gd name="T25" fmla="*/ 0 h 136"/>
                <a:gd name="T26" fmla="*/ 0 w 212"/>
                <a:gd name="T27" fmla="*/ 0 h 136"/>
                <a:gd name="T28" fmla="*/ 0 w 212"/>
                <a:gd name="T29" fmla="*/ 0 h 136"/>
                <a:gd name="T30" fmla="*/ 0 w 212"/>
                <a:gd name="T31" fmla="*/ 0 h 136"/>
                <a:gd name="T32" fmla="*/ 0 w 212"/>
                <a:gd name="T33" fmla="*/ 0 h 136"/>
                <a:gd name="T34" fmla="*/ 0 w 212"/>
                <a:gd name="T35" fmla="*/ 0 h 136"/>
                <a:gd name="T36" fmla="*/ 0 w 212"/>
                <a:gd name="T37" fmla="*/ 0 h 136"/>
                <a:gd name="T38" fmla="*/ 0 w 212"/>
                <a:gd name="T39" fmla="*/ 0 h 136"/>
                <a:gd name="T40" fmla="*/ 0 w 212"/>
                <a:gd name="T41" fmla="*/ 0 h 136"/>
                <a:gd name="T42" fmla="*/ 0 w 212"/>
                <a:gd name="T43" fmla="*/ 0 h 136"/>
                <a:gd name="T44" fmla="*/ 0 w 212"/>
                <a:gd name="T45" fmla="*/ 0 h 136"/>
                <a:gd name="T46" fmla="*/ 0 w 212"/>
                <a:gd name="T47" fmla="*/ 0 h 136"/>
                <a:gd name="T48" fmla="*/ 0 w 212"/>
                <a:gd name="T49" fmla="*/ 0 h 136"/>
                <a:gd name="T50" fmla="*/ 0 w 212"/>
                <a:gd name="T51" fmla="*/ 0 h 136"/>
                <a:gd name="T52" fmla="*/ 0 w 212"/>
                <a:gd name="T53" fmla="*/ 0 h 136"/>
                <a:gd name="T54" fmla="*/ 0 w 212"/>
                <a:gd name="T55" fmla="*/ 0 h 136"/>
                <a:gd name="T56" fmla="*/ 0 w 212"/>
                <a:gd name="T57" fmla="*/ 0 h 136"/>
                <a:gd name="T58" fmla="*/ 0 w 212"/>
                <a:gd name="T59" fmla="*/ 0 h 136"/>
                <a:gd name="T60" fmla="*/ 0 w 212"/>
                <a:gd name="T61" fmla="*/ 0 h 136"/>
                <a:gd name="T62" fmla="*/ 0 w 212"/>
                <a:gd name="T63" fmla="*/ 0 h 136"/>
                <a:gd name="T64" fmla="*/ 0 w 212"/>
                <a:gd name="T65" fmla="*/ 0 h 136"/>
                <a:gd name="T66" fmla="*/ 0 w 212"/>
                <a:gd name="T67" fmla="*/ 0 h 136"/>
                <a:gd name="T68" fmla="*/ 0 w 212"/>
                <a:gd name="T69" fmla="*/ 0 h 1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12"/>
                <a:gd name="T106" fmla="*/ 0 h 136"/>
                <a:gd name="T107" fmla="*/ 212 w 212"/>
                <a:gd name="T108" fmla="*/ 136 h 1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12" h="136">
                  <a:moveTo>
                    <a:pt x="92" y="7"/>
                  </a:moveTo>
                  <a:lnTo>
                    <a:pt x="110" y="0"/>
                  </a:lnTo>
                  <a:lnTo>
                    <a:pt x="126" y="2"/>
                  </a:lnTo>
                  <a:lnTo>
                    <a:pt x="137" y="5"/>
                  </a:lnTo>
                  <a:lnTo>
                    <a:pt x="148" y="16"/>
                  </a:lnTo>
                  <a:lnTo>
                    <a:pt x="156" y="18"/>
                  </a:lnTo>
                  <a:lnTo>
                    <a:pt x="169" y="36"/>
                  </a:lnTo>
                  <a:lnTo>
                    <a:pt x="187" y="51"/>
                  </a:lnTo>
                  <a:lnTo>
                    <a:pt x="203" y="78"/>
                  </a:lnTo>
                  <a:lnTo>
                    <a:pt x="207" y="93"/>
                  </a:lnTo>
                  <a:lnTo>
                    <a:pt x="207" y="112"/>
                  </a:lnTo>
                  <a:lnTo>
                    <a:pt x="212" y="126"/>
                  </a:lnTo>
                  <a:lnTo>
                    <a:pt x="212" y="136"/>
                  </a:lnTo>
                  <a:lnTo>
                    <a:pt x="202" y="132"/>
                  </a:lnTo>
                  <a:lnTo>
                    <a:pt x="193" y="136"/>
                  </a:lnTo>
                  <a:lnTo>
                    <a:pt x="181" y="134"/>
                  </a:lnTo>
                  <a:lnTo>
                    <a:pt x="167" y="127"/>
                  </a:lnTo>
                  <a:lnTo>
                    <a:pt x="139" y="128"/>
                  </a:lnTo>
                  <a:lnTo>
                    <a:pt x="122" y="120"/>
                  </a:lnTo>
                  <a:lnTo>
                    <a:pt x="115" y="112"/>
                  </a:lnTo>
                  <a:lnTo>
                    <a:pt x="102" y="115"/>
                  </a:lnTo>
                  <a:lnTo>
                    <a:pt x="85" y="110"/>
                  </a:lnTo>
                  <a:lnTo>
                    <a:pt x="68" y="99"/>
                  </a:lnTo>
                  <a:lnTo>
                    <a:pt x="48" y="95"/>
                  </a:lnTo>
                  <a:lnTo>
                    <a:pt x="21" y="110"/>
                  </a:lnTo>
                  <a:lnTo>
                    <a:pt x="10" y="109"/>
                  </a:lnTo>
                  <a:lnTo>
                    <a:pt x="0" y="95"/>
                  </a:lnTo>
                  <a:lnTo>
                    <a:pt x="8" y="89"/>
                  </a:lnTo>
                  <a:lnTo>
                    <a:pt x="37" y="86"/>
                  </a:lnTo>
                  <a:lnTo>
                    <a:pt x="41" y="79"/>
                  </a:lnTo>
                  <a:lnTo>
                    <a:pt x="48" y="62"/>
                  </a:lnTo>
                  <a:lnTo>
                    <a:pt x="60" y="31"/>
                  </a:lnTo>
                  <a:lnTo>
                    <a:pt x="60" y="19"/>
                  </a:lnTo>
                  <a:lnTo>
                    <a:pt x="65" y="10"/>
                  </a:lnTo>
                  <a:lnTo>
                    <a:pt x="92" y="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23" name="Freeform 124">
              <a:extLst>
                <a:ext uri="{FF2B5EF4-FFF2-40B4-BE49-F238E27FC236}">
                  <a16:creationId xmlns:a16="http://schemas.microsoft.com/office/drawing/2014/main" id="{57A215C7-D599-A07A-F201-90D063D294B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276257" y="915875"/>
              <a:ext cx="181496" cy="290122"/>
            </a:xfrm>
            <a:custGeom>
              <a:avLst/>
              <a:gdLst>
                <a:gd name="T0" fmla="*/ 0 w 338"/>
                <a:gd name="T1" fmla="*/ 0 h 508"/>
                <a:gd name="T2" fmla="*/ 0 w 338"/>
                <a:gd name="T3" fmla="*/ 0 h 508"/>
                <a:gd name="T4" fmla="*/ 0 w 338"/>
                <a:gd name="T5" fmla="*/ 0 h 508"/>
                <a:gd name="T6" fmla="*/ 0 w 338"/>
                <a:gd name="T7" fmla="*/ 0 h 508"/>
                <a:gd name="T8" fmla="*/ 0 w 338"/>
                <a:gd name="T9" fmla="*/ 0 h 508"/>
                <a:gd name="T10" fmla="*/ 0 w 338"/>
                <a:gd name="T11" fmla="*/ 0 h 508"/>
                <a:gd name="T12" fmla="*/ 0 w 338"/>
                <a:gd name="T13" fmla="*/ 0 h 508"/>
                <a:gd name="T14" fmla="*/ 0 w 338"/>
                <a:gd name="T15" fmla="*/ 0 h 508"/>
                <a:gd name="T16" fmla="*/ 0 w 338"/>
                <a:gd name="T17" fmla="*/ 0 h 508"/>
                <a:gd name="T18" fmla="*/ 0 w 338"/>
                <a:gd name="T19" fmla="*/ 0 h 508"/>
                <a:gd name="T20" fmla="*/ 0 w 338"/>
                <a:gd name="T21" fmla="*/ 0 h 508"/>
                <a:gd name="T22" fmla="*/ 0 w 338"/>
                <a:gd name="T23" fmla="*/ 0 h 508"/>
                <a:gd name="T24" fmla="*/ 0 w 338"/>
                <a:gd name="T25" fmla="*/ 0 h 508"/>
                <a:gd name="T26" fmla="*/ 0 w 338"/>
                <a:gd name="T27" fmla="*/ 0 h 508"/>
                <a:gd name="T28" fmla="*/ 0 w 338"/>
                <a:gd name="T29" fmla="*/ 0 h 508"/>
                <a:gd name="T30" fmla="*/ 0 w 338"/>
                <a:gd name="T31" fmla="*/ 0 h 508"/>
                <a:gd name="T32" fmla="*/ 0 w 338"/>
                <a:gd name="T33" fmla="*/ 0 h 508"/>
                <a:gd name="T34" fmla="*/ 0 w 338"/>
                <a:gd name="T35" fmla="*/ 0 h 508"/>
                <a:gd name="T36" fmla="*/ 0 w 338"/>
                <a:gd name="T37" fmla="*/ 0 h 508"/>
                <a:gd name="T38" fmla="*/ 0 w 338"/>
                <a:gd name="T39" fmla="*/ 0 h 508"/>
                <a:gd name="T40" fmla="*/ 0 w 338"/>
                <a:gd name="T41" fmla="*/ 0 h 508"/>
                <a:gd name="T42" fmla="*/ 0 w 338"/>
                <a:gd name="T43" fmla="*/ 0 h 508"/>
                <a:gd name="T44" fmla="*/ 0 w 338"/>
                <a:gd name="T45" fmla="*/ 0 h 508"/>
                <a:gd name="T46" fmla="*/ 0 w 338"/>
                <a:gd name="T47" fmla="*/ 0 h 508"/>
                <a:gd name="T48" fmla="*/ 0 w 338"/>
                <a:gd name="T49" fmla="*/ 0 h 508"/>
                <a:gd name="T50" fmla="*/ 0 w 338"/>
                <a:gd name="T51" fmla="*/ 0 h 508"/>
                <a:gd name="T52" fmla="*/ 0 w 338"/>
                <a:gd name="T53" fmla="*/ 0 h 508"/>
                <a:gd name="T54" fmla="*/ 0 w 338"/>
                <a:gd name="T55" fmla="*/ 0 h 508"/>
                <a:gd name="T56" fmla="*/ 0 w 338"/>
                <a:gd name="T57" fmla="*/ 0 h 508"/>
                <a:gd name="T58" fmla="*/ 0 w 338"/>
                <a:gd name="T59" fmla="*/ 0 h 508"/>
                <a:gd name="T60" fmla="*/ 0 w 338"/>
                <a:gd name="T61" fmla="*/ 0 h 508"/>
                <a:gd name="T62" fmla="*/ 0 w 338"/>
                <a:gd name="T63" fmla="*/ 0 h 508"/>
                <a:gd name="T64" fmla="*/ 0 w 338"/>
                <a:gd name="T65" fmla="*/ 0 h 508"/>
                <a:gd name="T66" fmla="*/ 0 w 338"/>
                <a:gd name="T67" fmla="*/ 0 h 508"/>
                <a:gd name="T68" fmla="*/ 0 w 338"/>
                <a:gd name="T69" fmla="*/ 0 h 508"/>
                <a:gd name="T70" fmla="*/ 0 w 338"/>
                <a:gd name="T71" fmla="*/ 0 h 508"/>
                <a:gd name="T72" fmla="*/ 0 w 338"/>
                <a:gd name="T73" fmla="*/ 0 h 508"/>
                <a:gd name="T74" fmla="*/ 0 w 338"/>
                <a:gd name="T75" fmla="*/ 0 h 508"/>
                <a:gd name="T76" fmla="*/ 0 w 338"/>
                <a:gd name="T77" fmla="*/ 0 h 508"/>
                <a:gd name="T78" fmla="*/ 0 w 338"/>
                <a:gd name="T79" fmla="*/ 0 h 508"/>
                <a:gd name="T80" fmla="*/ 0 w 338"/>
                <a:gd name="T81" fmla="*/ 0 h 508"/>
                <a:gd name="T82" fmla="*/ 0 w 338"/>
                <a:gd name="T83" fmla="*/ 0 h 508"/>
                <a:gd name="T84" fmla="*/ 0 w 338"/>
                <a:gd name="T85" fmla="*/ 0 h 508"/>
                <a:gd name="T86" fmla="*/ 0 w 338"/>
                <a:gd name="T87" fmla="*/ 0 h 508"/>
                <a:gd name="T88" fmla="*/ 0 w 338"/>
                <a:gd name="T89" fmla="*/ 0 h 508"/>
                <a:gd name="T90" fmla="*/ 0 w 338"/>
                <a:gd name="T91" fmla="*/ 0 h 508"/>
                <a:gd name="T92" fmla="*/ 0 w 338"/>
                <a:gd name="T93" fmla="*/ 0 h 508"/>
                <a:gd name="T94" fmla="*/ 0 w 338"/>
                <a:gd name="T95" fmla="*/ 0 h 508"/>
                <a:gd name="T96" fmla="*/ 0 w 338"/>
                <a:gd name="T97" fmla="*/ 0 h 508"/>
                <a:gd name="T98" fmla="*/ 0 w 338"/>
                <a:gd name="T99" fmla="*/ 0 h 508"/>
                <a:gd name="T100" fmla="*/ 0 w 338"/>
                <a:gd name="T101" fmla="*/ 0 h 508"/>
                <a:gd name="T102" fmla="*/ 0 w 338"/>
                <a:gd name="T103" fmla="*/ 0 h 508"/>
                <a:gd name="T104" fmla="*/ 0 w 338"/>
                <a:gd name="T105" fmla="*/ 0 h 508"/>
                <a:gd name="T106" fmla="*/ 0 w 338"/>
                <a:gd name="T107" fmla="*/ 0 h 508"/>
                <a:gd name="T108" fmla="*/ 0 w 338"/>
                <a:gd name="T109" fmla="*/ 0 h 508"/>
                <a:gd name="T110" fmla="*/ 0 w 338"/>
                <a:gd name="T111" fmla="*/ 0 h 508"/>
                <a:gd name="T112" fmla="*/ 0 w 338"/>
                <a:gd name="T113" fmla="*/ 0 h 508"/>
                <a:gd name="T114" fmla="*/ 0 w 338"/>
                <a:gd name="T115" fmla="*/ 0 h 508"/>
                <a:gd name="T116" fmla="*/ 0 w 338"/>
                <a:gd name="T117" fmla="*/ 0 h 508"/>
                <a:gd name="T118" fmla="*/ 0 w 338"/>
                <a:gd name="T119" fmla="*/ 0 h 508"/>
                <a:gd name="T120" fmla="*/ 0 w 338"/>
                <a:gd name="T121" fmla="*/ 0 h 508"/>
                <a:gd name="T122" fmla="*/ 0 w 338"/>
                <a:gd name="T123" fmla="*/ 0 h 508"/>
                <a:gd name="T124" fmla="*/ 0 w 338"/>
                <a:gd name="T125" fmla="*/ 0 h 50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38"/>
                <a:gd name="T190" fmla="*/ 0 h 508"/>
                <a:gd name="T191" fmla="*/ 338 w 338"/>
                <a:gd name="T192" fmla="*/ 508 h 50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38" h="508">
                  <a:moveTo>
                    <a:pt x="124" y="20"/>
                  </a:moveTo>
                  <a:lnTo>
                    <a:pt x="128" y="17"/>
                  </a:lnTo>
                  <a:lnTo>
                    <a:pt x="152" y="22"/>
                  </a:lnTo>
                  <a:lnTo>
                    <a:pt x="161" y="12"/>
                  </a:lnTo>
                  <a:lnTo>
                    <a:pt x="187" y="0"/>
                  </a:lnTo>
                  <a:lnTo>
                    <a:pt x="199" y="0"/>
                  </a:lnTo>
                  <a:lnTo>
                    <a:pt x="210" y="9"/>
                  </a:lnTo>
                  <a:lnTo>
                    <a:pt x="219" y="14"/>
                  </a:lnTo>
                  <a:lnTo>
                    <a:pt x="234" y="15"/>
                  </a:lnTo>
                  <a:lnTo>
                    <a:pt x="256" y="33"/>
                  </a:lnTo>
                  <a:lnTo>
                    <a:pt x="268" y="34"/>
                  </a:lnTo>
                  <a:lnTo>
                    <a:pt x="277" y="45"/>
                  </a:lnTo>
                  <a:lnTo>
                    <a:pt x="279" y="55"/>
                  </a:lnTo>
                  <a:lnTo>
                    <a:pt x="245" y="63"/>
                  </a:lnTo>
                  <a:lnTo>
                    <a:pt x="272" y="68"/>
                  </a:lnTo>
                  <a:lnTo>
                    <a:pt x="268" y="74"/>
                  </a:lnTo>
                  <a:lnTo>
                    <a:pt x="256" y="73"/>
                  </a:lnTo>
                  <a:lnTo>
                    <a:pt x="234" y="86"/>
                  </a:lnTo>
                  <a:lnTo>
                    <a:pt x="246" y="88"/>
                  </a:lnTo>
                  <a:lnTo>
                    <a:pt x="265" y="82"/>
                  </a:lnTo>
                  <a:lnTo>
                    <a:pt x="267" y="94"/>
                  </a:lnTo>
                  <a:lnTo>
                    <a:pt x="262" y="103"/>
                  </a:lnTo>
                  <a:lnTo>
                    <a:pt x="253" y="111"/>
                  </a:lnTo>
                  <a:lnTo>
                    <a:pt x="245" y="114"/>
                  </a:lnTo>
                  <a:lnTo>
                    <a:pt x="225" y="111"/>
                  </a:lnTo>
                  <a:lnTo>
                    <a:pt x="222" y="121"/>
                  </a:lnTo>
                  <a:lnTo>
                    <a:pt x="238" y="119"/>
                  </a:lnTo>
                  <a:lnTo>
                    <a:pt x="242" y="131"/>
                  </a:lnTo>
                  <a:lnTo>
                    <a:pt x="235" y="143"/>
                  </a:lnTo>
                  <a:lnTo>
                    <a:pt x="232" y="158"/>
                  </a:lnTo>
                  <a:lnTo>
                    <a:pt x="226" y="156"/>
                  </a:lnTo>
                  <a:lnTo>
                    <a:pt x="222" y="160"/>
                  </a:lnTo>
                  <a:lnTo>
                    <a:pt x="226" y="165"/>
                  </a:lnTo>
                  <a:lnTo>
                    <a:pt x="225" y="176"/>
                  </a:lnTo>
                  <a:lnTo>
                    <a:pt x="219" y="178"/>
                  </a:lnTo>
                  <a:lnTo>
                    <a:pt x="219" y="189"/>
                  </a:lnTo>
                  <a:lnTo>
                    <a:pt x="218" y="201"/>
                  </a:lnTo>
                  <a:lnTo>
                    <a:pt x="219" y="214"/>
                  </a:lnTo>
                  <a:lnTo>
                    <a:pt x="224" y="226"/>
                  </a:lnTo>
                  <a:lnTo>
                    <a:pt x="224" y="235"/>
                  </a:lnTo>
                  <a:lnTo>
                    <a:pt x="216" y="255"/>
                  </a:lnTo>
                  <a:lnTo>
                    <a:pt x="218" y="267"/>
                  </a:lnTo>
                  <a:lnTo>
                    <a:pt x="222" y="273"/>
                  </a:lnTo>
                  <a:lnTo>
                    <a:pt x="226" y="313"/>
                  </a:lnTo>
                  <a:lnTo>
                    <a:pt x="230" y="331"/>
                  </a:lnTo>
                  <a:lnTo>
                    <a:pt x="234" y="341"/>
                  </a:lnTo>
                  <a:lnTo>
                    <a:pt x="242" y="353"/>
                  </a:lnTo>
                  <a:lnTo>
                    <a:pt x="250" y="373"/>
                  </a:lnTo>
                  <a:lnTo>
                    <a:pt x="253" y="382"/>
                  </a:lnTo>
                  <a:lnTo>
                    <a:pt x="254" y="394"/>
                  </a:lnTo>
                  <a:lnTo>
                    <a:pt x="278" y="426"/>
                  </a:lnTo>
                  <a:lnTo>
                    <a:pt x="288" y="436"/>
                  </a:lnTo>
                  <a:lnTo>
                    <a:pt x="296" y="439"/>
                  </a:lnTo>
                  <a:lnTo>
                    <a:pt x="306" y="450"/>
                  </a:lnTo>
                  <a:lnTo>
                    <a:pt x="322" y="464"/>
                  </a:lnTo>
                  <a:lnTo>
                    <a:pt x="327" y="463"/>
                  </a:lnTo>
                  <a:lnTo>
                    <a:pt x="338" y="472"/>
                  </a:lnTo>
                  <a:lnTo>
                    <a:pt x="332" y="475"/>
                  </a:lnTo>
                  <a:lnTo>
                    <a:pt x="332" y="485"/>
                  </a:lnTo>
                  <a:lnTo>
                    <a:pt x="322" y="490"/>
                  </a:lnTo>
                  <a:lnTo>
                    <a:pt x="301" y="486"/>
                  </a:lnTo>
                  <a:lnTo>
                    <a:pt x="296" y="491"/>
                  </a:lnTo>
                  <a:lnTo>
                    <a:pt x="320" y="498"/>
                  </a:lnTo>
                  <a:lnTo>
                    <a:pt x="311" y="499"/>
                  </a:lnTo>
                  <a:lnTo>
                    <a:pt x="310" y="508"/>
                  </a:lnTo>
                  <a:lnTo>
                    <a:pt x="301" y="502"/>
                  </a:lnTo>
                  <a:lnTo>
                    <a:pt x="286" y="486"/>
                  </a:lnTo>
                  <a:lnTo>
                    <a:pt x="281" y="482"/>
                  </a:lnTo>
                  <a:lnTo>
                    <a:pt x="284" y="470"/>
                  </a:lnTo>
                  <a:lnTo>
                    <a:pt x="274" y="475"/>
                  </a:lnTo>
                  <a:lnTo>
                    <a:pt x="265" y="475"/>
                  </a:lnTo>
                  <a:lnTo>
                    <a:pt x="261" y="481"/>
                  </a:lnTo>
                  <a:lnTo>
                    <a:pt x="262" y="487"/>
                  </a:lnTo>
                  <a:lnTo>
                    <a:pt x="268" y="491"/>
                  </a:lnTo>
                  <a:lnTo>
                    <a:pt x="273" y="487"/>
                  </a:lnTo>
                  <a:lnTo>
                    <a:pt x="275" y="498"/>
                  </a:lnTo>
                  <a:lnTo>
                    <a:pt x="261" y="499"/>
                  </a:lnTo>
                  <a:lnTo>
                    <a:pt x="251" y="491"/>
                  </a:lnTo>
                  <a:lnTo>
                    <a:pt x="246" y="491"/>
                  </a:lnTo>
                  <a:lnTo>
                    <a:pt x="248" y="498"/>
                  </a:lnTo>
                  <a:lnTo>
                    <a:pt x="243" y="495"/>
                  </a:lnTo>
                  <a:lnTo>
                    <a:pt x="237" y="481"/>
                  </a:lnTo>
                  <a:lnTo>
                    <a:pt x="229" y="482"/>
                  </a:lnTo>
                  <a:lnTo>
                    <a:pt x="220" y="476"/>
                  </a:lnTo>
                  <a:lnTo>
                    <a:pt x="216" y="487"/>
                  </a:lnTo>
                  <a:lnTo>
                    <a:pt x="213" y="483"/>
                  </a:lnTo>
                  <a:lnTo>
                    <a:pt x="210" y="488"/>
                  </a:lnTo>
                  <a:lnTo>
                    <a:pt x="209" y="499"/>
                  </a:lnTo>
                  <a:lnTo>
                    <a:pt x="204" y="499"/>
                  </a:lnTo>
                  <a:lnTo>
                    <a:pt x="182" y="480"/>
                  </a:lnTo>
                  <a:lnTo>
                    <a:pt x="178" y="471"/>
                  </a:lnTo>
                  <a:lnTo>
                    <a:pt x="191" y="471"/>
                  </a:lnTo>
                  <a:lnTo>
                    <a:pt x="189" y="466"/>
                  </a:lnTo>
                  <a:lnTo>
                    <a:pt x="173" y="465"/>
                  </a:lnTo>
                  <a:lnTo>
                    <a:pt x="151" y="472"/>
                  </a:lnTo>
                  <a:lnTo>
                    <a:pt x="144" y="470"/>
                  </a:lnTo>
                  <a:lnTo>
                    <a:pt x="139" y="461"/>
                  </a:lnTo>
                  <a:lnTo>
                    <a:pt x="134" y="465"/>
                  </a:lnTo>
                  <a:lnTo>
                    <a:pt x="127" y="461"/>
                  </a:lnTo>
                  <a:lnTo>
                    <a:pt x="125" y="458"/>
                  </a:lnTo>
                  <a:lnTo>
                    <a:pt x="124" y="449"/>
                  </a:lnTo>
                  <a:lnTo>
                    <a:pt x="125" y="438"/>
                  </a:lnTo>
                  <a:lnTo>
                    <a:pt x="125" y="431"/>
                  </a:lnTo>
                  <a:lnTo>
                    <a:pt x="122" y="423"/>
                  </a:lnTo>
                  <a:lnTo>
                    <a:pt x="124" y="421"/>
                  </a:lnTo>
                  <a:lnTo>
                    <a:pt x="137" y="427"/>
                  </a:lnTo>
                  <a:lnTo>
                    <a:pt x="139" y="422"/>
                  </a:lnTo>
                  <a:lnTo>
                    <a:pt x="135" y="413"/>
                  </a:lnTo>
                  <a:lnTo>
                    <a:pt x="144" y="418"/>
                  </a:lnTo>
                  <a:lnTo>
                    <a:pt x="156" y="416"/>
                  </a:lnTo>
                  <a:lnTo>
                    <a:pt x="157" y="412"/>
                  </a:lnTo>
                  <a:lnTo>
                    <a:pt x="145" y="410"/>
                  </a:lnTo>
                  <a:lnTo>
                    <a:pt x="150" y="404"/>
                  </a:lnTo>
                  <a:lnTo>
                    <a:pt x="143" y="400"/>
                  </a:lnTo>
                  <a:lnTo>
                    <a:pt x="124" y="397"/>
                  </a:lnTo>
                  <a:lnTo>
                    <a:pt x="116" y="388"/>
                  </a:lnTo>
                  <a:lnTo>
                    <a:pt x="116" y="380"/>
                  </a:lnTo>
                  <a:lnTo>
                    <a:pt x="119" y="382"/>
                  </a:lnTo>
                  <a:lnTo>
                    <a:pt x="121" y="372"/>
                  </a:lnTo>
                  <a:lnTo>
                    <a:pt x="138" y="348"/>
                  </a:lnTo>
                  <a:lnTo>
                    <a:pt x="124" y="357"/>
                  </a:lnTo>
                  <a:lnTo>
                    <a:pt x="116" y="373"/>
                  </a:lnTo>
                  <a:lnTo>
                    <a:pt x="109" y="380"/>
                  </a:lnTo>
                  <a:lnTo>
                    <a:pt x="109" y="364"/>
                  </a:lnTo>
                  <a:lnTo>
                    <a:pt x="107" y="356"/>
                  </a:lnTo>
                  <a:lnTo>
                    <a:pt x="107" y="345"/>
                  </a:lnTo>
                  <a:lnTo>
                    <a:pt x="109" y="336"/>
                  </a:lnTo>
                  <a:lnTo>
                    <a:pt x="97" y="348"/>
                  </a:lnTo>
                  <a:lnTo>
                    <a:pt x="90" y="342"/>
                  </a:lnTo>
                  <a:lnTo>
                    <a:pt x="86" y="352"/>
                  </a:lnTo>
                  <a:lnTo>
                    <a:pt x="80" y="348"/>
                  </a:lnTo>
                  <a:lnTo>
                    <a:pt x="76" y="353"/>
                  </a:lnTo>
                  <a:lnTo>
                    <a:pt x="73" y="341"/>
                  </a:lnTo>
                  <a:lnTo>
                    <a:pt x="73" y="325"/>
                  </a:lnTo>
                  <a:lnTo>
                    <a:pt x="65" y="319"/>
                  </a:lnTo>
                  <a:lnTo>
                    <a:pt x="57" y="335"/>
                  </a:lnTo>
                  <a:lnTo>
                    <a:pt x="55" y="346"/>
                  </a:lnTo>
                  <a:lnTo>
                    <a:pt x="51" y="331"/>
                  </a:lnTo>
                  <a:lnTo>
                    <a:pt x="46" y="336"/>
                  </a:lnTo>
                  <a:lnTo>
                    <a:pt x="44" y="347"/>
                  </a:lnTo>
                  <a:lnTo>
                    <a:pt x="32" y="347"/>
                  </a:lnTo>
                  <a:lnTo>
                    <a:pt x="26" y="346"/>
                  </a:lnTo>
                  <a:lnTo>
                    <a:pt x="22" y="341"/>
                  </a:lnTo>
                  <a:lnTo>
                    <a:pt x="16" y="340"/>
                  </a:lnTo>
                  <a:lnTo>
                    <a:pt x="10" y="330"/>
                  </a:lnTo>
                  <a:lnTo>
                    <a:pt x="3" y="309"/>
                  </a:lnTo>
                  <a:lnTo>
                    <a:pt x="1" y="294"/>
                  </a:lnTo>
                  <a:lnTo>
                    <a:pt x="0" y="280"/>
                  </a:lnTo>
                  <a:lnTo>
                    <a:pt x="3" y="269"/>
                  </a:lnTo>
                  <a:lnTo>
                    <a:pt x="3" y="255"/>
                  </a:lnTo>
                  <a:lnTo>
                    <a:pt x="6" y="246"/>
                  </a:lnTo>
                  <a:lnTo>
                    <a:pt x="21" y="234"/>
                  </a:lnTo>
                  <a:lnTo>
                    <a:pt x="27" y="242"/>
                  </a:lnTo>
                  <a:lnTo>
                    <a:pt x="33" y="235"/>
                  </a:lnTo>
                  <a:lnTo>
                    <a:pt x="43" y="234"/>
                  </a:lnTo>
                  <a:lnTo>
                    <a:pt x="42" y="244"/>
                  </a:lnTo>
                  <a:lnTo>
                    <a:pt x="48" y="249"/>
                  </a:lnTo>
                  <a:lnTo>
                    <a:pt x="52" y="240"/>
                  </a:lnTo>
                  <a:lnTo>
                    <a:pt x="53" y="230"/>
                  </a:lnTo>
                  <a:lnTo>
                    <a:pt x="57" y="228"/>
                  </a:lnTo>
                  <a:lnTo>
                    <a:pt x="58" y="206"/>
                  </a:lnTo>
                  <a:lnTo>
                    <a:pt x="64" y="206"/>
                  </a:lnTo>
                  <a:lnTo>
                    <a:pt x="65" y="199"/>
                  </a:lnTo>
                  <a:lnTo>
                    <a:pt x="62" y="189"/>
                  </a:lnTo>
                  <a:lnTo>
                    <a:pt x="70" y="186"/>
                  </a:lnTo>
                  <a:lnTo>
                    <a:pt x="70" y="174"/>
                  </a:lnTo>
                  <a:lnTo>
                    <a:pt x="74" y="171"/>
                  </a:lnTo>
                  <a:lnTo>
                    <a:pt x="79" y="162"/>
                  </a:lnTo>
                  <a:lnTo>
                    <a:pt x="85" y="156"/>
                  </a:lnTo>
                  <a:lnTo>
                    <a:pt x="86" y="149"/>
                  </a:lnTo>
                  <a:lnTo>
                    <a:pt x="75" y="158"/>
                  </a:lnTo>
                  <a:lnTo>
                    <a:pt x="71" y="152"/>
                  </a:lnTo>
                  <a:lnTo>
                    <a:pt x="76" y="140"/>
                  </a:lnTo>
                  <a:lnTo>
                    <a:pt x="68" y="141"/>
                  </a:lnTo>
                  <a:lnTo>
                    <a:pt x="52" y="126"/>
                  </a:lnTo>
                  <a:lnTo>
                    <a:pt x="55" y="111"/>
                  </a:lnTo>
                  <a:lnTo>
                    <a:pt x="73" y="97"/>
                  </a:lnTo>
                  <a:lnTo>
                    <a:pt x="85" y="90"/>
                  </a:lnTo>
                  <a:lnTo>
                    <a:pt x="91" y="95"/>
                  </a:lnTo>
                  <a:lnTo>
                    <a:pt x="103" y="87"/>
                  </a:lnTo>
                  <a:lnTo>
                    <a:pt x="95" y="87"/>
                  </a:lnTo>
                  <a:lnTo>
                    <a:pt x="90" y="81"/>
                  </a:lnTo>
                  <a:lnTo>
                    <a:pt x="94" y="74"/>
                  </a:lnTo>
                  <a:lnTo>
                    <a:pt x="100" y="72"/>
                  </a:lnTo>
                  <a:lnTo>
                    <a:pt x="97" y="66"/>
                  </a:lnTo>
                  <a:lnTo>
                    <a:pt x="92" y="61"/>
                  </a:lnTo>
                  <a:lnTo>
                    <a:pt x="91" y="52"/>
                  </a:lnTo>
                  <a:lnTo>
                    <a:pt x="109" y="30"/>
                  </a:lnTo>
                  <a:lnTo>
                    <a:pt x="124" y="2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24" name="Freeform 125">
              <a:extLst>
                <a:ext uri="{FF2B5EF4-FFF2-40B4-BE49-F238E27FC236}">
                  <a16:creationId xmlns:a16="http://schemas.microsoft.com/office/drawing/2014/main" id="{3692F0DB-8008-9A21-3B71-2156629F73A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340314" y="480692"/>
              <a:ext cx="451072" cy="452249"/>
            </a:xfrm>
            <a:custGeom>
              <a:avLst/>
              <a:gdLst>
                <a:gd name="T0" fmla="*/ 0 w 843"/>
                <a:gd name="T1" fmla="*/ 0 h 796"/>
                <a:gd name="T2" fmla="*/ 0 w 843"/>
                <a:gd name="T3" fmla="*/ 0 h 796"/>
                <a:gd name="T4" fmla="*/ 0 w 843"/>
                <a:gd name="T5" fmla="*/ 0 h 796"/>
                <a:gd name="T6" fmla="*/ 0 w 843"/>
                <a:gd name="T7" fmla="*/ 0 h 796"/>
                <a:gd name="T8" fmla="*/ 0 w 843"/>
                <a:gd name="T9" fmla="*/ 0 h 796"/>
                <a:gd name="T10" fmla="*/ 0 w 843"/>
                <a:gd name="T11" fmla="*/ 0 h 796"/>
                <a:gd name="T12" fmla="*/ 0 w 843"/>
                <a:gd name="T13" fmla="*/ 0 h 796"/>
                <a:gd name="T14" fmla="*/ 0 w 843"/>
                <a:gd name="T15" fmla="*/ 0 h 796"/>
                <a:gd name="T16" fmla="*/ 0 w 843"/>
                <a:gd name="T17" fmla="*/ 0 h 796"/>
                <a:gd name="T18" fmla="*/ 0 w 843"/>
                <a:gd name="T19" fmla="*/ 0 h 796"/>
                <a:gd name="T20" fmla="*/ 0 w 843"/>
                <a:gd name="T21" fmla="*/ 0 h 796"/>
                <a:gd name="T22" fmla="*/ 0 w 843"/>
                <a:gd name="T23" fmla="*/ 0 h 796"/>
                <a:gd name="T24" fmla="*/ 0 w 843"/>
                <a:gd name="T25" fmla="*/ 0 h 796"/>
                <a:gd name="T26" fmla="*/ 0 w 843"/>
                <a:gd name="T27" fmla="*/ 0 h 796"/>
                <a:gd name="T28" fmla="*/ 0 w 843"/>
                <a:gd name="T29" fmla="*/ 0 h 796"/>
                <a:gd name="T30" fmla="*/ 0 w 843"/>
                <a:gd name="T31" fmla="*/ 0 h 796"/>
                <a:gd name="T32" fmla="*/ 0 w 843"/>
                <a:gd name="T33" fmla="*/ 0 h 796"/>
                <a:gd name="T34" fmla="*/ 0 w 843"/>
                <a:gd name="T35" fmla="*/ 0 h 796"/>
                <a:gd name="T36" fmla="*/ 0 w 843"/>
                <a:gd name="T37" fmla="*/ 0 h 796"/>
                <a:gd name="T38" fmla="*/ 0 w 843"/>
                <a:gd name="T39" fmla="*/ 0 h 796"/>
                <a:gd name="T40" fmla="*/ 0 w 843"/>
                <a:gd name="T41" fmla="*/ 0 h 796"/>
                <a:gd name="T42" fmla="*/ 0 w 843"/>
                <a:gd name="T43" fmla="*/ 0 h 796"/>
                <a:gd name="T44" fmla="*/ 0 w 843"/>
                <a:gd name="T45" fmla="*/ 0 h 796"/>
                <a:gd name="T46" fmla="*/ 0 w 843"/>
                <a:gd name="T47" fmla="*/ 0 h 796"/>
                <a:gd name="T48" fmla="*/ 0 w 843"/>
                <a:gd name="T49" fmla="*/ 0 h 796"/>
                <a:gd name="T50" fmla="*/ 0 w 843"/>
                <a:gd name="T51" fmla="*/ 0 h 796"/>
                <a:gd name="T52" fmla="*/ 0 w 843"/>
                <a:gd name="T53" fmla="*/ 0 h 796"/>
                <a:gd name="T54" fmla="*/ 0 w 843"/>
                <a:gd name="T55" fmla="*/ 0 h 796"/>
                <a:gd name="T56" fmla="*/ 0 w 843"/>
                <a:gd name="T57" fmla="*/ 0 h 796"/>
                <a:gd name="T58" fmla="*/ 0 w 843"/>
                <a:gd name="T59" fmla="*/ 0 h 796"/>
                <a:gd name="T60" fmla="*/ 0 w 843"/>
                <a:gd name="T61" fmla="*/ 0 h 796"/>
                <a:gd name="T62" fmla="*/ 0 w 843"/>
                <a:gd name="T63" fmla="*/ 0 h 796"/>
                <a:gd name="T64" fmla="*/ 0 w 843"/>
                <a:gd name="T65" fmla="*/ 0 h 796"/>
                <a:gd name="T66" fmla="*/ 0 w 843"/>
                <a:gd name="T67" fmla="*/ 0 h 796"/>
                <a:gd name="T68" fmla="*/ 0 w 843"/>
                <a:gd name="T69" fmla="*/ 0 h 796"/>
                <a:gd name="T70" fmla="*/ 0 w 843"/>
                <a:gd name="T71" fmla="*/ 0 h 796"/>
                <a:gd name="T72" fmla="*/ 0 w 843"/>
                <a:gd name="T73" fmla="*/ 0 h 796"/>
                <a:gd name="T74" fmla="*/ 0 w 843"/>
                <a:gd name="T75" fmla="*/ 0 h 796"/>
                <a:gd name="T76" fmla="*/ 0 w 843"/>
                <a:gd name="T77" fmla="*/ 0 h 796"/>
                <a:gd name="T78" fmla="*/ 0 w 843"/>
                <a:gd name="T79" fmla="*/ 0 h 796"/>
                <a:gd name="T80" fmla="*/ 0 w 843"/>
                <a:gd name="T81" fmla="*/ 0 h 796"/>
                <a:gd name="T82" fmla="*/ 0 w 843"/>
                <a:gd name="T83" fmla="*/ 0 h 796"/>
                <a:gd name="T84" fmla="*/ 0 w 843"/>
                <a:gd name="T85" fmla="*/ 0 h 796"/>
                <a:gd name="T86" fmla="*/ 0 w 843"/>
                <a:gd name="T87" fmla="*/ 0 h 796"/>
                <a:gd name="T88" fmla="*/ 0 w 843"/>
                <a:gd name="T89" fmla="*/ 0 h 796"/>
                <a:gd name="T90" fmla="*/ 0 w 843"/>
                <a:gd name="T91" fmla="*/ 0 h 796"/>
                <a:gd name="T92" fmla="*/ 0 w 843"/>
                <a:gd name="T93" fmla="*/ 0 h 796"/>
                <a:gd name="T94" fmla="*/ 0 w 843"/>
                <a:gd name="T95" fmla="*/ 0 h 796"/>
                <a:gd name="T96" fmla="*/ 0 w 843"/>
                <a:gd name="T97" fmla="*/ 0 h 796"/>
                <a:gd name="T98" fmla="*/ 0 w 843"/>
                <a:gd name="T99" fmla="*/ 0 h 796"/>
                <a:gd name="T100" fmla="*/ 0 w 843"/>
                <a:gd name="T101" fmla="*/ 0 h 796"/>
                <a:gd name="T102" fmla="*/ 0 w 843"/>
                <a:gd name="T103" fmla="*/ 0 h 796"/>
                <a:gd name="T104" fmla="*/ 0 w 843"/>
                <a:gd name="T105" fmla="*/ 0 h 796"/>
                <a:gd name="T106" fmla="*/ 0 w 843"/>
                <a:gd name="T107" fmla="*/ 0 h 796"/>
                <a:gd name="T108" fmla="*/ 0 w 843"/>
                <a:gd name="T109" fmla="*/ 0 h 79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43"/>
                <a:gd name="T166" fmla="*/ 0 h 796"/>
                <a:gd name="T167" fmla="*/ 843 w 843"/>
                <a:gd name="T168" fmla="*/ 796 h 79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43" h="796">
                  <a:moveTo>
                    <a:pt x="0" y="692"/>
                  </a:moveTo>
                  <a:lnTo>
                    <a:pt x="0" y="687"/>
                  </a:lnTo>
                  <a:lnTo>
                    <a:pt x="4" y="692"/>
                  </a:lnTo>
                  <a:lnTo>
                    <a:pt x="17" y="689"/>
                  </a:lnTo>
                  <a:lnTo>
                    <a:pt x="31" y="669"/>
                  </a:lnTo>
                  <a:lnTo>
                    <a:pt x="60" y="659"/>
                  </a:lnTo>
                  <a:lnTo>
                    <a:pt x="55" y="653"/>
                  </a:lnTo>
                  <a:lnTo>
                    <a:pt x="60" y="636"/>
                  </a:lnTo>
                  <a:lnTo>
                    <a:pt x="77" y="621"/>
                  </a:lnTo>
                  <a:lnTo>
                    <a:pt x="88" y="629"/>
                  </a:lnTo>
                  <a:lnTo>
                    <a:pt x="101" y="631"/>
                  </a:lnTo>
                  <a:lnTo>
                    <a:pt x="116" y="641"/>
                  </a:lnTo>
                  <a:lnTo>
                    <a:pt x="133" y="644"/>
                  </a:lnTo>
                  <a:lnTo>
                    <a:pt x="124" y="631"/>
                  </a:lnTo>
                  <a:lnTo>
                    <a:pt x="84" y="616"/>
                  </a:lnTo>
                  <a:lnTo>
                    <a:pt x="77" y="604"/>
                  </a:lnTo>
                  <a:lnTo>
                    <a:pt x="86" y="606"/>
                  </a:lnTo>
                  <a:lnTo>
                    <a:pt x="103" y="604"/>
                  </a:lnTo>
                  <a:lnTo>
                    <a:pt x="108" y="593"/>
                  </a:lnTo>
                  <a:lnTo>
                    <a:pt x="83" y="578"/>
                  </a:lnTo>
                  <a:lnTo>
                    <a:pt x="86" y="572"/>
                  </a:lnTo>
                  <a:lnTo>
                    <a:pt x="120" y="570"/>
                  </a:lnTo>
                  <a:lnTo>
                    <a:pt x="127" y="565"/>
                  </a:lnTo>
                  <a:lnTo>
                    <a:pt x="121" y="556"/>
                  </a:lnTo>
                  <a:lnTo>
                    <a:pt x="109" y="554"/>
                  </a:lnTo>
                  <a:lnTo>
                    <a:pt x="103" y="545"/>
                  </a:lnTo>
                  <a:lnTo>
                    <a:pt x="98" y="536"/>
                  </a:lnTo>
                  <a:lnTo>
                    <a:pt x="98" y="523"/>
                  </a:lnTo>
                  <a:lnTo>
                    <a:pt x="100" y="519"/>
                  </a:lnTo>
                  <a:lnTo>
                    <a:pt x="106" y="527"/>
                  </a:lnTo>
                  <a:lnTo>
                    <a:pt x="129" y="513"/>
                  </a:lnTo>
                  <a:lnTo>
                    <a:pt x="151" y="519"/>
                  </a:lnTo>
                  <a:lnTo>
                    <a:pt x="163" y="511"/>
                  </a:lnTo>
                  <a:lnTo>
                    <a:pt x="152" y="513"/>
                  </a:lnTo>
                  <a:lnTo>
                    <a:pt x="144" y="509"/>
                  </a:lnTo>
                  <a:lnTo>
                    <a:pt x="138" y="496"/>
                  </a:lnTo>
                  <a:lnTo>
                    <a:pt x="127" y="493"/>
                  </a:lnTo>
                  <a:lnTo>
                    <a:pt x="108" y="498"/>
                  </a:lnTo>
                  <a:lnTo>
                    <a:pt x="105" y="490"/>
                  </a:lnTo>
                  <a:lnTo>
                    <a:pt x="113" y="481"/>
                  </a:lnTo>
                  <a:lnTo>
                    <a:pt x="122" y="455"/>
                  </a:lnTo>
                  <a:lnTo>
                    <a:pt x="117" y="457"/>
                  </a:lnTo>
                  <a:lnTo>
                    <a:pt x="116" y="452"/>
                  </a:lnTo>
                  <a:lnTo>
                    <a:pt x="113" y="443"/>
                  </a:lnTo>
                  <a:lnTo>
                    <a:pt x="103" y="457"/>
                  </a:lnTo>
                  <a:lnTo>
                    <a:pt x="103" y="442"/>
                  </a:lnTo>
                  <a:lnTo>
                    <a:pt x="97" y="437"/>
                  </a:lnTo>
                  <a:lnTo>
                    <a:pt x="103" y="426"/>
                  </a:lnTo>
                  <a:lnTo>
                    <a:pt x="100" y="421"/>
                  </a:lnTo>
                  <a:lnTo>
                    <a:pt x="105" y="410"/>
                  </a:lnTo>
                  <a:lnTo>
                    <a:pt x="124" y="410"/>
                  </a:lnTo>
                  <a:lnTo>
                    <a:pt x="124" y="426"/>
                  </a:lnTo>
                  <a:lnTo>
                    <a:pt x="131" y="431"/>
                  </a:lnTo>
                  <a:lnTo>
                    <a:pt x="153" y="418"/>
                  </a:lnTo>
                  <a:lnTo>
                    <a:pt x="163" y="404"/>
                  </a:lnTo>
                  <a:lnTo>
                    <a:pt x="165" y="387"/>
                  </a:lnTo>
                  <a:lnTo>
                    <a:pt x="184" y="378"/>
                  </a:lnTo>
                  <a:lnTo>
                    <a:pt x="208" y="383"/>
                  </a:lnTo>
                  <a:lnTo>
                    <a:pt x="229" y="362"/>
                  </a:lnTo>
                  <a:lnTo>
                    <a:pt x="230" y="351"/>
                  </a:lnTo>
                  <a:lnTo>
                    <a:pt x="226" y="340"/>
                  </a:lnTo>
                  <a:lnTo>
                    <a:pt x="237" y="332"/>
                  </a:lnTo>
                  <a:lnTo>
                    <a:pt x="234" y="320"/>
                  </a:lnTo>
                  <a:lnTo>
                    <a:pt x="249" y="308"/>
                  </a:lnTo>
                  <a:lnTo>
                    <a:pt x="259" y="310"/>
                  </a:lnTo>
                  <a:lnTo>
                    <a:pt x="269" y="304"/>
                  </a:lnTo>
                  <a:lnTo>
                    <a:pt x="265" y="298"/>
                  </a:lnTo>
                  <a:lnTo>
                    <a:pt x="271" y="277"/>
                  </a:lnTo>
                  <a:lnTo>
                    <a:pt x="278" y="269"/>
                  </a:lnTo>
                  <a:lnTo>
                    <a:pt x="302" y="253"/>
                  </a:lnTo>
                  <a:lnTo>
                    <a:pt x="334" y="240"/>
                  </a:lnTo>
                  <a:lnTo>
                    <a:pt x="341" y="233"/>
                  </a:lnTo>
                  <a:lnTo>
                    <a:pt x="343" y="222"/>
                  </a:lnTo>
                  <a:lnTo>
                    <a:pt x="348" y="211"/>
                  </a:lnTo>
                  <a:lnTo>
                    <a:pt x="372" y="196"/>
                  </a:lnTo>
                  <a:lnTo>
                    <a:pt x="383" y="201"/>
                  </a:lnTo>
                  <a:lnTo>
                    <a:pt x="377" y="212"/>
                  </a:lnTo>
                  <a:lnTo>
                    <a:pt x="371" y="229"/>
                  </a:lnTo>
                  <a:lnTo>
                    <a:pt x="380" y="232"/>
                  </a:lnTo>
                  <a:lnTo>
                    <a:pt x="385" y="219"/>
                  </a:lnTo>
                  <a:lnTo>
                    <a:pt x="404" y="212"/>
                  </a:lnTo>
                  <a:lnTo>
                    <a:pt x="409" y="201"/>
                  </a:lnTo>
                  <a:lnTo>
                    <a:pt x="401" y="195"/>
                  </a:lnTo>
                  <a:lnTo>
                    <a:pt x="398" y="184"/>
                  </a:lnTo>
                  <a:lnTo>
                    <a:pt x="398" y="169"/>
                  </a:lnTo>
                  <a:lnTo>
                    <a:pt x="404" y="170"/>
                  </a:lnTo>
                  <a:lnTo>
                    <a:pt x="407" y="162"/>
                  </a:lnTo>
                  <a:lnTo>
                    <a:pt x="402" y="157"/>
                  </a:lnTo>
                  <a:lnTo>
                    <a:pt x="423" y="152"/>
                  </a:lnTo>
                  <a:lnTo>
                    <a:pt x="426" y="161"/>
                  </a:lnTo>
                  <a:lnTo>
                    <a:pt x="470" y="165"/>
                  </a:lnTo>
                  <a:lnTo>
                    <a:pt x="470" y="185"/>
                  </a:lnTo>
                  <a:lnTo>
                    <a:pt x="481" y="190"/>
                  </a:lnTo>
                  <a:lnTo>
                    <a:pt x="488" y="178"/>
                  </a:lnTo>
                  <a:lnTo>
                    <a:pt x="502" y="184"/>
                  </a:lnTo>
                  <a:lnTo>
                    <a:pt x="546" y="152"/>
                  </a:lnTo>
                  <a:lnTo>
                    <a:pt x="557" y="152"/>
                  </a:lnTo>
                  <a:lnTo>
                    <a:pt x="560" y="161"/>
                  </a:lnTo>
                  <a:lnTo>
                    <a:pt x="562" y="162"/>
                  </a:lnTo>
                  <a:lnTo>
                    <a:pt x="572" y="161"/>
                  </a:lnTo>
                  <a:lnTo>
                    <a:pt x="577" y="154"/>
                  </a:lnTo>
                  <a:lnTo>
                    <a:pt x="583" y="156"/>
                  </a:lnTo>
                  <a:lnTo>
                    <a:pt x="588" y="147"/>
                  </a:lnTo>
                  <a:lnTo>
                    <a:pt x="595" y="146"/>
                  </a:lnTo>
                  <a:lnTo>
                    <a:pt x="615" y="124"/>
                  </a:lnTo>
                  <a:lnTo>
                    <a:pt x="633" y="124"/>
                  </a:lnTo>
                  <a:lnTo>
                    <a:pt x="638" y="118"/>
                  </a:lnTo>
                  <a:lnTo>
                    <a:pt x="643" y="102"/>
                  </a:lnTo>
                  <a:lnTo>
                    <a:pt x="653" y="109"/>
                  </a:lnTo>
                  <a:lnTo>
                    <a:pt x="660" y="105"/>
                  </a:lnTo>
                  <a:lnTo>
                    <a:pt x="667" y="97"/>
                  </a:lnTo>
                  <a:lnTo>
                    <a:pt x="663" y="70"/>
                  </a:lnTo>
                  <a:lnTo>
                    <a:pt x="668" y="56"/>
                  </a:lnTo>
                  <a:lnTo>
                    <a:pt x="680" y="51"/>
                  </a:lnTo>
                  <a:lnTo>
                    <a:pt x="689" y="39"/>
                  </a:lnTo>
                  <a:lnTo>
                    <a:pt x="697" y="39"/>
                  </a:lnTo>
                  <a:lnTo>
                    <a:pt x="708" y="25"/>
                  </a:lnTo>
                  <a:lnTo>
                    <a:pt x="713" y="14"/>
                  </a:lnTo>
                  <a:lnTo>
                    <a:pt x="726" y="20"/>
                  </a:lnTo>
                  <a:lnTo>
                    <a:pt x="750" y="0"/>
                  </a:lnTo>
                  <a:lnTo>
                    <a:pt x="782" y="1"/>
                  </a:lnTo>
                  <a:lnTo>
                    <a:pt x="812" y="12"/>
                  </a:lnTo>
                  <a:lnTo>
                    <a:pt x="820" y="20"/>
                  </a:lnTo>
                  <a:lnTo>
                    <a:pt x="825" y="29"/>
                  </a:lnTo>
                  <a:lnTo>
                    <a:pt x="832" y="36"/>
                  </a:lnTo>
                  <a:lnTo>
                    <a:pt x="831" y="46"/>
                  </a:lnTo>
                  <a:lnTo>
                    <a:pt x="842" y="76"/>
                  </a:lnTo>
                  <a:lnTo>
                    <a:pt x="842" y="87"/>
                  </a:lnTo>
                  <a:lnTo>
                    <a:pt x="834" y="93"/>
                  </a:lnTo>
                  <a:lnTo>
                    <a:pt x="829" y="110"/>
                  </a:lnTo>
                  <a:lnTo>
                    <a:pt x="843" y="111"/>
                  </a:lnTo>
                  <a:lnTo>
                    <a:pt x="841" y="119"/>
                  </a:lnTo>
                  <a:lnTo>
                    <a:pt x="829" y="127"/>
                  </a:lnTo>
                  <a:lnTo>
                    <a:pt x="819" y="141"/>
                  </a:lnTo>
                  <a:lnTo>
                    <a:pt x="799" y="176"/>
                  </a:lnTo>
                  <a:lnTo>
                    <a:pt x="807" y="189"/>
                  </a:lnTo>
                  <a:lnTo>
                    <a:pt x="789" y="180"/>
                  </a:lnTo>
                  <a:lnTo>
                    <a:pt x="781" y="180"/>
                  </a:lnTo>
                  <a:lnTo>
                    <a:pt x="772" y="184"/>
                  </a:lnTo>
                  <a:lnTo>
                    <a:pt x="733" y="221"/>
                  </a:lnTo>
                  <a:lnTo>
                    <a:pt x="712" y="229"/>
                  </a:lnTo>
                  <a:lnTo>
                    <a:pt x="702" y="229"/>
                  </a:lnTo>
                  <a:lnTo>
                    <a:pt x="680" y="240"/>
                  </a:lnTo>
                  <a:lnTo>
                    <a:pt x="669" y="238"/>
                  </a:lnTo>
                  <a:lnTo>
                    <a:pt x="648" y="244"/>
                  </a:lnTo>
                  <a:lnTo>
                    <a:pt x="641" y="251"/>
                  </a:lnTo>
                  <a:lnTo>
                    <a:pt x="638" y="261"/>
                  </a:lnTo>
                  <a:lnTo>
                    <a:pt x="628" y="271"/>
                  </a:lnTo>
                  <a:lnTo>
                    <a:pt x="624" y="260"/>
                  </a:lnTo>
                  <a:lnTo>
                    <a:pt x="614" y="276"/>
                  </a:lnTo>
                  <a:lnTo>
                    <a:pt x="558" y="310"/>
                  </a:lnTo>
                  <a:lnTo>
                    <a:pt x="552" y="309"/>
                  </a:lnTo>
                  <a:lnTo>
                    <a:pt x="545" y="289"/>
                  </a:lnTo>
                  <a:lnTo>
                    <a:pt x="539" y="294"/>
                  </a:lnTo>
                  <a:lnTo>
                    <a:pt x="540" y="304"/>
                  </a:lnTo>
                  <a:lnTo>
                    <a:pt x="538" y="308"/>
                  </a:lnTo>
                  <a:lnTo>
                    <a:pt x="534" y="318"/>
                  </a:lnTo>
                  <a:lnTo>
                    <a:pt x="506" y="350"/>
                  </a:lnTo>
                  <a:lnTo>
                    <a:pt x="481" y="356"/>
                  </a:lnTo>
                  <a:lnTo>
                    <a:pt x="472" y="372"/>
                  </a:lnTo>
                  <a:lnTo>
                    <a:pt x="469" y="363"/>
                  </a:lnTo>
                  <a:lnTo>
                    <a:pt x="449" y="398"/>
                  </a:lnTo>
                  <a:lnTo>
                    <a:pt x="422" y="431"/>
                  </a:lnTo>
                  <a:lnTo>
                    <a:pt x="395" y="436"/>
                  </a:lnTo>
                  <a:lnTo>
                    <a:pt x="391" y="442"/>
                  </a:lnTo>
                  <a:lnTo>
                    <a:pt x="389" y="434"/>
                  </a:lnTo>
                  <a:lnTo>
                    <a:pt x="378" y="436"/>
                  </a:lnTo>
                  <a:lnTo>
                    <a:pt x="373" y="430"/>
                  </a:lnTo>
                  <a:lnTo>
                    <a:pt x="367" y="445"/>
                  </a:lnTo>
                  <a:lnTo>
                    <a:pt x="374" y="453"/>
                  </a:lnTo>
                  <a:lnTo>
                    <a:pt x="383" y="454"/>
                  </a:lnTo>
                  <a:lnTo>
                    <a:pt x="385" y="465"/>
                  </a:lnTo>
                  <a:lnTo>
                    <a:pt x="359" y="491"/>
                  </a:lnTo>
                  <a:lnTo>
                    <a:pt x="362" y="501"/>
                  </a:lnTo>
                  <a:lnTo>
                    <a:pt x="358" y="511"/>
                  </a:lnTo>
                  <a:lnTo>
                    <a:pt x="340" y="514"/>
                  </a:lnTo>
                  <a:lnTo>
                    <a:pt x="331" y="504"/>
                  </a:lnTo>
                  <a:lnTo>
                    <a:pt x="316" y="498"/>
                  </a:lnTo>
                  <a:lnTo>
                    <a:pt x="319" y="506"/>
                  </a:lnTo>
                  <a:lnTo>
                    <a:pt x="331" y="520"/>
                  </a:lnTo>
                  <a:lnTo>
                    <a:pt x="341" y="543"/>
                  </a:lnTo>
                  <a:lnTo>
                    <a:pt x="304" y="517"/>
                  </a:lnTo>
                  <a:lnTo>
                    <a:pt x="294" y="520"/>
                  </a:lnTo>
                  <a:lnTo>
                    <a:pt x="296" y="524"/>
                  </a:lnTo>
                  <a:lnTo>
                    <a:pt x="294" y="530"/>
                  </a:lnTo>
                  <a:lnTo>
                    <a:pt x="299" y="544"/>
                  </a:lnTo>
                  <a:lnTo>
                    <a:pt x="304" y="549"/>
                  </a:lnTo>
                  <a:lnTo>
                    <a:pt x="293" y="541"/>
                  </a:lnTo>
                  <a:lnTo>
                    <a:pt x="291" y="547"/>
                  </a:lnTo>
                  <a:lnTo>
                    <a:pt x="297" y="562"/>
                  </a:lnTo>
                  <a:lnTo>
                    <a:pt x="293" y="570"/>
                  </a:lnTo>
                  <a:lnTo>
                    <a:pt x="285" y="571"/>
                  </a:lnTo>
                  <a:lnTo>
                    <a:pt x="280" y="561"/>
                  </a:lnTo>
                  <a:lnTo>
                    <a:pt x="251" y="538"/>
                  </a:lnTo>
                  <a:lnTo>
                    <a:pt x="249" y="547"/>
                  </a:lnTo>
                  <a:lnTo>
                    <a:pt x="262" y="561"/>
                  </a:lnTo>
                  <a:lnTo>
                    <a:pt x="270" y="574"/>
                  </a:lnTo>
                  <a:lnTo>
                    <a:pt x="278" y="593"/>
                  </a:lnTo>
                  <a:lnTo>
                    <a:pt x="278" y="604"/>
                  </a:lnTo>
                  <a:lnTo>
                    <a:pt x="273" y="603"/>
                  </a:lnTo>
                  <a:lnTo>
                    <a:pt x="271" y="610"/>
                  </a:lnTo>
                  <a:lnTo>
                    <a:pt x="270" y="620"/>
                  </a:lnTo>
                  <a:lnTo>
                    <a:pt x="264" y="613"/>
                  </a:lnTo>
                  <a:lnTo>
                    <a:pt x="261" y="613"/>
                  </a:lnTo>
                  <a:lnTo>
                    <a:pt x="262" y="625"/>
                  </a:lnTo>
                  <a:lnTo>
                    <a:pt x="265" y="629"/>
                  </a:lnTo>
                  <a:lnTo>
                    <a:pt x="260" y="633"/>
                  </a:lnTo>
                  <a:lnTo>
                    <a:pt x="251" y="625"/>
                  </a:lnTo>
                  <a:lnTo>
                    <a:pt x="249" y="636"/>
                  </a:lnTo>
                  <a:lnTo>
                    <a:pt x="251" y="651"/>
                  </a:lnTo>
                  <a:lnTo>
                    <a:pt x="244" y="653"/>
                  </a:lnTo>
                  <a:lnTo>
                    <a:pt x="239" y="644"/>
                  </a:lnTo>
                  <a:lnTo>
                    <a:pt x="232" y="643"/>
                  </a:lnTo>
                  <a:lnTo>
                    <a:pt x="228" y="630"/>
                  </a:lnTo>
                  <a:lnTo>
                    <a:pt x="213" y="601"/>
                  </a:lnTo>
                  <a:lnTo>
                    <a:pt x="207" y="621"/>
                  </a:lnTo>
                  <a:lnTo>
                    <a:pt x="210" y="633"/>
                  </a:lnTo>
                  <a:lnTo>
                    <a:pt x="197" y="640"/>
                  </a:lnTo>
                  <a:lnTo>
                    <a:pt x="213" y="646"/>
                  </a:lnTo>
                  <a:lnTo>
                    <a:pt x="221" y="652"/>
                  </a:lnTo>
                  <a:lnTo>
                    <a:pt x="221" y="663"/>
                  </a:lnTo>
                  <a:lnTo>
                    <a:pt x="230" y="668"/>
                  </a:lnTo>
                  <a:lnTo>
                    <a:pt x="226" y="671"/>
                  </a:lnTo>
                  <a:lnTo>
                    <a:pt x="228" y="678"/>
                  </a:lnTo>
                  <a:lnTo>
                    <a:pt x="228" y="687"/>
                  </a:lnTo>
                  <a:lnTo>
                    <a:pt x="226" y="700"/>
                  </a:lnTo>
                  <a:lnTo>
                    <a:pt x="216" y="701"/>
                  </a:lnTo>
                  <a:lnTo>
                    <a:pt x="211" y="686"/>
                  </a:lnTo>
                  <a:lnTo>
                    <a:pt x="205" y="684"/>
                  </a:lnTo>
                  <a:lnTo>
                    <a:pt x="179" y="679"/>
                  </a:lnTo>
                  <a:lnTo>
                    <a:pt x="170" y="681"/>
                  </a:lnTo>
                  <a:lnTo>
                    <a:pt x="179" y="689"/>
                  </a:lnTo>
                  <a:lnTo>
                    <a:pt x="194" y="691"/>
                  </a:lnTo>
                  <a:lnTo>
                    <a:pt x="207" y="712"/>
                  </a:lnTo>
                  <a:lnTo>
                    <a:pt x="211" y="723"/>
                  </a:lnTo>
                  <a:lnTo>
                    <a:pt x="207" y="730"/>
                  </a:lnTo>
                  <a:lnTo>
                    <a:pt x="202" y="733"/>
                  </a:lnTo>
                  <a:lnTo>
                    <a:pt x="200" y="739"/>
                  </a:lnTo>
                  <a:lnTo>
                    <a:pt x="190" y="730"/>
                  </a:lnTo>
                  <a:lnTo>
                    <a:pt x="185" y="718"/>
                  </a:lnTo>
                  <a:lnTo>
                    <a:pt x="174" y="714"/>
                  </a:lnTo>
                  <a:lnTo>
                    <a:pt x="179" y="732"/>
                  </a:lnTo>
                  <a:lnTo>
                    <a:pt x="184" y="744"/>
                  </a:lnTo>
                  <a:lnTo>
                    <a:pt x="191" y="751"/>
                  </a:lnTo>
                  <a:lnTo>
                    <a:pt x="192" y="760"/>
                  </a:lnTo>
                  <a:lnTo>
                    <a:pt x="185" y="769"/>
                  </a:lnTo>
                  <a:lnTo>
                    <a:pt x="180" y="781"/>
                  </a:lnTo>
                  <a:lnTo>
                    <a:pt x="174" y="782"/>
                  </a:lnTo>
                  <a:lnTo>
                    <a:pt x="167" y="796"/>
                  </a:lnTo>
                  <a:lnTo>
                    <a:pt x="159" y="794"/>
                  </a:lnTo>
                  <a:lnTo>
                    <a:pt x="152" y="788"/>
                  </a:lnTo>
                  <a:lnTo>
                    <a:pt x="133" y="789"/>
                  </a:lnTo>
                  <a:lnTo>
                    <a:pt x="115" y="777"/>
                  </a:lnTo>
                  <a:lnTo>
                    <a:pt x="97" y="776"/>
                  </a:lnTo>
                  <a:lnTo>
                    <a:pt x="82" y="761"/>
                  </a:lnTo>
                  <a:lnTo>
                    <a:pt x="61" y="764"/>
                  </a:lnTo>
                  <a:lnTo>
                    <a:pt x="39" y="777"/>
                  </a:lnTo>
                  <a:lnTo>
                    <a:pt x="24" y="776"/>
                  </a:lnTo>
                  <a:lnTo>
                    <a:pt x="35" y="766"/>
                  </a:lnTo>
                  <a:lnTo>
                    <a:pt x="39" y="757"/>
                  </a:lnTo>
                  <a:lnTo>
                    <a:pt x="33" y="757"/>
                  </a:lnTo>
                  <a:lnTo>
                    <a:pt x="34" y="745"/>
                  </a:lnTo>
                  <a:lnTo>
                    <a:pt x="39" y="738"/>
                  </a:lnTo>
                  <a:lnTo>
                    <a:pt x="56" y="723"/>
                  </a:lnTo>
                  <a:lnTo>
                    <a:pt x="63" y="724"/>
                  </a:lnTo>
                  <a:lnTo>
                    <a:pt x="78" y="713"/>
                  </a:lnTo>
                  <a:lnTo>
                    <a:pt x="77" y="711"/>
                  </a:lnTo>
                  <a:lnTo>
                    <a:pt x="68" y="703"/>
                  </a:lnTo>
                  <a:lnTo>
                    <a:pt x="63" y="711"/>
                  </a:lnTo>
                  <a:lnTo>
                    <a:pt x="52" y="713"/>
                  </a:lnTo>
                  <a:lnTo>
                    <a:pt x="40" y="727"/>
                  </a:lnTo>
                  <a:lnTo>
                    <a:pt x="18" y="724"/>
                  </a:lnTo>
                  <a:lnTo>
                    <a:pt x="17" y="714"/>
                  </a:lnTo>
                  <a:lnTo>
                    <a:pt x="4" y="706"/>
                  </a:lnTo>
                  <a:lnTo>
                    <a:pt x="0" y="69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25" name="Freeform 126">
              <a:extLst>
                <a:ext uri="{FF2B5EF4-FFF2-40B4-BE49-F238E27FC236}">
                  <a16:creationId xmlns:a16="http://schemas.microsoft.com/office/drawing/2014/main" id="{DCD39319-E6A9-227F-45E5-A0A6FA6F58D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302948" y="1123511"/>
              <a:ext cx="24021" cy="45509"/>
            </a:xfrm>
            <a:custGeom>
              <a:avLst/>
              <a:gdLst>
                <a:gd name="T0" fmla="*/ 0 w 48"/>
                <a:gd name="T1" fmla="*/ 0 h 81"/>
                <a:gd name="T2" fmla="*/ 0 w 48"/>
                <a:gd name="T3" fmla="*/ 0 h 81"/>
                <a:gd name="T4" fmla="*/ 0 w 48"/>
                <a:gd name="T5" fmla="*/ 0 h 81"/>
                <a:gd name="T6" fmla="*/ 0 w 48"/>
                <a:gd name="T7" fmla="*/ 0 h 81"/>
                <a:gd name="T8" fmla="*/ 0 w 48"/>
                <a:gd name="T9" fmla="*/ 0 h 81"/>
                <a:gd name="T10" fmla="*/ 0 w 48"/>
                <a:gd name="T11" fmla="*/ 0 h 81"/>
                <a:gd name="T12" fmla="*/ 0 w 48"/>
                <a:gd name="T13" fmla="*/ 0 h 81"/>
                <a:gd name="T14" fmla="*/ 0 w 48"/>
                <a:gd name="T15" fmla="*/ 0 h 81"/>
                <a:gd name="T16" fmla="*/ 0 w 48"/>
                <a:gd name="T17" fmla="*/ 0 h 81"/>
                <a:gd name="T18" fmla="*/ 0 w 48"/>
                <a:gd name="T19" fmla="*/ 0 h 81"/>
                <a:gd name="T20" fmla="*/ 0 w 48"/>
                <a:gd name="T21" fmla="*/ 0 h 81"/>
                <a:gd name="T22" fmla="*/ 0 w 48"/>
                <a:gd name="T23" fmla="*/ 0 h 81"/>
                <a:gd name="T24" fmla="*/ 0 w 48"/>
                <a:gd name="T25" fmla="*/ 0 h 81"/>
                <a:gd name="T26" fmla="*/ 0 w 48"/>
                <a:gd name="T27" fmla="*/ 0 h 81"/>
                <a:gd name="T28" fmla="*/ 0 w 48"/>
                <a:gd name="T29" fmla="*/ 0 h 81"/>
                <a:gd name="T30" fmla="*/ 0 w 48"/>
                <a:gd name="T31" fmla="*/ 0 h 81"/>
                <a:gd name="T32" fmla="*/ 0 w 48"/>
                <a:gd name="T33" fmla="*/ 0 h 81"/>
                <a:gd name="T34" fmla="*/ 0 w 48"/>
                <a:gd name="T35" fmla="*/ 0 h 81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8"/>
                <a:gd name="T55" fmla="*/ 0 h 81"/>
                <a:gd name="T56" fmla="*/ 48 w 48"/>
                <a:gd name="T57" fmla="*/ 81 h 81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8" h="81">
                  <a:moveTo>
                    <a:pt x="0" y="11"/>
                  </a:moveTo>
                  <a:lnTo>
                    <a:pt x="0" y="8"/>
                  </a:lnTo>
                  <a:lnTo>
                    <a:pt x="13" y="0"/>
                  </a:lnTo>
                  <a:lnTo>
                    <a:pt x="23" y="5"/>
                  </a:lnTo>
                  <a:lnTo>
                    <a:pt x="33" y="16"/>
                  </a:lnTo>
                  <a:lnTo>
                    <a:pt x="35" y="10"/>
                  </a:lnTo>
                  <a:lnTo>
                    <a:pt x="47" y="30"/>
                  </a:lnTo>
                  <a:lnTo>
                    <a:pt x="48" y="40"/>
                  </a:lnTo>
                  <a:lnTo>
                    <a:pt x="47" y="53"/>
                  </a:lnTo>
                  <a:lnTo>
                    <a:pt x="44" y="57"/>
                  </a:lnTo>
                  <a:lnTo>
                    <a:pt x="45" y="68"/>
                  </a:lnTo>
                  <a:lnTo>
                    <a:pt x="48" y="78"/>
                  </a:lnTo>
                  <a:lnTo>
                    <a:pt x="44" y="81"/>
                  </a:lnTo>
                  <a:lnTo>
                    <a:pt x="38" y="59"/>
                  </a:lnTo>
                  <a:lnTo>
                    <a:pt x="31" y="46"/>
                  </a:lnTo>
                  <a:lnTo>
                    <a:pt x="24" y="27"/>
                  </a:lnTo>
                  <a:lnTo>
                    <a:pt x="4" y="19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26" name="Freeform 127">
              <a:extLst>
                <a:ext uri="{FF2B5EF4-FFF2-40B4-BE49-F238E27FC236}">
                  <a16:creationId xmlns:a16="http://schemas.microsoft.com/office/drawing/2014/main" id="{4CC0D312-A148-5F02-9818-0019C674FBF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843895" y="1006893"/>
              <a:ext cx="45374" cy="36976"/>
            </a:xfrm>
            <a:custGeom>
              <a:avLst/>
              <a:gdLst>
                <a:gd name="T0" fmla="*/ 0 w 85"/>
                <a:gd name="T1" fmla="*/ 0 h 61"/>
                <a:gd name="T2" fmla="*/ 0 w 85"/>
                <a:gd name="T3" fmla="*/ 0 h 61"/>
                <a:gd name="T4" fmla="*/ 0 w 85"/>
                <a:gd name="T5" fmla="*/ 0 h 61"/>
                <a:gd name="T6" fmla="*/ 0 w 85"/>
                <a:gd name="T7" fmla="*/ 0 h 61"/>
                <a:gd name="T8" fmla="*/ 0 w 85"/>
                <a:gd name="T9" fmla="*/ 0 h 61"/>
                <a:gd name="T10" fmla="*/ 0 w 85"/>
                <a:gd name="T11" fmla="*/ 0 h 61"/>
                <a:gd name="T12" fmla="*/ 0 w 85"/>
                <a:gd name="T13" fmla="*/ 0 h 61"/>
                <a:gd name="T14" fmla="*/ 0 w 85"/>
                <a:gd name="T15" fmla="*/ 0 h 61"/>
                <a:gd name="T16" fmla="*/ 0 w 85"/>
                <a:gd name="T17" fmla="*/ 0 h 61"/>
                <a:gd name="T18" fmla="*/ 0 w 85"/>
                <a:gd name="T19" fmla="*/ 0 h 61"/>
                <a:gd name="T20" fmla="*/ 0 w 85"/>
                <a:gd name="T21" fmla="*/ 0 h 61"/>
                <a:gd name="T22" fmla="*/ 0 w 85"/>
                <a:gd name="T23" fmla="*/ 0 h 61"/>
                <a:gd name="T24" fmla="*/ 0 w 85"/>
                <a:gd name="T25" fmla="*/ 0 h 61"/>
                <a:gd name="T26" fmla="*/ 0 w 85"/>
                <a:gd name="T27" fmla="*/ 0 h 61"/>
                <a:gd name="T28" fmla="*/ 0 w 85"/>
                <a:gd name="T29" fmla="*/ 0 h 61"/>
                <a:gd name="T30" fmla="*/ 0 w 85"/>
                <a:gd name="T31" fmla="*/ 0 h 61"/>
                <a:gd name="T32" fmla="*/ 0 w 85"/>
                <a:gd name="T33" fmla="*/ 0 h 61"/>
                <a:gd name="T34" fmla="*/ 0 w 85"/>
                <a:gd name="T35" fmla="*/ 0 h 61"/>
                <a:gd name="T36" fmla="*/ 0 w 85"/>
                <a:gd name="T37" fmla="*/ 0 h 61"/>
                <a:gd name="T38" fmla="*/ 0 w 85"/>
                <a:gd name="T39" fmla="*/ 0 h 61"/>
                <a:gd name="T40" fmla="*/ 0 w 85"/>
                <a:gd name="T41" fmla="*/ 0 h 61"/>
                <a:gd name="T42" fmla="*/ 0 w 85"/>
                <a:gd name="T43" fmla="*/ 0 h 61"/>
                <a:gd name="T44" fmla="*/ 0 w 85"/>
                <a:gd name="T45" fmla="*/ 0 h 61"/>
                <a:gd name="T46" fmla="*/ 0 w 85"/>
                <a:gd name="T47" fmla="*/ 0 h 61"/>
                <a:gd name="T48" fmla="*/ 0 w 85"/>
                <a:gd name="T49" fmla="*/ 0 h 61"/>
                <a:gd name="T50" fmla="*/ 0 w 85"/>
                <a:gd name="T51" fmla="*/ 0 h 61"/>
                <a:gd name="T52" fmla="*/ 0 w 85"/>
                <a:gd name="T53" fmla="*/ 0 h 61"/>
                <a:gd name="T54" fmla="*/ 0 w 85"/>
                <a:gd name="T55" fmla="*/ 0 h 61"/>
                <a:gd name="T56" fmla="*/ 0 w 85"/>
                <a:gd name="T57" fmla="*/ 0 h 6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85"/>
                <a:gd name="T88" fmla="*/ 0 h 61"/>
                <a:gd name="T89" fmla="*/ 85 w 85"/>
                <a:gd name="T90" fmla="*/ 61 h 61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85" h="61">
                  <a:moveTo>
                    <a:pt x="44" y="7"/>
                  </a:moveTo>
                  <a:lnTo>
                    <a:pt x="57" y="9"/>
                  </a:lnTo>
                  <a:lnTo>
                    <a:pt x="84" y="4"/>
                  </a:lnTo>
                  <a:lnTo>
                    <a:pt x="85" y="7"/>
                  </a:lnTo>
                  <a:lnTo>
                    <a:pt x="84" y="14"/>
                  </a:lnTo>
                  <a:lnTo>
                    <a:pt x="79" y="27"/>
                  </a:lnTo>
                  <a:lnTo>
                    <a:pt x="76" y="37"/>
                  </a:lnTo>
                  <a:lnTo>
                    <a:pt x="71" y="45"/>
                  </a:lnTo>
                  <a:lnTo>
                    <a:pt x="70" y="40"/>
                  </a:lnTo>
                  <a:lnTo>
                    <a:pt x="70" y="26"/>
                  </a:lnTo>
                  <a:lnTo>
                    <a:pt x="62" y="51"/>
                  </a:lnTo>
                  <a:lnTo>
                    <a:pt x="54" y="50"/>
                  </a:lnTo>
                  <a:lnTo>
                    <a:pt x="44" y="42"/>
                  </a:lnTo>
                  <a:lnTo>
                    <a:pt x="36" y="52"/>
                  </a:lnTo>
                  <a:lnTo>
                    <a:pt x="20" y="51"/>
                  </a:lnTo>
                  <a:lnTo>
                    <a:pt x="17" y="57"/>
                  </a:lnTo>
                  <a:lnTo>
                    <a:pt x="13" y="61"/>
                  </a:lnTo>
                  <a:lnTo>
                    <a:pt x="0" y="46"/>
                  </a:lnTo>
                  <a:lnTo>
                    <a:pt x="4" y="40"/>
                  </a:lnTo>
                  <a:lnTo>
                    <a:pt x="11" y="37"/>
                  </a:lnTo>
                  <a:lnTo>
                    <a:pt x="10" y="29"/>
                  </a:lnTo>
                  <a:lnTo>
                    <a:pt x="13" y="23"/>
                  </a:lnTo>
                  <a:lnTo>
                    <a:pt x="19" y="20"/>
                  </a:lnTo>
                  <a:lnTo>
                    <a:pt x="19" y="14"/>
                  </a:lnTo>
                  <a:lnTo>
                    <a:pt x="16" y="4"/>
                  </a:lnTo>
                  <a:lnTo>
                    <a:pt x="25" y="0"/>
                  </a:lnTo>
                  <a:lnTo>
                    <a:pt x="41" y="2"/>
                  </a:lnTo>
                  <a:lnTo>
                    <a:pt x="44" y="3"/>
                  </a:lnTo>
                  <a:lnTo>
                    <a:pt x="44" y="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27" name="Freeform 128">
              <a:extLst>
                <a:ext uri="{FF2B5EF4-FFF2-40B4-BE49-F238E27FC236}">
                  <a16:creationId xmlns:a16="http://schemas.microsoft.com/office/drawing/2014/main" id="{1B9DABEC-B12E-88DD-D985-1428DDC926F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484444" y="1211686"/>
              <a:ext cx="58720" cy="71108"/>
            </a:xfrm>
            <a:custGeom>
              <a:avLst/>
              <a:gdLst>
                <a:gd name="T0" fmla="*/ 0 w 112"/>
                <a:gd name="T1" fmla="*/ 0 h 123"/>
                <a:gd name="T2" fmla="*/ 0 w 112"/>
                <a:gd name="T3" fmla="*/ 0 h 123"/>
                <a:gd name="T4" fmla="*/ 0 w 112"/>
                <a:gd name="T5" fmla="*/ 0 h 123"/>
                <a:gd name="T6" fmla="*/ 0 w 112"/>
                <a:gd name="T7" fmla="*/ 0 h 123"/>
                <a:gd name="T8" fmla="*/ 0 w 112"/>
                <a:gd name="T9" fmla="*/ 0 h 123"/>
                <a:gd name="T10" fmla="*/ 0 w 112"/>
                <a:gd name="T11" fmla="*/ 0 h 123"/>
                <a:gd name="T12" fmla="*/ 0 w 112"/>
                <a:gd name="T13" fmla="*/ 0 h 123"/>
                <a:gd name="T14" fmla="*/ 0 w 112"/>
                <a:gd name="T15" fmla="*/ 0 h 123"/>
                <a:gd name="T16" fmla="*/ 0 w 112"/>
                <a:gd name="T17" fmla="*/ 0 h 123"/>
                <a:gd name="T18" fmla="*/ 0 w 112"/>
                <a:gd name="T19" fmla="*/ 0 h 123"/>
                <a:gd name="T20" fmla="*/ 0 w 112"/>
                <a:gd name="T21" fmla="*/ 0 h 123"/>
                <a:gd name="T22" fmla="*/ 0 w 112"/>
                <a:gd name="T23" fmla="*/ 0 h 123"/>
                <a:gd name="T24" fmla="*/ 0 w 112"/>
                <a:gd name="T25" fmla="*/ 0 h 123"/>
                <a:gd name="T26" fmla="*/ 0 w 112"/>
                <a:gd name="T27" fmla="*/ 0 h 123"/>
                <a:gd name="T28" fmla="*/ 0 w 112"/>
                <a:gd name="T29" fmla="*/ 0 h 123"/>
                <a:gd name="T30" fmla="*/ 0 w 112"/>
                <a:gd name="T31" fmla="*/ 0 h 123"/>
                <a:gd name="T32" fmla="*/ 0 w 112"/>
                <a:gd name="T33" fmla="*/ 0 h 123"/>
                <a:gd name="T34" fmla="*/ 0 w 112"/>
                <a:gd name="T35" fmla="*/ 0 h 123"/>
                <a:gd name="T36" fmla="*/ 0 w 112"/>
                <a:gd name="T37" fmla="*/ 0 h 123"/>
                <a:gd name="T38" fmla="*/ 0 w 112"/>
                <a:gd name="T39" fmla="*/ 0 h 123"/>
                <a:gd name="T40" fmla="*/ 0 w 112"/>
                <a:gd name="T41" fmla="*/ 0 h 123"/>
                <a:gd name="T42" fmla="*/ 0 w 112"/>
                <a:gd name="T43" fmla="*/ 0 h 123"/>
                <a:gd name="T44" fmla="*/ 0 w 112"/>
                <a:gd name="T45" fmla="*/ 0 h 123"/>
                <a:gd name="T46" fmla="*/ 0 w 112"/>
                <a:gd name="T47" fmla="*/ 0 h 123"/>
                <a:gd name="T48" fmla="*/ 0 w 112"/>
                <a:gd name="T49" fmla="*/ 0 h 123"/>
                <a:gd name="T50" fmla="*/ 0 w 112"/>
                <a:gd name="T51" fmla="*/ 0 h 123"/>
                <a:gd name="T52" fmla="*/ 0 w 112"/>
                <a:gd name="T53" fmla="*/ 0 h 123"/>
                <a:gd name="T54" fmla="*/ 0 w 112"/>
                <a:gd name="T55" fmla="*/ 0 h 123"/>
                <a:gd name="T56" fmla="*/ 0 w 112"/>
                <a:gd name="T57" fmla="*/ 0 h 123"/>
                <a:gd name="T58" fmla="*/ 0 w 112"/>
                <a:gd name="T59" fmla="*/ 0 h 123"/>
                <a:gd name="T60" fmla="*/ 0 w 112"/>
                <a:gd name="T61" fmla="*/ 0 h 123"/>
                <a:gd name="T62" fmla="*/ 0 w 112"/>
                <a:gd name="T63" fmla="*/ 0 h 123"/>
                <a:gd name="T64" fmla="*/ 0 w 112"/>
                <a:gd name="T65" fmla="*/ 0 h 123"/>
                <a:gd name="T66" fmla="*/ 0 w 112"/>
                <a:gd name="T67" fmla="*/ 0 h 123"/>
                <a:gd name="T68" fmla="*/ 0 w 112"/>
                <a:gd name="T69" fmla="*/ 0 h 12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12"/>
                <a:gd name="T106" fmla="*/ 0 h 123"/>
                <a:gd name="T107" fmla="*/ 112 w 112"/>
                <a:gd name="T108" fmla="*/ 123 h 12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12" h="123">
                  <a:moveTo>
                    <a:pt x="15" y="75"/>
                  </a:moveTo>
                  <a:lnTo>
                    <a:pt x="12" y="75"/>
                  </a:lnTo>
                  <a:lnTo>
                    <a:pt x="7" y="57"/>
                  </a:lnTo>
                  <a:lnTo>
                    <a:pt x="7" y="49"/>
                  </a:lnTo>
                  <a:lnTo>
                    <a:pt x="3" y="47"/>
                  </a:lnTo>
                  <a:lnTo>
                    <a:pt x="0" y="36"/>
                  </a:lnTo>
                  <a:lnTo>
                    <a:pt x="10" y="41"/>
                  </a:lnTo>
                  <a:lnTo>
                    <a:pt x="19" y="38"/>
                  </a:lnTo>
                  <a:lnTo>
                    <a:pt x="6" y="25"/>
                  </a:lnTo>
                  <a:lnTo>
                    <a:pt x="10" y="23"/>
                  </a:lnTo>
                  <a:lnTo>
                    <a:pt x="15" y="15"/>
                  </a:lnTo>
                  <a:lnTo>
                    <a:pt x="19" y="3"/>
                  </a:lnTo>
                  <a:lnTo>
                    <a:pt x="27" y="0"/>
                  </a:lnTo>
                  <a:lnTo>
                    <a:pt x="37" y="16"/>
                  </a:lnTo>
                  <a:lnTo>
                    <a:pt x="46" y="23"/>
                  </a:lnTo>
                  <a:lnTo>
                    <a:pt x="52" y="38"/>
                  </a:lnTo>
                  <a:lnTo>
                    <a:pt x="68" y="46"/>
                  </a:lnTo>
                  <a:lnTo>
                    <a:pt x="82" y="62"/>
                  </a:lnTo>
                  <a:lnTo>
                    <a:pt x="109" y="98"/>
                  </a:lnTo>
                  <a:lnTo>
                    <a:pt x="112" y="108"/>
                  </a:lnTo>
                  <a:lnTo>
                    <a:pt x="103" y="123"/>
                  </a:lnTo>
                  <a:lnTo>
                    <a:pt x="96" y="118"/>
                  </a:lnTo>
                  <a:lnTo>
                    <a:pt x="89" y="117"/>
                  </a:lnTo>
                  <a:lnTo>
                    <a:pt x="85" y="122"/>
                  </a:lnTo>
                  <a:lnTo>
                    <a:pt x="74" y="122"/>
                  </a:lnTo>
                  <a:lnTo>
                    <a:pt x="60" y="112"/>
                  </a:lnTo>
                  <a:lnTo>
                    <a:pt x="64" y="103"/>
                  </a:lnTo>
                  <a:lnTo>
                    <a:pt x="54" y="96"/>
                  </a:lnTo>
                  <a:lnTo>
                    <a:pt x="44" y="95"/>
                  </a:lnTo>
                  <a:lnTo>
                    <a:pt x="26" y="82"/>
                  </a:lnTo>
                  <a:lnTo>
                    <a:pt x="31" y="95"/>
                  </a:lnTo>
                  <a:lnTo>
                    <a:pt x="39" y="106"/>
                  </a:lnTo>
                  <a:lnTo>
                    <a:pt x="37" y="113"/>
                  </a:lnTo>
                  <a:lnTo>
                    <a:pt x="28" y="95"/>
                  </a:lnTo>
                  <a:lnTo>
                    <a:pt x="15" y="7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28" name="Freeform 129">
              <a:extLst>
                <a:ext uri="{FF2B5EF4-FFF2-40B4-BE49-F238E27FC236}">
                  <a16:creationId xmlns:a16="http://schemas.microsoft.com/office/drawing/2014/main" id="{B0E0B236-8796-1979-812C-A6109AC6051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488011" y="0"/>
              <a:ext cx="216195" cy="213325"/>
            </a:xfrm>
            <a:custGeom>
              <a:avLst/>
              <a:gdLst>
                <a:gd name="T0" fmla="*/ 0 w 405"/>
                <a:gd name="T1" fmla="*/ 0 h 373"/>
                <a:gd name="T2" fmla="*/ 0 w 405"/>
                <a:gd name="T3" fmla="*/ 0 h 373"/>
                <a:gd name="T4" fmla="*/ 0 w 405"/>
                <a:gd name="T5" fmla="*/ 0 h 373"/>
                <a:gd name="T6" fmla="*/ 0 w 405"/>
                <a:gd name="T7" fmla="*/ 0 h 373"/>
                <a:gd name="T8" fmla="*/ 0 w 405"/>
                <a:gd name="T9" fmla="*/ 0 h 373"/>
                <a:gd name="T10" fmla="*/ 0 w 405"/>
                <a:gd name="T11" fmla="*/ 0 h 373"/>
                <a:gd name="T12" fmla="*/ 0 w 405"/>
                <a:gd name="T13" fmla="*/ 0 h 373"/>
                <a:gd name="T14" fmla="*/ 0 w 405"/>
                <a:gd name="T15" fmla="*/ 0 h 373"/>
                <a:gd name="T16" fmla="*/ 0 w 405"/>
                <a:gd name="T17" fmla="*/ 0 h 373"/>
                <a:gd name="T18" fmla="*/ 0 w 405"/>
                <a:gd name="T19" fmla="*/ 0 h 373"/>
                <a:gd name="T20" fmla="*/ 0 w 405"/>
                <a:gd name="T21" fmla="*/ 0 h 373"/>
                <a:gd name="T22" fmla="*/ 0 w 405"/>
                <a:gd name="T23" fmla="*/ 0 h 373"/>
                <a:gd name="T24" fmla="*/ 0 w 405"/>
                <a:gd name="T25" fmla="*/ 0 h 373"/>
                <a:gd name="T26" fmla="*/ 0 w 405"/>
                <a:gd name="T27" fmla="*/ 0 h 373"/>
                <a:gd name="T28" fmla="*/ 0 w 405"/>
                <a:gd name="T29" fmla="*/ 0 h 373"/>
                <a:gd name="T30" fmla="*/ 0 w 405"/>
                <a:gd name="T31" fmla="*/ 0 h 373"/>
                <a:gd name="T32" fmla="*/ 0 w 405"/>
                <a:gd name="T33" fmla="*/ 0 h 373"/>
                <a:gd name="T34" fmla="*/ 0 w 405"/>
                <a:gd name="T35" fmla="*/ 0 h 373"/>
                <a:gd name="T36" fmla="*/ 0 w 405"/>
                <a:gd name="T37" fmla="*/ 0 h 373"/>
                <a:gd name="T38" fmla="*/ 0 w 405"/>
                <a:gd name="T39" fmla="*/ 0 h 373"/>
                <a:gd name="T40" fmla="*/ 0 w 405"/>
                <a:gd name="T41" fmla="*/ 0 h 373"/>
                <a:gd name="T42" fmla="*/ 0 w 405"/>
                <a:gd name="T43" fmla="*/ 0 h 373"/>
                <a:gd name="T44" fmla="*/ 0 w 405"/>
                <a:gd name="T45" fmla="*/ 0 h 373"/>
                <a:gd name="T46" fmla="*/ 0 w 405"/>
                <a:gd name="T47" fmla="*/ 0 h 373"/>
                <a:gd name="T48" fmla="*/ 0 w 405"/>
                <a:gd name="T49" fmla="*/ 0 h 373"/>
                <a:gd name="T50" fmla="*/ 0 w 405"/>
                <a:gd name="T51" fmla="*/ 0 h 373"/>
                <a:gd name="T52" fmla="*/ 0 w 405"/>
                <a:gd name="T53" fmla="*/ 0 h 373"/>
                <a:gd name="T54" fmla="*/ 0 w 405"/>
                <a:gd name="T55" fmla="*/ 0 h 373"/>
                <a:gd name="T56" fmla="*/ 0 w 405"/>
                <a:gd name="T57" fmla="*/ 0 h 373"/>
                <a:gd name="T58" fmla="*/ 0 w 405"/>
                <a:gd name="T59" fmla="*/ 0 h 373"/>
                <a:gd name="T60" fmla="*/ 0 w 405"/>
                <a:gd name="T61" fmla="*/ 0 h 373"/>
                <a:gd name="T62" fmla="*/ 0 w 405"/>
                <a:gd name="T63" fmla="*/ 0 h 373"/>
                <a:gd name="T64" fmla="*/ 0 w 405"/>
                <a:gd name="T65" fmla="*/ 0 h 373"/>
                <a:gd name="T66" fmla="*/ 0 w 405"/>
                <a:gd name="T67" fmla="*/ 0 h 373"/>
                <a:gd name="T68" fmla="*/ 0 w 405"/>
                <a:gd name="T69" fmla="*/ 0 h 373"/>
                <a:gd name="T70" fmla="*/ 0 w 405"/>
                <a:gd name="T71" fmla="*/ 0 h 373"/>
                <a:gd name="T72" fmla="*/ 0 w 405"/>
                <a:gd name="T73" fmla="*/ 0 h 373"/>
                <a:gd name="T74" fmla="*/ 0 w 405"/>
                <a:gd name="T75" fmla="*/ 0 h 373"/>
                <a:gd name="T76" fmla="*/ 0 w 405"/>
                <a:gd name="T77" fmla="*/ 0 h 373"/>
                <a:gd name="T78" fmla="*/ 0 w 405"/>
                <a:gd name="T79" fmla="*/ 0 h 373"/>
                <a:gd name="T80" fmla="*/ 0 w 405"/>
                <a:gd name="T81" fmla="*/ 0 h 373"/>
                <a:gd name="T82" fmla="*/ 0 w 405"/>
                <a:gd name="T83" fmla="*/ 0 h 373"/>
                <a:gd name="T84" fmla="*/ 0 w 405"/>
                <a:gd name="T85" fmla="*/ 0 h 373"/>
                <a:gd name="T86" fmla="*/ 0 w 405"/>
                <a:gd name="T87" fmla="*/ 0 h 373"/>
                <a:gd name="T88" fmla="*/ 0 w 405"/>
                <a:gd name="T89" fmla="*/ 0 h 373"/>
                <a:gd name="T90" fmla="*/ 0 w 405"/>
                <a:gd name="T91" fmla="*/ 0 h 373"/>
                <a:gd name="T92" fmla="*/ 0 w 405"/>
                <a:gd name="T93" fmla="*/ 0 h 373"/>
                <a:gd name="T94" fmla="*/ 0 w 405"/>
                <a:gd name="T95" fmla="*/ 0 h 373"/>
                <a:gd name="T96" fmla="*/ 0 w 405"/>
                <a:gd name="T97" fmla="*/ 0 h 37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05"/>
                <a:gd name="T148" fmla="*/ 0 h 373"/>
                <a:gd name="T149" fmla="*/ 405 w 405"/>
                <a:gd name="T150" fmla="*/ 373 h 37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05" h="373">
                  <a:moveTo>
                    <a:pt x="77" y="32"/>
                  </a:moveTo>
                  <a:lnTo>
                    <a:pt x="81" y="49"/>
                  </a:lnTo>
                  <a:lnTo>
                    <a:pt x="91" y="55"/>
                  </a:lnTo>
                  <a:lnTo>
                    <a:pt x="90" y="63"/>
                  </a:lnTo>
                  <a:lnTo>
                    <a:pt x="80" y="72"/>
                  </a:lnTo>
                  <a:lnTo>
                    <a:pt x="54" y="79"/>
                  </a:lnTo>
                  <a:lnTo>
                    <a:pt x="49" y="91"/>
                  </a:lnTo>
                  <a:lnTo>
                    <a:pt x="47" y="106"/>
                  </a:lnTo>
                  <a:lnTo>
                    <a:pt x="16" y="141"/>
                  </a:lnTo>
                  <a:lnTo>
                    <a:pt x="0" y="138"/>
                  </a:lnTo>
                  <a:lnTo>
                    <a:pt x="13" y="149"/>
                  </a:lnTo>
                  <a:lnTo>
                    <a:pt x="17" y="168"/>
                  </a:lnTo>
                  <a:lnTo>
                    <a:pt x="21" y="163"/>
                  </a:lnTo>
                  <a:lnTo>
                    <a:pt x="19" y="154"/>
                  </a:lnTo>
                  <a:lnTo>
                    <a:pt x="21" y="146"/>
                  </a:lnTo>
                  <a:lnTo>
                    <a:pt x="31" y="142"/>
                  </a:lnTo>
                  <a:lnTo>
                    <a:pt x="38" y="160"/>
                  </a:lnTo>
                  <a:lnTo>
                    <a:pt x="45" y="154"/>
                  </a:lnTo>
                  <a:lnTo>
                    <a:pt x="50" y="158"/>
                  </a:lnTo>
                  <a:lnTo>
                    <a:pt x="51" y="168"/>
                  </a:lnTo>
                  <a:lnTo>
                    <a:pt x="64" y="160"/>
                  </a:lnTo>
                  <a:lnTo>
                    <a:pt x="71" y="160"/>
                  </a:lnTo>
                  <a:lnTo>
                    <a:pt x="71" y="168"/>
                  </a:lnTo>
                  <a:lnTo>
                    <a:pt x="75" y="181"/>
                  </a:lnTo>
                  <a:lnTo>
                    <a:pt x="76" y="192"/>
                  </a:lnTo>
                  <a:lnTo>
                    <a:pt x="76" y="220"/>
                  </a:lnTo>
                  <a:lnTo>
                    <a:pt x="77" y="236"/>
                  </a:lnTo>
                  <a:lnTo>
                    <a:pt x="83" y="247"/>
                  </a:lnTo>
                  <a:lnTo>
                    <a:pt x="97" y="257"/>
                  </a:lnTo>
                  <a:lnTo>
                    <a:pt x="103" y="276"/>
                  </a:lnTo>
                  <a:lnTo>
                    <a:pt x="115" y="289"/>
                  </a:lnTo>
                  <a:lnTo>
                    <a:pt x="120" y="302"/>
                  </a:lnTo>
                  <a:lnTo>
                    <a:pt x="144" y="278"/>
                  </a:lnTo>
                  <a:lnTo>
                    <a:pt x="157" y="255"/>
                  </a:lnTo>
                  <a:lnTo>
                    <a:pt x="160" y="269"/>
                  </a:lnTo>
                  <a:lnTo>
                    <a:pt x="161" y="298"/>
                  </a:lnTo>
                  <a:lnTo>
                    <a:pt x="166" y="306"/>
                  </a:lnTo>
                  <a:lnTo>
                    <a:pt x="176" y="300"/>
                  </a:lnTo>
                  <a:lnTo>
                    <a:pt x="187" y="303"/>
                  </a:lnTo>
                  <a:lnTo>
                    <a:pt x="185" y="313"/>
                  </a:lnTo>
                  <a:lnTo>
                    <a:pt x="228" y="327"/>
                  </a:lnTo>
                  <a:lnTo>
                    <a:pt x="233" y="338"/>
                  </a:lnTo>
                  <a:lnTo>
                    <a:pt x="254" y="348"/>
                  </a:lnTo>
                  <a:lnTo>
                    <a:pt x="260" y="354"/>
                  </a:lnTo>
                  <a:lnTo>
                    <a:pt x="265" y="366"/>
                  </a:lnTo>
                  <a:lnTo>
                    <a:pt x="327" y="373"/>
                  </a:lnTo>
                  <a:lnTo>
                    <a:pt x="338" y="365"/>
                  </a:lnTo>
                  <a:lnTo>
                    <a:pt x="350" y="366"/>
                  </a:lnTo>
                  <a:lnTo>
                    <a:pt x="351" y="351"/>
                  </a:lnTo>
                  <a:lnTo>
                    <a:pt x="365" y="348"/>
                  </a:lnTo>
                  <a:lnTo>
                    <a:pt x="376" y="338"/>
                  </a:lnTo>
                  <a:lnTo>
                    <a:pt x="375" y="322"/>
                  </a:lnTo>
                  <a:lnTo>
                    <a:pt x="377" y="313"/>
                  </a:lnTo>
                  <a:lnTo>
                    <a:pt x="377" y="295"/>
                  </a:lnTo>
                  <a:lnTo>
                    <a:pt x="365" y="275"/>
                  </a:lnTo>
                  <a:lnTo>
                    <a:pt x="366" y="262"/>
                  </a:lnTo>
                  <a:lnTo>
                    <a:pt x="356" y="259"/>
                  </a:lnTo>
                  <a:lnTo>
                    <a:pt x="339" y="232"/>
                  </a:lnTo>
                  <a:lnTo>
                    <a:pt x="336" y="212"/>
                  </a:lnTo>
                  <a:lnTo>
                    <a:pt x="371" y="232"/>
                  </a:lnTo>
                  <a:lnTo>
                    <a:pt x="376" y="216"/>
                  </a:lnTo>
                  <a:lnTo>
                    <a:pt x="376" y="190"/>
                  </a:lnTo>
                  <a:lnTo>
                    <a:pt x="375" y="163"/>
                  </a:lnTo>
                  <a:lnTo>
                    <a:pt x="377" y="160"/>
                  </a:lnTo>
                  <a:lnTo>
                    <a:pt x="378" y="147"/>
                  </a:lnTo>
                  <a:lnTo>
                    <a:pt x="383" y="139"/>
                  </a:lnTo>
                  <a:lnTo>
                    <a:pt x="388" y="113"/>
                  </a:lnTo>
                  <a:lnTo>
                    <a:pt x="405" y="107"/>
                  </a:lnTo>
                  <a:lnTo>
                    <a:pt x="399" y="102"/>
                  </a:lnTo>
                  <a:lnTo>
                    <a:pt x="386" y="103"/>
                  </a:lnTo>
                  <a:lnTo>
                    <a:pt x="384" y="90"/>
                  </a:lnTo>
                  <a:lnTo>
                    <a:pt x="390" y="72"/>
                  </a:lnTo>
                  <a:lnTo>
                    <a:pt x="392" y="60"/>
                  </a:lnTo>
                  <a:lnTo>
                    <a:pt x="384" y="65"/>
                  </a:lnTo>
                  <a:lnTo>
                    <a:pt x="386" y="53"/>
                  </a:lnTo>
                  <a:lnTo>
                    <a:pt x="367" y="18"/>
                  </a:lnTo>
                  <a:lnTo>
                    <a:pt x="366" y="6"/>
                  </a:lnTo>
                  <a:lnTo>
                    <a:pt x="359" y="0"/>
                  </a:lnTo>
                  <a:lnTo>
                    <a:pt x="344" y="0"/>
                  </a:lnTo>
                  <a:lnTo>
                    <a:pt x="335" y="2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8" y="2"/>
                  </a:lnTo>
                  <a:lnTo>
                    <a:pt x="306" y="32"/>
                  </a:lnTo>
                  <a:lnTo>
                    <a:pt x="282" y="50"/>
                  </a:lnTo>
                  <a:lnTo>
                    <a:pt x="269" y="75"/>
                  </a:lnTo>
                  <a:lnTo>
                    <a:pt x="253" y="77"/>
                  </a:lnTo>
                  <a:lnTo>
                    <a:pt x="237" y="95"/>
                  </a:lnTo>
                  <a:lnTo>
                    <a:pt x="223" y="92"/>
                  </a:lnTo>
                  <a:lnTo>
                    <a:pt x="255" y="66"/>
                  </a:lnTo>
                  <a:lnTo>
                    <a:pt x="265" y="68"/>
                  </a:lnTo>
                  <a:lnTo>
                    <a:pt x="265" y="45"/>
                  </a:lnTo>
                  <a:lnTo>
                    <a:pt x="290" y="33"/>
                  </a:lnTo>
                  <a:lnTo>
                    <a:pt x="291" y="2"/>
                  </a:lnTo>
                  <a:lnTo>
                    <a:pt x="290" y="0"/>
                  </a:lnTo>
                  <a:lnTo>
                    <a:pt x="97" y="0"/>
                  </a:lnTo>
                  <a:lnTo>
                    <a:pt x="83" y="15"/>
                  </a:lnTo>
                  <a:lnTo>
                    <a:pt x="77" y="3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29" name="Freeform 130">
              <a:extLst>
                <a:ext uri="{FF2B5EF4-FFF2-40B4-BE49-F238E27FC236}">
                  <a16:creationId xmlns:a16="http://schemas.microsoft.com/office/drawing/2014/main" id="{8F43E6BF-3830-944D-AC6A-78BFF564D23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0994261" y="1103601"/>
              <a:ext cx="117439" cy="71108"/>
            </a:xfrm>
            <a:custGeom>
              <a:avLst/>
              <a:gdLst>
                <a:gd name="T0" fmla="*/ 0 w 218"/>
                <a:gd name="T1" fmla="*/ 0 h 125"/>
                <a:gd name="T2" fmla="*/ 0 w 218"/>
                <a:gd name="T3" fmla="*/ 0 h 125"/>
                <a:gd name="T4" fmla="*/ 0 w 218"/>
                <a:gd name="T5" fmla="*/ 0 h 125"/>
                <a:gd name="T6" fmla="*/ 0 w 218"/>
                <a:gd name="T7" fmla="*/ 0 h 125"/>
                <a:gd name="T8" fmla="*/ 0 w 218"/>
                <a:gd name="T9" fmla="*/ 0 h 125"/>
                <a:gd name="T10" fmla="*/ 0 w 218"/>
                <a:gd name="T11" fmla="*/ 0 h 125"/>
                <a:gd name="T12" fmla="*/ 0 w 218"/>
                <a:gd name="T13" fmla="*/ 0 h 125"/>
                <a:gd name="T14" fmla="*/ 0 w 218"/>
                <a:gd name="T15" fmla="*/ 0 h 125"/>
                <a:gd name="T16" fmla="*/ 0 w 218"/>
                <a:gd name="T17" fmla="*/ 0 h 125"/>
                <a:gd name="T18" fmla="*/ 0 w 218"/>
                <a:gd name="T19" fmla="*/ 0 h 125"/>
                <a:gd name="T20" fmla="*/ 0 w 218"/>
                <a:gd name="T21" fmla="*/ 0 h 125"/>
                <a:gd name="T22" fmla="*/ 0 w 218"/>
                <a:gd name="T23" fmla="*/ 0 h 125"/>
                <a:gd name="T24" fmla="*/ 0 w 218"/>
                <a:gd name="T25" fmla="*/ 0 h 125"/>
                <a:gd name="T26" fmla="*/ 0 w 218"/>
                <a:gd name="T27" fmla="*/ 0 h 125"/>
                <a:gd name="T28" fmla="*/ 0 w 218"/>
                <a:gd name="T29" fmla="*/ 0 h 125"/>
                <a:gd name="T30" fmla="*/ 0 w 218"/>
                <a:gd name="T31" fmla="*/ 0 h 125"/>
                <a:gd name="T32" fmla="*/ 0 w 218"/>
                <a:gd name="T33" fmla="*/ 0 h 125"/>
                <a:gd name="T34" fmla="*/ 0 w 218"/>
                <a:gd name="T35" fmla="*/ 0 h 125"/>
                <a:gd name="T36" fmla="*/ 0 w 218"/>
                <a:gd name="T37" fmla="*/ 0 h 125"/>
                <a:gd name="T38" fmla="*/ 0 w 218"/>
                <a:gd name="T39" fmla="*/ 0 h 125"/>
                <a:gd name="T40" fmla="*/ 0 w 218"/>
                <a:gd name="T41" fmla="*/ 0 h 125"/>
                <a:gd name="T42" fmla="*/ 0 w 218"/>
                <a:gd name="T43" fmla="*/ 0 h 125"/>
                <a:gd name="T44" fmla="*/ 0 w 218"/>
                <a:gd name="T45" fmla="*/ 0 h 125"/>
                <a:gd name="T46" fmla="*/ 0 w 218"/>
                <a:gd name="T47" fmla="*/ 0 h 125"/>
                <a:gd name="T48" fmla="*/ 0 w 218"/>
                <a:gd name="T49" fmla="*/ 0 h 125"/>
                <a:gd name="T50" fmla="*/ 0 w 218"/>
                <a:gd name="T51" fmla="*/ 0 h 125"/>
                <a:gd name="T52" fmla="*/ 0 w 218"/>
                <a:gd name="T53" fmla="*/ 0 h 125"/>
                <a:gd name="T54" fmla="*/ 0 w 218"/>
                <a:gd name="T55" fmla="*/ 0 h 125"/>
                <a:gd name="T56" fmla="*/ 0 w 218"/>
                <a:gd name="T57" fmla="*/ 0 h 125"/>
                <a:gd name="T58" fmla="*/ 0 w 218"/>
                <a:gd name="T59" fmla="*/ 0 h 125"/>
                <a:gd name="T60" fmla="*/ 0 w 218"/>
                <a:gd name="T61" fmla="*/ 0 h 125"/>
                <a:gd name="T62" fmla="*/ 0 w 218"/>
                <a:gd name="T63" fmla="*/ 0 h 125"/>
                <a:gd name="T64" fmla="*/ 0 w 218"/>
                <a:gd name="T65" fmla="*/ 0 h 125"/>
                <a:gd name="T66" fmla="*/ 0 w 218"/>
                <a:gd name="T67" fmla="*/ 0 h 125"/>
                <a:gd name="T68" fmla="*/ 0 w 218"/>
                <a:gd name="T69" fmla="*/ 0 h 125"/>
                <a:gd name="T70" fmla="*/ 0 w 218"/>
                <a:gd name="T71" fmla="*/ 0 h 125"/>
                <a:gd name="T72" fmla="*/ 0 w 218"/>
                <a:gd name="T73" fmla="*/ 0 h 125"/>
                <a:gd name="T74" fmla="*/ 0 w 218"/>
                <a:gd name="T75" fmla="*/ 0 h 125"/>
                <a:gd name="T76" fmla="*/ 0 w 218"/>
                <a:gd name="T77" fmla="*/ 0 h 125"/>
                <a:gd name="T78" fmla="*/ 0 w 218"/>
                <a:gd name="T79" fmla="*/ 0 h 125"/>
                <a:gd name="T80" fmla="*/ 0 w 218"/>
                <a:gd name="T81" fmla="*/ 0 h 125"/>
                <a:gd name="T82" fmla="*/ 0 w 218"/>
                <a:gd name="T83" fmla="*/ 0 h 125"/>
                <a:gd name="T84" fmla="*/ 0 w 218"/>
                <a:gd name="T85" fmla="*/ 0 h 125"/>
                <a:gd name="T86" fmla="*/ 0 w 218"/>
                <a:gd name="T87" fmla="*/ 0 h 125"/>
                <a:gd name="T88" fmla="*/ 0 w 218"/>
                <a:gd name="T89" fmla="*/ 0 h 12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18"/>
                <a:gd name="T136" fmla="*/ 0 h 125"/>
                <a:gd name="T137" fmla="*/ 218 w 218"/>
                <a:gd name="T138" fmla="*/ 125 h 125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18" h="125">
                  <a:moveTo>
                    <a:pt x="82" y="99"/>
                  </a:moveTo>
                  <a:lnTo>
                    <a:pt x="78" y="98"/>
                  </a:lnTo>
                  <a:lnTo>
                    <a:pt x="69" y="103"/>
                  </a:lnTo>
                  <a:lnTo>
                    <a:pt x="63" y="110"/>
                  </a:lnTo>
                  <a:lnTo>
                    <a:pt x="60" y="119"/>
                  </a:lnTo>
                  <a:lnTo>
                    <a:pt x="38" y="121"/>
                  </a:lnTo>
                  <a:lnTo>
                    <a:pt x="36" y="118"/>
                  </a:lnTo>
                  <a:lnTo>
                    <a:pt x="16" y="125"/>
                  </a:lnTo>
                  <a:lnTo>
                    <a:pt x="15" y="116"/>
                  </a:lnTo>
                  <a:lnTo>
                    <a:pt x="4" y="100"/>
                  </a:lnTo>
                  <a:lnTo>
                    <a:pt x="0" y="91"/>
                  </a:lnTo>
                  <a:lnTo>
                    <a:pt x="4" y="78"/>
                  </a:lnTo>
                  <a:lnTo>
                    <a:pt x="12" y="72"/>
                  </a:lnTo>
                  <a:lnTo>
                    <a:pt x="16" y="60"/>
                  </a:lnTo>
                  <a:lnTo>
                    <a:pt x="36" y="43"/>
                  </a:lnTo>
                  <a:lnTo>
                    <a:pt x="42" y="33"/>
                  </a:lnTo>
                  <a:lnTo>
                    <a:pt x="55" y="19"/>
                  </a:lnTo>
                  <a:lnTo>
                    <a:pt x="63" y="19"/>
                  </a:lnTo>
                  <a:lnTo>
                    <a:pt x="66" y="10"/>
                  </a:lnTo>
                  <a:lnTo>
                    <a:pt x="82" y="5"/>
                  </a:lnTo>
                  <a:lnTo>
                    <a:pt x="82" y="3"/>
                  </a:lnTo>
                  <a:lnTo>
                    <a:pt x="82" y="5"/>
                  </a:lnTo>
                  <a:lnTo>
                    <a:pt x="84" y="3"/>
                  </a:lnTo>
                  <a:lnTo>
                    <a:pt x="84" y="5"/>
                  </a:lnTo>
                  <a:lnTo>
                    <a:pt x="90" y="6"/>
                  </a:lnTo>
                  <a:lnTo>
                    <a:pt x="101" y="1"/>
                  </a:lnTo>
                  <a:lnTo>
                    <a:pt x="114" y="10"/>
                  </a:lnTo>
                  <a:lnTo>
                    <a:pt x="127" y="1"/>
                  </a:lnTo>
                  <a:lnTo>
                    <a:pt x="133" y="3"/>
                  </a:lnTo>
                  <a:lnTo>
                    <a:pt x="135" y="0"/>
                  </a:lnTo>
                  <a:lnTo>
                    <a:pt x="156" y="11"/>
                  </a:lnTo>
                  <a:lnTo>
                    <a:pt x="184" y="19"/>
                  </a:lnTo>
                  <a:lnTo>
                    <a:pt x="188" y="24"/>
                  </a:lnTo>
                  <a:lnTo>
                    <a:pt x="186" y="28"/>
                  </a:lnTo>
                  <a:lnTo>
                    <a:pt x="186" y="32"/>
                  </a:lnTo>
                  <a:lnTo>
                    <a:pt x="214" y="55"/>
                  </a:lnTo>
                  <a:lnTo>
                    <a:pt x="218" y="67"/>
                  </a:lnTo>
                  <a:lnTo>
                    <a:pt x="214" y="77"/>
                  </a:lnTo>
                  <a:lnTo>
                    <a:pt x="193" y="91"/>
                  </a:lnTo>
                  <a:lnTo>
                    <a:pt x="143" y="107"/>
                  </a:lnTo>
                  <a:lnTo>
                    <a:pt x="133" y="113"/>
                  </a:lnTo>
                  <a:lnTo>
                    <a:pt x="113" y="109"/>
                  </a:lnTo>
                  <a:lnTo>
                    <a:pt x="107" y="104"/>
                  </a:lnTo>
                  <a:lnTo>
                    <a:pt x="82" y="100"/>
                  </a:lnTo>
                  <a:lnTo>
                    <a:pt x="82" y="9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30" name="Freeform 131">
              <a:extLst>
                <a:ext uri="{FF2B5EF4-FFF2-40B4-BE49-F238E27FC236}">
                  <a16:creationId xmlns:a16="http://schemas.microsoft.com/office/drawing/2014/main" id="{7688F3CA-7F6D-EDC2-8795-D336D20A7FE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920391" y="2324455"/>
              <a:ext cx="91033" cy="410015"/>
            </a:xfrm>
            <a:custGeom>
              <a:avLst/>
              <a:gdLst>
                <a:gd name="T0" fmla="*/ 0 w 170"/>
                <a:gd name="T1" fmla="*/ 0 h 721"/>
                <a:gd name="T2" fmla="*/ 0 w 170"/>
                <a:gd name="T3" fmla="*/ 0 h 721"/>
                <a:gd name="T4" fmla="*/ 0 w 170"/>
                <a:gd name="T5" fmla="*/ 0 h 721"/>
                <a:gd name="T6" fmla="*/ 0 w 170"/>
                <a:gd name="T7" fmla="*/ 0 h 721"/>
                <a:gd name="T8" fmla="*/ 0 w 170"/>
                <a:gd name="T9" fmla="*/ 0 h 721"/>
                <a:gd name="T10" fmla="*/ 0 w 170"/>
                <a:gd name="T11" fmla="*/ 0 h 721"/>
                <a:gd name="T12" fmla="*/ 0 w 170"/>
                <a:gd name="T13" fmla="*/ 0 h 721"/>
                <a:gd name="T14" fmla="*/ 0 w 170"/>
                <a:gd name="T15" fmla="*/ 0 h 721"/>
                <a:gd name="T16" fmla="*/ 0 w 170"/>
                <a:gd name="T17" fmla="*/ 0 h 721"/>
                <a:gd name="T18" fmla="*/ 0 w 170"/>
                <a:gd name="T19" fmla="*/ 2147483647 h 721"/>
                <a:gd name="T20" fmla="*/ 0 w 170"/>
                <a:gd name="T21" fmla="*/ 2147483647 h 721"/>
                <a:gd name="T22" fmla="*/ 0 w 170"/>
                <a:gd name="T23" fmla="*/ 2147483647 h 721"/>
                <a:gd name="T24" fmla="*/ 0 w 170"/>
                <a:gd name="T25" fmla="*/ 2147483647 h 721"/>
                <a:gd name="T26" fmla="*/ 0 w 170"/>
                <a:gd name="T27" fmla="*/ 2147483647 h 721"/>
                <a:gd name="T28" fmla="*/ 0 w 170"/>
                <a:gd name="T29" fmla="*/ 2147483647 h 721"/>
                <a:gd name="T30" fmla="*/ 0 w 170"/>
                <a:gd name="T31" fmla="*/ 2147483647 h 721"/>
                <a:gd name="T32" fmla="*/ 0 w 170"/>
                <a:gd name="T33" fmla="*/ 2147483647 h 721"/>
                <a:gd name="T34" fmla="*/ 0 w 170"/>
                <a:gd name="T35" fmla="*/ 2147483647 h 721"/>
                <a:gd name="T36" fmla="*/ 0 w 170"/>
                <a:gd name="T37" fmla="*/ 2147483647 h 721"/>
                <a:gd name="T38" fmla="*/ 0 w 170"/>
                <a:gd name="T39" fmla="*/ 2147483647 h 721"/>
                <a:gd name="T40" fmla="*/ 0 w 170"/>
                <a:gd name="T41" fmla="*/ 2147483647 h 721"/>
                <a:gd name="T42" fmla="*/ 0 w 170"/>
                <a:gd name="T43" fmla="*/ 2147483647 h 721"/>
                <a:gd name="T44" fmla="*/ 0 w 170"/>
                <a:gd name="T45" fmla="*/ 2147483647 h 721"/>
                <a:gd name="T46" fmla="*/ 0 w 170"/>
                <a:gd name="T47" fmla="*/ 2147483647 h 721"/>
                <a:gd name="T48" fmla="*/ 0 w 170"/>
                <a:gd name="T49" fmla="*/ 2147483647 h 721"/>
                <a:gd name="T50" fmla="*/ 0 w 170"/>
                <a:gd name="T51" fmla="*/ 2147483647 h 721"/>
                <a:gd name="T52" fmla="*/ 0 w 170"/>
                <a:gd name="T53" fmla="*/ 2147483647 h 721"/>
                <a:gd name="T54" fmla="*/ 0 w 170"/>
                <a:gd name="T55" fmla="*/ 2147483647 h 721"/>
                <a:gd name="T56" fmla="*/ 0 w 170"/>
                <a:gd name="T57" fmla="*/ 2147483647 h 721"/>
                <a:gd name="T58" fmla="*/ 0 w 170"/>
                <a:gd name="T59" fmla="*/ 2147483647 h 721"/>
                <a:gd name="T60" fmla="*/ 0 w 170"/>
                <a:gd name="T61" fmla="*/ 2147483647 h 721"/>
                <a:gd name="T62" fmla="*/ 0 w 170"/>
                <a:gd name="T63" fmla="*/ 2147483647 h 721"/>
                <a:gd name="T64" fmla="*/ 0 w 170"/>
                <a:gd name="T65" fmla="*/ 2147483647 h 721"/>
                <a:gd name="T66" fmla="*/ 0 w 170"/>
                <a:gd name="T67" fmla="*/ 2147483647 h 721"/>
                <a:gd name="T68" fmla="*/ 0 w 170"/>
                <a:gd name="T69" fmla="*/ 2147483647 h 721"/>
                <a:gd name="T70" fmla="*/ 0 w 170"/>
                <a:gd name="T71" fmla="*/ 2147483647 h 721"/>
                <a:gd name="T72" fmla="*/ 0 w 170"/>
                <a:gd name="T73" fmla="*/ 2147483647 h 721"/>
                <a:gd name="T74" fmla="*/ 0 w 170"/>
                <a:gd name="T75" fmla="*/ 0 h 721"/>
                <a:gd name="T76" fmla="*/ 0 w 170"/>
                <a:gd name="T77" fmla="*/ 0 h 721"/>
                <a:gd name="T78" fmla="*/ 0 w 170"/>
                <a:gd name="T79" fmla="*/ 0 h 721"/>
                <a:gd name="T80" fmla="*/ 0 w 170"/>
                <a:gd name="T81" fmla="*/ 0 h 721"/>
                <a:gd name="T82" fmla="*/ 0 w 170"/>
                <a:gd name="T83" fmla="*/ 0 h 721"/>
                <a:gd name="T84" fmla="*/ 0 w 170"/>
                <a:gd name="T85" fmla="*/ 0 h 721"/>
                <a:gd name="T86" fmla="*/ 0 w 170"/>
                <a:gd name="T87" fmla="*/ 0 h 721"/>
                <a:gd name="T88" fmla="*/ 0 w 170"/>
                <a:gd name="T89" fmla="*/ 0 h 721"/>
                <a:gd name="T90" fmla="*/ 0 w 170"/>
                <a:gd name="T91" fmla="*/ 0 h 721"/>
                <a:gd name="T92" fmla="*/ 0 w 170"/>
                <a:gd name="T93" fmla="*/ 0 h 721"/>
                <a:gd name="T94" fmla="*/ 0 w 170"/>
                <a:gd name="T95" fmla="*/ 0 h 721"/>
                <a:gd name="T96" fmla="*/ 0 w 170"/>
                <a:gd name="T97" fmla="*/ 0 h 721"/>
                <a:gd name="T98" fmla="*/ 0 w 170"/>
                <a:gd name="T99" fmla="*/ 0 h 721"/>
                <a:gd name="T100" fmla="*/ 0 w 170"/>
                <a:gd name="T101" fmla="*/ 0 h 721"/>
                <a:gd name="T102" fmla="*/ 0 w 170"/>
                <a:gd name="T103" fmla="*/ 0 h 7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70"/>
                <a:gd name="T157" fmla="*/ 0 h 721"/>
                <a:gd name="T158" fmla="*/ 170 w 170"/>
                <a:gd name="T159" fmla="*/ 721 h 721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70" h="721">
                  <a:moveTo>
                    <a:pt x="52" y="3"/>
                  </a:moveTo>
                  <a:lnTo>
                    <a:pt x="55" y="0"/>
                  </a:lnTo>
                  <a:lnTo>
                    <a:pt x="63" y="4"/>
                  </a:lnTo>
                  <a:lnTo>
                    <a:pt x="69" y="22"/>
                  </a:lnTo>
                  <a:lnTo>
                    <a:pt x="73" y="59"/>
                  </a:lnTo>
                  <a:lnTo>
                    <a:pt x="76" y="79"/>
                  </a:lnTo>
                  <a:lnTo>
                    <a:pt x="87" y="113"/>
                  </a:lnTo>
                  <a:lnTo>
                    <a:pt x="92" y="144"/>
                  </a:lnTo>
                  <a:lnTo>
                    <a:pt x="93" y="166"/>
                  </a:lnTo>
                  <a:lnTo>
                    <a:pt x="90" y="187"/>
                  </a:lnTo>
                  <a:lnTo>
                    <a:pt x="82" y="192"/>
                  </a:lnTo>
                  <a:lnTo>
                    <a:pt x="84" y="210"/>
                  </a:lnTo>
                  <a:lnTo>
                    <a:pt x="89" y="229"/>
                  </a:lnTo>
                  <a:lnTo>
                    <a:pt x="90" y="243"/>
                  </a:lnTo>
                  <a:lnTo>
                    <a:pt x="89" y="258"/>
                  </a:lnTo>
                  <a:lnTo>
                    <a:pt x="92" y="257"/>
                  </a:lnTo>
                  <a:lnTo>
                    <a:pt x="98" y="272"/>
                  </a:lnTo>
                  <a:lnTo>
                    <a:pt x="102" y="289"/>
                  </a:lnTo>
                  <a:lnTo>
                    <a:pt x="103" y="292"/>
                  </a:lnTo>
                  <a:lnTo>
                    <a:pt x="116" y="344"/>
                  </a:lnTo>
                  <a:lnTo>
                    <a:pt x="135" y="407"/>
                  </a:lnTo>
                  <a:lnTo>
                    <a:pt x="139" y="425"/>
                  </a:lnTo>
                  <a:lnTo>
                    <a:pt x="144" y="445"/>
                  </a:lnTo>
                  <a:lnTo>
                    <a:pt x="150" y="459"/>
                  </a:lnTo>
                  <a:lnTo>
                    <a:pt x="157" y="474"/>
                  </a:lnTo>
                  <a:lnTo>
                    <a:pt x="168" y="487"/>
                  </a:lnTo>
                  <a:lnTo>
                    <a:pt x="170" y="496"/>
                  </a:lnTo>
                  <a:lnTo>
                    <a:pt x="149" y="466"/>
                  </a:lnTo>
                  <a:lnTo>
                    <a:pt x="135" y="456"/>
                  </a:lnTo>
                  <a:lnTo>
                    <a:pt x="119" y="448"/>
                  </a:lnTo>
                  <a:lnTo>
                    <a:pt x="104" y="445"/>
                  </a:lnTo>
                  <a:lnTo>
                    <a:pt x="92" y="447"/>
                  </a:lnTo>
                  <a:lnTo>
                    <a:pt x="80" y="457"/>
                  </a:lnTo>
                  <a:lnTo>
                    <a:pt x="75" y="475"/>
                  </a:lnTo>
                  <a:lnTo>
                    <a:pt x="73" y="491"/>
                  </a:lnTo>
                  <a:lnTo>
                    <a:pt x="65" y="509"/>
                  </a:lnTo>
                  <a:lnTo>
                    <a:pt x="55" y="549"/>
                  </a:lnTo>
                  <a:lnTo>
                    <a:pt x="53" y="566"/>
                  </a:lnTo>
                  <a:lnTo>
                    <a:pt x="53" y="586"/>
                  </a:lnTo>
                  <a:lnTo>
                    <a:pt x="61" y="602"/>
                  </a:lnTo>
                  <a:lnTo>
                    <a:pt x="77" y="623"/>
                  </a:lnTo>
                  <a:lnTo>
                    <a:pt x="80" y="635"/>
                  </a:lnTo>
                  <a:lnTo>
                    <a:pt x="84" y="645"/>
                  </a:lnTo>
                  <a:lnTo>
                    <a:pt x="89" y="651"/>
                  </a:lnTo>
                  <a:lnTo>
                    <a:pt x="97" y="656"/>
                  </a:lnTo>
                  <a:lnTo>
                    <a:pt x="100" y="654"/>
                  </a:lnTo>
                  <a:lnTo>
                    <a:pt x="103" y="657"/>
                  </a:lnTo>
                  <a:lnTo>
                    <a:pt x="108" y="684"/>
                  </a:lnTo>
                  <a:lnTo>
                    <a:pt x="107" y="700"/>
                  </a:lnTo>
                  <a:lnTo>
                    <a:pt x="102" y="713"/>
                  </a:lnTo>
                  <a:lnTo>
                    <a:pt x="95" y="674"/>
                  </a:lnTo>
                  <a:lnTo>
                    <a:pt x="69" y="663"/>
                  </a:lnTo>
                  <a:lnTo>
                    <a:pt x="55" y="662"/>
                  </a:lnTo>
                  <a:lnTo>
                    <a:pt x="46" y="673"/>
                  </a:lnTo>
                  <a:lnTo>
                    <a:pt x="36" y="706"/>
                  </a:lnTo>
                  <a:lnTo>
                    <a:pt x="31" y="721"/>
                  </a:lnTo>
                  <a:lnTo>
                    <a:pt x="18" y="714"/>
                  </a:lnTo>
                  <a:lnTo>
                    <a:pt x="15" y="689"/>
                  </a:lnTo>
                  <a:lnTo>
                    <a:pt x="15" y="666"/>
                  </a:lnTo>
                  <a:lnTo>
                    <a:pt x="21" y="623"/>
                  </a:lnTo>
                  <a:lnTo>
                    <a:pt x="26" y="565"/>
                  </a:lnTo>
                  <a:lnTo>
                    <a:pt x="32" y="554"/>
                  </a:lnTo>
                  <a:lnTo>
                    <a:pt x="31" y="539"/>
                  </a:lnTo>
                  <a:lnTo>
                    <a:pt x="23" y="522"/>
                  </a:lnTo>
                  <a:lnTo>
                    <a:pt x="17" y="499"/>
                  </a:lnTo>
                  <a:lnTo>
                    <a:pt x="17" y="479"/>
                  </a:lnTo>
                  <a:lnTo>
                    <a:pt x="22" y="463"/>
                  </a:lnTo>
                  <a:lnTo>
                    <a:pt x="28" y="425"/>
                  </a:lnTo>
                  <a:lnTo>
                    <a:pt x="28" y="394"/>
                  </a:lnTo>
                  <a:lnTo>
                    <a:pt x="32" y="392"/>
                  </a:lnTo>
                  <a:lnTo>
                    <a:pt x="30" y="386"/>
                  </a:lnTo>
                  <a:lnTo>
                    <a:pt x="30" y="375"/>
                  </a:lnTo>
                  <a:lnTo>
                    <a:pt x="28" y="360"/>
                  </a:lnTo>
                  <a:lnTo>
                    <a:pt x="25" y="348"/>
                  </a:lnTo>
                  <a:lnTo>
                    <a:pt x="25" y="331"/>
                  </a:lnTo>
                  <a:lnTo>
                    <a:pt x="31" y="297"/>
                  </a:lnTo>
                  <a:lnTo>
                    <a:pt x="31" y="284"/>
                  </a:lnTo>
                  <a:lnTo>
                    <a:pt x="21" y="260"/>
                  </a:lnTo>
                  <a:lnTo>
                    <a:pt x="11" y="249"/>
                  </a:lnTo>
                  <a:lnTo>
                    <a:pt x="4" y="243"/>
                  </a:lnTo>
                  <a:lnTo>
                    <a:pt x="6" y="237"/>
                  </a:lnTo>
                  <a:lnTo>
                    <a:pt x="3" y="226"/>
                  </a:lnTo>
                  <a:lnTo>
                    <a:pt x="0" y="205"/>
                  </a:lnTo>
                  <a:lnTo>
                    <a:pt x="0" y="188"/>
                  </a:lnTo>
                  <a:lnTo>
                    <a:pt x="10" y="160"/>
                  </a:lnTo>
                  <a:lnTo>
                    <a:pt x="12" y="125"/>
                  </a:lnTo>
                  <a:lnTo>
                    <a:pt x="11" y="108"/>
                  </a:lnTo>
                  <a:lnTo>
                    <a:pt x="9" y="96"/>
                  </a:lnTo>
                  <a:lnTo>
                    <a:pt x="14" y="85"/>
                  </a:lnTo>
                  <a:lnTo>
                    <a:pt x="25" y="79"/>
                  </a:lnTo>
                  <a:lnTo>
                    <a:pt x="31" y="81"/>
                  </a:lnTo>
                  <a:lnTo>
                    <a:pt x="37" y="87"/>
                  </a:lnTo>
                  <a:lnTo>
                    <a:pt x="48" y="86"/>
                  </a:lnTo>
                  <a:lnTo>
                    <a:pt x="50" y="81"/>
                  </a:lnTo>
                  <a:lnTo>
                    <a:pt x="48" y="75"/>
                  </a:lnTo>
                  <a:lnTo>
                    <a:pt x="50" y="66"/>
                  </a:lnTo>
                  <a:lnTo>
                    <a:pt x="57" y="66"/>
                  </a:lnTo>
                  <a:lnTo>
                    <a:pt x="59" y="64"/>
                  </a:lnTo>
                  <a:lnTo>
                    <a:pt x="54" y="52"/>
                  </a:lnTo>
                  <a:lnTo>
                    <a:pt x="49" y="33"/>
                  </a:lnTo>
                  <a:lnTo>
                    <a:pt x="39" y="16"/>
                  </a:lnTo>
                  <a:lnTo>
                    <a:pt x="38" y="9"/>
                  </a:lnTo>
                  <a:lnTo>
                    <a:pt x="41" y="6"/>
                  </a:lnTo>
                  <a:lnTo>
                    <a:pt x="47" y="6"/>
                  </a:lnTo>
                  <a:lnTo>
                    <a:pt x="52" y="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31" name="Freeform 132">
              <a:extLst>
                <a:ext uri="{FF2B5EF4-FFF2-40B4-BE49-F238E27FC236}">
                  <a16:creationId xmlns:a16="http://schemas.microsoft.com/office/drawing/2014/main" id="{ADCB9269-0093-21F6-AD20-221EC306125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574560" y="373457"/>
              <a:ext cx="4766540" cy="2562211"/>
            </a:xfrm>
            <a:custGeom>
              <a:avLst/>
              <a:gdLst>
                <a:gd name="T0" fmla="*/ 2147483647 w 8931"/>
                <a:gd name="T1" fmla="*/ 2147483647 h 4504"/>
                <a:gd name="T2" fmla="*/ 2147483647 w 8931"/>
                <a:gd name="T3" fmla="*/ 2147483647 h 4504"/>
                <a:gd name="T4" fmla="*/ 2147483647 w 8931"/>
                <a:gd name="T5" fmla="*/ 2147483647 h 4504"/>
                <a:gd name="T6" fmla="*/ 2147483647 w 8931"/>
                <a:gd name="T7" fmla="*/ 2147483647 h 4504"/>
                <a:gd name="T8" fmla="*/ 2147483647 w 8931"/>
                <a:gd name="T9" fmla="*/ 2147483647 h 4504"/>
                <a:gd name="T10" fmla="*/ 2147483647 w 8931"/>
                <a:gd name="T11" fmla="*/ 2147483647 h 4504"/>
                <a:gd name="T12" fmla="*/ 2147483647 w 8931"/>
                <a:gd name="T13" fmla="*/ 2147483647 h 4504"/>
                <a:gd name="T14" fmla="*/ 2147483647 w 8931"/>
                <a:gd name="T15" fmla="*/ 2147483647 h 4504"/>
                <a:gd name="T16" fmla="*/ 2147483647 w 8931"/>
                <a:gd name="T17" fmla="*/ 2147483647 h 4504"/>
                <a:gd name="T18" fmla="*/ 2147483647 w 8931"/>
                <a:gd name="T19" fmla="*/ 2147483647 h 4504"/>
                <a:gd name="T20" fmla="*/ 2147483647 w 8931"/>
                <a:gd name="T21" fmla="*/ 2147483647 h 4504"/>
                <a:gd name="T22" fmla="*/ 2147483647 w 8931"/>
                <a:gd name="T23" fmla="*/ 2147483647 h 4504"/>
                <a:gd name="T24" fmla="*/ 2147483647 w 8931"/>
                <a:gd name="T25" fmla="*/ 2147483647 h 4504"/>
                <a:gd name="T26" fmla="*/ 2147483647 w 8931"/>
                <a:gd name="T27" fmla="*/ 2147483647 h 4504"/>
                <a:gd name="T28" fmla="*/ 2147483647 w 8931"/>
                <a:gd name="T29" fmla="*/ 2147483647 h 4504"/>
                <a:gd name="T30" fmla="*/ 2147483647 w 8931"/>
                <a:gd name="T31" fmla="*/ 2147483647 h 4504"/>
                <a:gd name="T32" fmla="*/ 2147483647 w 8931"/>
                <a:gd name="T33" fmla="*/ 2147483647 h 4504"/>
                <a:gd name="T34" fmla="*/ 2147483647 w 8931"/>
                <a:gd name="T35" fmla="*/ 2147483647 h 4504"/>
                <a:gd name="T36" fmla="*/ 2147483647 w 8931"/>
                <a:gd name="T37" fmla="*/ 2147483647 h 4504"/>
                <a:gd name="T38" fmla="*/ 2147483647 w 8931"/>
                <a:gd name="T39" fmla="*/ 2147483647 h 4504"/>
                <a:gd name="T40" fmla="*/ 2147483647 w 8931"/>
                <a:gd name="T41" fmla="*/ 2147483647 h 4504"/>
                <a:gd name="T42" fmla="*/ 2147483647 w 8931"/>
                <a:gd name="T43" fmla="*/ 2147483647 h 4504"/>
                <a:gd name="T44" fmla="*/ 2147483647 w 8931"/>
                <a:gd name="T45" fmla="*/ 2147483647 h 4504"/>
                <a:gd name="T46" fmla="*/ 2147483647 w 8931"/>
                <a:gd name="T47" fmla="*/ 2147483647 h 4504"/>
                <a:gd name="T48" fmla="*/ 2147483647 w 8931"/>
                <a:gd name="T49" fmla="*/ 2147483647 h 4504"/>
                <a:gd name="T50" fmla="*/ 2147483647 w 8931"/>
                <a:gd name="T51" fmla="*/ 2147483647 h 4504"/>
                <a:gd name="T52" fmla="*/ 2147483647 w 8931"/>
                <a:gd name="T53" fmla="*/ 2147483647 h 4504"/>
                <a:gd name="T54" fmla="*/ 2147483647 w 8931"/>
                <a:gd name="T55" fmla="*/ 2147483647 h 4504"/>
                <a:gd name="T56" fmla="*/ 2147483647 w 8931"/>
                <a:gd name="T57" fmla="*/ 2147483647 h 4504"/>
                <a:gd name="T58" fmla="*/ 2147483647 w 8931"/>
                <a:gd name="T59" fmla="*/ 2147483647 h 4504"/>
                <a:gd name="T60" fmla="*/ 2147483647 w 8931"/>
                <a:gd name="T61" fmla="*/ 2147483647 h 4504"/>
                <a:gd name="T62" fmla="*/ 2147483647 w 8931"/>
                <a:gd name="T63" fmla="*/ 0 h 4504"/>
                <a:gd name="T64" fmla="*/ 2147483647 w 8931"/>
                <a:gd name="T65" fmla="*/ 0 h 4504"/>
                <a:gd name="T66" fmla="*/ 2147483647 w 8931"/>
                <a:gd name="T67" fmla="*/ 2147483647 h 4504"/>
                <a:gd name="T68" fmla="*/ 2147483647 w 8931"/>
                <a:gd name="T69" fmla="*/ 2147483647 h 4504"/>
                <a:gd name="T70" fmla="*/ 2147483647 w 8931"/>
                <a:gd name="T71" fmla="*/ 2147483647 h 4504"/>
                <a:gd name="T72" fmla="*/ 2147483647 w 8931"/>
                <a:gd name="T73" fmla="*/ 2147483647 h 4504"/>
                <a:gd name="T74" fmla="*/ 2147483647 w 8931"/>
                <a:gd name="T75" fmla="*/ 2147483647 h 4504"/>
                <a:gd name="T76" fmla="*/ 2147483647 w 8931"/>
                <a:gd name="T77" fmla="*/ 2147483647 h 4504"/>
                <a:gd name="T78" fmla="*/ 2147483647 w 8931"/>
                <a:gd name="T79" fmla="*/ 2147483647 h 4504"/>
                <a:gd name="T80" fmla="*/ 2147483647 w 8931"/>
                <a:gd name="T81" fmla="*/ 2147483647 h 4504"/>
                <a:gd name="T82" fmla="*/ 2147483647 w 8931"/>
                <a:gd name="T83" fmla="*/ 2147483647 h 4504"/>
                <a:gd name="T84" fmla="*/ 2147483647 w 8931"/>
                <a:gd name="T85" fmla="*/ 2147483647 h 4504"/>
                <a:gd name="T86" fmla="*/ 2147483647 w 8931"/>
                <a:gd name="T87" fmla="*/ 2147483647 h 4504"/>
                <a:gd name="T88" fmla="*/ 2147483647 w 8931"/>
                <a:gd name="T89" fmla="*/ 2147483647 h 4504"/>
                <a:gd name="T90" fmla="*/ 2147483647 w 8931"/>
                <a:gd name="T91" fmla="*/ 2147483647 h 4504"/>
                <a:gd name="T92" fmla="*/ 2147483647 w 8931"/>
                <a:gd name="T93" fmla="*/ 2147483647 h 4504"/>
                <a:gd name="T94" fmla="*/ 2147483647 w 8931"/>
                <a:gd name="T95" fmla="*/ 2147483647 h 4504"/>
                <a:gd name="T96" fmla="*/ 0 w 8931"/>
                <a:gd name="T97" fmla="*/ 2147483647 h 4504"/>
                <a:gd name="T98" fmla="*/ 2147483647 w 8931"/>
                <a:gd name="T99" fmla="*/ 2147483647 h 4504"/>
                <a:gd name="T100" fmla="*/ 0 w 8931"/>
                <a:gd name="T101" fmla="*/ 2147483647 h 4504"/>
                <a:gd name="T102" fmla="*/ 0 w 8931"/>
                <a:gd name="T103" fmla="*/ 2147483647 h 4504"/>
                <a:gd name="T104" fmla="*/ 0 w 8931"/>
                <a:gd name="T105" fmla="*/ 2147483647 h 4504"/>
                <a:gd name="T106" fmla="*/ 0 w 8931"/>
                <a:gd name="T107" fmla="*/ 2147483647 h 4504"/>
                <a:gd name="T108" fmla="*/ 2147483647 w 8931"/>
                <a:gd name="T109" fmla="*/ 2147483647 h 4504"/>
                <a:gd name="T110" fmla="*/ 2147483647 w 8931"/>
                <a:gd name="T111" fmla="*/ 2147483647 h 4504"/>
                <a:gd name="T112" fmla="*/ 2147483647 w 8931"/>
                <a:gd name="T113" fmla="*/ 2147483647 h 4504"/>
                <a:gd name="T114" fmla="*/ 2147483647 w 8931"/>
                <a:gd name="T115" fmla="*/ 2147483647 h 4504"/>
                <a:gd name="T116" fmla="*/ 2147483647 w 8931"/>
                <a:gd name="T117" fmla="*/ 2147483647 h 4504"/>
                <a:gd name="T118" fmla="*/ 2147483647 w 8931"/>
                <a:gd name="T119" fmla="*/ 2147483647 h 4504"/>
                <a:gd name="T120" fmla="*/ 2147483647 w 8931"/>
                <a:gd name="T121" fmla="*/ 2147483647 h 4504"/>
                <a:gd name="T122" fmla="*/ 2147483647 w 8931"/>
                <a:gd name="T123" fmla="*/ 2147483647 h 4504"/>
                <a:gd name="T124" fmla="*/ 2147483647 w 8931"/>
                <a:gd name="T125" fmla="*/ 2147483647 h 45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8931"/>
                <a:gd name="T190" fmla="*/ 0 h 4504"/>
                <a:gd name="T191" fmla="*/ 8931 w 8931"/>
                <a:gd name="T192" fmla="*/ 4504 h 450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8931" h="4504">
                  <a:moveTo>
                    <a:pt x="2688" y="3454"/>
                  </a:moveTo>
                  <a:lnTo>
                    <a:pt x="2691" y="3461"/>
                  </a:lnTo>
                  <a:lnTo>
                    <a:pt x="2695" y="3463"/>
                  </a:lnTo>
                  <a:lnTo>
                    <a:pt x="2768" y="3530"/>
                  </a:lnTo>
                  <a:lnTo>
                    <a:pt x="2887" y="3748"/>
                  </a:lnTo>
                  <a:lnTo>
                    <a:pt x="2902" y="3737"/>
                  </a:lnTo>
                  <a:lnTo>
                    <a:pt x="2904" y="3730"/>
                  </a:lnTo>
                  <a:lnTo>
                    <a:pt x="2904" y="3723"/>
                  </a:lnTo>
                  <a:lnTo>
                    <a:pt x="2915" y="3709"/>
                  </a:lnTo>
                  <a:lnTo>
                    <a:pt x="2923" y="3708"/>
                  </a:lnTo>
                  <a:lnTo>
                    <a:pt x="2928" y="3714"/>
                  </a:lnTo>
                  <a:lnTo>
                    <a:pt x="2936" y="3717"/>
                  </a:lnTo>
                  <a:lnTo>
                    <a:pt x="2950" y="3725"/>
                  </a:lnTo>
                  <a:lnTo>
                    <a:pt x="2946" y="3732"/>
                  </a:lnTo>
                  <a:lnTo>
                    <a:pt x="2951" y="3739"/>
                  </a:lnTo>
                  <a:lnTo>
                    <a:pt x="2956" y="3740"/>
                  </a:lnTo>
                  <a:lnTo>
                    <a:pt x="2961" y="3753"/>
                  </a:lnTo>
                  <a:lnTo>
                    <a:pt x="2985" y="3751"/>
                  </a:lnTo>
                  <a:lnTo>
                    <a:pt x="3003" y="3756"/>
                  </a:lnTo>
                  <a:lnTo>
                    <a:pt x="3010" y="3753"/>
                  </a:lnTo>
                  <a:lnTo>
                    <a:pt x="3026" y="3753"/>
                  </a:lnTo>
                  <a:lnTo>
                    <a:pt x="3028" y="3746"/>
                  </a:lnTo>
                  <a:lnTo>
                    <a:pt x="3033" y="3740"/>
                  </a:lnTo>
                  <a:lnTo>
                    <a:pt x="3042" y="3741"/>
                  </a:lnTo>
                  <a:lnTo>
                    <a:pt x="3049" y="3741"/>
                  </a:lnTo>
                  <a:lnTo>
                    <a:pt x="3053" y="3734"/>
                  </a:lnTo>
                  <a:lnTo>
                    <a:pt x="3060" y="3729"/>
                  </a:lnTo>
                  <a:lnTo>
                    <a:pt x="3075" y="3734"/>
                  </a:lnTo>
                  <a:lnTo>
                    <a:pt x="3082" y="3737"/>
                  </a:lnTo>
                  <a:lnTo>
                    <a:pt x="3086" y="3745"/>
                  </a:lnTo>
                  <a:lnTo>
                    <a:pt x="3093" y="3748"/>
                  </a:lnTo>
                  <a:lnTo>
                    <a:pt x="3103" y="3761"/>
                  </a:lnTo>
                  <a:lnTo>
                    <a:pt x="3112" y="3764"/>
                  </a:lnTo>
                  <a:lnTo>
                    <a:pt x="3114" y="3772"/>
                  </a:lnTo>
                  <a:lnTo>
                    <a:pt x="3112" y="3779"/>
                  </a:lnTo>
                  <a:lnTo>
                    <a:pt x="3113" y="3788"/>
                  </a:lnTo>
                  <a:lnTo>
                    <a:pt x="3117" y="3795"/>
                  </a:lnTo>
                  <a:lnTo>
                    <a:pt x="3125" y="3796"/>
                  </a:lnTo>
                  <a:lnTo>
                    <a:pt x="3146" y="3807"/>
                  </a:lnTo>
                  <a:lnTo>
                    <a:pt x="3150" y="3815"/>
                  </a:lnTo>
                  <a:lnTo>
                    <a:pt x="3150" y="3822"/>
                  </a:lnTo>
                  <a:lnTo>
                    <a:pt x="3157" y="3826"/>
                  </a:lnTo>
                  <a:lnTo>
                    <a:pt x="3162" y="3831"/>
                  </a:lnTo>
                  <a:lnTo>
                    <a:pt x="3170" y="3845"/>
                  </a:lnTo>
                  <a:lnTo>
                    <a:pt x="3176" y="3849"/>
                  </a:lnTo>
                  <a:lnTo>
                    <a:pt x="3193" y="3852"/>
                  </a:lnTo>
                  <a:lnTo>
                    <a:pt x="3199" y="3857"/>
                  </a:lnTo>
                  <a:lnTo>
                    <a:pt x="3208" y="3859"/>
                  </a:lnTo>
                  <a:lnTo>
                    <a:pt x="3215" y="3860"/>
                  </a:lnTo>
                  <a:lnTo>
                    <a:pt x="3224" y="3860"/>
                  </a:lnTo>
                  <a:lnTo>
                    <a:pt x="3226" y="3853"/>
                  </a:lnTo>
                  <a:lnTo>
                    <a:pt x="3231" y="3847"/>
                  </a:lnTo>
                  <a:lnTo>
                    <a:pt x="3246" y="3841"/>
                  </a:lnTo>
                  <a:lnTo>
                    <a:pt x="3248" y="3849"/>
                  </a:lnTo>
                  <a:lnTo>
                    <a:pt x="3252" y="3857"/>
                  </a:lnTo>
                  <a:lnTo>
                    <a:pt x="3259" y="3861"/>
                  </a:lnTo>
                  <a:lnTo>
                    <a:pt x="3267" y="3875"/>
                  </a:lnTo>
                  <a:lnTo>
                    <a:pt x="3273" y="3880"/>
                  </a:lnTo>
                  <a:lnTo>
                    <a:pt x="3277" y="3887"/>
                  </a:lnTo>
                  <a:lnTo>
                    <a:pt x="3264" y="3913"/>
                  </a:lnTo>
                  <a:lnTo>
                    <a:pt x="3289" y="3920"/>
                  </a:lnTo>
                  <a:lnTo>
                    <a:pt x="3305" y="3904"/>
                  </a:lnTo>
                  <a:lnTo>
                    <a:pt x="3310" y="3904"/>
                  </a:lnTo>
                  <a:lnTo>
                    <a:pt x="3322" y="3882"/>
                  </a:lnTo>
                  <a:lnTo>
                    <a:pt x="3338" y="3865"/>
                  </a:lnTo>
                  <a:lnTo>
                    <a:pt x="3356" y="3858"/>
                  </a:lnTo>
                  <a:lnTo>
                    <a:pt x="3375" y="3852"/>
                  </a:lnTo>
                  <a:lnTo>
                    <a:pt x="3394" y="3839"/>
                  </a:lnTo>
                  <a:lnTo>
                    <a:pt x="3414" y="3823"/>
                  </a:lnTo>
                  <a:lnTo>
                    <a:pt x="3439" y="3811"/>
                  </a:lnTo>
                  <a:lnTo>
                    <a:pt x="3464" y="3789"/>
                  </a:lnTo>
                  <a:lnTo>
                    <a:pt x="3505" y="3777"/>
                  </a:lnTo>
                  <a:lnTo>
                    <a:pt x="3530" y="3766"/>
                  </a:lnTo>
                  <a:lnTo>
                    <a:pt x="3553" y="3763"/>
                  </a:lnTo>
                  <a:lnTo>
                    <a:pt x="3575" y="3767"/>
                  </a:lnTo>
                  <a:lnTo>
                    <a:pt x="3591" y="3773"/>
                  </a:lnTo>
                  <a:lnTo>
                    <a:pt x="3604" y="3784"/>
                  </a:lnTo>
                  <a:lnTo>
                    <a:pt x="3623" y="3780"/>
                  </a:lnTo>
                  <a:lnTo>
                    <a:pt x="3644" y="3779"/>
                  </a:lnTo>
                  <a:lnTo>
                    <a:pt x="3661" y="3782"/>
                  </a:lnTo>
                  <a:lnTo>
                    <a:pt x="3692" y="3811"/>
                  </a:lnTo>
                  <a:lnTo>
                    <a:pt x="3697" y="3818"/>
                  </a:lnTo>
                  <a:lnTo>
                    <a:pt x="3714" y="3821"/>
                  </a:lnTo>
                  <a:lnTo>
                    <a:pt x="3761" y="3814"/>
                  </a:lnTo>
                  <a:lnTo>
                    <a:pt x="3774" y="3820"/>
                  </a:lnTo>
                  <a:lnTo>
                    <a:pt x="3818" y="3821"/>
                  </a:lnTo>
                  <a:lnTo>
                    <a:pt x="3856" y="3816"/>
                  </a:lnTo>
                  <a:lnTo>
                    <a:pt x="3866" y="3811"/>
                  </a:lnTo>
                  <a:lnTo>
                    <a:pt x="3866" y="3803"/>
                  </a:lnTo>
                  <a:lnTo>
                    <a:pt x="3862" y="3791"/>
                  </a:lnTo>
                  <a:lnTo>
                    <a:pt x="3865" y="3777"/>
                  </a:lnTo>
                  <a:lnTo>
                    <a:pt x="3875" y="3761"/>
                  </a:lnTo>
                  <a:lnTo>
                    <a:pt x="3875" y="3745"/>
                  </a:lnTo>
                  <a:lnTo>
                    <a:pt x="3864" y="3730"/>
                  </a:lnTo>
                  <a:lnTo>
                    <a:pt x="3860" y="3712"/>
                  </a:lnTo>
                  <a:lnTo>
                    <a:pt x="3862" y="3694"/>
                  </a:lnTo>
                  <a:lnTo>
                    <a:pt x="3878" y="3680"/>
                  </a:lnTo>
                  <a:lnTo>
                    <a:pt x="3892" y="3664"/>
                  </a:lnTo>
                  <a:lnTo>
                    <a:pt x="3910" y="3649"/>
                  </a:lnTo>
                  <a:lnTo>
                    <a:pt x="3921" y="3632"/>
                  </a:lnTo>
                  <a:lnTo>
                    <a:pt x="3935" y="3631"/>
                  </a:lnTo>
                  <a:lnTo>
                    <a:pt x="3955" y="3637"/>
                  </a:lnTo>
                  <a:lnTo>
                    <a:pt x="3969" y="3648"/>
                  </a:lnTo>
                  <a:lnTo>
                    <a:pt x="4006" y="3658"/>
                  </a:lnTo>
                  <a:lnTo>
                    <a:pt x="4017" y="3672"/>
                  </a:lnTo>
                  <a:lnTo>
                    <a:pt x="4041" y="3678"/>
                  </a:lnTo>
                  <a:lnTo>
                    <a:pt x="4065" y="3681"/>
                  </a:lnTo>
                  <a:lnTo>
                    <a:pt x="4082" y="3688"/>
                  </a:lnTo>
                  <a:lnTo>
                    <a:pt x="4092" y="3704"/>
                  </a:lnTo>
                  <a:lnTo>
                    <a:pt x="4097" y="3734"/>
                  </a:lnTo>
                  <a:lnTo>
                    <a:pt x="4097" y="3755"/>
                  </a:lnTo>
                  <a:lnTo>
                    <a:pt x="4102" y="3755"/>
                  </a:lnTo>
                  <a:lnTo>
                    <a:pt x="4117" y="3769"/>
                  </a:lnTo>
                  <a:lnTo>
                    <a:pt x="4140" y="3785"/>
                  </a:lnTo>
                  <a:lnTo>
                    <a:pt x="4174" y="3796"/>
                  </a:lnTo>
                  <a:lnTo>
                    <a:pt x="4202" y="3790"/>
                  </a:lnTo>
                  <a:lnTo>
                    <a:pt x="4229" y="3775"/>
                  </a:lnTo>
                  <a:lnTo>
                    <a:pt x="4254" y="3763"/>
                  </a:lnTo>
                  <a:lnTo>
                    <a:pt x="4285" y="3771"/>
                  </a:lnTo>
                  <a:lnTo>
                    <a:pt x="4333" y="3788"/>
                  </a:lnTo>
                  <a:lnTo>
                    <a:pt x="4343" y="3800"/>
                  </a:lnTo>
                  <a:lnTo>
                    <a:pt x="4344" y="3800"/>
                  </a:lnTo>
                  <a:lnTo>
                    <a:pt x="4350" y="3805"/>
                  </a:lnTo>
                  <a:lnTo>
                    <a:pt x="4372" y="3817"/>
                  </a:lnTo>
                  <a:lnTo>
                    <a:pt x="4393" y="3823"/>
                  </a:lnTo>
                  <a:lnTo>
                    <a:pt x="4414" y="3832"/>
                  </a:lnTo>
                  <a:lnTo>
                    <a:pt x="4428" y="3852"/>
                  </a:lnTo>
                  <a:lnTo>
                    <a:pt x="4455" y="3868"/>
                  </a:lnTo>
                  <a:lnTo>
                    <a:pt x="4487" y="3873"/>
                  </a:lnTo>
                  <a:lnTo>
                    <a:pt x="4510" y="3880"/>
                  </a:lnTo>
                  <a:lnTo>
                    <a:pt x="4528" y="3881"/>
                  </a:lnTo>
                  <a:lnTo>
                    <a:pt x="4553" y="3879"/>
                  </a:lnTo>
                  <a:lnTo>
                    <a:pt x="4571" y="3887"/>
                  </a:lnTo>
                  <a:lnTo>
                    <a:pt x="4627" y="3868"/>
                  </a:lnTo>
                  <a:lnTo>
                    <a:pt x="4661" y="3860"/>
                  </a:lnTo>
                  <a:lnTo>
                    <a:pt x="4688" y="3855"/>
                  </a:lnTo>
                  <a:lnTo>
                    <a:pt x="4725" y="3826"/>
                  </a:lnTo>
                  <a:lnTo>
                    <a:pt x="4749" y="3810"/>
                  </a:lnTo>
                  <a:lnTo>
                    <a:pt x="4774" y="3801"/>
                  </a:lnTo>
                  <a:lnTo>
                    <a:pt x="4799" y="3811"/>
                  </a:lnTo>
                  <a:lnTo>
                    <a:pt x="4817" y="3826"/>
                  </a:lnTo>
                  <a:lnTo>
                    <a:pt x="4838" y="3830"/>
                  </a:lnTo>
                  <a:lnTo>
                    <a:pt x="4855" y="3826"/>
                  </a:lnTo>
                  <a:lnTo>
                    <a:pt x="4869" y="3818"/>
                  </a:lnTo>
                  <a:lnTo>
                    <a:pt x="4875" y="3821"/>
                  </a:lnTo>
                  <a:lnTo>
                    <a:pt x="4886" y="3823"/>
                  </a:lnTo>
                  <a:lnTo>
                    <a:pt x="4899" y="3833"/>
                  </a:lnTo>
                  <a:lnTo>
                    <a:pt x="4931" y="3843"/>
                  </a:lnTo>
                  <a:lnTo>
                    <a:pt x="4956" y="3855"/>
                  </a:lnTo>
                  <a:lnTo>
                    <a:pt x="4967" y="3853"/>
                  </a:lnTo>
                  <a:lnTo>
                    <a:pt x="4982" y="3842"/>
                  </a:lnTo>
                  <a:lnTo>
                    <a:pt x="5032" y="3811"/>
                  </a:lnTo>
                  <a:lnTo>
                    <a:pt x="5033" y="3804"/>
                  </a:lnTo>
                  <a:lnTo>
                    <a:pt x="5031" y="3791"/>
                  </a:lnTo>
                  <a:lnTo>
                    <a:pt x="5034" y="3779"/>
                  </a:lnTo>
                  <a:lnTo>
                    <a:pt x="5045" y="3766"/>
                  </a:lnTo>
                  <a:lnTo>
                    <a:pt x="5052" y="3755"/>
                  </a:lnTo>
                  <a:lnTo>
                    <a:pt x="5059" y="3725"/>
                  </a:lnTo>
                  <a:lnTo>
                    <a:pt x="5064" y="3703"/>
                  </a:lnTo>
                  <a:lnTo>
                    <a:pt x="5071" y="3686"/>
                  </a:lnTo>
                  <a:lnTo>
                    <a:pt x="5090" y="3676"/>
                  </a:lnTo>
                  <a:lnTo>
                    <a:pt x="5114" y="3649"/>
                  </a:lnTo>
                  <a:lnTo>
                    <a:pt x="5114" y="3644"/>
                  </a:lnTo>
                  <a:lnTo>
                    <a:pt x="5109" y="3633"/>
                  </a:lnTo>
                  <a:lnTo>
                    <a:pt x="5111" y="3606"/>
                  </a:lnTo>
                  <a:lnTo>
                    <a:pt x="5104" y="3602"/>
                  </a:lnTo>
                  <a:lnTo>
                    <a:pt x="5093" y="3602"/>
                  </a:lnTo>
                  <a:lnTo>
                    <a:pt x="5075" y="3607"/>
                  </a:lnTo>
                  <a:lnTo>
                    <a:pt x="5071" y="3602"/>
                  </a:lnTo>
                  <a:lnTo>
                    <a:pt x="5076" y="3589"/>
                  </a:lnTo>
                  <a:lnTo>
                    <a:pt x="5100" y="3565"/>
                  </a:lnTo>
                  <a:lnTo>
                    <a:pt x="5108" y="3553"/>
                  </a:lnTo>
                  <a:lnTo>
                    <a:pt x="5124" y="3541"/>
                  </a:lnTo>
                  <a:lnTo>
                    <a:pt x="5158" y="3535"/>
                  </a:lnTo>
                  <a:lnTo>
                    <a:pt x="5199" y="3520"/>
                  </a:lnTo>
                  <a:lnTo>
                    <a:pt x="5224" y="3521"/>
                  </a:lnTo>
                  <a:lnTo>
                    <a:pt x="5259" y="3515"/>
                  </a:lnTo>
                  <a:lnTo>
                    <a:pt x="5271" y="3515"/>
                  </a:lnTo>
                  <a:lnTo>
                    <a:pt x="5290" y="3524"/>
                  </a:lnTo>
                  <a:lnTo>
                    <a:pt x="5307" y="3536"/>
                  </a:lnTo>
                  <a:lnTo>
                    <a:pt x="5318" y="3548"/>
                  </a:lnTo>
                  <a:lnTo>
                    <a:pt x="5334" y="3552"/>
                  </a:lnTo>
                  <a:lnTo>
                    <a:pt x="5353" y="3549"/>
                  </a:lnTo>
                  <a:lnTo>
                    <a:pt x="5369" y="3553"/>
                  </a:lnTo>
                  <a:lnTo>
                    <a:pt x="5383" y="3559"/>
                  </a:lnTo>
                  <a:lnTo>
                    <a:pt x="5391" y="3573"/>
                  </a:lnTo>
                  <a:lnTo>
                    <a:pt x="5403" y="3591"/>
                  </a:lnTo>
                  <a:lnTo>
                    <a:pt x="5404" y="3604"/>
                  </a:lnTo>
                  <a:lnTo>
                    <a:pt x="5412" y="3611"/>
                  </a:lnTo>
                  <a:lnTo>
                    <a:pt x="5421" y="3617"/>
                  </a:lnTo>
                  <a:lnTo>
                    <a:pt x="5423" y="3626"/>
                  </a:lnTo>
                  <a:lnTo>
                    <a:pt x="5424" y="3621"/>
                  </a:lnTo>
                  <a:lnTo>
                    <a:pt x="5426" y="3634"/>
                  </a:lnTo>
                  <a:lnTo>
                    <a:pt x="5431" y="3649"/>
                  </a:lnTo>
                  <a:lnTo>
                    <a:pt x="5434" y="3670"/>
                  </a:lnTo>
                  <a:lnTo>
                    <a:pt x="5442" y="3687"/>
                  </a:lnTo>
                  <a:lnTo>
                    <a:pt x="5447" y="3704"/>
                  </a:lnTo>
                  <a:lnTo>
                    <a:pt x="5468" y="3744"/>
                  </a:lnTo>
                  <a:lnTo>
                    <a:pt x="5474" y="3785"/>
                  </a:lnTo>
                  <a:lnTo>
                    <a:pt x="5483" y="3804"/>
                  </a:lnTo>
                  <a:lnTo>
                    <a:pt x="5482" y="3809"/>
                  </a:lnTo>
                  <a:lnTo>
                    <a:pt x="5483" y="3810"/>
                  </a:lnTo>
                  <a:lnTo>
                    <a:pt x="5485" y="3828"/>
                  </a:lnTo>
                  <a:lnTo>
                    <a:pt x="5485" y="3849"/>
                  </a:lnTo>
                  <a:lnTo>
                    <a:pt x="5498" y="3860"/>
                  </a:lnTo>
                  <a:lnTo>
                    <a:pt x="5521" y="3863"/>
                  </a:lnTo>
                  <a:lnTo>
                    <a:pt x="5542" y="3855"/>
                  </a:lnTo>
                  <a:lnTo>
                    <a:pt x="5558" y="3863"/>
                  </a:lnTo>
                  <a:lnTo>
                    <a:pt x="5577" y="3865"/>
                  </a:lnTo>
                  <a:lnTo>
                    <a:pt x="5595" y="3874"/>
                  </a:lnTo>
                  <a:lnTo>
                    <a:pt x="5627" y="3902"/>
                  </a:lnTo>
                  <a:lnTo>
                    <a:pt x="5642" y="3909"/>
                  </a:lnTo>
                  <a:lnTo>
                    <a:pt x="5654" y="3911"/>
                  </a:lnTo>
                  <a:lnTo>
                    <a:pt x="5658" y="3918"/>
                  </a:lnTo>
                  <a:lnTo>
                    <a:pt x="5658" y="3923"/>
                  </a:lnTo>
                  <a:lnTo>
                    <a:pt x="5660" y="3922"/>
                  </a:lnTo>
                  <a:lnTo>
                    <a:pt x="5661" y="3938"/>
                  </a:lnTo>
                  <a:lnTo>
                    <a:pt x="5668" y="3947"/>
                  </a:lnTo>
                  <a:lnTo>
                    <a:pt x="5667" y="3963"/>
                  </a:lnTo>
                  <a:lnTo>
                    <a:pt x="5668" y="3981"/>
                  </a:lnTo>
                  <a:lnTo>
                    <a:pt x="5678" y="3997"/>
                  </a:lnTo>
                  <a:lnTo>
                    <a:pt x="5684" y="4010"/>
                  </a:lnTo>
                  <a:lnTo>
                    <a:pt x="5703" y="4009"/>
                  </a:lnTo>
                  <a:lnTo>
                    <a:pt x="5722" y="4015"/>
                  </a:lnTo>
                  <a:lnTo>
                    <a:pt x="5740" y="4013"/>
                  </a:lnTo>
                  <a:lnTo>
                    <a:pt x="5771" y="3998"/>
                  </a:lnTo>
                  <a:lnTo>
                    <a:pt x="5805" y="3976"/>
                  </a:lnTo>
                  <a:lnTo>
                    <a:pt x="5823" y="3974"/>
                  </a:lnTo>
                  <a:lnTo>
                    <a:pt x="5856" y="3956"/>
                  </a:lnTo>
                  <a:lnTo>
                    <a:pt x="5888" y="3947"/>
                  </a:lnTo>
                  <a:lnTo>
                    <a:pt x="5889" y="3950"/>
                  </a:lnTo>
                  <a:lnTo>
                    <a:pt x="5881" y="3963"/>
                  </a:lnTo>
                  <a:lnTo>
                    <a:pt x="5881" y="3983"/>
                  </a:lnTo>
                  <a:lnTo>
                    <a:pt x="5886" y="3999"/>
                  </a:lnTo>
                  <a:lnTo>
                    <a:pt x="5883" y="4019"/>
                  </a:lnTo>
                  <a:lnTo>
                    <a:pt x="5871" y="4029"/>
                  </a:lnTo>
                  <a:lnTo>
                    <a:pt x="5857" y="4042"/>
                  </a:lnTo>
                  <a:lnTo>
                    <a:pt x="5855" y="4063"/>
                  </a:lnTo>
                  <a:lnTo>
                    <a:pt x="5841" y="4096"/>
                  </a:lnTo>
                  <a:lnTo>
                    <a:pt x="5833" y="4138"/>
                  </a:lnTo>
                  <a:lnTo>
                    <a:pt x="5814" y="4176"/>
                  </a:lnTo>
                  <a:lnTo>
                    <a:pt x="5801" y="4194"/>
                  </a:lnTo>
                  <a:lnTo>
                    <a:pt x="5796" y="4214"/>
                  </a:lnTo>
                  <a:lnTo>
                    <a:pt x="5784" y="4224"/>
                  </a:lnTo>
                  <a:lnTo>
                    <a:pt x="5779" y="4220"/>
                  </a:lnTo>
                  <a:lnTo>
                    <a:pt x="5728" y="4208"/>
                  </a:lnTo>
                  <a:lnTo>
                    <a:pt x="5715" y="4215"/>
                  </a:lnTo>
                  <a:lnTo>
                    <a:pt x="5679" y="4250"/>
                  </a:lnTo>
                  <a:lnTo>
                    <a:pt x="5687" y="4263"/>
                  </a:lnTo>
                  <a:lnTo>
                    <a:pt x="5693" y="4290"/>
                  </a:lnTo>
                  <a:lnTo>
                    <a:pt x="5693" y="4349"/>
                  </a:lnTo>
                  <a:lnTo>
                    <a:pt x="5677" y="4374"/>
                  </a:lnTo>
                  <a:lnTo>
                    <a:pt x="5657" y="4391"/>
                  </a:lnTo>
                  <a:lnTo>
                    <a:pt x="5657" y="4409"/>
                  </a:lnTo>
                  <a:lnTo>
                    <a:pt x="5657" y="4415"/>
                  </a:lnTo>
                  <a:lnTo>
                    <a:pt x="5661" y="4423"/>
                  </a:lnTo>
                  <a:lnTo>
                    <a:pt x="5669" y="4419"/>
                  </a:lnTo>
                  <a:lnTo>
                    <a:pt x="5667" y="4412"/>
                  </a:lnTo>
                  <a:lnTo>
                    <a:pt x="5665" y="4407"/>
                  </a:lnTo>
                  <a:lnTo>
                    <a:pt x="5673" y="4404"/>
                  </a:lnTo>
                  <a:lnTo>
                    <a:pt x="5693" y="4406"/>
                  </a:lnTo>
                  <a:lnTo>
                    <a:pt x="5699" y="4396"/>
                  </a:lnTo>
                  <a:lnTo>
                    <a:pt x="5705" y="4390"/>
                  </a:lnTo>
                  <a:lnTo>
                    <a:pt x="5709" y="4382"/>
                  </a:lnTo>
                  <a:lnTo>
                    <a:pt x="5721" y="4369"/>
                  </a:lnTo>
                  <a:lnTo>
                    <a:pt x="5728" y="4345"/>
                  </a:lnTo>
                  <a:lnTo>
                    <a:pt x="5730" y="4354"/>
                  </a:lnTo>
                  <a:lnTo>
                    <a:pt x="5737" y="4355"/>
                  </a:lnTo>
                  <a:lnTo>
                    <a:pt x="5732" y="4365"/>
                  </a:lnTo>
                  <a:lnTo>
                    <a:pt x="5736" y="4370"/>
                  </a:lnTo>
                  <a:lnTo>
                    <a:pt x="5748" y="4361"/>
                  </a:lnTo>
                  <a:lnTo>
                    <a:pt x="5754" y="4359"/>
                  </a:lnTo>
                  <a:lnTo>
                    <a:pt x="5754" y="4366"/>
                  </a:lnTo>
                  <a:lnTo>
                    <a:pt x="5753" y="4374"/>
                  </a:lnTo>
                  <a:lnTo>
                    <a:pt x="5753" y="4385"/>
                  </a:lnTo>
                  <a:lnTo>
                    <a:pt x="5755" y="4387"/>
                  </a:lnTo>
                  <a:lnTo>
                    <a:pt x="5764" y="4387"/>
                  </a:lnTo>
                  <a:lnTo>
                    <a:pt x="5774" y="4390"/>
                  </a:lnTo>
                  <a:lnTo>
                    <a:pt x="5784" y="4396"/>
                  </a:lnTo>
                  <a:lnTo>
                    <a:pt x="5787" y="4395"/>
                  </a:lnTo>
                  <a:lnTo>
                    <a:pt x="5794" y="4398"/>
                  </a:lnTo>
                  <a:lnTo>
                    <a:pt x="5806" y="4401"/>
                  </a:lnTo>
                  <a:lnTo>
                    <a:pt x="5828" y="4393"/>
                  </a:lnTo>
                  <a:lnTo>
                    <a:pt x="5835" y="4393"/>
                  </a:lnTo>
                  <a:lnTo>
                    <a:pt x="5846" y="4387"/>
                  </a:lnTo>
                  <a:lnTo>
                    <a:pt x="5860" y="4376"/>
                  </a:lnTo>
                  <a:lnTo>
                    <a:pt x="5903" y="4347"/>
                  </a:lnTo>
                  <a:lnTo>
                    <a:pt x="5916" y="4332"/>
                  </a:lnTo>
                  <a:lnTo>
                    <a:pt x="5925" y="4318"/>
                  </a:lnTo>
                  <a:lnTo>
                    <a:pt x="5939" y="4299"/>
                  </a:lnTo>
                  <a:lnTo>
                    <a:pt x="5940" y="4290"/>
                  </a:lnTo>
                  <a:lnTo>
                    <a:pt x="5947" y="4279"/>
                  </a:lnTo>
                  <a:lnTo>
                    <a:pt x="5957" y="4269"/>
                  </a:lnTo>
                  <a:lnTo>
                    <a:pt x="5968" y="4263"/>
                  </a:lnTo>
                  <a:lnTo>
                    <a:pt x="5982" y="4240"/>
                  </a:lnTo>
                  <a:lnTo>
                    <a:pt x="5989" y="4232"/>
                  </a:lnTo>
                  <a:lnTo>
                    <a:pt x="6000" y="4215"/>
                  </a:lnTo>
                  <a:lnTo>
                    <a:pt x="6050" y="4161"/>
                  </a:lnTo>
                  <a:lnTo>
                    <a:pt x="6055" y="4148"/>
                  </a:lnTo>
                  <a:lnTo>
                    <a:pt x="6066" y="4138"/>
                  </a:lnTo>
                  <a:lnTo>
                    <a:pt x="6069" y="4134"/>
                  </a:lnTo>
                  <a:lnTo>
                    <a:pt x="6083" y="4106"/>
                  </a:lnTo>
                  <a:lnTo>
                    <a:pt x="6095" y="4070"/>
                  </a:lnTo>
                  <a:lnTo>
                    <a:pt x="6102" y="4056"/>
                  </a:lnTo>
                  <a:lnTo>
                    <a:pt x="6123" y="4031"/>
                  </a:lnTo>
                  <a:lnTo>
                    <a:pt x="6140" y="4001"/>
                  </a:lnTo>
                  <a:lnTo>
                    <a:pt x="6160" y="3979"/>
                  </a:lnTo>
                  <a:lnTo>
                    <a:pt x="6169" y="3967"/>
                  </a:lnTo>
                  <a:lnTo>
                    <a:pt x="6172" y="3961"/>
                  </a:lnTo>
                  <a:lnTo>
                    <a:pt x="6179" y="3957"/>
                  </a:lnTo>
                  <a:lnTo>
                    <a:pt x="6188" y="3949"/>
                  </a:lnTo>
                  <a:lnTo>
                    <a:pt x="6192" y="3924"/>
                  </a:lnTo>
                  <a:lnTo>
                    <a:pt x="6194" y="3912"/>
                  </a:lnTo>
                  <a:lnTo>
                    <a:pt x="6193" y="3902"/>
                  </a:lnTo>
                  <a:lnTo>
                    <a:pt x="6195" y="3890"/>
                  </a:lnTo>
                  <a:lnTo>
                    <a:pt x="6204" y="3871"/>
                  </a:lnTo>
                  <a:lnTo>
                    <a:pt x="6205" y="3861"/>
                  </a:lnTo>
                  <a:lnTo>
                    <a:pt x="6201" y="3827"/>
                  </a:lnTo>
                  <a:lnTo>
                    <a:pt x="6210" y="3816"/>
                  </a:lnTo>
                  <a:lnTo>
                    <a:pt x="6209" y="3810"/>
                  </a:lnTo>
                  <a:lnTo>
                    <a:pt x="6205" y="3806"/>
                  </a:lnTo>
                  <a:lnTo>
                    <a:pt x="6199" y="3778"/>
                  </a:lnTo>
                  <a:lnTo>
                    <a:pt x="6199" y="3757"/>
                  </a:lnTo>
                  <a:lnTo>
                    <a:pt x="6205" y="3747"/>
                  </a:lnTo>
                  <a:lnTo>
                    <a:pt x="6208" y="3734"/>
                  </a:lnTo>
                  <a:lnTo>
                    <a:pt x="6209" y="3713"/>
                  </a:lnTo>
                  <a:lnTo>
                    <a:pt x="6214" y="3712"/>
                  </a:lnTo>
                  <a:lnTo>
                    <a:pt x="6214" y="3705"/>
                  </a:lnTo>
                  <a:lnTo>
                    <a:pt x="6219" y="3702"/>
                  </a:lnTo>
                  <a:lnTo>
                    <a:pt x="6216" y="3696"/>
                  </a:lnTo>
                  <a:lnTo>
                    <a:pt x="6228" y="3676"/>
                  </a:lnTo>
                  <a:lnTo>
                    <a:pt x="6236" y="3671"/>
                  </a:lnTo>
                  <a:lnTo>
                    <a:pt x="6241" y="3661"/>
                  </a:lnTo>
                  <a:lnTo>
                    <a:pt x="6247" y="3653"/>
                  </a:lnTo>
                  <a:lnTo>
                    <a:pt x="6248" y="3643"/>
                  </a:lnTo>
                  <a:lnTo>
                    <a:pt x="6253" y="3631"/>
                  </a:lnTo>
                  <a:lnTo>
                    <a:pt x="6233" y="3610"/>
                  </a:lnTo>
                  <a:lnTo>
                    <a:pt x="6241" y="3591"/>
                  </a:lnTo>
                  <a:lnTo>
                    <a:pt x="6238" y="3578"/>
                  </a:lnTo>
                  <a:lnTo>
                    <a:pt x="6235" y="3565"/>
                  </a:lnTo>
                  <a:lnTo>
                    <a:pt x="6225" y="3559"/>
                  </a:lnTo>
                  <a:lnTo>
                    <a:pt x="6214" y="3549"/>
                  </a:lnTo>
                  <a:lnTo>
                    <a:pt x="6203" y="3551"/>
                  </a:lnTo>
                  <a:lnTo>
                    <a:pt x="6190" y="3542"/>
                  </a:lnTo>
                  <a:lnTo>
                    <a:pt x="6176" y="3537"/>
                  </a:lnTo>
                  <a:lnTo>
                    <a:pt x="6168" y="3538"/>
                  </a:lnTo>
                  <a:lnTo>
                    <a:pt x="6174" y="3532"/>
                  </a:lnTo>
                  <a:lnTo>
                    <a:pt x="6188" y="3532"/>
                  </a:lnTo>
                  <a:lnTo>
                    <a:pt x="6200" y="3542"/>
                  </a:lnTo>
                  <a:lnTo>
                    <a:pt x="6209" y="3543"/>
                  </a:lnTo>
                  <a:lnTo>
                    <a:pt x="6219" y="3542"/>
                  </a:lnTo>
                  <a:lnTo>
                    <a:pt x="6237" y="3554"/>
                  </a:lnTo>
                  <a:lnTo>
                    <a:pt x="6241" y="3551"/>
                  </a:lnTo>
                  <a:lnTo>
                    <a:pt x="6249" y="3540"/>
                  </a:lnTo>
                  <a:lnTo>
                    <a:pt x="6248" y="3529"/>
                  </a:lnTo>
                  <a:lnTo>
                    <a:pt x="6241" y="3526"/>
                  </a:lnTo>
                  <a:lnTo>
                    <a:pt x="6215" y="3508"/>
                  </a:lnTo>
                  <a:lnTo>
                    <a:pt x="6203" y="3495"/>
                  </a:lnTo>
                  <a:lnTo>
                    <a:pt x="6192" y="3487"/>
                  </a:lnTo>
                  <a:lnTo>
                    <a:pt x="6189" y="3482"/>
                  </a:lnTo>
                  <a:lnTo>
                    <a:pt x="6189" y="3468"/>
                  </a:lnTo>
                  <a:lnTo>
                    <a:pt x="6182" y="3461"/>
                  </a:lnTo>
                  <a:lnTo>
                    <a:pt x="6173" y="3454"/>
                  </a:lnTo>
                  <a:lnTo>
                    <a:pt x="6163" y="3450"/>
                  </a:lnTo>
                  <a:lnTo>
                    <a:pt x="6161" y="3445"/>
                  </a:lnTo>
                  <a:lnTo>
                    <a:pt x="6161" y="3440"/>
                  </a:lnTo>
                  <a:lnTo>
                    <a:pt x="6158" y="3440"/>
                  </a:lnTo>
                  <a:lnTo>
                    <a:pt x="6150" y="3440"/>
                  </a:lnTo>
                  <a:lnTo>
                    <a:pt x="6135" y="3446"/>
                  </a:lnTo>
                  <a:lnTo>
                    <a:pt x="6124" y="3446"/>
                  </a:lnTo>
                  <a:lnTo>
                    <a:pt x="6103" y="3438"/>
                  </a:lnTo>
                  <a:lnTo>
                    <a:pt x="6103" y="3457"/>
                  </a:lnTo>
                  <a:lnTo>
                    <a:pt x="6106" y="3459"/>
                  </a:lnTo>
                  <a:lnTo>
                    <a:pt x="6103" y="3467"/>
                  </a:lnTo>
                  <a:lnTo>
                    <a:pt x="6101" y="3483"/>
                  </a:lnTo>
                  <a:lnTo>
                    <a:pt x="6093" y="3504"/>
                  </a:lnTo>
                  <a:lnTo>
                    <a:pt x="6082" y="3510"/>
                  </a:lnTo>
                  <a:lnTo>
                    <a:pt x="6086" y="3495"/>
                  </a:lnTo>
                  <a:lnTo>
                    <a:pt x="6095" y="3481"/>
                  </a:lnTo>
                  <a:lnTo>
                    <a:pt x="6090" y="3471"/>
                  </a:lnTo>
                  <a:lnTo>
                    <a:pt x="6071" y="3493"/>
                  </a:lnTo>
                  <a:lnTo>
                    <a:pt x="6058" y="3500"/>
                  </a:lnTo>
                  <a:lnTo>
                    <a:pt x="6038" y="3505"/>
                  </a:lnTo>
                  <a:lnTo>
                    <a:pt x="6023" y="3504"/>
                  </a:lnTo>
                  <a:lnTo>
                    <a:pt x="6023" y="3499"/>
                  </a:lnTo>
                  <a:lnTo>
                    <a:pt x="6032" y="3495"/>
                  </a:lnTo>
                  <a:lnTo>
                    <a:pt x="6038" y="3488"/>
                  </a:lnTo>
                  <a:lnTo>
                    <a:pt x="6045" y="3477"/>
                  </a:lnTo>
                  <a:lnTo>
                    <a:pt x="6043" y="3470"/>
                  </a:lnTo>
                  <a:lnTo>
                    <a:pt x="6033" y="3465"/>
                  </a:lnTo>
                  <a:lnTo>
                    <a:pt x="6028" y="3455"/>
                  </a:lnTo>
                  <a:lnTo>
                    <a:pt x="6034" y="3452"/>
                  </a:lnTo>
                  <a:lnTo>
                    <a:pt x="6043" y="3443"/>
                  </a:lnTo>
                  <a:lnTo>
                    <a:pt x="6044" y="3438"/>
                  </a:lnTo>
                  <a:lnTo>
                    <a:pt x="6028" y="3439"/>
                  </a:lnTo>
                  <a:lnTo>
                    <a:pt x="6018" y="3445"/>
                  </a:lnTo>
                  <a:lnTo>
                    <a:pt x="6015" y="3454"/>
                  </a:lnTo>
                  <a:lnTo>
                    <a:pt x="6021" y="3462"/>
                  </a:lnTo>
                  <a:lnTo>
                    <a:pt x="6018" y="3470"/>
                  </a:lnTo>
                  <a:lnTo>
                    <a:pt x="6010" y="3479"/>
                  </a:lnTo>
                  <a:lnTo>
                    <a:pt x="6001" y="3479"/>
                  </a:lnTo>
                  <a:lnTo>
                    <a:pt x="5996" y="3487"/>
                  </a:lnTo>
                  <a:lnTo>
                    <a:pt x="5994" y="3484"/>
                  </a:lnTo>
                  <a:lnTo>
                    <a:pt x="5993" y="3466"/>
                  </a:lnTo>
                  <a:lnTo>
                    <a:pt x="5995" y="3455"/>
                  </a:lnTo>
                  <a:lnTo>
                    <a:pt x="5996" y="3444"/>
                  </a:lnTo>
                  <a:lnTo>
                    <a:pt x="5997" y="3434"/>
                  </a:lnTo>
                  <a:lnTo>
                    <a:pt x="5996" y="3430"/>
                  </a:lnTo>
                  <a:lnTo>
                    <a:pt x="5997" y="3417"/>
                  </a:lnTo>
                  <a:lnTo>
                    <a:pt x="5995" y="3408"/>
                  </a:lnTo>
                  <a:lnTo>
                    <a:pt x="5985" y="3406"/>
                  </a:lnTo>
                  <a:lnTo>
                    <a:pt x="5962" y="3412"/>
                  </a:lnTo>
                  <a:lnTo>
                    <a:pt x="5939" y="3413"/>
                  </a:lnTo>
                  <a:lnTo>
                    <a:pt x="5929" y="3405"/>
                  </a:lnTo>
                  <a:lnTo>
                    <a:pt x="5910" y="3396"/>
                  </a:lnTo>
                  <a:lnTo>
                    <a:pt x="5910" y="3390"/>
                  </a:lnTo>
                  <a:lnTo>
                    <a:pt x="5915" y="3376"/>
                  </a:lnTo>
                  <a:lnTo>
                    <a:pt x="5942" y="3354"/>
                  </a:lnTo>
                  <a:lnTo>
                    <a:pt x="5950" y="3350"/>
                  </a:lnTo>
                  <a:lnTo>
                    <a:pt x="5968" y="3336"/>
                  </a:lnTo>
                  <a:lnTo>
                    <a:pt x="5977" y="3320"/>
                  </a:lnTo>
                  <a:lnTo>
                    <a:pt x="5983" y="3314"/>
                  </a:lnTo>
                  <a:lnTo>
                    <a:pt x="5989" y="3312"/>
                  </a:lnTo>
                  <a:lnTo>
                    <a:pt x="5999" y="3305"/>
                  </a:lnTo>
                  <a:lnTo>
                    <a:pt x="6047" y="3260"/>
                  </a:lnTo>
                  <a:lnTo>
                    <a:pt x="6056" y="3241"/>
                  </a:lnTo>
                  <a:lnTo>
                    <a:pt x="6065" y="3235"/>
                  </a:lnTo>
                  <a:lnTo>
                    <a:pt x="6069" y="3226"/>
                  </a:lnTo>
                  <a:lnTo>
                    <a:pt x="6070" y="3218"/>
                  </a:lnTo>
                  <a:lnTo>
                    <a:pt x="6076" y="3212"/>
                  </a:lnTo>
                  <a:lnTo>
                    <a:pt x="6083" y="3202"/>
                  </a:lnTo>
                  <a:lnTo>
                    <a:pt x="6087" y="3194"/>
                  </a:lnTo>
                  <a:lnTo>
                    <a:pt x="6093" y="3196"/>
                  </a:lnTo>
                  <a:lnTo>
                    <a:pt x="6099" y="3182"/>
                  </a:lnTo>
                  <a:lnTo>
                    <a:pt x="6114" y="3169"/>
                  </a:lnTo>
                  <a:lnTo>
                    <a:pt x="6130" y="3145"/>
                  </a:lnTo>
                  <a:lnTo>
                    <a:pt x="6140" y="3147"/>
                  </a:lnTo>
                  <a:lnTo>
                    <a:pt x="6158" y="3127"/>
                  </a:lnTo>
                  <a:lnTo>
                    <a:pt x="6166" y="3111"/>
                  </a:lnTo>
                  <a:lnTo>
                    <a:pt x="6169" y="3112"/>
                  </a:lnTo>
                  <a:lnTo>
                    <a:pt x="6182" y="3101"/>
                  </a:lnTo>
                  <a:lnTo>
                    <a:pt x="6193" y="3095"/>
                  </a:lnTo>
                  <a:lnTo>
                    <a:pt x="6201" y="3078"/>
                  </a:lnTo>
                  <a:lnTo>
                    <a:pt x="6204" y="3063"/>
                  </a:lnTo>
                  <a:lnTo>
                    <a:pt x="6219" y="3043"/>
                  </a:lnTo>
                  <a:lnTo>
                    <a:pt x="6258" y="3011"/>
                  </a:lnTo>
                  <a:lnTo>
                    <a:pt x="6270" y="2994"/>
                  </a:lnTo>
                  <a:lnTo>
                    <a:pt x="6280" y="2976"/>
                  </a:lnTo>
                  <a:lnTo>
                    <a:pt x="6298" y="2960"/>
                  </a:lnTo>
                  <a:lnTo>
                    <a:pt x="6316" y="2946"/>
                  </a:lnTo>
                  <a:lnTo>
                    <a:pt x="6345" y="2932"/>
                  </a:lnTo>
                  <a:lnTo>
                    <a:pt x="6400" y="2927"/>
                  </a:lnTo>
                  <a:lnTo>
                    <a:pt x="6436" y="2927"/>
                  </a:lnTo>
                  <a:lnTo>
                    <a:pt x="6456" y="2924"/>
                  </a:lnTo>
                  <a:lnTo>
                    <a:pt x="6464" y="2927"/>
                  </a:lnTo>
                  <a:lnTo>
                    <a:pt x="6475" y="2925"/>
                  </a:lnTo>
                  <a:lnTo>
                    <a:pt x="6488" y="2929"/>
                  </a:lnTo>
                  <a:lnTo>
                    <a:pt x="6495" y="2929"/>
                  </a:lnTo>
                  <a:lnTo>
                    <a:pt x="6495" y="2941"/>
                  </a:lnTo>
                  <a:lnTo>
                    <a:pt x="6500" y="2950"/>
                  </a:lnTo>
                  <a:lnTo>
                    <a:pt x="6507" y="2951"/>
                  </a:lnTo>
                  <a:lnTo>
                    <a:pt x="6518" y="2949"/>
                  </a:lnTo>
                  <a:lnTo>
                    <a:pt x="6521" y="2944"/>
                  </a:lnTo>
                  <a:lnTo>
                    <a:pt x="6522" y="2923"/>
                  </a:lnTo>
                  <a:lnTo>
                    <a:pt x="6527" y="2919"/>
                  </a:lnTo>
                  <a:lnTo>
                    <a:pt x="6585" y="2943"/>
                  </a:lnTo>
                  <a:lnTo>
                    <a:pt x="6602" y="2940"/>
                  </a:lnTo>
                  <a:lnTo>
                    <a:pt x="6602" y="2932"/>
                  </a:lnTo>
                  <a:lnTo>
                    <a:pt x="6610" y="2927"/>
                  </a:lnTo>
                  <a:lnTo>
                    <a:pt x="6630" y="2928"/>
                  </a:lnTo>
                  <a:lnTo>
                    <a:pt x="6638" y="2937"/>
                  </a:lnTo>
                  <a:lnTo>
                    <a:pt x="6641" y="2944"/>
                  </a:lnTo>
                  <a:lnTo>
                    <a:pt x="6646" y="2945"/>
                  </a:lnTo>
                  <a:lnTo>
                    <a:pt x="6660" y="2941"/>
                  </a:lnTo>
                  <a:lnTo>
                    <a:pt x="6660" y="2932"/>
                  </a:lnTo>
                  <a:lnTo>
                    <a:pt x="6656" y="2932"/>
                  </a:lnTo>
                  <a:lnTo>
                    <a:pt x="6651" y="2923"/>
                  </a:lnTo>
                  <a:lnTo>
                    <a:pt x="6660" y="2918"/>
                  </a:lnTo>
                  <a:lnTo>
                    <a:pt x="6673" y="2918"/>
                  </a:lnTo>
                  <a:lnTo>
                    <a:pt x="6672" y="2912"/>
                  </a:lnTo>
                  <a:lnTo>
                    <a:pt x="6667" y="2905"/>
                  </a:lnTo>
                  <a:lnTo>
                    <a:pt x="6668" y="2898"/>
                  </a:lnTo>
                  <a:lnTo>
                    <a:pt x="6679" y="2891"/>
                  </a:lnTo>
                  <a:lnTo>
                    <a:pt x="6692" y="2890"/>
                  </a:lnTo>
                  <a:lnTo>
                    <a:pt x="6705" y="2892"/>
                  </a:lnTo>
                  <a:lnTo>
                    <a:pt x="6737" y="2905"/>
                  </a:lnTo>
                  <a:lnTo>
                    <a:pt x="6747" y="2905"/>
                  </a:lnTo>
                  <a:lnTo>
                    <a:pt x="6760" y="2913"/>
                  </a:lnTo>
                  <a:lnTo>
                    <a:pt x="6762" y="2918"/>
                  </a:lnTo>
                  <a:lnTo>
                    <a:pt x="6770" y="2921"/>
                  </a:lnTo>
                  <a:lnTo>
                    <a:pt x="6775" y="2908"/>
                  </a:lnTo>
                  <a:lnTo>
                    <a:pt x="6785" y="2906"/>
                  </a:lnTo>
                  <a:lnTo>
                    <a:pt x="6798" y="2910"/>
                  </a:lnTo>
                  <a:lnTo>
                    <a:pt x="6808" y="2916"/>
                  </a:lnTo>
                  <a:lnTo>
                    <a:pt x="6817" y="2927"/>
                  </a:lnTo>
                  <a:lnTo>
                    <a:pt x="6822" y="2937"/>
                  </a:lnTo>
                  <a:lnTo>
                    <a:pt x="6841" y="2940"/>
                  </a:lnTo>
                  <a:lnTo>
                    <a:pt x="6845" y="2948"/>
                  </a:lnTo>
                  <a:lnTo>
                    <a:pt x="6833" y="2953"/>
                  </a:lnTo>
                  <a:lnTo>
                    <a:pt x="6817" y="2954"/>
                  </a:lnTo>
                  <a:lnTo>
                    <a:pt x="6795" y="2954"/>
                  </a:lnTo>
                  <a:lnTo>
                    <a:pt x="6784" y="2959"/>
                  </a:lnTo>
                  <a:lnTo>
                    <a:pt x="6785" y="2965"/>
                  </a:lnTo>
                  <a:lnTo>
                    <a:pt x="6800" y="2984"/>
                  </a:lnTo>
                  <a:lnTo>
                    <a:pt x="6816" y="2986"/>
                  </a:lnTo>
                  <a:lnTo>
                    <a:pt x="6829" y="2984"/>
                  </a:lnTo>
                  <a:lnTo>
                    <a:pt x="6843" y="2981"/>
                  </a:lnTo>
                  <a:lnTo>
                    <a:pt x="6849" y="2971"/>
                  </a:lnTo>
                  <a:lnTo>
                    <a:pt x="6859" y="2966"/>
                  </a:lnTo>
                  <a:lnTo>
                    <a:pt x="6866" y="2973"/>
                  </a:lnTo>
                  <a:lnTo>
                    <a:pt x="6878" y="2978"/>
                  </a:lnTo>
                  <a:lnTo>
                    <a:pt x="6886" y="2972"/>
                  </a:lnTo>
                  <a:lnTo>
                    <a:pt x="6892" y="2962"/>
                  </a:lnTo>
                  <a:lnTo>
                    <a:pt x="6905" y="2960"/>
                  </a:lnTo>
                  <a:lnTo>
                    <a:pt x="6907" y="2953"/>
                  </a:lnTo>
                  <a:lnTo>
                    <a:pt x="6919" y="2946"/>
                  </a:lnTo>
                  <a:lnTo>
                    <a:pt x="6935" y="2951"/>
                  </a:lnTo>
                  <a:lnTo>
                    <a:pt x="6942" y="2962"/>
                  </a:lnTo>
                  <a:lnTo>
                    <a:pt x="6951" y="2962"/>
                  </a:lnTo>
                  <a:lnTo>
                    <a:pt x="6963" y="2959"/>
                  </a:lnTo>
                  <a:lnTo>
                    <a:pt x="6967" y="2950"/>
                  </a:lnTo>
                  <a:lnTo>
                    <a:pt x="6981" y="2951"/>
                  </a:lnTo>
                  <a:lnTo>
                    <a:pt x="6988" y="2956"/>
                  </a:lnTo>
                  <a:lnTo>
                    <a:pt x="6991" y="2950"/>
                  </a:lnTo>
                  <a:lnTo>
                    <a:pt x="7001" y="2950"/>
                  </a:lnTo>
                  <a:lnTo>
                    <a:pt x="7002" y="2943"/>
                  </a:lnTo>
                  <a:lnTo>
                    <a:pt x="7000" y="2933"/>
                  </a:lnTo>
                  <a:lnTo>
                    <a:pt x="6993" y="2922"/>
                  </a:lnTo>
                  <a:lnTo>
                    <a:pt x="6972" y="2913"/>
                  </a:lnTo>
                  <a:lnTo>
                    <a:pt x="6951" y="2917"/>
                  </a:lnTo>
                  <a:lnTo>
                    <a:pt x="6952" y="2910"/>
                  </a:lnTo>
                  <a:lnTo>
                    <a:pt x="6958" y="2902"/>
                  </a:lnTo>
                  <a:lnTo>
                    <a:pt x="6950" y="2879"/>
                  </a:lnTo>
                  <a:lnTo>
                    <a:pt x="6953" y="2875"/>
                  </a:lnTo>
                  <a:lnTo>
                    <a:pt x="6959" y="2879"/>
                  </a:lnTo>
                  <a:lnTo>
                    <a:pt x="6962" y="2879"/>
                  </a:lnTo>
                  <a:lnTo>
                    <a:pt x="6975" y="2849"/>
                  </a:lnTo>
                  <a:lnTo>
                    <a:pt x="6983" y="2837"/>
                  </a:lnTo>
                  <a:lnTo>
                    <a:pt x="6986" y="2827"/>
                  </a:lnTo>
                  <a:lnTo>
                    <a:pt x="6999" y="2815"/>
                  </a:lnTo>
                  <a:lnTo>
                    <a:pt x="7011" y="2809"/>
                  </a:lnTo>
                  <a:lnTo>
                    <a:pt x="7047" y="2776"/>
                  </a:lnTo>
                  <a:lnTo>
                    <a:pt x="7047" y="2767"/>
                  </a:lnTo>
                  <a:lnTo>
                    <a:pt x="7051" y="2757"/>
                  </a:lnTo>
                  <a:lnTo>
                    <a:pt x="7074" y="2731"/>
                  </a:lnTo>
                  <a:lnTo>
                    <a:pt x="7083" y="2723"/>
                  </a:lnTo>
                  <a:lnTo>
                    <a:pt x="7088" y="2697"/>
                  </a:lnTo>
                  <a:lnTo>
                    <a:pt x="7099" y="2690"/>
                  </a:lnTo>
                  <a:lnTo>
                    <a:pt x="7118" y="2670"/>
                  </a:lnTo>
                  <a:lnTo>
                    <a:pt x="7128" y="2666"/>
                  </a:lnTo>
                  <a:lnTo>
                    <a:pt x="7137" y="2659"/>
                  </a:lnTo>
                  <a:lnTo>
                    <a:pt x="7165" y="2661"/>
                  </a:lnTo>
                  <a:lnTo>
                    <a:pt x="7205" y="2653"/>
                  </a:lnTo>
                  <a:lnTo>
                    <a:pt x="7211" y="2648"/>
                  </a:lnTo>
                  <a:lnTo>
                    <a:pt x="7215" y="2642"/>
                  </a:lnTo>
                  <a:lnTo>
                    <a:pt x="7221" y="2643"/>
                  </a:lnTo>
                  <a:lnTo>
                    <a:pt x="7235" y="2652"/>
                  </a:lnTo>
                  <a:lnTo>
                    <a:pt x="7241" y="2659"/>
                  </a:lnTo>
                  <a:lnTo>
                    <a:pt x="7244" y="2670"/>
                  </a:lnTo>
                  <a:lnTo>
                    <a:pt x="7260" y="2669"/>
                  </a:lnTo>
                  <a:lnTo>
                    <a:pt x="7270" y="2658"/>
                  </a:lnTo>
                  <a:lnTo>
                    <a:pt x="7290" y="2638"/>
                  </a:lnTo>
                  <a:lnTo>
                    <a:pt x="7281" y="2685"/>
                  </a:lnTo>
                  <a:lnTo>
                    <a:pt x="7273" y="2693"/>
                  </a:lnTo>
                  <a:lnTo>
                    <a:pt x="7269" y="2703"/>
                  </a:lnTo>
                  <a:lnTo>
                    <a:pt x="7263" y="2712"/>
                  </a:lnTo>
                  <a:lnTo>
                    <a:pt x="7263" y="2725"/>
                  </a:lnTo>
                  <a:lnTo>
                    <a:pt x="7269" y="2733"/>
                  </a:lnTo>
                  <a:lnTo>
                    <a:pt x="7268" y="2741"/>
                  </a:lnTo>
                  <a:lnTo>
                    <a:pt x="7263" y="2745"/>
                  </a:lnTo>
                  <a:lnTo>
                    <a:pt x="7260" y="2752"/>
                  </a:lnTo>
                  <a:lnTo>
                    <a:pt x="7265" y="2756"/>
                  </a:lnTo>
                  <a:lnTo>
                    <a:pt x="7280" y="2749"/>
                  </a:lnTo>
                  <a:lnTo>
                    <a:pt x="7292" y="2746"/>
                  </a:lnTo>
                  <a:lnTo>
                    <a:pt x="7281" y="2771"/>
                  </a:lnTo>
                  <a:lnTo>
                    <a:pt x="7278" y="2787"/>
                  </a:lnTo>
                  <a:lnTo>
                    <a:pt x="7279" y="2797"/>
                  </a:lnTo>
                  <a:lnTo>
                    <a:pt x="7286" y="2793"/>
                  </a:lnTo>
                  <a:lnTo>
                    <a:pt x="7300" y="2781"/>
                  </a:lnTo>
                  <a:lnTo>
                    <a:pt x="7309" y="2781"/>
                  </a:lnTo>
                  <a:lnTo>
                    <a:pt x="7345" y="2734"/>
                  </a:lnTo>
                  <a:lnTo>
                    <a:pt x="7355" y="2728"/>
                  </a:lnTo>
                  <a:lnTo>
                    <a:pt x="7367" y="2713"/>
                  </a:lnTo>
                  <a:lnTo>
                    <a:pt x="7378" y="2704"/>
                  </a:lnTo>
                  <a:lnTo>
                    <a:pt x="7399" y="2680"/>
                  </a:lnTo>
                  <a:lnTo>
                    <a:pt x="7414" y="2679"/>
                  </a:lnTo>
                  <a:lnTo>
                    <a:pt x="7420" y="2675"/>
                  </a:lnTo>
                  <a:lnTo>
                    <a:pt x="7422" y="2666"/>
                  </a:lnTo>
                  <a:lnTo>
                    <a:pt x="7430" y="2671"/>
                  </a:lnTo>
                  <a:lnTo>
                    <a:pt x="7429" y="2680"/>
                  </a:lnTo>
                  <a:lnTo>
                    <a:pt x="7431" y="2688"/>
                  </a:lnTo>
                  <a:lnTo>
                    <a:pt x="7438" y="2687"/>
                  </a:lnTo>
                  <a:lnTo>
                    <a:pt x="7447" y="2669"/>
                  </a:lnTo>
                  <a:lnTo>
                    <a:pt x="7437" y="2666"/>
                  </a:lnTo>
                  <a:lnTo>
                    <a:pt x="7434" y="2656"/>
                  </a:lnTo>
                  <a:lnTo>
                    <a:pt x="7437" y="2642"/>
                  </a:lnTo>
                  <a:lnTo>
                    <a:pt x="7438" y="2627"/>
                  </a:lnTo>
                  <a:lnTo>
                    <a:pt x="7438" y="2618"/>
                  </a:lnTo>
                  <a:lnTo>
                    <a:pt x="7448" y="2601"/>
                  </a:lnTo>
                  <a:lnTo>
                    <a:pt x="7448" y="2593"/>
                  </a:lnTo>
                  <a:lnTo>
                    <a:pt x="7452" y="2583"/>
                  </a:lnTo>
                  <a:lnTo>
                    <a:pt x="7467" y="2569"/>
                  </a:lnTo>
                  <a:lnTo>
                    <a:pt x="7511" y="2553"/>
                  </a:lnTo>
                  <a:lnTo>
                    <a:pt x="7526" y="2557"/>
                  </a:lnTo>
                  <a:lnTo>
                    <a:pt x="7542" y="2572"/>
                  </a:lnTo>
                  <a:lnTo>
                    <a:pt x="7535" y="2585"/>
                  </a:lnTo>
                  <a:lnTo>
                    <a:pt x="7524" y="2582"/>
                  </a:lnTo>
                  <a:lnTo>
                    <a:pt x="7506" y="2596"/>
                  </a:lnTo>
                  <a:lnTo>
                    <a:pt x="7496" y="2607"/>
                  </a:lnTo>
                  <a:lnTo>
                    <a:pt x="7494" y="2623"/>
                  </a:lnTo>
                  <a:lnTo>
                    <a:pt x="7490" y="2631"/>
                  </a:lnTo>
                  <a:lnTo>
                    <a:pt x="7489" y="2644"/>
                  </a:lnTo>
                  <a:lnTo>
                    <a:pt x="7489" y="2670"/>
                  </a:lnTo>
                  <a:lnTo>
                    <a:pt x="7478" y="2681"/>
                  </a:lnTo>
                  <a:lnTo>
                    <a:pt x="7477" y="2688"/>
                  </a:lnTo>
                  <a:lnTo>
                    <a:pt x="7478" y="2699"/>
                  </a:lnTo>
                  <a:lnTo>
                    <a:pt x="7480" y="2706"/>
                  </a:lnTo>
                  <a:lnTo>
                    <a:pt x="7479" y="2718"/>
                  </a:lnTo>
                  <a:lnTo>
                    <a:pt x="7472" y="2728"/>
                  </a:lnTo>
                  <a:lnTo>
                    <a:pt x="7465" y="2731"/>
                  </a:lnTo>
                  <a:lnTo>
                    <a:pt x="7464" y="2738"/>
                  </a:lnTo>
                  <a:lnTo>
                    <a:pt x="7463" y="2749"/>
                  </a:lnTo>
                  <a:lnTo>
                    <a:pt x="7472" y="2755"/>
                  </a:lnTo>
                  <a:lnTo>
                    <a:pt x="7472" y="2762"/>
                  </a:lnTo>
                  <a:lnTo>
                    <a:pt x="7462" y="2771"/>
                  </a:lnTo>
                  <a:lnTo>
                    <a:pt x="7451" y="2777"/>
                  </a:lnTo>
                  <a:lnTo>
                    <a:pt x="7440" y="2774"/>
                  </a:lnTo>
                  <a:lnTo>
                    <a:pt x="7427" y="2779"/>
                  </a:lnTo>
                  <a:lnTo>
                    <a:pt x="7415" y="2797"/>
                  </a:lnTo>
                  <a:lnTo>
                    <a:pt x="7402" y="2798"/>
                  </a:lnTo>
                  <a:lnTo>
                    <a:pt x="7376" y="2809"/>
                  </a:lnTo>
                  <a:lnTo>
                    <a:pt x="7372" y="2814"/>
                  </a:lnTo>
                  <a:lnTo>
                    <a:pt x="7372" y="2826"/>
                  </a:lnTo>
                  <a:lnTo>
                    <a:pt x="7367" y="2838"/>
                  </a:lnTo>
                  <a:lnTo>
                    <a:pt x="7356" y="2848"/>
                  </a:lnTo>
                  <a:lnTo>
                    <a:pt x="7343" y="2864"/>
                  </a:lnTo>
                  <a:lnTo>
                    <a:pt x="7318" y="2897"/>
                  </a:lnTo>
                  <a:lnTo>
                    <a:pt x="7293" y="2911"/>
                  </a:lnTo>
                  <a:lnTo>
                    <a:pt x="7286" y="2929"/>
                  </a:lnTo>
                  <a:lnTo>
                    <a:pt x="7276" y="2934"/>
                  </a:lnTo>
                  <a:lnTo>
                    <a:pt x="7258" y="2960"/>
                  </a:lnTo>
                  <a:lnTo>
                    <a:pt x="7255" y="2978"/>
                  </a:lnTo>
                  <a:lnTo>
                    <a:pt x="7236" y="3002"/>
                  </a:lnTo>
                  <a:lnTo>
                    <a:pt x="7225" y="3019"/>
                  </a:lnTo>
                  <a:lnTo>
                    <a:pt x="7210" y="3031"/>
                  </a:lnTo>
                  <a:lnTo>
                    <a:pt x="7195" y="3047"/>
                  </a:lnTo>
                  <a:lnTo>
                    <a:pt x="7182" y="3066"/>
                  </a:lnTo>
                  <a:lnTo>
                    <a:pt x="7162" y="3075"/>
                  </a:lnTo>
                  <a:lnTo>
                    <a:pt x="7144" y="3075"/>
                  </a:lnTo>
                  <a:lnTo>
                    <a:pt x="7137" y="3085"/>
                  </a:lnTo>
                  <a:lnTo>
                    <a:pt x="7128" y="3096"/>
                  </a:lnTo>
                  <a:lnTo>
                    <a:pt x="7108" y="3091"/>
                  </a:lnTo>
                  <a:lnTo>
                    <a:pt x="7098" y="3093"/>
                  </a:lnTo>
                  <a:lnTo>
                    <a:pt x="7103" y="3105"/>
                  </a:lnTo>
                  <a:lnTo>
                    <a:pt x="7106" y="3124"/>
                  </a:lnTo>
                  <a:lnTo>
                    <a:pt x="7093" y="3164"/>
                  </a:lnTo>
                  <a:lnTo>
                    <a:pt x="7077" y="3174"/>
                  </a:lnTo>
                  <a:lnTo>
                    <a:pt x="7065" y="3186"/>
                  </a:lnTo>
                  <a:lnTo>
                    <a:pt x="7051" y="3193"/>
                  </a:lnTo>
                  <a:lnTo>
                    <a:pt x="7045" y="3206"/>
                  </a:lnTo>
                  <a:lnTo>
                    <a:pt x="7040" y="3229"/>
                  </a:lnTo>
                  <a:lnTo>
                    <a:pt x="7028" y="3279"/>
                  </a:lnTo>
                  <a:lnTo>
                    <a:pt x="7027" y="3328"/>
                  </a:lnTo>
                  <a:lnTo>
                    <a:pt x="7028" y="3352"/>
                  </a:lnTo>
                  <a:lnTo>
                    <a:pt x="7031" y="3374"/>
                  </a:lnTo>
                  <a:lnTo>
                    <a:pt x="7032" y="3403"/>
                  </a:lnTo>
                  <a:lnTo>
                    <a:pt x="7036" y="3418"/>
                  </a:lnTo>
                  <a:lnTo>
                    <a:pt x="7040" y="3459"/>
                  </a:lnTo>
                  <a:lnTo>
                    <a:pt x="7042" y="3463"/>
                  </a:lnTo>
                  <a:lnTo>
                    <a:pt x="7044" y="3467"/>
                  </a:lnTo>
                  <a:lnTo>
                    <a:pt x="7051" y="3503"/>
                  </a:lnTo>
                  <a:lnTo>
                    <a:pt x="7056" y="3524"/>
                  </a:lnTo>
                  <a:lnTo>
                    <a:pt x="7058" y="3551"/>
                  </a:lnTo>
                  <a:lnTo>
                    <a:pt x="7061" y="3573"/>
                  </a:lnTo>
                  <a:lnTo>
                    <a:pt x="7066" y="3596"/>
                  </a:lnTo>
                  <a:lnTo>
                    <a:pt x="7075" y="3617"/>
                  </a:lnTo>
                  <a:lnTo>
                    <a:pt x="7081" y="3640"/>
                  </a:lnTo>
                  <a:lnTo>
                    <a:pt x="7081" y="3685"/>
                  </a:lnTo>
                  <a:lnTo>
                    <a:pt x="7082" y="3705"/>
                  </a:lnTo>
                  <a:lnTo>
                    <a:pt x="7092" y="3729"/>
                  </a:lnTo>
                  <a:lnTo>
                    <a:pt x="7094" y="3742"/>
                  </a:lnTo>
                  <a:lnTo>
                    <a:pt x="7108" y="3728"/>
                  </a:lnTo>
                  <a:lnTo>
                    <a:pt x="7120" y="3718"/>
                  </a:lnTo>
                  <a:lnTo>
                    <a:pt x="7131" y="3704"/>
                  </a:lnTo>
                  <a:lnTo>
                    <a:pt x="7139" y="3691"/>
                  </a:lnTo>
                  <a:lnTo>
                    <a:pt x="7150" y="3682"/>
                  </a:lnTo>
                  <a:lnTo>
                    <a:pt x="7172" y="3656"/>
                  </a:lnTo>
                  <a:lnTo>
                    <a:pt x="7184" y="3626"/>
                  </a:lnTo>
                  <a:lnTo>
                    <a:pt x="7185" y="3613"/>
                  </a:lnTo>
                  <a:lnTo>
                    <a:pt x="7184" y="3595"/>
                  </a:lnTo>
                  <a:lnTo>
                    <a:pt x="7188" y="3589"/>
                  </a:lnTo>
                  <a:lnTo>
                    <a:pt x="7192" y="3573"/>
                  </a:lnTo>
                  <a:lnTo>
                    <a:pt x="7187" y="3569"/>
                  </a:lnTo>
                  <a:lnTo>
                    <a:pt x="7192" y="3561"/>
                  </a:lnTo>
                  <a:lnTo>
                    <a:pt x="7198" y="3562"/>
                  </a:lnTo>
                  <a:lnTo>
                    <a:pt x="7203" y="3567"/>
                  </a:lnTo>
                  <a:lnTo>
                    <a:pt x="7212" y="3556"/>
                  </a:lnTo>
                  <a:lnTo>
                    <a:pt x="7228" y="3545"/>
                  </a:lnTo>
                  <a:lnTo>
                    <a:pt x="7252" y="3536"/>
                  </a:lnTo>
                  <a:lnTo>
                    <a:pt x="7269" y="3542"/>
                  </a:lnTo>
                  <a:lnTo>
                    <a:pt x="7268" y="3536"/>
                  </a:lnTo>
                  <a:lnTo>
                    <a:pt x="7264" y="3529"/>
                  </a:lnTo>
                  <a:lnTo>
                    <a:pt x="7262" y="3516"/>
                  </a:lnTo>
                  <a:lnTo>
                    <a:pt x="7262" y="3479"/>
                  </a:lnTo>
                  <a:lnTo>
                    <a:pt x="7263" y="3463"/>
                  </a:lnTo>
                  <a:lnTo>
                    <a:pt x="7273" y="3450"/>
                  </a:lnTo>
                  <a:lnTo>
                    <a:pt x="7301" y="3423"/>
                  </a:lnTo>
                  <a:lnTo>
                    <a:pt x="7319" y="3413"/>
                  </a:lnTo>
                  <a:lnTo>
                    <a:pt x="7335" y="3409"/>
                  </a:lnTo>
                  <a:lnTo>
                    <a:pt x="7341" y="3418"/>
                  </a:lnTo>
                  <a:lnTo>
                    <a:pt x="7354" y="3418"/>
                  </a:lnTo>
                  <a:lnTo>
                    <a:pt x="7366" y="3414"/>
                  </a:lnTo>
                  <a:lnTo>
                    <a:pt x="7382" y="3398"/>
                  </a:lnTo>
                  <a:lnTo>
                    <a:pt x="7384" y="3390"/>
                  </a:lnTo>
                  <a:lnTo>
                    <a:pt x="7365" y="3362"/>
                  </a:lnTo>
                  <a:lnTo>
                    <a:pt x="7360" y="3347"/>
                  </a:lnTo>
                  <a:lnTo>
                    <a:pt x="7357" y="3335"/>
                  </a:lnTo>
                  <a:lnTo>
                    <a:pt x="7359" y="3322"/>
                  </a:lnTo>
                  <a:lnTo>
                    <a:pt x="7362" y="3305"/>
                  </a:lnTo>
                  <a:lnTo>
                    <a:pt x="7368" y="3293"/>
                  </a:lnTo>
                  <a:lnTo>
                    <a:pt x="7372" y="3279"/>
                  </a:lnTo>
                  <a:lnTo>
                    <a:pt x="7381" y="3267"/>
                  </a:lnTo>
                  <a:lnTo>
                    <a:pt x="7397" y="3256"/>
                  </a:lnTo>
                  <a:lnTo>
                    <a:pt x="7394" y="3247"/>
                  </a:lnTo>
                  <a:lnTo>
                    <a:pt x="7391" y="3242"/>
                  </a:lnTo>
                  <a:lnTo>
                    <a:pt x="7389" y="3237"/>
                  </a:lnTo>
                  <a:lnTo>
                    <a:pt x="7405" y="3231"/>
                  </a:lnTo>
                  <a:lnTo>
                    <a:pt x="7422" y="3229"/>
                  </a:lnTo>
                  <a:lnTo>
                    <a:pt x="7429" y="3222"/>
                  </a:lnTo>
                  <a:lnTo>
                    <a:pt x="7431" y="3226"/>
                  </a:lnTo>
                  <a:lnTo>
                    <a:pt x="7424" y="3237"/>
                  </a:lnTo>
                  <a:lnTo>
                    <a:pt x="7416" y="3242"/>
                  </a:lnTo>
                  <a:lnTo>
                    <a:pt x="7413" y="3251"/>
                  </a:lnTo>
                  <a:lnTo>
                    <a:pt x="7422" y="3271"/>
                  </a:lnTo>
                  <a:lnTo>
                    <a:pt x="7431" y="3274"/>
                  </a:lnTo>
                  <a:lnTo>
                    <a:pt x="7435" y="3274"/>
                  </a:lnTo>
                  <a:lnTo>
                    <a:pt x="7445" y="3258"/>
                  </a:lnTo>
                  <a:lnTo>
                    <a:pt x="7447" y="3247"/>
                  </a:lnTo>
                  <a:lnTo>
                    <a:pt x="7442" y="3212"/>
                  </a:lnTo>
                  <a:lnTo>
                    <a:pt x="7437" y="3203"/>
                  </a:lnTo>
                  <a:lnTo>
                    <a:pt x="7421" y="3206"/>
                  </a:lnTo>
                  <a:lnTo>
                    <a:pt x="7419" y="3202"/>
                  </a:lnTo>
                  <a:lnTo>
                    <a:pt x="7419" y="3180"/>
                  </a:lnTo>
                  <a:lnTo>
                    <a:pt x="7416" y="3159"/>
                  </a:lnTo>
                  <a:lnTo>
                    <a:pt x="7418" y="3147"/>
                  </a:lnTo>
                  <a:lnTo>
                    <a:pt x="7421" y="3137"/>
                  </a:lnTo>
                  <a:lnTo>
                    <a:pt x="7434" y="3126"/>
                  </a:lnTo>
                  <a:lnTo>
                    <a:pt x="7445" y="3106"/>
                  </a:lnTo>
                  <a:lnTo>
                    <a:pt x="7443" y="3097"/>
                  </a:lnTo>
                  <a:lnTo>
                    <a:pt x="7413" y="3079"/>
                  </a:lnTo>
                  <a:lnTo>
                    <a:pt x="7400" y="3083"/>
                  </a:lnTo>
                  <a:lnTo>
                    <a:pt x="7397" y="3096"/>
                  </a:lnTo>
                  <a:lnTo>
                    <a:pt x="7394" y="3100"/>
                  </a:lnTo>
                  <a:lnTo>
                    <a:pt x="7387" y="3097"/>
                  </a:lnTo>
                  <a:lnTo>
                    <a:pt x="7381" y="3093"/>
                  </a:lnTo>
                  <a:lnTo>
                    <a:pt x="7377" y="3081"/>
                  </a:lnTo>
                  <a:lnTo>
                    <a:pt x="7377" y="3063"/>
                  </a:lnTo>
                  <a:lnTo>
                    <a:pt x="7381" y="3051"/>
                  </a:lnTo>
                  <a:lnTo>
                    <a:pt x="7386" y="3032"/>
                  </a:lnTo>
                  <a:lnTo>
                    <a:pt x="7393" y="3019"/>
                  </a:lnTo>
                  <a:lnTo>
                    <a:pt x="7407" y="2999"/>
                  </a:lnTo>
                  <a:lnTo>
                    <a:pt x="7420" y="2983"/>
                  </a:lnTo>
                  <a:lnTo>
                    <a:pt x="7427" y="2970"/>
                  </a:lnTo>
                  <a:lnTo>
                    <a:pt x="7426" y="2960"/>
                  </a:lnTo>
                  <a:lnTo>
                    <a:pt x="7430" y="2954"/>
                  </a:lnTo>
                  <a:lnTo>
                    <a:pt x="7440" y="2957"/>
                  </a:lnTo>
                  <a:lnTo>
                    <a:pt x="7437" y="2950"/>
                  </a:lnTo>
                  <a:lnTo>
                    <a:pt x="7437" y="2943"/>
                  </a:lnTo>
                  <a:lnTo>
                    <a:pt x="7446" y="2938"/>
                  </a:lnTo>
                  <a:lnTo>
                    <a:pt x="7450" y="2932"/>
                  </a:lnTo>
                  <a:lnTo>
                    <a:pt x="7446" y="2918"/>
                  </a:lnTo>
                  <a:lnTo>
                    <a:pt x="7447" y="2905"/>
                  </a:lnTo>
                  <a:lnTo>
                    <a:pt x="7454" y="2892"/>
                  </a:lnTo>
                  <a:lnTo>
                    <a:pt x="7456" y="2881"/>
                  </a:lnTo>
                  <a:lnTo>
                    <a:pt x="7462" y="2875"/>
                  </a:lnTo>
                  <a:lnTo>
                    <a:pt x="7472" y="2871"/>
                  </a:lnTo>
                  <a:lnTo>
                    <a:pt x="7485" y="2862"/>
                  </a:lnTo>
                  <a:lnTo>
                    <a:pt x="7492" y="2867"/>
                  </a:lnTo>
                  <a:lnTo>
                    <a:pt x="7496" y="2876"/>
                  </a:lnTo>
                  <a:lnTo>
                    <a:pt x="7505" y="2864"/>
                  </a:lnTo>
                  <a:lnTo>
                    <a:pt x="7517" y="2855"/>
                  </a:lnTo>
                  <a:lnTo>
                    <a:pt x="7527" y="2865"/>
                  </a:lnTo>
                  <a:lnTo>
                    <a:pt x="7532" y="2879"/>
                  </a:lnTo>
                  <a:lnTo>
                    <a:pt x="7542" y="2881"/>
                  </a:lnTo>
                  <a:lnTo>
                    <a:pt x="7547" y="2864"/>
                  </a:lnTo>
                  <a:lnTo>
                    <a:pt x="7547" y="2852"/>
                  </a:lnTo>
                  <a:lnTo>
                    <a:pt x="7556" y="2840"/>
                  </a:lnTo>
                  <a:lnTo>
                    <a:pt x="7563" y="2836"/>
                  </a:lnTo>
                  <a:lnTo>
                    <a:pt x="7581" y="2830"/>
                  </a:lnTo>
                  <a:lnTo>
                    <a:pt x="7588" y="2824"/>
                  </a:lnTo>
                  <a:lnTo>
                    <a:pt x="7598" y="2809"/>
                  </a:lnTo>
                  <a:lnTo>
                    <a:pt x="7604" y="2803"/>
                  </a:lnTo>
                  <a:lnTo>
                    <a:pt x="7609" y="2806"/>
                  </a:lnTo>
                  <a:lnTo>
                    <a:pt x="7612" y="2814"/>
                  </a:lnTo>
                  <a:lnTo>
                    <a:pt x="7607" y="2821"/>
                  </a:lnTo>
                  <a:lnTo>
                    <a:pt x="7610" y="2841"/>
                  </a:lnTo>
                  <a:lnTo>
                    <a:pt x="7606" y="2855"/>
                  </a:lnTo>
                  <a:lnTo>
                    <a:pt x="7606" y="2864"/>
                  </a:lnTo>
                  <a:lnTo>
                    <a:pt x="7604" y="2870"/>
                  </a:lnTo>
                  <a:lnTo>
                    <a:pt x="7602" y="2875"/>
                  </a:lnTo>
                  <a:lnTo>
                    <a:pt x="7602" y="2880"/>
                  </a:lnTo>
                  <a:lnTo>
                    <a:pt x="7606" y="2880"/>
                  </a:lnTo>
                  <a:lnTo>
                    <a:pt x="7618" y="2863"/>
                  </a:lnTo>
                  <a:lnTo>
                    <a:pt x="7647" y="2835"/>
                  </a:lnTo>
                  <a:lnTo>
                    <a:pt x="7649" y="2828"/>
                  </a:lnTo>
                  <a:lnTo>
                    <a:pt x="7647" y="2819"/>
                  </a:lnTo>
                  <a:lnTo>
                    <a:pt x="7650" y="2815"/>
                  </a:lnTo>
                  <a:lnTo>
                    <a:pt x="7658" y="2822"/>
                  </a:lnTo>
                  <a:lnTo>
                    <a:pt x="7667" y="2814"/>
                  </a:lnTo>
                  <a:lnTo>
                    <a:pt x="7678" y="2812"/>
                  </a:lnTo>
                  <a:lnTo>
                    <a:pt x="7694" y="2800"/>
                  </a:lnTo>
                  <a:lnTo>
                    <a:pt x="7706" y="2799"/>
                  </a:lnTo>
                  <a:lnTo>
                    <a:pt x="7714" y="2790"/>
                  </a:lnTo>
                  <a:lnTo>
                    <a:pt x="7720" y="2795"/>
                  </a:lnTo>
                  <a:lnTo>
                    <a:pt x="7726" y="2794"/>
                  </a:lnTo>
                  <a:lnTo>
                    <a:pt x="7755" y="2795"/>
                  </a:lnTo>
                  <a:lnTo>
                    <a:pt x="7770" y="2799"/>
                  </a:lnTo>
                  <a:lnTo>
                    <a:pt x="7781" y="2804"/>
                  </a:lnTo>
                  <a:lnTo>
                    <a:pt x="7795" y="2815"/>
                  </a:lnTo>
                  <a:lnTo>
                    <a:pt x="7800" y="2827"/>
                  </a:lnTo>
                  <a:lnTo>
                    <a:pt x="7819" y="2857"/>
                  </a:lnTo>
                  <a:lnTo>
                    <a:pt x="7820" y="2863"/>
                  </a:lnTo>
                  <a:lnTo>
                    <a:pt x="7833" y="2865"/>
                  </a:lnTo>
                  <a:lnTo>
                    <a:pt x="7836" y="2863"/>
                  </a:lnTo>
                  <a:lnTo>
                    <a:pt x="7836" y="2846"/>
                  </a:lnTo>
                  <a:lnTo>
                    <a:pt x="7848" y="2820"/>
                  </a:lnTo>
                  <a:lnTo>
                    <a:pt x="7848" y="2814"/>
                  </a:lnTo>
                  <a:lnTo>
                    <a:pt x="7845" y="2811"/>
                  </a:lnTo>
                  <a:lnTo>
                    <a:pt x="7852" y="2809"/>
                  </a:lnTo>
                  <a:lnTo>
                    <a:pt x="7865" y="2800"/>
                  </a:lnTo>
                  <a:lnTo>
                    <a:pt x="7871" y="2799"/>
                  </a:lnTo>
                  <a:lnTo>
                    <a:pt x="7875" y="2792"/>
                  </a:lnTo>
                  <a:lnTo>
                    <a:pt x="7879" y="2795"/>
                  </a:lnTo>
                  <a:lnTo>
                    <a:pt x="7886" y="2795"/>
                  </a:lnTo>
                  <a:lnTo>
                    <a:pt x="7899" y="2778"/>
                  </a:lnTo>
                  <a:lnTo>
                    <a:pt x="7903" y="2777"/>
                  </a:lnTo>
                  <a:lnTo>
                    <a:pt x="7903" y="2772"/>
                  </a:lnTo>
                  <a:lnTo>
                    <a:pt x="7913" y="2765"/>
                  </a:lnTo>
                  <a:lnTo>
                    <a:pt x="7921" y="2763"/>
                  </a:lnTo>
                  <a:lnTo>
                    <a:pt x="7925" y="2760"/>
                  </a:lnTo>
                  <a:lnTo>
                    <a:pt x="7931" y="2758"/>
                  </a:lnTo>
                  <a:lnTo>
                    <a:pt x="7932" y="2754"/>
                  </a:lnTo>
                  <a:lnTo>
                    <a:pt x="7931" y="2749"/>
                  </a:lnTo>
                  <a:lnTo>
                    <a:pt x="7926" y="2744"/>
                  </a:lnTo>
                  <a:lnTo>
                    <a:pt x="7927" y="2739"/>
                  </a:lnTo>
                  <a:lnTo>
                    <a:pt x="7936" y="2746"/>
                  </a:lnTo>
                  <a:lnTo>
                    <a:pt x="7941" y="2749"/>
                  </a:lnTo>
                  <a:lnTo>
                    <a:pt x="7946" y="2745"/>
                  </a:lnTo>
                  <a:lnTo>
                    <a:pt x="7948" y="2733"/>
                  </a:lnTo>
                  <a:lnTo>
                    <a:pt x="7946" y="2727"/>
                  </a:lnTo>
                  <a:lnTo>
                    <a:pt x="7957" y="2727"/>
                  </a:lnTo>
                  <a:lnTo>
                    <a:pt x="7968" y="2719"/>
                  </a:lnTo>
                  <a:lnTo>
                    <a:pt x="7970" y="2719"/>
                  </a:lnTo>
                  <a:lnTo>
                    <a:pt x="7973" y="2714"/>
                  </a:lnTo>
                  <a:lnTo>
                    <a:pt x="7968" y="2703"/>
                  </a:lnTo>
                  <a:lnTo>
                    <a:pt x="7972" y="2701"/>
                  </a:lnTo>
                  <a:lnTo>
                    <a:pt x="7978" y="2706"/>
                  </a:lnTo>
                  <a:lnTo>
                    <a:pt x="7981" y="2706"/>
                  </a:lnTo>
                  <a:lnTo>
                    <a:pt x="7988" y="2702"/>
                  </a:lnTo>
                  <a:lnTo>
                    <a:pt x="7992" y="2696"/>
                  </a:lnTo>
                  <a:lnTo>
                    <a:pt x="7996" y="2688"/>
                  </a:lnTo>
                  <a:lnTo>
                    <a:pt x="8000" y="2688"/>
                  </a:lnTo>
                  <a:lnTo>
                    <a:pt x="8002" y="2684"/>
                  </a:lnTo>
                  <a:lnTo>
                    <a:pt x="8004" y="2671"/>
                  </a:lnTo>
                  <a:lnTo>
                    <a:pt x="8006" y="2664"/>
                  </a:lnTo>
                  <a:lnTo>
                    <a:pt x="8012" y="2665"/>
                  </a:lnTo>
                  <a:lnTo>
                    <a:pt x="8017" y="2674"/>
                  </a:lnTo>
                  <a:lnTo>
                    <a:pt x="8022" y="2675"/>
                  </a:lnTo>
                  <a:lnTo>
                    <a:pt x="8027" y="2672"/>
                  </a:lnTo>
                  <a:lnTo>
                    <a:pt x="8040" y="2660"/>
                  </a:lnTo>
                  <a:lnTo>
                    <a:pt x="8067" y="2652"/>
                  </a:lnTo>
                  <a:lnTo>
                    <a:pt x="8075" y="2644"/>
                  </a:lnTo>
                  <a:lnTo>
                    <a:pt x="8090" y="2637"/>
                  </a:lnTo>
                  <a:lnTo>
                    <a:pt x="8093" y="2629"/>
                  </a:lnTo>
                  <a:lnTo>
                    <a:pt x="8094" y="2623"/>
                  </a:lnTo>
                  <a:lnTo>
                    <a:pt x="8094" y="2616"/>
                  </a:lnTo>
                  <a:lnTo>
                    <a:pt x="8103" y="2614"/>
                  </a:lnTo>
                  <a:lnTo>
                    <a:pt x="8102" y="2618"/>
                  </a:lnTo>
                  <a:lnTo>
                    <a:pt x="8099" y="2625"/>
                  </a:lnTo>
                  <a:lnTo>
                    <a:pt x="8103" y="2625"/>
                  </a:lnTo>
                  <a:lnTo>
                    <a:pt x="8126" y="2612"/>
                  </a:lnTo>
                  <a:lnTo>
                    <a:pt x="8133" y="2612"/>
                  </a:lnTo>
                  <a:lnTo>
                    <a:pt x="8146" y="2605"/>
                  </a:lnTo>
                  <a:lnTo>
                    <a:pt x="8182" y="2579"/>
                  </a:lnTo>
                  <a:lnTo>
                    <a:pt x="8209" y="2569"/>
                  </a:lnTo>
                  <a:lnTo>
                    <a:pt x="8212" y="2566"/>
                  </a:lnTo>
                  <a:lnTo>
                    <a:pt x="8210" y="2563"/>
                  </a:lnTo>
                  <a:lnTo>
                    <a:pt x="8205" y="2559"/>
                  </a:lnTo>
                  <a:lnTo>
                    <a:pt x="8199" y="2543"/>
                  </a:lnTo>
                  <a:lnTo>
                    <a:pt x="8196" y="2534"/>
                  </a:lnTo>
                  <a:lnTo>
                    <a:pt x="8200" y="2530"/>
                  </a:lnTo>
                  <a:lnTo>
                    <a:pt x="8204" y="2536"/>
                  </a:lnTo>
                  <a:lnTo>
                    <a:pt x="8209" y="2548"/>
                  </a:lnTo>
                  <a:lnTo>
                    <a:pt x="8215" y="2557"/>
                  </a:lnTo>
                  <a:lnTo>
                    <a:pt x="8219" y="2557"/>
                  </a:lnTo>
                  <a:lnTo>
                    <a:pt x="8219" y="2563"/>
                  </a:lnTo>
                  <a:lnTo>
                    <a:pt x="8221" y="2566"/>
                  </a:lnTo>
                  <a:lnTo>
                    <a:pt x="8232" y="2567"/>
                  </a:lnTo>
                  <a:lnTo>
                    <a:pt x="8231" y="2559"/>
                  </a:lnTo>
                  <a:lnTo>
                    <a:pt x="8227" y="2553"/>
                  </a:lnTo>
                  <a:lnTo>
                    <a:pt x="8233" y="2553"/>
                  </a:lnTo>
                  <a:lnTo>
                    <a:pt x="8237" y="2561"/>
                  </a:lnTo>
                  <a:lnTo>
                    <a:pt x="8243" y="2568"/>
                  </a:lnTo>
                  <a:lnTo>
                    <a:pt x="8253" y="2568"/>
                  </a:lnTo>
                  <a:lnTo>
                    <a:pt x="8266" y="2573"/>
                  </a:lnTo>
                  <a:lnTo>
                    <a:pt x="8275" y="2582"/>
                  </a:lnTo>
                  <a:lnTo>
                    <a:pt x="8290" y="2591"/>
                  </a:lnTo>
                  <a:lnTo>
                    <a:pt x="8306" y="2596"/>
                  </a:lnTo>
                  <a:lnTo>
                    <a:pt x="8309" y="2594"/>
                  </a:lnTo>
                  <a:lnTo>
                    <a:pt x="8313" y="2582"/>
                  </a:lnTo>
                  <a:lnTo>
                    <a:pt x="8320" y="2580"/>
                  </a:lnTo>
                  <a:lnTo>
                    <a:pt x="8334" y="2558"/>
                  </a:lnTo>
                  <a:lnTo>
                    <a:pt x="8338" y="2545"/>
                  </a:lnTo>
                  <a:lnTo>
                    <a:pt x="8334" y="2535"/>
                  </a:lnTo>
                  <a:lnTo>
                    <a:pt x="8324" y="2526"/>
                  </a:lnTo>
                  <a:lnTo>
                    <a:pt x="8311" y="2521"/>
                  </a:lnTo>
                  <a:lnTo>
                    <a:pt x="8308" y="2518"/>
                  </a:lnTo>
                  <a:lnTo>
                    <a:pt x="8307" y="2512"/>
                  </a:lnTo>
                  <a:lnTo>
                    <a:pt x="8309" y="2512"/>
                  </a:lnTo>
                  <a:lnTo>
                    <a:pt x="8316" y="2509"/>
                  </a:lnTo>
                  <a:lnTo>
                    <a:pt x="8327" y="2510"/>
                  </a:lnTo>
                  <a:lnTo>
                    <a:pt x="8332" y="2507"/>
                  </a:lnTo>
                  <a:lnTo>
                    <a:pt x="8324" y="2491"/>
                  </a:lnTo>
                  <a:lnTo>
                    <a:pt x="8317" y="2491"/>
                  </a:lnTo>
                  <a:lnTo>
                    <a:pt x="8308" y="2478"/>
                  </a:lnTo>
                  <a:lnTo>
                    <a:pt x="8301" y="2464"/>
                  </a:lnTo>
                  <a:lnTo>
                    <a:pt x="8297" y="2443"/>
                  </a:lnTo>
                  <a:lnTo>
                    <a:pt x="8295" y="2435"/>
                  </a:lnTo>
                  <a:lnTo>
                    <a:pt x="8291" y="2396"/>
                  </a:lnTo>
                  <a:lnTo>
                    <a:pt x="8280" y="2402"/>
                  </a:lnTo>
                  <a:lnTo>
                    <a:pt x="8271" y="2390"/>
                  </a:lnTo>
                  <a:lnTo>
                    <a:pt x="8270" y="2384"/>
                  </a:lnTo>
                  <a:lnTo>
                    <a:pt x="8280" y="2381"/>
                  </a:lnTo>
                  <a:lnTo>
                    <a:pt x="8284" y="2384"/>
                  </a:lnTo>
                  <a:lnTo>
                    <a:pt x="8280" y="2369"/>
                  </a:lnTo>
                  <a:lnTo>
                    <a:pt x="8273" y="2347"/>
                  </a:lnTo>
                  <a:lnTo>
                    <a:pt x="8266" y="2359"/>
                  </a:lnTo>
                  <a:lnTo>
                    <a:pt x="8260" y="2363"/>
                  </a:lnTo>
                  <a:lnTo>
                    <a:pt x="8249" y="2358"/>
                  </a:lnTo>
                  <a:lnTo>
                    <a:pt x="8242" y="2349"/>
                  </a:lnTo>
                  <a:lnTo>
                    <a:pt x="8231" y="2346"/>
                  </a:lnTo>
                  <a:lnTo>
                    <a:pt x="8222" y="2335"/>
                  </a:lnTo>
                  <a:lnTo>
                    <a:pt x="8221" y="2321"/>
                  </a:lnTo>
                  <a:lnTo>
                    <a:pt x="8221" y="2311"/>
                  </a:lnTo>
                  <a:lnTo>
                    <a:pt x="8222" y="2300"/>
                  </a:lnTo>
                  <a:lnTo>
                    <a:pt x="8230" y="2292"/>
                  </a:lnTo>
                  <a:lnTo>
                    <a:pt x="8239" y="2300"/>
                  </a:lnTo>
                  <a:lnTo>
                    <a:pt x="8258" y="2305"/>
                  </a:lnTo>
                  <a:lnTo>
                    <a:pt x="8268" y="2298"/>
                  </a:lnTo>
                  <a:lnTo>
                    <a:pt x="8266" y="2302"/>
                  </a:lnTo>
                  <a:lnTo>
                    <a:pt x="8271" y="2309"/>
                  </a:lnTo>
                  <a:lnTo>
                    <a:pt x="8289" y="2305"/>
                  </a:lnTo>
                  <a:lnTo>
                    <a:pt x="8285" y="2314"/>
                  </a:lnTo>
                  <a:lnTo>
                    <a:pt x="8286" y="2319"/>
                  </a:lnTo>
                  <a:lnTo>
                    <a:pt x="8298" y="2310"/>
                  </a:lnTo>
                  <a:lnTo>
                    <a:pt x="8306" y="2299"/>
                  </a:lnTo>
                  <a:lnTo>
                    <a:pt x="8320" y="2292"/>
                  </a:lnTo>
                  <a:lnTo>
                    <a:pt x="8335" y="2288"/>
                  </a:lnTo>
                  <a:lnTo>
                    <a:pt x="8355" y="2263"/>
                  </a:lnTo>
                  <a:lnTo>
                    <a:pt x="8363" y="2256"/>
                  </a:lnTo>
                  <a:lnTo>
                    <a:pt x="8363" y="2254"/>
                  </a:lnTo>
                  <a:lnTo>
                    <a:pt x="8377" y="2243"/>
                  </a:lnTo>
                  <a:lnTo>
                    <a:pt x="8393" y="2219"/>
                  </a:lnTo>
                  <a:lnTo>
                    <a:pt x="8395" y="2204"/>
                  </a:lnTo>
                  <a:lnTo>
                    <a:pt x="8404" y="2193"/>
                  </a:lnTo>
                  <a:lnTo>
                    <a:pt x="8403" y="2179"/>
                  </a:lnTo>
                  <a:lnTo>
                    <a:pt x="8390" y="2170"/>
                  </a:lnTo>
                  <a:lnTo>
                    <a:pt x="8373" y="2149"/>
                  </a:lnTo>
                  <a:lnTo>
                    <a:pt x="8372" y="2130"/>
                  </a:lnTo>
                  <a:lnTo>
                    <a:pt x="8370" y="2115"/>
                  </a:lnTo>
                  <a:lnTo>
                    <a:pt x="8378" y="2115"/>
                  </a:lnTo>
                  <a:lnTo>
                    <a:pt x="8384" y="2111"/>
                  </a:lnTo>
                  <a:lnTo>
                    <a:pt x="8389" y="2119"/>
                  </a:lnTo>
                  <a:lnTo>
                    <a:pt x="8402" y="2112"/>
                  </a:lnTo>
                  <a:lnTo>
                    <a:pt x="8400" y="2088"/>
                  </a:lnTo>
                  <a:lnTo>
                    <a:pt x="8408" y="2095"/>
                  </a:lnTo>
                  <a:lnTo>
                    <a:pt x="8410" y="2085"/>
                  </a:lnTo>
                  <a:lnTo>
                    <a:pt x="8413" y="2096"/>
                  </a:lnTo>
                  <a:lnTo>
                    <a:pt x="8424" y="2110"/>
                  </a:lnTo>
                  <a:lnTo>
                    <a:pt x="8431" y="2107"/>
                  </a:lnTo>
                  <a:lnTo>
                    <a:pt x="8437" y="2095"/>
                  </a:lnTo>
                  <a:lnTo>
                    <a:pt x="8440" y="2085"/>
                  </a:lnTo>
                  <a:lnTo>
                    <a:pt x="8446" y="2084"/>
                  </a:lnTo>
                  <a:lnTo>
                    <a:pt x="8447" y="2087"/>
                  </a:lnTo>
                  <a:lnTo>
                    <a:pt x="8443" y="2106"/>
                  </a:lnTo>
                  <a:lnTo>
                    <a:pt x="8445" y="2120"/>
                  </a:lnTo>
                  <a:lnTo>
                    <a:pt x="8436" y="2126"/>
                  </a:lnTo>
                  <a:lnTo>
                    <a:pt x="8430" y="2126"/>
                  </a:lnTo>
                  <a:lnTo>
                    <a:pt x="8422" y="2123"/>
                  </a:lnTo>
                  <a:lnTo>
                    <a:pt x="8427" y="2137"/>
                  </a:lnTo>
                  <a:lnTo>
                    <a:pt x="8432" y="2147"/>
                  </a:lnTo>
                  <a:lnTo>
                    <a:pt x="8437" y="2158"/>
                  </a:lnTo>
                  <a:lnTo>
                    <a:pt x="8443" y="2159"/>
                  </a:lnTo>
                  <a:lnTo>
                    <a:pt x="8448" y="2173"/>
                  </a:lnTo>
                  <a:lnTo>
                    <a:pt x="8448" y="2190"/>
                  </a:lnTo>
                  <a:lnTo>
                    <a:pt x="8459" y="2195"/>
                  </a:lnTo>
                  <a:lnTo>
                    <a:pt x="8473" y="2195"/>
                  </a:lnTo>
                  <a:lnTo>
                    <a:pt x="8491" y="2200"/>
                  </a:lnTo>
                  <a:lnTo>
                    <a:pt x="8511" y="2193"/>
                  </a:lnTo>
                  <a:lnTo>
                    <a:pt x="8516" y="2185"/>
                  </a:lnTo>
                  <a:lnTo>
                    <a:pt x="8526" y="2184"/>
                  </a:lnTo>
                  <a:lnTo>
                    <a:pt x="8546" y="2187"/>
                  </a:lnTo>
                  <a:lnTo>
                    <a:pt x="8556" y="2185"/>
                  </a:lnTo>
                  <a:lnTo>
                    <a:pt x="8564" y="2192"/>
                  </a:lnTo>
                  <a:lnTo>
                    <a:pt x="8569" y="2200"/>
                  </a:lnTo>
                  <a:lnTo>
                    <a:pt x="8578" y="2200"/>
                  </a:lnTo>
                  <a:lnTo>
                    <a:pt x="8589" y="2204"/>
                  </a:lnTo>
                  <a:lnTo>
                    <a:pt x="8588" y="2222"/>
                  </a:lnTo>
                  <a:lnTo>
                    <a:pt x="8593" y="2233"/>
                  </a:lnTo>
                  <a:lnTo>
                    <a:pt x="8593" y="2247"/>
                  </a:lnTo>
                  <a:lnTo>
                    <a:pt x="8591" y="2259"/>
                  </a:lnTo>
                  <a:lnTo>
                    <a:pt x="8613" y="2278"/>
                  </a:lnTo>
                  <a:lnTo>
                    <a:pt x="8618" y="2286"/>
                  </a:lnTo>
                  <a:lnTo>
                    <a:pt x="8619" y="2293"/>
                  </a:lnTo>
                  <a:lnTo>
                    <a:pt x="8630" y="2294"/>
                  </a:lnTo>
                  <a:lnTo>
                    <a:pt x="8640" y="2299"/>
                  </a:lnTo>
                  <a:lnTo>
                    <a:pt x="8645" y="2298"/>
                  </a:lnTo>
                  <a:lnTo>
                    <a:pt x="8637" y="2292"/>
                  </a:lnTo>
                  <a:lnTo>
                    <a:pt x="8644" y="2281"/>
                  </a:lnTo>
                  <a:lnTo>
                    <a:pt x="8646" y="2287"/>
                  </a:lnTo>
                  <a:lnTo>
                    <a:pt x="8656" y="2288"/>
                  </a:lnTo>
                  <a:lnTo>
                    <a:pt x="8656" y="2272"/>
                  </a:lnTo>
                  <a:lnTo>
                    <a:pt x="8660" y="2266"/>
                  </a:lnTo>
                  <a:lnTo>
                    <a:pt x="8661" y="2270"/>
                  </a:lnTo>
                  <a:lnTo>
                    <a:pt x="8660" y="2286"/>
                  </a:lnTo>
                  <a:lnTo>
                    <a:pt x="8652" y="2295"/>
                  </a:lnTo>
                  <a:lnTo>
                    <a:pt x="8668" y="2309"/>
                  </a:lnTo>
                  <a:lnTo>
                    <a:pt x="8678" y="2309"/>
                  </a:lnTo>
                  <a:lnTo>
                    <a:pt x="8684" y="2313"/>
                  </a:lnTo>
                  <a:lnTo>
                    <a:pt x="8682" y="2319"/>
                  </a:lnTo>
                  <a:lnTo>
                    <a:pt x="8693" y="2329"/>
                  </a:lnTo>
                  <a:lnTo>
                    <a:pt x="8693" y="2340"/>
                  </a:lnTo>
                  <a:lnTo>
                    <a:pt x="8705" y="2340"/>
                  </a:lnTo>
                  <a:lnTo>
                    <a:pt x="8709" y="2330"/>
                  </a:lnTo>
                  <a:lnTo>
                    <a:pt x="8707" y="2345"/>
                  </a:lnTo>
                  <a:lnTo>
                    <a:pt x="8718" y="2348"/>
                  </a:lnTo>
                  <a:lnTo>
                    <a:pt x="8727" y="2343"/>
                  </a:lnTo>
                  <a:lnTo>
                    <a:pt x="8731" y="2331"/>
                  </a:lnTo>
                  <a:lnTo>
                    <a:pt x="8732" y="2317"/>
                  </a:lnTo>
                  <a:lnTo>
                    <a:pt x="8737" y="2324"/>
                  </a:lnTo>
                  <a:lnTo>
                    <a:pt x="8736" y="2332"/>
                  </a:lnTo>
                  <a:lnTo>
                    <a:pt x="8728" y="2351"/>
                  </a:lnTo>
                  <a:lnTo>
                    <a:pt x="8736" y="2358"/>
                  </a:lnTo>
                  <a:lnTo>
                    <a:pt x="8744" y="2360"/>
                  </a:lnTo>
                  <a:lnTo>
                    <a:pt x="8749" y="2359"/>
                  </a:lnTo>
                  <a:lnTo>
                    <a:pt x="8757" y="2352"/>
                  </a:lnTo>
                  <a:lnTo>
                    <a:pt x="8757" y="2335"/>
                  </a:lnTo>
                  <a:lnTo>
                    <a:pt x="8747" y="2333"/>
                  </a:lnTo>
                  <a:lnTo>
                    <a:pt x="8746" y="2329"/>
                  </a:lnTo>
                  <a:lnTo>
                    <a:pt x="8755" y="2326"/>
                  </a:lnTo>
                  <a:lnTo>
                    <a:pt x="8764" y="2331"/>
                  </a:lnTo>
                  <a:lnTo>
                    <a:pt x="8773" y="2341"/>
                  </a:lnTo>
                  <a:lnTo>
                    <a:pt x="8785" y="2337"/>
                  </a:lnTo>
                  <a:lnTo>
                    <a:pt x="8776" y="2319"/>
                  </a:lnTo>
                  <a:lnTo>
                    <a:pt x="8776" y="2315"/>
                  </a:lnTo>
                  <a:lnTo>
                    <a:pt x="8770" y="2309"/>
                  </a:lnTo>
                  <a:lnTo>
                    <a:pt x="8758" y="2311"/>
                  </a:lnTo>
                  <a:lnTo>
                    <a:pt x="8758" y="2309"/>
                  </a:lnTo>
                  <a:lnTo>
                    <a:pt x="8752" y="2305"/>
                  </a:lnTo>
                  <a:lnTo>
                    <a:pt x="8750" y="2300"/>
                  </a:lnTo>
                  <a:lnTo>
                    <a:pt x="8761" y="2299"/>
                  </a:lnTo>
                  <a:lnTo>
                    <a:pt x="8764" y="2293"/>
                  </a:lnTo>
                  <a:lnTo>
                    <a:pt x="8758" y="2287"/>
                  </a:lnTo>
                  <a:lnTo>
                    <a:pt x="8744" y="2290"/>
                  </a:lnTo>
                  <a:lnTo>
                    <a:pt x="8753" y="2283"/>
                  </a:lnTo>
                  <a:lnTo>
                    <a:pt x="8765" y="2283"/>
                  </a:lnTo>
                  <a:lnTo>
                    <a:pt x="8770" y="2278"/>
                  </a:lnTo>
                  <a:lnTo>
                    <a:pt x="8769" y="2270"/>
                  </a:lnTo>
                  <a:lnTo>
                    <a:pt x="8779" y="2276"/>
                  </a:lnTo>
                  <a:lnTo>
                    <a:pt x="8801" y="2256"/>
                  </a:lnTo>
                  <a:lnTo>
                    <a:pt x="8796" y="2249"/>
                  </a:lnTo>
                  <a:lnTo>
                    <a:pt x="8790" y="2236"/>
                  </a:lnTo>
                  <a:lnTo>
                    <a:pt x="8780" y="2238"/>
                  </a:lnTo>
                  <a:lnTo>
                    <a:pt x="8769" y="2233"/>
                  </a:lnTo>
                  <a:lnTo>
                    <a:pt x="8795" y="2232"/>
                  </a:lnTo>
                  <a:lnTo>
                    <a:pt x="8792" y="2220"/>
                  </a:lnTo>
                  <a:lnTo>
                    <a:pt x="8796" y="2209"/>
                  </a:lnTo>
                  <a:lnTo>
                    <a:pt x="8811" y="2197"/>
                  </a:lnTo>
                  <a:lnTo>
                    <a:pt x="8824" y="2195"/>
                  </a:lnTo>
                  <a:lnTo>
                    <a:pt x="8841" y="2201"/>
                  </a:lnTo>
                  <a:lnTo>
                    <a:pt x="8852" y="2201"/>
                  </a:lnTo>
                  <a:lnTo>
                    <a:pt x="8857" y="2195"/>
                  </a:lnTo>
                  <a:lnTo>
                    <a:pt x="8854" y="2186"/>
                  </a:lnTo>
                  <a:lnTo>
                    <a:pt x="8839" y="2176"/>
                  </a:lnTo>
                  <a:lnTo>
                    <a:pt x="8835" y="2160"/>
                  </a:lnTo>
                  <a:lnTo>
                    <a:pt x="8840" y="2153"/>
                  </a:lnTo>
                  <a:lnTo>
                    <a:pt x="8850" y="2166"/>
                  </a:lnTo>
                  <a:lnTo>
                    <a:pt x="8861" y="2173"/>
                  </a:lnTo>
                  <a:lnTo>
                    <a:pt x="8867" y="2182"/>
                  </a:lnTo>
                  <a:lnTo>
                    <a:pt x="8881" y="2184"/>
                  </a:lnTo>
                  <a:lnTo>
                    <a:pt x="8883" y="2174"/>
                  </a:lnTo>
                  <a:lnTo>
                    <a:pt x="8882" y="2164"/>
                  </a:lnTo>
                  <a:lnTo>
                    <a:pt x="8886" y="2142"/>
                  </a:lnTo>
                  <a:lnTo>
                    <a:pt x="8898" y="2137"/>
                  </a:lnTo>
                  <a:lnTo>
                    <a:pt x="8906" y="2126"/>
                  </a:lnTo>
                  <a:lnTo>
                    <a:pt x="8916" y="2125"/>
                  </a:lnTo>
                  <a:lnTo>
                    <a:pt x="8926" y="2127"/>
                  </a:lnTo>
                  <a:lnTo>
                    <a:pt x="8931" y="2116"/>
                  </a:lnTo>
                  <a:lnTo>
                    <a:pt x="8921" y="2114"/>
                  </a:lnTo>
                  <a:lnTo>
                    <a:pt x="8917" y="2116"/>
                  </a:lnTo>
                  <a:lnTo>
                    <a:pt x="8909" y="2110"/>
                  </a:lnTo>
                  <a:lnTo>
                    <a:pt x="8902" y="2109"/>
                  </a:lnTo>
                  <a:lnTo>
                    <a:pt x="8904" y="2101"/>
                  </a:lnTo>
                  <a:lnTo>
                    <a:pt x="8895" y="2091"/>
                  </a:lnTo>
                  <a:lnTo>
                    <a:pt x="8883" y="2104"/>
                  </a:lnTo>
                  <a:lnTo>
                    <a:pt x="8878" y="2098"/>
                  </a:lnTo>
                  <a:lnTo>
                    <a:pt x="8886" y="2093"/>
                  </a:lnTo>
                  <a:lnTo>
                    <a:pt x="8886" y="2089"/>
                  </a:lnTo>
                  <a:lnTo>
                    <a:pt x="8874" y="2078"/>
                  </a:lnTo>
                  <a:lnTo>
                    <a:pt x="8862" y="2071"/>
                  </a:lnTo>
                  <a:lnTo>
                    <a:pt x="8856" y="2058"/>
                  </a:lnTo>
                  <a:lnTo>
                    <a:pt x="8841" y="2046"/>
                  </a:lnTo>
                  <a:lnTo>
                    <a:pt x="8834" y="2035"/>
                  </a:lnTo>
                  <a:lnTo>
                    <a:pt x="8834" y="2026"/>
                  </a:lnTo>
                  <a:lnTo>
                    <a:pt x="8823" y="2020"/>
                  </a:lnTo>
                  <a:lnTo>
                    <a:pt x="8819" y="2013"/>
                  </a:lnTo>
                  <a:lnTo>
                    <a:pt x="8817" y="2002"/>
                  </a:lnTo>
                  <a:lnTo>
                    <a:pt x="8769" y="1992"/>
                  </a:lnTo>
                  <a:lnTo>
                    <a:pt x="8759" y="1996"/>
                  </a:lnTo>
                  <a:lnTo>
                    <a:pt x="8781" y="2002"/>
                  </a:lnTo>
                  <a:lnTo>
                    <a:pt x="8777" y="2009"/>
                  </a:lnTo>
                  <a:lnTo>
                    <a:pt x="8766" y="2010"/>
                  </a:lnTo>
                  <a:lnTo>
                    <a:pt x="8755" y="2008"/>
                  </a:lnTo>
                  <a:lnTo>
                    <a:pt x="8737" y="1997"/>
                  </a:lnTo>
                  <a:lnTo>
                    <a:pt x="8741" y="2010"/>
                  </a:lnTo>
                  <a:lnTo>
                    <a:pt x="8737" y="2019"/>
                  </a:lnTo>
                  <a:lnTo>
                    <a:pt x="8732" y="2019"/>
                  </a:lnTo>
                  <a:lnTo>
                    <a:pt x="8728" y="2009"/>
                  </a:lnTo>
                  <a:lnTo>
                    <a:pt x="8723" y="2002"/>
                  </a:lnTo>
                  <a:lnTo>
                    <a:pt x="8726" y="1992"/>
                  </a:lnTo>
                  <a:lnTo>
                    <a:pt x="8734" y="1990"/>
                  </a:lnTo>
                  <a:lnTo>
                    <a:pt x="8723" y="1983"/>
                  </a:lnTo>
                  <a:lnTo>
                    <a:pt x="8717" y="1983"/>
                  </a:lnTo>
                  <a:lnTo>
                    <a:pt x="8715" y="1977"/>
                  </a:lnTo>
                  <a:lnTo>
                    <a:pt x="8707" y="1975"/>
                  </a:lnTo>
                  <a:lnTo>
                    <a:pt x="8709" y="1982"/>
                  </a:lnTo>
                  <a:lnTo>
                    <a:pt x="8704" y="1993"/>
                  </a:lnTo>
                  <a:lnTo>
                    <a:pt x="8700" y="1991"/>
                  </a:lnTo>
                  <a:lnTo>
                    <a:pt x="8698" y="1985"/>
                  </a:lnTo>
                  <a:lnTo>
                    <a:pt x="8685" y="1981"/>
                  </a:lnTo>
                  <a:lnTo>
                    <a:pt x="8674" y="1982"/>
                  </a:lnTo>
                  <a:lnTo>
                    <a:pt x="8663" y="1987"/>
                  </a:lnTo>
                  <a:lnTo>
                    <a:pt x="8668" y="1994"/>
                  </a:lnTo>
                  <a:lnTo>
                    <a:pt x="8671" y="1987"/>
                  </a:lnTo>
                  <a:lnTo>
                    <a:pt x="8683" y="1983"/>
                  </a:lnTo>
                  <a:lnTo>
                    <a:pt x="8684" y="1988"/>
                  </a:lnTo>
                  <a:lnTo>
                    <a:pt x="8677" y="1992"/>
                  </a:lnTo>
                  <a:lnTo>
                    <a:pt x="8690" y="1997"/>
                  </a:lnTo>
                  <a:lnTo>
                    <a:pt x="8690" y="2023"/>
                  </a:lnTo>
                  <a:lnTo>
                    <a:pt x="8685" y="2046"/>
                  </a:lnTo>
                  <a:lnTo>
                    <a:pt x="8693" y="2048"/>
                  </a:lnTo>
                  <a:lnTo>
                    <a:pt x="8696" y="2044"/>
                  </a:lnTo>
                  <a:lnTo>
                    <a:pt x="8700" y="2047"/>
                  </a:lnTo>
                  <a:lnTo>
                    <a:pt x="8706" y="2060"/>
                  </a:lnTo>
                  <a:lnTo>
                    <a:pt x="8706" y="2069"/>
                  </a:lnTo>
                  <a:lnTo>
                    <a:pt x="8704" y="2079"/>
                  </a:lnTo>
                  <a:lnTo>
                    <a:pt x="8696" y="2080"/>
                  </a:lnTo>
                  <a:lnTo>
                    <a:pt x="8693" y="2088"/>
                  </a:lnTo>
                  <a:lnTo>
                    <a:pt x="8693" y="2080"/>
                  </a:lnTo>
                  <a:lnTo>
                    <a:pt x="8695" y="2076"/>
                  </a:lnTo>
                  <a:lnTo>
                    <a:pt x="8695" y="2061"/>
                  </a:lnTo>
                  <a:lnTo>
                    <a:pt x="8683" y="2056"/>
                  </a:lnTo>
                  <a:lnTo>
                    <a:pt x="8673" y="2057"/>
                  </a:lnTo>
                  <a:lnTo>
                    <a:pt x="8671" y="2047"/>
                  </a:lnTo>
                  <a:lnTo>
                    <a:pt x="8672" y="2041"/>
                  </a:lnTo>
                  <a:lnTo>
                    <a:pt x="8660" y="2034"/>
                  </a:lnTo>
                  <a:lnTo>
                    <a:pt x="8655" y="2025"/>
                  </a:lnTo>
                  <a:lnTo>
                    <a:pt x="8657" y="2013"/>
                  </a:lnTo>
                  <a:lnTo>
                    <a:pt x="8656" y="2002"/>
                  </a:lnTo>
                  <a:lnTo>
                    <a:pt x="8650" y="1987"/>
                  </a:lnTo>
                  <a:lnTo>
                    <a:pt x="8647" y="1971"/>
                  </a:lnTo>
                  <a:lnTo>
                    <a:pt x="8642" y="1949"/>
                  </a:lnTo>
                  <a:lnTo>
                    <a:pt x="8637" y="1940"/>
                  </a:lnTo>
                  <a:lnTo>
                    <a:pt x="8640" y="1932"/>
                  </a:lnTo>
                  <a:lnTo>
                    <a:pt x="8647" y="1940"/>
                  </a:lnTo>
                  <a:lnTo>
                    <a:pt x="8648" y="1951"/>
                  </a:lnTo>
                  <a:lnTo>
                    <a:pt x="8651" y="1947"/>
                  </a:lnTo>
                  <a:lnTo>
                    <a:pt x="8647" y="1938"/>
                  </a:lnTo>
                  <a:lnTo>
                    <a:pt x="8623" y="1920"/>
                  </a:lnTo>
                  <a:lnTo>
                    <a:pt x="8619" y="1906"/>
                  </a:lnTo>
                  <a:lnTo>
                    <a:pt x="8618" y="1897"/>
                  </a:lnTo>
                  <a:lnTo>
                    <a:pt x="8592" y="1884"/>
                  </a:lnTo>
                  <a:lnTo>
                    <a:pt x="8588" y="1886"/>
                  </a:lnTo>
                  <a:lnTo>
                    <a:pt x="8592" y="1897"/>
                  </a:lnTo>
                  <a:lnTo>
                    <a:pt x="8599" y="1910"/>
                  </a:lnTo>
                  <a:lnTo>
                    <a:pt x="8605" y="1916"/>
                  </a:lnTo>
                  <a:lnTo>
                    <a:pt x="8610" y="1916"/>
                  </a:lnTo>
                  <a:lnTo>
                    <a:pt x="8615" y="1923"/>
                  </a:lnTo>
                  <a:lnTo>
                    <a:pt x="8617" y="1932"/>
                  </a:lnTo>
                  <a:lnTo>
                    <a:pt x="8608" y="1928"/>
                  </a:lnTo>
                  <a:lnTo>
                    <a:pt x="8578" y="1906"/>
                  </a:lnTo>
                  <a:lnTo>
                    <a:pt x="8569" y="1904"/>
                  </a:lnTo>
                  <a:lnTo>
                    <a:pt x="8559" y="1897"/>
                  </a:lnTo>
                  <a:lnTo>
                    <a:pt x="8564" y="1891"/>
                  </a:lnTo>
                  <a:lnTo>
                    <a:pt x="8574" y="1889"/>
                  </a:lnTo>
                  <a:lnTo>
                    <a:pt x="8575" y="1879"/>
                  </a:lnTo>
                  <a:lnTo>
                    <a:pt x="8577" y="1874"/>
                  </a:lnTo>
                  <a:lnTo>
                    <a:pt x="8556" y="1869"/>
                  </a:lnTo>
                  <a:lnTo>
                    <a:pt x="8545" y="1869"/>
                  </a:lnTo>
                  <a:lnTo>
                    <a:pt x="8538" y="1863"/>
                  </a:lnTo>
                  <a:lnTo>
                    <a:pt x="8527" y="1859"/>
                  </a:lnTo>
                  <a:lnTo>
                    <a:pt x="8532" y="1852"/>
                  </a:lnTo>
                  <a:lnTo>
                    <a:pt x="8537" y="1851"/>
                  </a:lnTo>
                  <a:lnTo>
                    <a:pt x="8534" y="1845"/>
                  </a:lnTo>
                  <a:lnTo>
                    <a:pt x="8532" y="1836"/>
                  </a:lnTo>
                  <a:lnTo>
                    <a:pt x="8515" y="1836"/>
                  </a:lnTo>
                  <a:lnTo>
                    <a:pt x="8517" y="1829"/>
                  </a:lnTo>
                  <a:lnTo>
                    <a:pt x="8510" y="1818"/>
                  </a:lnTo>
                  <a:lnTo>
                    <a:pt x="8501" y="1820"/>
                  </a:lnTo>
                  <a:lnTo>
                    <a:pt x="8501" y="1816"/>
                  </a:lnTo>
                  <a:lnTo>
                    <a:pt x="8489" y="1808"/>
                  </a:lnTo>
                  <a:lnTo>
                    <a:pt x="8470" y="1816"/>
                  </a:lnTo>
                  <a:lnTo>
                    <a:pt x="8469" y="1810"/>
                  </a:lnTo>
                  <a:lnTo>
                    <a:pt x="8472" y="1802"/>
                  </a:lnTo>
                  <a:lnTo>
                    <a:pt x="8470" y="1795"/>
                  </a:lnTo>
                  <a:lnTo>
                    <a:pt x="8465" y="1787"/>
                  </a:lnTo>
                  <a:lnTo>
                    <a:pt x="8453" y="1776"/>
                  </a:lnTo>
                  <a:lnTo>
                    <a:pt x="8463" y="1789"/>
                  </a:lnTo>
                  <a:lnTo>
                    <a:pt x="8448" y="1782"/>
                  </a:lnTo>
                  <a:lnTo>
                    <a:pt x="8442" y="1782"/>
                  </a:lnTo>
                  <a:lnTo>
                    <a:pt x="8433" y="1773"/>
                  </a:lnTo>
                  <a:lnTo>
                    <a:pt x="8431" y="1752"/>
                  </a:lnTo>
                  <a:lnTo>
                    <a:pt x="8425" y="1740"/>
                  </a:lnTo>
                  <a:lnTo>
                    <a:pt x="8419" y="1740"/>
                  </a:lnTo>
                  <a:lnTo>
                    <a:pt x="8394" y="1729"/>
                  </a:lnTo>
                  <a:lnTo>
                    <a:pt x="8387" y="1721"/>
                  </a:lnTo>
                  <a:lnTo>
                    <a:pt x="8375" y="1722"/>
                  </a:lnTo>
                  <a:lnTo>
                    <a:pt x="8363" y="1716"/>
                  </a:lnTo>
                  <a:lnTo>
                    <a:pt x="8317" y="1666"/>
                  </a:lnTo>
                  <a:lnTo>
                    <a:pt x="8295" y="1652"/>
                  </a:lnTo>
                  <a:lnTo>
                    <a:pt x="8282" y="1648"/>
                  </a:lnTo>
                  <a:lnTo>
                    <a:pt x="8276" y="1637"/>
                  </a:lnTo>
                  <a:lnTo>
                    <a:pt x="8271" y="1641"/>
                  </a:lnTo>
                  <a:lnTo>
                    <a:pt x="8234" y="1622"/>
                  </a:lnTo>
                  <a:lnTo>
                    <a:pt x="8220" y="1606"/>
                  </a:lnTo>
                  <a:lnTo>
                    <a:pt x="8212" y="1609"/>
                  </a:lnTo>
                  <a:lnTo>
                    <a:pt x="8191" y="1599"/>
                  </a:lnTo>
                  <a:lnTo>
                    <a:pt x="8179" y="1598"/>
                  </a:lnTo>
                  <a:lnTo>
                    <a:pt x="8150" y="1569"/>
                  </a:lnTo>
                  <a:lnTo>
                    <a:pt x="8137" y="1567"/>
                  </a:lnTo>
                  <a:lnTo>
                    <a:pt x="8086" y="1566"/>
                  </a:lnTo>
                  <a:lnTo>
                    <a:pt x="8081" y="1571"/>
                  </a:lnTo>
                  <a:lnTo>
                    <a:pt x="8066" y="1574"/>
                  </a:lnTo>
                  <a:lnTo>
                    <a:pt x="8056" y="1568"/>
                  </a:lnTo>
                  <a:lnTo>
                    <a:pt x="8042" y="1563"/>
                  </a:lnTo>
                  <a:lnTo>
                    <a:pt x="8028" y="1567"/>
                  </a:lnTo>
                  <a:lnTo>
                    <a:pt x="8005" y="1565"/>
                  </a:lnTo>
                  <a:lnTo>
                    <a:pt x="7992" y="1571"/>
                  </a:lnTo>
                  <a:lnTo>
                    <a:pt x="7978" y="1568"/>
                  </a:lnTo>
                  <a:lnTo>
                    <a:pt x="7952" y="1553"/>
                  </a:lnTo>
                  <a:lnTo>
                    <a:pt x="7945" y="1556"/>
                  </a:lnTo>
                  <a:lnTo>
                    <a:pt x="7877" y="1539"/>
                  </a:lnTo>
                  <a:lnTo>
                    <a:pt x="7850" y="1539"/>
                  </a:lnTo>
                  <a:lnTo>
                    <a:pt x="7840" y="1545"/>
                  </a:lnTo>
                  <a:lnTo>
                    <a:pt x="7839" y="1557"/>
                  </a:lnTo>
                  <a:lnTo>
                    <a:pt x="7843" y="1567"/>
                  </a:lnTo>
                  <a:lnTo>
                    <a:pt x="7841" y="1589"/>
                  </a:lnTo>
                  <a:lnTo>
                    <a:pt x="7824" y="1595"/>
                  </a:lnTo>
                  <a:lnTo>
                    <a:pt x="7819" y="1608"/>
                  </a:lnTo>
                  <a:lnTo>
                    <a:pt x="7849" y="1615"/>
                  </a:lnTo>
                  <a:lnTo>
                    <a:pt x="7860" y="1651"/>
                  </a:lnTo>
                  <a:lnTo>
                    <a:pt x="7866" y="1657"/>
                  </a:lnTo>
                  <a:lnTo>
                    <a:pt x="7866" y="1666"/>
                  </a:lnTo>
                  <a:lnTo>
                    <a:pt x="7871" y="1689"/>
                  </a:lnTo>
                  <a:lnTo>
                    <a:pt x="7840" y="1725"/>
                  </a:lnTo>
                  <a:lnTo>
                    <a:pt x="7820" y="1739"/>
                  </a:lnTo>
                  <a:lnTo>
                    <a:pt x="7797" y="1738"/>
                  </a:lnTo>
                  <a:lnTo>
                    <a:pt x="7790" y="1733"/>
                  </a:lnTo>
                  <a:lnTo>
                    <a:pt x="7782" y="1711"/>
                  </a:lnTo>
                  <a:lnTo>
                    <a:pt x="7777" y="1700"/>
                  </a:lnTo>
                  <a:lnTo>
                    <a:pt x="7762" y="1690"/>
                  </a:lnTo>
                  <a:lnTo>
                    <a:pt x="7760" y="1684"/>
                  </a:lnTo>
                  <a:lnTo>
                    <a:pt x="7750" y="1678"/>
                  </a:lnTo>
                  <a:lnTo>
                    <a:pt x="7727" y="1675"/>
                  </a:lnTo>
                  <a:lnTo>
                    <a:pt x="7721" y="1670"/>
                  </a:lnTo>
                  <a:lnTo>
                    <a:pt x="7719" y="1663"/>
                  </a:lnTo>
                  <a:lnTo>
                    <a:pt x="7717" y="1655"/>
                  </a:lnTo>
                  <a:lnTo>
                    <a:pt x="7720" y="1625"/>
                  </a:lnTo>
                  <a:lnTo>
                    <a:pt x="7716" y="1614"/>
                  </a:lnTo>
                  <a:lnTo>
                    <a:pt x="7698" y="1608"/>
                  </a:lnTo>
                  <a:lnTo>
                    <a:pt x="7700" y="1598"/>
                  </a:lnTo>
                  <a:lnTo>
                    <a:pt x="7707" y="1595"/>
                  </a:lnTo>
                  <a:lnTo>
                    <a:pt x="7706" y="1590"/>
                  </a:lnTo>
                  <a:lnTo>
                    <a:pt x="7693" y="1582"/>
                  </a:lnTo>
                  <a:lnTo>
                    <a:pt x="7685" y="1584"/>
                  </a:lnTo>
                  <a:lnTo>
                    <a:pt x="7679" y="1590"/>
                  </a:lnTo>
                  <a:lnTo>
                    <a:pt x="7650" y="1627"/>
                  </a:lnTo>
                  <a:lnTo>
                    <a:pt x="7641" y="1628"/>
                  </a:lnTo>
                  <a:lnTo>
                    <a:pt x="7635" y="1626"/>
                  </a:lnTo>
                  <a:lnTo>
                    <a:pt x="7613" y="1626"/>
                  </a:lnTo>
                  <a:lnTo>
                    <a:pt x="7591" y="1614"/>
                  </a:lnTo>
                  <a:lnTo>
                    <a:pt x="7559" y="1610"/>
                  </a:lnTo>
                  <a:lnTo>
                    <a:pt x="7547" y="1614"/>
                  </a:lnTo>
                  <a:lnTo>
                    <a:pt x="7544" y="1617"/>
                  </a:lnTo>
                  <a:lnTo>
                    <a:pt x="7542" y="1614"/>
                  </a:lnTo>
                  <a:lnTo>
                    <a:pt x="7518" y="1616"/>
                  </a:lnTo>
                  <a:lnTo>
                    <a:pt x="7504" y="1606"/>
                  </a:lnTo>
                  <a:lnTo>
                    <a:pt x="7489" y="1582"/>
                  </a:lnTo>
                  <a:lnTo>
                    <a:pt x="7469" y="1594"/>
                  </a:lnTo>
                  <a:lnTo>
                    <a:pt x="7438" y="1590"/>
                  </a:lnTo>
                  <a:lnTo>
                    <a:pt x="7420" y="1600"/>
                  </a:lnTo>
                  <a:lnTo>
                    <a:pt x="7405" y="1594"/>
                  </a:lnTo>
                  <a:lnTo>
                    <a:pt x="7398" y="1594"/>
                  </a:lnTo>
                  <a:lnTo>
                    <a:pt x="7393" y="1599"/>
                  </a:lnTo>
                  <a:lnTo>
                    <a:pt x="7389" y="1606"/>
                  </a:lnTo>
                  <a:lnTo>
                    <a:pt x="7382" y="1606"/>
                  </a:lnTo>
                  <a:lnTo>
                    <a:pt x="7378" y="1623"/>
                  </a:lnTo>
                  <a:lnTo>
                    <a:pt x="7362" y="1622"/>
                  </a:lnTo>
                  <a:lnTo>
                    <a:pt x="7356" y="1635"/>
                  </a:lnTo>
                  <a:lnTo>
                    <a:pt x="7346" y="1646"/>
                  </a:lnTo>
                  <a:lnTo>
                    <a:pt x="7338" y="1643"/>
                  </a:lnTo>
                  <a:lnTo>
                    <a:pt x="7339" y="1626"/>
                  </a:lnTo>
                  <a:lnTo>
                    <a:pt x="7336" y="1616"/>
                  </a:lnTo>
                  <a:lnTo>
                    <a:pt x="7327" y="1620"/>
                  </a:lnTo>
                  <a:lnTo>
                    <a:pt x="7322" y="1617"/>
                  </a:lnTo>
                  <a:lnTo>
                    <a:pt x="7314" y="1605"/>
                  </a:lnTo>
                  <a:lnTo>
                    <a:pt x="7306" y="1596"/>
                  </a:lnTo>
                  <a:lnTo>
                    <a:pt x="7293" y="1590"/>
                  </a:lnTo>
                  <a:lnTo>
                    <a:pt x="7284" y="1590"/>
                  </a:lnTo>
                  <a:lnTo>
                    <a:pt x="7273" y="1590"/>
                  </a:lnTo>
                  <a:lnTo>
                    <a:pt x="7268" y="1582"/>
                  </a:lnTo>
                  <a:lnTo>
                    <a:pt x="7250" y="1578"/>
                  </a:lnTo>
                  <a:lnTo>
                    <a:pt x="7250" y="1569"/>
                  </a:lnTo>
                  <a:lnTo>
                    <a:pt x="7270" y="1509"/>
                  </a:lnTo>
                  <a:lnTo>
                    <a:pt x="7270" y="1497"/>
                  </a:lnTo>
                  <a:lnTo>
                    <a:pt x="7268" y="1486"/>
                  </a:lnTo>
                  <a:lnTo>
                    <a:pt x="7268" y="1480"/>
                  </a:lnTo>
                  <a:lnTo>
                    <a:pt x="7258" y="1459"/>
                  </a:lnTo>
                  <a:lnTo>
                    <a:pt x="7258" y="1455"/>
                  </a:lnTo>
                  <a:lnTo>
                    <a:pt x="7247" y="1444"/>
                  </a:lnTo>
                  <a:lnTo>
                    <a:pt x="7238" y="1431"/>
                  </a:lnTo>
                  <a:lnTo>
                    <a:pt x="7232" y="1426"/>
                  </a:lnTo>
                  <a:lnTo>
                    <a:pt x="7222" y="1409"/>
                  </a:lnTo>
                  <a:lnTo>
                    <a:pt x="7212" y="1402"/>
                  </a:lnTo>
                  <a:lnTo>
                    <a:pt x="7204" y="1393"/>
                  </a:lnTo>
                  <a:lnTo>
                    <a:pt x="7192" y="1388"/>
                  </a:lnTo>
                  <a:lnTo>
                    <a:pt x="7152" y="1384"/>
                  </a:lnTo>
                  <a:lnTo>
                    <a:pt x="7139" y="1379"/>
                  </a:lnTo>
                  <a:lnTo>
                    <a:pt x="7112" y="1378"/>
                  </a:lnTo>
                  <a:lnTo>
                    <a:pt x="7090" y="1382"/>
                  </a:lnTo>
                  <a:lnTo>
                    <a:pt x="7064" y="1380"/>
                  </a:lnTo>
                  <a:lnTo>
                    <a:pt x="7051" y="1383"/>
                  </a:lnTo>
                  <a:lnTo>
                    <a:pt x="7047" y="1388"/>
                  </a:lnTo>
                  <a:lnTo>
                    <a:pt x="7024" y="1385"/>
                  </a:lnTo>
                  <a:lnTo>
                    <a:pt x="7017" y="1393"/>
                  </a:lnTo>
                  <a:lnTo>
                    <a:pt x="7006" y="1393"/>
                  </a:lnTo>
                  <a:lnTo>
                    <a:pt x="6979" y="1386"/>
                  </a:lnTo>
                  <a:lnTo>
                    <a:pt x="6973" y="1388"/>
                  </a:lnTo>
                  <a:lnTo>
                    <a:pt x="6964" y="1396"/>
                  </a:lnTo>
                  <a:lnTo>
                    <a:pt x="6951" y="1400"/>
                  </a:lnTo>
                  <a:lnTo>
                    <a:pt x="6941" y="1395"/>
                  </a:lnTo>
                  <a:lnTo>
                    <a:pt x="6920" y="1396"/>
                  </a:lnTo>
                  <a:lnTo>
                    <a:pt x="6913" y="1400"/>
                  </a:lnTo>
                  <a:lnTo>
                    <a:pt x="6905" y="1397"/>
                  </a:lnTo>
                  <a:lnTo>
                    <a:pt x="6881" y="1410"/>
                  </a:lnTo>
                  <a:lnTo>
                    <a:pt x="6870" y="1410"/>
                  </a:lnTo>
                  <a:lnTo>
                    <a:pt x="6861" y="1417"/>
                  </a:lnTo>
                  <a:lnTo>
                    <a:pt x="6855" y="1409"/>
                  </a:lnTo>
                  <a:lnTo>
                    <a:pt x="6837" y="1393"/>
                  </a:lnTo>
                  <a:lnTo>
                    <a:pt x="6823" y="1391"/>
                  </a:lnTo>
                  <a:lnTo>
                    <a:pt x="6817" y="1386"/>
                  </a:lnTo>
                  <a:lnTo>
                    <a:pt x="6840" y="1379"/>
                  </a:lnTo>
                  <a:lnTo>
                    <a:pt x="6848" y="1368"/>
                  </a:lnTo>
                  <a:lnTo>
                    <a:pt x="6850" y="1354"/>
                  </a:lnTo>
                  <a:lnTo>
                    <a:pt x="6814" y="1323"/>
                  </a:lnTo>
                  <a:lnTo>
                    <a:pt x="6811" y="1315"/>
                  </a:lnTo>
                  <a:lnTo>
                    <a:pt x="6808" y="1307"/>
                  </a:lnTo>
                  <a:lnTo>
                    <a:pt x="6786" y="1310"/>
                  </a:lnTo>
                  <a:lnTo>
                    <a:pt x="6769" y="1316"/>
                  </a:lnTo>
                  <a:lnTo>
                    <a:pt x="6759" y="1316"/>
                  </a:lnTo>
                  <a:lnTo>
                    <a:pt x="6755" y="1307"/>
                  </a:lnTo>
                  <a:lnTo>
                    <a:pt x="6755" y="1299"/>
                  </a:lnTo>
                  <a:lnTo>
                    <a:pt x="6737" y="1288"/>
                  </a:lnTo>
                  <a:lnTo>
                    <a:pt x="6732" y="1276"/>
                  </a:lnTo>
                  <a:lnTo>
                    <a:pt x="6725" y="1275"/>
                  </a:lnTo>
                  <a:lnTo>
                    <a:pt x="6706" y="1264"/>
                  </a:lnTo>
                  <a:lnTo>
                    <a:pt x="6701" y="1271"/>
                  </a:lnTo>
                  <a:lnTo>
                    <a:pt x="6692" y="1272"/>
                  </a:lnTo>
                  <a:lnTo>
                    <a:pt x="6685" y="1267"/>
                  </a:lnTo>
                  <a:lnTo>
                    <a:pt x="6671" y="1264"/>
                  </a:lnTo>
                  <a:lnTo>
                    <a:pt x="6665" y="1266"/>
                  </a:lnTo>
                  <a:lnTo>
                    <a:pt x="6665" y="1260"/>
                  </a:lnTo>
                  <a:lnTo>
                    <a:pt x="6684" y="1232"/>
                  </a:lnTo>
                  <a:lnTo>
                    <a:pt x="6690" y="1227"/>
                  </a:lnTo>
                  <a:lnTo>
                    <a:pt x="6703" y="1237"/>
                  </a:lnTo>
                  <a:lnTo>
                    <a:pt x="6709" y="1245"/>
                  </a:lnTo>
                  <a:lnTo>
                    <a:pt x="6722" y="1237"/>
                  </a:lnTo>
                  <a:lnTo>
                    <a:pt x="6722" y="1226"/>
                  </a:lnTo>
                  <a:lnTo>
                    <a:pt x="6721" y="1217"/>
                  </a:lnTo>
                  <a:lnTo>
                    <a:pt x="6708" y="1181"/>
                  </a:lnTo>
                  <a:lnTo>
                    <a:pt x="6689" y="1169"/>
                  </a:lnTo>
                  <a:lnTo>
                    <a:pt x="6678" y="1162"/>
                  </a:lnTo>
                  <a:lnTo>
                    <a:pt x="6662" y="1159"/>
                  </a:lnTo>
                  <a:lnTo>
                    <a:pt x="6656" y="1153"/>
                  </a:lnTo>
                  <a:lnTo>
                    <a:pt x="6636" y="1143"/>
                  </a:lnTo>
                  <a:lnTo>
                    <a:pt x="6617" y="1147"/>
                  </a:lnTo>
                  <a:lnTo>
                    <a:pt x="6615" y="1151"/>
                  </a:lnTo>
                  <a:lnTo>
                    <a:pt x="6612" y="1144"/>
                  </a:lnTo>
                  <a:lnTo>
                    <a:pt x="6603" y="1143"/>
                  </a:lnTo>
                  <a:lnTo>
                    <a:pt x="6575" y="1143"/>
                  </a:lnTo>
                  <a:lnTo>
                    <a:pt x="6565" y="1148"/>
                  </a:lnTo>
                  <a:lnTo>
                    <a:pt x="6540" y="1142"/>
                  </a:lnTo>
                  <a:lnTo>
                    <a:pt x="6528" y="1131"/>
                  </a:lnTo>
                  <a:lnTo>
                    <a:pt x="6512" y="1131"/>
                  </a:lnTo>
                  <a:lnTo>
                    <a:pt x="6490" y="1109"/>
                  </a:lnTo>
                  <a:lnTo>
                    <a:pt x="6484" y="1111"/>
                  </a:lnTo>
                  <a:lnTo>
                    <a:pt x="6443" y="1106"/>
                  </a:lnTo>
                  <a:lnTo>
                    <a:pt x="6419" y="1092"/>
                  </a:lnTo>
                  <a:lnTo>
                    <a:pt x="6378" y="1089"/>
                  </a:lnTo>
                  <a:lnTo>
                    <a:pt x="6365" y="1084"/>
                  </a:lnTo>
                  <a:lnTo>
                    <a:pt x="6319" y="1086"/>
                  </a:lnTo>
                  <a:lnTo>
                    <a:pt x="6264" y="1079"/>
                  </a:lnTo>
                  <a:lnTo>
                    <a:pt x="6257" y="1073"/>
                  </a:lnTo>
                  <a:lnTo>
                    <a:pt x="6252" y="1066"/>
                  </a:lnTo>
                  <a:lnTo>
                    <a:pt x="6242" y="1060"/>
                  </a:lnTo>
                  <a:lnTo>
                    <a:pt x="6232" y="1058"/>
                  </a:lnTo>
                  <a:lnTo>
                    <a:pt x="6225" y="1057"/>
                  </a:lnTo>
                  <a:lnTo>
                    <a:pt x="6217" y="1068"/>
                  </a:lnTo>
                  <a:lnTo>
                    <a:pt x="6216" y="1074"/>
                  </a:lnTo>
                  <a:lnTo>
                    <a:pt x="6226" y="1084"/>
                  </a:lnTo>
                  <a:lnTo>
                    <a:pt x="6227" y="1093"/>
                  </a:lnTo>
                  <a:lnTo>
                    <a:pt x="6235" y="1105"/>
                  </a:lnTo>
                  <a:lnTo>
                    <a:pt x="6227" y="1109"/>
                  </a:lnTo>
                  <a:lnTo>
                    <a:pt x="6216" y="1119"/>
                  </a:lnTo>
                  <a:lnTo>
                    <a:pt x="6211" y="1127"/>
                  </a:lnTo>
                  <a:lnTo>
                    <a:pt x="6206" y="1152"/>
                  </a:lnTo>
                  <a:lnTo>
                    <a:pt x="6199" y="1167"/>
                  </a:lnTo>
                  <a:lnTo>
                    <a:pt x="6192" y="1176"/>
                  </a:lnTo>
                  <a:lnTo>
                    <a:pt x="6179" y="1179"/>
                  </a:lnTo>
                  <a:lnTo>
                    <a:pt x="6166" y="1191"/>
                  </a:lnTo>
                  <a:lnTo>
                    <a:pt x="6158" y="1205"/>
                  </a:lnTo>
                  <a:lnTo>
                    <a:pt x="6157" y="1212"/>
                  </a:lnTo>
                  <a:lnTo>
                    <a:pt x="6163" y="1226"/>
                  </a:lnTo>
                  <a:lnTo>
                    <a:pt x="6165" y="1234"/>
                  </a:lnTo>
                  <a:lnTo>
                    <a:pt x="6155" y="1235"/>
                  </a:lnTo>
                  <a:lnTo>
                    <a:pt x="6156" y="1255"/>
                  </a:lnTo>
                  <a:lnTo>
                    <a:pt x="6161" y="1269"/>
                  </a:lnTo>
                  <a:lnTo>
                    <a:pt x="6171" y="1280"/>
                  </a:lnTo>
                  <a:lnTo>
                    <a:pt x="6173" y="1286"/>
                  </a:lnTo>
                  <a:lnTo>
                    <a:pt x="6173" y="1298"/>
                  </a:lnTo>
                  <a:lnTo>
                    <a:pt x="6171" y="1307"/>
                  </a:lnTo>
                  <a:lnTo>
                    <a:pt x="6161" y="1307"/>
                  </a:lnTo>
                  <a:lnTo>
                    <a:pt x="6141" y="1294"/>
                  </a:lnTo>
                  <a:lnTo>
                    <a:pt x="6135" y="1313"/>
                  </a:lnTo>
                  <a:lnTo>
                    <a:pt x="6120" y="1307"/>
                  </a:lnTo>
                  <a:lnTo>
                    <a:pt x="6115" y="1314"/>
                  </a:lnTo>
                  <a:lnTo>
                    <a:pt x="6113" y="1309"/>
                  </a:lnTo>
                  <a:lnTo>
                    <a:pt x="6093" y="1325"/>
                  </a:lnTo>
                  <a:lnTo>
                    <a:pt x="6088" y="1334"/>
                  </a:lnTo>
                  <a:lnTo>
                    <a:pt x="6080" y="1340"/>
                  </a:lnTo>
                  <a:lnTo>
                    <a:pt x="6076" y="1352"/>
                  </a:lnTo>
                  <a:lnTo>
                    <a:pt x="6065" y="1351"/>
                  </a:lnTo>
                  <a:lnTo>
                    <a:pt x="6060" y="1357"/>
                  </a:lnTo>
                  <a:lnTo>
                    <a:pt x="6054" y="1350"/>
                  </a:lnTo>
                  <a:lnTo>
                    <a:pt x="6047" y="1348"/>
                  </a:lnTo>
                  <a:lnTo>
                    <a:pt x="6042" y="1343"/>
                  </a:lnTo>
                  <a:lnTo>
                    <a:pt x="6042" y="1334"/>
                  </a:lnTo>
                  <a:lnTo>
                    <a:pt x="6033" y="1331"/>
                  </a:lnTo>
                  <a:lnTo>
                    <a:pt x="6029" y="1320"/>
                  </a:lnTo>
                  <a:lnTo>
                    <a:pt x="6021" y="1314"/>
                  </a:lnTo>
                  <a:lnTo>
                    <a:pt x="6013" y="1314"/>
                  </a:lnTo>
                  <a:lnTo>
                    <a:pt x="5985" y="1293"/>
                  </a:lnTo>
                  <a:lnTo>
                    <a:pt x="5972" y="1294"/>
                  </a:lnTo>
                  <a:lnTo>
                    <a:pt x="5956" y="1288"/>
                  </a:lnTo>
                  <a:lnTo>
                    <a:pt x="5950" y="1281"/>
                  </a:lnTo>
                  <a:lnTo>
                    <a:pt x="5941" y="1280"/>
                  </a:lnTo>
                  <a:lnTo>
                    <a:pt x="5929" y="1272"/>
                  </a:lnTo>
                  <a:lnTo>
                    <a:pt x="5898" y="1276"/>
                  </a:lnTo>
                  <a:lnTo>
                    <a:pt x="5887" y="1294"/>
                  </a:lnTo>
                  <a:lnTo>
                    <a:pt x="5886" y="1304"/>
                  </a:lnTo>
                  <a:lnTo>
                    <a:pt x="5888" y="1318"/>
                  </a:lnTo>
                  <a:lnTo>
                    <a:pt x="5887" y="1324"/>
                  </a:lnTo>
                  <a:lnTo>
                    <a:pt x="5877" y="1309"/>
                  </a:lnTo>
                  <a:lnTo>
                    <a:pt x="5872" y="1314"/>
                  </a:lnTo>
                  <a:lnTo>
                    <a:pt x="5845" y="1309"/>
                  </a:lnTo>
                  <a:lnTo>
                    <a:pt x="5834" y="1314"/>
                  </a:lnTo>
                  <a:lnTo>
                    <a:pt x="5824" y="1312"/>
                  </a:lnTo>
                  <a:lnTo>
                    <a:pt x="5811" y="1292"/>
                  </a:lnTo>
                  <a:lnTo>
                    <a:pt x="5802" y="1287"/>
                  </a:lnTo>
                  <a:lnTo>
                    <a:pt x="5792" y="1264"/>
                  </a:lnTo>
                  <a:lnTo>
                    <a:pt x="5783" y="1254"/>
                  </a:lnTo>
                  <a:lnTo>
                    <a:pt x="5775" y="1232"/>
                  </a:lnTo>
                  <a:lnTo>
                    <a:pt x="5774" y="1217"/>
                  </a:lnTo>
                  <a:lnTo>
                    <a:pt x="5773" y="1214"/>
                  </a:lnTo>
                  <a:lnTo>
                    <a:pt x="5767" y="1218"/>
                  </a:lnTo>
                  <a:lnTo>
                    <a:pt x="5762" y="1232"/>
                  </a:lnTo>
                  <a:lnTo>
                    <a:pt x="5744" y="1275"/>
                  </a:lnTo>
                  <a:lnTo>
                    <a:pt x="5737" y="1289"/>
                  </a:lnTo>
                  <a:lnTo>
                    <a:pt x="5736" y="1307"/>
                  </a:lnTo>
                  <a:lnTo>
                    <a:pt x="5733" y="1319"/>
                  </a:lnTo>
                  <a:lnTo>
                    <a:pt x="5735" y="1353"/>
                  </a:lnTo>
                  <a:lnTo>
                    <a:pt x="5727" y="1358"/>
                  </a:lnTo>
                  <a:lnTo>
                    <a:pt x="5719" y="1380"/>
                  </a:lnTo>
                  <a:lnTo>
                    <a:pt x="5712" y="1388"/>
                  </a:lnTo>
                  <a:lnTo>
                    <a:pt x="5710" y="1406"/>
                  </a:lnTo>
                  <a:lnTo>
                    <a:pt x="5700" y="1418"/>
                  </a:lnTo>
                  <a:lnTo>
                    <a:pt x="5697" y="1433"/>
                  </a:lnTo>
                  <a:lnTo>
                    <a:pt x="5684" y="1427"/>
                  </a:lnTo>
                  <a:lnTo>
                    <a:pt x="5674" y="1395"/>
                  </a:lnTo>
                  <a:lnTo>
                    <a:pt x="5671" y="1393"/>
                  </a:lnTo>
                  <a:lnTo>
                    <a:pt x="5669" y="1405"/>
                  </a:lnTo>
                  <a:lnTo>
                    <a:pt x="5662" y="1406"/>
                  </a:lnTo>
                  <a:lnTo>
                    <a:pt x="5656" y="1397"/>
                  </a:lnTo>
                  <a:lnTo>
                    <a:pt x="5649" y="1399"/>
                  </a:lnTo>
                  <a:lnTo>
                    <a:pt x="5641" y="1394"/>
                  </a:lnTo>
                  <a:lnTo>
                    <a:pt x="5636" y="1386"/>
                  </a:lnTo>
                  <a:lnTo>
                    <a:pt x="5636" y="1379"/>
                  </a:lnTo>
                  <a:lnTo>
                    <a:pt x="5627" y="1368"/>
                  </a:lnTo>
                  <a:lnTo>
                    <a:pt x="5620" y="1375"/>
                  </a:lnTo>
                  <a:lnTo>
                    <a:pt x="5618" y="1369"/>
                  </a:lnTo>
                  <a:lnTo>
                    <a:pt x="5613" y="1364"/>
                  </a:lnTo>
                  <a:lnTo>
                    <a:pt x="5609" y="1354"/>
                  </a:lnTo>
                  <a:lnTo>
                    <a:pt x="5607" y="1340"/>
                  </a:lnTo>
                  <a:lnTo>
                    <a:pt x="5599" y="1336"/>
                  </a:lnTo>
                  <a:lnTo>
                    <a:pt x="5596" y="1340"/>
                  </a:lnTo>
                  <a:lnTo>
                    <a:pt x="5596" y="1332"/>
                  </a:lnTo>
                  <a:lnTo>
                    <a:pt x="5588" y="1318"/>
                  </a:lnTo>
                  <a:lnTo>
                    <a:pt x="5586" y="1303"/>
                  </a:lnTo>
                  <a:lnTo>
                    <a:pt x="5582" y="1299"/>
                  </a:lnTo>
                  <a:lnTo>
                    <a:pt x="5582" y="1288"/>
                  </a:lnTo>
                  <a:lnTo>
                    <a:pt x="5579" y="1282"/>
                  </a:lnTo>
                  <a:lnTo>
                    <a:pt x="5576" y="1270"/>
                  </a:lnTo>
                  <a:lnTo>
                    <a:pt x="5575" y="1273"/>
                  </a:lnTo>
                  <a:lnTo>
                    <a:pt x="5565" y="1280"/>
                  </a:lnTo>
                  <a:lnTo>
                    <a:pt x="5559" y="1272"/>
                  </a:lnTo>
                  <a:lnTo>
                    <a:pt x="5561" y="1264"/>
                  </a:lnTo>
                  <a:lnTo>
                    <a:pt x="5559" y="1255"/>
                  </a:lnTo>
                  <a:lnTo>
                    <a:pt x="5555" y="1251"/>
                  </a:lnTo>
                  <a:lnTo>
                    <a:pt x="5554" y="1245"/>
                  </a:lnTo>
                  <a:lnTo>
                    <a:pt x="5553" y="1229"/>
                  </a:lnTo>
                  <a:lnTo>
                    <a:pt x="5572" y="1200"/>
                  </a:lnTo>
                  <a:lnTo>
                    <a:pt x="5577" y="1205"/>
                  </a:lnTo>
                  <a:lnTo>
                    <a:pt x="5582" y="1203"/>
                  </a:lnTo>
                  <a:lnTo>
                    <a:pt x="5579" y="1199"/>
                  </a:lnTo>
                  <a:lnTo>
                    <a:pt x="5580" y="1192"/>
                  </a:lnTo>
                  <a:lnTo>
                    <a:pt x="5591" y="1187"/>
                  </a:lnTo>
                  <a:lnTo>
                    <a:pt x="5597" y="1180"/>
                  </a:lnTo>
                  <a:lnTo>
                    <a:pt x="5591" y="1181"/>
                  </a:lnTo>
                  <a:lnTo>
                    <a:pt x="5591" y="1178"/>
                  </a:lnTo>
                  <a:lnTo>
                    <a:pt x="5596" y="1173"/>
                  </a:lnTo>
                  <a:lnTo>
                    <a:pt x="5593" y="1169"/>
                  </a:lnTo>
                  <a:lnTo>
                    <a:pt x="5593" y="1159"/>
                  </a:lnTo>
                  <a:lnTo>
                    <a:pt x="5603" y="1141"/>
                  </a:lnTo>
                  <a:lnTo>
                    <a:pt x="5581" y="1125"/>
                  </a:lnTo>
                  <a:lnTo>
                    <a:pt x="5582" y="1120"/>
                  </a:lnTo>
                  <a:lnTo>
                    <a:pt x="5590" y="1111"/>
                  </a:lnTo>
                  <a:lnTo>
                    <a:pt x="5580" y="1104"/>
                  </a:lnTo>
                  <a:lnTo>
                    <a:pt x="5582" y="1094"/>
                  </a:lnTo>
                  <a:lnTo>
                    <a:pt x="5588" y="1090"/>
                  </a:lnTo>
                  <a:lnTo>
                    <a:pt x="5588" y="1077"/>
                  </a:lnTo>
                  <a:lnTo>
                    <a:pt x="5591" y="1074"/>
                  </a:lnTo>
                  <a:lnTo>
                    <a:pt x="5587" y="1072"/>
                  </a:lnTo>
                  <a:lnTo>
                    <a:pt x="5586" y="1066"/>
                  </a:lnTo>
                  <a:lnTo>
                    <a:pt x="5587" y="1058"/>
                  </a:lnTo>
                  <a:lnTo>
                    <a:pt x="5585" y="1050"/>
                  </a:lnTo>
                  <a:lnTo>
                    <a:pt x="5592" y="1049"/>
                  </a:lnTo>
                  <a:lnTo>
                    <a:pt x="5593" y="1045"/>
                  </a:lnTo>
                  <a:lnTo>
                    <a:pt x="5595" y="1038"/>
                  </a:lnTo>
                  <a:lnTo>
                    <a:pt x="5597" y="1031"/>
                  </a:lnTo>
                  <a:lnTo>
                    <a:pt x="5593" y="1028"/>
                  </a:lnTo>
                  <a:lnTo>
                    <a:pt x="5593" y="1022"/>
                  </a:lnTo>
                  <a:lnTo>
                    <a:pt x="5577" y="1012"/>
                  </a:lnTo>
                  <a:lnTo>
                    <a:pt x="5572" y="1001"/>
                  </a:lnTo>
                  <a:lnTo>
                    <a:pt x="5565" y="992"/>
                  </a:lnTo>
                  <a:lnTo>
                    <a:pt x="5565" y="985"/>
                  </a:lnTo>
                  <a:lnTo>
                    <a:pt x="5541" y="971"/>
                  </a:lnTo>
                  <a:lnTo>
                    <a:pt x="5542" y="964"/>
                  </a:lnTo>
                  <a:lnTo>
                    <a:pt x="5541" y="957"/>
                  </a:lnTo>
                  <a:lnTo>
                    <a:pt x="5528" y="955"/>
                  </a:lnTo>
                  <a:lnTo>
                    <a:pt x="5523" y="952"/>
                  </a:lnTo>
                  <a:lnTo>
                    <a:pt x="5527" y="948"/>
                  </a:lnTo>
                  <a:lnTo>
                    <a:pt x="5521" y="939"/>
                  </a:lnTo>
                  <a:lnTo>
                    <a:pt x="5504" y="932"/>
                  </a:lnTo>
                  <a:lnTo>
                    <a:pt x="5494" y="936"/>
                  </a:lnTo>
                  <a:lnTo>
                    <a:pt x="5478" y="933"/>
                  </a:lnTo>
                  <a:lnTo>
                    <a:pt x="5461" y="925"/>
                  </a:lnTo>
                  <a:lnTo>
                    <a:pt x="5457" y="930"/>
                  </a:lnTo>
                  <a:lnTo>
                    <a:pt x="5455" y="938"/>
                  </a:lnTo>
                  <a:lnTo>
                    <a:pt x="5447" y="938"/>
                  </a:lnTo>
                  <a:lnTo>
                    <a:pt x="5437" y="950"/>
                  </a:lnTo>
                  <a:lnTo>
                    <a:pt x="5435" y="947"/>
                  </a:lnTo>
                  <a:lnTo>
                    <a:pt x="5434" y="941"/>
                  </a:lnTo>
                  <a:lnTo>
                    <a:pt x="5415" y="918"/>
                  </a:lnTo>
                  <a:lnTo>
                    <a:pt x="5408" y="925"/>
                  </a:lnTo>
                  <a:lnTo>
                    <a:pt x="5399" y="920"/>
                  </a:lnTo>
                  <a:lnTo>
                    <a:pt x="5392" y="922"/>
                  </a:lnTo>
                  <a:lnTo>
                    <a:pt x="5385" y="912"/>
                  </a:lnTo>
                  <a:lnTo>
                    <a:pt x="5380" y="916"/>
                  </a:lnTo>
                  <a:lnTo>
                    <a:pt x="5373" y="910"/>
                  </a:lnTo>
                  <a:lnTo>
                    <a:pt x="5370" y="918"/>
                  </a:lnTo>
                  <a:lnTo>
                    <a:pt x="5361" y="910"/>
                  </a:lnTo>
                  <a:lnTo>
                    <a:pt x="5361" y="904"/>
                  </a:lnTo>
                  <a:lnTo>
                    <a:pt x="5359" y="895"/>
                  </a:lnTo>
                  <a:lnTo>
                    <a:pt x="5354" y="891"/>
                  </a:lnTo>
                  <a:lnTo>
                    <a:pt x="5350" y="896"/>
                  </a:lnTo>
                  <a:lnTo>
                    <a:pt x="5339" y="883"/>
                  </a:lnTo>
                  <a:lnTo>
                    <a:pt x="5333" y="885"/>
                  </a:lnTo>
                  <a:lnTo>
                    <a:pt x="5323" y="879"/>
                  </a:lnTo>
                  <a:lnTo>
                    <a:pt x="5305" y="875"/>
                  </a:lnTo>
                  <a:lnTo>
                    <a:pt x="5292" y="866"/>
                  </a:lnTo>
                  <a:lnTo>
                    <a:pt x="5286" y="866"/>
                  </a:lnTo>
                  <a:lnTo>
                    <a:pt x="5285" y="873"/>
                  </a:lnTo>
                  <a:lnTo>
                    <a:pt x="5285" y="880"/>
                  </a:lnTo>
                  <a:lnTo>
                    <a:pt x="5286" y="890"/>
                  </a:lnTo>
                  <a:lnTo>
                    <a:pt x="5284" y="895"/>
                  </a:lnTo>
                  <a:lnTo>
                    <a:pt x="5268" y="893"/>
                  </a:lnTo>
                  <a:lnTo>
                    <a:pt x="5258" y="877"/>
                  </a:lnTo>
                  <a:lnTo>
                    <a:pt x="5257" y="883"/>
                  </a:lnTo>
                  <a:lnTo>
                    <a:pt x="5256" y="900"/>
                  </a:lnTo>
                  <a:lnTo>
                    <a:pt x="5247" y="942"/>
                  </a:lnTo>
                  <a:lnTo>
                    <a:pt x="5252" y="944"/>
                  </a:lnTo>
                  <a:lnTo>
                    <a:pt x="5249" y="950"/>
                  </a:lnTo>
                  <a:lnTo>
                    <a:pt x="5248" y="955"/>
                  </a:lnTo>
                  <a:lnTo>
                    <a:pt x="5251" y="970"/>
                  </a:lnTo>
                  <a:lnTo>
                    <a:pt x="5264" y="1003"/>
                  </a:lnTo>
                  <a:lnTo>
                    <a:pt x="5260" y="1011"/>
                  </a:lnTo>
                  <a:lnTo>
                    <a:pt x="5252" y="1019"/>
                  </a:lnTo>
                  <a:lnTo>
                    <a:pt x="5225" y="1024"/>
                  </a:lnTo>
                  <a:lnTo>
                    <a:pt x="5210" y="1036"/>
                  </a:lnTo>
                  <a:lnTo>
                    <a:pt x="5204" y="1031"/>
                  </a:lnTo>
                  <a:lnTo>
                    <a:pt x="5200" y="1038"/>
                  </a:lnTo>
                  <a:lnTo>
                    <a:pt x="5195" y="1034"/>
                  </a:lnTo>
                  <a:lnTo>
                    <a:pt x="5179" y="1038"/>
                  </a:lnTo>
                  <a:lnTo>
                    <a:pt x="5168" y="1033"/>
                  </a:lnTo>
                  <a:lnTo>
                    <a:pt x="5161" y="1033"/>
                  </a:lnTo>
                  <a:lnTo>
                    <a:pt x="5136" y="1038"/>
                  </a:lnTo>
                  <a:lnTo>
                    <a:pt x="5131" y="1041"/>
                  </a:lnTo>
                  <a:lnTo>
                    <a:pt x="5112" y="1030"/>
                  </a:lnTo>
                  <a:lnTo>
                    <a:pt x="5082" y="1023"/>
                  </a:lnTo>
                  <a:lnTo>
                    <a:pt x="5074" y="1022"/>
                  </a:lnTo>
                  <a:lnTo>
                    <a:pt x="5074" y="1030"/>
                  </a:lnTo>
                  <a:lnTo>
                    <a:pt x="5071" y="1035"/>
                  </a:lnTo>
                  <a:lnTo>
                    <a:pt x="5042" y="1015"/>
                  </a:lnTo>
                  <a:lnTo>
                    <a:pt x="5023" y="1011"/>
                  </a:lnTo>
                  <a:lnTo>
                    <a:pt x="4994" y="995"/>
                  </a:lnTo>
                  <a:lnTo>
                    <a:pt x="4989" y="987"/>
                  </a:lnTo>
                  <a:lnTo>
                    <a:pt x="4989" y="980"/>
                  </a:lnTo>
                  <a:lnTo>
                    <a:pt x="4989" y="974"/>
                  </a:lnTo>
                  <a:lnTo>
                    <a:pt x="4990" y="969"/>
                  </a:lnTo>
                  <a:lnTo>
                    <a:pt x="4988" y="955"/>
                  </a:lnTo>
                  <a:lnTo>
                    <a:pt x="4990" y="948"/>
                  </a:lnTo>
                  <a:lnTo>
                    <a:pt x="4996" y="944"/>
                  </a:lnTo>
                  <a:lnTo>
                    <a:pt x="5007" y="944"/>
                  </a:lnTo>
                  <a:lnTo>
                    <a:pt x="5009" y="938"/>
                  </a:lnTo>
                  <a:lnTo>
                    <a:pt x="5015" y="938"/>
                  </a:lnTo>
                  <a:lnTo>
                    <a:pt x="5012" y="931"/>
                  </a:lnTo>
                  <a:lnTo>
                    <a:pt x="5005" y="925"/>
                  </a:lnTo>
                  <a:lnTo>
                    <a:pt x="4978" y="926"/>
                  </a:lnTo>
                  <a:lnTo>
                    <a:pt x="4967" y="920"/>
                  </a:lnTo>
                  <a:lnTo>
                    <a:pt x="4948" y="925"/>
                  </a:lnTo>
                  <a:lnTo>
                    <a:pt x="4924" y="920"/>
                  </a:lnTo>
                  <a:lnTo>
                    <a:pt x="4912" y="912"/>
                  </a:lnTo>
                  <a:lnTo>
                    <a:pt x="4900" y="912"/>
                  </a:lnTo>
                  <a:lnTo>
                    <a:pt x="4888" y="907"/>
                  </a:lnTo>
                  <a:lnTo>
                    <a:pt x="4875" y="907"/>
                  </a:lnTo>
                  <a:lnTo>
                    <a:pt x="4858" y="899"/>
                  </a:lnTo>
                  <a:lnTo>
                    <a:pt x="4837" y="895"/>
                  </a:lnTo>
                  <a:lnTo>
                    <a:pt x="4818" y="900"/>
                  </a:lnTo>
                  <a:lnTo>
                    <a:pt x="4818" y="909"/>
                  </a:lnTo>
                  <a:lnTo>
                    <a:pt x="4792" y="918"/>
                  </a:lnTo>
                  <a:lnTo>
                    <a:pt x="4779" y="921"/>
                  </a:lnTo>
                  <a:lnTo>
                    <a:pt x="4756" y="918"/>
                  </a:lnTo>
                  <a:lnTo>
                    <a:pt x="4721" y="932"/>
                  </a:lnTo>
                  <a:lnTo>
                    <a:pt x="4736" y="957"/>
                  </a:lnTo>
                  <a:lnTo>
                    <a:pt x="4738" y="969"/>
                  </a:lnTo>
                  <a:lnTo>
                    <a:pt x="4735" y="974"/>
                  </a:lnTo>
                  <a:lnTo>
                    <a:pt x="4713" y="990"/>
                  </a:lnTo>
                  <a:lnTo>
                    <a:pt x="4698" y="984"/>
                  </a:lnTo>
                  <a:lnTo>
                    <a:pt x="4700" y="976"/>
                  </a:lnTo>
                  <a:lnTo>
                    <a:pt x="4715" y="979"/>
                  </a:lnTo>
                  <a:lnTo>
                    <a:pt x="4719" y="969"/>
                  </a:lnTo>
                  <a:lnTo>
                    <a:pt x="4703" y="964"/>
                  </a:lnTo>
                  <a:lnTo>
                    <a:pt x="4705" y="955"/>
                  </a:lnTo>
                  <a:lnTo>
                    <a:pt x="4700" y="947"/>
                  </a:lnTo>
                  <a:lnTo>
                    <a:pt x="4711" y="922"/>
                  </a:lnTo>
                  <a:lnTo>
                    <a:pt x="4710" y="907"/>
                  </a:lnTo>
                  <a:lnTo>
                    <a:pt x="4705" y="894"/>
                  </a:lnTo>
                  <a:lnTo>
                    <a:pt x="4700" y="889"/>
                  </a:lnTo>
                  <a:lnTo>
                    <a:pt x="4698" y="872"/>
                  </a:lnTo>
                  <a:lnTo>
                    <a:pt x="4690" y="858"/>
                  </a:lnTo>
                  <a:lnTo>
                    <a:pt x="4678" y="832"/>
                  </a:lnTo>
                  <a:lnTo>
                    <a:pt x="4684" y="861"/>
                  </a:lnTo>
                  <a:lnTo>
                    <a:pt x="4682" y="878"/>
                  </a:lnTo>
                  <a:lnTo>
                    <a:pt x="4674" y="891"/>
                  </a:lnTo>
                  <a:lnTo>
                    <a:pt x="4658" y="896"/>
                  </a:lnTo>
                  <a:lnTo>
                    <a:pt x="4628" y="894"/>
                  </a:lnTo>
                  <a:lnTo>
                    <a:pt x="4619" y="896"/>
                  </a:lnTo>
                  <a:lnTo>
                    <a:pt x="4617" y="891"/>
                  </a:lnTo>
                  <a:lnTo>
                    <a:pt x="4596" y="874"/>
                  </a:lnTo>
                  <a:lnTo>
                    <a:pt x="4592" y="862"/>
                  </a:lnTo>
                  <a:lnTo>
                    <a:pt x="4591" y="848"/>
                  </a:lnTo>
                  <a:lnTo>
                    <a:pt x="4596" y="837"/>
                  </a:lnTo>
                  <a:lnTo>
                    <a:pt x="4598" y="847"/>
                  </a:lnTo>
                  <a:lnTo>
                    <a:pt x="4607" y="832"/>
                  </a:lnTo>
                  <a:lnTo>
                    <a:pt x="4608" y="826"/>
                  </a:lnTo>
                  <a:lnTo>
                    <a:pt x="4584" y="834"/>
                  </a:lnTo>
                  <a:lnTo>
                    <a:pt x="4576" y="842"/>
                  </a:lnTo>
                  <a:lnTo>
                    <a:pt x="4574" y="851"/>
                  </a:lnTo>
                  <a:lnTo>
                    <a:pt x="4570" y="855"/>
                  </a:lnTo>
                  <a:lnTo>
                    <a:pt x="4565" y="845"/>
                  </a:lnTo>
                  <a:lnTo>
                    <a:pt x="4553" y="840"/>
                  </a:lnTo>
                  <a:lnTo>
                    <a:pt x="4542" y="831"/>
                  </a:lnTo>
                  <a:lnTo>
                    <a:pt x="4527" y="834"/>
                  </a:lnTo>
                  <a:lnTo>
                    <a:pt x="4515" y="839"/>
                  </a:lnTo>
                  <a:lnTo>
                    <a:pt x="4512" y="852"/>
                  </a:lnTo>
                  <a:lnTo>
                    <a:pt x="4496" y="875"/>
                  </a:lnTo>
                  <a:lnTo>
                    <a:pt x="4495" y="884"/>
                  </a:lnTo>
                  <a:lnTo>
                    <a:pt x="4500" y="899"/>
                  </a:lnTo>
                  <a:lnTo>
                    <a:pt x="4507" y="911"/>
                  </a:lnTo>
                  <a:lnTo>
                    <a:pt x="4514" y="907"/>
                  </a:lnTo>
                  <a:lnTo>
                    <a:pt x="4509" y="905"/>
                  </a:lnTo>
                  <a:lnTo>
                    <a:pt x="4509" y="896"/>
                  </a:lnTo>
                  <a:lnTo>
                    <a:pt x="4515" y="902"/>
                  </a:lnTo>
                  <a:lnTo>
                    <a:pt x="4534" y="902"/>
                  </a:lnTo>
                  <a:lnTo>
                    <a:pt x="4542" y="893"/>
                  </a:lnTo>
                  <a:lnTo>
                    <a:pt x="4552" y="888"/>
                  </a:lnTo>
                  <a:lnTo>
                    <a:pt x="4557" y="879"/>
                  </a:lnTo>
                  <a:lnTo>
                    <a:pt x="4565" y="884"/>
                  </a:lnTo>
                  <a:lnTo>
                    <a:pt x="4573" y="901"/>
                  </a:lnTo>
                  <a:lnTo>
                    <a:pt x="4542" y="916"/>
                  </a:lnTo>
                  <a:lnTo>
                    <a:pt x="4536" y="930"/>
                  </a:lnTo>
                  <a:lnTo>
                    <a:pt x="4531" y="927"/>
                  </a:lnTo>
                  <a:lnTo>
                    <a:pt x="4506" y="948"/>
                  </a:lnTo>
                  <a:lnTo>
                    <a:pt x="4495" y="948"/>
                  </a:lnTo>
                  <a:lnTo>
                    <a:pt x="4478" y="926"/>
                  </a:lnTo>
                  <a:lnTo>
                    <a:pt x="4490" y="949"/>
                  </a:lnTo>
                  <a:lnTo>
                    <a:pt x="4487" y="952"/>
                  </a:lnTo>
                  <a:lnTo>
                    <a:pt x="4480" y="945"/>
                  </a:lnTo>
                  <a:lnTo>
                    <a:pt x="4482" y="953"/>
                  </a:lnTo>
                  <a:lnTo>
                    <a:pt x="4479" y="960"/>
                  </a:lnTo>
                  <a:lnTo>
                    <a:pt x="4444" y="971"/>
                  </a:lnTo>
                  <a:lnTo>
                    <a:pt x="4432" y="970"/>
                  </a:lnTo>
                  <a:lnTo>
                    <a:pt x="4430" y="979"/>
                  </a:lnTo>
                  <a:lnTo>
                    <a:pt x="4432" y="986"/>
                  </a:lnTo>
                  <a:lnTo>
                    <a:pt x="4414" y="982"/>
                  </a:lnTo>
                  <a:lnTo>
                    <a:pt x="4394" y="1001"/>
                  </a:lnTo>
                  <a:lnTo>
                    <a:pt x="4389" y="998"/>
                  </a:lnTo>
                  <a:lnTo>
                    <a:pt x="4361" y="996"/>
                  </a:lnTo>
                  <a:lnTo>
                    <a:pt x="4354" y="1003"/>
                  </a:lnTo>
                  <a:lnTo>
                    <a:pt x="4326" y="996"/>
                  </a:lnTo>
                  <a:lnTo>
                    <a:pt x="4315" y="1004"/>
                  </a:lnTo>
                  <a:lnTo>
                    <a:pt x="4316" y="1018"/>
                  </a:lnTo>
                  <a:lnTo>
                    <a:pt x="4323" y="1036"/>
                  </a:lnTo>
                  <a:lnTo>
                    <a:pt x="4358" y="1054"/>
                  </a:lnTo>
                  <a:lnTo>
                    <a:pt x="4350" y="1056"/>
                  </a:lnTo>
                  <a:lnTo>
                    <a:pt x="4340" y="1054"/>
                  </a:lnTo>
                  <a:lnTo>
                    <a:pt x="4317" y="1044"/>
                  </a:lnTo>
                  <a:lnTo>
                    <a:pt x="4308" y="1038"/>
                  </a:lnTo>
                  <a:lnTo>
                    <a:pt x="4301" y="1047"/>
                  </a:lnTo>
                  <a:lnTo>
                    <a:pt x="4294" y="1052"/>
                  </a:lnTo>
                  <a:lnTo>
                    <a:pt x="4288" y="1065"/>
                  </a:lnTo>
                  <a:lnTo>
                    <a:pt x="4278" y="1071"/>
                  </a:lnTo>
                  <a:lnTo>
                    <a:pt x="4267" y="1072"/>
                  </a:lnTo>
                  <a:lnTo>
                    <a:pt x="4253" y="1082"/>
                  </a:lnTo>
                  <a:lnTo>
                    <a:pt x="4242" y="1090"/>
                  </a:lnTo>
                  <a:lnTo>
                    <a:pt x="4229" y="1109"/>
                  </a:lnTo>
                  <a:lnTo>
                    <a:pt x="4232" y="1104"/>
                  </a:lnTo>
                  <a:lnTo>
                    <a:pt x="4229" y="1101"/>
                  </a:lnTo>
                  <a:lnTo>
                    <a:pt x="4215" y="1105"/>
                  </a:lnTo>
                  <a:lnTo>
                    <a:pt x="4213" y="1111"/>
                  </a:lnTo>
                  <a:lnTo>
                    <a:pt x="4206" y="1110"/>
                  </a:lnTo>
                  <a:lnTo>
                    <a:pt x="4205" y="1103"/>
                  </a:lnTo>
                  <a:lnTo>
                    <a:pt x="4227" y="1083"/>
                  </a:lnTo>
                  <a:lnTo>
                    <a:pt x="4236" y="1078"/>
                  </a:lnTo>
                  <a:lnTo>
                    <a:pt x="4240" y="1072"/>
                  </a:lnTo>
                  <a:lnTo>
                    <a:pt x="4252" y="1063"/>
                  </a:lnTo>
                  <a:lnTo>
                    <a:pt x="4263" y="1067"/>
                  </a:lnTo>
                  <a:lnTo>
                    <a:pt x="4276" y="1055"/>
                  </a:lnTo>
                  <a:lnTo>
                    <a:pt x="4285" y="1044"/>
                  </a:lnTo>
                  <a:lnTo>
                    <a:pt x="4301" y="1008"/>
                  </a:lnTo>
                  <a:lnTo>
                    <a:pt x="4306" y="1002"/>
                  </a:lnTo>
                  <a:lnTo>
                    <a:pt x="4306" y="997"/>
                  </a:lnTo>
                  <a:lnTo>
                    <a:pt x="4310" y="987"/>
                  </a:lnTo>
                  <a:lnTo>
                    <a:pt x="4316" y="972"/>
                  </a:lnTo>
                  <a:lnTo>
                    <a:pt x="4326" y="974"/>
                  </a:lnTo>
                  <a:lnTo>
                    <a:pt x="4349" y="965"/>
                  </a:lnTo>
                  <a:lnTo>
                    <a:pt x="4351" y="952"/>
                  </a:lnTo>
                  <a:lnTo>
                    <a:pt x="4365" y="928"/>
                  </a:lnTo>
                  <a:lnTo>
                    <a:pt x="4369" y="911"/>
                  </a:lnTo>
                  <a:lnTo>
                    <a:pt x="4409" y="910"/>
                  </a:lnTo>
                  <a:lnTo>
                    <a:pt x="4419" y="907"/>
                  </a:lnTo>
                  <a:lnTo>
                    <a:pt x="4425" y="915"/>
                  </a:lnTo>
                  <a:lnTo>
                    <a:pt x="4445" y="875"/>
                  </a:lnTo>
                  <a:lnTo>
                    <a:pt x="4452" y="864"/>
                  </a:lnTo>
                  <a:lnTo>
                    <a:pt x="4456" y="848"/>
                  </a:lnTo>
                  <a:lnTo>
                    <a:pt x="4484" y="820"/>
                  </a:lnTo>
                  <a:lnTo>
                    <a:pt x="4500" y="813"/>
                  </a:lnTo>
                  <a:lnTo>
                    <a:pt x="4511" y="802"/>
                  </a:lnTo>
                  <a:lnTo>
                    <a:pt x="4520" y="788"/>
                  </a:lnTo>
                  <a:lnTo>
                    <a:pt x="4526" y="767"/>
                  </a:lnTo>
                  <a:lnTo>
                    <a:pt x="4547" y="748"/>
                  </a:lnTo>
                  <a:lnTo>
                    <a:pt x="4545" y="743"/>
                  </a:lnTo>
                  <a:lnTo>
                    <a:pt x="4548" y="735"/>
                  </a:lnTo>
                  <a:lnTo>
                    <a:pt x="4559" y="733"/>
                  </a:lnTo>
                  <a:lnTo>
                    <a:pt x="4566" y="727"/>
                  </a:lnTo>
                  <a:lnTo>
                    <a:pt x="4563" y="724"/>
                  </a:lnTo>
                  <a:lnTo>
                    <a:pt x="4569" y="722"/>
                  </a:lnTo>
                  <a:lnTo>
                    <a:pt x="4573" y="726"/>
                  </a:lnTo>
                  <a:lnTo>
                    <a:pt x="4584" y="721"/>
                  </a:lnTo>
                  <a:lnTo>
                    <a:pt x="4587" y="707"/>
                  </a:lnTo>
                  <a:lnTo>
                    <a:pt x="4592" y="708"/>
                  </a:lnTo>
                  <a:lnTo>
                    <a:pt x="4607" y="692"/>
                  </a:lnTo>
                  <a:lnTo>
                    <a:pt x="4625" y="703"/>
                  </a:lnTo>
                  <a:lnTo>
                    <a:pt x="4627" y="695"/>
                  </a:lnTo>
                  <a:lnTo>
                    <a:pt x="4630" y="686"/>
                  </a:lnTo>
                  <a:lnTo>
                    <a:pt x="4625" y="678"/>
                  </a:lnTo>
                  <a:lnTo>
                    <a:pt x="4657" y="665"/>
                  </a:lnTo>
                  <a:lnTo>
                    <a:pt x="4643" y="662"/>
                  </a:lnTo>
                  <a:lnTo>
                    <a:pt x="4645" y="656"/>
                  </a:lnTo>
                  <a:lnTo>
                    <a:pt x="4667" y="645"/>
                  </a:lnTo>
                  <a:lnTo>
                    <a:pt x="4665" y="656"/>
                  </a:lnTo>
                  <a:lnTo>
                    <a:pt x="4672" y="645"/>
                  </a:lnTo>
                  <a:lnTo>
                    <a:pt x="4678" y="643"/>
                  </a:lnTo>
                  <a:lnTo>
                    <a:pt x="4684" y="636"/>
                  </a:lnTo>
                  <a:lnTo>
                    <a:pt x="4679" y="631"/>
                  </a:lnTo>
                  <a:lnTo>
                    <a:pt x="4688" y="622"/>
                  </a:lnTo>
                  <a:lnTo>
                    <a:pt x="4698" y="624"/>
                  </a:lnTo>
                  <a:lnTo>
                    <a:pt x="4704" y="611"/>
                  </a:lnTo>
                  <a:lnTo>
                    <a:pt x="4708" y="599"/>
                  </a:lnTo>
                  <a:lnTo>
                    <a:pt x="4708" y="595"/>
                  </a:lnTo>
                  <a:lnTo>
                    <a:pt x="4719" y="582"/>
                  </a:lnTo>
                  <a:lnTo>
                    <a:pt x="4722" y="573"/>
                  </a:lnTo>
                  <a:lnTo>
                    <a:pt x="4729" y="567"/>
                  </a:lnTo>
                  <a:lnTo>
                    <a:pt x="4729" y="549"/>
                  </a:lnTo>
                  <a:lnTo>
                    <a:pt x="4726" y="548"/>
                  </a:lnTo>
                  <a:lnTo>
                    <a:pt x="4722" y="534"/>
                  </a:lnTo>
                  <a:lnTo>
                    <a:pt x="4731" y="538"/>
                  </a:lnTo>
                  <a:lnTo>
                    <a:pt x="4730" y="518"/>
                  </a:lnTo>
                  <a:lnTo>
                    <a:pt x="4716" y="518"/>
                  </a:lnTo>
                  <a:lnTo>
                    <a:pt x="4703" y="506"/>
                  </a:lnTo>
                  <a:lnTo>
                    <a:pt x="4701" y="491"/>
                  </a:lnTo>
                  <a:lnTo>
                    <a:pt x="4692" y="492"/>
                  </a:lnTo>
                  <a:lnTo>
                    <a:pt x="4689" y="502"/>
                  </a:lnTo>
                  <a:lnTo>
                    <a:pt x="4686" y="507"/>
                  </a:lnTo>
                  <a:lnTo>
                    <a:pt x="4681" y="497"/>
                  </a:lnTo>
                  <a:lnTo>
                    <a:pt x="4681" y="493"/>
                  </a:lnTo>
                  <a:lnTo>
                    <a:pt x="4676" y="481"/>
                  </a:lnTo>
                  <a:lnTo>
                    <a:pt x="4679" y="475"/>
                  </a:lnTo>
                  <a:lnTo>
                    <a:pt x="4666" y="464"/>
                  </a:lnTo>
                  <a:lnTo>
                    <a:pt x="4660" y="454"/>
                  </a:lnTo>
                  <a:lnTo>
                    <a:pt x="4662" y="447"/>
                  </a:lnTo>
                  <a:lnTo>
                    <a:pt x="4670" y="449"/>
                  </a:lnTo>
                  <a:lnTo>
                    <a:pt x="4687" y="470"/>
                  </a:lnTo>
                  <a:lnTo>
                    <a:pt x="4717" y="490"/>
                  </a:lnTo>
                  <a:lnTo>
                    <a:pt x="4711" y="507"/>
                  </a:lnTo>
                  <a:lnTo>
                    <a:pt x="4717" y="505"/>
                  </a:lnTo>
                  <a:lnTo>
                    <a:pt x="4724" y="493"/>
                  </a:lnTo>
                  <a:lnTo>
                    <a:pt x="4736" y="455"/>
                  </a:lnTo>
                  <a:lnTo>
                    <a:pt x="4736" y="441"/>
                  </a:lnTo>
                  <a:lnTo>
                    <a:pt x="4732" y="428"/>
                  </a:lnTo>
                  <a:lnTo>
                    <a:pt x="4726" y="432"/>
                  </a:lnTo>
                  <a:lnTo>
                    <a:pt x="4717" y="428"/>
                  </a:lnTo>
                  <a:lnTo>
                    <a:pt x="4713" y="400"/>
                  </a:lnTo>
                  <a:lnTo>
                    <a:pt x="4714" y="389"/>
                  </a:lnTo>
                  <a:lnTo>
                    <a:pt x="4698" y="360"/>
                  </a:lnTo>
                  <a:lnTo>
                    <a:pt x="4689" y="364"/>
                  </a:lnTo>
                  <a:lnTo>
                    <a:pt x="4695" y="378"/>
                  </a:lnTo>
                  <a:lnTo>
                    <a:pt x="4686" y="387"/>
                  </a:lnTo>
                  <a:lnTo>
                    <a:pt x="4684" y="394"/>
                  </a:lnTo>
                  <a:lnTo>
                    <a:pt x="4679" y="394"/>
                  </a:lnTo>
                  <a:lnTo>
                    <a:pt x="4672" y="374"/>
                  </a:lnTo>
                  <a:lnTo>
                    <a:pt x="4662" y="362"/>
                  </a:lnTo>
                  <a:lnTo>
                    <a:pt x="4670" y="358"/>
                  </a:lnTo>
                  <a:lnTo>
                    <a:pt x="4671" y="349"/>
                  </a:lnTo>
                  <a:lnTo>
                    <a:pt x="4673" y="341"/>
                  </a:lnTo>
                  <a:lnTo>
                    <a:pt x="4647" y="315"/>
                  </a:lnTo>
                  <a:lnTo>
                    <a:pt x="4640" y="318"/>
                  </a:lnTo>
                  <a:lnTo>
                    <a:pt x="4639" y="306"/>
                  </a:lnTo>
                  <a:lnTo>
                    <a:pt x="4624" y="283"/>
                  </a:lnTo>
                  <a:lnTo>
                    <a:pt x="4603" y="271"/>
                  </a:lnTo>
                  <a:lnTo>
                    <a:pt x="4607" y="266"/>
                  </a:lnTo>
                  <a:lnTo>
                    <a:pt x="4603" y="258"/>
                  </a:lnTo>
                  <a:lnTo>
                    <a:pt x="4593" y="255"/>
                  </a:lnTo>
                  <a:lnTo>
                    <a:pt x="4588" y="261"/>
                  </a:lnTo>
                  <a:lnTo>
                    <a:pt x="4585" y="255"/>
                  </a:lnTo>
                  <a:lnTo>
                    <a:pt x="4586" y="244"/>
                  </a:lnTo>
                  <a:lnTo>
                    <a:pt x="4569" y="248"/>
                  </a:lnTo>
                  <a:lnTo>
                    <a:pt x="4539" y="242"/>
                  </a:lnTo>
                  <a:lnTo>
                    <a:pt x="4523" y="255"/>
                  </a:lnTo>
                  <a:lnTo>
                    <a:pt x="4518" y="253"/>
                  </a:lnTo>
                  <a:lnTo>
                    <a:pt x="4509" y="255"/>
                  </a:lnTo>
                  <a:lnTo>
                    <a:pt x="4489" y="238"/>
                  </a:lnTo>
                  <a:lnTo>
                    <a:pt x="4477" y="248"/>
                  </a:lnTo>
                  <a:lnTo>
                    <a:pt x="4469" y="247"/>
                  </a:lnTo>
                  <a:lnTo>
                    <a:pt x="4441" y="253"/>
                  </a:lnTo>
                  <a:lnTo>
                    <a:pt x="4435" y="247"/>
                  </a:lnTo>
                  <a:lnTo>
                    <a:pt x="4426" y="255"/>
                  </a:lnTo>
                  <a:lnTo>
                    <a:pt x="4428" y="248"/>
                  </a:lnTo>
                  <a:lnTo>
                    <a:pt x="4432" y="242"/>
                  </a:lnTo>
                  <a:lnTo>
                    <a:pt x="4430" y="238"/>
                  </a:lnTo>
                  <a:lnTo>
                    <a:pt x="4424" y="237"/>
                  </a:lnTo>
                  <a:lnTo>
                    <a:pt x="4421" y="244"/>
                  </a:lnTo>
                  <a:lnTo>
                    <a:pt x="4410" y="247"/>
                  </a:lnTo>
                  <a:lnTo>
                    <a:pt x="4409" y="258"/>
                  </a:lnTo>
                  <a:lnTo>
                    <a:pt x="4405" y="264"/>
                  </a:lnTo>
                  <a:lnTo>
                    <a:pt x="4416" y="261"/>
                  </a:lnTo>
                  <a:lnTo>
                    <a:pt x="4409" y="272"/>
                  </a:lnTo>
                  <a:lnTo>
                    <a:pt x="4403" y="272"/>
                  </a:lnTo>
                  <a:lnTo>
                    <a:pt x="4402" y="283"/>
                  </a:lnTo>
                  <a:lnTo>
                    <a:pt x="4397" y="294"/>
                  </a:lnTo>
                  <a:lnTo>
                    <a:pt x="4386" y="299"/>
                  </a:lnTo>
                  <a:lnTo>
                    <a:pt x="4382" y="296"/>
                  </a:lnTo>
                  <a:lnTo>
                    <a:pt x="4380" y="307"/>
                  </a:lnTo>
                  <a:lnTo>
                    <a:pt x="4356" y="306"/>
                  </a:lnTo>
                  <a:lnTo>
                    <a:pt x="4349" y="312"/>
                  </a:lnTo>
                  <a:lnTo>
                    <a:pt x="4334" y="306"/>
                  </a:lnTo>
                  <a:lnTo>
                    <a:pt x="4313" y="306"/>
                  </a:lnTo>
                  <a:lnTo>
                    <a:pt x="4313" y="301"/>
                  </a:lnTo>
                  <a:lnTo>
                    <a:pt x="4311" y="299"/>
                  </a:lnTo>
                  <a:lnTo>
                    <a:pt x="4329" y="288"/>
                  </a:lnTo>
                  <a:lnTo>
                    <a:pt x="4333" y="292"/>
                  </a:lnTo>
                  <a:lnTo>
                    <a:pt x="4343" y="264"/>
                  </a:lnTo>
                  <a:lnTo>
                    <a:pt x="4349" y="253"/>
                  </a:lnTo>
                  <a:lnTo>
                    <a:pt x="4353" y="242"/>
                  </a:lnTo>
                  <a:lnTo>
                    <a:pt x="4367" y="238"/>
                  </a:lnTo>
                  <a:lnTo>
                    <a:pt x="4377" y="216"/>
                  </a:lnTo>
                  <a:lnTo>
                    <a:pt x="4373" y="213"/>
                  </a:lnTo>
                  <a:lnTo>
                    <a:pt x="4370" y="207"/>
                  </a:lnTo>
                  <a:lnTo>
                    <a:pt x="4372" y="204"/>
                  </a:lnTo>
                  <a:lnTo>
                    <a:pt x="4380" y="204"/>
                  </a:lnTo>
                  <a:lnTo>
                    <a:pt x="4380" y="197"/>
                  </a:lnTo>
                  <a:lnTo>
                    <a:pt x="4373" y="195"/>
                  </a:lnTo>
                  <a:lnTo>
                    <a:pt x="4373" y="188"/>
                  </a:lnTo>
                  <a:lnTo>
                    <a:pt x="4375" y="183"/>
                  </a:lnTo>
                  <a:lnTo>
                    <a:pt x="4349" y="175"/>
                  </a:lnTo>
                  <a:lnTo>
                    <a:pt x="4344" y="178"/>
                  </a:lnTo>
                  <a:lnTo>
                    <a:pt x="4338" y="168"/>
                  </a:lnTo>
                  <a:lnTo>
                    <a:pt x="4329" y="166"/>
                  </a:lnTo>
                  <a:lnTo>
                    <a:pt x="4321" y="166"/>
                  </a:lnTo>
                  <a:lnTo>
                    <a:pt x="4312" y="173"/>
                  </a:lnTo>
                  <a:lnTo>
                    <a:pt x="4306" y="164"/>
                  </a:lnTo>
                  <a:lnTo>
                    <a:pt x="4289" y="173"/>
                  </a:lnTo>
                  <a:lnTo>
                    <a:pt x="4294" y="157"/>
                  </a:lnTo>
                  <a:lnTo>
                    <a:pt x="4292" y="143"/>
                  </a:lnTo>
                  <a:lnTo>
                    <a:pt x="4286" y="162"/>
                  </a:lnTo>
                  <a:lnTo>
                    <a:pt x="4268" y="161"/>
                  </a:lnTo>
                  <a:lnTo>
                    <a:pt x="4211" y="189"/>
                  </a:lnTo>
                  <a:lnTo>
                    <a:pt x="4224" y="169"/>
                  </a:lnTo>
                  <a:lnTo>
                    <a:pt x="4231" y="166"/>
                  </a:lnTo>
                  <a:lnTo>
                    <a:pt x="4256" y="126"/>
                  </a:lnTo>
                  <a:lnTo>
                    <a:pt x="4268" y="116"/>
                  </a:lnTo>
                  <a:lnTo>
                    <a:pt x="4276" y="115"/>
                  </a:lnTo>
                  <a:lnTo>
                    <a:pt x="4286" y="98"/>
                  </a:lnTo>
                  <a:lnTo>
                    <a:pt x="4286" y="91"/>
                  </a:lnTo>
                  <a:lnTo>
                    <a:pt x="4301" y="88"/>
                  </a:lnTo>
                  <a:lnTo>
                    <a:pt x="4310" y="95"/>
                  </a:lnTo>
                  <a:lnTo>
                    <a:pt x="4301" y="82"/>
                  </a:lnTo>
                  <a:lnTo>
                    <a:pt x="4290" y="43"/>
                  </a:lnTo>
                  <a:lnTo>
                    <a:pt x="4281" y="39"/>
                  </a:lnTo>
                  <a:lnTo>
                    <a:pt x="4276" y="48"/>
                  </a:lnTo>
                  <a:lnTo>
                    <a:pt x="4259" y="45"/>
                  </a:lnTo>
                  <a:lnTo>
                    <a:pt x="4242" y="34"/>
                  </a:lnTo>
                  <a:lnTo>
                    <a:pt x="4226" y="7"/>
                  </a:lnTo>
                  <a:lnTo>
                    <a:pt x="4219" y="17"/>
                  </a:lnTo>
                  <a:lnTo>
                    <a:pt x="4213" y="14"/>
                  </a:lnTo>
                  <a:lnTo>
                    <a:pt x="4211" y="12"/>
                  </a:lnTo>
                  <a:lnTo>
                    <a:pt x="4211" y="5"/>
                  </a:lnTo>
                  <a:lnTo>
                    <a:pt x="4203" y="0"/>
                  </a:lnTo>
                  <a:lnTo>
                    <a:pt x="4193" y="2"/>
                  </a:lnTo>
                  <a:lnTo>
                    <a:pt x="4178" y="14"/>
                  </a:lnTo>
                  <a:lnTo>
                    <a:pt x="4172" y="24"/>
                  </a:lnTo>
                  <a:lnTo>
                    <a:pt x="4166" y="27"/>
                  </a:lnTo>
                  <a:lnTo>
                    <a:pt x="4143" y="22"/>
                  </a:lnTo>
                  <a:lnTo>
                    <a:pt x="4139" y="35"/>
                  </a:lnTo>
                  <a:lnTo>
                    <a:pt x="4122" y="51"/>
                  </a:lnTo>
                  <a:lnTo>
                    <a:pt x="4098" y="88"/>
                  </a:lnTo>
                  <a:lnTo>
                    <a:pt x="4093" y="102"/>
                  </a:lnTo>
                  <a:lnTo>
                    <a:pt x="4073" y="120"/>
                  </a:lnTo>
                  <a:lnTo>
                    <a:pt x="4070" y="126"/>
                  </a:lnTo>
                  <a:lnTo>
                    <a:pt x="4049" y="157"/>
                  </a:lnTo>
                  <a:lnTo>
                    <a:pt x="4043" y="168"/>
                  </a:lnTo>
                  <a:lnTo>
                    <a:pt x="4042" y="178"/>
                  </a:lnTo>
                  <a:lnTo>
                    <a:pt x="4042" y="185"/>
                  </a:lnTo>
                  <a:lnTo>
                    <a:pt x="4039" y="194"/>
                  </a:lnTo>
                  <a:lnTo>
                    <a:pt x="4033" y="194"/>
                  </a:lnTo>
                  <a:lnTo>
                    <a:pt x="4032" y="201"/>
                  </a:lnTo>
                  <a:lnTo>
                    <a:pt x="4023" y="220"/>
                  </a:lnTo>
                  <a:lnTo>
                    <a:pt x="4025" y="222"/>
                  </a:lnTo>
                  <a:lnTo>
                    <a:pt x="4025" y="232"/>
                  </a:lnTo>
                  <a:lnTo>
                    <a:pt x="4030" y="238"/>
                  </a:lnTo>
                  <a:lnTo>
                    <a:pt x="4043" y="244"/>
                  </a:lnTo>
                  <a:lnTo>
                    <a:pt x="4046" y="258"/>
                  </a:lnTo>
                  <a:lnTo>
                    <a:pt x="4052" y="263"/>
                  </a:lnTo>
                  <a:lnTo>
                    <a:pt x="4050" y="267"/>
                  </a:lnTo>
                  <a:lnTo>
                    <a:pt x="4039" y="265"/>
                  </a:lnTo>
                  <a:lnTo>
                    <a:pt x="4037" y="258"/>
                  </a:lnTo>
                  <a:lnTo>
                    <a:pt x="4037" y="282"/>
                  </a:lnTo>
                  <a:lnTo>
                    <a:pt x="4041" y="285"/>
                  </a:lnTo>
                  <a:lnTo>
                    <a:pt x="4039" y="286"/>
                  </a:lnTo>
                  <a:lnTo>
                    <a:pt x="4010" y="303"/>
                  </a:lnTo>
                  <a:lnTo>
                    <a:pt x="3995" y="307"/>
                  </a:lnTo>
                  <a:lnTo>
                    <a:pt x="3975" y="306"/>
                  </a:lnTo>
                  <a:lnTo>
                    <a:pt x="3962" y="312"/>
                  </a:lnTo>
                  <a:lnTo>
                    <a:pt x="3913" y="302"/>
                  </a:lnTo>
                  <a:lnTo>
                    <a:pt x="3915" y="310"/>
                  </a:lnTo>
                  <a:lnTo>
                    <a:pt x="3915" y="315"/>
                  </a:lnTo>
                  <a:lnTo>
                    <a:pt x="3921" y="321"/>
                  </a:lnTo>
                  <a:lnTo>
                    <a:pt x="3923" y="334"/>
                  </a:lnTo>
                  <a:lnTo>
                    <a:pt x="3934" y="335"/>
                  </a:lnTo>
                  <a:lnTo>
                    <a:pt x="3941" y="344"/>
                  </a:lnTo>
                  <a:lnTo>
                    <a:pt x="3941" y="351"/>
                  </a:lnTo>
                  <a:lnTo>
                    <a:pt x="3960" y="351"/>
                  </a:lnTo>
                  <a:lnTo>
                    <a:pt x="3967" y="356"/>
                  </a:lnTo>
                  <a:lnTo>
                    <a:pt x="3968" y="364"/>
                  </a:lnTo>
                  <a:lnTo>
                    <a:pt x="3963" y="377"/>
                  </a:lnTo>
                  <a:lnTo>
                    <a:pt x="3963" y="396"/>
                  </a:lnTo>
                  <a:lnTo>
                    <a:pt x="3960" y="406"/>
                  </a:lnTo>
                  <a:lnTo>
                    <a:pt x="3947" y="401"/>
                  </a:lnTo>
                  <a:lnTo>
                    <a:pt x="3947" y="389"/>
                  </a:lnTo>
                  <a:lnTo>
                    <a:pt x="3944" y="384"/>
                  </a:lnTo>
                  <a:lnTo>
                    <a:pt x="3923" y="380"/>
                  </a:lnTo>
                  <a:lnTo>
                    <a:pt x="3923" y="377"/>
                  </a:lnTo>
                  <a:lnTo>
                    <a:pt x="3926" y="366"/>
                  </a:lnTo>
                  <a:lnTo>
                    <a:pt x="3924" y="361"/>
                  </a:lnTo>
                  <a:lnTo>
                    <a:pt x="3907" y="364"/>
                  </a:lnTo>
                  <a:lnTo>
                    <a:pt x="3908" y="353"/>
                  </a:lnTo>
                  <a:lnTo>
                    <a:pt x="3902" y="352"/>
                  </a:lnTo>
                  <a:lnTo>
                    <a:pt x="3865" y="379"/>
                  </a:lnTo>
                  <a:lnTo>
                    <a:pt x="3869" y="389"/>
                  </a:lnTo>
                  <a:lnTo>
                    <a:pt x="3869" y="396"/>
                  </a:lnTo>
                  <a:lnTo>
                    <a:pt x="3864" y="396"/>
                  </a:lnTo>
                  <a:lnTo>
                    <a:pt x="3860" y="390"/>
                  </a:lnTo>
                  <a:lnTo>
                    <a:pt x="3849" y="393"/>
                  </a:lnTo>
                  <a:lnTo>
                    <a:pt x="3844" y="404"/>
                  </a:lnTo>
                  <a:lnTo>
                    <a:pt x="3851" y="405"/>
                  </a:lnTo>
                  <a:lnTo>
                    <a:pt x="3854" y="409"/>
                  </a:lnTo>
                  <a:lnTo>
                    <a:pt x="3855" y="417"/>
                  </a:lnTo>
                  <a:lnTo>
                    <a:pt x="3850" y="419"/>
                  </a:lnTo>
                  <a:lnTo>
                    <a:pt x="3838" y="415"/>
                  </a:lnTo>
                  <a:lnTo>
                    <a:pt x="3821" y="428"/>
                  </a:lnTo>
                  <a:lnTo>
                    <a:pt x="3821" y="415"/>
                  </a:lnTo>
                  <a:lnTo>
                    <a:pt x="3819" y="411"/>
                  </a:lnTo>
                  <a:lnTo>
                    <a:pt x="3815" y="415"/>
                  </a:lnTo>
                  <a:lnTo>
                    <a:pt x="3805" y="431"/>
                  </a:lnTo>
                  <a:lnTo>
                    <a:pt x="3797" y="431"/>
                  </a:lnTo>
                  <a:lnTo>
                    <a:pt x="3784" y="442"/>
                  </a:lnTo>
                  <a:lnTo>
                    <a:pt x="3780" y="439"/>
                  </a:lnTo>
                  <a:lnTo>
                    <a:pt x="3790" y="427"/>
                  </a:lnTo>
                  <a:lnTo>
                    <a:pt x="3791" y="419"/>
                  </a:lnTo>
                  <a:lnTo>
                    <a:pt x="3780" y="417"/>
                  </a:lnTo>
                  <a:lnTo>
                    <a:pt x="3779" y="411"/>
                  </a:lnTo>
                  <a:lnTo>
                    <a:pt x="3774" y="419"/>
                  </a:lnTo>
                  <a:lnTo>
                    <a:pt x="3756" y="423"/>
                  </a:lnTo>
                  <a:lnTo>
                    <a:pt x="3748" y="438"/>
                  </a:lnTo>
                  <a:lnTo>
                    <a:pt x="3740" y="442"/>
                  </a:lnTo>
                  <a:lnTo>
                    <a:pt x="3736" y="436"/>
                  </a:lnTo>
                  <a:lnTo>
                    <a:pt x="3756" y="414"/>
                  </a:lnTo>
                  <a:lnTo>
                    <a:pt x="3761" y="393"/>
                  </a:lnTo>
                  <a:lnTo>
                    <a:pt x="3745" y="380"/>
                  </a:lnTo>
                  <a:lnTo>
                    <a:pt x="3716" y="382"/>
                  </a:lnTo>
                  <a:lnTo>
                    <a:pt x="3711" y="385"/>
                  </a:lnTo>
                  <a:lnTo>
                    <a:pt x="3710" y="393"/>
                  </a:lnTo>
                  <a:lnTo>
                    <a:pt x="3678" y="383"/>
                  </a:lnTo>
                  <a:lnTo>
                    <a:pt x="3676" y="390"/>
                  </a:lnTo>
                  <a:lnTo>
                    <a:pt x="3665" y="399"/>
                  </a:lnTo>
                  <a:lnTo>
                    <a:pt x="3657" y="389"/>
                  </a:lnTo>
                  <a:lnTo>
                    <a:pt x="3629" y="390"/>
                  </a:lnTo>
                  <a:lnTo>
                    <a:pt x="3628" y="394"/>
                  </a:lnTo>
                  <a:lnTo>
                    <a:pt x="3635" y="399"/>
                  </a:lnTo>
                  <a:lnTo>
                    <a:pt x="3635" y="403"/>
                  </a:lnTo>
                  <a:lnTo>
                    <a:pt x="3609" y="409"/>
                  </a:lnTo>
                  <a:lnTo>
                    <a:pt x="3608" y="405"/>
                  </a:lnTo>
                  <a:lnTo>
                    <a:pt x="3611" y="398"/>
                  </a:lnTo>
                  <a:lnTo>
                    <a:pt x="3604" y="399"/>
                  </a:lnTo>
                  <a:lnTo>
                    <a:pt x="3590" y="412"/>
                  </a:lnTo>
                  <a:lnTo>
                    <a:pt x="3586" y="401"/>
                  </a:lnTo>
                  <a:lnTo>
                    <a:pt x="3581" y="405"/>
                  </a:lnTo>
                  <a:lnTo>
                    <a:pt x="3581" y="423"/>
                  </a:lnTo>
                  <a:lnTo>
                    <a:pt x="3585" y="427"/>
                  </a:lnTo>
                  <a:lnTo>
                    <a:pt x="3604" y="417"/>
                  </a:lnTo>
                  <a:lnTo>
                    <a:pt x="3607" y="428"/>
                  </a:lnTo>
                  <a:lnTo>
                    <a:pt x="3611" y="435"/>
                  </a:lnTo>
                  <a:lnTo>
                    <a:pt x="3612" y="432"/>
                  </a:lnTo>
                  <a:lnTo>
                    <a:pt x="3612" y="426"/>
                  </a:lnTo>
                  <a:lnTo>
                    <a:pt x="3619" y="423"/>
                  </a:lnTo>
                  <a:lnTo>
                    <a:pt x="3618" y="428"/>
                  </a:lnTo>
                  <a:lnTo>
                    <a:pt x="3620" y="435"/>
                  </a:lnTo>
                  <a:lnTo>
                    <a:pt x="3614" y="446"/>
                  </a:lnTo>
                  <a:lnTo>
                    <a:pt x="3549" y="471"/>
                  </a:lnTo>
                  <a:lnTo>
                    <a:pt x="3520" y="475"/>
                  </a:lnTo>
                  <a:lnTo>
                    <a:pt x="3516" y="473"/>
                  </a:lnTo>
                  <a:lnTo>
                    <a:pt x="3514" y="481"/>
                  </a:lnTo>
                  <a:lnTo>
                    <a:pt x="3514" y="492"/>
                  </a:lnTo>
                  <a:lnTo>
                    <a:pt x="3514" y="489"/>
                  </a:lnTo>
                  <a:lnTo>
                    <a:pt x="3501" y="487"/>
                  </a:lnTo>
                  <a:lnTo>
                    <a:pt x="3488" y="496"/>
                  </a:lnTo>
                  <a:lnTo>
                    <a:pt x="3473" y="490"/>
                  </a:lnTo>
                  <a:lnTo>
                    <a:pt x="3455" y="502"/>
                  </a:lnTo>
                  <a:lnTo>
                    <a:pt x="3436" y="502"/>
                  </a:lnTo>
                  <a:lnTo>
                    <a:pt x="3420" y="516"/>
                  </a:lnTo>
                  <a:lnTo>
                    <a:pt x="3434" y="524"/>
                  </a:lnTo>
                  <a:lnTo>
                    <a:pt x="3415" y="529"/>
                  </a:lnTo>
                  <a:lnTo>
                    <a:pt x="3401" y="541"/>
                  </a:lnTo>
                  <a:lnTo>
                    <a:pt x="3385" y="528"/>
                  </a:lnTo>
                  <a:lnTo>
                    <a:pt x="3378" y="536"/>
                  </a:lnTo>
                  <a:lnTo>
                    <a:pt x="3366" y="539"/>
                  </a:lnTo>
                  <a:lnTo>
                    <a:pt x="3365" y="544"/>
                  </a:lnTo>
                  <a:lnTo>
                    <a:pt x="3371" y="544"/>
                  </a:lnTo>
                  <a:lnTo>
                    <a:pt x="3374" y="550"/>
                  </a:lnTo>
                  <a:lnTo>
                    <a:pt x="3355" y="555"/>
                  </a:lnTo>
                  <a:lnTo>
                    <a:pt x="3354" y="562"/>
                  </a:lnTo>
                  <a:lnTo>
                    <a:pt x="3344" y="566"/>
                  </a:lnTo>
                  <a:lnTo>
                    <a:pt x="3333" y="584"/>
                  </a:lnTo>
                  <a:lnTo>
                    <a:pt x="3322" y="593"/>
                  </a:lnTo>
                  <a:lnTo>
                    <a:pt x="3321" y="598"/>
                  </a:lnTo>
                  <a:lnTo>
                    <a:pt x="3322" y="604"/>
                  </a:lnTo>
                  <a:lnTo>
                    <a:pt x="3319" y="608"/>
                  </a:lnTo>
                  <a:lnTo>
                    <a:pt x="3305" y="614"/>
                  </a:lnTo>
                  <a:lnTo>
                    <a:pt x="3300" y="605"/>
                  </a:lnTo>
                  <a:lnTo>
                    <a:pt x="3292" y="604"/>
                  </a:lnTo>
                  <a:lnTo>
                    <a:pt x="3269" y="602"/>
                  </a:lnTo>
                  <a:lnTo>
                    <a:pt x="3261" y="606"/>
                  </a:lnTo>
                  <a:lnTo>
                    <a:pt x="3256" y="611"/>
                  </a:lnTo>
                  <a:lnTo>
                    <a:pt x="3262" y="618"/>
                  </a:lnTo>
                  <a:lnTo>
                    <a:pt x="3279" y="625"/>
                  </a:lnTo>
                  <a:lnTo>
                    <a:pt x="3301" y="626"/>
                  </a:lnTo>
                  <a:lnTo>
                    <a:pt x="3297" y="633"/>
                  </a:lnTo>
                  <a:lnTo>
                    <a:pt x="3288" y="642"/>
                  </a:lnTo>
                  <a:lnTo>
                    <a:pt x="3281" y="640"/>
                  </a:lnTo>
                  <a:lnTo>
                    <a:pt x="3279" y="633"/>
                  </a:lnTo>
                  <a:lnTo>
                    <a:pt x="3272" y="640"/>
                  </a:lnTo>
                  <a:lnTo>
                    <a:pt x="3274" y="645"/>
                  </a:lnTo>
                  <a:lnTo>
                    <a:pt x="3268" y="659"/>
                  </a:lnTo>
                  <a:lnTo>
                    <a:pt x="3262" y="667"/>
                  </a:lnTo>
                  <a:lnTo>
                    <a:pt x="3256" y="683"/>
                  </a:lnTo>
                  <a:lnTo>
                    <a:pt x="3249" y="683"/>
                  </a:lnTo>
                  <a:lnTo>
                    <a:pt x="3247" y="694"/>
                  </a:lnTo>
                  <a:lnTo>
                    <a:pt x="3253" y="702"/>
                  </a:lnTo>
                  <a:lnTo>
                    <a:pt x="3246" y="708"/>
                  </a:lnTo>
                  <a:lnTo>
                    <a:pt x="3236" y="691"/>
                  </a:lnTo>
                  <a:lnTo>
                    <a:pt x="3222" y="684"/>
                  </a:lnTo>
                  <a:lnTo>
                    <a:pt x="3221" y="674"/>
                  </a:lnTo>
                  <a:lnTo>
                    <a:pt x="3204" y="667"/>
                  </a:lnTo>
                  <a:lnTo>
                    <a:pt x="3203" y="668"/>
                  </a:lnTo>
                  <a:lnTo>
                    <a:pt x="3209" y="681"/>
                  </a:lnTo>
                  <a:lnTo>
                    <a:pt x="3194" y="690"/>
                  </a:lnTo>
                  <a:lnTo>
                    <a:pt x="3197" y="699"/>
                  </a:lnTo>
                  <a:lnTo>
                    <a:pt x="3192" y="701"/>
                  </a:lnTo>
                  <a:lnTo>
                    <a:pt x="3193" y="707"/>
                  </a:lnTo>
                  <a:lnTo>
                    <a:pt x="3222" y="711"/>
                  </a:lnTo>
                  <a:lnTo>
                    <a:pt x="3229" y="717"/>
                  </a:lnTo>
                  <a:lnTo>
                    <a:pt x="3242" y="724"/>
                  </a:lnTo>
                  <a:lnTo>
                    <a:pt x="3238" y="728"/>
                  </a:lnTo>
                  <a:lnTo>
                    <a:pt x="3238" y="735"/>
                  </a:lnTo>
                  <a:lnTo>
                    <a:pt x="3242" y="739"/>
                  </a:lnTo>
                  <a:lnTo>
                    <a:pt x="3240" y="743"/>
                  </a:lnTo>
                  <a:lnTo>
                    <a:pt x="3227" y="740"/>
                  </a:lnTo>
                  <a:lnTo>
                    <a:pt x="3224" y="744"/>
                  </a:lnTo>
                  <a:lnTo>
                    <a:pt x="3211" y="750"/>
                  </a:lnTo>
                  <a:lnTo>
                    <a:pt x="3215" y="756"/>
                  </a:lnTo>
                  <a:lnTo>
                    <a:pt x="3204" y="756"/>
                  </a:lnTo>
                  <a:lnTo>
                    <a:pt x="3202" y="761"/>
                  </a:lnTo>
                  <a:lnTo>
                    <a:pt x="3203" y="771"/>
                  </a:lnTo>
                  <a:lnTo>
                    <a:pt x="3209" y="777"/>
                  </a:lnTo>
                  <a:lnTo>
                    <a:pt x="3246" y="788"/>
                  </a:lnTo>
                  <a:lnTo>
                    <a:pt x="3249" y="814"/>
                  </a:lnTo>
                  <a:lnTo>
                    <a:pt x="3253" y="821"/>
                  </a:lnTo>
                  <a:lnTo>
                    <a:pt x="3259" y="826"/>
                  </a:lnTo>
                  <a:lnTo>
                    <a:pt x="3254" y="832"/>
                  </a:lnTo>
                  <a:lnTo>
                    <a:pt x="3242" y="828"/>
                  </a:lnTo>
                  <a:lnTo>
                    <a:pt x="3242" y="831"/>
                  </a:lnTo>
                  <a:lnTo>
                    <a:pt x="3245" y="839"/>
                  </a:lnTo>
                  <a:lnTo>
                    <a:pt x="3240" y="841"/>
                  </a:lnTo>
                  <a:lnTo>
                    <a:pt x="3242" y="847"/>
                  </a:lnTo>
                  <a:lnTo>
                    <a:pt x="3247" y="850"/>
                  </a:lnTo>
                  <a:lnTo>
                    <a:pt x="3247" y="856"/>
                  </a:lnTo>
                  <a:lnTo>
                    <a:pt x="3237" y="861"/>
                  </a:lnTo>
                  <a:lnTo>
                    <a:pt x="3215" y="863"/>
                  </a:lnTo>
                  <a:lnTo>
                    <a:pt x="3202" y="872"/>
                  </a:lnTo>
                  <a:lnTo>
                    <a:pt x="3189" y="871"/>
                  </a:lnTo>
                  <a:lnTo>
                    <a:pt x="3182" y="874"/>
                  </a:lnTo>
                  <a:lnTo>
                    <a:pt x="3179" y="883"/>
                  </a:lnTo>
                  <a:lnTo>
                    <a:pt x="3166" y="894"/>
                  </a:lnTo>
                  <a:lnTo>
                    <a:pt x="3148" y="889"/>
                  </a:lnTo>
                  <a:lnTo>
                    <a:pt x="3145" y="883"/>
                  </a:lnTo>
                  <a:lnTo>
                    <a:pt x="3143" y="883"/>
                  </a:lnTo>
                  <a:lnTo>
                    <a:pt x="3130" y="888"/>
                  </a:lnTo>
                  <a:lnTo>
                    <a:pt x="3105" y="893"/>
                  </a:lnTo>
                  <a:lnTo>
                    <a:pt x="3082" y="900"/>
                  </a:lnTo>
                  <a:lnTo>
                    <a:pt x="3035" y="906"/>
                  </a:lnTo>
                  <a:lnTo>
                    <a:pt x="3026" y="900"/>
                  </a:lnTo>
                  <a:lnTo>
                    <a:pt x="3007" y="904"/>
                  </a:lnTo>
                  <a:lnTo>
                    <a:pt x="2989" y="901"/>
                  </a:lnTo>
                  <a:lnTo>
                    <a:pt x="2952" y="912"/>
                  </a:lnTo>
                  <a:lnTo>
                    <a:pt x="2952" y="917"/>
                  </a:lnTo>
                  <a:lnTo>
                    <a:pt x="2950" y="920"/>
                  </a:lnTo>
                  <a:lnTo>
                    <a:pt x="2939" y="914"/>
                  </a:lnTo>
                  <a:lnTo>
                    <a:pt x="2929" y="918"/>
                  </a:lnTo>
                  <a:lnTo>
                    <a:pt x="2928" y="922"/>
                  </a:lnTo>
                  <a:lnTo>
                    <a:pt x="2912" y="926"/>
                  </a:lnTo>
                  <a:lnTo>
                    <a:pt x="2913" y="936"/>
                  </a:lnTo>
                  <a:lnTo>
                    <a:pt x="2917" y="944"/>
                  </a:lnTo>
                  <a:lnTo>
                    <a:pt x="2920" y="943"/>
                  </a:lnTo>
                  <a:lnTo>
                    <a:pt x="2921" y="938"/>
                  </a:lnTo>
                  <a:lnTo>
                    <a:pt x="2926" y="939"/>
                  </a:lnTo>
                  <a:lnTo>
                    <a:pt x="2924" y="947"/>
                  </a:lnTo>
                  <a:lnTo>
                    <a:pt x="2912" y="958"/>
                  </a:lnTo>
                  <a:lnTo>
                    <a:pt x="2912" y="964"/>
                  </a:lnTo>
                  <a:lnTo>
                    <a:pt x="2904" y="960"/>
                  </a:lnTo>
                  <a:lnTo>
                    <a:pt x="2901" y="966"/>
                  </a:lnTo>
                  <a:lnTo>
                    <a:pt x="2904" y="975"/>
                  </a:lnTo>
                  <a:lnTo>
                    <a:pt x="2913" y="977"/>
                  </a:lnTo>
                  <a:lnTo>
                    <a:pt x="2913" y="987"/>
                  </a:lnTo>
                  <a:lnTo>
                    <a:pt x="2901" y="996"/>
                  </a:lnTo>
                  <a:lnTo>
                    <a:pt x="2918" y="1009"/>
                  </a:lnTo>
                  <a:lnTo>
                    <a:pt x="2917" y="1014"/>
                  </a:lnTo>
                  <a:lnTo>
                    <a:pt x="2923" y="1019"/>
                  </a:lnTo>
                  <a:lnTo>
                    <a:pt x="2926" y="1018"/>
                  </a:lnTo>
                  <a:lnTo>
                    <a:pt x="2931" y="1040"/>
                  </a:lnTo>
                  <a:lnTo>
                    <a:pt x="2937" y="1046"/>
                  </a:lnTo>
                  <a:lnTo>
                    <a:pt x="2934" y="1052"/>
                  </a:lnTo>
                  <a:lnTo>
                    <a:pt x="2933" y="1058"/>
                  </a:lnTo>
                  <a:lnTo>
                    <a:pt x="2929" y="1066"/>
                  </a:lnTo>
                  <a:lnTo>
                    <a:pt x="2924" y="1082"/>
                  </a:lnTo>
                  <a:lnTo>
                    <a:pt x="2925" y="1097"/>
                  </a:lnTo>
                  <a:lnTo>
                    <a:pt x="2930" y="1105"/>
                  </a:lnTo>
                  <a:lnTo>
                    <a:pt x="2930" y="1122"/>
                  </a:lnTo>
                  <a:lnTo>
                    <a:pt x="2935" y="1133"/>
                  </a:lnTo>
                  <a:lnTo>
                    <a:pt x="2949" y="1149"/>
                  </a:lnTo>
                  <a:lnTo>
                    <a:pt x="2962" y="1153"/>
                  </a:lnTo>
                  <a:lnTo>
                    <a:pt x="2987" y="1157"/>
                  </a:lnTo>
                  <a:lnTo>
                    <a:pt x="3001" y="1168"/>
                  </a:lnTo>
                  <a:lnTo>
                    <a:pt x="3009" y="1168"/>
                  </a:lnTo>
                  <a:lnTo>
                    <a:pt x="3015" y="1184"/>
                  </a:lnTo>
                  <a:lnTo>
                    <a:pt x="3010" y="1196"/>
                  </a:lnTo>
                  <a:lnTo>
                    <a:pt x="3006" y="1200"/>
                  </a:lnTo>
                  <a:lnTo>
                    <a:pt x="3017" y="1203"/>
                  </a:lnTo>
                  <a:lnTo>
                    <a:pt x="3023" y="1211"/>
                  </a:lnTo>
                  <a:lnTo>
                    <a:pt x="3031" y="1227"/>
                  </a:lnTo>
                  <a:lnTo>
                    <a:pt x="3041" y="1233"/>
                  </a:lnTo>
                  <a:lnTo>
                    <a:pt x="3060" y="1239"/>
                  </a:lnTo>
                  <a:lnTo>
                    <a:pt x="3069" y="1246"/>
                  </a:lnTo>
                  <a:lnTo>
                    <a:pt x="3073" y="1239"/>
                  </a:lnTo>
                  <a:lnTo>
                    <a:pt x="3076" y="1254"/>
                  </a:lnTo>
                  <a:lnTo>
                    <a:pt x="3084" y="1272"/>
                  </a:lnTo>
                  <a:lnTo>
                    <a:pt x="3084" y="1282"/>
                  </a:lnTo>
                  <a:lnTo>
                    <a:pt x="3080" y="1302"/>
                  </a:lnTo>
                  <a:lnTo>
                    <a:pt x="3069" y="1312"/>
                  </a:lnTo>
                  <a:lnTo>
                    <a:pt x="3068" y="1329"/>
                  </a:lnTo>
                  <a:lnTo>
                    <a:pt x="3060" y="1343"/>
                  </a:lnTo>
                  <a:lnTo>
                    <a:pt x="3064" y="1358"/>
                  </a:lnTo>
                  <a:lnTo>
                    <a:pt x="3063" y="1372"/>
                  </a:lnTo>
                  <a:lnTo>
                    <a:pt x="3079" y="1394"/>
                  </a:lnTo>
                  <a:lnTo>
                    <a:pt x="3082" y="1426"/>
                  </a:lnTo>
                  <a:lnTo>
                    <a:pt x="3087" y="1440"/>
                  </a:lnTo>
                  <a:lnTo>
                    <a:pt x="3090" y="1459"/>
                  </a:lnTo>
                  <a:lnTo>
                    <a:pt x="3090" y="1474"/>
                  </a:lnTo>
                  <a:lnTo>
                    <a:pt x="3085" y="1487"/>
                  </a:lnTo>
                  <a:lnTo>
                    <a:pt x="3075" y="1501"/>
                  </a:lnTo>
                  <a:lnTo>
                    <a:pt x="3063" y="1504"/>
                  </a:lnTo>
                  <a:lnTo>
                    <a:pt x="3055" y="1501"/>
                  </a:lnTo>
                  <a:lnTo>
                    <a:pt x="3054" y="1509"/>
                  </a:lnTo>
                  <a:lnTo>
                    <a:pt x="3063" y="1530"/>
                  </a:lnTo>
                  <a:lnTo>
                    <a:pt x="3059" y="1539"/>
                  </a:lnTo>
                  <a:lnTo>
                    <a:pt x="3035" y="1529"/>
                  </a:lnTo>
                  <a:lnTo>
                    <a:pt x="3017" y="1528"/>
                  </a:lnTo>
                  <a:lnTo>
                    <a:pt x="3006" y="1517"/>
                  </a:lnTo>
                  <a:lnTo>
                    <a:pt x="3004" y="1504"/>
                  </a:lnTo>
                  <a:lnTo>
                    <a:pt x="3004" y="1458"/>
                  </a:lnTo>
                  <a:lnTo>
                    <a:pt x="3012" y="1428"/>
                  </a:lnTo>
                  <a:lnTo>
                    <a:pt x="3009" y="1422"/>
                  </a:lnTo>
                  <a:lnTo>
                    <a:pt x="3007" y="1393"/>
                  </a:lnTo>
                  <a:lnTo>
                    <a:pt x="3010" y="1379"/>
                  </a:lnTo>
                  <a:lnTo>
                    <a:pt x="3009" y="1362"/>
                  </a:lnTo>
                  <a:lnTo>
                    <a:pt x="3007" y="1352"/>
                  </a:lnTo>
                  <a:lnTo>
                    <a:pt x="3015" y="1340"/>
                  </a:lnTo>
                  <a:lnTo>
                    <a:pt x="3047" y="1319"/>
                  </a:lnTo>
                  <a:lnTo>
                    <a:pt x="3049" y="1313"/>
                  </a:lnTo>
                  <a:lnTo>
                    <a:pt x="3049" y="1300"/>
                  </a:lnTo>
                  <a:lnTo>
                    <a:pt x="3052" y="1288"/>
                  </a:lnTo>
                  <a:lnTo>
                    <a:pt x="3060" y="1287"/>
                  </a:lnTo>
                  <a:lnTo>
                    <a:pt x="3063" y="1270"/>
                  </a:lnTo>
                  <a:lnTo>
                    <a:pt x="3039" y="1254"/>
                  </a:lnTo>
                  <a:lnTo>
                    <a:pt x="3010" y="1264"/>
                  </a:lnTo>
                  <a:lnTo>
                    <a:pt x="2982" y="1267"/>
                  </a:lnTo>
                  <a:lnTo>
                    <a:pt x="2966" y="1260"/>
                  </a:lnTo>
                  <a:lnTo>
                    <a:pt x="2955" y="1248"/>
                  </a:lnTo>
                  <a:lnTo>
                    <a:pt x="2952" y="1250"/>
                  </a:lnTo>
                  <a:lnTo>
                    <a:pt x="2945" y="1235"/>
                  </a:lnTo>
                  <a:lnTo>
                    <a:pt x="2931" y="1219"/>
                  </a:lnTo>
                  <a:lnTo>
                    <a:pt x="2928" y="1212"/>
                  </a:lnTo>
                  <a:lnTo>
                    <a:pt x="2928" y="1203"/>
                  </a:lnTo>
                  <a:lnTo>
                    <a:pt x="2902" y="1191"/>
                  </a:lnTo>
                  <a:lnTo>
                    <a:pt x="2880" y="1174"/>
                  </a:lnTo>
                  <a:lnTo>
                    <a:pt x="2871" y="1163"/>
                  </a:lnTo>
                  <a:lnTo>
                    <a:pt x="2844" y="1149"/>
                  </a:lnTo>
                  <a:lnTo>
                    <a:pt x="2792" y="1148"/>
                  </a:lnTo>
                  <a:lnTo>
                    <a:pt x="2777" y="1151"/>
                  </a:lnTo>
                  <a:lnTo>
                    <a:pt x="2763" y="1171"/>
                  </a:lnTo>
                  <a:lnTo>
                    <a:pt x="2741" y="1181"/>
                  </a:lnTo>
                  <a:lnTo>
                    <a:pt x="2737" y="1201"/>
                  </a:lnTo>
                  <a:lnTo>
                    <a:pt x="2764" y="1202"/>
                  </a:lnTo>
                  <a:lnTo>
                    <a:pt x="2778" y="1213"/>
                  </a:lnTo>
                  <a:lnTo>
                    <a:pt x="2773" y="1227"/>
                  </a:lnTo>
                  <a:lnTo>
                    <a:pt x="2763" y="1240"/>
                  </a:lnTo>
                  <a:lnTo>
                    <a:pt x="2743" y="1246"/>
                  </a:lnTo>
                  <a:lnTo>
                    <a:pt x="2729" y="1259"/>
                  </a:lnTo>
                  <a:lnTo>
                    <a:pt x="2708" y="1265"/>
                  </a:lnTo>
                  <a:lnTo>
                    <a:pt x="2708" y="1249"/>
                  </a:lnTo>
                  <a:lnTo>
                    <a:pt x="2692" y="1233"/>
                  </a:lnTo>
                  <a:lnTo>
                    <a:pt x="2683" y="1217"/>
                  </a:lnTo>
                  <a:lnTo>
                    <a:pt x="2672" y="1218"/>
                  </a:lnTo>
                  <a:lnTo>
                    <a:pt x="2662" y="1232"/>
                  </a:lnTo>
                  <a:lnTo>
                    <a:pt x="2668" y="1239"/>
                  </a:lnTo>
                  <a:lnTo>
                    <a:pt x="2673" y="1260"/>
                  </a:lnTo>
                  <a:lnTo>
                    <a:pt x="2678" y="1275"/>
                  </a:lnTo>
                  <a:lnTo>
                    <a:pt x="2681" y="1287"/>
                  </a:lnTo>
                  <a:lnTo>
                    <a:pt x="2687" y="1289"/>
                  </a:lnTo>
                  <a:lnTo>
                    <a:pt x="2709" y="1308"/>
                  </a:lnTo>
                  <a:lnTo>
                    <a:pt x="2724" y="1314"/>
                  </a:lnTo>
                  <a:lnTo>
                    <a:pt x="2732" y="1326"/>
                  </a:lnTo>
                  <a:lnTo>
                    <a:pt x="2741" y="1327"/>
                  </a:lnTo>
                  <a:lnTo>
                    <a:pt x="2747" y="1335"/>
                  </a:lnTo>
                  <a:lnTo>
                    <a:pt x="2757" y="1329"/>
                  </a:lnTo>
                  <a:lnTo>
                    <a:pt x="2767" y="1319"/>
                  </a:lnTo>
                  <a:lnTo>
                    <a:pt x="2764" y="1334"/>
                  </a:lnTo>
                  <a:lnTo>
                    <a:pt x="2769" y="1341"/>
                  </a:lnTo>
                  <a:lnTo>
                    <a:pt x="2780" y="1337"/>
                  </a:lnTo>
                  <a:lnTo>
                    <a:pt x="2781" y="1367"/>
                  </a:lnTo>
                  <a:lnTo>
                    <a:pt x="2795" y="1383"/>
                  </a:lnTo>
                  <a:lnTo>
                    <a:pt x="2795" y="1393"/>
                  </a:lnTo>
                  <a:lnTo>
                    <a:pt x="2779" y="1390"/>
                  </a:lnTo>
                  <a:lnTo>
                    <a:pt x="2769" y="1384"/>
                  </a:lnTo>
                  <a:lnTo>
                    <a:pt x="2762" y="1377"/>
                  </a:lnTo>
                  <a:lnTo>
                    <a:pt x="2758" y="1367"/>
                  </a:lnTo>
                  <a:lnTo>
                    <a:pt x="2748" y="1358"/>
                  </a:lnTo>
                  <a:lnTo>
                    <a:pt x="2713" y="1354"/>
                  </a:lnTo>
                  <a:lnTo>
                    <a:pt x="2702" y="1348"/>
                  </a:lnTo>
                  <a:lnTo>
                    <a:pt x="2668" y="1345"/>
                  </a:lnTo>
                  <a:lnTo>
                    <a:pt x="2636" y="1332"/>
                  </a:lnTo>
                  <a:lnTo>
                    <a:pt x="2627" y="1325"/>
                  </a:lnTo>
                  <a:lnTo>
                    <a:pt x="2617" y="1310"/>
                  </a:lnTo>
                  <a:lnTo>
                    <a:pt x="2619" y="1307"/>
                  </a:lnTo>
                  <a:lnTo>
                    <a:pt x="2633" y="1304"/>
                  </a:lnTo>
                  <a:lnTo>
                    <a:pt x="2634" y="1299"/>
                  </a:lnTo>
                  <a:lnTo>
                    <a:pt x="2633" y="1278"/>
                  </a:lnTo>
                  <a:lnTo>
                    <a:pt x="2622" y="1256"/>
                  </a:lnTo>
                  <a:lnTo>
                    <a:pt x="2621" y="1246"/>
                  </a:lnTo>
                  <a:lnTo>
                    <a:pt x="2627" y="1222"/>
                  </a:lnTo>
                  <a:lnTo>
                    <a:pt x="2618" y="1211"/>
                  </a:lnTo>
                  <a:lnTo>
                    <a:pt x="2627" y="1202"/>
                  </a:lnTo>
                  <a:lnTo>
                    <a:pt x="2641" y="1163"/>
                  </a:lnTo>
                  <a:lnTo>
                    <a:pt x="2634" y="1137"/>
                  </a:lnTo>
                  <a:lnTo>
                    <a:pt x="2632" y="1120"/>
                  </a:lnTo>
                  <a:lnTo>
                    <a:pt x="2640" y="1115"/>
                  </a:lnTo>
                  <a:lnTo>
                    <a:pt x="2630" y="1100"/>
                  </a:lnTo>
                  <a:lnTo>
                    <a:pt x="2628" y="1090"/>
                  </a:lnTo>
                  <a:lnTo>
                    <a:pt x="2629" y="1082"/>
                  </a:lnTo>
                  <a:lnTo>
                    <a:pt x="2613" y="1066"/>
                  </a:lnTo>
                  <a:lnTo>
                    <a:pt x="2608" y="1055"/>
                  </a:lnTo>
                  <a:lnTo>
                    <a:pt x="2593" y="1063"/>
                  </a:lnTo>
                  <a:lnTo>
                    <a:pt x="2595" y="1074"/>
                  </a:lnTo>
                  <a:lnTo>
                    <a:pt x="2602" y="1094"/>
                  </a:lnTo>
                  <a:lnTo>
                    <a:pt x="2607" y="1115"/>
                  </a:lnTo>
                  <a:lnTo>
                    <a:pt x="2607" y="1160"/>
                  </a:lnTo>
                  <a:lnTo>
                    <a:pt x="2598" y="1176"/>
                  </a:lnTo>
                  <a:lnTo>
                    <a:pt x="2566" y="1207"/>
                  </a:lnTo>
                  <a:lnTo>
                    <a:pt x="2546" y="1217"/>
                  </a:lnTo>
                  <a:lnTo>
                    <a:pt x="2516" y="1239"/>
                  </a:lnTo>
                  <a:lnTo>
                    <a:pt x="2517" y="1253"/>
                  </a:lnTo>
                  <a:lnTo>
                    <a:pt x="2517" y="1261"/>
                  </a:lnTo>
                  <a:lnTo>
                    <a:pt x="2514" y="1272"/>
                  </a:lnTo>
                  <a:lnTo>
                    <a:pt x="2498" y="1289"/>
                  </a:lnTo>
                  <a:lnTo>
                    <a:pt x="2498" y="1298"/>
                  </a:lnTo>
                  <a:lnTo>
                    <a:pt x="2519" y="1321"/>
                  </a:lnTo>
                  <a:lnTo>
                    <a:pt x="2532" y="1343"/>
                  </a:lnTo>
                  <a:lnTo>
                    <a:pt x="2541" y="1362"/>
                  </a:lnTo>
                  <a:lnTo>
                    <a:pt x="2547" y="1395"/>
                  </a:lnTo>
                  <a:lnTo>
                    <a:pt x="2560" y="1417"/>
                  </a:lnTo>
                  <a:lnTo>
                    <a:pt x="2569" y="1438"/>
                  </a:lnTo>
                  <a:lnTo>
                    <a:pt x="2569" y="1448"/>
                  </a:lnTo>
                  <a:lnTo>
                    <a:pt x="2565" y="1468"/>
                  </a:lnTo>
                  <a:lnTo>
                    <a:pt x="2557" y="1488"/>
                  </a:lnTo>
                  <a:lnTo>
                    <a:pt x="2555" y="1496"/>
                  </a:lnTo>
                  <a:lnTo>
                    <a:pt x="2541" y="1514"/>
                  </a:lnTo>
                  <a:lnTo>
                    <a:pt x="2538" y="1528"/>
                  </a:lnTo>
                  <a:lnTo>
                    <a:pt x="2539" y="1545"/>
                  </a:lnTo>
                  <a:lnTo>
                    <a:pt x="2532" y="1555"/>
                  </a:lnTo>
                  <a:lnTo>
                    <a:pt x="2530" y="1568"/>
                  </a:lnTo>
                  <a:lnTo>
                    <a:pt x="2527" y="1588"/>
                  </a:lnTo>
                  <a:lnTo>
                    <a:pt x="2541" y="1611"/>
                  </a:lnTo>
                  <a:lnTo>
                    <a:pt x="2548" y="1632"/>
                  </a:lnTo>
                  <a:lnTo>
                    <a:pt x="2546" y="1647"/>
                  </a:lnTo>
                  <a:lnTo>
                    <a:pt x="2539" y="1664"/>
                  </a:lnTo>
                  <a:lnTo>
                    <a:pt x="2538" y="1673"/>
                  </a:lnTo>
                  <a:lnTo>
                    <a:pt x="2547" y="1689"/>
                  </a:lnTo>
                  <a:lnTo>
                    <a:pt x="2559" y="1691"/>
                  </a:lnTo>
                  <a:lnTo>
                    <a:pt x="2575" y="1686"/>
                  </a:lnTo>
                  <a:lnTo>
                    <a:pt x="2586" y="1686"/>
                  </a:lnTo>
                  <a:lnTo>
                    <a:pt x="2600" y="1691"/>
                  </a:lnTo>
                  <a:lnTo>
                    <a:pt x="2616" y="1694"/>
                  </a:lnTo>
                  <a:lnTo>
                    <a:pt x="2618" y="1685"/>
                  </a:lnTo>
                  <a:lnTo>
                    <a:pt x="2641" y="1670"/>
                  </a:lnTo>
                  <a:lnTo>
                    <a:pt x="2665" y="1670"/>
                  </a:lnTo>
                  <a:lnTo>
                    <a:pt x="2698" y="1690"/>
                  </a:lnTo>
                  <a:lnTo>
                    <a:pt x="2708" y="1700"/>
                  </a:lnTo>
                  <a:lnTo>
                    <a:pt x="2734" y="1716"/>
                  </a:lnTo>
                  <a:lnTo>
                    <a:pt x="2753" y="1724"/>
                  </a:lnTo>
                  <a:lnTo>
                    <a:pt x="2758" y="1734"/>
                  </a:lnTo>
                  <a:lnTo>
                    <a:pt x="2758" y="1750"/>
                  </a:lnTo>
                  <a:lnTo>
                    <a:pt x="2757" y="1761"/>
                  </a:lnTo>
                  <a:lnTo>
                    <a:pt x="2775" y="1802"/>
                  </a:lnTo>
                  <a:lnTo>
                    <a:pt x="2779" y="1802"/>
                  </a:lnTo>
                  <a:lnTo>
                    <a:pt x="2780" y="1814"/>
                  </a:lnTo>
                  <a:lnTo>
                    <a:pt x="2774" y="1822"/>
                  </a:lnTo>
                  <a:lnTo>
                    <a:pt x="2761" y="1824"/>
                  </a:lnTo>
                  <a:lnTo>
                    <a:pt x="2750" y="1832"/>
                  </a:lnTo>
                  <a:lnTo>
                    <a:pt x="2746" y="1845"/>
                  </a:lnTo>
                  <a:lnTo>
                    <a:pt x="2745" y="1868"/>
                  </a:lnTo>
                  <a:lnTo>
                    <a:pt x="2747" y="1886"/>
                  </a:lnTo>
                  <a:lnTo>
                    <a:pt x="2751" y="1896"/>
                  </a:lnTo>
                  <a:lnTo>
                    <a:pt x="2763" y="1894"/>
                  </a:lnTo>
                  <a:lnTo>
                    <a:pt x="2781" y="1904"/>
                  </a:lnTo>
                  <a:lnTo>
                    <a:pt x="2800" y="1902"/>
                  </a:lnTo>
                  <a:lnTo>
                    <a:pt x="2820" y="1915"/>
                  </a:lnTo>
                  <a:lnTo>
                    <a:pt x="2817" y="1918"/>
                  </a:lnTo>
                  <a:lnTo>
                    <a:pt x="2792" y="1923"/>
                  </a:lnTo>
                  <a:lnTo>
                    <a:pt x="2779" y="1920"/>
                  </a:lnTo>
                  <a:lnTo>
                    <a:pt x="2754" y="1921"/>
                  </a:lnTo>
                  <a:lnTo>
                    <a:pt x="2752" y="1912"/>
                  </a:lnTo>
                  <a:lnTo>
                    <a:pt x="2748" y="1905"/>
                  </a:lnTo>
                  <a:lnTo>
                    <a:pt x="2727" y="1894"/>
                  </a:lnTo>
                  <a:lnTo>
                    <a:pt x="2726" y="1883"/>
                  </a:lnTo>
                  <a:lnTo>
                    <a:pt x="2730" y="1878"/>
                  </a:lnTo>
                  <a:lnTo>
                    <a:pt x="2732" y="1868"/>
                  </a:lnTo>
                  <a:lnTo>
                    <a:pt x="2731" y="1857"/>
                  </a:lnTo>
                  <a:lnTo>
                    <a:pt x="2732" y="1842"/>
                  </a:lnTo>
                  <a:lnTo>
                    <a:pt x="2740" y="1825"/>
                  </a:lnTo>
                  <a:lnTo>
                    <a:pt x="2736" y="1821"/>
                  </a:lnTo>
                  <a:lnTo>
                    <a:pt x="2730" y="1824"/>
                  </a:lnTo>
                  <a:lnTo>
                    <a:pt x="2729" y="1814"/>
                  </a:lnTo>
                  <a:lnTo>
                    <a:pt x="2732" y="1800"/>
                  </a:lnTo>
                  <a:lnTo>
                    <a:pt x="2734" y="1798"/>
                  </a:lnTo>
                  <a:lnTo>
                    <a:pt x="2732" y="1791"/>
                  </a:lnTo>
                  <a:lnTo>
                    <a:pt x="2735" y="1783"/>
                  </a:lnTo>
                  <a:lnTo>
                    <a:pt x="2732" y="1776"/>
                  </a:lnTo>
                  <a:lnTo>
                    <a:pt x="2726" y="1767"/>
                  </a:lnTo>
                  <a:lnTo>
                    <a:pt x="2718" y="1762"/>
                  </a:lnTo>
                  <a:lnTo>
                    <a:pt x="2713" y="1754"/>
                  </a:lnTo>
                  <a:lnTo>
                    <a:pt x="2703" y="1749"/>
                  </a:lnTo>
                  <a:lnTo>
                    <a:pt x="2699" y="1739"/>
                  </a:lnTo>
                  <a:lnTo>
                    <a:pt x="2700" y="1727"/>
                  </a:lnTo>
                  <a:lnTo>
                    <a:pt x="2694" y="1708"/>
                  </a:lnTo>
                  <a:lnTo>
                    <a:pt x="2667" y="1712"/>
                  </a:lnTo>
                  <a:lnTo>
                    <a:pt x="2652" y="1718"/>
                  </a:lnTo>
                  <a:lnTo>
                    <a:pt x="2621" y="1724"/>
                  </a:lnTo>
                  <a:lnTo>
                    <a:pt x="2602" y="1737"/>
                  </a:lnTo>
                  <a:lnTo>
                    <a:pt x="2582" y="1744"/>
                  </a:lnTo>
                  <a:lnTo>
                    <a:pt x="2574" y="1750"/>
                  </a:lnTo>
                  <a:lnTo>
                    <a:pt x="2574" y="1760"/>
                  </a:lnTo>
                  <a:lnTo>
                    <a:pt x="2576" y="1772"/>
                  </a:lnTo>
                  <a:lnTo>
                    <a:pt x="2573" y="1786"/>
                  </a:lnTo>
                  <a:lnTo>
                    <a:pt x="2566" y="1794"/>
                  </a:lnTo>
                  <a:lnTo>
                    <a:pt x="2570" y="1805"/>
                  </a:lnTo>
                  <a:lnTo>
                    <a:pt x="2575" y="1808"/>
                  </a:lnTo>
                  <a:lnTo>
                    <a:pt x="2579" y="1818"/>
                  </a:lnTo>
                  <a:lnTo>
                    <a:pt x="2585" y="1825"/>
                  </a:lnTo>
                  <a:lnTo>
                    <a:pt x="2584" y="1835"/>
                  </a:lnTo>
                  <a:lnTo>
                    <a:pt x="2590" y="1842"/>
                  </a:lnTo>
                  <a:lnTo>
                    <a:pt x="2593" y="1854"/>
                  </a:lnTo>
                  <a:lnTo>
                    <a:pt x="2595" y="1873"/>
                  </a:lnTo>
                  <a:lnTo>
                    <a:pt x="2590" y="1900"/>
                  </a:lnTo>
                  <a:lnTo>
                    <a:pt x="2576" y="1911"/>
                  </a:lnTo>
                  <a:lnTo>
                    <a:pt x="2547" y="1948"/>
                  </a:lnTo>
                  <a:lnTo>
                    <a:pt x="2544" y="1954"/>
                  </a:lnTo>
                  <a:lnTo>
                    <a:pt x="2544" y="1969"/>
                  </a:lnTo>
                  <a:lnTo>
                    <a:pt x="2541" y="1988"/>
                  </a:lnTo>
                  <a:lnTo>
                    <a:pt x="2525" y="2013"/>
                  </a:lnTo>
                  <a:lnTo>
                    <a:pt x="2515" y="2023"/>
                  </a:lnTo>
                  <a:lnTo>
                    <a:pt x="2499" y="2031"/>
                  </a:lnTo>
                  <a:lnTo>
                    <a:pt x="2490" y="2042"/>
                  </a:lnTo>
                  <a:lnTo>
                    <a:pt x="2462" y="2053"/>
                  </a:lnTo>
                  <a:lnTo>
                    <a:pt x="2457" y="2061"/>
                  </a:lnTo>
                  <a:lnTo>
                    <a:pt x="2465" y="2078"/>
                  </a:lnTo>
                  <a:lnTo>
                    <a:pt x="2458" y="2098"/>
                  </a:lnTo>
                  <a:lnTo>
                    <a:pt x="2445" y="2103"/>
                  </a:lnTo>
                  <a:lnTo>
                    <a:pt x="2407" y="2085"/>
                  </a:lnTo>
                  <a:lnTo>
                    <a:pt x="2387" y="2083"/>
                  </a:lnTo>
                  <a:lnTo>
                    <a:pt x="2374" y="2087"/>
                  </a:lnTo>
                  <a:lnTo>
                    <a:pt x="2363" y="2088"/>
                  </a:lnTo>
                  <a:lnTo>
                    <a:pt x="2338" y="2083"/>
                  </a:lnTo>
                  <a:lnTo>
                    <a:pt x="2334" y="2080"/>
                  </a:lnTo>
                  <a:lnTo>
                    <a:pt x="2334" y="2071"/>
                  </a:lnTo>
                  <a:lnTo>
                    <a:pt x="2337" y="2064"/>
                  </a:lnTo>
                  <a:lnTo>
                    <a:pt x="2334" y="2040"/>
                  </a:lnTo>
                  <a:lnTo>
                    <a:pt x="2321" y="2037"/>
                  </a:lnTo>
                  <a:lnTo>
                    <a:pt x="2318" y="2030"/>
                  </a:lnTo>
                  <a:lnTo>
                    <a:pt x="2321" y="2026"/>
                  </a:lnTo>
                  <a:lnTo>
                    <a:pt x="2332" y="2021"/>
                  </a:lnTo>
                  <a:lnTo>
                    <a:pt x="2343" y="2030"/>
                  </a:lnTo>
                  <a:lnTo>
                    <a:pt x="2347" y="2037"/>
                  </a:lnTo>
                  <a:lnTo>
                    <a:pt x="2360" y="2037"/>
                  </a:lnTo>
                  <a:lnTo>
                    <a:pt x="2366" y="2028"/>
                  </a:lnTo>
                  <a:lnTo>
                    <a:pt x="2375" y="2028"/>
                  </a:lnTo>
                  <a:lnTo>
                    <a:pt x="2385" y="2012"/>
                  </a:lnTo>
                  <a:lnTo>
                    <a:pt x="2393" y="2018"/>
                  </a:lnTo>
                  <a:lnTo>
                    <a:pt x="2407" y="2012"/>
                  </a:lnTo>
                  <a:lnTo>
                    <a:pt x="2409" y="2005"/>
                  </a:lnTo>
                  <a:lnTo>
                    <a:pt x="2415" y="2003"/>
                  </a:lnTo>
                  <a:lnTo>
                    <a:pt x="2424" y="2004"/>
                  </a:lnTo>
                  <a:lnTo>
                    <a:pt x="2439" y="2001"/>
                  </a:lnTo>
                  <a:lnTo>
                    <a:pt x="2445" y="1992"/>
                  </a:lnTo>
                  <a:lnTo>
                    <a:pt x="2439" y="1983"/>
                  </a:lnTo>
                  <a:lnTo>
                    <a:pt x="2422" y="1983"/>
                  </a:lnTo>
                  <a:lnTo>
                    <a:pt x="2415" y="1988"/>
                  </a:lnTo>
                  <a:lnTo>
                    <a:pt x="2407" y="1982"/>
                  </a:lnTo>
                  <a:lnTo>
                    <a:pt x="2408" y="1969"/>
                  </a:lnTo>
                  <a:lnTo>
                    <a:pt x="2428" y="1981"/>
                  </a:lnTo>
                  <a:lnTo>
                    <a:pt x="2449" y="1977"/>
                  </a:lnTo>
                  <a:lnTo>
                    <a:pt x="2451" y="1974"/>
                  </a:lnTo>
                  <a:lnTo>
                    <a:pt x="2452" y="1956"/>
                  </a:lnTo>
                  <a:lnTo>
                    <a:pt x="2461" y="1956"/>
                  </a:lnTo>
                  <a:lnTo>
                    <a:pt x="2468" y="1947"/>
                  </a:lnTo>
                  <a:lnTo>
                    <a:pt x="2469" y="1937"/>
                  </a:lnTo>
                  <a:lnTo>
                    <a:pt x="2474" y="1924"/>
                  </a:lnTo>
                  <a:lnTo>
                    <a:pt x="2477" y="1915"/>
                  </a:lnTo>
                  <a:lnTo>
                    <a:pt x="2494" y="1906"/>
                  </a:lnTo>
                  <a:lnTo>
                    <a:pt x="2503" y="1895"/>
                  </a:lnTo>
                  <a:lnTo>
                    <a:pt x="2499" y="1888"/>
                  </a:lnTo>
                  <a:lnTo>
                    <a:pt x="2504" y="1878"/>
                  </a:lnTo>
                  <a:lnTo>
                    <a:pt x="2501" y="1843"/>
                  </a:lnTo>
                  <a:lnTo>
                    <a:pt x="2501" y="1832"/>
                  </a:lnTo>
                  <a:lnTo>
                    <a:pt x="2506" y="1815"/>
                  </a:lnTo>
                  <a:lnTo>
                    <a:pt x="2521" y="1792"/>
                  </a:lnTo>
                  <a:lnTo>
                    <a:pt x="2520" y="1762"/>
                  </a:lnTo>
                  <a:lnTo>
                    <a:pt x="2490" y="1735"/>
                  </a:lnTo>
                  <a:lnTo>
                    <a:pt x="2468" y="1701"/>
                  </a:lnTo>
                  <a:lnTo>
                    <a:pt x="2468" y="1684"/>
                  </a:lnTo>
                  <a:lnTo>
                    <a:pt x="2472" y="1670"/>
                  </a:lnTo>
                  <a:lnTo>
                    <a:pt x="2473" y="1657"/>
                  </a:lnTo>
                  <a:lnTo>
                    <a:pt x="2471" y="1643"/>
                  </a:lnTo>
                  <a:lnTo>
                    <a:pt x="2478" y="1630"/>
                  </a:lnTo>
                  <a:lnTo>
                    <a:pt x="2473" y="1606"/>
                  </a:lnTo>
                  <a:lnTo>
                    <a:pt x="2479" y="1592"/>
                  </a:lnTo>
                  <a:lnTo>
                    <a:pt x="2479" y="1571"/>
                  </a:lnTo>
                  <a:lnTo>
                    <a:pt x="2476" y="1565"/>
                  </a:lnTo>
                  <a:lnTo>
                    <a:pt x="2476" y="1558"/>
                  </a:lnTo>
                  <a:lnTo>
                    <a:pt x="2473" y="1555"/>
                  </a:lnTo>
                  <a:lnTo>
                    <a:pt x="2472" y="1545"/>
                  </a:lnTo>
                  <a:lnTo>
                    <a:pt x="2474" y="1530"/>
                  </a:lnTo>
                  <a:lnTo>
                    <a:pt x="2473" y="1524"/>
                  </a:lnTo>
                  <a:lnTo>
                    <a:pt x="2467" y="1518"/>
                  </a:lnTo>
                  <a:lnTo>
                    <a:pt x="2465" y="1504"/>
                  </a:lnTo>
                  <a:lnTo>
                    <a:pt x="2469" y="1492"/>
                  </a:lnTo>
                  <a:lnTo>
                    <a:pt x="2482" y="1482"/>
                  </a:lnTo>
                  <a:lnTo>
                    <a:pt x="2483" y="1475"/>
                  </a:lnTo>
                  <a:lnTo>
                    <a:pt x="2480" y="1442"/>
                  </a:lnTo>
                  <a:lnTo>
                    <a:pt x="2485" y="1427"/>
                  </a:lnTo>
                  <a:lnTo>
                    <a:pt x="2485" y="1406"/>
                  </a:lnTo>
                  <a:lnTo>
                    <a:pt x="2471" y="1373"/>
                  </a:lnTo>
                  <a:lnTo>
                    <a:pt x="2473" y="1350"/>
                  </a:lnTo>
                  <a:lnTo>
                    <a:pt x="2453" y="1334"/>
                  </a:lnTo>
                  <a:lnTo>
                    <a:pt x="2442" y="1321"/>
                  </a:lnTo>
                  <a:lnTo>
                    <a:pt x="2429" y="1297"/>
                  </a:lnTo>
                  <a:lnTo>
                    <a:pt x="2430" y="1283"/>
                  </a:lnTo>
                  <a:lnTo>
                    <a:pt x="2431" y="1281"/>
                  </a:lnTo>
                  <a:lnTo>
                    <a:pt x="2447" y="1271"/>
                  </a:lnTo>
                  <a:lnTo>
                    <a:pt x="2450" y="1260"/>
                  </a:lnTo>
                  <a:lnTo>
                    <a:pt x="2457" y="1250"/>
                  </a:lnTo>
                  <a:lnTo>
                    <a:pt x="2457" y="1243"/>
                  </a:lnTo>
                  <a:lnTo>
                    <a:pt x="2456" y="1233"/>
                  </a:lnTo>
                  <a:lnTo>
                    <a:pt x="2465" y="1217"/>
                  </a:lnTo>
                  <a:lnTo>
                    <a:pt x="2472" y="1187"/>
                  </a:lnTo>
                  <a:lnTo>
                    <a:pt x="2478" y="1173"/>
                  </a:lnTo>
                  <a:lnTo>
                    <a:pt x="2480" y="1147"/>
                  </a:lnTo>
                  <a:lnTo>
                    <a:pt x="2477" y="1132"/>
                  </a:lnTo>
                  <a:lnTo>
                    <a:pt x="2476" y="1114"/>
                  </a:lnTo>
                  <a:lnTo>
                    <a:pt x="2477" y="1092"/>
                  </a:lnTo>
                  <a:lnTo>
                    <a:pt x="2473" y="1084"/>
                  </a:lnTo>
                  <a:lnTo>
                    <a:pt x="2477" y="1079"/>
                  </a:lnTo>
                  <a:lnTo>
                    <a:pt x="2476" y="1078"/>
                  </a:lnTo>
                  <a:lnTo>
                    <a:pt x="2434" y="1058"/>
                  </a:lnTo>
                  <a:lnTo>
                    <a:pt x="2419" y="1046"/>
                  </a:lnTo>
                  <a:lnTo>
                    <a:pt x="2376" y="1052"/>
                  </a:lnTo>
                  <a:lnTo>
                    <a:pt x="2359" y="1050"/>
                  </a:lnTo>
                  <a:lnTo>
                    <a:pt x="2331" y="1051"/>
                  </a:lnTo>
                  <a:lnTo>
                    <a:pt x="2318" y="1045"/>
                  </a:lnTo>
                  <a:lnTo>
                    <a:pt x="2326" y="1038"/>
                  </a:lnTo>
                  <a:lnTo>
                    <a:pt x="2297" y="1040"/>
                  </a:lnTo>
                  <a:lnTo>
                    <a:pt x="2293" y="1050"/>
                  </a:lnTo>
                  <a:lnTo>
                    <a:pt x="2293" y="1056"/>
                  </a:lnTo>
                  <a:lnTo>
                    <a:pt x="2288" y="1071"/>
                  </a:lnTo>
                  <a:lnTo>
                    <a:pt x="2279" y="1084"/>
                  </a:lnTo>
                  <a:lnTo>
                    <a:pt x="2273" y="1103"/>
                  </a:lnTo>
                  <a:lnTo>
                    <a:pt x="2265" y="1143"/>
                  </a:lnTo>
                  <a:lnTo>
                    <a:pt x="2261" y="1164"/>
                  </a:lnTo>
                  <a:lnTo>
                    <a:pt x="2254" y="1176"/>
                  </a:lnTo>
                  <a:lnTo>
                    <a:pt x="2248" y="1228"/>
                  </a:lnTo>
                  <a:lnTo>
                    <a:pt x="2243" y="1246"/>
                  </a:lnTo>
                  <a:lnTo>
                    <a:pt x="2225" y="1282"/>
                  </a:lnTo>
                  <a:lnTo>
                    <a:pt x="2204" y="1305"/>
                  </a:lnTo>
                  <a:lnTo>
                    <a:pt x="2186" y="1323"/>
                  </a:lnTo>
                  <a:lnTo>
                    <a:pt x="2159" y="1336"/>
                  </a:lnTo>
                  <a:lnTo>
                    <a:pt x="2152" y="1369"/>
                  </a:lnTo>
                  <a:lnTo>
                    <a:pt x="2152" y="1374"/>
                  </a:lnTo>
                  <a:lnTo>
                    <a:pt x="2156" y="1375"/>
                  </a:lnTo>
                  <a:lnTo>
                    <a:pt x="2167" y="1358"/>
                  </a:lnTo>
                  <a:lnTo>
                    <a:pt x="2171" y="1361"/>
                  </a:lnTo>
                  <a:lnTo>
                    <a:pt x="2171" y="1375"/>
                  </a:lnTo>
                  <a:lnTo>
                    <a:pt x="2166" y="1385"/>
                  </a:lnTo>
                  <a:lnTo>
                    <a:pt x="2148" y="1397"/>
                  </a:lnTo>
                  <a:lnTo>
                    <a:pt x="2143" y="1415"/>
                  </a:lnTo>
                  <a:lnTo>
                    <a:pt x="2149" y="1428"/>
                  </a:lnTo>
                  <a:lnTo>
                    <a:pt x="2162" y="1422"/>
                  </a:lnTo>
                  <a:lnTo>
                    <a:pt x="2171" y="1415"/>
                  </a:lnTo>
                  <a:lnTo>
                    <a:pt x="2186" y="1416"/>
                  </a:lnTo>
                  <a:lnTo>
                    <a:pt x="2192" y="1432"/>
                  </a:lnTo>
                  <a:lnTo>
                    <a:pt x="2187" y="1445"/>
                  </a:lnTo>
                  <a:lnTo>
                    <a:pt x="2187" y="1487"/>
                  </a:lnTo>
                  <a:lnTo>
                    <a:pt x="2178" y="1499"/>
                  </a:lnTo>
                  <a:lnTo>
                    <a:pt x="2181" y="1522"/>
                  </a:lnTo>
                  <a:lnTo>
                    <a:pt x="2187" y="1534"/>
                  </a:lnTo>
                  <a:lnTo>
                    <a:pt x="2181" y="1550"/>
                  </a:lnTo>
                  <a:lnTo>
                    <a:pt x="2170" y="1550"/>
                  </a:lnTo>
                  <a:lnTo>
                    <a:pt x="2164" y="1540"/>
                  </a:lnTo>
                  <a:lnTo>
                    <a:pt x="2161" y="1563"/>
                  </a:lnTo>
                  <a:lnTo>
                    <a:pt x="2161" y="1606"/>
                  </a:lnTo>
                  <a:lnTo>
                    <a:pt x="2168" y="1621"/>
                  </a:lnTo>
                  <a:lnTo>
                    <a:pt x="2168" y="1606"/>
                  </a:lnTo>
                  <a:lnTo>
                    <a:pt x="2182" y="1601"/>
                  </a:lnTo>
                  <a:lnTo>
                    <a:pt x="2205" y="1616"/>
                  </a:lnTo>
                  <a:lnTo>
                    <a:pt x="2218" y="1628"/>
                  </a:lnTo>
                  <a:lnTo>
                    <a:pt x="2225" y="1625"/>
                  </a:lnTo>
                  <a:lnTo>
                    <a:pt x="2230" y="1625"/>
                  </a:lnTo>
                  <a:lnTo>
                    <a:pt x="2227" y="1647"/>
                  </a:lnTo>
                  <a:lnTo>
                    <a:pt x="2236" y="1671"/>
                  </a:lnTo>
                  <a:lnTo>
                    <a:pt x="2243" y="1686"/>
                  </a:lnTo>
                  <a:lnTo>
                    <a:pt x="2251" y="1706"/>
                  </a:lnTo>
                  <a:lnTo>
                    <a:pt x="2267" y="1717"/>
                  </a:lnTo>
                  <a:lnTo>
                    <a:pt x="2279" y="1713"/>
                  </a:lnTo>
                  <a:lnTo>
                    <a:pt x="2279" y="1719"/>
                  </a:lnTo>
                  <a:lnTo>
                    <a:pt x="2285" y="1727"/>
                  </a:lnTo>
                  <a:lnTo>
                    <a:pt x="2274" y="1743"/>
                  </a:lnTo>
                  <a:lnTo>
                    <a:pt x="2264" y="1776"/>
                  </a:lnTo>
                  <a:lnTo>
                    <a:pt x="2256" y="1799"/>
                  </a:lnTo>
                  <a:lnTo>
                    <a:pt x="2253" y="1811"/>
                  </a:lnTo>
                  <a:lnTo>
                    <a:pt x="2238" y="1822"/>
                  </a:lnTo>
                  <a:lnTo>
                    <a:pt x="2234" y="1814"/>
                  </a:lnTo>
                  <a:lnTo>
                    <a:pt x="2235" y="1800"/>
                  </a:lnTo>
                  <a:lnTo>
                    <a:pt x="2225" y="1787"/>
                  </a:lnTo>
                  <a:lnTo>
                    <a:pt x="2207" y="1776"/>
                  </a:lnTo>
                  <a:lnTo>
                    <a:pt x="2172" y="1733"/>
                  </a:lnTo>
                  <a:lnTo>
                    <a:pt x="2161" y="1724"/>
                  </a:lnTo>
                  <a:lnTo>
                    <a:pt x="2144" y="1721"/>
                  </a:lnTo>
                  <a:lnTo>
                    <a:pt x="2119" y="1701"/>
                  </a:lnTo>
                  <a:lnTo>
                    <a:pt x="2092" y="1691"/>
                  </a:lnTo>
                  <a:lnTo>
                    <a:pt x="2094" y="1682"/>
                  </a:lnTo>
                  <a:lnTo>
                    <a:pt x="2101" y="1682"/>
                  </a:lnTo>
                  <a:lnTo>
                    <a:pt x="2097" y="1679"/>
                  </a:lnTo>
                  <a:lnTo>
                    <a:pt x="2079" y="1675"/>
                  </a:lnTo>
                  <a:lnTo>
                    <a:pt x="2057" y="1658"/>
                  </a:lnTo>
                  <a:lnTo>
                    <a:pt x="2043" y="1652"/>
                  </a:lnTo>
                  <a:lnTo>
                    <a:pt x="2011" y="1622"/>
                  </a:lnTo>
                  <a:lnTo>
                    <a:pt x="1993" y="1617"/>
                  </a:lnTo>
                  <a:lnTo>
                    <a:pt x="1965" y="1603"/>
                  </a:lnTo>
                  <a:lnTo>
                    <a:pt x="1956" y="1603"/>
                  </a:lnTo>
                  <a:lnTo>
                    <a:pt x="1936" y="1589"/>
                  </a:lnTo>
                  <a:lnTo>
                    <a:pt x="1922" y="1590"/>
                  </a:lnTo>
                  <a:lnTo>
                    <a:pt x="1869" y="1587"/>
                  </a:lnTo>
                  <a:lnTo>
                    <a:pt x="1865" y="1581"/>
                  </a:lnTo>
                  <a:lnTo>
                    <a:pt x="1848" y="1573"/>
                  </a:lnTo>
                  <a:lnTo>
                    <a:pt x="1834" y="1573"/>
                  </a:lnTo>
                  <a:lnTo>
                    <a:pt x="1829" y="1577"/>
                  </a:lnTo>
                  <a:lnTo>
                    <a:pt x="1828" y="1587"/>
                  </a:lnTo>
                  <a:lnTo>
                    <a:pt x="1823" y="1595"/>
                  </a:lnTo>
                  <a:lnTo>
                    <a:pt x="1802" y="1609"/>
                  </a:lnTo>
                  <a:lnTo>
                    <a:pt x="1804" y="1617"/>
                  </a:lnTo>
                  <a:lnTo>
                    <a:pt x="1810" y="1635"/>
                  </a:lnTo>
                  <a:lnTo>
                    <a:pt x="1823" y="1655"/>
                  </a:lnTo>
                  <a:lnTo>
                    <a:pt x="1833" y="1690"/>
                  </a:lnTo>
                  <a:lnTo>
                    <a:pt x="1832" y="1682"/>
                  </a:lnTo>
                  <a:lnTo>
                    <a:pt x="1837" y="1684"/>
                  </a:lnTo>
                  <a:lnTo>
                    <a:pt x="1832" y="1718"/>
                  </a:lnTo>
                  <a:lnTo>
                    <a:pt x="1829" y="1724"/>
                  </a:lnTo>
                  <a:lnTo>
                    <a:pt x="1810" y="1746"/>
                  </a:lnTo>
                  <a:lnTo>
                    <a:pt x="1779" y="1750"/>
                  </a:lnTo>
                  <a:lnTo>
                    <a:pt x="1778" y="1765"/>
                  </a:lnTo>
                  <a:lnTo>
                    <a:pt x="1783" y="1773"/>
                  </a:lnTo>
                  <a:lnTo>
                    <a:pt x="1784" y="1783"/>
                  </a:lnTo>
                  <a:lnTo>
                    <a:pt x="1773" y="1799"/>
                  </a:lnTo>
                  <a:lnTo>
                    <a:pt x="1761" y="1805"/>
                  </a:lnTo>
                  <a:lnTo>
                    <a:pt x="1747" y="1798"/>
                  </a:lnTo>
                  <a:lnTo>
                    <a:pt x="1736" y="1787"/>
                  </a:lnTo>
                  <a:lnTo>
                    <a:pt x="1736" y="1770"/>
                  </a:lnTo>
                  <a:lnTo>
                    <a:pt x="1741" y="1759"/>
                  </a:lnTo>
                  <a:lnTo>
                    <a:pt x="1747" y="1750"/>
                  </a:lnTo>
                  <a:lnTo>
                    <a:pt x="1754" y="1745"/>
                  </a:lnTo>
                  <a:lnTo>
                    <a:pt x="1732" y="1713"/>
                  </a:lnTo>
                  <a:lnTo>
                    <a:pt x="1735" y="1705"/>
                  </a:lnTo>
                  <a:lnTo>
                    <a:pt x="1724" y="1703"/>
                  </a:lnTo>
                  <a:lnTo>
                    <a:pt x="1684" y="1721"/>
                  </a:lnTo>
                  <a:lnTo>
                    <a:pt x="1675" y="1737"/>
                  </a:lnTo>
                  <a:lnTo>
                    <a:pt x="1660" y="1743"/>
                  </a:lnTo>
                  <a:lnTo>
                    <a:pt x="1640" y="1773"/>
                  </a:lnTo>
                  <a:lnTo>
                    <a:pt x="1628" y="1775"/>
                  </a:lnTo>
                  <a:lnTo>
                    <a:pt x="1622" y="1766"/>
                  </a:lnTo>
                  <a:lnTo>
                    <a:pt x="1606" y="1762"/>
                  </a:lnTo>
                  <a:lnTo>
                    <a:pt x="1587" y="1767"/>
                  </a:lnTo>
                  <a:lnTo>
                    <a:pt x="1570" y="1757"/>
                  </a:lnTo>
                  <a:lnTo>
                    <a:pt x="1547" y="1772"/>
                  </a:lnTo>
                  <a:lnTo>
                    <a:pt x="1536" y="1771"/>
                  </a:lnTo>
                  <a:lnTo>
                    <a:pt x="1512" y="1792"/>
                  </a:lnTo>
                  <a:lnTo>
                    <a:pt x="1508" y="1802"/>
                  </a:lnTo>
                  <a:lnTo>
                    <a:pt x="1506" y="1822"/>
                  </a:lnTo>
                  <a:lnTo>
                    <a:pt x="1504" y="1831"/>
                  </a:lnTo>
                  <a:lnTo>
                    <a:pt x="1495" y="1831"/>
                  </a:lnTo>
                  <a:lnTo>
                    <a:pt x="1487" y="1824"/>
                  </a:lnTo>
                  <a:lnTo>
                    <a:pt x="1478" y="1813"/>
                  </a:lnTo>
                  <a:lnTo>
                    <a:pt x="1474" y="1816"/>
                  </a:lnTo>
                  <a:lnTo>
                    <a:pt x="1467" y="1821"/>
                  </a:lnTo>
                  <a:lnTo>
                    <a:pt x="1456" y="1807"/>
                  </a:lnTo>
                  <a:lnTo>
                    <a:pt x="1456" y="1779"/>
                  </a:lnTo>
                  <a:lnTo>
                    <a:pt x="1450" y="1773"/>
                  </a:lnTo>
                  <a:lnTo>
                    <a:pt x="1450" y="1766"/>
                  </a:lnTo>
                  <a:lnTo>
                    <a:pt x="1457" y="1751"/>
                  </a:lnTo>
                  <a:lnTo>
                    <a:pt x="1458" y="1737"/>
                  </a:lnTo>
                  <a:lnTo>
                    <a:pt x="1452" y="1724"/>
                  </a:lnTo>
                  <a:lnTo>
                    <a:pt x="1447" y="1722"/>
                  </a:lnTo>
                  <a:lnTo>
                    <a:pt x="1446" y="1730"/>
                  </a:lnTo>
                  <a:lnTo>
                    <a:pt x="1442" y="1730"/>
                  </a:lnTo>
                  <a:lnTo>
                    <a:pt x="1444" y="1721"/>
                  </a:lnTo>
                  <a:lnTo>
                    <a:pt x="1451" y="1716"/>
                  </a:lnTo>
                  <a:lnTo>
                    <a:pt x="1477" y="1713"/>
                  </a:lnTo>
                  <a:lnTo>
                    <a:pt x="1488" y="1707"/>
                  </a:lnTo>
                  <a:lnTo>
                    <a:pt x="1490" y="1705"/>
                  </a:lnTo>
                  <a:lnTo>
                    <a:pt x="1484" y="1707"/>
                  </a:lnTo>
                  <a:lnTo>
                    <a:pt x="1467" y="1712"/>
                  </a:lnTo>
                  <a:lnTo>
                    <a:pt x="1460" y="1711"/>
                  </a:lnTo>
                  <a:lnTo>
                    <a:pt x="1445" y="1712"/>
                  </a:lnTo>
                  <a:lnTo>
                    <a:pt x="1423" y="1723"/>
                  </a:lnTo>
                  <a:lnTo>
                    <a:pt x="1424" y="1730"/>
                  </a:lnTo>
                  <a:lnTo>
                    <a:pt x="1415" y="1734"/>
                  </a:lnTo>
                  <a:lnTo>
                    <a:pt x="1413" y="1738"/>
                  </a:lnTo>
                  <a:lnTo>
                    <a:pt x="1417" y="1751"/>
                  </a:lnTo>
                  <a:lnTo>
                    <a:pt x="1417" y="1759"/>
                  </a:lnTo>
                  <a:lnTo>
                    <a:pt x="1406" y="1765"/>
                  </a:lnTo>
                  <a:lnTo>
                    <a:pt x="1397" y="1760"/>
                  </a:lnTo>
                  <a:lnTo>
                    <a:pt x="1393" y="1751"/>
                  </a:lnTo>
                  <a:lnTo>
                    <a:pt x="1398" y="1743"/>
                  </a:lnTo>
                  <a:lnTo>
                    <a:pt x="1391" y="1743"/>
                  </a:lnTo>
                  <a:lnTo>
                    <a:pt x="1369" y="1767"/>
                  </a:lnTo>
                  <a:lnTo>
                    <a:pt x="1377" y="1766"/>
                  </a:lnTo>
                  <a:lnTo>
                    <a:pt x="1381" y="1775"/>
                  </a:lnTo>
                  <a:lnTo>
                    <a:pt x="1381" y="1783"/>
                  </a:lnTo>
                  <a:lnTo>
                    <a:pt x="1380" y="1793"/>
                  </a:lnTo>
                  <a:lnTo>
                    <a:pt x="1371" y="1800"/>
                  </a:lnTo>
                  <a:lnTo>
                    <a:pt x="1366" y="1803"/>
                  </a:lnTo>
                  <a:lnTo>
                    <a:pt x="1361" y="1789"/>
                  </a:lnTo>
                  <a:lnTo>
                    <a:pt x="1354" y="1777"/>
                  </a:lnTo>
                  <a:lnTo>
                    <a:pt x="1326" y="1786"/>
                  </a:lnTo>
                  <a:lnTo>
                    <a:pt x="1328" y="1789"/>
                  </a:lnTo>
                  <a:lnTo>
                    <a:pt x="1291" y="1807"/>
                  </a:lnTo>
                  <a:lnTo>
                    <a:pt x="1288" y="1804"/>
                  </a:lnTo>
                  <a:lnTo>
                    <a:pt x="1282" y="1807"/>
                  </a:lnTo>
                  <a:lnTo>
                    <a:pt x="1254" y="1832"/>
                  </a:lnTo>
                  <a:lnTo>
                    <a:pt x="1181" y="1880"/>
                  </a:lnTo>
                  <a:lnTo>
                    <a:pt x="1172" y="1880"/>
                  </a:lnTo>
                  <a:lnTo>
                    <a:pt x="1171" y="1895"/>
                  </a:lnTo>
                  <a:lnTo>
                    <a:pt x="1175" y="1897"/>
                  </a:lnTo>
                  <a:lnTo>
                    <a:pt x="1166" y="1905"/>
                  </a:lnTo>
                  <a:lnTo>
                    <a:pt x="1144" y="1908"/>
                  </a:lnTo>
                  <a:lnTo>
                    <a:pt x="1135" y="1916"/>
                  </a:lnTo>
                  <a:lnTo>
                    <a:pt x="1129" y="1913"/>
                  </a:lnTo>
                  <a:lnTo>
                    <a:pt x="1123" y="1927"/>
                  </a:lnTo>
                  <a:lnTo>
                    <a:pt x="1114" y="1958"/>
                  </a:lnTo>
                  <a:lnTo>
                    <a:pt x="1111" y="1970"/>
                  </a:lnTo>
                  <a:lnTo>
                    <a:pt x="1113" y="1996"/>
                  </a:lnTo>
                  <a:lnTo>
                    <a:pt x="1106" y="2008"/>
                  </a:lnTo>
                  <a:lnTo>
                    <a:pt x="1090" y="2017"/>
                  </a:lnTo>
                  <a:lnTo>
                    <a:pt x="1079" y="2015"/>
                  </a:lnTo>
                  <a:lnTo>
                    <a:pt x="1058" y="2024"/>
                  </a:lnTo>
                  <a:lnTo>
                    <a:pt x="1053" y="2044"/>
                  </a:lnTo>
                  <a:lnTo>
                    <a:pt x="1048" y="2030"/>
                  </a:lnTo>
                  <a:lnTo>
                    <a:pt x="1047" y="2015"/>
                  </a:lnTo>
                  <a:lnTo>
                    <a:pt x="1033" y="2023"/>
                  </a:lnTo>
                  <a:lnTo>
                    <a:pt x="1024" y="2023"/>
                  </a:lnTo>
                  <a:lnTo>
                    <a:pt x="1015" y="2017"/>
                  </a:lnTo>
                  <a:lnTo>
                    <a:pt x="1004" y="1997"/>
                  </a:lnTo>
                  <a:lnTo>
                    <a:pt x="1000" y="1985"/>
                  </a:lnTo>
                  <a:lnTo>
                    <a:pt x="978" y="1960"/>
                  </a:lnTo>
                  <a:lnTo>
                    <a:pt x="968" y="1950"/>
                  </a:lnTo>
                  <a:lnTo>
                    <a:pt x="963" y="1935"/>
                  </a:lnTo>
                  <a:lnTo>
                    <a:pt x="962" y="1921"/>
                  </a:lnTo>
                  <a:lnTo>
                    <a:pt x="973" y="1920"/>
                  </a:lnTo>
                  <a:lnTo>
                    <a:pt x="981" y="1910"/>
                  </a:lnTo>
                  <a:lnTo>
                    <a:pt x="984" y="1896"/>
                  </a:lnTo>
                  <a:lnTo>
                    <a:pt x="999" y="1891"/>
                  </a:lnTo>
                  <a:lnTo>
                    <a:pt x="1054" y="1880"/>
                  </a:lnTo>
                  <a:lnTo>
                    <a:pt x="1046" y="1863"/>
                  </a:lnTo>
                  <a:lnTo>
                    <a:pt x="1044" y="1845"/>
                  </a:lnTo>
                  <a:lnTo>
                    <a:pt x="1041" y="1826"/>
                  </a:lnTo>
                  <a:lnTo>
                    <a:pt x="1031" y="1832"/>
                  </a:lnTo>
                  <a:lnTo>
                    <a:pt x="1021" y="1814"/>
                  </a:lnTo>
                  <a:lnTo>
                    <a:pt x="1015" y="1809"/>
                  </a:lnTo>
                  <a:lnTo>
                    <a:pt x="1015" y="1792"/>
                  </a:lnTo>
                  <a:lnTo>
                    <a:pt x="1004" y="1783"/>
                  </a:lnTo>
                  <a:lnTo>
                    <a:pt x="978" y="1776"/>
                  </a:lnTo>
                  <a:lnTo>
                    <a:pt x="955" y="1776"/>
                  </a:lnTo>
                  <a:lnTo>
                    <a:pt x="930" y="1773"/>
                  </a:lnTo>
                  <a:lnTo>
                    <a:pt x="919" y="1777"/>
                  </a:lnTo>
                  <a:lnTo>
                    <a:pt x="909" y="1775"/>
                  </a:lnTo>
                  <a:lnTo>
                    <a:pt x="868" y="1754"/>
                  </a:lnTo>
                  <a:lnTo>
                    <a:pt x="870" y="1764"/>
                  </a:lnTo>
                  <a:lnTo>
                    <a:pt x="917" y="1805"/>
                  </a:lnTo>
                  <a:lnTo>
                    <a:pt x="917" y="1838"/>
                  </a:lnTo>
                  <a:lnTo>
                    <a:pt x="919" y="1853"/>
                  </a:lnTo>
                  <a:lnTo>
                    <a:pt x="914" y="1873"/>
                  </a:lnTo>
                  <a:lnTo>
                    <a:pt x="915" y="1890"/>
                  </a:lnTo>
                  <a:lnTo>
                    <a:pt x="901" y="1939"/>
                  </a:lnTo>
                  <a:lnTo>
                    <a:pt x="901" y="1953"/>
                  </a:lnTo>
                  <a:lnTo>
                    <a:pt x="902" y="1970"/>
                  </a:lnTo>
                  <a:lnTo>
                    <a:pt x="907" y="1975"/>
                  </a:lnTo>
                  <a:lnTo>
                    <a:pt x="919" y="1975"/>
                  </a:lnTo>
                  <a:lnTo>
                    <a:pt x="929" y="1982"/>
                  </a:lnTo>
                  <a:lnTo>
                    <a:pt x="938" y="2002"/>
                  </a:lnTo>
                  <a:lnTo>
                    <a:pt x="938" y="2013"/>
                  </a:lnTo>
                  <a:lnTo>
                    <a:pt x="933" y="2026"/>
                  </a:lnTo>
                  <a:lnTo>
                    <a:pt x="936" y="2037"/>
                  </a:lnTo>
                  <a:lnTo>
                    <a:pt x="933" y="2056"/>
                  </a:lnTo>
                  <a:lnTo>
                    <a:pt x="922" y="2072"/>
                  </a:lnTo>
                  <a:lnTo>
                    <a:pt x="915" y="2096"/>
                  </a:lnTo>
                  <a:lnTo>
                    <a:pt x="922" y="2114"/>
                  </a:lnTo>
                  <a:lnTo>
                    <a:pt x="918" y="2149"/>
                  </a:lnTo>
                  <a:lnTo>
                    <a:pt x="908" y="2134"/>
                  </a:lnTo>
                  <a:lnTo>
                    <a:pt x="906" y="2123"/>
                  </a:lnTo>
                  <a:lnTo>
                    <a:pt x="898" y="2114"/>
                  </a:lnTo>
                  <a:lnTo>
                    <a:pt x="890" y="2115"/>
                  </a:lnTo>
                  <a:lnTo>
                    <a:pt x="877" y="2126"/>
                  </a:lnTo>
                  <a:lnTo>
                    <a:pt x="885" y="2111"/>
                  </a:lnTo>
                  <a:lnTo>
                    <a:pt x="886" y="2099"/>
                  </a:lnTo>
                  <a:lnTo>
                    <a:pt x="869" y="2085"/>
                  </a:lnTo>
                  <a:lnTo>
                    <a:pt x="860" y="2080"/>
                  </a:lnTo>
                  <a:lnTo>
                    <a:pt x="837" y="2080"/>
                  </a:lnTo>
                  <a:lnTo>
                    <a:pt x="816" y="2062"/>
                  </a:lnTo>
                  <a:lnTo>
                    <a:pt x="807" y="2072"/>
                  </a:lnTo>
                  <a:lnTo>
                    <a:pt x="804" y="2083"/>
                  </a:lnTo>
                  <a:lnTo>
                    <a:pt x="788" y="2099"/>
                  </a:lnTo>
                  <a:lnTo>
                    <a:pt x="779" y="2114"/>
                  </a:lnTo>
                  <a:lnTo>
                    <a:pt x="768" y="2126"/>
                  </a:lnTo>
                  <a:lnTo>
                    <a:pt x="743" y="2136"/>
                  </a:lnTo>
                  <a:lnTo>
                    <a:pt x="735" y="2136"/>
                  </a:lnTo>
                  <a:lnTo>
                    <a:pt x="723" y="2144"/>
                  </a:lnTo>
                  <a:lnTo>
                    <a:pt x="716" y="2159"/>
                  </a:lnTo>
                  <a:lnTo>
                    <a:pt x="704" y="2170"/>
                  </a:lnTo>
                  <a:lnTo>
                    <a:pt x="693" y="2180"/>
                  </a:lnTo>
                  <a:lnTo>
                    <a:pt x="681" y="2184"/>
                  </a:lnTo>
                  <a:lnTo>
                    <a:pt x="681" y="2197"/>
                  </a:lnTo>
                  <a:lnTo>
                    <a:pt x="683" y="2223"/>
                  </a:lnTo>
                  <a:lnTo>
                    <a:pt x="696" y="2246"/>
                  </a:lnTo>
                  <a:lnTo>
                    <a:pt x="707" y="2261"/>
                  </a:lnTo>
                  <a:lnTo>
                    <a:pt x="714" y="2276"/>
                  </a:lnTo>
                  <a:lnTo>
                    <a:pt x="727" y="2308"/>
                  </a:lnTo>
                  <a:lnTo>
                    <a:pt x="730" y="2316"/>
                  </a:lnTo>
                  <a:lnTo>
                    <a:pt x="739" y="2330"/>
                  </a:lnTo>
                  <a:lnTo>
                    <a:pt x="739" y="2336"/>
                  </a:lnTo>
                  <a:lnTo>
                    <a:pt x="720" y="2324"/>
                  </a:lnTo>
                  <a:lnTo>
                    <a:pt x="714" y="2326"/>
                  </a:lnTo>
                  <a:lnTo>
                    <a:pt x="686" y="2315"/>
                  </a:lnTo>
                  <a:lnTo>
                    <a:pt x="687" y="2321"/>
                  </a:lnTo>
                  <a:lnTo>
                    <a:pt x="684" y="2325"/>
                  </a:lnTo>
                  <a:lnTo>
                    <a:pt x="671" y="2322"/>
                  </a:lnTo>
                  <a:lnTo>
                    <a:pt x="653" y="2314"/>
                  </a:lnTo>
                  <a:lnTo>
                    <a:pt x="634" y="2300"/>
                  </a:lnTo>
                  <a:lnTo>
                    <a:pt x="619" y="2298"/>
                  </a:lnTo>
                  <a:lnTo>
                    <a:pt x="610" y="2290"/>
                  </a:lnTo>
                  <a:lnTo>
                    <a:pt x="595" y="2304"/>
                  </a:lnTo>
                  <a:lnTo>
                    <a:pt x="587" y="2317"/>
                  </a:lnTo>
                  <a:lnTo>
                    <a:pt x="584" y="2297"/>
                  </a:lnTo>
                  <a:lnTo>
                    <a:pt x="599" y="2288"/>
                  </a:lnTo>
                  <a:lnTo>
                    <a:pt x="586" y="2283"/>
                  </a:lnTo>
                  <a:lnTo>
                    <a:pt x="570" y="2279"/>
                  </a:lnTo>
                  <a:lnTo>
                    <a:pt x="567" y="2266"/>
                  </a:lnTo>
                  <a:lnTo>
                    <a:pt x="549" y="2255"/>
                  </a:lnTo>
                  <a:lnTo>
                    <a:pt x="531" y="2246"/>
                  </a:lnTo>
                  <a:lnTo>
                    <a:pt x="520" y="2244"/>
                  </a:lnTo>
                  <a:lnTo>
                    <a:pt x="517" y="2265"/>
                  </a:lnTo>
                  <a:lnTo>
                    <a:pt x="509" y="2276"/>
                  </a:lnTo>
                  <a:lnTo>
                    <a:pt x="499" y="2279"/>
                  </a:lnTo>
                  <a:lnTo>
                    <a:pt x="501" y="2289"/>
                  </a:lnTo>
                  <a:lnTo>
                    <a:pt x="508" y="2304"/>
                  </a:lnTo>
                  <a:lnTo>
                    <a:pt x="516" y="2309"/>
                  </a:lnTo>
                  <a:lnTo>
                    <a:pt x="527" y="2332"/>
                  </a:lnTo>
                  <a:lnTo>
                    <a:pt x="543" y="2349"/>
                  </a:lnTo>
                  <a:lnTo>
                    <a:pt x="574" y="2336"/>
                  </a:lnTo>
                  <a:lnTo>
                    <a:pt x="580" y="2352"/>
                  </a:lnTo>
                  <a:lnTo>
                    <a:pt x="587" y="2399"/>
                  </a:lnTo>
                  <a:lnTo>
                    <a:pt x="592" y="2407"/>
                  </a:lnTo>
                  <a:lnTo>
                    <a:pt x="575" y="2400"/>
                  </a:lnTo>
                  <a:lnTo>
                    <a:pt x="560" y="2410"/>
                  </a:lnTo>
                  <a:lnTo>
                    <a:pt x="557" y="2417"/>
                  </a:lnTo>
                  <a:lnTo>
                    <a:pt x="557" y="2421"/>
                  </a:lnTo>
                  <a:lnTo>
                    <a:pt x="543" y="2413"/>
                  </a:lnTo>
                  <a:lnTo>
                    <a:pt x="533" y="2411"/>
                  </a:lnTo>
                  <a:lnTo>
                    <a:pt x="501" y="2395"/>
                  </a:lnTo>
                  <a:lnTo>
                    <a:pt x="484" y="2390"/>
                  </a:lnTo>
                  <a:lnTo>
                    <a:pt x="482" y="2383"/>
                  </a:lnTo>
                  <a:lnTo>
                    <a:pt x="474" y="2372"/>
                  </a:lnTo>
                  <a:lnTo>
                    <a:pt x="466" y="2364"/>
                  </a:lnTo>
                  <a:lnTo>
                    <a:pt x="460" y="2354"/>
                  </a:lnTo>
                  <a:lnTo>
                    <a:pt x="450" y="2348"/>
                  </a:lnTo>
                  <a:lnTo>
                    <a:pt x="444" y="2354"/>
                  </a:lnTo>
                  <a:lnTo>
                    <a:pt x="433" y="2356"/>
                  </a:lnTo>
                  <a:lnTo>
                    <a:pt x="415" y="2342"/>
                  </a:lnTo>
                  <a:lnTo>
                    <a:pt x="409" y="2330"/>
                  </a:lnTo>
                  <a:lnTo>
                    <a:pt x="396" y="2337"/>
                  </a:lnTo>
                  <a:lnTo>
                    <a:pt x="398" y="2329"/>
                  </a:lnTo>
                  <a:lnTo>
                    <a:pt x="408" y="2319"/>
                  </a:lnTo>
                  <a:lnTo>
                    <a:pt x="406" y="2299"/>
                  </a:lnTo>
                  <a:lnTo>
                    <a:pt x="408" y="2282"/>
                  </a:lnTo>
                  <a:lnTo>
                    <a:pt x="397" y="2272"/>
                  </a:lnTo>
                  <a:lnTo>
                    <a:pt x="398" y="2257"/>
                  </a:lnTo>
                  <a:lnTo>
                    <a:pt x="380" y="2222"/>
                  </a:lnTo>
                  <a:lnTo>
                    <a:pt x="385" y="2213"/>
                  </a:lnTo>
                  <a:lnTo>
                    <a:pt x="398" y="2209"/>
                  </a:lnTo>
                  <a:lnTo>
                    <a:pt x="402" y="2187"/>
                  </a:lnTo>
                  <a:lnTo>
                    <a:pt x="404" y="2161"/>
                  </a:lnTo>
                  <a:lnTo>
                    <a:pt x="402" y="2150"/>
                  </a:lnTo>
                  <a:lnTo>
                    <a:pt x="395" y="2142"/>
                  </a:lnTo>
                  <a:lnTo>
                    <a:pt x="388" y="2122"/>
                  </a:lnTo>
                  <a:lnTo>
                    <a:pt x="384" y="2116"/>
                  </a:lnTo>
                  <a:lnTo>
                    <a:pt x="368" y="2114"/>
                  </a:lnTo>
                  <a:lnTo>
                    <a:pt x="363" y="2101"/>
                  </a:lnTo>
                  <a:lnTo>
                    <a:pt x="353" y="2100"/>
                  </a:lnTo>
                  <a:lnTo>
                    <a:pt x="336" y="2094"/>
                  </a:lnTo>
                  <a:lnTo>
                    <a:pt x="336" y="2087"/>
                  </a:lnTo>
                  <a:lnTo>
                    <a:pt x="338" y="2078"/>
                  </a:lnTo>
                  <a:lnTo>
                    <a:pt x="336" y="2073"/>
                  </a:lnTo>
                  <a:lnTo>
                    <a:pt x="318" y="2071"/>
                  </a:lnTo>
                  <a:lnTo>
                    <a:pt x="285" y="2041"/>
                  </a:lnTo>
                  <a:lnTo>
                    <a:pt x="291" y="2035"/>
                  </a:lnTo>
                  <a:lnTo>
                    <a:pt x="275" y="2020"/>
                  </a:lnTo>
                  <a:lnTo>
                    <a:pt x="272" y="2004"/>
                  </a:lnTo>
                  <a:lnTo>
                    <a:pt x="264" y="1992"/>
                  </a:lnTo>
                  <a:lnTo>
                    <a:pt x="248" y="1987"/>
                  </a:lnTo>
                  <a:lnTo>
                    <a:pt x="256" y="1980"/>
                  </a:lnTo>
                  <a:lnTo>
                    <a:pt x="275" y="1976"/>
                  </a:lnTo>
                  <a:lnTo>
                    <a:pt x="295" y="1987"/>
                  </a:lnTo>
                  <a:lnTo>
                    <a:pt x="296" y="1999"/>
                  </a:lnTo>
                  <a:lnTo>
                    <a:pt x="306" y="2013"/>
                  </a:lnTo>
                  <a:lnTo>
                    <a:pt x="334" y="2033"/>
                  </a:lnTo>
                  <a:lnTo>
                    <a:pt x="338" y="2030"/>
                  </a:lnTo>
                  <a:lnTo>
                    <a:pt x="342" y="2020"/>
                  </a:lnTo>
                  <a:lnTo>
                    <a:pt x="350" y="2035"/>
                  </a:lnTo>
                  <a:lnTo>
                    <a:pt x="359" y="2042"/>
                  </a:lnTo>
                  <a:lnTo>
                    <a:pt x="365" y="2036"/>
                  </a:lnTo>
                  <a:lnTo>
                    <a:pt x="370" y="2039"/>
                  </a:lnTo>
                  <a:lnTo>
                    <a:pt x="375" y="2033"/>
                  </a:lnTo>
                  <a:lnTo>
                    <a:pt x="381" y="2034"/>
                  </a:lnTo>
                  <a:lnTo>
                    <a:pt x="384" y="2047"/>
                  </a:lnTo>
                  <a:lnTo>
                    <a:pt x="387" y="2060"/>
                  </a:lnTo>
                  <a:lnTo>
                    <a:pt x="402" y="2053"/>
                  </a:lnTo>
                  <a:lnTo>
                    <a:pt x="420" y="2058"/>
                  </a:lnTo>
                  <a:lnTo>
                    <a:pt x="427" y="2068"/>
                  </a:lnTo>
                  <a:lnTo>
                    <a:pt x="439" y="2068"/>
                  </a:lnTo>
                  <a:lnTo>
                    <a:pt x="447" y="2078"/>
                  </a:lnTo>
                  <a:lnTo>
                    <a:pt x="479" y="2087"/>
                  </a:lnTo>
                  <a:lnTo>
                    <a:pt x="494" y="2094"/>
                  </a:lnTo>
                  <a:lnTo>
                    <a:pt x="522" y="2096"/>
                  </a:lnTo>
                  <a:lnTo>
                    <a:pt x="548" y="2106"/>
                  </a:lnTo>
                  <a:lnTo>
                    <a:pt x="557" y="2116"/>
                  </a:lnTo>
                  <a:lnTo>
                    <a:pt x="576" y="2120"/>
                  </a:lnTo>
                  <a:lnTo>
                    <a:pt x="624" y="2123"/>
                  </a:lnTo>
                  <a:lnTo>
                    <a:pt x="637" y="2117"/>
                  </a:lnTo>
                  <a:lnTo>
                    <a:pt x="649" y="2115"/>
                  </a:lnTo>
                  <a:lnTo>
                    <a:pt x="693" y="2095"/>
                  </a:lnTo>
                  <a:lnTo>
                    <a:pt x="703" y="2085"/>
                  </a:lnTo>
                  <a:lnTo>
                    <a:pt x="712" y="2079"/>
                  </a:lnTo>
                  <a:lnTo>
                    <a:pt x="731" y="2057"/>
                  </a:lnTo>
                  <a:lnTo>
                    <a:pt x="752" y="2023"/>
                  </a:lnTo>
                  <a:lnTo>
                    <a:pt x="761" y="1998"/>
                  </a:lnTo>
                  <a:lnTo>
                    <a:pt x="764" y="1975"/>
                  </a:lnTo>
                  <a:lnTo>
                    <a:pt x="755" y="1970"/>
                  </a:lnTo>
                  <a:lnTo>
                    <a:pt x="752" y="1966"/>
                  </a:lnTo>
                  <a:lnTo>
                    <a:pt x="751" y="1944"/>
                  </a:lnTo>
                  <a:lnTo>
                    <a:pt x="746" y="1929"/>
                  </a:lnTo>
                  <a:lnTo>
                    <a:pt x="746" y="1907"/>
                  </a:lnTo>
                  <a:lnTo>
                    <a:pt x="735" y="1892"/>
                  </a:lnTo>
                  <a:lnTo>
                    <a:pt x="724" y="1886"/>
                  </a:lnTo>
                  <a:lnTo>
                    <a:pt x="718" y="1890"/>
                  </a:lnTo>
                  <a:lnTo>
                    <a:pt x="709" y="1883"/>
                  </a:lnTo>
                  <a:lnTo>
                    <a:pt x="710" y="1873"/>
                  </a:lnTo>
                  <a:lnTo>
                    <a:pt x="704" y="1869"/>
                  </a:lnTo>
                  <a:lnTo>
                    <a:pt x="693" y="1854"/>
                  </a:lnTo>
                  <a:lnTo>
                    <a:pt x="689" y="1845"/>
                  </a:lnTo>
                  <a:lnTo>
                    <a:pt x="683" y="1841"/>
                  </a:lnTo>
                  <a:lnTo>
                    <a:pt x="676" y="1835"/>
                  </a:lnTo>
                  <a:lnTo>
                    <a:pt x="681" y="1848"/>
                  </a:lnTo>
                  <a:lnTo>
                    <a:pt x="672" y="1851"/>
                  </a:lnTo>
                  <a:lnTo>
                    <a:pt x="650" y="1835"/>
                  </a:lnTo>
                  <a:lnTo>
                    <a:pt x="642" y="1825"/>
                  </a:lnTo>
                  <a:lnTo>
                    <a:pt x="639" y="1834"/>
                  </a:lnTo>
                  <a:lnTo>
                    <a:pt x="635" y="1827"/>
                  </a:lnTo>
                  <a:lnTo>
                    <a:pt x="632" y="1815"/>
                  </a:lnTo>
                  <a:lnTo>
                    <a:pt x="619" y="1800"/>
                  </a:lnTo>
                  <a:lnTo>
                    <a:pt x="627" y="1818"/>
                  </a:lnTo>
                  <a:lnTo>
                    <a:pt x="606" y="1811"/>
                  </a:lnTo>
                  <a:lnTo>
                    <a:pt x="599" y="1800"/>
                  </a:lnTo>
                  <a:lnTo>
                    <a:pt x="596" y="1793"/>
                  </a:lnTo>
                  <a:lnTo>
                    <a:pt x="589" y="1783"/>
                  </a:lnTo>
                  <a:lnTo>
                    <a:pt x="558" y="1751"/>
                  </a:lnTo>
                  <a:lnTo>
                    <a:pt x="542" y="1739"/>
                  </a:lnTo>
                  <a:lnTo>
                    <a:pt x="535" y="1730"/>
                  </a:lnTo>
                  <a:lnTo>
                    <a:pt x="509" y="1712"/>
                  </a:lnTo>
                  <a:lnTo>
                    <a:pt x="500" y="1701"/>
                  </a:lnTo>
                  <a:lnTo>
                    <a:pt x="466" y="1682"/>
                  </a:lnTo>
                  <a:lnTo>
                    <a:pt x="461" y="1678"/>
                  </a:lnTo>
                  <a:lnTo>
                    <a:pt x="427" y="1669"/>
                  </a:lnTo>
                  <a:lnTo>
                    <a:pt x="429" y="1675"/>
                  </a:lnTo>
                  <a:lnTo>
                    <a:pt x="427" y="1679"/>
                  </a:lnTo>
                  <a:lnTo>
                    <a:pt x="420" y="1679"/>
                  </a:lnTo>
                  <a:lnTo>
                    <a:pt x="403" y="1670"/>
                  </a:lnTo>
                  <a:lnTo>
                    <a:pt x="369" y="1662"/>
                  </a:lnTo>
                  <a:lnTo>
                    <a:pt x="354" y="1655"/>
                  </a:lnTo>
                  <a:lnTo>
                    <a:pt x="350" y="1662"/>
                  </a:lnTo>
                  <a:lnTo>
                    <a:pt x="333" y="1664"/>
                  </a:lnTo>
                  <a:lnTo>
                    <a:pt x="326" y="1670"/>
                  </a:lnTo>
                  <a:lnTo>
                    <a:pt x="322" y="1660"/>
                  </a:lnTo>
                  <a:lnTo>
                    <a:pt x="317" y="1657"/>
                  </a:lnTo>
                  <a:lnTo>
                    <a:pt x="320" y="1644"/>
                  </a:lnTo>
                  <a:lnTo>
                    <a:pt x="317" y="1641"/>
                  </a:lnTo>
                  <a:lnTo>
                    <a:pt x="299" y="1657"/>
                  </a:lnTo>
                  <a:lnTo>
                    <a:pt x="302" y="1637"/>
                  </a:lnTo>
                  <a:lnTo>
                    <a:pt x="293" y="1644"/>
                  </a:lnTo>
                  <a:lnTo>
                    <a:pt x="294" y="1633"/>
                  </a:lnTo>
                  <a:lnTo>
                    <a:pt x="291" y="1632"/>
                  </a:lnTo>
                  <a:lnTo>
                    <a:pt x="283" y="1632"/>
                  </a:lnTo>
                  <a:lnTo>
                    <a:pt x="268" y="1638"/>
                  </a:lnTo>
                  <a:lnTo>
                    <a:pt x="271" y="1631"/>
                  </a:lnTo>
                  <a:lnTo>
                    <a:pt x="269" y="1625"/>
                  </a:lnTo>
                  <a:lnTo>
                    <a:pt x="267" y="1617"/>
                  </a:lnTo>
                  <a:lnTo>
                    <a:pt x="251" y="1619"/>
                  </a:lnTo>
                  <a:lnTo>
                    <a:pt x="257" y="1589"/>
                  </a:lnTo>
                  <a:lnTo>
                    <a:pt x="261" y="1603"/>
                  </a:lnTo>
                  <a:lnTo>
                    <a:pt x="267" y="1606"/>
                  </a:lnTo>
                  <a:lnTo>
                    <a:pt x="273" y="1606"/>
                  </a:lnTo>
                  <a:lnTo>
                    <a:pt x="279" y="1614"/>
                  </a:lnTo>
                  <a:lnTo>
                    <a:pt x="290" y="1612"/>
                  </a:lnTo>
                  <a:lnTo>
                    <a:pt x="299" y="1616"/>
                  </a:lnTo>
                  <a:lnTo>
                    <a:pt x="307" y="1600"/>
                  </a:lnTo>
                  <a:lnTo>
                    <a:pt x="309" y="1589"/>
                  </a:lnTo>
                  <a:lnTo>
                    <a:pt x="290" y="1583"/>
                  </a:lnTo>
                  <a:lnTo>
                    <a:pt x="283" y="1585"/>
                  </a:lnTo>
                  <a:lnTo>
                    <a:pt x="275" y="1579"/>
                  </a:lnTo>
                  <a:lnTo>
                    <a:pt x="274" y="1573"/>
                  </a:lnTo>
                  <a:lnTo>
                    <a:pt x="259" y="1565"/>
                  </a:lnTo>
                  <a:lnTo>
                    <a:pt x="242" y="1558"/>
                  </a:lnTo>
                  <a:lnTo>
                    <a:pt x="248" y="1567"/>
                  </a:lnTo>
                  <a:lnTo>
                    <a:pt x="247" y="1582"/>
                  </a:lnTo>
                  <a:lnTo>
                    <a:pt x="239" y="1583"/>
                  </a:lnTo>
                  <a:lnTo>
                    <a:pt x="235" y="1579"/>
                  </a:lnTo>
                  <a:lnTo>
                    <a:pt x="232" y="1587"/>
                  </a:lnTo>
                  <a:lnTo>
                    <a:pt x="235" y="1598"/>
                  </a:lnTo>
                  <a:lnTo>
                    <a:pt x="231" y="1604"/>
                  </a:lnTo>
                  <a:lnTo>
                    <a:pt x="221" y="1604"/>
                  </a:lnTo>
                  <a:lnTo>
                    <a:pt x="210" y="1593"/>
                  </a:lnTo>
                  <a:lnTo>
                    <a:pt x="191" y="1583"/>
                  </a:lnTo>
                  <a:lnTo>
                    <a:pt x="189" y="1584"/>
                  </a:lnTo>
                  <a:lnTo>
                    <a:pt x="192" y="1589"/>
                  </a:lnTo>
                  <a:lnTo>
                    <a:pt x="191" y="1600"/>
                  </a:lnTo>
                  <a:lnTo>
                    <a:pt x="187" y="1612"/>
                  </a:lnTo>
                  <a:lnTo>
                    <a:pt x="185" y="1617"/>
                  </a:lnTo>
                  <a:lnTo>
                    <a:pt x="172" y="1621"/>
                  </a:lnTo>
                  <a:lnTo>
                    <a:pt x="150" y="1606"/>
                  </a:lnTo>
                  <a:lnTo>
                    <a:pt x="144" y="1637"/>
                  </a:lnTo>
                  <a:lnTo>
                    <a:pt x="138" y="1644"/>
                  </a:lnTo>
                  <a:lnTo>
                    <a:pt x="106" y="1664"/>
                  </a:lnTo>
                  <a:lnTo>
                    <a:pt x="103" y="1669"/>
                  </a:lnTo>
                  <a:lnTo>
                    <a:pt x="102" y="1680"/>
                  </a:lnTo>
                  <a:lnTo>
                    <a:pt x="101" y="1684"/>
                  </a:lnTo>
                  <a:lnTo>
                    <a:pt x="92" y="1692"/>
                  </a:lnTo>
                  <a:lnTo>
                    <a:pt x="90" y="1694"/>
                  </a:lnTo>
                  <a:lnTo>
                    <a:pt x="59" y="1721"/>
                  </a:lnTo>
                  <a:lnTo>
                    <a:pt x="69" y="1725"/>
                  </a:lnTo>
                  <a:lnTo>
                    <a:pt x="69" y="1730"/>
                  </a:lnTo>
                  <a:lnTo>
                    <a:pt x="58" y="1759"/>
                  </a:lnTo>
                  <a:lnTo>
                    <a:pt x="57" y="1768"/>
                  </a:lnTo>
                  <a:lnTo>
                    <a:pt x="59" y="1794"/>
                  </a:lnTo>
                  <a:lnTo>
                    <a:pt x="64" y="1814"/>
                  </a:lnTo>
                  <a:lnTo>
                    <a:pt x="69" y="1821"/>
                  </a:lnTo>
                  <a:lnTo>
                    <a:pt x="79" y="1827"/>
                  </a:lnTo>
                  <a:lnTo>
                    <a:pt x="92" y="1830"/>
                  </a:lnTo>
                  <a:lnTo>
                    <a:pt x="107" y="1837"/>
                  </a:lnTo>
                  <a:lnTo>
                    <a:pt x="127" y="1875"/>
                  </a:lnTo>
                  <a:lnTo>
                    <a:pt x="137" y="1890"/>
                  </a:lnTo>
                  <a:lnTo>
                    <a:pt x="140" y="1912"/>
                  </a:lnTo>
                  <a:lnTo>
                    <a:pt x="122" y="1949"/>
                  </a:lnTo>
                  <a:lnTo>
                    <a:pt x="103" y="1992"/>
                  </a:lnTo>
                  <a:lnTo>
                    <a:pt x="97" y="2005"/>
                  </a:lnTo>
                  <a:lnTo>
                    <a:pt x="99" y="2026"/>
                  </a:lnTo>
                  <a:lnTo>
                    <a:pt x="108" y="2046"/>
                  </a:lnTo>
                  <a:lnTo>
                    <a:pt x="116" y="2063"/>
                  </a:lnTo>
                  <a:lnTo>
                    <a:pt x="118" y="2082"/>
                  </a:lnTo>
                  <a:lnTo>
                    <a:pt x="133" y="2109"/>
                  </a:lnTo>
                  <a:lnTo>
                    <a:pt x="144" y="2143"/>
                  </a:lnTo>
                  <a:lnTo>
                    <a:pt x="146" y="2160"/>
                  </a:lnTo>
                  <a:lnTo>
                    <a:pt x="148" y="2175"/>
                  </a:lnTo>
                  <a:lnTo>
                    <a:pt x="134" y="2187"/>
                  </a:lnTo>
                  <a:lnTo>
                    <a:pt x="132" y="2209"/>
                  </a:lnTo>
                  <a:lnTo>
                    <a:pt x="127" y="2225"/>
                  </a:lnTo>
                  <a:lnTo>
                    <a:pt x="130" y="2235"/>
                  </a:lnTo>
                  <a:lnTo>
                    <a:pt x="132" y="2254"/>
                  </a:lnTo>
                  <a:lnTo>
                    <a:pt x="126" y="2265"/>
                  </a:lnTo>
                  <a:lnTo>
                    <a:pt x="127" y="2286"/>
                  </a:lnTo>
                  <a:lnTo>
                    <a:pt x="143" y="2289"/>
                  </a:lnTo>
                  <a:lnTo>
                    <a:pt x="151" y="2306"/>
                  </a:lnTo>
                  <a:lnTo>
                    <a:pt x="149" y="2327"/>
                  </a:lnTo>
                  <a:lnTo>
                    <a:pt x="156" y="2343"/>
                  </a:lnTo>
                  <a:lnTo>
                    <a:pt x="172" y="2358"/>
                  </a:lnTo>
                  <a:lnTo>
                    <a:pt x="173" y="2378"/>
                  </a:lnTo>
                  <a:lnTo>
                    <a:pt x="167" y="2396"/>
                  </a:lnTo>
                  <a:lnTo>
                    <a:pt x="157" y="2411"/>
                  </a:lnTo>
                  <a:lnTo>
                    <a:pt x="153" y="2427"/>
                  </a:lnTo>
                  <a:lnTo>
                    <a:pt x="159" y="2445"/>
                  </a:lnTo>
                  <a:lnTo>
                    <a:pt x="167" y="2458"/>
                  </a:lnTo>
                  <a:lnTo>
                    <a:pt x="197" y="2481"/>
                  </a:lnTo>
                  <a:lnTo>
                    <a:pt x="202" y="2498"/>
                  </a:lnTo>
                  <a:lnTo>
                    <a:pt x="212" y="2515"/>
                  </a:lnTo>
                  <a:lnTo>
                    <a:pt x="216" y="2509"/>
                  </a:lnTo>
                  <a:lnTo>
                    <a:pt x="215" y="2548"/>
                  </a:lnTo>
                  <a:lnTo>
                    <a:pt x="199" y="2586"/>
                  </a:lnTo>
                  <a:lnTo>
                    <a:pt x="186" y="2606"/>
                  </a:lnTo>
                  <a:lnTo>
                    <a:pt x="134" y="2675"/>
                  </a:lnTo>
                  <a:lnTo>
                    <a:pt x="96" y="2718"/>
                  </a:lnTo>
                  <a:lnTo>
                    <a:pt x="46" y="2767"/>
                  </a:lnTo>
                  <a:lnTo>
                    <a:pt x="10" y="2794"/>
                  </a:lnTo>
                  <a:lnTo>
                    <a:pt x="33" y="2798"/>
                  </a:lnTo>
                  <a:lnTo>
                    <a:pt x="44" y="2785"/>
                  </a:lnTo>
                  <a:lnTo>
                    <a:pt x="63" y="2776"/>
                  </a:lnTo>
                  <a:lnTo>
                    <a:pt x="64" y="2783"/>
                  </a:lnTo>
                  <a:lnTo>
                    <a:pt x="63" y="2788"/>
                  </a:lnTo>
                  <a:lnTo>
                    <a:pt x="63" y="2805"/>
                  </a:lnTo>
                  <a:lnTo>
                    <a:pt x="58" y="2798"/>
                  </a:lnTo>
                  <a:lnTo>
                    <a:pt x="54" y="2797"/>
                  </a:lnTo>
                  <a:lnTo>
                    <a:pt x="54" y="2811"/>
                  </a:lnTo>
                  <a:lnTo>
                    <a:pt x="59" y="2820"/>
                  </a:lnTo>
                  <a:lnTo>
                    <a:pt x="64" y="2821"/>
                  </a:lnTo>
                  <a:lnTo>
                    <a:pt x="70" y="2824"/>
                  </a:lnTo>
                  <a:lnTo>
                    <a:pt x="87" y="2838"/>
                  </a:lnTo>
                  <a:lnTo>
                    <a:pt x="99" y="2838"/>
                  </a:lnTo>
                  <a:lnTo>
                    <a:pt x="117" y="2833"/>
                  </a:lnTo>
                  <a:lnTo>
                    <a:pt x="128" y="2837"/>
                  </a:lnTo>
                  <a:lnTo>
                    <a:pt x="137" y="2844"/>
                  </a:lnTo>
                  <a:lnTo>
                    <a:pt x="137" y="2854"/>
                  </a:lnTo>
                  <a:lnTo>
                    <a:pt x="143" y="2858"/>
                  </a:lnTo>
                  <a:lnTo>
                    <a:pt x="150" y="2859"/>
                  </a:lnTo>
                  <a:lnTo>
                    <a:pt x="151" y="2863"/>
                  </a:lnTo>
                  <a:lnTo>
                    <a:pt x="145" y="2868"/>
                  </a:lnTo>
                  <a:lnTo>
                    <a:pt x="137" y="2868"/>
                  </a:lnTo>
                  <a:lnTo>
                    <a:pt x="110" y="2860"/>
                  </a:lnTo>
                  <a:lnTo>
                    <a:pt x="91" y="2859"/>
                  </a:lnTo>
                  <a:lnTo>
                    <a:pt x="85" y="2865"/>
                  </a:lnTo>
                  <a:lnTo>
                    <a:pt x="83" y="2873"/>
                  </a:lnTo>
                  <a:lnTo>
                    <a:pt x="68" y="2881"/>
                  </a:lnTo>
                  <a:lnTo>
                    <a:pt x="60" y="2876"/>
                  </a:lnTo>
                  <a:lnTo>
                    <a:pt x="54" y="2879"/>
                  </a:lnTo>
                  <a:lnTo>
                    <a:pt x="51" y="2889"/>
                  </a:lnTo>
                  <a:lnTo>
                    <a:pt x="44" y="2892"/>
                  </a:lnTo>
                  <a:lnTo>
                    <a:pt x="38" y="2886"/>
                  </a:lnTo>
                  <a:lnTo>
                    <a:pt x="31" y="2883"/>
                  </a:lnTo>
                  <a:lnTo>
                    <a:pt x="27" y="2891"/>
                  </a:lnTo>
                  <a:lnTo>
                    <a:pt x="30" y="2907"/>
                  </a:lnTo>
                  <a:lnTo>
                    <a:pt x="37" y="2908"/>
                  </a:lnTo>
                  <a:lnTo>
                    <a:pt x="42" y="2914"/>
                  </a:lnTo>
                  <a:lnTo>
                    <a:pt x="44" y="2922"/>
                  </a:lnTo>
                  <a:lnTo>
                    <a:pt x="41" y="2930"/>
                  </a:lnTo>
                  <a:lnTo>
                    <a:pt x="30" y="2941"/>
                  </a:lnTo>
                  <a:lnTo>
                    <a:pt x="21" y="2956"/>
                  </a:lnTo>
                  <a:lnTo>
                    <a:pt x="15" y="2970"/>
                  </a:lnTo>
                  <a:lnTo>
                    <a:pt x="19" y="2983"/>
                  </a:lnTo>
                  <a:lnTo>
                    <a:pt x="16" y="3002"/>
                  </a:lnTo>
                  <a:lnTo>
                    <a:pt x="17" y="3008"/>
                  </a:lnTo>
                  <a:lnTo>
                    <a:pt x="20" y="3013"/>
                  </a:lnTo>
                  <a:lnTo>
                    <a:pt x="20" y="3019"/>
                  </a:lnTo>
                  <a:lnTo>
                    <a:pt x="17" y="3026"/>
                  </a:lnTo>
                  <a:lnTo>
                    <a:pt x="9" y="3035"/>
                  </a:lnTo>
                  <a:lnTo>
                    <a:pt x="4" y="3038"/>
                  </a:lnTo>
                  <a:lnTo>
                    <a:pt x="1" y="3046"/>
                  </a:lnTo>
                  <a:lnTo>
                    <a:pt x="5" y="3053"/>
                  </a:lnTo>
                  <a:lnTo>
                    <a:pt x="14" y="3054"/>
                  </a:lnTo>
                  <a:lnTo>
                    <a:pt x="27" y="3053"/>
                  </a:lnTo>
                  <a:lnTo>
                    <a:pt x="38" y="3070"/>
                  </a:lnTo>
                  <a:lnTo>
                    <a:pt x="37" y="3086"/>
                  </a:lnTo>
                  <a:lnTo>
                    <a:pt x="27" y="3086"/>
                  </a:lnTo>
                  <a:lnTo>
                    <a:pt x="19" y="3075"/>
                  </a:lnTo>
                  <a:lnTo>
                    <a:pt x="10" y="3068"/>
                  </a:lnTo>
                  <a:lnTo>
                    <a:pt x="10" y="3083"/>
                  </a:lnTo>
                  <a:lnTo>
                    <a:pt x="6" y="3090"/>
                  </a:lnTo>
                  <a:lnTo>
                    <a:pt x="0" y="3105"/>
                  </a:lnTo>
                  <a:lnTo>
                    <a:pt x="1" y="3112"/>
                  </a:lnTo>
                  <a:lnTo>
                    <a:pt x="6" y="3118"/>
                  </a:lnTo>
                  <a:lnTo>
                    <a:pt x="10" y="3126"/>
                  </a:lnTo>
                  <a:lnTo>
                    <a:pt x="17" y="3129"/>
                  </a:lnTo>
                  <a:lnTo>
                    <a:pt x="21" y="3137"/>
                  </a:lnTo>
                  <a:lnTo>
                    <a:pt x="22" y="3145"/>
                  </a:lnTo>
                  <a:lnTo>
                    <a:pt x="17" y="3169"/>
                  </a:lnTo>
                  <a:lnTo>
                    <a:pt x="14" y="3176"/>
                  </a:lnTo>
                  <a:lnTo>
                    <a:pt x="22" y="3179"/>
                  </a:lnTo>
                  <a:lnTo>
                    <a:pt x="29" y="3183"/>
                  </a:lnTo>
                  <a:lnTo>
                    <a:pt x="29" y="3191"/>
                  </a:lnTo>
                  <a:lnTo>
                    <a:pt x="42" y="3213"/>
                  </a:lnTo>
                  <a:lnTo>
                    <a:pt x="44" y="3222"/>
                  </a:lnTo>
                  <a:lnTo>
                    <a:pt x="48" y="3229"/>
                  </a:lnTo>
                  <a:lnTo>
                    <a:pt x="48" y="3245"/>
                  </a:lnTo>
                  <a:lnTo>
                    <a:pt x="47" y="3252"/>
                  </a:lnTo>
                  <a:lnTo>
                    <a:pt x="49" y="3260"/>
                  </a:lnTo>
                  <a:lnTo>
                    <a:pt x="65" y="3257"/>
                  </a:lnTo>
                  <a:lnTo>
                    <a:pt x="73" y="3261"/>
                  </a:lnTo>
                  <a:lnTo>
                    <a:pt x="76" y="3268"/>
                  </a:lnTo>
                  <a:lnTo>
                    <a:pt x="92" y="3266"/>
                  </a:lnTo>
                  <a:lnTo>
                    <a:pt x="101" y="3267"/>
                  </a:lnTo>
                  <a:lnTo>
                    <a:pt x="113" y="3276"/>
                  </a:lnTo>
                  <a:lnTo>
                    <a:pt x="111" y="3296"/>
                  </a:lnTo>
                  <a:lnTo>
                    <a:pt x="126" y="3288"/>
                  </a:lnTo>
                  <a:lnTo>
                    <a:pt x="133" y="3287"/>
                  </a:lnTo>
                  <a:lnTo>
                    <a:pt x="139" y="3282"/>
                  </a:lnTo>
                  <a:lnTo>
                    <a:pt x="155" y="3280"/>
                  </a:lnTo>
                  <a:lnTo>
                    <a:pt x="162" y="3282"/>
                  </a:lnTo>
                  <a:lnTo>
                    <a:pt x="170" y="3287"/>
                  </a:lnTo>
                  <a:lnTo>
                    <a:pt x="176" y="3292"/>
                  </a:lnTo>
                  <a:lnTo>
                    <a:pt x="185" y="3305"/>
                  </a:lnTo>
                  <a:lnTo>
                    <a:pt x="193" y="3306"/>
                  </a:lnTo>
                  <a:lnTo>
                    <a:pt x="194" y="3317"/>
                  </a:lnTo>
                  <a:lnTo>
                    <a:pt x="192" y="3325"/>
                  </a:lnTo>
                  <a:lnTo>
                    <a:pt x="192" y="3333"/>
                  </a:lnTo>
                  <a:lnTo>
                    <a:pt x="197" y="3341"/>
                  </a:lnTo>
                  <a:lnTo>
                    <a:pt x="199" y="3348"/>
                  </a:lnTo>
                  <a:lnTo>
                    <a:pt x="198" y="3355"/>
                  </a:lnTo>
                  <a:lnTo>
                    <a:pt x="196" y="3363"/>
                  </a:lnTo>
                  <a:lnTo>
                    <a:pt x="189" y="3368"/>
                  </a:lnTo>
                  <a:lnTo>
                    <a:pt x="187" y="3376"/>
                  </a:lnTo>
                  <a:lnTo>
                    <a:pt x="189" y="3384"/>
                  </a:lnTo>
                  <a:lnTo>
                    <a:pt x="202" y="3395"/>
                  </a:lnTo>
                  <a:lnTo>
                    <a:pt x="205" y="3411"/>
                  </a:lnTo>
                  <a:lnTo>
                    <a:pt x="216" y="3433"/>
                  </a:lnTo>
                  <a:lnTo>
                    <a:pt x="221" y="3439"/>
                  </a:lnTo>
                  <a:lnTo>
                    <a:pt x="236" y="3448"/>
                  </a:lnTo>
                  <a:lnTo>
                    <a:pt x="241" y="3454"/>
                  </a:lnTo>
                  <a:lnTo>
                    <a:pt x="242" y="3462"/>
                  </a:lnTo>
                  <a:lnTo>
                    <a:pt x="241" y="3470"/>
                  </a:lnTo>
                  <a:lnTo>
                    <a:pt x="245" y="3477"/>
                  </a:lnTo>
                  <a:lnTo>
                    <a:pt x="268" y="3475"/>
                  </a:lnTo>
                  <a:lnTo>
                    <a:pt x="274" y="3479"/>
                  </a:lnTo>
                  <a:lnTo>
                    <a:pt x="282" y="3482"/>
                  </a:lnTo>
                  <a:lnTo>
                    <a:pt x="279" y="3489"/>
                  </a:lnTo>
                  <a:lnTo>
                    <a:pt x="284" y="3495"/>
                  </a:lnTo>
                  <a:lnTo>
                    <a:pt x="294" y="3497"/>
                  </a:lnTo>
                  <a:lnTo>
                    <a:pt x="295" y="3510"/>
                  </a:lnTo>
                  <a:lnTo>
                    <a:pt x="288" y="3515"/>
                  </a:lnTo>
                  <a:lnTo>
                    <a:pt x="284" y="3522"/>
                  </a:lnTo>
                  <a:lnTo>
                    <a:pt x="272" y="3532"/>
                  </a:lnTo>
                  <a:lnTo>
                    <a:pt x="264" y="3537"/>
                  </a:lnTo>
                  <a:lnTo>
                    <a:pt x="247" y="3535"/>
                  </a:lnTo>
                  <a:lnTo>
                    <a:pt x="235" y="3524"/>
                  </a:lnTo>
                  <a:lnTo>
                    <a:pt x="228" y="3524"/>
                  </a:lnTo>
                  <a:lnTo>
                    <a:pt x="220" y="3527"/>
                  </a:lnTo>
                  <a:lnTo>
                    <a:pt x="219" y="3535"/>
                  </a:lnTo>
                  <a:lnTo>
                    <a:pt x="212" y="3538"/>
                  </a:lnTo>
                  <a:lnTo>
                    <a:pt x="213" y="3546"/>
                  </a:lnTo>
                  <a:lnTo>
                    <a:pt x="224" y="3557"/>
                  </a:lnTo>
                  <a:lnTo>
                    <a:pt x="226" y="3564"/>
                  </a:lnTo>
                  <a:lnTo>
                    <a:pt x="224" y="3573"/>
                  </a:lnTo>
                  <a:lnTo>
                    <a:pt x="229" y="3578"/>
                  </a:lnTo>
                  <a:lnTo>
                    <a:pt x="228" y="3586"/>
                  </a:lnTo>
                  <a:lnTo>
                    <a:pt x="235" y="3590"/>
                  </a:lnTo>
                  <a:lnTo>
                    <a:pt x="237" y="3597"/>
                  </a:lnTo>
                  <a:lnTo>
                    <a:pt x="236" y="3606"/>
                  </a:lnTo>
                  <a:lnTo>
                    <a:pt x="241" y="3627"/>
                  </a:lnTo>
                  <a:lnTo>
                    <a:pt x="247" y="3633"/>
                  </a:lnTo>
                  <a:lnTo>
                    <a:pt x="255" y="3635"/>
                  </a:lnTo>
                  <a:lnTo>
                    <a:pt x="262" y="3632"/>
                  </a:lnTo>
                  <a:lnTo>
                    <a:pt x="267" y="3626"/>
                  </a:lnTo>
                  <a:lnTo>
                    <a:pt x="269" y="3617"/>
                  </a:lnTo>
                  <a:lnTo>
                    <a:pt x="277" y="3612"/>
                  </a:lnTo>
                  <a:lnTo>
                    <a:pt x="293" y="3616"/>
                  </a:lnTo>
                  <a:lnTo>
                    <a:pt x="301" y="3616"/>
                  </a:lnTo>
                  <a:lnTo>
                    <a:pt x="317" y="3611"/>
                  </a:lnTo>
                  <a:lnTo>
                    <a:pt x="333" y="3613"/>
                  </a:lnTo>
                  <a:lnTo>
                    <a:pt x="349" y="3610"/>
                  </a:lnTo>
                  <a:lnTo>
                    <a:pt x="361" y="3619"/>
                  </a:lnTo>
                  <a:lnTo>
                    <a:pt x="366" y="3627"/>
                  </a:lnTo>
                  <a:lnTo>
                    <a:pt x="366" y="3635"/>
                  </a:lnTo>
                  <a:lnTo>
                    <a:pt x="379" y="3647"/>
                  </a:lnTo>
                  <a:lnTo>
                    <a:pt x="384" y="3653"/>
                  </a:lnTo>
                  <a:lnTo>
                    <a:pt x="384" y="3662"/>
                  </a:lnTo>
                  <a:lnTo>
                    <a:pt x="375" y="3666"/>
                  </a:lnTo>
                  <a:lnTo>
                    <a:pt x="368" y="3667"/>
                  </a:lnTo>
                  <a:lnTo>
                    <a:pt x="371" y="3675"/>
                  </a:lnTo>
                  <a:lnTo>
                    <a:pt x="371" y="3682"/>
                  </a:lnTo>
                  <a:lnTo>
                    <a:pt x="375" y="3698"/>
                  </a:lnTo>
                  <a:lnTo>
                    <a:pt x="382" y="3703"/>
                  </a:lnTo>
                  <a:lnTo>
                    <a:pt x="390" y="3705"/>
                  </a:lnTo>
                  <a:lnTo>
                    <a:pt x="406" y="3710"/>
                  </a:lnTo>
                  <a:lnTo>
                    <a:pt x="413" y="3707"/>
                  </a:lnTo>
                  <a:lnTo>
                    <a:pt x="422" y="3707"/>
                  </a:lnTo>
                  <a:lnTo>
                    <a:pt x="424" y="3715"/>
                  </a:lnTo>
                  <a:lnTo>
                    <a:pt x="435" y="3726"/>
                  </a:lnTo>
                  <a:lnTo>
                    <a:pt x="442" y="3753"/>
                  </a:lnTo>
                  <a:lnTo>
                    <a:pt x="440" y="3762"/>
                  </a:lnTo>
                  <a:lnTo>
                    <a:pt x="442" y="3769"/>
                  </a:lnTo>
                  <a:lnTo>
                    <a:pt x="449" y="3774"/>
                  </a:lnTo>
                  <a:lnTo>
                    <a:pt x="456" y="3779"/>
                  </a:lnTo>
                  <a:lnTo>
                    <a:pt x="463" y="3775"/>
                  </a:lnTo>
                  <a:lnTo>
                    <a:pt x="471" y="3774"/>
                  </a:lnTo>
                  <a:lnTo>
                    <a:pt x="479" y="3775"/>
                  </a:lnTo>
                  <a:lnTo>
                    <a:pt x="490" y="3787"/>
                  </a:lnTo>
                  <a:lnTo>
                    <a:pt x="499" y="3784"/>
                  </a:lnTo>
                  <a:lnTo>
                    <a:pt x="506" y="3788"/>
                  </a:lnTo>
                  <a:lnTo>
                    <a:pt x="531" y="3780"/>
                  </a:lnTo>
                  <a:lnTo>
                    <a:pt x="546" y="3773"/>
                  </a:lnTo>
                  <a:lnTo>
                    <a:pt x="553" y="3775"/>
                  </a:lnTo>
                  <a:lnTo>
                    <a:pt x="558" y="3782"/>
                  </a:lnTo>
                  <a:lnTo>
                    <a:pt x="569" y="3804"/>
                  </a:lnTo>
                  <a:lnTo>
                    <a:pt x="580" y="3816"/>
                  </a:lnTo>
                  <a:lnTo>
                    <a:pt x="587" y="3816"/>
                  </a:lnTo>
                  <a:lnTo>
                    <a:pt x="591" y="3809"/>
                  </a:lnTo>
                  <a:lnTo>
                    <a:pt x="600" y="3809"/>
                  </a:lnTo>
                  <a:lnTo>
                    <a:pt x="605" y="3815"/>
                  </a:lnTo>
                  <a:lnTo>
                    <a:pt x="612" y="3816"/>
                  </a:lnTo>
                  <a:lnTo>
                    <a:pt x="619" y="3820"/>
                  </a:lnTo>
                  <a:lnTo>
                    <a:pt x="626" y="3826"/>
                  </a:lnTo>
                  <a:lnTo>
                    <a:pt x="642" y="3825"/>
                  </a:lnTo>
                  <a:lnTo>
                    <a:pt x="655" y="3834"/>
                  </a:lnTo>
                  <a:lnTo>
                    <a:pt x="662" y="3833"/>
                  </a:lnTo>
                  <a:lnTo>
                    <a:pt x="675" y="3844"/>
                  </a:lnTo>
                  <a:lnTo>
                    <a:pt x="683" y="3845"/>
                  </a:lnTo>
                  <a:lnTo>
                    <a:pt x="692" y="3845"/>
                  </a:lnTo>
                  <a:lnTo>
                    <a:pt x="698" y="3850"/>
                  </a:lnTo>
                  <a:lnTo>
                    <a:pt x="691" y="3854"/>
                  </a:lnTo>
                  <a:lnTo>
                    <a:pt x="699" y="3877"/>
                  </a:lnTo>
                  <a:lnTo>
                    <a:pt x="691" y="3892"/>
                  </a:lnTo>
                  <a:lnTo>
                    <a:pt x="675" y="3896"/>
                  </a:lnTo>
                  <a:lnTo>
                    <a:pt x="680" y="3902"/>
                  </a:lnTo>
                  <a:lnTo>
                    <a:pt x="688" y="3904"/>
                  </a:lnTo>
                  <a:lnTo>
                    <a:pt x="693" y="3911"/>
                  </a:lnTo>
                  <a:lnTo>
                    <a:pt x="676" y="3916"/>
                  </a:lnTo>
                  <a:lnTo>
                    <a:pt x="673" y="3922"/>
                  </a:lnTo>
                  <a:lnTo>
                    <a:pt x="672" y="3930"/>
                  </a:lnTo>
                  <a:lnTo>
                    <a:pt x="677" y="3936"/>
                  </a:lnTo>
                  <a:lnTo>
                    <a:pt x="680" y="3944"/>
                  </a:lnTo>
                  <a:lnTo>
                    <a:pt x="678" y="3952"/>
                  </a:lnTo>
                  <a:lnTo>
                    <a:pt x="686" y="3956"/>
                  </a:lnTo>
                  <a:lnTo>
                    <a:pt x="682" y="3972"/>
                  </a:lnTo>
                  <a:lnTo>
                    <a:pt x="675" y="3995"/>
                  </a:lnTo>
                  <a:lnTo>
                    <a:pt x="667" y="3999"/>
                  </a:lnTo>
                  <a:lnTo>
                    <a:pt x="653" y="3995"/>
                  </a:lnTo>
                  <a:lnTo>
                    <a:pt x="644" y="3997"/>
                  </a:lnTo>
                  <a:lnTo>
                    <a:pt x="629" y="3989"/>
                  </a:lnTo>
                  <a:lnTo>
                    <a:pt x="623" y="3994"/>
                  </a:lnTo>
                  <a:lnTo>
                    <a:pt x="614" y="4008"/>
                  </a:lnTo>
                  <a:lnTo>
                    <a:pt x="600" y="4014"/>
                  </a:lnTo>
                  <a:lnTo>
                    <a:pt x="592" y="4029"/>
                  </a:lnTo>
                  <a:lnTo>
                    <a:pt x="594" y="4037"/>
                  </a:lnTo>
                  <a:lnTo>
                    <a:pt x="594" y="4052"/>
                  </a:lnTo>
                  <a:lnTo>
                    <a:pt x="607" y="4047"/>
                  </a:lnTo>
                  <a:lnTo>
                    <a:pt x="617" y="4048"/>
                  </a:lnTo>
                  <a:lnTo>
                    <a:pt x="623" y="4043"/>
                  </a:lnTo>
                  <a:lnTo>
                    <a:pt x="638" y="4041"/>
                  </a:lnTo>
                  <a:lnTo>
                    <a:pt x="644" y="4043"/>
                  </a:lnTo>
                  <a:lnTo>
                    <a:pt x="645" y="4049"/>
                  </a:lnTo>
                  <a:lnTo>
                    <a:pt x="653" y="4051"/>
                  </a:lnTo>
                  <a:lnTo>
                    <a:pt x="655" y="4053"/>
                  </a:lnTo>
                  <a:lnTo>
                    <a:pt x="654" y="4058"/>
                  </a:lnTo>
                  <a:lnTo>
                    <a:pt x="644" y="4058"/>
                  </a:lnTo>
                  <a:lnTo>
                    <a:pt x="632" y="4063"/>
                  </a:lnTo>
                  <a:lnTo>
                    <a:pt x="616" y="4073"/>
                  </a:lnTo>
                  <a:lnTo>
                    <a:pt x="605" y="4076"/>
                  </a:lnTo>
                  <a:lnTo>
                    <a:pt x="605" y="4081"/>
                  </a:lnTo>
                  <a:lnTo>
                    <a:pt x="610" y="4086"/>
                  </a:lnTo>
                  <a:lnTo>
                    <a:pt x="605" y="4089"/>
                  </a:lnTo>
                  <a:lnTo>
                    <a:pt x="594" y="4086"/>
                  </a:lnTo>
                  <a:lnTo>
                    <a:pt x="569" y="4090"/>
                  </a:lnTo>
                  <a:lnTo>
                    <a:pt x="567" y="4100"/>
                  </a:lnTo>
                  <a:lnTo>
                    <a:pt x="575" y="4107"/>
                  </a:lnTo>
                  <a:lnTo>
                    <a:pt x="587" y="4112"/>
                  </a:lnTo>
                  <a:lnTo>
                    <a:pt x="597" y="4126"/>
                  </a:lnTo>
                  <a:lnTo>
                    <a:pt x="607" y="4135"/>
                  </a:lnTo>
                  <a:lnTo>
                    <a:pt x="605" y="4137"/>
                  </a:lnTo>
                  <a:lnTo>
                    <a:pt x="591" y="4133"/>
                  </a:lnTo>
                  <a:lnTo>
                    <a:pt x="585" y="4143"/>
                  </a:lnTo>
                  <a:lnTo>
                    <a:pt x="579" y="4143"/>
                  </a:lnTo>
                  <a:lnTo>
                    <a:pt x="567" y="4160"/>
                  </a:lnTo>
                  <a:lnTo>
                    <a:pt x="557" y="4172"/>
                  </a:lnTo>
                  <a:lnTo>
                    <a:pt x="548" y="4191"/>
                  </a:lnTo>
                  <a:lnTo>
                    <a:pt x="535" y="4192"/>
                  </a:lnTo>
                  <a:lnTo>
                    <a:pt x="519" y="4189"/>
                  </a:lnTo>
                  <a:lnTo>
                    <a:pt x="516" y="4194"/>
                  </a:lnTo>
                  <a:lnTo>
                    <a:pt x="516" y="4200"/>
                  </a:lnTo>
                  <a:lnTo>
                    <a:pt x="506" y="4205"/>
                  </a:lnTo>
                  <a:lnTo>
                    <a:pt x="519" y="4210"/>
                  </a:lnTo>
                  <a:lnTo>
                    <a:pt x="531" y="4220"/>
                  </a:lnTo>
                  <a:lnTo>
                    <a:pt x="536" y="4235"/>
                  </a:lnTo>
                  <a:lnTo>
                    <a:pt x="546" y="4246"/>
                  </a:lnTo>
                  <a:lnTo>
                    <a:pt x="556" y="4247"/>
                  </a:lnTo>
                  <a:lnTo>
                    <a:pt x="560" y="4242"/>
                  </a:lnTo>
                  <a:lnTo>
                    <a:pt x="565" y="4250"/>
                  </a:lnTo>
                  <a:lnTo>
                    <a:pt x="580" y="4262"/>
                  </a:lnTo>
                  <a:lnTo>
                    <a:pt x="623" y="4280"/>
                  </a:lnTo>
                  <a:lnTo>
                    <a:pt x="649" y="4301"/>
                  </a:lnTo>
                  <a:lnTo>
                    <a:pt x="656" y="4313"/>
                  </a:lnTo>
                  <a:lnTo>
                    <a:pt x="662" y="4321"/>
                  </a:lnTo>
                  <a:lnTo>
                    <a:pt x="671" y="4323"/>
                  </a:lnTo>
                  <a:lnTo>
                    <a:pt x="683" y="4336"/>
                  </a:lnTo>
                  <a:lnTo>
                    <a:pt x="698" y="4331"/>
                  </a:lnTo>
                  <a:lnTo>
                    <a:pt x="707" y="4329"/>
                  </a:lnTo>
                  <a:lnTo>
                    <a:pt x="714" y="4332"/>
                  </a:lnTo>
                  <a:lnTo>
                    <a:pt x="723" y="4331"/>
                  </a:lnTo>
                  <a:lnTo>
                    <a:pt x="737" y="4336"/>
                  </a:lnTo>
                  <a:lnTo>
                    <a:pt x="743" y="4342"/>
                  </a:lnTo>
                  <a:lnTo>
                    <a:pt x="759" y="4344"/>
                  </a:lnTo>
                  <a:lnTo>
                    <a:pt x="782" y="4354"/>
                  </a:lnTo>
                  <a:lnTo>
                    <a:pt x="791" y="4355"/>
                  </a:lnTo>
                  <a:lnTo>
                    <a:pt x="815" y="4353"/>
                  </a:lnTo>
                  <a:lnTo>
                    <a:pt x="831" y="4358"/>
                  </a:lnTo>
                  <a:lnTo>
                    <a:pt x="847" y="4358"/>
                  </a:lnTo>
                  <a:lnTo>
                    <a:pt x="854" y="4363"/>
                  </a:lnTo>
                  <a:lnTo>
                    <a:pt x="858" y="4368"/>
                  </a:lnTo>
                  <a:lnTo>
                    <a:pt x="896" y="4390"/>
                  </a:lnTo>
                  <a:lnTo>
                    <a:pt x="898" y="4398"/>
                  </a:lnTo>
                  <a:lnTo>
                    <a:pt x="906" y="4402"/>
                  </a:lnTo>
                  <a:lnTo>
                    <a:pt x="914" y="4399"/>
                  </a:lnTo>
                  <a:lnTo>
                    <a:pt x="920" y="4395"/>
                  </a:lnTo>
                  <a:lnTo>
                    <a:pt x="935" y="4388"/>
                  </a:lnTo>
                  <a:lnTo>
                    <a:pt x="944" y="4388"/>
                  </a:lnTo>
                  <a:lnTo>
                    <a:pt x="950" y="4393"/>
                  </a:lnTo>
                  <a:lnTo>
                    <a:pt x="957" y="4392"/>
                  </a:lnTo>
                  <a:lnTo>
                    <a:pt x="973" y="4395"/>
                  </a:lnTo>
                  <a:lnTo>
                    <a:pt x="978" y="4401"/>
                  </a:lnTo>
                  <a:lnTo>
                    <a:pt x="985" y="4404"/>
                  </a:lnTo>
                  <a:lnTo>
                    <a:pt x="993" y="4404"/>
                  </a:lnTo>
                  <a:lnTo>
                    <a:pt x="1000" y="4408"/>
                  </a:lnTo>
                  <a:lnTo>
                    <a:pt x="1004" y="4415"/>
                  </a:lnTo>
                  <a:lnTo>
                    <a:pt x="1000" y="4430"/>
                  </a:lnTo>
                  <a:lnTo>
                    <a:pt x="1012" y="4440"/>
                  </a:lnTo>
                  <a:lnTo>
                    <a:pt x="1028" y="4445"/>
                  </a:lnTo>
                  <a:lnTo>
                    <a:pt x="1035" y="4450"/>
                  </a:lnTo>
                  <a:lnTo>
                    <a:pt x="1040" y="4453"/>
                  </a:lnTo>
                  <a:lnTo>
                    <a:pt x="1048" y="4458"/>
                  </a:lnTo>
                  <a:lnTo>
                    <a:pt x="1055" y="4458"/>
                  </a:lnTo>
                  <a:lnTo>
                    <a:pt x="1067" y="4469"/>
                  </a:lnTo>
                  <a:lnTo>
                    <a:pt x="1071" y="4477"/>
                  </a:lnTo>
                  <a:lnTo>
                    <a:pt x="1079" y="4477"/>
                  </a:lnTo>
                  <a:lnTo>
                    <a:pt x="1084" y="4493"/>
                  </a:lnTo>
                  <a:lnTo>
                    <a:pt x="1087" y="4500"/>
                  </a:lnTo>
                  <a:lnTo>
                    <a:pt x="1095" y="4500"/>
                  </a:lnTo>
                  <a:lnTo>
                    <a:pt x="1111" y="4504"/>
                  </a:lnTo>
                  <a:lnTo>
                    <a:pt x="1119" y="4501"/>
                  </a:lnTo>
                  <a:lnTo>
                    <a:pt x="1124" y="4496"/>
                  </a:lnTo>
                  <a:lnTo>
                    <a:pt x="1130" y="4481"/>
                  </a:lnTo>
                  <a:lnTo>
                    <a:pt x="1138" y="4477"/>
                  </a:lnTo>
                  <a:lnTo>
                    <a:pt x="1145" y="4473"/>
                  </a:lnTo>
                  <a:lnTo>
                    <a:pt x="1148" y="4466"/>
                  </a:lnTo>
                  <a:lnTo>
                    <a:pt x="1154" y="4456"/>
                  </a:lnTo>
                  <a:lnTo>
                    <a:pt x="1144" y="4451"/>
                  </a:lnTo>
                  <a:lnTo>
                    <a:pt x="1132" y="4423"/>
                  </a:lnTo>
                  <a:lnTo>
                    <a:pt x="1113" y="4391"/>
                  </a:lnTo>
                  <a:lnTo>
                    <a:pt x="1105" y="4380"/>
                  </a:lnTo>
                  <a:lnTo>
                    <a:pt x="1101" y="4366"/>
                  </a:lnTo>
                  <a:lnTo>
                    <a:pt x="1101" y="4344"/>
                  </a:lnTo>
                  <a:lnTo>
                    <a:pt x="1108" y="4317"/>
                  </a:lnTo>
                  <a:lnTo>
                    <a:pt x="1106" y="4305"/>
                  </a:lnTo>
                  <a:lnTo>
                    <a:pt x="1097" y="4326"/>
                  </a:lnTo>
                  <a:lnTo>
                    <a:pt x="1094" y="4320"/>
                  </a:lnTo>
                  <a:lnTo>
                    <a:pt x="1091" y="4302"/>
                  </a:lnTo>
                  <a:lnTo>
                    <a:pt x="1081" y="4285"/>
                  </a:lnTo>
                  <a:lnTo>
                    <a:pt x="1069" y="4268"/>
                  </a:lnTo>
                  <a:lnTo>
                    <a:pt x="1059" y="4268"/>
                  </a:lnTo>
                  <a:lnTo>
                    <a:pt x="1054" y="4253"/>
                  </a:lnTo>
                  <a:lnTo>
                    <a:pt x="1063" y="4240"/>
                  </a:lnTo>
                  <a:lnTo>
                    <a:pt x="1064" y="4229"/>
                  </a:lnTo>
                  <a:lnTo>
                    <a:pt x="1071" y="4218"/>
                  </a:lnTo>
                  <a:lnTo>
                    <a:pt x="1075" y="4218"/>
                  </a:lnTo>
                  <a:lnTo>
                    <a:pt x="1076" y="4215"/>
                  </a:lnTo>
                  <a:lnTo>
                    <a:pt x="1079" y="4207"/>
                  </a:lnTo>
                  <a:lnTo>
                    <a:pt x="1089" y="4198"/>
                  </a:lnTo>
                  <a:lnTo>
                    <a:pt x="1095" y="4162"/>
                  </a:lnTo>
                  <a:lnTo>
                    <a:pt x="1102" y="4165"/>
                  </a:lnTo>
                  <a:lnTo>
                    <a:pt x="1106" y="4144"/>
                  </a:lnTo>
                  <a:lnTo>
                    <a:pt x="1107" y="4133"/>
                  </a:lnTo>
                  <a:lnTo>
                    <a:pt x="1098" y="4117"/>
                  </a:lnTo>
                  <a:lnTo>
                    <a:pt x="1110" y="4121"/>
                  </a:lnTo>
                  <a:lnTo>
                    <a:pt x="1121" y="4121"/>
                  </a:lnTo>
                  <a:lnTo>
                    <a:pt x="1119" y="4128"/>
                  </a:lnTo>
                  <a:lnTo>
                    <a:pt x="1126" y="4139"/>
                  </a:lnTo>
                  <a:lnTo>
                    <a:pt x="1130" y="4154"/>
                  </a:lnTo>
                  <a:lnTo>
                    <a:pt x="1138" y="4154"/>
                  </a:lnTo>
                  <a:lnTo>
                    <a:pt x="1143" y="4151"/>
                  </a:lnTo>
                  <a:lnTo>
                    <a:pt x="1148" y="4151"/>
                  </a:lnTo>
                  <a:lnTo>
                    <a:pt x="1160" y="4123"/>
                  </a:lnTo>
                  <a:lnTo>
                    <a:pt x="1166" y="4119"/>
                  </a:lnTo>
                  <a:lnTo>
                    <a:pt x="1159" y="4117"/>
                  </a:lnTo>
                  <a:lnTo>
                    <a:pt x="1155" y="4111"/>
                  </a:lnTo>
                  <a:lnTo>
                    <a:pt x="1149" y="4107"/>
                  </a:lnTo>
                  <a:lnTo>
                    <a:pt x="1140" y="4107"/>
                  </a:lnTo>
                  <a:lnTo>
                    <a:pt x="1133" y="4105"/>
                  </a:lnTo>
                  <a:lnTo>
                    <a:pt x="1130" y="4099"/>
                  </a:lnTo>
                  <a:lnTo>
                    <a:pt x="1137" y="4091"/>
                  </a:lnTo>
                  <a:lnTo>
                    <a:pt x="1138" y="4084"/>
                  </a:lnTo>
                  <a:lnTo>
                    <a:pt x="1145" y="4081"/>
                  </a:lnTo>
                  <a:lnTo>
                    <a:pt x="1154" y="4087"/>
                  </a:lnTo>
                  <a:lnTo>
                    <a:pt x="1166" y="4084"/>
                  </a:lnTo>
                  <a:lnTo>
                    <a:pt x="1157" y="4027"/>
                  </a:lnTo>
                  <a:lnTo>
                    <a:pt x="1150" y="4025"/>
                  </a:lnTo>
                  <a:lnTo>
                    <a:pt x="1145" y="4019"/>
                  </a:lnTo>
                  <a:lnTo>
                    <a:pt x="1143" y="4010"/>
                  </a:lnTo>
                  <a:lnTo>
                    <a:pt x="1139" y="4004"/>
                  </a:lnTo>
                  <a:lnTo>
                    <a:pt x="1133" y="3998"/>
                  </a:lnTo>
                  <a:lnTo>
                    <a:pt x="1126" y="3998"/>
                  </a:lnTo>
                  <a:lnTo>
                    <a:pt x="1108" y="4000"/>
                  </a:lnTo>
                  <a:lnTo>
                    <a:pt x="1095" y="3997"/>
                  </a:lnTo>
                  <a:lnTo>
                    <a:pt x="1094" y="4005"/>
                  </a:lnTo>
                  <a:lnTo>
                    <a:pt x="1081" y="3993"/>
                  </a:lnTo>
                  <a:lnTo>
                    <a:pt x="1081" y="3986"/>
                  </a:lnTo>
                  <a:lnTo>
                    <a:pt x="1076" y="3978"/>
                  </a:lnTo>
                  <a:lnTo>
                    <a:pt x="1081" y="3971"/>
                  </a:lnTo>
                  <a:lnTo>
                    <a:pt x="1076" y="3965"/>
                  </a:lnTo>
                  <a:lnTo>
                    <a:pt x="1076" y="3957"/>
                  </a:lnTo>
                  <a:lnTo>
                    <a:pt x="1047" y="3947"/>
                  </a:lnTo>
                  <a:lnTo>
                    <a:pt x="1058" y="3903"/>
                  </a:lnTo>
                  <a:lnTo>
                    <a:pt x="1071" y="3896"/>
                  </a:lnTo>
                  <a:lnTo>
                    <a:pt x="1076" y="3888"/>
                  </a:lnTo>
                  <a:lnTo>
                    <a:pt x="1074" y="3881"/>
                  </a:lnTo>
                  <a:lnTo>
                    <a:pt x="1063" y="3870"/>
                  </a:lnTo>
                  <a:lnTo>
                    <a:pt x="1073" y="3825"/>
                  </a:lnTo>
                  <a:lnTo>
                    <a:pt x="1086" y="3816"/>
                  </a:lnTo>
                  <a:lnTo>
                    <a:pt x="1091" y="3810"/>
                  </a:lnTo>
                  <a:lnTo>
                    <a:pt x="1090" y="3801"/>
                  </a:lnTo>
                  <a:lnTo>
                    <a:pt x="1092" y="3794"/>
                  </a:lnTo>
                  <a:lnTo>
                    <a:pt x="1092" y="3787"/>
                  </a:lnTo>
                  <a:lnTo>
                    <a:pt x="1096" y="3778"/>
                  </a:lnTo>
                  <a:lnTo>
                    <a:pt x="1101" y="3772"/>
                  </a:lnTo>
                  <a:lnTo>
                    <a:pt x="1107" y="3777"/>
                  </a:lnTo>
                  <a:lnTo>
                    <a:pt x="1111" y="3784"/>
                  </a:lnTo>
                  <a:lnTo>
                    <a:pt x="1123" y="3794"/>
                  </a:lnTo>
                  <a:lnTo>
                    <a:pt x="1140" y="3831"/>
                  </a:lnTo>
                  <a:lnTo>
                    <a:pt x="1149" y="3833"/>
                  </a:lnTo>
                  <a:lnTo>
                    <a:pt x="1175" y="3816"/>
                  </a:lnTo>
                  <a:lnTo>
                    <a:pt x="1172" y="3807"/>
                  </a:lnTo>
                  <a:lnTo>
                    <a:pt x="1169" y="3800"/>
                  </a:lnTo>
                  <a:lnTo>
                    <a:pt x="1165" y="3775"/>
                  </a:lnTo>
                  <a:lnTo>
                    <a:pt x="1157" y="3762"/>
                  </a:lnTo>
                  <a:lnTo>
                    <a:pt x="1166" y="3763"/>
                  </a:lnTo>
                  <a:lnTo>
                    <a:pt x="1173" y="3760"/>
                  </a:lnTo>
                  <a:lnTo>
                    <a:pt x="1193" y="3746"/>
                  </a:lnTo>
                  <a:lnTo>
                    <a:pt x="1200" y="3742"/>
                  </a:lnTo>
                  <a:lnTo>
                    <a:pt x="1205" y="3736"/>
                  </a:lnTo>
                  <a:lnTo>
                    <a:pt x="1205" y="3728"/>
                  </a:lnTo>
                  <a:lnTo>
                    <a:pt x="1205" y="3719"/>
                  </a:lnTo>
                  <a:lnTo>
                    <a:pt x="1213" y="3718"/>
                  </a:lnTo>
                  <a:lnTo>
                    <a:pt x="1221" y="3719"/>
                  </a:lnTo>
                  <a:lnTo>
                    <a:pt x="1229" y="3715"/>
                  </a:lnTo>
                  <a:lnTo>
                    <a:pt x="1234" y="3709"/>
                  </a:lnTo>
                  <a:lnTo>
                    <a:pt x="1241" y="3705"/>
                  </a:lnTo>
                  <a:lnTo>
                    <a:pt x="1248" y="3703"/>
                  </a:lnTo>
                  <a:lnTo>
                    <a:pt x="1253" y="3697"/>
                  </a:lnTo>
                  <a:lnTo>
                    <a:pt x="1261" y="3692"/>
                  </a:lnTo>
                  <a:lnTo>
                    <a:pt x="1266" y="3686"/>
                  </a:lnTo>
                  <a:lnTo>
                    <a:pt x="1267" y="3678"/>
                  </a:lnTo>
                  <a:lnTo>
                    <a:pt x="1274" y="3672"/>
                  </a:lnTo>
                  <a:lnTo>
                    <a:pt x="1289" y="3669"/>
                  </a:lnTo>
                  <a:lnTo>
                    <a:pt x="1305" y="3669"/>
                  </a:lnTo>
                  <a:lnTo>
                    <a:pt x="1306" y="3677"/>
                  </a:lnTo>
                  <a:lnTo>
                    <a:pt x="1310" y="3685"/>
                  </a:lnTo>
                  <a:lnTo>
                    <a:pt x="1326" y="3681"/>
                  </a:lnTo>
                  <a:lnTo>
                    <a:pt x="1331" y="3687"/>
                  </a:lnTo>
                  <a:lnTo>
                    <a:pt x="1336" y="3680"/>
                  </a:lnTo>
                  <a:lnTo>
                    <a:pt x="1338" y="3671"/>
                  </a:lnTo>
                  <a:lnTo>
                    <a:pt x="1343" y="3665"/>
                  </a:lnTo>
                  <a:lnTo>
                    <a:pt x="1350" y="3665"/>
                  </a:lnTo>
                  <a:lnTo>
                    <a:pt x="1358" y="3662"/>
                  </a:lnTo>
                  <a:lnTo>
                    <a:pt x="1366" y="3662"/>
                  </a:lnTo>
                  <a:lnTo>
                    <a:pt x="1371" y="3678"/>
                  </a:lnTo>
                  <a:lnTo>
                    <a:pt x="1376" y="3685"/>
                  </a:lnTo>
                  <a:lnTo>
                    <a:pt x="1385" y="3681"/>
                  </a:lnTo>
                  <a:lnTo>
                    <a:pt x="1392" y="3681"/>
                  </a:lnTo>
                  <a:lnTo>
                    <a:pt x="1399" y="3683"/>
                  </a:lnTo>
                  <a:lnTo>
                    <a:pt x="1415" y="3680"/>
                  </a:lnTo>
                  <a:lnTo>
                    <a:pt x="1423" y="3681"/>
                  </a:lnTo>
                  <a:lnTo>
                    <a:pt x="1430" y="3685"/>
                  </a:lnTo>
                  <a:lnTo>
                    <a:pt x="1436" y="3691"/>
                  </a:lnTo>
                  <a:lnTo>
                    <a:pt x="1442" y="3705"/>
                  </a:lnTo>
                  <a:lnTo>
                    <a:pt x="1463" y="3718"/>
                  </a:lnTo>
                  <a:lnTo>
                    <a:pt x="1468" y="3724"/>
                  </a:lnTo>
                  <a:lnTo>
                    <a:pt x="1471" y="3732"/>
                  </a:lnTo>
                  <a:lnTo>
                    <a:pt x="1482" y="3745"/>
                  </a:lnTo>
                  <a:lnTo>
                    <a:pt x="1481" y="3752"/>
                  </a:lnTo>
                  <a:lnTo>
                    <a:pt x="1482" y="3761"/>
                  </a:lnTo>
                  <a:lnTo>
                    <a:pt x="1487" y="3767"/>
                  </a:lnTo>
                  <a:lnTo>
                    <a:pt x="1494" y="3764"/>
                  </a:lnTo>
                  <a:lnTo>
                    <a:pt x="1494" y="3757"/>
                  </a:lnTo>
                  <a:lnTo>
                    <a:pt x="1493" y="3748"/>
                  </a:lnTo>
                  <a:lnTo>
                    <a:pt x="1494" y="3741"/>
                  </a:lnTo>
                  <a:lnTo>
                    <a:pt x="1489" y="3734"/>
                  </a:lnTo>
                  <a:lnTo>
                    <a:pt x="1494" y="3728"/>
                  </a:lnTo>
                  <a:lnTo>
                    <a:pt x="1503" y="3726"/>
                  </a:lnTo>
                  <a:lnTo>
                    <a:pt x="1505" y="3734"/>
                  </a:lnTo>
                  <a:lnTo>
                    <a:pt x="1511" y="3739"/>
                  </a:lnTo>
                  <a:lnTo>
                    <a:pt x="1514" y="3747"/>
                  </a:lnTo>
                  <a:lnTo>
                    <a:pt x="1520" y="3752"/>
                  </a:lnTo>
                  <a:lnTo>
                    <a:pt x="1536" y="3757"/>
                  </a:lnTo>
                  <a:lnTo>
                    <a:pt x="1549" y="3766"/>
                  </a:lnTo>
                  <a:lnTo>
                    <a:pt x="1558" y="3763"/>
                  </a:lnTo>
                  <a:lnTo>
                    <a:pt x="1578" y="3750"/>
                  </a:lnTo>
                  <a:lnTo>
                    <a:pt x="1578" y="3741"/>
                  </a:lnTo>
                  <a:lnTo>
                    <a:pt x="1584" y="3737"/>
                  </a:lnTo>
                  <a:lnTo>
                    <a:pt x="1590" y="3732"/>
                  </a:lnTo>
                  <a:lnTo>
                    <a:pt x="1598" y="3731"/>
                  </a:lnTo>
                  <a:lnTo>
                    <a:pt x="1606" y="3734"/>
                  </a:lnTo>
                  <a:lnTo>
                    <a:pt x="1606" y="3725"/>
                  </a:lnTo>
                  <a:lnTo>
                    <a:pt x="1614" y="3725"/>
                  </a:lnTo>
                  <a:lnTo>
                    <a:pt x="1622" y="3728"/>
                  </a:lnTo>
                  <a:lnTo>
                    <a:pt x="1629" y="3723"/>
                  </a:lnTo>
                  <a:lnTo>
                    <a:pt x="1637" y="3728"/>
                  </a:lnTo>
                  <a:lnTo>
                    <a:pt x="1648" y="3739"/>
                  </a:lnTo>
                  <a:lnTo>
                    <a:pt x="1662" y="3730"/>
                  </a:lnTo>
                  <a:lnTo>
                    <a:pt x="1666" y="3723"/>
                  </a:lnTo>
                  <a:lnTo>
                    <a:pt x="1682" y="3723"/>
                  </a:lnTo>
                  <a:lnTo>
                    <a:pt x="1689" y="3719"/>
                  </a:lnTo>
                  <a:lnTo>
                    <a:pt x="1704" y="3725"/>
                  </a:lnTo>
                  <a:lnTo>
                    <a:pt x="1709" y="3731"/>
                  </a:lnTo>
                  <a:lnTo>
                    <a:pt x="1710" y="3747"/>
                  </a:lnTo>
                  <a:lnTo>
                    <a:pt x="1716" y="3753"/>
                  </a:lnTo>
                  <a:lnTo>
                    <a:pt x="1721" y="3760"/>
                  </a:lnTo>
                  <a:lnTo>
                    <a:pt x="1737" y="3757"/>
                  </a:lnTo>
                  <a:lnTo>
                    <a:pt x="1752" y="3761"/>
                  </a:lnTo>
                  <a:lnTo>
                    <a:pt x="1754" y="3772"/>
                  </a:lnTo>
                  <a:lnTo>
                    <a:pt x="1772" y="3771"/>
                  </a:lnTo>
                  <a:lnTo>
                    <a:pt x="1778" y="3766"/>
                  </a:lnTo>
                  <a:lnTo>
                    <a:pt x="1785" y="3751"/>
                  </a:lnTo>
                  <a:lnTo>
                    <a:pt x="1790" y="3745"/>
                  </a:lnTo>
                  <a:lnTo>
                    <a:pt x="1796" y="3747"/>
                  </a:lnTo>
                  <a:lnTo>
                    <a:pt x="1807" y="3760"/>
                  </a:lnTo>
                  <a:lnTo>
                    <a:pt x="1824" y="3761"/>
                  </a:lnTo>
                  <a:lnTo>
                    <a:pt x="1839" y="3757"/>
                  </a:lnTo>
                  <a:lnTo>
                    <a:pt x="1847" y="3752"/>
                  </a:lnTo>
                  <a:lnTo>
                    <a:pt x="1863" y="3747"/>
                  </a:lnTo>
                  <a:lnTo>
                    <a:pt x="1874" y="3709"/>
                  </a:lnTo>
                  <a:lnTo>
                    <a:pt x="1877" y="3702"/>
                  </a:lnTo>
                  <a:lnTo>
                    <a:pt x="1872" y="3696"/>
                  </a:lnTo>
                  <a:lnTo>
                    <a:pt x="1870" y="3692"/>
                  </a:lnTo>
                  <a:lnTo>
                    <a:pt x="1856" y="3691"/>
                  </a:lnTo>
                  <a:lnTo>
                    <a:pt x="1840" y="3689"/>
                  </a:lnTo>
                  <a:lnTo>
                    <a:pt x="1834" y="3682"/>
                  </a:lnTo>
                  <a:lnTo>
                    <a:pt x="1831" y="3677"/>
                  </a:lnTo>
                  <a:lnTo>
                    <a:pt x="1813" y="3674"/>
                  </a:lnTo>
                  <a:lnTo>
                    <a:pt x="1806" y="3671"/>
                  </a:lnTo>
                  <a:lnTo>
                    <a:pt x="1807" y="3662"/>
                  </a:lnTo>
                  <a:lnTo>
                    <a:pt x="1802" y="3655"/>
                  </a:lnTo>
                  <a:lnTo>
                    <a:pt x="1786" y="3653"/>
                  </a:lnTo>
                  <a:lnTo>
                    <a:pt x="1788" y="3644"/>
                  </a:lnTo>
                  <a:lnTo>
                    <a:pt x="1795" y="3642"/>
                  </a:lnTo>
                  <a:lnTo>
                    <a:pt x="1807" y="3632"/>
                  </a:lnTo>
                  <a:lnTo>
                    <a:pt x="1823" y="3626"/>
                  </a:lnTo>
                  <a:lnTo>
                    <a:pt x="1837" y="3617"/>
                  </a:lnTo>
                  <a:lnTo>
                    <a:pt x="1840" y="3611"/>
                  </a:lnTo>
                  <a:lnTo>
                    <a:pt x="1842" y="3602"/>
                  </a:lnTo>
                  <a:lnTo>
                    <a:pt x="1823" y="3575"/>
                  </a:lnTo>
                  <a:lnTo>
                    <a:pt x="1831" y="3572"/>
                  </a:lnTo>
                  <a:lnTo>
                    <a:pt x="1838" y="3565"/>
                  </a:lnTo>
                  <a:lnTo>
                    <a:pt x="1839" y="3558"/>
                  </a:lnTo>
                  <a:lnTo>
                    <a:pt x="1845" y="3553"/>
                  </a:lnTo>
                  <a:lnTo>
                    <a:pt x="1854" y="3552"/>
                  </a:lnTo>
                  <a:lnTo>
                    <a:pt x="1863" y="3553"/>
                  </a:lnTo>
                  <a:lnTo>
                    <a:pt x="1870" y="3552"/>
                  </a:lnTo>
                  <a:lnTo>
                    <a:pt x="1877" y="3554"/>
                  </a:lnTo>
                  <a:lnTo>
                    <a:pt x="1893" y="3554"/>
                  </a:lnTo>
                  <a:lnTo>
                    <a:pt x="1902" y="3551"/>
                  </a:lnTo>
                  <a:lnTo>
                    <a:pt x="1904" y="3543"/>
                  </a:lnTo>
                  <a:lnTo>
                    <a:pt x="1901" y="3537"/>
                  </a:lnTo>
                  <a:lnTo>
                    <a:pt x="1886" y="3529"/>
                  </a:lnTo>
                  <a:lnTo>
                    <a:pt x="1854" y="3524"/>
                  </a:lnTo>
                  <a:lnTo>
                    <a:pt x="1850" y="3518"/>
                  </a:lnTo>
                  <a:lnTo>
                    <a:pt x="1852" y="3509"/>
                  </a:lnTo>
                  <a:lnTo>
                    <a:pt x="1859" y="3509"/>
                  </a:lnTo>
                  <a:lnTo>
                    <a:pt x="1866" y="3506"/>
                  </a:lnTo>
                  <a:lnTo>
                    <a:pt x="1871" y="3499"/>
                  </a:lnTo>
                  <a:lnTo>
                    <a:pt x="1865" y="3494"/>
                  </a:lnTo>
                  <a:lnTo>
                    <a:pt x="1858" y="3498"/>
                  </a:lnTo>
                  <a:lnTo>
                    <a:pt x="1842" y="3498"/>
                  </a:lnTo>
                  <a:lnTo>
                    <a:pt x="1842" y="3489"/>
                  </a:lnTo>
                  <a:lnTo>
                    <a:pt x="1844" y="3482"/>
                  </a:lnTo>
                  <a:lnTo>
                    <a:pt x="1849" y="3476"/>
                  </a:lnTo>
                  <a:lnTo>
                    <a:pt x="1838" y="3463"/>
                  </a:lnTo>
                  <a:lnTo>
                    <a:pt x="1854" y="3463"/>
                  </a:lnTo>
                  <a:lnTo>
                    <a:pt x="1859" y="3457"/>
                  </a:lnTo>
                  <a:lnTo>
                    <a:pt x="1867" y="3457"/>
                  </a:lnTo>
                  <a:lnTo>
                    <a:pt x="1872" y="3463"/>
                  </a:lnTo>
                  <a:lnTo>
                    <a:pt x="1880" y="3462"/>
                  </a:lnTo>
                  <a:lnTo>
                    <a:pt x="1888" y="3463"/>
                  </a:lnTo>
                  <a:lnTo>
                    <a:pt x="1896" y="3461"/>
                  </a:lnTo>
                  <a:lnTo>
                    <a:pt x="1920" y="3461"/>
                  </a:lnTo>
                  <a:lnTo>
                    <a:pt x="1925" y="3468"/>
                  </a:lnTo>
                  <a:lnTo>
                    <a:pt x="1935" y="3456"/>
                  </a:lnTo>
                  <a:lnTo>
                    <a:pt x="1942" y="3452"/>
                  </a:lnTo>
                  <a:lnTo>
                    <a:pt x="1958" y="3454"/>
                  </a:lnTo>
                  <a:lnTo>
                    <a:pt x="1966" y="3449"/>
                  </a:lnTo>
                  <a:lnTo>
                    <a:pt x="1973" y="3446"/>
                  </a:lnTo>
                  <a:lnTo>
                    <a:pt x="1987" y="3436"/>
                  </a:lnTo>
                  <a:lnTo>
                    <a:pt x="1994" y="3439"/>
                  </a:lnTo>
                  <a:lnTo>
                    <a:pt x="2000" y="3444"/>
                  </a:lnTo>
                  <a:lnTo>
                    <a:pt x="2008" y="3444"/>
                  </a:lnTo>
                  <a:lnTo>
                    <a:pt x="2010" y="3436"/>
                  </a:lnTo>
                  <a:lnTo>
                    <a:pt x="2027" y="3432"/>
                  </a:lnTo>
                  <a:lnTo>
                    <a:pt x="2033" y="3428"/>
                  </a:lnTo>
                  <a:lnTo>
                    <a:pt x="2042" y="3427"/>
                  </a:lnTo>
                  <a:lnTo>
                    <a:pt x="2049" y="3424"/>
                  </a:lnTo>
                  <a:lnTo>
                    <a:pt x="2057" y="3424"/>
                  </a:lnTo>
                  <a:lnTo>
                    <a:pt x="2064" y="3427"/>
                  </a:lnTo>
                  <a:lnTo>
                    <a:pt x="2069" y="3419"/>
                  </a:lnTo>
                  <a:lnTo>
                    <a:pt x="2070" y="3412"/>
                  </a:lnTo>
                  <a:lnTo>
                    <a:pt x="2074" y="3403"/>
                  </a:lnTo>
                  <a:lnTo>
                    <a:pt x="2081" y="3400"/>
                  </a:lnTo>
                  <a:lnTo>
                    <a:pt x="2089" y="3398"/>
                  </a:lnTo>
                  <a:lnTo>
                    <a:pt x="2096" y="3402"/>
                  </a:lnTo>
                  <a:lnTo>
                    <a:pt x="2114" y="3396"/>
                  </a:lnTo>
                  <a:lnTo>
                    <a:pt x="2114" y="3397"/>
                  </a:lnTo>
                  <a:lnTo>
                    <a:pt x="2151" y="3387"/>
                  </a:lnTo>
                  <a:lnTo>
                    <a:pt x="2183" y="3384"/>
                  </a:lnTo>
                  <a:lnTo>
                    <a:pt x="2211" y="3375"/>
                  </a:lnTo>
                  <a:lnTo>
                    <a:pt x="2218" y="3369"/>
                  </a:lnTo>
                  <a:lnTo>
                    <a:pt x="2226" y="3370"/>
                  </a:lnTo>
                  <a:lnTo>
                    <a:pt x="2234" y="3368"/>
                  </a:lnTo>
                  <a:lnTo>
                    <a:pt x="2238" y="3362"/>
                  </a:lnTo>
                  <a:lnTo>
                    <a:pt x="2238" y="3353"/>
                  </a:lnTo>
                  <a:lnTo>
                    <a:pt x="2238" y="3346"/>
                  </a:lnTo>
                  <a:lnTo>
                    <a:pt x="2247" y="3347"/>
                  </a:lnTo>
                  <a:lnTo>
                    <a:pt x="2254" y="3344"/>
                  </a:lnTo>
                  <a:lnTo>
                    <a:pt x="2259" y="3338"/>
                  </a:lnTo>
                  <a:lnTo>
                    <a:pt x="2265" y="3333"/>
                  </a:lnTo>
                  <a:lnTo>
                    <a:pt x="2274" y="3333"/>
                  </a:lnTo>
                  <a:lnTo>
                    <a:pt x="2279" y="3326"/>
                  </a:lnTo>
                  <a:lnTo>
                    <a:pt x="2286" y="3326"/>
                  </a:lnTo>
                  <a:lnTo>
                    <a:pt x="2293" y="3332"/>
                  </a:lnTo>
                  <a:lnTo>
                    <a:pt x="2300" y="3330"/>
                  </a:lnTo>
                  <a:lnTo>
                    <a:pt x="2307" y="3333"/>
                  </a:lnTo>
                  <a:lnTo>
                    <a:pt x="2316" y="3331"/>
                  </a:lnTo>
                  <a:lnTo>
                    <a:pt x="2323" y="3335"/>
                  </a:lnTo>
                  <a:lnTo>
                    <a:pt x="2328" y="3341"/>
                  </a:lnTo>
                  <a:lnTo>
                    <a:pt x="2342" y="3349"/>
                  </a:lnTo>
                  <a:lnTo>
                    <a:pt x="2349" y="3346"/>
                  </a:lnTo>
                  <a:lnTo>
                    <a:pt x="2355" y="3341"/>
                  </a:lnTo>
                  <a:lnTo>
                    <a:pt x="2371" y="3338"/>
                  </a:lnTo>
                  <a:lnTo>
                    <a:pt x="2379" y="3341"/>
                  </a:lnTo>
                  <a:lnTo>
                    <a:pt x="2385" y="3347"/>
                  </a:lnTo>
                  <a:lnTo>
                    <a:pt x="2388" y="3354"/>
                  </a:lnTo>
                  <a:lnTo>
                    <a:pt x="2390" y="3370"/>
                  </a:lnTo>
                  <a:lnTo>
                    <a:pt x="2388" y="3379"/>
                  </a:lnTo>
                  <a:lnTo>
                    <a:pt x="2391" y="3386"/>
                  </a:lnTo>
                  <a:lnTo>
                    <a:pt x="2403" y="3397"/>
                  </a:lnTo>
                  <a:lnTo>
                    <a:pt x="2399" y="3403"/>
                  </a:lnTo>
                  <a:lnTo>
                    <a:pt x="2401" y="3420"/>
                  </a:lnTo>
                  <a:lnTo>
                    <a:pt x="2396" y="3427"/>
                  </a:lnTo>
                  <a:lnTo>
                    <a:pt x="2391" y="3433"/>
                  </a:lnTo>
                  <a:lnTo>
                    <a:pt x="2394" y="3440"/>
                  </a:lnTo>
                  <a:lnTo>
                    <a:pt x="2397" y="3448"/>
                  </a:lnTo>
                  <a:lnTo>
                    <a:pt x="2413" y="3444"/>
                  </a:lnTo>
                  <a:lnTo>
                    <a:pt x="2420" y="3449"/>
                  </a:lnTo>
                  <a:lnTo>
                    <a:pt x="2428" y="3448"/>
                  </a:lnTo>
                  <a:lnTo>
                    <a:pt x="2431" y="3439"/>
                  </a:lnTo>
                  <a:lnTo>
                    <a:pt x="2439" y="3439"/>
                  </a:lnTo>
                  <a:lnTo>
                    <a:pt x="2446" y="3441"/>
                  </a:lnTo>
                  <a:lnTo>
                    <a:pt x="2449" y="3433"/>
                  </a:lnTo>
                  <a:lnTo>
                    <a:pt x="2449" y="3425"/>
                  </a:lnTo>
                  <a:lnTo>
                    <a:pt x="2456" y="3427"/>
                  </a:lnTo>
                  <a:lnTo>
                    <a:pt x="2460" y="3434"/>
                  </a:lnTo>
                  <a:lnTo>
                    <a:pt x="2462" y="3443"/>
                  </a:lnTo>
                  <a:lnTo>
                    <a:pt x="2467" y="3448"/>
                  </a:lnTo>
                  <a:lnTo>
                    <a:pt x="2465" y="3455"/>
                  </a:lnTo>
                  <a:lnTo>
                    <a:pt x="2463" y="3463"/>
                  </a:lnTo>
                  <a:lnTo>
                    <a:pt x="2479" y="3465"/>
                  </a:lnTo>
                  <a:lnTo>
                    <a:pt x="2477" y="3457"/>
                  </a:lnTo>
                  <a:lnTo>
                    <a:pt x="2472" y="3451"/>
                  </a:lnTo>
                  <a:lnTo>
                    <a:pt x="2479" y="3448"/>
                  </a:lnTo>
                  <a:lnTo>
                    <a:pt x="2495" y="3451"/>
                  </a:lnTo>
                  <a:lnTo>
                    <a:pt x="2503" y="3456"/>
                  </a:lnTo>
                  <a:lnTo>
                    <a:pt x="2508" y="3462"/>
                  </a:lnTo>
                  <a:lnTo>
                    <a:pt x="2516" y="3466"/>
                  </a:lnTo>
                  <a:lnTo>
                    <a:pt x="2523" y="3466"/>
                  </a:lnTo>
                  <a:lnTo>
                    <a:pt x="2527" y="3459"/>
                  </a:lnTo>
                  <a:lnTo>
                    <a:pt x="2535" y="3455"/>
                  </a:lnTo>
                  <a:lnTo>
                    <a:pt x="2537" y="3463"/>
                  </a:lnTo>
                  <a:lnTo>
                    <a:pt x="2537" y="3471"/>
                  </a:lnTo>
                  <a:lnTo>
                    <a:pt x="2528" y="3473"/>
                  </a:lnTo>
                  <a:lnTo>
                    <a:pt x="2522" y="3478"/>
                  </a:lnTo>
                  <a:lnTo>
                    <a:pt x="2517" y="3486"/>
                  </a:lnTo>
                  <a:lnTo>
                    <a:pt x="2515" y="3493"/>
                  </a:lnTo>
                  <a:lnTo>
                    <a:pt x="2516" y="3502"/>
                  </a:lnTo>
                  <a:lnTo>
                    <a:pt x="2521" y="3508"/>
                  </a:lnTo>
                  <a:lnTo>
                    <a:pt x="2528" y="3508"/>
                  </a:lnTo>
                  <a:lnTo>
                    <a:pt x="2533" y="3502"/>
                  </a:lnTo>
                  <a:lnTo>
                    <a:pt x="2548" y="3495"/>
                  </a:lnTo>
                  <a:lnTo>
                    <a:pt x="2555" y="3498"/>
                  </a:lnTo>
                  <a:lnTo>
                    <a:pt x="2564" y="3498"/>
                  </a:lnTo>
                  <a:lnTo>
                    <a:pt x="2570" y="3503"/>
                  </a:lnTo>
                  <a:lnTo>
                    <a:pt x="2578" y="3503"/>
                  </a:lnTo>
                  <a:lnTo>
                    <a:pt x="2575" y="3495"/>
                  </a:lnTo>
                  <a:lnTo>
                    <a:pt x="2580" y="3489"/>
                  </a:lnTo>
                  <a:lnTo>
                    <a:pt x="2589" y="3488"/>
                  </a:lnTo>
                  <a:lnTo>
                    <a:pt x="2598" y="3477"/>
                  </a:lnTo>
                  <a:lnTo>
                    <a:pt x="2614" y="3475"/>
                  </a:lnTo>
                  <a:lnTo>
                    <a:pt x="2627" y="3463"/>
                  </a:lnTo>
                  <a:lnTo>
                    <a:pt x="2633" y="3449"/>
                  </a:lnTo>
                  <a:lnTo>
                    <a:pt x="2639" y="3444"/>
                  </a:lnTo>
                  <a:lnTo>
                    <a:pt x="2648" y="3445"/>
                  </a:lnTo>
                  <a:lnTo>
                    <a:pt x="2664" y="3441"/>
                  </a:lnTo>
                  <a:lnTo>
                    <a:pt x="2671" y="3439"/>
                  </a:lnTo>
                  <a:lnTo>
                    <a:pt x="2675" y="3432"/>
                  </a:lnTo>
                  <a:lnTo>
                    <a:pt x="2691" y="3430"/>
                  </a:lnTo>
                  <a:lnTo>
                    <a:pt x="2704" y="3422"/>
                  </a:lnTo>
                  <a:lnTo>
                    <a:pt x="2708" y="3429"/>
                  </a:lnTo>
                  <a:lnTo>
                    <a:pt x="2709" y="3436"/>
                  </a:lnTo>
                  <a:lnTo>
                    <a:pt x="2704" y="3444"/>
                  </a:lnTo>
                  <a:lnTo>
                    <a:pt x="2697" y="3446"/>
                  </a:lnTo>
                  <a:lnTo>
                    <a:pt x="2689" y="3446"/>
                  </a:lnTo>
                  <a:lnTo>
                    <a:pt x="2688" y="345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32" name="Freeform 133">
              <a:extLst>
                <a:ext uri="{FF2B5EF4-FFF2-40B4-BE49-F238E27FC236}">
                  <a16:creationId xmlns:a16="http://schemas.microsoft.com/office/drawing/2014/main" id="{A540BCA6-1EE9-D0D3-A0AA-796F6C19FC1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41755" y="2246721"/>
              <a:ext cx="97003" cy="77734"/>
            </a:xfrm>
            <a:custGeom>
              <a:avLst/>
              <a:gdLst>
                <a:gd name="T0" fmla="*/ 0 w 180"/>
                <a:gd name="T1" fmla="*/ 0 h 134"/>
                <a:gd name="T2" fmla="*/ 0 w 180"/>
                <a:gd name="T3" fmla="*/ 0 h 134"/>
                <a:gd name="T4" fmla="*/ 0 w 180"/>
                <a:gd name="T5" fmla="*/ 0 h 134"/>
                <a:gd name="T6" fmla="*/ 0 w 180"/>
                <a:gd name="T7" fmla="*/ 0 h 134"/>
                <a:gd name="T8" fmla="*/ 0 w 180"/>
                <a:gd name="T9" fmla="*/ 0 h 134"/>
                <a:gd name="T10" fmla="*/ 0 w 180"/>
                <a:gd name="T11" fmla="*/ 0 h 134"/>
                <a:gd name="T12" fmla="*/ 0 w 180"/>
                <a:gd name="T13" fmla="*/ 0 h 134"/>
                <a:gd name="T14" fmla="*/ 0 w 180"/>
                <a:gd name="T15" fmla="*/ 0 h 134"/>
                <a:gd name="T16" fmla="*/ 0 w 180"/>
                <a:gd name="T17" fmla="*/ 0 h 134"/>
                <a:gd name="T18" fmla="*/ 0 w 180"/>
                <a:gd name="T19" fmla="*/ 0 h 134"/>
                <a:gd name="T20" fmla="*/ 0 w 180"/>
                <a:gd name="T21" fmla="*/ 0 h 134"/>
                <a:gd name="T22" fmla="*/ 0 w 180"/>
                <a:gd name="T23" fmla="*/ 0 h 134"/>
                <a:gd name="T24" fmla="*/ 0 w 180"/>
                <a:gd name="T25" fmla="*/ 0 h 134"/>
                <a:gd name="T26" fmla="*/ 0 w 180"/>
                <a:gd name="T27" fmla="*/ 0 h 134"/>
                <a:gd name="T28" fmla="*/ 0 w 180"/>
                <a:gd name="T29" fmla="*/ 0 h 134"/>
                <a:gd name="T30" fmla="*/ 0 w 180"/>
                <a:gd name="T31" fmla="*/ 0 h 134"/>
                <a:gd name="T32" fmla="*/ 0 w 180"/>
                <a:gd name="T33" fmla="*/ 0 h 134"/>
                <a:gd name="T34" fmla="*/ 0 w 180"/>
                <a:gd name="T35" fmla="*/ 0 h 134"/>
                <a:gd name="T36" fmla="*/ 0 w 180"/>
                <a:gd name="T37" fmla="*/ 0 h 134"/>
                <a:gd name="T38" fmla="*/ 0 w 180"/>
                <a:gd name="T39" fmla="*/ 0 h 134"/>
                <a:gd name="T40" fmla="*/ 0 w 180"/>
                <a:gd name="T41" fmla="*/ 0 h 134"/>
                <a:gd name="T42" fmla="*/ 0 w 180"/>
                <a:gd name="T43" fmla="*/ 0 h 134"/>
                <a:gd name="T44" fmla="*/ 0 w 180"/>
                <a:gd name="T45" fmla="*/ 0 h 134"/>
                <a:gd name="T46" fmla="*/ 0 w 180"/>
                <a:gd name="T47" fmla="*/ 0 h 134"/>
                <a:gd name="T48" fmla="*/ 0 w 180"/>
                <a:gd name="T49" fmla="*/ 0 h 134"/>
                <a:gd name="T50" fmla="*/ 0 w 180"/>
                <a:gd name="T51" fmla="*/ 0 h 134"/>
                <a:gd name="T52" fmla="*/ 0 w 180"/>
                <a:gd name="T53" fmla="*/ 0 h 134"/>
                <a:gd name="T54" fmla="*/ 0 w 180"/>
                <a:gd name="T55" fmla="*/ 0 h 134"/>
                <a:gd name="T56" fmla="*/ 0 w 180"/>
                <a:gd name="T57" fmla="*/ 0 h 134"/>
                <a:gd name="T58" fmla="*/ 0 w 180"/>
                <a:gd name="T59" fmla="*/ 0 h 134"/>
                <a:gd name="T60" fmla="*/ 0 w 180"/>
                <a:gd name="T61" fmla="*/ 0 h 134"/>
                <a:gd name="T62" fmla="*/ 0 w 180"/>
                <a:gd name="T63" fmla="*/ 0 h 134"/>
                <a:gd name="T64" fmla="*/ 0 w 180"/>
                <a:gd name="T65" fmla="*/ 0 h 134"/>
                <a:gd name="T66" fmla="*/ 0 w 180"/>
                <a:gd name="T67" fmla="*/ 0 h 134"/>
                <a:gd name="T68" fmla="*/ 0 w 180"/>
                <a:gd name="T69" fmla="*/ 0 h 134"/>
                <a:gd name="T70" fmla="*/ 0 w 180"/>
                <a:gd name="T71" fmla="*/ 0 h 134"/>
                <a:gd name="T72" fmla="*/ 0 w 180"/>
                <a:gd name="T73" fmla="*/ 0 h 134"/>
                <a:gd name="T74" fmla="*/ 0 w 180"/>
                <a:gd name="T75" fmla="*/ 0 h 134"/>
                <a:gd name="T76" fmla="*/ 0 w 180"/>
                <a:gd name="T77" fmla="*/ 0 h 134"/>
                <a:gd name="T78" fmla="*/ 0 w 180"/>
                <a:gd name="T79" fmla="*/ 0 h 134"/>
                <a:gd name="T80" fmla="*/ 0 w 180"/>
                <a:gd name="T81" fmla="*/ 0 h 134"/>
                <a:gd name="T82" fmla="*/ 0 w 180"/>
                <a:gd name="T83" fmla="*/ 0 h 13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0"/>
                <a:gd name="T127" fmla="*/ 0 h 134"/>
                <a:gd name="T128" fmla="*/ 180 w 180"/>
                <a:gd name="T129" fmla="*/ 134 h 13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0" h="134">
                  <a:moveTo>
                    <a:pt x="0" y="118"/>
                  </a:moveTo>
                  <a:lnTo>
                    <a:pt x="2" y="114"/>
                  </a:lnTo>
                  <a:lnTo>
                    <a:pt x="12" y="107"/>
                  </a:lnTo>
                  <a:lnTo>
                    <a:pt x="14" y="102"/>
                  </a:lnTo>
                  <a:lnTo>
                    <a:pt x="19" y="87"/>
                  </a:lnTo>
                  <a:lnTo>
                    <a:pt x="21" y="76"/>
                  </a:lnTo>
                  <a:lnTo>
                    <a:pt x="25" y="70"/>
                  </a:lnTo>
                  <a:lnTo>
                    <a:pt x="46" y="69"/>
                  </a:lnTo>
                  <a:lnTo>
                    <a:pt x="55" y="63"/>
                  </a:lnTo>
                  <a:lnTo>
                    <a:pt x="67" y="48"/>
                  </a:lnTo>
                  <a:lnTo>
                    <a:pt x="77" y="32"/>
                  </a:lnTo>
                  <a:lnTo>
                    <a:pt x="82" y="15"/>
                  </a:lnTo>
                  <a:lnTo>
                    <a:pt x="83" y="0"/>
                  </a:lnTo>
                  <a:lnTo>
                    <a:pt x="79" y="27"/>
                  </a:lnTo>
                  <a:lnTo>
                    <a:pt x="71" y="46"/>
                  </a:lnTo>
                  <a:lnTo>
                    <a:pt x="65" y="55"/>
                  </a:lnTo>
                  <a:lnTo>
                    <a:pt x="57" y="64"/>
                  </a:lnTo>
                  <a:lnTo>
                    <a:pt x="61" y="71"/>
                  </a:lnTo>
                  <a:lnTo>
                    <a:pt x="67" y="70"/>
                  </a:lnTo>
                  <a:lnTo>
                    <a:pt x="76" y="75"/>
                  </a:lnTo>
                  <a:lnTo>
                    <a:pt x="87" y="75"/>
                  </a:lnTo>
                  <a:lnTo>
                    <a:pt x="89" y="66"/>
                  </a:lnTo>
                  <a:lnTo>
                    <a:pt x="89" y="49"/>
                  </a:lnTo>
                  <a:lnTo>
                    <a:pt x="93" y="44"/>
                  </a:lnTo>
                  <a:lnTo>
                    <a:pt x="93" y="41"/>
                  </a:lnTo>
                  <a:lnTo>
                    <a:pt x="103" y="38"/>
                  </a:lnTo>
                  <a:lnTo>
                    <a:pt x="109" y="43"/>
                  </a:lnTo>
                  <a:lnTo>
                    <a:pt x="116" y="46"/>
                  </a:lnTo>
                  <a:lnTo>
                    <a:pt x="122" y="50"/>
                  </a:lnTo>
                  <a:lnTo>
                    <a:pt x="130" y="54"/>
                  </a:lnTo>
                  <a:lnTo>
                    <a:pt x="147" y="57"/>
                  </a:lnTo>
                  <a:lnTo>
                    <a:pt x="163" y="55"/>
                  </a:lnTo>
                  <a:lnTo>
                    <a:pt x="169" y="59"/>
                  </a:lnTo>
                  <a:lnTo>
                    <a:pt x="180" y="82"/>
                  </a:lnTo>
                  <a:lnTo>
                    <a:pt x="174" y="97"/>
                  </a:lnTo>
                  <a:lnTo>
                    <a:pt x="174" y="114"/>
                  </a:lnTo>
                  <a:lnTo>
                    <a:pt x="177" y="124"/>
                  </a:lnTo>
                  <a:lnTo>
                    <a:pt x="153" y="127"/>
                  </a:lnTo>
                  <a:lnTo>
                    <a:pt x="126" y="133"/>
                  </a:lnTo>
                  <a:lnTo>
                    <a:pt x="78" y="134"/>
                  </a:lnTo>
                  <a:lnTo>
                    <a:pt x="14" y="123"/>
                  </a:lnTo>
                  <a:lnTo>
                    <a:pt x="0" y="11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33" name="Freeform 134">
              <a:extLst>
                <a:ext uri="{FF2B5EF4-FFF2-40B4-BE49-F238E27FC236}">
                  <a16:creationId xmlns:a16="http://schemas.microsoft.com/office/drawing/2014/main" id="{15A2B9B2-B334-B947-1D17-F02105E1693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996893" y="3940127"/>
              <a:ext cx="41786" cy="59445"/>
            </a:xfrm>
            <a:custGeom>
              <a:avLst/>
              <a:gdLst>
                <a:gd name="T0" fmla="*/ 0 w 83"/>
                <a:gd name="T1" fmla="*/ 0 h 106"/>
                <a:gd name="T2" fmla="*/ 0 w 83"/>
                <a:gd name="T3" fmla="*/ 0 h 106"/>
                <a:gd name="T4" fmla="*/ 0 w 83"/>
                <a:gd name="T5" fmla="*/ 0 h 106"/>
                <a:gd name="T6" fmla="*/ 0 w 83"/>
                <a:gd name="T7" fmla="*/ 0 h 106"/>
                <a:gd name="T8" fmla="*/ 0 w 83"/>
                <a:gd name="T9" fmla="*/ 0 h 106"/>
                <a:gd name="T10" fmla="*/ 0 w 83"/>
                <a:gd name="T11" fmla="*/ 0 h 106"/>
                <a:gd name="T12" fmla="*/ 0 w 83"/>
                <a:gd name="T13" fmla="*/ 0 h 106"/>
                <a:gd name="T14" fmla="*/ 0 w 83"/>
                <a:gd name="T15" fmla="*/ 0 h 106"/>
                <a:gd name="T16" fmla="*/ 0 w 83"/>
                <a:gd name="T17" fmla="*/ 2147483647 h 106"/>
                <a:gd name="T18" fmla="*/ 0 w 83"/>
                <a:gd name="T19" fmla="*/ 2147483647 h 106"/>
                <a:gd name="T20" fmla="*/ 0 w 83"/>
                <a:gd name="T21" fmla="*/ 2147483647 h 106"/>
                <a:gd name="T22" fmla="*/ 0 w 83"/>
                <a:gd name="T23" fmla="*/ 2147483647 h 106"/>
                <a:gd name="T24" fmla="*/ 0 w 83"/>
                <a:gd name="T25" fmla="*/ 2147483647 h 106"/>
                <a:gd name="T26" fmla="*/ 0 w 83"/>
                <a:gd name="T27" fmla="*/ 2147483647 h 106"/>
                <a:gd name="T28" fmla="*/ 0 w 83"/>
                <a:gd name="T29" fmla="*/ 2147483647 h 106"/>
                <a:gd name="T30" fmla="*/ 0 w 83"/>
                <a:gd name="T31" fmla="*/ 2147483647 h 106"/>
                <a:gd name="T32" fmla="*/ 0 w 83"/>
                <a:gd name="T33" fmla="*/ 2147483647 h 106"/>
                <a:gd name="T34" fmla="*/ 0 w 83"/>
                <a:gd name="T35" fmla="*/ 2147483647 h 106"/>
                <a:gd name="T36" fmla="*/ 0 w 83"/>
                <a:gd name="T37" fmla="*/ 2147483647 h 106"/>
                <a:gd name="T38" fmla="*/ 0 w 83"/>
                <a:gd name="T39" fmla="*/ 2147483647 h 106"/>
                <a:gd name="T40" fmla="*/ 0 w 83"/>
                <a:gd name="T41" fmla="*/ 2147483647 h 106"/>
                <a:gd name="T42" fmla="*/ 0 w 83"/>
                <a:gd name="T43" fmla="*/ 2147483647 h 106"/>
                <a:gd name="T44" fmla="*/ 2147483647 w 83"/>
                <a:gd name="T45" fmla="*/ 2147483647 h 106"/>
                <a:gd name="T46" fmla="*/ 2147483647 w 83"/>
                <a:gd name="T47" fmla="*/ 0 h 106"/>
                <a:gd name="T48" fmla="*/ 2147483647 w 83"/>
                <a:gd name="T49" fmla="*/ 0 h 106"/>
                <a:gd name="T50" fmla="*/ 2147483647 w 83"/>
                <a:gd name="T51" fmla="*/ 0 h 106"/>
                <a:gd name="T52" fmla="*/ 2147483647 w 83"/>
                <a:gd name="T53" fmla="*/ 0 h 106"/>
                <a:gd name="T54" fmla="*/ 2147483647 w 83"/>
                <a:gd name="T55" fmla="*/ 0 h 106"/>
                <a:gd name="T56" fmla="*/ 0 w 83"/>
                <a:gd name="T57" fmla="*/ 0 h 106"/>
                <a:gd name="T58" fmla="*/ 0 w 83"/>
                <a:gd name="T59" fmla="*/ 0 h 106"/>
                <a:gd name="T60" fmla="*/ 0 w 83"/>
                <a:gd name="T61" fmla="*/ 0 h 106"/>
                <a:gd name="T62" fmla="*/ 0 w 83"/>
                <a:gd name="T63" fmla="*/ 0 h 106"/>
                <a:gd name="T64" fmla="*/ 0 w 83"/>
                <a:gd name="T65" fmla="*/ 0 h 106"/>
                <a:gd name="T66" fmla="*/ 0 w 83"/>
                <a:gd name="T67" fmla="*/ 0 h 106"/>
                <a:gd name="T68" fmla="*/ 0 w 83"/>
                <a:gd name="T69" fmla="*/ 0 h 106"/>
                <a:gd name="T70" fmla="*/ 0 w 83"/>
                <a:gd name="T71" fmla="*/ 0 h 106"/>
                <a:gd name="T72" fmla="*/ 0 w 83"/>
                <a:gd name="T73" fmla="*/ 0 h 106"/>
                <a:gd name="T74" fmla="*/ 0 w 83"/>
                <a:gd name="T75" fmla="*/ 0 h 106"/>
                <a:gd name="T76" fmla="*/ 0 w 83"/>
                <a:gd name="T77" fmla="*/ 0 h 106"/>
                <a:gd name="T78" fmla="*/ 0 w 83"/>
                <a:gd name="T79" fmla="*/ 0 h 106"/>
                <a:gd name="T80" fmla="*/ 0 w 83"/>
                <a:gd name="T81" fmla="*/ 0 h 106"/>
                <a:gd name="T82" fmla="*/ 0 w 83"/>
                <a:gd name="T83" fmla="*/ 0 h 106"/>
                <a:gd name="T84" fmla="*/ 0 w 83"/>
                <a:gd name="T85" fmla="*/ 0 h 106"/>
                <a:gd name="T86" fmla="*/ 2147483647 w 83"/>
                <a:gd name="T87" fmla="*/ 0 h 106"/>
                <a:gd name="T88" fmla="*/ 2147483647 w 83"/>
                <a:gd name="T89" fmla="*/ 0 h 106"/>
                <a:gd name="T90" fmla="*/ 2147483647 w 83"/>
                <a:gd name="T91" fmla="*/ 0 h 106"/>
                <a:gd name="T92" fmla="*/ 2147483647 w 83"/>
                <a:gd name="T93" fmla="*/ 0 h 106"/>
                <a:gd name="T94" fmla="*/ 2147483647 w 83"/>
                <a:gd name="T95" fmla="*/ 0 h 106"/>
                <a:gd name="T96" fmla="*/ 2147483647 w 83"/>
                <a:gd name="T97" fmla="*/ 0 h 106"/>
                <a:gd name="T98" fmla="*/ 2147483647 w 83"/>
                <a:gd name="T99" fmla="*/ 0 h 106"/>
                <a:gd name="T100" fmla="*/ 0 w 83"/>
                <a:gd name="T101" fmla="*/ 0 h 106"/>
                <a:gd name="T102" fmla="*/ 0 w 83"/>
                <a:gd name="T103" fmla="*/ 0 h 10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"/>
                <a:gd name="T157" fmla="*/ 0 h 106"/>
                <a:gd name="T158" fmla="*/ 83 w 83"/>
                <a:gd name="T159" fmla="*/ 106 h 10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" h="106">
                  <a:moveTo>
                    <a:pt x="65" y="0"/>
                  </a:moveTo>
                  <a:lnTo>
                    <a:pt x="48" y="11"/>
                  </a:lnTo>
                  <a:lnTo>
                    <a:pt x="33" y="19"/>
                  </a:lnTo>
                  <a:lnTo>
                    <a:pt x="28" y="25"/>
                  </a:lnTo>
                  <a:lnTo>
                    <a:pt x="22" y="29"/>
                  </a:lnTo>
                  <a:lnTo>
                    <a:pt x="17" y="51"/>
                  </a:lnTo>
                  <a:lnTo>
                    <a:pt x="15" y="62"/>
                  </a:lnTo>
                  <a:lnTo>
                    <a:pt x="9" y="74"/>
                  </a:lnTo>
                  <a:lnTo>
                    <a:pt x="0" y="85"/>
                  </a:lnTo>
                  <a:lnTo>
                    <a:pt x="0" y="88"/>
                  </a:lnTo>
                  <a:lnTo>
                    <a:pt x="1" y="97"/>
                  </a:lnTo>
                  <a:lnTo>
                    <a:pt x="7" y="103"/>
                  </a:lnTo>
                  <a:lnTo>
                    <a:pt x="20" y="105"/>
                  </a:lnTo>
                  <a:lnTo>
                    <a:pt x="24" y="102"/>
                  </a:lnTo>
                  <a:lnTo>
                    <a:pt x="31" y="105"/>
                  </a:lnTo>
                  <a:lnTo>
                    <a:pt x="32" y="103"/>
                  </a:lnTo>
                  <a:lnTo>
                    <a:pt x="33" y="100"/>
                  </a:lnTo>
                  <a:lnTo>
                    <a:pt x="45" y="96"/>
                  </a:lnTo>
                  <a:lnTo>
                    <a:pt x="50" y="97"/>
                  </a:lnTo>
                  <a:lnTo>
                    <a:pt x="59" y="105"/>
                  </a:lnTo>
                  <a:lnTo>
                    <a:pt x="59" y="106"/>
                  </a:lnTo>
                  <a:lnTo>
                    <a:pt x="61" y="100"/>
                  </a:lnTo>
                  <a:lnTo>
                    <a:pt x="71" y="88"/>
                  </a:lnTo>
                  <a:lnTo>
                    <a:pt x="76" y="76"/>
                  </a:lnTo>
                  <a:lnTo>
                    <a:pt x="79" y="74"/>
                  </a:lnTo>
                  <a:lnTo>
                    <a:pt x="76" y="72"/>
                  </a:lnTo>
                  <a:lnTo>
                    <a:pt x="74" y="72"/>
                  </a:lnTo>
                  <a:lnTo>
                    <a:pt x="71" y="69"/>
                  </a:lnTo>
                  <a:lnTo>
                    <a:pt x="64" y="70"/>
                  </a:lnTo>
                  <a:lnTo>
                    <a:pt x="56" y="69"/>
                  </a:lnTo>
                  <a:lnTo>
                    <a:pt x="48" y="72"/>
                  </a:lnTo>
                  <a:lnTo>
                    <a:pt x="47" y="74"/>
                  </a:lnTo>
                  <a:lnTo>
                    <a:pt x="44" y="75"/>
                  </a:lnTo>
                  <a:lnTo>
                    <a:pt x="40" y="74"/>
                  </a:lnTo>
                  <a:lnTo>
                    <a:pt x="38" y="70"/>
                  </a:lnTo>
                  <a:lnTo>
                    <a:pt x="39" y="69"/>
                  </a:lnTo>
                  <a:lnTo>
                    <a:pt x="44" y="70"/>
                  </a:lnTo>
                  <a:lnTo>
                    <a:pt x="47" y="70"/>
                  </a:lnTo>
                  <a:lnTo>
                    <a:pt x="48" y="67"/>
                  </a:lnTo>
                  <a:lnTo>
                    <a:pt x="53" y="59"/>
                  </a:lnTo>
                  <a:lnTo>
                    <a:pt x="56" y="57"/>
                  </a:lnTo>
                  <a:lnTo>
                    <a:pt x="61" y="57"/>
                  </a:lnTo>
                  <a:lnTo>
                    <a:pt x="66" y="51"/>
                  </a:lnTo>
                  <a:lnTo>
                    <a:pt x="77" y="48"/>
                  </a:lnTo>
                  <a:lnTo>
                    <a:pt x="83" y="45"/>
                  </a:lnTo>
                  <a:lnTo>
                    <a:pt x="83" y="38"/>
                  </a:lnTo>
                  <a:lnTo>
                    <a:pt x="81" y="22"/>
                  </a:lnTo>
                  <a:lnTo>
                    <a:pt x="80" y="20"/>
                  </a:lnTo>
                  <a:lnTo>
                    <a:pt x="75" y="16"/>
                  </a:lnTo>
                  <a:lnTo>
                    <a:pt x="71" y="9"/>
                  </a:lnTo>
                  <a:lnTo>
                    <a:pt x="67" y="5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34" name="Freeform 135">
              <a:extLst>
                <a:ext uri="{FF2B5EF4-FFF2-40B4-BE49-F238E27FC236}">
                  <a16:creationId xmlns:a16="http://schemas.microsoft.com/office/drawing/2014/main" id="{AE60C35E-E873-4236-65CD-978203DE20A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793935" y="3188687"/>
              <a:ext cx="50740" cy="65541"/>
            </a:xfrm>
            <a:custGeom>
              <a:avLst/>
              <a:gdLst>
                <a:gd name="T0" fmla="*/ 0 w 95"/>
                <a:gd name="T1" fmla="*/ 2147483647 h 116"/>
                <a:gd name="T2" fmla="*/ 0 w 95"/>
                <a:gd name="T3" fmla="*/ 2147483647 h 116"/>
                <a:gd name="T4" fmla="*/ 2147483647 w 95"/>
                <a:gd name="T5" fmla="*/ 2147483647 h 116"/>
                <a:gd name="T6" fmla="*/ 2147483647 w 95"/>
                <a:gd name="T7" fmla="*/ 2147483647 h 116"/>
                <a:gd name="T8" fmla="*/ 2147483647 w 95"/>
                <a:gd name="T9" fmla="*/ 0 h 116"/>
                <a:gd name="T10" fmla="*/ 2147483647 w 95"/>
                <a:gd name="T11" fmla="*/ 0 h 116"/>
                <a:gd name="T12" fmla="*/ 2147483647 w 95"/>
                <a:gd name="T13" fmla="*/ 0 h 116"/>
                <a:gd name="T14" fmla="*/ 2147483647 w 95"/>
                <a:gd name="T15" fmla="*/ 0 h 116"/>
                <a:gd name="T16" fmla="*/ 2147483647 w 95"/>
                <a:gd name="T17" fmla="*/ 0 h 116"/>
                <a:gd name="T18" fmla="*/ 2147483647 w 95"/>
                <a:gd name="T19" fmla="*/ 0 h 116"/>
                <a:gd name="T20" fmla="*/ 2147483647 w 95"/>
                <a:gd name="T21" fmla="*/ 0 h 116"/>
                <a:gd name="T22" fmla="*/ 2147483647 w 95"/>
                <a:gd name="T23" fmla="*/ 0 h 116"/>
                <a:gd name="T24" fmla="*/ 2147483647 w 95"/>
                <a:gd name="T25" fmla="*/ 0 h 116"/>
                <a:gd name="T26" fmla="*/ 2147483647 w 95"/>
                <a:gd name="T27" fmla="*/ 0 h 116"/>
                <a:gd name="T28" fmla="*/ 2147483647 w 95"/>
                <a:gd name="T29" fmla="*/ 0 h 116"/>
                <a:gd name="T30" fmla="*/ 2147483647 w 95"/>
                <a:gd name="T31" fmla="*/ 0 h 116"/>
                <a:gd name="T32" fmla="*/ 2147483647 w 95"/>
                <a:gd name="T33" fmla="*/ 0 h 116"/>
                <a:gd name="T34" fmla="*/ 2147483647 w 95"/>
                <a:gd name="T35" fmla="*/ 0 h 116"/>
                <a:gd name="T36" fmla="*/ 2147483647 w 95"/>
                <a:gd name="T37" fmla="*/ 0 h 116"/>
                <a:gd name="T38" fmla="*/ 2147483647 w 95"/>
                <a:gd name="T39" fmla="*/ 0 h 116"/>
                <a:gd name="T40" fmla="*/ 2147483647 w 95"/>
                <a:gd name="T41" fmla="*/ 0 h 116"/>
                <a:gd name="T42" fmla="*/ 2147483647 w 95"/>
                <a:gd name="T43" fmla="*/ 0 h 116"/>
                <a:gd name="T44" fmla="*/ 2147483647 w 95"/>
                <a:gd name="T45" fmla="*/ 0 h 116"/>
                <a:gd name="T46" fmla="*/ 0 w 95"/>
                <a:gd name="T47" fmla="*/ 0 h 116"/>
                <a:gd name="T48" fmla="*/ 0 w 95"/>
                <a:gd name="T49" fmla="*/ 0 h 116"/>
                <a:gd name="T50" fmla="*/ 0 w 95"/>
                <a:gd name="T51" fmla="*/ 0 h 116"/>
                <a:gd name="T52" fmla="*/ 0 w 95"/>
                <a:gd name="T53" fmla="*/ 0 h 116"/>
                <a:gd name="T54" fmla="*/ 0 w 95"/>
                <a:gd name="T55" fmla="*/ 2147483647 h 116"/>
                <a:gd name="T56" fmla="*/ 0 w 95"/>
                <a:gd name="T57" fmla="*/ 2147483647 h 116"/>
                <a:gd name="T58" fmla="*/ 0 w 95"/>
                <a:gd name="T59" fmla="*/ 2147483647 h 116"/>
                <a:gd name="T60" fmla="*/ 0 w 95"/>
                <a:gd name="T61" fmla="*/ 2147483647 h 116"/>
                <a:gd name="T62" fmla="*/ 0 w 95"/>
                <a:gd name="T63" fmla="*/ 2147483647 h 116"/>
                <a:gd name="T64" fmla="*/ 0 w 95"/>
                <a:gd name="T65" fmla="*/ 2147483647 h 116"/>
                <a:gd name="T66" fmla="*/ 0 w 95"/>
                <a:gd name="T67" fmla="*/ 2147483647 h 11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95"/>
                <a:gd name="T103" fmla="*/ 0 h 116"/>
                <a:gd name="T104" fmla="*/ 95 w 95"/>
                <a:gd name="T105" fmla="*/ 116 h 11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95" h="116">
                  <a:moveTo>
                    <a:pt x="32" y="102"/>
                  </a:moveTo>
                  <a:lnTo>
                    <a:pt x="39" y="96"/>
                  </a:lnTo>
                  <a:lnTo>
                    <a:pt x="44" y="95"/>
                  </a:lnTo>
                  <a:lnTo>
                    <a:pt x="45" y="93"/>
                  </a:lnTo>
                  <a:lnTo>
                    <a:pt x="52" y="88"/>
                  </a:lnTo>
                  <a:lnTo>
                    <a:pt x="55" y="83"/>
                  </a:lnTo>
                  <a:lnTo>
                    <a:pt x="58" y="83"/>
                  </a:lnTo>
                  <a:lnTo>
                    <a:pt x="58" y="78"/>
                  </a:lnTo>
                  <a:lnTo>
                    <a:pt x="53" y="75"/>
                  </a:lnTo>
                  <a:lnTo>
                    <a:pt x="55" y="69"/>
                  </a:lnTo>
                  <a:lnTo>
                    <a:pt x="58" y="68"/>
                  </a:lnTo>
                  <a:lnTo>
                    <a:pt x="59" y="63"/>
                  </a:lnTo>
                  <a:lnTo>
                    <a:pt x="72" y="62"/>
                  </a:lnTo>
                  <a:lnTo>
                    <a:pt x="77" y="63"/>
                  </a:lnTo>
                  <a:lnTo>
                    <a:pt x="79" y="62"/>
                  </a:lnTo>
                  <a:lnTo>
                    <a:pt x="80" y="62"/>
                  </a:lnTo>
                  <a:lnTo>
                    <a:pt x="77" y="59"/>
                  </a:lnTo>
                  <a:lnTo>
                    <a:pt x="72" y="56"/>
                  </a:lnTo>
                  <a:lnTo>
                    <a:pt x="74" y="53"/>
                  </a:lnTo>
                  <a:lnTo>
                    <a:pt x="77" y="52"/>
                  </a:lnTo>
                  <a:lnTo>
                    <a:pt x="77" y="48"/>
                  </a:lnTo>
                  <a:lnTo>
                    <a:pt x="82" y="47"/>
                  </a:lnTo>
                  <a:lnTo>
                    <a:pt x="87" y="42"/>
                  </a:lnTo>
                  <a:lnTo>
                    <a:pt x="90" y="42"/>
                  </a:lnTo>
                  <a:lnTo>
                    <a:pt x="91" y="38"/>
                  </a:lnTo>
                  <a:lnTo>
                    <a:pt x="95" y="36"/>
                  </a:lnTo>
                  <a:lnTo>
                    <a:pt x="91" y="34"/>
                  </a:lnTo>
                  <a:lnTo>
                    <a:pt x="92" y="30"/>
                  </a:lnTo>
                  <a:lnTo>
                    <a:pt x="88" y="25"/>
                  </a:lnTo>
                  <a:lnTo>
                    <a:pt x="90" y="21"/>
                  </a:lnTo>
                  <a:lnTo>
                    <a:pt x="85" y="19"/>
                  </a:lnTo>
                  <a:lnTo>
                    <a:pt x="84" y="15"/>
                  </a:lnTo>
                  <a:lnTo>
                    <a:pt x="77" y="15"/>
                  </a:lnTo>
                  <a:lnTo>
                    <a:pt x="77" y="13"/>
                  </a:lnTo>
                  <a:lnTo>
                    <a:pt x="81" y="10"/>
                  </a:lnTo>
                  <a:lnTo>
                    <a:pt x="81" y="9"/>
                  </a:lnTo>
                  <a:lnTo>
                    <a:pt x="85" y="9"/>
                  </a:lnTo>
                  <a:lnTo>
                    <a:pt x="85" y="7"/>
                  </a:lnTo>
                  <a:lnTo>
                    <a:pt x="84" y="4"/>
                  </a:lnTo>
                  <a:lnTo>
                    <a:pt x="79" y="4"/>
                  </a:lnTo>
                  <a:lnTo>
                    <a:pt x="77" y="0"/>
                  </a:lnTo>
                  <a:lnTo>
                    <a:pt x="75" y="0"/>
                  </a:lnTo>
                  <a:lnTo>
                    <a:pt x="72" y="4"/>
                  </a:lnTo>
                  <a:lnTo>
                    <a:pt x="55" y="4"/>
                  </a:lnTo>
                  <a:lnTo>
                    <a:pt x="58" y="14"/>
                  </a:lnTo>
                  <a:lnTo>
                    <a:pt x="48" y="21"/>
                  </a:lnTo>
                  <a:lnTo>
                    <a:pt x="41" y="29"/>
                  </a:lnTo>
                  <a:lnTo>
                    <a:pt x="33" y="53"/>
                  </a:lnTo>
                  <a:lnTo>
                    <a:pt x="27" y="54"/>
                  </a:lnTo>
                  <a:lnTo>
                    <a:pt x="27" y="58"/>
                  </a:lnTo>
                  <a:lnTo>
                    <a:pt x="25" y="58"/>
                  </a:lnTo>
                  <a:lnTo>
                    <a:pt x="22" y="63"/>
                  </a:lnTo>
                  <a:lnTo>
                    <a:pt x="17" y="73"/>
                  </a:lnTo>
                  <a:lnTo>
                    <a:pt x="16" y="77"/>
                  </a:lnTo>
                  <a:lnTo>
                    <a:pt x="11" y="85"/>
                  </a:lnTo>
                  <a:lnTo>
                    <a:pt x="6" y="99"/>
                  </a:lnTo>
                  <a:lnTo>
                    <a:pt x="1" y="106"/>
                  </a:lnTo>
                  <a:lnTo>
                    <a:pt x="0" y="111"/>
                  </a:lnTo>
                  <a:lnTo>
                    <a:pt x="2" y="113"/>
                  </a:lnTo>
                  <a:lnTo>
                    <a:pt x="14" y="112"/>
                  </a:lnTo>
                  <a:lnTo>
                    <a:pt x="16" y="116"/>
                  </a:lnTo>
                  <a:lnTo>
                    <a:pt x="18" y="116"/>
                  </a:lnTo>
                  <a:lnTo>
                    <a:pt x="21" y="113"/>
                  </a:lnTo>
                  <a:lnTo>
                    <a:pt x="26" y="115"/>
                  </a:lnTo>
                  <a:lnTo>
                    <a:pt x="27" y="101"/>
                  </a:lnTo>
                  <a:lnTo>
                    <a:pt x="29" y="99"/>
                  </a:lnTo>
                  <a:lnTo>
                    <a:pt x="31" y="100"/>
                  </a:lnTo>
                  <a:lnTo>
                    <a:pt x="32" y="10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35" name="Freeform 137">
              <a:extLst>
                <a:ext uri="{FF2B5EF4-FFF2-40B4-BE49-F238E27FC236}">
                  <a16:creationId xmlns:a16="http://schemas.microsoft.com/office/drawing/2014/main" id="{D6DE4D9A-7148-7ED5-826D-094320F5BD7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787965" y="3274044"/>
              <a:ext cx="20893" cy="44202"/>
            </a:xfrm>
            <a:custGeom>
              <a:avLst/>
              <a:gdLst>
                <a:gd name="T0" fmla="*/ 0 w 37"/>
                <a:gd name="T1" fmla="*/ 0 h 80"/>
                <a:gd name="T2" fmla="*/ 0 w 37"/>
                <a:gd name="T3" fmla="*/ 0 h 80"/>
                <a:gd name="T4" fmla="*/ 0 w 37"/>
                <a:gd name="T5" fmla="*/ 0 h 80"/>
                <a:gd name="T6" fmla="*/ 0 w 37"/>
                <a:gd name="T7" fmla="*/ 0 h 80"/>
                <a:gd name="T8" fmla="*/ 0 w 37"/>
                <a:gd name="T9" fmla="*/ 0 h 80"/>
                <a:gd name="T10" fmla="*/ 0 w 37"/>
                <a:gd name="T11" fmla="*/ 0 h 80"/>
                <a:gd name="T12" fmla="*/ 0 w 37"/>
                <a:gd name="T13" fmla="*/ 0 h 80"/>
                <a:gd name="T14" fmla="*/ 0 w 37"/>
                <a:gd name="T15" fmla="*/ 0 h 80"/>
                <a:gd name="T16" fmla="*/ 0 w 37"/>
                <a:gd name="T17" fmla="*/ 0 h 80"/>
                <a:gd name="T18" fmla="*/ 0 w 37"/>
                <a:gd name="T19" fmla="*/ 0 h 80"/>
                <a:gd name="T20" fmla="*/ 0 w 37"/>
                <a:gd name="T21" fmla="*/ 0 h 80"/>
                <a:gd name="T22" fmla="*/ 0 w 37"/>
                <a:gd name="T23" fmla="*/ 0 h 80"/>
                <a:gd name="T24" fmla="*/ 0 w 37"/>
                <a:gd name="T25" fmla="*/ 0 h 80"/>
                <a:gd name="T26" fmla="*/ 0 w 37"/>
                <a:gd name="T27" fmla="*/ 0 h 80"/>
                <a:gd name="T28" fmla="*/ 0 w 37"/>
                <a:gd name="T29" fmla="*/ 0 h 80"/>
                <a:gd name="T30" fmla="*/ 0 w 37"/>
                <a:gd name="T31" fmla="*/ 0 h 80"/>
                <a:gd name="T32" fmla="*/ 0 w 37"/>
                <a:gd name="T33" fmla="*/ 0 h 80"/>
                <a:gd name="T34" fmla="*/ 0 w 37"/>
                <a:gd name="T35" fmla="*/ 0 h 80"/>
                <a:gd name="T36" fmla="*/ 0 w 37"/>
                <a:gd name="T37" fmla="*/ 0 h 80"/>
                <a:gd name="T38" fmla="*/ 0 w 37"/>
                <a:gd name="T39" fmla="*/ 0 h 80"/>
                <a:gd name="T40" fmla="*/ 0 w 37"/>
                <a:gd name="T41" fmla="*/ 0 h 80"/>
                <a:gd name="T42" fmla="*/ 0 w 37"/>
                <a:gd name="T43" fmla="*/ 0 h 80"/>
                <a:gd name="T44" fmla="*/ 0 w 37"/>
                <a:gd name="T45" fmla="*/ 0 h 80"/>
                <a:gd name="T46" fmla="*/ 0 w 37"/>
                <a:gd name="T47" fmla="*/ 0 h 80"/>
                <a:gd name="T48" fmla="*/ 0 w 37"/>
                <a:gd name="T49" fmla="*/ 0 h 80"/>
                <a:gd name="T50" fmla="*/ 0 w 37"/>
                <a:gd name="T51" fmla="*/ 0 h 80"/>
                <a:gd name="T52" fmla="*/ 0 w 37"/>
                <a:gd name="T53" fmla="*/ 0 h 80"/>
                <a:gd name="T54" fmla="*/ 0 w 37"/>
                <a:gd name="T55" fmla="*/ 0 h 80"/>
                <a:gd name="T56" fmla="*/ 0 w 37"/>
                <a:gd name="T57" fmla="*/ 0 h 80"/>
                <a:gd name="T58" fmla="*/ 0 w 37"/>
                <a:gd name="T59" fmla="*/ 0 h 80"/>
                <a:gd name="T60" fmla="*/ 0 w 37"/>
                <a:gd name="T61" fmla="*/ 0 h 80"/>
                <a:gd name="T62" fmla="*/ 0 w 37"/>
                <a:gd name="T63" fmla="*/ 0 h 80"/>
                <a:gd name="T64" fmla="*/ 0 w 37"/>
                <a:gd name="T65" fmla="*/ 0 h 80"/>
                <a:gd name="T66" fmla="*/ 0 w 37"/>
                <a:gd name="T67" fmla="*/ 0 h 80"/>
                <a:gd name="T68" fmla="*/ 0 w 37"/>
                <a:gd name="T69" fmla="*/ 0 h 80"/>
                <a:gd name="T70" fmla="*/ 0 w 37"/>
                <a:gd name="T71" fmla="*/ 0 h 80"/>
                <a:gd name="T72" fmla="*/ 0 w 37"/>
                <a:gd name="T73" fmla="*/ 0 h 8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7"/>
                <a:gd name="T112" fmla="*/ 0 h 80"/>
                <a:gd name="T113" fmla="*/ 37 w 37"/>
                <a:gd name="T114" fmla="*/ 80 h 8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7" h="80">
                  <a:moveTo>
                    <a:pt x="30" y="66"/>
                  </a:moveTo>
                  <a:lnTo>
                    <a:pt x="32" y="64"/>
                  </a:lnTo>
                  <a:lnTo>
                    <a:pt x="33" y="55"/>
                  </a:lnTo>
                  <a:lnTo>
                    <a:pt x="36" y="49"/>
                  </a:lnTo>
                  <a:lnTo>
                    <a:pt x="33" y="40"/>
                  </a:lnTo>
                  <a:lnTo>
                    <a:pt x="35" y="29"/>
                  </a:lnTo>
                  <a:lnTo>
                    <a:pt x="36" y="21"/>
                  </a:lnTo>
                  <a:lnTo>
                    <a:pt x="37" y="12"/>
                  </a:lnTo>
                  <a:lnTo>
                    <a:pt x="37" y="10"/>
                  </a:lnTo>
                  <a:lnTo>
                    <a:pt x="33" y="10"/>
                  </a:lnTo>
                  <a:lnTo>
                    <a:pt x="30" y="7"/>
                  </a:lnTo>
                  <a:lnTo>
                    <a:pt x="28" y="0"/>
                  </a:lnTo>
                  <a:lnTo>
                    <a:pt x="24" y="1"/>
                  </a:lnTo>
                  <a:lnTo>
                    <a:pt x="16" y="0"/>
                  </a:lnTo>
                  <a:lnTo>
                    <a:pt x="12" y="1"/>
                  </a:lnTo>
                  <a:lnTo>
                    <a:pt x="10" y="3"/>
                  </a:lnTo>
                  <a:lnTo>
                    <a:pt x="10" y="13"/>
                  </a:lnTo>
                  <a:lnTo>
                    <a:pt x="4" y="19"/>
                  </a:lnTo>
                  <a:lnTo>
                    <a:pt x="4" y="34"/>
                  </a:lnTo>
                  <a:lnTo>
                    <a:pt x="6" y="39"/>
                  </a:lnTo>
                  <a:lnTo>
                    <a:pt x="5" y="45"/>
                  </a:lnTo>
                  <a:lnTo>
                    <a:pt x="15" y="44"/>
                  </a:lnTo>
                  <a:lnTo>
                    <a:pt x="19" y="45"/>
                  </a:lnTo>
                  <a:lnTo>
                    <a:pt x="19" y="48"/>
                  </a:lnTo>
                  <a:lnTo>
                    <a:pt x="17" y="49"/>
                  </a:lnTo>
                  <a:lnTo>
                    <a:pt x="11" y="50"/>
                  </a:lnTo>
                  <a:lnTo>
                    <a:pt x="8" y="53"/>
                  </a:lnTo>
                  <a:lnTo>
                    <a:pt x="6" y="56"/>
                  </a:lnTo>
                  <a:lnTo>
                    <a:pt x="4" y="65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16" y="75"/>
                  </a:lnTo>
                  <a:lnTo>
                    <a:pt x="26" y="66"/>
                  </a:lnTo>
                  <a:lnTo>
                    <a:pt x="30" y="6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36" name="Freeform 138">
              <a:extLst>
                <a:ext uri="{FF2B5EF4-FFF2-40B4-BE49-F238E27FC236}">
                  <a16:creationId xmlns:a16="http://schemas.microsoft.com/office/drawing/2014/main" id="{0D542931-E779-A06D-61DE-8D58222A54F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767073" y="3310625"/>
              <a:ext cx="10446" cy="13717"/>
            </a:xfrm>
            <a:custGeom>
              <a:avLst/>
              <a:gdLst>
                <a:gd name="T0" fmla="*/ 0 w 18"/>
                <a:gd name="T1" fmla="*/ 0 h 24"/>
                <a:gd name="T2" fmla="*/ 0 w 18"/>
                <a:gd name="T3" fmla="*/ 0 h 24"/>
                <a:gd name="T4" fmla="*/ 0 w 18"/>
                <a:gd name="T5" fmla="*/ 0 h 24"/>
                <a:gd name="T6" fmla="*/ 0 w 18"/>
                <a:gd name="T7" fmla="*/ 0 h 24"/>
                <a:gd name="T8" fmla="*/ 0 w 18"/>
                <a:gd name="T9" fmla="*/ 0 h 24"/>
                <a:gd name="T10" fmla="*/ 0 w 18"/>
                <a:gd name="T11" fmla="*/ 0 h 24"/>
                <a:gd name="T12" fmla="*/ 0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" y="24"/>
                  </a:moveTo>
                  <a:lnTo>
                    <a:pt x="8" y="21"/>
                  </a:lnTo>
                  <a:lnTo>
                    <a:pt x="7" y="16"/>
                  </a:lnTo>
                  <a:lnTo>
                    <a:pt x="18" y="5"/>
                  </a:lnTo>
                  <a:lnTo>
                    <a:pt x="14" y="0"/>
                  </a:lnTo>
                  <a:lnTo>
                    <a:pt x="0" y="14"/>
                  </a:lnTo>
                  <a:lnTo>
                    <a:pt x="1" y="2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37" name="Freeform 139">
              <a:extLst>
                <a:ext uri="{FF2B5EF4-FFF2-40B4-BE49-F238E27FC236}">
                  <a16:creationId xmlns:a16="http://schemas.microsoft.com/office/drawing/2014/main" id="{618105BA-CDB7-AED3-2B85-DA4DA2811E3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771549" y="3245083"/>
              <a:ext cx="41786" cy="144801"/>
            </a:xfrm>
            <a:custGeom>
              <a:avLst/>
              <a:gdLst>
                <a:gd name="T0" fmla="*/ 0 w 81"/>
                <a:gd name="T1" fmla="*/ 0 h 251"/>
                <a:gd name="T2" fmla="*/ 0 w 81"/>
                <a:gd name="T3" fmla="*/ 0 h 251"/>
                <a:gd name="T4" fmla="*/ 0 w 81"/>
                <a:gd name="T5" fmla="*/ 0 h 251"/>
                <a:gd name="T6" fmla="*/ 0 w 81"/>
                <a:gd name="T7" fmla="*/ 0 h 251"/>
                <a:gd name="T8" fmla="*/ 0 w 81"/>
                <a:gd name="T9" fmla="*/ 0 h 251"/>
                <a:gd name="T10" fmla="*/ 0 w 81"/>
                <a:gd name="T11" fmla="*/ 0 h 251"/>
                <a:gd name="T12" fmla="*/ 0 w 81"/>
                <a:gd name="T13" fmla="*/ 0 h 251"/>
                <a:gd name="T14" fmla="*/ 0 w 81"/>
                <a:gd name="T15" fmla="*/ 0 h 251"/>
                <a:gd name="T16" fmla="*/ 0 w 81"/>
                <a:gd name="T17" fmla="*/ 0 h 251"/>
                <a:gd name="T18" fmla="*/ 0 w 81"/>
                <a:gd name="T19" fmla="*/ 0 h 251"/>
                <a:gd name="T20" fmla="*/ 0 w 81"/>
                <a:gd name="T21" fmla="*/ 0 h 251"/>
                <a:gd name="T22" fmla="*/ 0 w 81"/>
                <a:gd name="T23" fmla="*/ 0 h 251"/>
                <a:gd name="T24" fmla="*/ 0 w 81"/>
                <a:gd name="T25" fmla="*/ 0 h 251"/>
                <a:gd name="T26" fmla="*/ 0 w 81"/>
                <a:gd name="T27" fmla="*/ 0 h 251"/>
                <a:gd name="T28" fmla="*/ 0 w 81"/>
                <a:gd name="T29" fmla="*/ 0 h 251"/>
                <a:gd name="T30" fmla="*/ 0 w 81"/>
                <a:gd name="T31" fmla="*/ 0 h 251"/>
                <a:gd name="T32" fmla="*/ 0 w 81"/>
                <a:gd name="T33" fmla="*/ 0 h 251"/>
                <a:gd name="T34" fmla="*/ 0 w 81"/>
                <a:gd name="T35" fmla="*/ 0 h 251"/>
                <a:gd name="T36" fmla="*/ 0 w 81"/>
                <a:gd name="T37" fmla="*/ 0 h 251"/>
                <a:gd name="T38" fmla="*/ 0 w 81"/>
                <a:gd name="T39" fmla="*/ 0 h 251"/>
                <a:gd name="T40" fmla="*/ 0 w 81"/>
                <a:gd name="T41" fmla="*/ 0 h 251"/>
                <a:gd name="T42" fmla="*/ 0 w 81"/>
                <a:gd name="T43" fmla="*/ 0 h 251"/>
                <a:gd name="T44" fmla="*/ 0 w 81"/>
                <a:gd name="T45" fmla="*/ 0 h 251"/>
                <a:gd name="T46" fmla="*/ 0 w 81"/>
                <a:gd name="T47" fmla="*/ 0 h 251"/>
                <a:gd name="T48" fmla="*/ 0 w 81"/>
                <a:gd name="T49" fmla="*/ 0 h 251"/>
                <a:gd name="T50" fmla="*/ 0 w 81"/>
                <a:gd name="T51" fmla="*/ 0 h 251"/>
                <a:gd name="T52" fmla="*/ 0 w 81"/>
                <a:gd name="T53" fmla="*/ 0 h 251"/>
                <a:gd name="T54" fmla="*/ 0 w 81"/>
                <a:gd name="T55" fmla="*/ 0 h 251"/>
                <a:gd name="T56" fmla="*/ 0 w 81"/>
                <a:gd name="T57" fmla="*/ 0 h 251"/>
                <a:gd name="T58" fmla="*/ 0 w 81"/>
                <a:gd name="T59" fmla="*/ 0 h 251"/>
                <a:gd name="T60" fmla="*/ 0 w 81"/>
                <a:gd name="T61" fmla="*/ 0 h 251"/>
                <a:gd name="T62" fmla="*/ 0 w 81"/>
                <a:gd name="T63" fmla="*/ 0 h 251"/>
                <a:gd name="T64" fmla="*/ 0 w 81"/>
                <a:gd name="T65" fmla="*/ 0 h 251"/>
                <a:gd name="T66" fmla="*/ 0 w 81"/>
                <a:gd name="T67" fmla="*/ 0 h 25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81"/>
                <a:gd name="T103" fmla="*/ 0 h 251"/>
                <a:gd name="T104" fmla="*/ 81 w 81"/>
                <a:gd name="T105" fmla="*/ 251 h 251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81" h="251">
                  <a:moveTo>
                    <a:pt x="44" y="248"/>
                  </a:moveTo>
                  <a:lnTo>
                    <a:pt x="45" y="242"/>
                  </a:lnTo>
                  <a:lnTo>
                    <a:pt x="49" y="232"/>
                  </a:lnTo>
                  <a:lnTo>
                    <a:pt x="55" y="178"/>
                  </a:lnTo>
                  <a:lnTo>
                    <a:pt x="61" y="158"/>
                  </a:lnTo>
                  <a:lnTo>
                    <a:pt x="70" y="140"/>
                  </a:lnTo>
                  <a:lnTo>
                    <a:pt x="67" y="132"/>
                  </a:lnTo>
                  <a:lnTo>
                    <a:pt x="71" y="119"/>
                  </a:lnTo>
                  <a:lnTo>
                    <a:pt x="69" y="115"/>
                  </a:lnTo>
                  <a:lnTo>
                    <a:pt x="65" y="115"/>
                  </a:lnTo>
                  <a:lnTo>
                    <a:pt x="55" y="124"/>
                  </a:lnTo>
                  <a:lnTo>
                    <a:pt x="43" y="125"/>
                  </a:lnTo>
                  <a:lnTo>
                    <a:pt x="43" y="129"/>
                  </a:lnTo>
                  <a:lnTo>
                    <a:pt x="39" y="124"/>
                  </a:lnTo>
                  <a:lnTo>
                    <a:pt x="39" y="118"/>
                  </a:lnTo>
                  <a:lnTo>
                    <a:pt x="43" y="114"/>
                  </a:lnTo>
                  <a:lnTo>
                    <a:pt x="45" y="105"/>
                  </a:lnTo>
                  <a:lnTo>
                    <a:pt x="47" y="102"/>
                  </a:lnTo>
                  <a:lnTo>
                    <a:pt x="50" y="99"/>
                  </a:lnTo>
                  <a:lnTo>
                    <a:pt x="56" y="98"/>
                  </a:lnTo>
                  <a:lnTo>
                    <a:pt x="58" y="97"/>
                  </a:lnTo>
                  <a:lnTo>
                    <a:pt x="58" y="94"/>
                  </a:lnTo>
                  <a:lnTo>
                    <a:pt x="54" y="93"/>
                  </a:lnTo>
                  <a:lnTo>
                    <a:pt x="44" y="94"/>
                  </a:lnTo>
                  <a:lnTo>
                    <a:pt x="45" y="88"/>
                  </a:lnTo>
                  <a:lnTo>
                    <a:pt x="43" y="83"/>
                  </a:lnTo>
                  <a:lnTo>
                    <a:pt x="43" y="68"/>
                  </a:lnTo>
                  <a:lnTo>
                    <a:pt x="49" y="62"/>
                  </a:lnTo>
                  <a:lnTo>
                    <a:pt x="49" y="52"/>
                  </a:lnTo>
                  <a:lnTo>
                    <a:pt x="51" y="50"/>
                  </a:lnTo>
                  <a:lnTo>
                    <a:pt x="55" y="49"/>
                  </a:lnTo>
                  <a:lnTo>
                    <a:pt x="63" y="50"/>
                  </a:lnTo>
                  <a:lnTo>
                    <a:pt x="67" y="49"/>
                  </a:lnTo>
                  <a:lnTo>
                    <a:pt x="69" y="56"/>
                  </a:lnTo>
                  <a:lnTo>
                    <a:pt x="72" y="59"/>
                  </a:lnTo>
                  <a:lnTo>
                    <a:pt x="76" y="59"/>
                  </a:lnTo>
                  <a:lnTo>
                    <a:pt x="76" y="39"/>
                  </a:lnTo>
                  <a:lnTo>
                    <a:pt x="81" y="33"/>
                  </a:lnTo>
                  <a:lnTo>
                    <a:pt x="78" y="27"/>
                  </a:lnTo>
                  <a:lnTo>
                    <a:pt x="80" y="22"/>
                  </a:lnTo>
                  <a:lnTo>
                    <a:pt x="78" y="17"/>
                  </a:lnTo>
                  <a:lnTo>
                    <a:pt x="81" y="13"/>
                  </a:lnTo>
                  <a:lnTo>
                    <a:pt x="81" y="3"/>
                  </a:lnTo>
                  <a:lnTo>
                    <a:pt x="80" y="1"/>
                  </a:lnTo>
                  <a:lnTo>
                    <a:pt x="78" y="0"/>
                  </a:lnTo>
                  <a:lnTo>
                    <a:pt x="76" y="2"/>
                  </a:lnTo>
                  <a:lnTo>
                    <a:pt x="75" y="16"/>
                  </a:lnTo>
                  <a:lnTo>
                    <a:pt x="70" y="14"/>
                  </a:lnTo>
                  <a:lnTo>
                    <a:pt x="67" y="17"/>
                  </a:lnTo>
                  <a:lnTo>
                    <a:pt x="65" y="17"/>
                  </a:lnTo>
                  <a:lnTo>
                    <a:pt x="63" y="13"/>
                  </a:lnTo>
                  <a:lnTo>
                    <a:pt x="51" y="14"/>
                  </a:lnTo>
                  <a:lnTo>
                    <a:pt x="49" y="12"/>
                  </a:lnTo>
                  <a:lnTo>
                    <a:pt x="47" y="17"/>
                  </a:lnTo>
                  <a:lnTo>
                    <a:pt x="47" y="27"/>
                  </a:lnTo>
                  <a:lnTo>
                    <a:pt x="39" y="41"/>
                  </a:lnTo>
                  <a:lnTo>
                    <a:pt x="38" y="49"/>
                  </a:lnTo>
                  <a:lnTo>
                    <a:pt x="29" y="80"/>
                  </a:lnTo>
                  <a:lnTo>
                    <a:pt x="22" y="104"/>
                  </a:lnTo>
                  <a:lnTo>
                    <a:pt x="13" y="113"/>
                  </a:lnTo>
                  <a:lnTo>
                    <a:pt x="17" y="118"/>
                  </a:lnTo>
                  <a:lnTo>
                    <a:pt x="6" y="129"/>
                  </a:lnTo>
                  <a:lnTo>
                    <a:pt x="7" y="134"/>
                  </a:lnTo>
                  <a:lnTo>
                    <a:pt x="0" y="137"/>
                  </a:lnTo>
                  <a:lnTo>
                    <a:pt x="1" y="142"/>
                  </a:lnTo>
                  <a:lnTo>
                    <a:pt x="4" y="148"/>
                  </a:lnTo>
                  <a:lnTo>
                    <a:pt x="23" y="206"/>
                  </a:lnTo>
                  <a:lnTo>
                    <a:pt x="39" y="251"/>
                  </a:lnTo>
                  <a:lnTo>
                    <a:pt x="44" y="24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38" name="Freeform 140">
              <a:extLst>
                <a:ext uri="{FF2B5EF4-FFF2-40B4-BE49-F238E27FC236}">
                  <a16:creationId xmlns:a16="http://schemas.microsoft.com/office/drawing/2014/main" id="{7DC749F1-6830-D775-2538-B37490E325E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137173" y="3363972"/>
              <a:ext cx="50740" cy="53348"/>
            </a:xfrm>
            <a:custGeom>
              <a:avLst/>
              <a:gdLst>
                <a:gd name="T0" fmla="*/ 2147483647 w 96"/>
                <a:gd name="T1" fmla="*/ 2147483647 h 95"/>
                <a:gd name="T2" fmla="*/ 2147483647 w 96"/>
                <a:gd name="T3" fmla="*/ 2147483647 h 95"/>
                <a:gd name="T4" fmla="*/ 2147483647 w 96"/>
                <a:gd name="T5" fmla="*/ 2147483647 h 95"/>
                <a:gd name="T6" fmla="*/ 2147483647 w 96"/>
                <a:gd name="T7" fmla="*/ 0 h 95"/>
                <a:gd name="T8" fmla="*/ 2147483647 w 96"/>
                <a:gd name="T9" fmla="*/ 0 h 95"/>
                <a:gd name="T10" fmla="*/ 2147483647 w 96"/>
                <a:gd name="T11" fmla="*/ 0 h 95"/>
                <a:gd name="T12" fmla="*/ 2147483647 w 96"/>
                <a:gd name="T13" fmla="*/ 0 h 95"/>
                <a:gd name="T14" fmla="*/ 2147483647 w 96"/>
                <a:gd name="T15" fmla="*/ 0 h 95"/>
                <a:gd name="T16" fmla="*/ 2147483647 w 96"/>
                <a:gd name="T17" fmla="*/ 0 h 95"/>
                <a:gd name="T18" fmla="*/ 2147483647 w 96"/>
                <a:gd name="T19" fmla="*/ 0 h 95"/>
                <a:gd name="T20" fmla="*/ 2147483647 w 96"/>
                <a:gd name="T21" fmla="*/ 0 h 95"/>
                <a:gd name="T22" fmla="*/ 2147483647 w 96"/>
                <a:gd name="T23" fmla="*/ 0 h 95"/>
                <a:gd name="T24" fmla="*/ 2147483647 w 96"/>
                <a:gd name="T25" fmla="*/ 0 h 95"/>
                <a:gd name="T26" fmla="*/ 2147483647 w 96"/>
                <a:gd name="T27" fmla="*/ 0 h 95"/>
                <a:gd name="T28" fmla="*/ 2147483647 w 96"/>
                <a:gd name="T29" fmla="*/ 0 h 95"/>
                <a:gd name="T30" fmla="*/ 2147483647 w 96"/>
                <a:gd name="T31" fmla="*/ 0 h 95"/>
                <a:gd name="T32" fmla="*/ 2147483647 w 96"/>
                <a:gd name="T33" fmla="*/ 0 h 95"/>
                <a:gd name="T34" fmla="*/ 2147483647 w 96"/>
                <a:gd name="T35" fmla="*/ 0 h 95"/>
                <a:gd name="T36" fmla="*/ 2147483647 w 96"/>
                <a:gd name="T37" fmla="*/ 0 h 95"/>
                <a:gd name="T38" fmla="*/ 0 w 96"/>
                <a:gd name="T39" fmla="*/ 0 h 95"/>
                <a:gd name="T40" fmla="*/ 0 w 96"/>
                <a:gd name="T41" fmla="*/ 0 h 95"/>
                <a:gd name="T42" fmla="*/ 0 w 96"/>
                <a:gd name="T43" fmla="*/ 0 h 95"/>
                <a:gd name="T44" fmla="*/ 0 w 96"/>
                <a:gd name="T45" fmla="*/ 0 h 95"/>
                <a:gd name="T46" fmla="*/ 0 w 96"/>
                <a:gd name="T47" fmla="*/ 0 h 95"/>
                <a:gd name="T48" fmla="*/ 0 w 96"/>
                <a:gd name="T49" fmla="*/ 0 h 95"/>
                <a:gd name="T50" fmla="*/ 0 w 96"/>
                <a:gd name="T51" fmla="*/ 0 h 95"/>
                <a:gd name="T52" fmla="*/ 2147483647 w 96"/>
                <a:gd name="T53" fmla="*/ 2147483647 h 95"/>
                <a:gd name="T54" fmla="*/ 2147483647 w 96"/>
                <a:gd name="T55" fmla="*/ 2147483647 h 95"/>
                <a:gd name="T56" fmla="*/ 2147483647 w 96"/>
                <a:gd name="T57" fmla="*/ 2147483647 h 9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96"/>
                <a:gd name="T88" fmla="*/ 0 h 95"/>
                <a:gd name="T89" fmla="*/ 96 w 96"/>
                <a:gd name="T90" fmla="*/ 95 h 9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96" h="95">
                  <a:moveTo>
                    <a:pt x="96" y="95"/>
                  </a:moveTo>
                  <a:lnTo>
                    <a:pt x="94" y="84"/>
                  </a:lnTo>
                  <a:lnTo>
                    <a:pt x="90" y="81"/>
                  </a:lnTo>
                  <a:lnTo>
                    <a:pt x="86" y="73"/>
                  </a:lnTo>
                  <a:lnTo>
                    <a:pt x="81" y="52"/>
                  </a:lnTo>
                  <a:lnTo>
                    <a:pt x="73" y="48"/>
                  </a:lnTo>
                  <a:lnTo>
                    <a:pt x="62" y="47"/>
                  </a:lnTo>
                  <a:lnTo>
                    <a:pt x="64" y="42"/>
                  </a:lnTo>
                  <a:lnTo>
                    <a:pt x="67" y="39"/>
                  </a:lnTo>
                  <a:lnTo>
                    <a:pt x="73" y="36"/>
                  </a:lnTo>
                  <a:lnTo>
                    <a:pt x="85" y="33"/>
                  </a:lnTo>
                  <a:lnTo>
                    <a:pt x="92" y="26"/>
                  </a:lnTo>
                  <a:lnTo>
                    <a:pt x="92" y="22"/>
                  </a:lnTo>
                  <a:lnTo>
                    <a:pt x="90" y="18"/>
                  </a:lnTo>
                  <a:lnTo>
                    <a:pt x="79" y="11"/>
                  </a:lnTo>
                  <a:lnTo>
                    <a:pt x="78" y="6"/>
                  </a:lnTo>
                  <a:lnTo>
                    <a:pt x="79" y="5"/>
                  </a:lnTo>
                  <a:lnTo>
                    <a:pt x="67" y="1"/>
                  </a:lnTo>
                  <a:lnTo>
                    <a:pt x="53" y="0"/>
                  </a:lnTo>
                  <a:lnTo>
                    <a:pt x="38" y="6"/>
                  </a:lnTo>
                  <a:lnTo>
                    <a:pt x="26" y="23"/>
                  </a:lnTo>
                  <a:lnTo>
                    <a:pt x="16" y="43"/>
                  </a:lnTo>
                  <a:lnTo>
                    <a:pt x="0" y="59"/>
                  </a:lnTo>
                  <a:lnTo>
                    <a:pt x="4" y="61"/>
                  </a:lnTo>
                  <a:lnTo>
                    <a:pt x="26" y="65"/>
                  </a:lnTo>
                  <a:lnTo>
                    <a:pt x="46" y="73"/>
                  </a:lnTo>
                  <a:lnTo>
                    <a:pt x="53" y="80"/>
                  </a:lnTo>
                  <a:lnTo>
                    <a:pt x="63" y="95"/>
                  </a:lnTo>
                  <a:lnTo>
                    <a:pt x="96" y="9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39" name="Freeform 141">
              <a:extLst>
                <a:ext uri="{FF2B5EF4-FFF2-40B4-BE49-F238E27FC236}">
                  <a16:creationId xmlns:a16="http://schemas.microsoft.com/office/drawing/2014/main" id="{FE75069E-8A31-1CAE-F42A-BB00C948F88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786473" y="3287761"/>
              <a:ext cx="616338" cy="538050"/>
            </a:xfrm>
            <a:custGeom>
              <a:avLst/>
              <a:gdLst>
                <a:gd name="T0" fmla="*/ 0 w 15957"/>
                <a:gd name="T1" fmla="*/ 0 h 13229"/>
                <a:gd name="T2" fmla="*/ 0 w 15957"/>
                <a:gd name="T3" fmla="*/ 0 h 13229"/>
                <a:gd name="T4" fmla="*/ 0 w 15957"/>
                <a:gd name="T5" fmla="*/ 0 h 13229"/>
                <a:gd name="T6" fmla="*/ 0 w 15957"/>
                <a:gd name="T7" fmla="*/ 0 h 13229"/>
                <a:gd name="T8" fmla="*/ 0 w 15957"/>
                <a:gd name="T9" fmla="*/ 0 h 13229"/>
                <a:gd name="T10" fmla="*/ 0 w 15957"/>
                <a:gd name="T11" fmla="*/ 0 h 13229"/>
                <a:gd name="T12" fmla="*/ 0 w 15957"/>
                <a:gd name="T13" fmla="*/ 0 h 13229"/>
                <a:gd name="T14" fmla="*/ 0 w 15957"/>
                <a:gd name="T15" fmla="*/ 0 h 13229"/>
                <a:gd name="T16" fmla="*/ 0 w 15957"/>
                <a:gd name="T17" fmla="*/ 0 h 13229"/>
                <a:gd name="T18" fmla="*/ 0 w 15957"/>
                <a:gd name="T19" fmla="*/ 0 h 13229"/>
                <a:gd name="T20" fmla="*/ 0 w 15957"/>
                <a:gd name="T21" fmla="*/ 0 h 13229"/>
                <a:gd name="T22" fmla="*/ 0 w 15957"/>
                <a:gd name="T23" fmla="*/ 0 h 13229"/>
                <a:gd name="T24" fmla="*/ 0 w 15957"/>
                <a:gd name="T25" fmla="*/ 0 h 13229"/>
                <a:gd name="T26" fmla="*/ 0 w 15957"/>
                <a:gd name="T27" fmla="*/ 0 h 13229"/>
                <a:gd name="T28" fmla="*/ 0 w 15957"/>
                <a:gd name="T29" fmla="*/ 0 h 13229"/>
                <a:gd name="T30" fmla="*/ 0 w 15957"/>
                <a:gd name="T31" fmla="*/ 0 h 13229"/>
                <a:gd name="T32" fmla="*/ 0 w 15957"/>
                <a:gd name="T33" fmla="*/ 0 h 13229"/>
                <a:gd name="T34" fmla="*/ 0 w 15957"/>
                <a:gd name="T35" fmla="*/ 0 h 13229"/>
                <a:gd name="T36" fmla="*/ 0 w 15957"/>
                <a:gd name="T37" fmla="*/ 0 h 13229"/>
                <a:gd name="T38" fmla="*/ 0 w 15957"/>
                <a:gd name="T39" fmla="*/ 0 h 13229"/>
                <a:gd name="T40" fmla="*/ 0 w 15957"/>
                <a:gd name="T41" fmla="*/ 0 h 13229"/>
                <a:gd name="T42" fmla="*/ 0 w 15957"/>
                <a:gd name="T43" fmla="*/ 0 h 13229"/>
                <a:gd name="T44" fmla="*/ 0 w 15957"/>
                <a:gd name="T45" fmla="*/ 0 h 13229"/>
                <a:gd name="T46" fmla="*/ 0 w 15957"/>
                <a:gd name="T47" fmla="*/ 0 h 13229"/>
                <a:gd name="T48" fmla="*/ 0 w 15957"/>
                <a:gd name="T49" fmla="*/ 0 h 13229"/>
                <a:gd name="T50" fmla="*/ 0 w 15957"/>
                <a:gd name="T51" fmla="*/ 0 h 13229"/>
                <a:gd name="T52" fmla="*/ 0 w 15957"/>
                <a:gd name="T53" fmla="*/ 0 h 13229"/>
                <a:gd name="T54" fmla="*/ 0 w 15957"/>
                <a:gd name="T55" fmla="*/ 0 h 13229"/>
                <a:gd name="T56" fmla="*/ 0 w 15957"/>
                <a:gd name="T57" fmla="*/ 0 h 13229"/>
                <a:gd name="T58" fmla="*/ 0 w 15957"/>
                <a:gd name="T59" fmla="*/ 0 h 13229"/>
                <a:gd name="T60" fmla="*/ 0 w 15957"/>
                <a:gd name="T61" fmla="*/ 0 h 13229"/>
                <a:gd name="T62" fmla="*/ 0 w 15957"/>
                <a:gd name="T63" fmla="*/ 0 h 13229"/>
                <a:gd name="T64" fmla="*/ 0 w 15957"/>
                <a:gd name="T65" fmla="*/ 0 h 13229"/>
                <a:gd name="T66" fmla="*/ 0 w 15957"/>
                <a:gd name="T67" fmla="*/ 0 h 13229"/>
                <a:gd name="T68" fmla="*/ 0 w 15957"/>
                <a:gd name="T69" fmla="*/ 0 h 13229"/>
                <a:gd name="T70" fmla="*/ 0 w 15957"/>
                <a:gd name="T71" fmla="*/ 0 h 13229"/>
                <a:gd name="T72" fmla="*/ 0 w 15957"/>
                <a:gd name="T73" fmla="*/ 0 h 13229"/>
                <a:gd name="T74" fmla="*/ 0 w 15957"/>
                <a:gd name="T75" fmla="*/ 0 h 13229"/>
                <a:gd name="T76" fmla="*/ 0 w 15957"/>
                <a:gd name="T77" fmla="*/ 0 h 13229"/>
                <a:gd name="T78" fmla="*/ 0 w 15957"/>
                <a:gd name="T79" fmla="*/ 0 h 13229"/>
                <a:gd name="T80" fmla="*/ 0 w 15957"/>
                <a:gd name="T81" fmla="*/ 0 h 13229"/>
                <a:gd name="T82" fmla="*/ 0 w 15957"/>
                <a:gd name="T83" fmla="*/ 0 h 13229"/>
                <a:gd name="T84" fmla="*/ 0 w 15957"/>
                <a:gd name="T85" fmla="*/ 0 h 13229"/>
                <a:gd name="T86" fmla="*/ 0 w 15957"/>
                <a:gd name="T87" fmla="*/ 0 h 13229"/>
                <a:gd name="T88" fmla="*/ 0 w 15957"/>
                <a:gd name="T89" fmla="*/ 0 h 13229"/>
                <a:gd name="T90" fmla="*/ 0 w 15957"/>
                <a:gd name="T91" fmla="*/ 0 h 13229"/>
                <a:gd name="T92" fmla="*/ 0 w 15957"/>
                <a:gd name="T93" fmla="*/ 0 h 13229"/>
                <a:gd name="T94" fmla="*/ 0 w 15957"/>
                <a:gd name="T95" fmla="*/ 0 h 13229"/>
                <a:gd name="T96" fmla="*/ 0 w 15957"/>
                <a:gd name="T97" fmla="*/ 0 h 13229"/>
                <a:gd name="T98" fmla="*/ 0 w 15957"/>
                <a:gd name="T99" fmla="*/ 0 h 13229"/>
                <a:gd name="T100" fmla="*/ 0 w 15957"/>
                <a:gd name="T101" fmla="*/ 0 h 13229"/>
                <a:gd name="T102" fmla="*/ 0 w 15957"/>
                <a:gd name="T103" fmla="*/ 0 h 13229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5957"/>
                <a:gd name="T157" fmla="*/ 0 h 13229"/>
                <a:gd name="T158" fmla="*/ 15957 w 15957"/>
                <a:gd name="T159" fmla="*/ 13229 h 13229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5957" h="13229">
                  <a:moveTo>
                    <a:pt x="9071" y="2723"/>
                  </a:moveTo>
                  <a:lnTo>
                    <a:pt x="9131" y="2757"/>
                  </a:lnTo>
                  <a:lnTo>
                    <a:pt x="9432" y="2810"/>
                  </a:lnTo>
                  <a:lnTo>
                    <a:pt x="9706" y="2910"/>
                  </a:lnTo>
                  <a:lnTo>
                    <a:pt x="9809" y="2999"/>
                  </a:lnTo>
                  <a:lnTo>
                    <a:pt x="9934" y="3216"/>
                  </a:lnTo>
                  <a:lnTo>
                    <a:pt x="10393" y="3219"/>
                  </a:lnTo>
                  <a:lnTo>
                    <a:pt x="10455" y="3296"/>
                  </a:lnTo>
                  <a:lnTo>
                    <a:pt x="10504" y="3434"/>
                  </a:lnTo>
                  <a:lnTo>
                    <a:pt x="10545" y="3497"/>
                  </a:lnTo>
                  <a:lnTo>
                    <a:pt x="10573" y="3599"/>
                  </a:lnTo>
                  <a:lnTo>
                    <a:pt x="10697" y="3824"/>
                  </a:lnTo>
                  <a:lnTo>
                    <a:pt x="10817" y="3869"/>
                  </a:lnTo>
                  <a:lnTo>
                    <a:pt x="10903" y="4039"/>
                  </a:lnTo>
                  <a:lnTo>
                    <a:pt x="11097" y="4175"/>
                  </a:lnTo>
                  <a:lnTo>
                    <a:pt x="11100" y="4189"/>
                  </a:lnTo>
                  <a:lnTo>
                    <a:pt x="11062" y="4232"/>
                  </a:lnTo>
                  <a:lnTo>
                    <a:pt x="11097" y="4290"/>
                  </a:lnTo>
                  <a:lnTo>
                    <a:pt x="11134" y="4426"/>
                  </a:lnTo>
                  <a:lnTo>
                    <a:pt x="11258" y="4460"/>
                  </a:lnTo>
                  <a:lnTo>
                    <a:pt x="11313" y="4512"/>
                  </a:lnTo>
                  <a:lnTo>
                    <a:pt x="11537" y="4658"/>
                  </a:lnTo>
                  <a:lnTo>
                    <a:pt x="11613" y="4723"/>
                  </a:lnTo>
                  <a:lnTo>
                    <a:pt x="11663" y="4798"/>
                  </a:lnTo>
                  <a:lnTo>
                    <a:pt x="11680" y="4839"/>
                  </a:lnTo>
                  <a:lnTo>
                    <a:pt x="11658" y="4977"/>
                  </a:lnTo>
                  <a:lnTo>
                    <a:pt x="11764" y="5127"/>
                  </a:lnTo>
                  <a:lnTo>
                    <a:pt x="11788" y="5234"/>
                  </a:lnTo>
                  <a:lnTo>
                    <a:pt x="11781" y="5294"/>
                  </a:lnTo>
                  <a:lnTo>
                    <a:pt x="11711" y="5381"/>
                  </a:lnTo>
                  <a:lnTo>
                    <a:pt x="11715" y="5546"/>
                  </a:lnTo>
                  <a:lnTo>
                    <a:pt x="11824" y="5695"/>
                  </a:lnTo>
                  <a:lnTo>
                    <a:pt x="12016" y="5908"/>
                  </a:lnTo>
                  <a:lnTo>
                    <a:pt x="12063" y="6177"/>
                  </a:lnTo>
                  <a:lnTo>
                    <a:pt x="12135" y="6264"/>
                  </a:lnTo>
                  <a:lnTo>
                    <a:pt x="12147" y="6336"/>
                  </a:lnTo>
                  <a:lnTo>
                    <a:pt x="12184" y="6371"/>
                  </a:lnTo>
                  <a:lnTo>
                    <a:pt x="12207" y="6448"/>
                  </a:lnTo>
                  <a:lnTo>
                    <a:pt x="12243" y="6448"/>
                  </a:lnTo>
                  <a:lnTo>
                    <a:pt x="12348" y="6619"/>
                  </a:lnTo>
                  <a:lnTo>
                    <a:pt x="12423" y="6638"/>
                  </a:lnTo>
                  <a:lnTo>
                    <a:pt x="12480" y="6842"/>
                  </a:lnTo>
                  <a:lnTo>
                    <a:pt x="12935" y="7241"/>
                  </a:lnTo>
                  <a:lnTo>
                    <a:pt x="13158" y="7915"/>
                  </a:lnTo>
                  <a:lnTo>
                    <a:pt x="15429" y="8331"/>
                  </a:lnTo>
                  <a:lnTo>
                    <a:pt x="15576" y="8167"/>
                  </a:lnTo>
                  <a:lnTo>
                    <a:pt x="15957" y="8740"/>
                  </a:lnTo>
                  <a:lnTo>
                    <a:pt x="15424" y="10363"/>
                  </a:lnTo>
                  <a:lnTo>
                    <a:pt x="13158" y="11166"/>
                  </a:lnTo>
                  <a:lnTo>
                    <a:pt x="11049" y="11512"/>
                  </a:lnTo>
                  <a:lnTo>
                    <a:pt x="10746" y="11729"/>
                  </a:lnTo>
                  <a:lnTo>
                    <a:pt x="10244" y="11935"/>
                  </a:lnTo>
                  <a:lnTo>
                    <a:pt x="9691" y="12918"/>
                  </a:lnTo>
                  <a:lnTo>
                    <a:pt x="9503" y="13060"/>
                  </a:lnTo>
                  <a:lnTo>
                    <a:pt x="9370" y="13076"/>
                  </a:lnTo>
                  <a:lnTo>
                    <a:pt x="9104" y="12745"/>
                  </a:lnTo>
                  <a:lnTo>
                    <a:pt x="8174" y="12657"/>
                  </a:lnTo>
                  <a:lnTo>
                    <a:pt x="8036" y="12551"/>
                  </a:lnTo>
                  <a:lnTo>
                    <a:pt x="7547" y="12502"/>
                  </a:lnTo>
                  <a:lnTo>
                    <a:pt x="7168" y="12457"/>
                  </a:lnTo>
                  <a:lnTo>
                    <a:pt x="6859" y="12543"/>
                  </a:lnTo>
                  <a:lnTo>
                    <a:pt x="6711" y="12286"/>
                  </a:lnTo>
                  <a:lnTo>
                    <a:pt x="6580" y="12452"/>
                  </a:lnTo>
                  <a:lnTo>
                    <a:pt x="6570" y="12466"/>
                  </a:lnTo>
                  <a:lnTo>
                    <a:pt x="6560" y="12481"/>
                  </a:lnTo>
                  <a:lnTo>
                    <a:pt x="6551" y="12499"/>
                  </a:lnTo>
                  <a:lnTo>
                    <a:pt x="6542" y="12517"/>
                  </a:lnTo>
                  <a:lnTo>
                    <a:pt x="6524" y="12554"/>
                  </a:lnTo>
                  <a:lnTo>
                    <a:pt x="6507" y="12592"/>
                  </a:lnTo>
                  <a:lnTo>
                    <a:pt x="6492" y="12625"/>
                  </a:lnTo>
                  <a:lnTo>
                    <a:pt x="6480" y="12652"/>
                  </a:lnTo>
                  <a:lnTo>
                    <a:pt x="6474" y="12661"/>
                  </a:lnTo>
                  <a:lnTo>
                    <a:pt x="6468" y="12668"/>
                  </a:lnTo>
                  <a:lnTo>
                    <a:pt x="6466" y="12670"/>
                  </a:lnTo>
                  <a:lnTo>
                    <a:pt x="6464" y="12671"/>
                  </a:lnTo>
                  <a:lnTo>
                    <a:pt x="6461" y="12671"/>
                  </a:lnTo>
                  <a:lnTo>
                    <a:pt x="6460" y="12670"/>
                  </a:lnTo>
                  <a:lnTo>
                    <a:pt x="6452" y="12667"/>
                  </a:lnTo>
                  <a:lnTo>
                    <a:pt x="6447" y="12665"/>
                  </a:lnTo>
                  <a:lnTo>
                    <a:pt x="6442" y="12664"/>
                  </a:lnTo>
                  <a:lnTo>
                    <a:pt x="6439" y="12665"/>
                  </a:lnTo>
                  <a:lnTo>
                    <a:pt x="6436" y="12666"/>
                  </a:lnTo>
                  <a:lnTo>
                    <a:pt x="6435" y="12669"/>
                  </a:lnTo>
                  <a:lnTo>
                    <a:pt x="6434" y="12672"/>
                  </a:lnTo>
                  <a:lnTo>
                    <a:pt x="6434" y="12676"/>
                  </a:lnTo>
                  <a:lnTo>
                    <a:pt x="6437" y="12688"/>
                  </a:lnTo>
                  <a:lnTo>
                    <a:pt x="6442" y="12702"/>
                  </a:lnTo>
                  <a:lnTo>
                    <a:pt x="6449" y="12718"/>
                  </a:lnTo>
                  <a:lnTo>
                    <a:pt x="6457" y="12735"/>
                  </a:lnTo>
                  <a:lnTo>
                    <a:pt x="6474" y="12773"/>
                  </a:lnTo>
                  <a:lnTo>
                    <a:pt x="6488" y="12807"/>
                  </a:lnTo>
                  <a:lnTo>
                    <a:pt x="6493" y="12822"/>
                  </a:lnTo>
                  <a:lnTo>
                    <a:pt x="6495" y="12835"/>
                  </a:lnTo>
                  <a:lnTo>
                    <a:pt x="6495" y="12841"/>
                  </a:lnTo>
                  <a:lnTo>
                    <a:pt x="6495" y="12845"/>
                  </a:lnTo>
                  <a:lnTo>
                    <a:pt x="6493" y="12849"/>
                  </a:lnTo>
                  <a:lnTo>
                    <a:pt x="6490" y="12851"/>
                  </a:lnTo>
                  <a:lnTo>
                    <a:pt x="6442" y="13138"/>
                  </a:lnTo>
                  <a:lnTo>
                    <a:pt x="6289" y="13180"/>
                  </a:lnTo>
                  <a:lnTo>
                    <a:pt x="6127" y="13229"/>
                  </a:lnTo>
                  <a:lnTo>
                    <a:pt x="6092" y="13137"/>
                  </a:lnTo>
                  <a:lnTo>
                    <a:pt x="6092" y="13002"/>
                  </a:lnTo>
                  <a:lnTo>
                    <a:pt x="5928" y="12707"/>
                  </a:lnTo>
                  <a:lnTo>
                    <a:pt x="5877" y="12675"/>
                  </a:lnTo>
                  <a:lnTo>
                    <a:pt x="5820" y="12590"/>
                  </a:lnTo>
                  <a:lnTo>
                    <a:pt x="5760" y="12346"/>
                  </a:lnTo>
                  <a:lnTo>
                    <a:pt x="5511" y="12104"/>
                  </a:lnTo>
                  <a:lnTo>
                    <a:pt x="5396" y="12043"/>
                  </a:lnTo>
                  <a:lnTo>
                    <a:pt x="5329" y="11966"/>
                  </a:lnTo>
                  <a:lnTo>
                    <a:pt x="5175" y="11749"/>
                  </a:lnTo>
                  <a:lnTo>
                    <a:pt x="5026" y="11439"/>
                  </a:lnTo>
                  <a:lnTo>
                    <a:pt x="4967" y="11398"/>
                  </a:lnTo>
                  <a:lnTo>
                    <a:pt x="4943" y="11357"/>
                  </a:lnTo>
                  <a:lnTo>
                    <a:pt x="4900" y="11197"/>
                  </a:lnTo>
                  <a:lnTo>
                    <a:pt x="4893" y="11035"/>
                  </a:lnTo>
                  <a:lnTo>
                    <a:pt x="4842" y="10911"/>
                  </a:lnTo>
                  <a:lnTo>
                    <a:pt x="4758" y="10766"/>
                  </a:lnTo>
                  <a:lnTo>
                    <a:pt x="4661" y="10672"/>
                  </a:lnTo>
                  <a:lnTo>
                    <a:pt x="4617" y="10581"/>
                  </a:lnTo>
                  <a:lnTo>
                    <a:pt x="4559" y="10532"/>
                  </a:lnTo>
                  <a:lnTo>
                    <a:pt x="4443" y="10363"/>
                  </a:lnTo>
                  <a:lnTo>
                    <a:pt x="4361" y="10288"/>
                  </a:lnTo>
                  <a:lnTo>
                    <a:pt x="4157" y="10146"/>
                  </a:lnTo>
                  <a:lnTo>
                    <a:pt x="4050" y="10087"/>
                  </a:lnTo>
                  <a:lnTo>
                    <a:pt x="4015" y="10102"/>
                  </a:lnTo>
                  <a:lnTo>
                    <a:pt x="3932" y="10071"/>
                  </a:lnTo>
                  <a:lnTo>
                    <a:pt x="3740" y="9952"/>
                  </a:lnTo>
                  <a:lnTo>
                    <a:pt x="3642" y="9870"/>
                  </a:lnTo>
                  <a:lnTo>
                    <a:pt x="3582" y="9793"/>
                  </a:lnTo>
                  <a:lnTo>
                    <a:pt x="3491" y="9608"/>
                  </a:lnTo>
                  <a:lnTo>
                    <a:pt x="3451" y="9466"/>
                  </a:lnTo>
                  <a:lnTo>
                    <a:pt x="3359" y="8893"/>
                  </a:lnTo>
                  <a:lnTo>
                    <a:pt x="3309" y="8803"/>
                  </a:lnTo>
                  <a:lnTo>
                    <a:pt x="3299" y="8728"/>
                  </a:lnTo>
                  <a:lnTo>
                    <a:pt x="3333" y="8694"/>
                  </a:lnTo>
                  <a:lnTo>
                    <a:pt x="3366" y="8593"/>
                  </a:lnTo>
                  <a:lnTo>
                    <a:pt x="3383" y="8406"/>
                  </a:lnTo>
                  <a:lnTo>
                    <a:pt x="3326" y="8203"/>
                  </a:lnTo>
                  <a:lnTo>
                    <a:pt x="3283" y="8114"/>
                  </a:lnTo>
                  <a:lnTo>
                    <a:pt x="3225" y="8044"/>
                  </a:lnTo>
                  <a:lnTo>
                    <a:pt x="3174" y="7927"/>
                  </a:lnTo>
                  <a:lnTo>
                    <a:pt x="3141" y="7785"/>
                  </a:lnTo>
                  <a:lnTo>
                    <a:pt x="3091" y="7700"/>
                  </a:lnTo>
                  <a:lnTo>
                    <a:pt x="3034" y="7550"/>
                  </a:lnTo>
                  <a:lnTo>
                    <a:pt x="2859" y="7241"/>
                  </a:lnTo>
                  <a:lnTo>
                    <a:pt x="2650" y="7038"/>
                  </a:lnTo>
                  <a:lnTo>
                    <a:pt x="2518" y="6946"/>
                  </a:lnTo>
                  <a:lnTo>
                    <a:pt x="2492" y="6909"/>
                  </a:lnTo>
                  <a:lnTo>
                    <a:pt x="2451" y="6902"/>
                  </a:lnTo>
                  <a:lnTo>
                    <a:pt x="2435" y="6861"/>
                  </a:lnTo>
                  <a:lnTo>
                    <a:pt x="2326" y="6803"/>
                  </a:lnTo>
                  <a:lnTo>
                    <a:pt x="2243" y="6803"/>
                  </a:lnTo>
                  <a:lnTo>
                    <a:pt x="2193" y="6818"/>
                  </a:lnTo>
                  <a:lnTo>
                    <a:pt x="2135" y="6791"/>
                  </a:lnTo>
                  <a:lnTo>
                    <a:pt x="2108" y="6692"/>
                  </a:lnTo>
                  <a:lnTo>
                    <a:pt x="2042" y="6580"/>
                  </a:lnTo>
                  <a:lnTo>
                    <a:pt x="1949" y="6472"/>
                  </a:lnTo>
                  <a:lnTo>
                    <a:pt x="1949" y="6336"/>
                  </a:lnTo>
                  <a:lnTo>
                    <a:pt x="1965" y="6312"/>
                  </a:lnTo>
                  <a:lnTo>
                    <a:pt x="1833" y="5901"/>
                  </a:lnTo>
                  <a:lnTo>
                    <a:pt x="1757" y="5789"/>
                  </a:lnTo>
                  <a:lnTo>
                    <a:pt x="1665" y="5616"/>
                  </a:lnTo>
                  <a:lnTo>
                    <a:pt x="1549" y="5562"/>
                  </a:lnTo>
                  <a:lnTo>
                    <a:pt x="1507" y="5504"/>
                  </a:lnTo>
                  <a:lnTo>
                    <a:pt x="1483" y="5405"/>
                  </a:lnTo>
                  <a:lnTo>
                    <a:pt x="1326" y="5202"/>
                  </a:lnTo>
                  <a:lnTo>
                    <a:pt x="1198" y="4866"/>
                  </a:lnTo>
                  <a:lnTo>
                    <a:pt x="1117" y="4757"/>
                  </a:lnTo>
                  <a:lnTo>
                    <a:pt x="1016" y="4682"/>
                  </a:lnTo>
                  <a:lnTo>
                    <a:pt x="841" y="4447"/>
                  </a:lnTo>
                  <a:lnTo>
                    <a:pt x="824" y="4372"/>
                  </a:lnTo>
                  <a:lnTo>
                    <a:pt x="724" y="4245"/>
                  </a:lnTo>
                  <a:lnTo>
                    <a:pt x="625" y="4019"/>
                  </a:lnTo>
                  <a:lnTo>
                    <a:pt x="434" y="3656"/>
                  </a:lnTo>
                  <a:lnTo>
                    <a:pt x="357" y="3599"/>
                  </a:lnTo>
                  <a:lnTo>
                    <a:pt x="242" y="3599"/>
                  </a:lnTo>
                  <a:lnTo>
                    <a:pt x="125" y="3581"/>
                  </a:lnTo>
                  <a:lnTo>
                    <a:pt x="101" y="3565"/>
                  </a:lnTo>
                  <a:lnTo>
                    <a:pt x="34" y="3581"/>
                  </a:lnTo>
                  <a:lnTo>
                    <a:pt x="0" y="3649"/>
                  </a:lnTo>
                  <a:lnTo>
                    <a:pt x="159" y="3246"/>
                  </a:lnTo>
                  <a:lnTo>
                    <a:pt x="168" y="2943"/>
                  </a:lnTo>
                  <a:lnTo>
                    <a:pt x="192" y="2825"/>
                  </a:lnTo>
                  <a:lnTo>
                    <a:pt x="249" y="2682"/>
                  </a:lnTo>
                  <a:lnTo>
                    <a:pt x="242" y="2477"/>
                  </a:lnTo>
                  <a:lnTo>
                    <a:pt x="276" y="2595"/>
                  </a:lnTo>
                  <a:lnTo>
                    <a:pt x="1117" y="2702"/>
                  </a:lnTo>
                  <a:lnTo>
                    <a:pt x="1352" y="2467"/>
                  </a:lnTo>
                  <a:lnTo>
                    <a:pt x="1366" y="2419"/>
                  </a:lnTo>
                  <a:lnTo>
                    <a:pt x="1567" y="2061"/>
                  </a:lnTo>
                  <a:lnTo>
                    <a:pt x="2145" y="1974"/>
                  </a:lnTo>
                  <a:lnTo>
                    <a:pt x="2171" y="1850"/>
                  </a:lnTo>
                  <a:lnTo>
                    <a:pt x="2255" y="1618"/>
                  </a:lnTo>
                  <a:lnTo>
                    <a:pt x="2560" y="1448"/>
                  </a:lnTo>
                  <a:lnTo>
                    <a:pt x="2569" y="1429"/>
                  </a:lnTo>
                  <a:lnTo>
                    <a:pt x="1840" y="685"/>
                  </a:lnTo>
                  <a:lnTo>
                    <a:pt x="1731" y="590"/>
                  </a:lnTo>
                  <a:lnTo>
                    <a:pt x="2281" y="464"/>
                  </a:lnTo>
                  <a:lnTo>
                    <a:pt x="3197" y="281"/>
                  </a:lnTo>
                  <a:lnTo>
                    <a:pt x="3424" y="0"/>
                  </a:lnTo>
                  <a:lnTo>
                    <a:pt x="4576" y="321"/>
                  </a:lnTo>
                  <a:lnTo>
                    <a:pt x="5434" y="970"/>
                  </a:lnTo>
                  <a:lnTo>
                    <a:pt x="6203" y="1265"/>
                  </a:lnTo>
                  <a:lnTo>
                    <a:pt x="6284" y="1324"/>
                  </a:lnTo>
                  <a:lnTo>
                    <a:pt x="6395" y="1591"/>
                  </a:lnTo>
                  <a:lnTo>
                    <a:pt x="6793" y="1625"/>
                  </a:lnTo>
                  <a:lnTo>
                    <a:pt x="6826" y="1659"/>
                  </a:lnTo>
                  <a:lnTo>
                    <a:pt x="6826" y="2203"/>
                  </a:lnTo>
                  <a:lnTo>
                    <a:pt x="6859" y="2247"/>
                  </a:lnTo>
                  <a:lnTo>
                    <a:pt x="7719" y="2641"/>
                  </a:lnTo>
                  <a:lnTo>
                    <a:pt x="9071" y="272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40" name="Freeform 142">
              <a:extLst>
                <a:ext uri="{FF2B5EF4-FFF2-40B4-BE49-F238E27FC236}">
                  <a16:creationId xmlns:a16="http://schemas.microsoft.com/office/drawing/2014/main" id="{124B1271-3473-13FF-B221-3FB07E74E9D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020771" y="3741978"/>
              <a:ext cx="304438" cy="205770"/>
            </a:xfrm>
            <a:custGeom>
              <a:avLst/>
              <a:gdLst>
                <a:gd name="T0" fmla="*/ 0 w 15675"/>
                <a:gd name="T1" fmla="*/ 0 h 9942"/>
                <a:gd name="T2" fmla="*/ 0 w 15675"/>
                <a:gd name="T3" fmla="*/ 0 h 9942"/>
                <a:gd name="T4" fmla="*/ 0 w 15675"/>
                <a:gd name="T5" fmla="*/ 0 h 9942"/>
                <a:gd name="T6" fmla="*/ 0 w 15675"/>
                <a:gd name="T7" fmla="*/ 0 h 9942"/>
                <a:gd name="T8" fmla="*/ 0 w 15675"/>
                <a:gd name="T9" fmla="*/ 0 h 9942"/>
                <a:gd name="T10" fmla="*/ 0 w 15675"/>
                <a:gd name="T11" fmla="*/ 0 h 9942"/>
                <a:gd name="T12" fmla="*/ 0 w 15675"/>
                <a:gd name="T13" fmla="*/ 0 h 9942"/>
                <a:gd name="T14" fmla="*/ 0 w 15675"/>
                <a:gd name="T15" fmla="*/ 0 h 9942"/>
                <a:gd name="T16" fmla="*/ 0 w 15675"/>
                <a:gd name="T17" fmla="*/ 0 h 9942"/>
                <a:gd name="T18" fmla="*/ 0 w 15675"/>
                <a:gd name="T19" fmla="*/ 0 h 9942"/>
                <a:gd name="T20" fmla="*/ 0 w 15675"/>
                <a:gd name="T21" fmla="*/ 0 h 9942"/>
                <a:gd name="T22" fmla="*/ 0 w 15675"/>
                <a:gd name="T23" fmla="*/ 0 h 9942"/>
                <a:gd name="T24" fmla="*/ 0 w 15675"/>
                <a:gd name="T25" fmla="*/ 0 h 9942"/>
                <a:gd name="T26" fmla="*/ 0 w 15675"/>
                <a:gd name="T27" fmla="*/ 0 h 9942"/>
                <a:gd name="T28" fmla="*/ 0 w 15675"/>
                <a:gd name="T29" fmla="*/ 0 h 9942"/>
                <a:gd name="T30" fmla="*/ 0 w 15675"/>
                <a:gd name="T31" fmla="*/ 0 h 9942"/>
                <a:gd name="T32" fmla="*/ 0 w 15675"/>
                <a:gd name="T33" fmla="*/ 0 h 9942"/>
                <a:gd name="T34" fmla="*/ 0 w 15675"/>
                <a:gd name="T35" fmla="*/ 0 h 9942"/>
                <a:gd name="T36" fmla="*/ 0 w 15675"/>
                <a:gd name="T37" fmla="*/ 0 h 9942"/>
                <a:gd name="T38" fmla="*/ 0 w 15675"/>
                <a:gd name="T39" fmla="*/ 0 h 9942"/>
                <a:gd name="T40" fmla="*/ 0 w 15675"/>
                <a:gd name="T41" fmla="*/ 0 h 9942"/>
                <a:gd name="T42" fmla="*/ 0 w 15675"/>
                <a:gd name="T43" fmla="*/ 0 h 9942"/>
                <a:gd name="T44" fmla="*/ 0 w 15675"/>
                <a:gd name="T45" fmla="*/ 0 h 9942"/>
                <a:gd name="T46" fmla="*/ 0 w 15675"/>
                <a:gd name="T47" fmla="*/ 0 h 9942"/>
                <a:gd name="T48" fmla="*/ 0 w 15675"/>
                <a:gd name="T49" fmla="*/ 0 h 9942"/>
                <a:gd name="T50" fmla="*/ 0 w 15675"/>
                <a:gd name="T51" fmla="*/ 0 h 9942"/>
                <a:gd name="T52" fmla="*/ 0 w 15675"/>
                <a:gd name="T53" fmla="*/ 0 h 9942"/>
                <a:gd name="T54" fmla="*/ 0 w 15675"/>
                <a:gd name="T55" fmla="*/ 0 h 9942"/>
                <a:gd name="T56" fmla="*/ 0 w 15675"/>
                <a:gd name="T57" fmla="*/ 0 h 9942"/>
                <a:gd name="T58" fmla="*/ 0 w 15675"/>
                <a:gd name="T59" fmla="*/ 0 h 9942"/>
                <a:gd name="T60" fmla="*/ 0 w 15675"/>
                <a:gd name="T61" fmla="*/ 0 h 9942"/>
                <a:gd name="T62" fmla="*/ 0 w 15675"/>
                <a:gd name="T63" fmla="*/ 0 h 9942"/>
                <a:gd name="T64" fmla="*/ 0 w 15675"/>
                <a:gd name="T65" fmla="*/ 0 h 9942"/>
                <a:gd name="T66" fmla="*/ 0 w 15675"/>
                <a:gd name="T67" fmla="*/ 0 h 9942"/>
                <a:gd name="T68" fmla="*/ 0 w 15675"/>
                <a:gd name="T69" fmla="*/ 0 h 9942"/>
                <a:gd name="T70" fmla="*/ 0 w 15675"/>
                <a:gd name="T71" fmla="*/ 0 h 9942"/>
                <a:gd name="T72" fmla="*/ 0 w 15675"/>
                <a:gd name="T73" fmla="*/ 0 h 9942"/>
                <a:gd name="T74" fmla="*/ 0 w 15675"/>
                <a:gd name="T75" fmla="*/ 0 h 9942"/>
                <a:gd name="T76" fmla="*/ 0 w 15675"/>
                <a:gd name="T77" fmla="*/ 0 h 9942"/>
                <a:gd name="T78" fmla="*/ 0 w 15675"/>
                <a:gd name="T79" fmla="*/ 0 h 9942"/>
                <a:gd name="T80" fmla="*/ 0 w 15675"/>
                <a:gd name="T81" fmla="*/ 0 h 9942"/>
                <a:gd name="T82" fmla="*/ 0 w 15675"/>
                <a:gd name="T83" fmla="*/ 0 h 9942"/>
                <a:gd name="T84" fmla="*/ 0 w 15675"/>
                <a:gd name="T85" fmla="*/ 0 h 9942"/>
                <a:gd name="T86" fmla="*/ 0 w 15675"/>
                <a:gd name="T87" fmla="*/ 0 h 9942"/>
                <a:gd name="T88" fmla="*/ 0 w 15675"/>
                <a:gd name="T89" fmla="*/ 0 h 9942"/>
                <a:gd name="T90" fmla="*/ 0 w 15675"/>
                <a:gd name="T91" fmla="*/ 0 h 9942"/>
                <a:gd name="T92" fmla="*/ 0 w 15675"/>
                <a:gd name="T93" fmla="*/ 0 h 9942"/>
                <a:gd name="T94" fmla="*/ 0 w 15675"/>
                <a:gd name="T95" fmla="*/ 0 h 9942"/>
                <a:gd name="T96" fmla="*/ 0 w 15675"/>
                <a:gd name="T97" fmla="*/ 0 h 9942"/>
                <a:gd name="T98" fmla="*/ 0 w 15675"/>
                <a:gd name="T99" fmla="*/ 0 h 9942"/>
                <a:gd name="T100" fmla="*/ 0 w 15675"/>
                <a:gd name="T101" fmla="*/ 0 h 9942"/>
                <a:gd name="T102" fmla="*/ 0 w 15675"/>
                <a:gd name="T103" fmla="*/ 0 h 9942"/>
                <a:gd name="T104" fmla="*/ 0 w 15675"/>
                <a:gd name="T105" fmla="*/ 0 h 9942"/>
                <a:gd name="T106" fmla="*/ 0 w 15675"/>
                <a:gd name="T107" fmla="*/ 0 h 9942"/>
                <a:gd name="T108" fmla="*/ 0 w 15675"/>
                <a:gd name="T109" fmla="*/ 0 h 994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5675"/>
                <a:gd name="T166" fmla="*/ 0 h 9942"/>
                <a:gd name="T167" fmla="*/ 15675 w 15675"/>
                <a:gd name="T168" fmla="*/ 9942 h 994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5675" h="9942">
                  <a:moveTo>
                    <a:pt x="15675" y="3780"/>
                  </a:moveTo>
                  <a:lnTo>
                    <a:pt x="15169" y="3985"/>
                  </a:lnTo>
                  <a:lnTo>
                    <a:pt x="14868" y="4199"/>
                  </a:lnTo>
                  <a:lnTo>
                    <a:pt x="14648" y="4443"/>
                  </a:lnTo>
                  <a:lnTo>
                    <a:pt x="14447" y="4864"/>
                  </a:lnTo>
                  <a:lnTo>
                    <a:pt x="14514" y="5031"/>
                  </a:lnTo>
                  <a:lnTo>
                    <a:pt x="14543" y="5260"/>
                  </a:lnTo>
                  <a:lnTo>
                    <a:pt x="14538" y="5308"/>
                  </a:lnTo>
                  <a:lnTo>
                    <a:pt x="14466" y="5374"/>
                  </a:lnTo>
                  <a:lnTo>
                    <a:pt x="14385" y="5418"/>
                  </a:lnTo>
                  <a:lnTo>
                    <a:pt x="14190" y="5385"/>
                  </a:lnTo>
                  <a:lnTo>
                    <a:pt x="14027" y="5466"/>
                  </a:lnTo>
                  <a:lnTo>
                    <a:pt x="13627" y="5576"/>
                  </a:lnTo>
                  <a:lnTo>
                    <a:pt x="13364" y="5843"/>
                  </a:lnTo>
                  <a:lnTo>
                    <a:pt x="13073" y="5967"/>
                  </a:lnTo>
                  <a:lnTo>
                    <a:pt x="12652" y="6020"/>
                  </a:lnTo>
                  <a:lnTo>
                    <a:pt x="12404" y="6082"/>
                  </a:lnTo>
                  <a:lnTo>
                    <a:pt x="12036" y="6264"/>
                  </a:lnTo>
                  <a:lnTo>
                    <a:pt x="11764" y="6336"/>
                  </a:lnTo>
                  <a:lnTo>
                    <a:pt x="11211" y="6574"/>
                  </a:lnTo>
                  <a:lnTo>
                    <a:pt x="10929" y="6593"/>
                  </a:lnTo>
                  <a:lnTo>
                    <a:pt x="10470" y="6679"/>
                  </a:lnTo>
                  <a:lnTo>
                    <a:pt x="9988" y="6908"/>
                  </a:lnTo>
                  <a:lnTo>
                    <a:pt x="9740" y="7051"/>
                  </a:lnTo>
                  <a:lnTo>
                    <a:pt x="9645" y="7262"/>
                  </a:lnTo>
                  <a:lnTo>
                    <a:pt x="9521" y="7448"/>
                  </a:lnTo>
                  <a:lnTo>
                    <a:pt x="9205" y="7739"/>
                  </a:lnTo>
                  <a:lnTo>
                    <a:pt x="9072" y="7825"/>
                  </a:lnTo>
                  <a:lnTo>
                    <a:pt x="9020" y="7897"/>
                  </a:lnTo>
                  <a:lnTo>
                    <a:pt x="8905" y="7936"/>
                  </a:lnTo>
                  <a:lnTo>
                    <a:pt x="8198" y="7906"/>
                  </a:lnTo>
                  <a:lnTo>
                    <a:pt x="7845" y="7951"/>
                  </a:lnTo>
                  <a:lnTo>
                    <a:pt x="7539" y="8146"/>
                  </a:lnTo>
                  <a:lnTo>
                    <a:pt x="7391" y="8347"/>
                  </a:lnTo>
                  <a:lnTo>
                    <a:pt x="6962" y="8585"/>
                  </a:lnTo>
                  <a:lnTo>
                    <a:pt x="6784" y="8623"/>
                  </a:lnTo>
                  <a:lnTo>
                    <a:pt x="6259" y="8776"/>
                  </a:lnTo>
                  <a:lnTo>
                    <a:pt x="5978" y="8801"/>
                  </a:lnTo>
                  <a:lnTo>
                    <a:pt x="5672" y="8733"/>
                  </a:lnTo>
                  <a:lnTo>
                    <a:pt x="5353" y="8786"/>
                  </a:lnTo>
                  <a:lnTo>
                    <a:pt x="5109" y="8762"/>
                  </a:lnTo>
                  <a:lnTo>
                    <a:pt x="4779" y="8801"/>
                  </a:lnTo>
                  <a:lnTo>
                    <a:pt x="4497" y="8977"/>
                  </a:lnTo>
                  <a:lnTo>
                    <a:pt x="4292" y="9321"/>
                  </a:lnTo>
                  <a:lnTo>
                    <a:pt x="3686" y="9598"/>
                  </a:lnTo>
                  <a:lnTo>
                    <a:pt x="3405" y="9771"/>
                  </a:lnTo>
                  <a:lnTo>
                    <a:pt x="2769" y="9785"/>
                  </a:lnTo>
                  <a:lnTo>
                    <a:pt x="2368" y="9909"/>
                  </a:lnTo>
                  <a:lnTo>
                    <a:pt x="2149" y="9890"/>
                  </a:lnTo>
                  <a:lnTo>
                    <a:pt x="1934" y="9942"/>
                  </a:lnTo>
                  <a:lnTo>
                    <a:pt x="1652" y="9818"/>
                  </a:lnTo>
                  <a:lnTo>
                    <a:pt x="1309" y="9832"/>
                  </a:lnTo>
                  <a:lnTo>
                    <a:pt x="1180" y="9435"/>
                  </a:lnTo>
                  <a:lnTo>
                    <a:pt x="898" y="9087"/>
                  </a:lnTo>
                  <a:lnTo>
                    <a:pt x="898" y="8356"/>
                  </a:lnTo>
                  <a:lnTo>
                    <a:pt x="865" y="8108"/>
                  </a:lnTo>
                  <a:lnTo>
                    <a:pt x="716" y="7955"/>
                  </a:lnTo>
                  <a:lnTo>
                    <a:pt x="635" y="7758"/>
                  </a:lnTo>
                  <a:lnTo>
                    <a:pt x="535" y="7310"/>
                  </a:lnTo>
                  <a:lnTo>
                    <a:pt x="482" y="6794"/>
                  </a:lnTo>
                  <a:lnTo>
                    <a:pt x="401" y="6584"/>
                  </a:lnTo>
                  <a:lnTo>
                    <a:pt x="320" y="6450"/>
                  </a:lnTo>
                  <a:lnTo>
                    <a:pt x="320" y="6215"/>
                  </a:lnTo>
                  <a:lnTo>
                    <a:pt x="86" y="5886"/>
                  </a:lnTo>
                  <a:lnTo>
                    <a:pt x="0" y="5814"/>
                  </a:lnTo>
                  <a:lnTo>
                    <a:pt x="67" y="5752"/>
                  </a:lnTo>
                  <a:lnTo>
                    <a:pt x="134" y="5767"/>
                  </a:lnTo>
                  <a:lnTo>
                    <a:pt x="134" y="5666"/>
                  </a:lnTo>
                  <a:lnTo>
                    <a:pt x="86" y="5552"/>
                  </a:lnTo>
                  <a:lnTo>
                    <a:pt x="86" y="5303"/>
                  </a:lnTo>
                  <a:lnTo>
                    <a:pt x="34" y="5155"/>
                  </a:lnTo>
                  <a:lnTo>
                    <a:pt x="201" y="5007"/>
                  </a:lnTo>
                  <a:lnTo>
                    <a:pt x="234" y="4888"/>
                  </a:lnTo>
                  <a:lnTo>
                    <a:pt x="201" y="4438"/>
                  </a:lnTo>
                  <a:lnTo>
                    <a:pt x="153" y="4142"/>
                  </a:lnTo>
                  <a:lnTo>
                    <a:pt x="101" y="4075"/>
                  </a:lnTo>
                  <a:lnTo>
                    <a:pt x="710" y="3760"/>
                  </a:lnTo>
                  <a:lnTo>
                    <a:pt x="850" y="3308"/>
                  </a:lnTo>
                  <a:lnTo>
                    <a:pt x="853" y="3295"/>
                  </a:lnTo>
                  <a:lnTo>
                    <a:pt x="854" y="3283"/>
                  </a:lnTo>
                  <a:lnTo>
                    <a:pt x="854" y="3271"/>
                  </a:lnTo>
                  <a:lnTo>
                    <a:pt x="853" y="3258"/>
                  </a:lnTo>
                  <a:lnTo>
                    <a:pt x="850" y="3246"/>
                  </a:lnTo>
                  <a:lnTo>
                    <a:pt x="847" y="3234"/>
                  </a:lnTo>
                  <a:lnTo>
                    <a:pt x="843" y="3222"/>
                  </a:lnTo>
                  <a:lnTo>
                    <a:pt x="838" y="3209"/>
                  </a:lnTo>
                  <a:lnTo>
                    <a:pt x="825" y="3184"/>
                  </a:lnTo>
                  <a:lnTo>
                    <a:pt x="809" y="3159"/>
                  </a:lnTo>
                  <a:lnTo>
                    <a:pt x="793" y="3135"/>
                  </a:lnTo>
                  <a:lnTo>
                    <a:pt x="777" y="3110"/>
                  </a:lnTo>
                  <a:lnTo>
                    <a:pt x="761" y="3086"/>
                  </a:lnTo>
                  <a:lnTo>
                    <a:pt x="747" y="3061"/>
                  </a:lnTo>
                  <a:lnTo>
                    <a:pt x="741" y="3050"/>
                  </a:lnTo>
                  <a:lnTo>
                    <a:pt x="736" y="3038"/>
                  </a:lnTo>
                  <a:lnTo>
                    <a:pt x="731" y="3026"/>
                  </a:lnTo>
                  <a:lnTo>
                    <a:pt x="727" y="3014"/>
                  </a:lnTo>
                  <a:lnTo>
                    <a:pt x="724" y="3002"/>
                  </a:lnTo>
                  <a:lnTo>
                    <a:pt x="722" y="2991"/>
                  </a:lnTo>
                  <a:lnTo>
                    <a:pt x="722" y="2979"/>
                  </a:lnTo>
                  <a:lnTo>
                    <a:pt x="723" y="2967"/>
                  </a:lnTo>
                  <a:lnTo>
                    <a:pt x="725" y="2956"/>
                  </a:lnTo>
                  <a:lnTo>
                    <a:pt x="730" y="2945"/>
                  </a:lnTo>
                  <a:lnTo>
                    <a:pt x="735" y="2934"/>
                  </a:lnTo>
                  <a:lnTo>
                    <a:pt x="743" y="2922"/>
                  </a:lnTo>
                  <a:lnTo>
                    <a:pt x="1266" y="2241"/>
                  </a:lnTo>
                  <a:lnTo>
                    <a:pt x="1614" y="2657"/>
                  </a:lnTo>
                  <a:lnTo>
                    <a:pt x="2120" y="2602"/>
                  </a:lnTo>
                  <a:lnTo>
                    <a:pt x="3858" y="2689"/>
                  </a:lnTo>
                  <a:lnTo>
                    <a:pt x="4187" y="2967"/>
                  </a:lnTo>
                  <a:lnTo>
                    <a:pt x="6020" y="3083"/>
                  </a:lnTo>
                  <a:lnTo>
                    <a:pt x="6615" y="3737"/>
                  </a:lnTo>
                  <a:lnTo>
                    <a:pt x="6648" y="3723"/>
                  </a:lnTo>
                  <a:lnTo>
                    <a:pt x="6683" y="3710"/>
                  </a:lnTo>
                  <a:lnTo>
                    <a:pt x="6718" y="3700"/>
                  </a:lnTo>
                  <a:lnTo>
                    <a:pt x="6754" y="3690"/>
                  </a:lnTo>
                  <a:lnTo>
                    <a:pt x="6825" y="3671"/>
                  </a:lnTo>
                  <a:lnTo>
                    <a:pt x="6894" y="3652"/>
                  </a:lnTo>
                  <a:lnTo>
                    <a:pt x="6910" y="3648"/>
                  </a:lnTo>
                  <a:lnTo>
                    <a:pt x="6927" y="3642"/>
                  </a:lnTo>
                  <a:lnTo>
                    <a:pt x="6943" y="3637"/>
                  </a:lnTo>
                  <a:lnTo>
                    <a:pt x="6959" y="3630"/>
                  </a:lnTo>
                  <a:lnTo>
                    <a:pt x="6974" y="3624"/>
                  </a:lnTo>
                  <a:lnTo>
                    <a:pt x="6990" y="3616"/>
                  </a:lnTo>
                  <a:lnTo>
                    <a:pt x="7005" y="3609"/>
                  </a:lnTo>
                  <a:lnTo>
                    <a:pt x="7019" y="3600"/>
                  </a:lnTo>
                  <a:lnTo>
                    <a:pt x="7033" y="3591"/>
                  </a:lnTo>
                  <a:lnTo>
                    <a:pt x="7047" y="3582"/>
                  </a:lnTo>
                  <a:lnTo>
                    <a:pt x="7059" y="3571"/>
                  </a:lnTo>
                  <a:lnTo>
                    <a:pt x="7072" y="3559"/>
                  </a:lnTo>
                  <a:lnTo>
                    <a:pt x="7084" y="3547"/>
                  </a:lnTo>
                  <a:lnTo>
                    <a:pt x="7095" y="3534"/>
                  </a:lnTo>
                  <a:lnTo>
                    <a:pt x="7105" y="3519"/>
                  </a:lnTo>
                  <a:lnTo>
                    <a:pt x="7116" y="3504"/>
                  </a:lnTo>
                  <a:lnTo>
                    <a:pt x="8300" y="1543"/>
                  </a:lnTo>
                  <a:lnTo>
                    <a:pt x="9312" y="1068"/>
                  </a:lnTo>
                  <a:lnTo>
                    <a:pt x="9929" y="654"/>
                  </a:lnTo>
                  <a:lnTo>
                    <a:pt x="9962" y="638"/>
                  </a:lnTo>
                  <a:lnTo>
                    <a:pt x="10014" y="620"/>
                  </a:lnTo>
                  <a:lnTo>
                    <a:pt x="10082" y="602"/>
                  </a:lnTo>
                  <a:lnTo>
                    <a:pt x="10166" y="583"/>
                  </a:lnTo>
                  <a:lnTo>
                    <a:pt x="10264" y="564"/>
                  </a:lnTo>
                  <a:lnTo>
                    <a:pt x="10375" y="544"/>
                  </a:lnTo>
                  <a:lnTo>
                    <a:pt x="10498" y="524"/>
                  </a:lnTo>
                  <a:lnTo>
                    <a:pt x="10633" y="503"/>
                  </a:lnTo>
                  <a:lnTo>
                    <a:pt x="10777" y="483"/>
                  </a:lnTo>
                  <a:lnTo>
                    <a:pt x="10930" y="461"/>
                  </a:lnTo>
                  <a:lnTo>
                    <a:pt x="11090" y="440"/>
                  </a:lnTo>
                  <a:lnTo>
                    <a:pt x="11257" y="417"/>
                  </a:lnTo>
                  <a:lnTo>
                    <a:pt x="11603" y="373"/>
                  </a:lnTo>
                  <a:lnTo>
                    <a:pt x="11961" y="328"/>
                  </a:lnTo>
                  <a:lnTo>
                    <a:pt x="12321" y="284"/>
                  </a:lnTo>
                  <a:lnTo>
                    <a:pt x="12673" y="238"/>
                  </a:lnTo>
                  <a:lnTo>
                    <a:pt x="12844" y="217"/>
                  </a:lnTo>
                  <a:lnTo>
                    <a:pt x="13010" y="195"/>
                  </a:lnTo>
                  <a:lnTo>
                    <a:pt x="13168" y="174"/>
                  </a:lnTo>
                  <a:lnTo>
                    <a:pt x="13320" y="152"/>
                  </a:lnTo>
                  <a:lnTo>
                    <a:pt x="13462" y="131"/>
                  </a:lnTo>
                  <a:lnTo>
                    <a:pt x="13595" y="111"/>
                  </a:lnTo>
                  <a:lnTo>
                    <a:pt x="13716" y="91"/>
                  </a:lnTo>
                  <a:lnTo>
                    <a:pt x="13826" y="72"/>
                  </a:lnTo>
                  <a:lnTo>
                    <a:pt x="13921" y="53"/>
                  </a:lnTo>
                  <a:lnTo>
                    <a:pt x="14003" y="35"/>
                  </a:lnTo>
                  <a:lnTo>
                    <a:pt x="14069" y="17"/>
                  </a:lnTo>
                  <a:lnTo>
                    <a:pt x="14118" y="0"/>
                  </a:lnTo>
                  <a:lnTo>
                    <a:pt x="15675" y="378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41" name="Freeform 143">
              <a:extLst>
                <a:ext uri="{FF2B5EF4-FFF2-40B4-BE49-F238E27FC236}">
                  <a16:creationId xmlns:a16="http://schemas.microsoft.com/office/drawing/2014/main" id="{B941064E-82BB-1F13-9013-30AB2F0FFEC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341624" y="3565169"/>
              <a:ext cx="7462" cy="4573"/>
            </a:xfrm>
            <a:custGeom>
              <a:avLst/>
              <a:gdLst>
                <a:gd name="T0" fmla="*/ 0 w 16"/>
                <a:gd name="T1" fmla="*/ 0 h 9"/>
                <a:gd name="T2" fmla="*/ 0 w 16"/>
                <a:gd name="T3" fmla="*/ 0 h 9"/>
                <a:gd name="T4" fmla="*/ 0 w 16"/>
                <a:gd name="T5" fmla="*/ 0 h 9"/>
                <a:gd name="T6" fmla="*/ 0 w 16"/>
                <a:gd name="T7" fmla="*/ 0 h 9"/>
                <a:gd name="T8" fmla="*/ 0 w 16"/>
                <a:gd name="T9" fmla="*/ 0 h 9"/>
                <a:gd name="T10" fmla="*/ 0 w 16"/>
                <a:gd name="T11" fmla="*/ 0 h 9"/>
                <a:gd name="T12" fmla="*/ 0 w 16"/>
                <a:gd name="T13" fmla="*/ 0 h 9"/>
                <a:gd name="T14" fmla="*/ 0 w 16"/>
                <a:gd name="T15" fmla="*/ 0 h 9"/>
                <a:gd name="T16" fmla="*/ 0 w 16"/>
                <a:gd name="T17" fmla="*/ 0 h 9"/>
                <a:gd name="T18" fmla="*/ 0 w 16"/>
                <a:gd name="T19" fmla="*/ 0 h 9"/>
                <a:gd name="T20" fmla="*/ 0 w 16"/>
                <a:gd name="T21" fmla="*/ 0 h 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6"/>
                <a:gd name="T34" fmla="*/ 0 h 9"/>
                <a:gd name="T35" fmla="*/ 16 w 16"/>
                <a:gd name="T36" fmla="*/ 9 h 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6" h="9">
                  <a:moveTo>
                    <a:pt x="0" y="8"/>
                  </a:moveTo>
                  <a:lnTo>
                    <a:pt x="7" y="9"/>
                  </a:lnTo>
                  <a:lnTo>
                    <a:pt x="10" y="6"/>
                  </a:lnTo>
                  <a:lnTo>
                    <a:pt x="12" y="9"/>
                  </a:lnTo>
                  <a:lnTo>
                    <a:pt x="16" y="5"/>
                  </a:lnTo>
                  <a:lnTo>
                    <a:pt x="14" y="4"/>
                  </a:lnTo>
                  <a:lnTo>
                    <a:pt x="11" y="4"/>
                  </a:lnTo>
                  <a:lnTo>
                    <a:pt x="10" y="1"/>
                  </a:lnTo>
                  <a:lnTo>
                    <a:pt x="7" y="0"/>
                  </a:lnTo>
                  <a:lnTo>
                    <a:pt x="3" y="1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42" name="Freeform 145">
              <a:extLst>
                <a:ext uri="{FF2B5EF4-FFF2-40B4-BE49-F238E27FC236}">
                  <a16:creationId xmlns:a16="http://schemas.microsoft.com/office/drawing/2014/main" id="{DDA3AAC7-4902-5588-4F4E-B5313D3C977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411764" y="3495055"/>
              <a:ext cx="10446" cy="22864"/>
            </a:xfrm>
            <a:custGeom>
              <a:avLst/>
              <a:gdLst>
                <a:gd name="T0" fmla="*/ 0 w 19"/>
                <a:gd name="T1" fmla="*/ 0 h 40"/>
                <a:gd name="T2" fmla="*/ 0 w 19"/>
                <a:gd name="T3" fmla="*/ 0 h 40"/>
                <a:gd name="T4" fmla="*/ 0 w 19"/>
                <a:gd name="T5" fmla="*/ 0 h 40"/>
                <a:gd name="T6" fmla="*/ 0 w 19"/>
                <a:gd name="T7" fmla="*/ 0 h 40"/>
                <a:gd name="T8" fmla="*/ 0 w 19"/>
                <a:gd name="T9" fmla="*/ 0 h 40"/>
                <a:gd name="T10" fmla="*/ 0 w 19"/>
                <a:gd name="T11" fmla="*/ 0 h 40"/>
                <a:gd name="T12" fmla="*/ 0 w 19"/>
                <a:gd name="T13" fmla="*/ 0 h 40"/>
                <a:gd name="T14" fmla="*/ 0 w 19"/>
                <a:gd name="T15" fmla="*/ 0 h 40"/>
                <a:gd name="T16" fmla="*/ 0 w 19"/>
                <a:gd name="T17" fmla="*/ 0 h 40"/>
                <a:gd name="T18" fmla="*/ 0 w 19"/>
                <a:gd name="T19" fmla="*/ 0 h 40"/>
                <a:gd name="T20" fmla="*/ 0 w 19"/>
                <a:gd name="T21" fmla="*/ 0 h 40"/>
                <a:gd name="T22" fmla="*/ 0 w 19"/>
                <a:gd name="T23" fmla="*/ 0 h 40"/>
                <a:gd name="T24" fmla="*/ 0 w 19"/>
                <a:gd name="T25" fmla="*/ 0 h 40"/>
                <a:gd name="T26" fmla="*/ 0 w 19"/>
                <a:gd name="T27" fmla="*/ 0 h 40"/>
                <a:gd name="T28" fmla="*/ 0 w 19"/>
                <a:gd name="T29" fmla="*/ 0 h 40"/>
                <a:gd name="T30" fmla="*/ 0 w 19"/>
                <a:gd name="T31" fmla="*/ 0 h 40"/>
                <a:gd name="T32" fmla="*/ 0 w 19"/>
                <a:gd name="T33" fmla="*/ 0 h 40"/>
                <a:gd name="T34" fmla="*/ 0 w 19"/>
                <a:gd name="T35" fmla="*/ 0 h 40"/>
                <a:gd name="T36" fmla="*/ 0 w 19"/>
                <a:gd name="T37" fmla="*/ 0 h 4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9"/>
                <a:gd name="T58" fmla="*/ 0 h 40"/>
                <a:gd name="T59" fmla="*/ 19 w 19"/>
                <a:gd name="T60" fmla="*/ 40 h 4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9" h="40">
                  <a:moveTo>
                    <a:pt x="0" y="15"/>
                  </a:moveTo>
                  <a:lnTo>
                    <a:pt x="1" y="19"/>
                  </a:lnTo>
                  <a:lnTo>
                    <a:pt x="3" y="25"/>
                  </a:lnTo>
                  <a:lnTo>
                    <a:pt x="2" y="27"/>
                  </a:lnTo>
                  <a:lnTo>
                    <a:pt x="3" y="31"/>
                  </a:lnTo>
                  <a:lnTo>
                    <a:pt x="1" y="36"/>
                  </a:lnTo>
                  <a:lnTo>
                    <a:pt x="3" y="37"/>
                  </a:lnTo>
                  <a:lnTo>
                    <a:pt x="11" y="40"/>
                  </a:lnTo>
                  <a:lnTo>
                    <a:pt x="12" y="36"/>
                  </a:lnTo>
                  <a:lnTo>
                    <a:pt x="17" y="27"/>
                  </a:lnTo>
                  <a:lnTo>
                    <a:pt x="17" y="18"/>
                  </a:lnTo>
                  <a:lnTo>
                    <a:pt x="15" y="15"/>
                  </a:lnTo>
                  <a:lnTo>
                    <a:pt x="15" y="11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15" y="0"/>
                  </a:lnTo>
                  <a:lnTo>
                    <a:pt x="9" y="4"/>
                  </a:lnTo>
                  <a:lnTo>
                    <a:pt x="7" y="4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43" name="Freeform 146">
              <a:extLst>
                <a:ext uri="{FF2B5EF4-FFF2-40B4-BE49-F238E27FC236}">
                  <a16:creationId xmlns:a16="http://schemas.microsoft.com/office/drawing/2014/main" id="{4FAB22F7-BAFC-FA24-BF5D-CA9F9714DC0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293869" y="3545355"/>
              <a:ext cx="225344" cy="272835"/>
            </a:xfrm>
            <a:custGeom>
              <a:avLst/>
              <a:gdLst>
                <a:gd name="T0" fmla="*/ 0 w 427"/>
                <a:gd name="T1" fmla="*/ 0 h 482"/>
                <a:gd name="T2" fmla="*/ 0 w 427"/>
                <a:gd name="T3" fmla="*/ 0 h 482"/>
                <a:gd name="T4" fmla="*/ 0 w 427"/>
                <a:gd name="T5" fmla="*/ 0 h 482"/>
                <a:gd name="T6" fmla="*/ 0 w 427"/>
                <a:gd name="T7" fmla="*/ 2147483647 h 482"/>
                <a:gd name="T8" fmla="*/ 0 w 427"/>
                <a:gd name="T9" fmla="*/ 2147483647 h 482"/>
                <a:gd name="T10" fmla="*/ 0 w 427"/>
                <a:gd name="T11" fmla="*/ 2147483647 h 482"/>
                <a:gd name="T12" fmla="*/ 0 w 427"/>
                <a:gd name="T13" fmla="*/ 2147483647 h 482"/>
                <a:gd name="T14" fmla="*/ 0 w 427"/>
                <a:gd name="T15" fmla="*/ 2147483647 h 482"/>
                <a:gd name="T16" fmla="*/ 0 w 427"/>
                <a:gd name="T17" fmla="*/ 2147483647 h 482"/>
                <a:gd name="T18" fmla="*/ 0 w 427"/>
                <a:gd name="T19" fmla="*/ 2147483647 h 482"/>
                <a:gd name="T20" fmla="*/ 0 w 427"/>
                <a:gd name="T21" fmla="*/ 2147483647 h 482"/>
                <a:gd name="T22" fmla="*/ 0 w 427"/>
                <a:gd name="T23" fmla="*/ 2147483647 h 482"/>
                <a:gd name="T24" fmla="*/ 0 w 427"/>
                <a:gd name="T25" fmla="*/ 2147483647 h 482"/>
                <a:gd name="T26" fmla="*/ 0 w 427"/>
                <a:gd name="T27" fmla="*/ 2147483647 h 482"/>
                <a:gd name="T28" fmla="*/ 0 w 427"/>
                <a:gd name="T29" fmla="*/ 2147483647 h 482"/>
                <a:gd name="T30" fmla="*/ 0 w 427"/>
                <a:gd name="T31" fmla="*/ 2147483647 h 482"/>
                <a:gd name="T32" fmla="*/ 0 w 427"/>
                <a:gd name="T33" fmla="*/ 2147483647 h 482"/>
                <a:gd name="T34" fmla="*/ 0 w 427"/>
                <a:gd name="T35" fmla="*/ 2147483647 h 482"/>
                <a:gd name="T36" fmla="*/ 0 w 427"/>
                <a:gd name="T37" fmla="*/ 2147483647 h 482"/>
                <a:gd name="T38" fmla="*/ 2147483647 w 427"/>
                <a:gd name="T39" fmla="*/ 2147483647 h 482"/>
                <a:gd name="T40" fmla="*/ 2147483647 w 427"/>
                <a:gd name="T41" fmla="*/ 2147483647 h 482"/>
                <a:gd name="T42" fmla="*/ 0 w 427"/>
                <a:gd name="T43" fmla="*/ 0 h 482"/>
                <a:gd name="T44" fmla="*/ 2147483647 w 427"/>
                <a:gd name="T45" fmla="*/ 0 h 482"/>
                <a:gd name="T46" fmla="*/ 2147483647 w 427"/>
                <a:gd name="T47" fmla="*/ 0 h 482"/>
                <a:gd name="T48" fmla="*/ 2147483647 w 427"/>
                <a:gd name="T49" fmla="*/ 0 h 482"/>
                <a:gd name="T50" fmla="*/ 2147483647 w 427"/>
                <a:gd name="T51" fmla="*/ 0 h 482"/>
                <a:gd name="T52" fmla="*/ 2147483647 w 427"/>
                <a:gd name="T53" fmla="*/ 0 h 482"/>
                <a:gd name="T54" fmla="*/ 2147483647 w 427"/>
                <a:gd name="T55" fmla="*/ 0 h 482"/>
                <a:gd name="T56" fmla="*/ 2147483647 w 427"/>
                <a:gd name="T57" fmla="*/ 0 h 482"/>
                <a:gd name="T58" fmla="*/ 2147483647 w 427"/>
                <a:gd name="T59" fmla="*/ 0 h 482"/>
                <a:gd name="T60" fmla="*/ 2147483647 w 427"/>
                <a:gd name="T61" fmla="*/ 0 h 482"/>
                <a:gd name="T62" fmla="*/ 2147483647 w 427"/>
                <a:gd name="T63" fmla="*/ 0 h 482"/>
                <a:gd name="T64" fmla="*/ 2147483647 w 427"/>
                <a:gd name="T65" fmla="*/ 0 h 482"/>
                <a:gd name="T66" fmla="*/ 2147483647 w 427"/>
                <a:gd name="T67" fmla="*/ 0 h 482"/>
                <a:gd name="T68" fmla="*/ 2147483647 w 427"/>
                <a:gd name="T69" fmla="*/ 0 h 482"/>
                <a:gd name="T70" fmla="*/ 2147483647 w 427"/>
                <a:gd name="T71" fmla="*/ 0 h 482"/>
                <a:gd name="T72" fmla="*/ 2147483647 w 427"/>
                <a:gd name="T73" fmla="*/ 0 h 482"/>
                <a:gd name="T74" fmla="*/ 2147483647 w 427"/>
                <a:gd name="T75" fmla="*/ 0 h 482"/>
                <a:gd name="T76" fmla="*/ 2147483647 w 427"/>
                <a:gd name="T77" fmla="*/ 0 h 482"/>
                <a:gd name="T78" fmla="*/ 2147483647 w 427"/>
                <a:gd name="T79" fmla="*/ 0 h 482"/>
                <a:gd name="T80" fmla="*/ 0 w 427"/>
                <a:gd name="T81" fmla="*/ 0 h 482"/>
                <a:gd name="T82" fmla="*/ 0 w 427"/>
                <a:gd name="T83" fmla="*/ 0 h 482"/>
                <a:gd name="T84" fmla="*/ 0 w 427"/>
                <a:gd name="T85" fmla="*/ 0 h 482"/>
                <a:gd name="T86" fmla="*/ 0 w 427"/>
                <a:gd name="T87" fmla="*/ 0 h 48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7"/>
                <a:gd name="T133" fmla="*/ 0 h 482"/>
                <a:gd name="T134" fmla="*/ 427 w 427"/>
                <a:gd name="T135" fmla="*/ 482 h 48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7" h="482">
                  <a:moveTo>
                    <a:pt x="236" y="0"/>
                  </a:moveTo>
                  <a:lnTo>
                    <a:pt x="203" y="0"/>
                  </a:lnTo>
                  <a:lnTo>
                    <a:pt x="220" y="46"/>
                  </a:lnTo>
                  <a:lnTo>
                    <a:pt x="187" y="59"/>
                  </a:lnTo>
                  <a:lnTo>
                    <a:pt x="176" y="130"/>
                  </a:lnTo>
                  <a:lnTo>
                    <a:pt x="203" y="170"/>
                  </a:lnTo>
                  <a:lnTo>
                    <a:pt x="165" y="287"/>
                  </a:lnTo>
                  <a:lnTo>
                    <a:pt x="0" y="345"/>
                  </a:lnTo>
                  <a:lnTo>
                    <a:pt x="57" y="482"/>
                  </a:lnTo>
                  <a:lnTo>
                    <a:pt x="83" y="474"/>
                  </a:lnTo>
                  <a:lnTo>
                    <a:pt x="94" y="473"/>
                  </a:lnTo>
                  <a:lnTo>
                    <a:pt x="107" y="466"/>
                  </a:lnTo>
                  <a:lnTo>
                    <a:pt x="117" y="460"/>
                  </a:lnTo>
                  <a:lnTo>
                    <a:pt x="137" y="459"/>
                  </a:lnTo>
                  <a:lnTo>
                    <a:pt x="150" y="461"/>
                  </a:lnTo>
                  <a:lnTo>
                    <a:pt x="154" y="464"/>
                  </a:lnTo>
                  <a:lnTo>
                    <a:pt x="161" y="464"/>
                  </a:lnTo>
                  <a:lnTo>
                    <a:pt x="165" y="460"/>
                  </a:lnTo>
                  <a:lnTo>
                    <a:pt x="172" y="455"/>
                  </a:lnTo>
                  <a:lnTo>
                    <a:pt x="179" y="447"/>
                  </a:lnTo>
                  <a:lnTo>
                    <a:pt x="180" y="443"/>
                  </a:lnTo>
                  <a:lnTo>
                    <a:pt x="180" y="436"/>
                  </a:lnTo>
                  <a:lnTo>
                    <a:pt x="180" y="430"/>
                  </a:lnTo>
                  <a:lnTo>
                    <a:pt x="186" y="425"/>
                  </a:lnTo>
                  <a:lnTo>
                    <a:pt x="194" y="414"/>
                  </a:lnTo>
                  <a:lnTo>
                    <a:pt x="224" y="407"/>
                  </a:lnTo>
                  <a:lnTo>
                    <a:pt x="234" y="407"/>
                  </a:lnTo>
                  <a:lnTo>
                    <a:pt x="241" y="404"/>
                  </a:lnTo>
                  <a:lnTo>
                    <a:pt x="250" y="394"/>
                  </a:lnTo>
                  <a:lnTo>
                    <a:pt x="253" y="382"/>
                  </a:lnTo>
                  <a:lnTo>
                    <a:pt x="256" y="371"/>
                  </a:lnTo>
                  <a:lnTo>
                    <a:pt x="262" y="361"/>
                  </a:lnTo>
                  <a:lnTo>
                    <a:pt x="269" y="355"/>
                  </a:lnTo>
                  <a:lnTo>
                    <a:pt x="278" y="352"/>
                  </a:lnTo>
                  <a:lnTo>
                    <a:pt x="282" y="347"/>
                  </a:lnTo>
                  <a:lnTo>
                    <a:pt x="289" y="348"/>
                  </a:lnTo>
                  <a:lnTo>
                    <a:pt x="301" y="346"/>
                  </a:lnTo>
                  <a:lnTo>
                    <a:pt x="309" y="346"/>
                  </a:lnTo>
                  <a:lnTo>
                    <a:pt x="316" y="342"/>
                  </a:lnTo>
                  <a:lnTo>
                    <a:pt x="319" y="337"/>
                  </a:lnTo>
                  <a:lnTo>
                    <a:pt x="316" y="328"/>
                  </a:lnTo>
                  <a:lnTo>
                    <a:pt x="314" y="325"/>
                  </a:lnTo>
                  <a:lnTo>
                    <a:pt x="312" y="312"/>
                  </a:lnTo>
                  <a:lnTo>
                    <a:pt x="312" y="303"/>
                  </a:lnTo>
                  <a:lnTo>
                    <a:pt x="315" y="293"/>
                  </a:lnTo>
                  <a:lnTo>
                    <a:pt x="314" y="285"/>
                  </a:lnTo>
                  <a:lnTo>
                    <a:pt x="327" y="265"/>
                  </a:lnTo>
                  <a:lnTo>
                    <a:pt x="335" y="256"/>
                  </a:lnTo>
                  <a:lnTo>
                    <a:pt x="339" y="253"/>
                  </a:lnTo>
                  <a:lnTo>
                    <a:pt x="342" y="255"/>
                  </a:lnTo>
                  <a:lnTo>
                    <a:pt x="344" y="260"/>
                  </a:lnTo>
                  <a:lnTo>
                    <a:pt x="347" y="262"/>
                  </a:lnTo>
                  <a:lnTo>
                    <a:pt x="353" y="264"/>
                  </a:lnTo>
                  <a:lnTo>
                    <a:pt x="355" y="261"/>
                  </a:lnTo>
                  <a:lnTo>
                    <a:pt x="365" y="244"/>
                  </a:lnTo>
                  <a:lnTo>
                    <a:pt x="369" y="239"/>
                  </a:lnTo>
                  <a:lnTo>
                    <a:pt x="376" y="224"/>
                  </a:lnTo>
                  <a:lnTo>
                    <a:pt x="382" y="216"/>
                  </a:lnTo>
                  <a:lnTo>
                    <a:pt x="396" y="206"/>
                  </a:lnTo>
                  <a:lnTo>
                    <a:pt x="416" y="178"/>
                  </a:lnTo>
                  <a:lnTo>
                    <a:pt x="421" y="167"/>
                  </a:lnTo>
                  <a:lnTo>
                    <a:pt x="422" y="161"/>
                  </a:lnTo>
                  <a:lnTo>
                    <a:pt x="427" y="147"/>
                  </a:lnTo>
                  <a:lnTo>
                    <a:pt x="427" y="143"/>
                  </a:lnTo>
                  <a:lnTo>
                    <a:pt x="423" y="140"/>
                  </a:lnTo>
                  <a:lnTo>
                    <a:pt x="419" y="137"/>
                  </a:lnTo>
                  <a:lnTo>
                    <a:pt x="418" y="134"/>
                  </a:lnTo>
                  <a:lnTo>
                    <a:pt x="406" y="131"/>
                  </a:lnTo>
                  <a:lnTo>
                    <a:pt x="396" y="124"/>
                  </a:lnTo>
                  <a:lnTo>
                    <a:pt x="391" y="111"/>
                  </a:lnTo>
                  <a:lnTo>
                    <a:pt x="386" y="108"/>
                  </a:lnTo>
                  <a:lnTo>
                    <a:pt x="382" y="103"/>
                  </a:lnTo>
                  <a:lnTo>
                    <a:pt x="381" y="98"/>
                  </a:lnTo>
                  <a:lnTo>
                    <a:pt x="375" y="92"/>
                  </a:lnTo>
                  <a:lnTo>
                    <a:pt x="373" y="88"/>
                  </a:lnTo>
                  <a:lnTo>
                    <a:pt x="366" y="79"/>
                  </a:lnTo>
                  <a:lnTo>
                    <a:pt x="354" y="73"/>
                  </a:lnTo>
                  <a:lnTo>
                    <a:pt x="347" y="73"/>
                  </a:lnTo>
                  <a:lnTo>
                    <a:pt x="332" y="66"/>
                  </a:lnTo>
                  <a:lnTo>
                    <a:pt x="315" y="63"/>
                  </a:lnTo>
                  <a:lnTo>
                    <a:pt x="309" y="61"/>
                  </a:lnTo>
                  <a:lnTo>
                    <a:pt x="285" y="51"/>
                  </a:lnTo>
                  <a:lnTo>
                    <a:pt x="274" y="43"/>
                  </a:lnTo>
                  <a:lnTo>
                    <a:pt x="266" y="40"/>
                  </a:lnTo>
                  <a:lnTo>
                    <a:pt x="260" y="30"/>
                  </a:lnTo>
                  <a:lnTo>
                    <a:pt x="252" y="23"/>
                  </a:lnTo>
                  <a:lnTo>
                    <a:pt x="250" y="19"/>
                  </a:lnTo>
                  <a:lnTo>
                    <a:pt x="241" y="12"/>
                  </a:lnTo>
                  <a:lnTo>
                    <a:pt x="236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44" name="Freeform 147">
              <a:extLst>
                <a:ext uri="{FF2B5EF4-FFF2-40B4-BE49-F238E27FC236}">
                  <a16:creationId xmlns:a16="http://schemas.microsoft.com/office/drawing/2014/main" id="{B823EB82-1876-A316-089B-671D2A5E2C3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249099" y="3496580"/>
              <a:ext cx="1493" cy="7621"/>
            </a:xfrm>
            <a:custGeom>
              <a:avLst/>
              <a:gdLst>
                <a:gd name="T0" fmla="*/ 0 w 8"/>
                <a:gd name="T1" fmla="*/ 0 h 19"/>
                <a:gd name="T2" fmla="*/ 0 w 8"/>
                <a:gd name="T3" fmla="*/ 0 h 19"/>
                <a:gd name="T4" fmla="*/ 0 w 8"/>
                <a:gd name="T5" fmla="*/ 0 h 19"/>
                <a:gd name="T6" fmla="*/ 0 w 8"/>
                <a:gd name="T7" fmla="*/ 0 h 19"/>
                <a:gd name="T8" fmla="*/ 0 w 8"/>
                <a:gd name="T9" fmla="*/ 0 h 19"/>
                <a:gd name="T10" fmla="*/ 0 w 8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19"/>
                <a:gd name="T20" fmla="*/ 8 w 8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19">
                  <a:moveTo>
                    <a:pt x="8" y="3"/>
                  </a:moveTo>
                  <a:lnTo>
                    <a:pt x="0" y="0"/>
                  </a:lnTo>
                  <a:lnTo>
                    <a:pt x="0" y="11"/>
                  </a:lnTo>
                  <a:lnTo>
                    <a:pt x="3" y="19"/>
                  </a:lnTo>
                  <a:lnTo>
                    <a:pt x="8" y="17"/>
                  </a:lnTo>
                  <a:lnTo>
                    <a:pt x="8" y="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45" name="Freeform 149">
              <a:extLst>
                <a:ext uri="{FF2B5EF4-FFF2-40B4-BE49-F238E27FC236}">
                  <a16:creationId xmlns:a16="http://schemas.microsoft.com/office/drawing/2014/main" id="{E52AC0AA-E109-851E-25F5-07000EB44FA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387887" y="3475241"/>
              <a:ext cx="28354" cy="13717"/>
            </a:xfrm>
            <a:custGeom>
              <a:avLst/>
              <a:gdLst>
                <a:gd name="T0" fmla="*/ 0 w 50"/>
                <a:gd name="T1" fmla="*/ 0 h 26"/>
                <a:gd name="T2" fmla="*/ 0 w 50"/>
                <a:gd name="T3" fmla="*/ 0 h 26"/>
                <a:gd name="T4" fmla="*/ 0 w 50"/>
                <a:gd name="T5" fmla="*/ 0 h 26"/>
                <a:gd name="T6" fmla="*/ 0 w 50"/>
                <a:gd name="T7" fmla="*/ 0 h 26"/>
                <a:gd name="T8" fmla="*/ 0 w 50"/>
                <a:gd name="T9" fmla="*/ 0 h 26"/>
                <a:gd name="T10" fmla="*/ 0 w 50"/>
                <a:gd name="T11" fmla="*/ 0 h 26"/>
                <a:gd name="T12" fmla="*/ 0 w 50"/>
                <a:gd name="T13" fmla="*/ 0 h 26"/>
                <a:gd name="T14" fmla="*/ 0 w 50"/>
                <a:gd name="T15" fmla="*/ 0 h 26"/>
                <a:gd name="T16" fmla="*/ 0 w 50"/>
                <a:gd name="T17" fmla="*/ 0 h 2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0"/>
                <a:gd name="T28" fmla="*/ 0 h 26"/>
                <a:gd name="T29" fmla="*/ 50 w 50"/>
                <a:gd name="T30" fmla="*/ 26 h 2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0" h="26">
                  <a:moveTo>
                    <a:pt x="50" y="2"/>
                  </a:moveTo>
                  <a:lnTo>
                    <a:pt x="45" y="0"/>
                  </a:lnTo>
                  <a:lnTo>
                    <a:pt x="27" y="2"/>
                  </a:lnTo>
                  <a:lnTo>
                    <a:pt x="23" y="10"/>
                  </a:lnTo>
                  <a:lnTo>
                    <a:pt x="12" y="18"/>
                  </a:lnTo>
                  <a:lnTo>
                    <a:pt x="0" y="22"/>
                  </a:lnTo>
                  <a:lnTo>
                    <a:pt x="1" y="26"/>
                  </a:lnTo>
                  <a:lnTo>
                    <a:pt x="27" y="19"/>
                  </a:lnTo>
                  <a:lnTo>
                    <a:pt x="50" y="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46" name="Freeform 150">
              <a:extLst>
                <a:ext uri="{FF2B5EF4-FFF2-40B4-BE49-F238E27FC236}">
                  <a16:creationId xmlns:a16="http://schemas.microsoft.com/office/drawing/2014/main" id="{D9F06405-E1DA-32FF-FA29-524BE6A6011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062556" y="2989014"/>
              <a:ext cx="561121" cy="548718"/>
            </a:xfrm>
            <a:custGeom>
              <a:avLst/>
              <a:gdLst>
                <a:gd name="T0" fmla="*/ 2147483647 w 1049"/>
                <a:gd name="T1" fmla="*/ 2147483647 h 961"/>
                <a:gd name="T2" fmla="*/ 2147483647 w 1049"/>
                <a:gd name="T3" fmla="*/ 2147483647 h 961"/>
                <a:gd name="T4" fmla="*/ 2147483647 w 1049"/>
                <a:gd name="T5" fmla="*/ 2147483647 h 961"/>
                <a:gd name="T6" fmla="*/ 2147483647 w 1049"/>
                <a:gd name="T7" fmla="*/ 2147483647 h 961"/>
                <a:gd name="T8" fmla="*/ 2147483647 w 1049"/>
                <a:gd name="T9" fmla="*/ 2147483647 h 961"/>
                <a:gd name="T10" fmla="*/ 2147483647 w 1049"/>
                <a:gd name="T11" fmla="*/ 2147483647 h 961"/>
                <a:gd name="T12" fmla="*/ 2147483647 w 1049"/>
                <a:gd name="T13" fmla="*/ 2147483647 h 961"/>
                <a:gd name="T14" fmla="*/ 2147483647 w 1049"/>
                <a:gd name="T15" fmla="*/ 2147483647 h 961"/>
                <a:gd name="T16" fmla="*/ 2147483647 w 1049"/>
                <a:gd name="T17" fmla="*/ 2147483647 h 961"/>
                <a:gd name="T18" fmla="*/ 2147483647 w 1049"/>
                <a:gd name="T19" fmla="*/ 2147483647 h 961"/>
                <a:gd name="T20" fmla="*/ 2147483647 w 1049"/>
                <a:gd name="T21" fmla="*/ 2147483647 h 961"/>
                <a:gd name="T22" fmla="*/ 2147483647 w 1049"/>
                <a:gd name="T23" fmla="*/ 2147483647 h 961"/>
                <a:gd name="T24" fmla="*/ 0 w 1049"/>
                <a:gd name="T25" fmla="*/ 2147483647 h 961"/>
                <a:gd name="T26" fmla="*/ 0 w 1049"/>
                <a:gd name="T27" fmla="*/ 2147483647 h 961"/>
                <a:gd name="T28" fmla="*/ 0 w 1049"/>
                <a:gd name="T29" fmla="*/ 2147483647 h 961"/>
                <a:gd name="T30" fmla="*/ 0 w 1049"/>
                <a:gd name="T31" fmla="*/ 2147483647 h 961"/>
                <a:gd name="T32" fmla="*/ 0 w 1049"/>
                <a:gd name="T33" fmla="*/ 2147483647 h 961"/>
                <a:gd name="T34" fmla="*/ 0 w 1049"/>
                <a:gd name="T35" fmla="*/ 2147483647 h 961"/>
                <a:gd name="T36" fmla="*/ 0 w 1049"/>
                <a:gd name="T37" fmla="*/ 2147483647 h 961"/>
                <a:gd name="T38" fmla="*/ 0 w 1049"/>
                <a:gd name="T39" fmla="*/ 2147483647 h 961"/>
                <a:gd name="T40" fmla="*/ 0 w 1049"/>
                <a:gd name="T41" fmla="*/ 2147483647 h 961"/>
                <a:gd name="T42" fmla="*/ 0 w 1049"/>
                <a:gd name="T43" fmla="*/ 2147483647 h 961"/>
                <a:gd name="T44" fmla="*/ 0 w 1049"/>
                <a:gd name="T45" fmla="*/ 0 h 961"/>
                <a:gd name="T46" fmla="*/ 0 w 1049"/>
                <a:gd name="T47" fmla="*/ 0 h 961"/>
                <a:gd name="T48" fmla="*/ 0 w 1049"/>
                <a:gd name="T49" fmla="*/ 0 h 961"/>
                <a:gd name="T50" fmla="*/ 0 w 1049"/>
                <a:gd name="T51" fmla="*/ 0 h 961"/>
                <a:gd name="T52" fmla="*/ 0 w 1049"/>
                <a:gd name="T53" fmla="*/ 0 h 961"/>
                <a:gd name="T54" fmla="*/ 0 w 1049"/>
                <a:gd name="T55" fmla="*/ 0 h 961"/>
                <a:gd name="T56" fmla="*/ 0 w 1049"/>
                <a:gd name="T57" fmla="*/ 0 h 961"/>
                <a:gd name="T58" fmla="*/ 0 w 1049"/>
                <a:gd name="T59" fmla="*/ 0 h 961"/>
                <a:gd name="T60" fmla="*/ 0 w 1049"/>
                <a:gd name="T61" fmla="*/ 0 h 961"/>
                <a:gd name="T62" fmla="*/ 0 w 1049"/>
                <a:gd name="T63" fmla="*/ 0 h 961"/>
                <a:gd name="T64" fmla="*/ 0 w 1049"/>
                <a:gd name="T65" fmla="*/ 0 h 961"/>
                <a:gd name="T66" fmla="*/ 2147483647 w 1049"/>
                <a:gd name="T67" fmla="*/ 0 h 961"/>
                <a:gd name="T68" fmla="*/ 2147483647 w 1049"/>
                <a:gd name="T69" fmla="*/ 0 h 961"/>
                <a:gd name="T70" fmla="*/ 2147483647 w 1049"/>
                <a:gd name="T71" fmla="*/ 0 h 961"/>
                <a:gd name="T72" fmla="*/ 2147483647 w 1049"/>
                <a:gd name="T73" fmla="*/ 0 h 961"/>
                <a:gd name="T74" fmla="*/ 2147483647 w 1049"/>
                <a:gd name="T75" fmla="*/ 0 h 961"/>
                <a:gd name="T76" fmla="*/ 2147483647 w 1049"/>
                <a:gd name="T77" fmla="*/ 0 h 961"/>
                <a:gd name="T78" fmla="*/ 2147483647 w 1049"/>
                <a:gd name="T79" fmla="*/ 0 h 961"/>
                <a:gd name="T80" fmla="*/ 2147483647 w 1049"/>
                <a:gd name="T81" fmla="*/ 0 h 961"/>
                <a:gd name="T82" fmla="*/ 2147483647 w 1049"/>
                <a:gd name="T83" fmla="*/ 0 h 961"/>
                <a:gd name="T84" fmla="*/ 2147483647 w 1049"/>
                <a:gd name="T85" fmla="*/ 2147483647 h 961"/>
                <a:gd name="T86" fmla="*/ 2147483647 w 1049"/>
                <a:gd name="T87" fmla="*/ 2147483647 h 961"/>
                <a:gd name="T88" fmla="*/ 2147483647 w 1049"/>
                <a:gd name="T89" fmla="*/ 2147483647 h 961"/>
                <a:gd name="T90" fmla="*/ 2147483647 w 1049"/>
                <a:gd name="T91" fmla="*/ 2147483647 h 961"/>
                <a:gd name="T92" fmla="*/ 2147483647 w 1049"/>
                <a:gd name="T93" fmla="*/ 2147483647 h 961"/>
                <a:gd name="T94" fmla="*/ 2147483647 w 1049"/>
                <a:gd name="T95" fmla="*/ 2147483647 h 961"/>
                <a:gd name="T96" fmla="*/ 2147483647 w 1049"/>
                <a:gd name="T97" fmla="*/ 2147483647 h 961"/>
                <a:gd name="T98" fmla="*/ 2147483647 w 1049"/>
                <a:gd name="T99" fmla="*/ 2147483647 h 961"/>
                <a:gd name="T100" fmla="*/ 2147483647 w 1049"/>
                <a:gd name="T101" fmla="*/ 2147483647 h 961"/>
                <a:gd name="T102" fmla="*/ 2147483647 w 1049"/>
                <a:gd name="T103" fmla="*/ 2147483647 h 96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049"/>
                <a:gd name="T157" fmla="*/ 0 h 961"/>
                <a:gd name="T158" fmla="*/ 1049 w 1049"/>
                <a:gd name="T159" fmla="*/ 961 h 961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049" h="961">
                  <a:moveTo>
                    <a:pt x="957" y="958"/>
                  </a:moveTo>
                  <a:lnTo>
                    <a:pt x="954" y="957"/>
                  </a:lnTo>
                  <a:lnTo>
                    <a:pt x="947" y="961"/>
                  </a:lnTo>
                  <a:lnTo>
                    <a:pt x="932" y="960"/>
                  </a:lnTo>
                  <a:lnTo>
                    <a:pt x="920" y="957"/>
                  </a:lnTo>
                  <a:lnTo>
                    <a:pt x="903" y="951"/>
                  </a:lnTo>
                  <a:lnTo>
                    <a:pt x="895" y="944"/>
                  </a:lnTo>
                  <a:lnTo>
                    <a:pt x="889" y="949"/>
                  </a:lnTo>
                  <a:lnTo>
                    <a:pt x="855" y="947"/>
                  </a:lnTo>
                  <a:lnTo>
                    <a:pt x="836" y="944"/>
                  </a:lnTo>
                  <a:lnTo>
                    <a:pt x="825" y="939"/>
                  </a:lnTo>
                  <a:lnTo>
                    <a:pt x="820" y="941"/>
                  </a:lnTo>
                  <a:lnTo>
                    <a:pt x="818" y="945"/>
                  </a:lnTo>
                  <a:lnTo>
                    <a:pt x="806" y="938"/>
                  </a:lnTo>
                  <a:lnTo>
                    <a:pt x="792" y="933"/>
                  </a:lnTo>
                  <a:lnTo>
                    <a:pt x="775" y="933"/>
                  </a:lnTo>
                  <a:lnTo>
                    <a:pt x="755" y="930"/>
                  </a:lnTo>
                  <a:lnTo>
                    <a:pt x="744" y="926"/>
                  </a:lnTo>
                  <a:lnTo>
                    <a:pt x="726" y="925"/>
                  </a:lnTo>
                  <a:lnTo>
                    <a:pt x="717" y="912"/>
                  </a:lnTo>
                  <a:lnTo>
                    <a:pt x="710" y="893"/>
                  </a:lnTo>
                  <a:lnTo>
                    <a:pt x="705" y="869"/>
                  </a:lnTo>
                  <a:lnTo>
                    <a:pt x="697" y="852"/>
                  </a:lnTo>
                  <a:lnTo>
                    <a:pt x="683" y="843"/>
                  </a:lnTo>
                  <a:lnTo>
                    <a:pt x="673" y="839"/>
                  </a:lnTo>
                  <a:lnTo>
                    <a:pt x="665" y="838"/>
                  </a:lnTo>
                  <a:lnTo>
                    <a:pt x="645" y="847"/>
                  </a:lnTo>
                  <a:lnTo>
                    <a:pt x="625" y="853"/>
                  </a:lnTo>
                  <a:lnTo>
                    <a:pt x="619" y="860"/>
                  </a:lnTo>
                  <a:lnTo>
                    <a:pt x="610" y="865"/>
                  </a:lnTo>
                  <a:lnTo>
                    <a:pt x="600" y="865"/>
                  </a:lnTo>
                  <a:lnTo>
                    <a:pt x="584" y="875"/>
                  </a:lnTo>
                  <a:lnTo>
                    <a:pt x="573" y="877"/>
                  </a:lnTo>
                  <a:lnTo>
                    <a:pt x="559" y="874"/>
                  </a:lnTo>
                  <a:lnTo>
                    <a:pt x="551" y="868"/>
                  </a:lnTo>
                  <a:lnTo>
                    <a:pt x="537" y="865"/>
                  </a:lnTo>
                  <a:lnTo>
                    <a:pt x="523" y="868"/>
                  </a:lnTo>
                  <a:lnTo>
                    <a:pt x="516" y="868"/>
                  </a:lnTo>
                  <a:lnTo>
                    <a:pt x="507" y="856"/>
                  </a:lnTo>
                  <a:lnTo>
                    <a:pt x="511" y="859"/>
                  </a:lnTo>
                  <a:lnTo>
                    <a:pt x="509" y="854"/>
                  </a:lnTo>
                  <a:lnTo>
                    <a:pt x="502" y="849"/>
                  </a:lnTo>
                  <a:lnTo>
                    <a:pt x="470" y="838"/>
                  </a:lnTo>
                  <a:lnTo>
                    <a:pt x="462" y="826"/>
                  </a:lnTo>
                  <a:lnTo>
                    <a:pt x="462" y="822"/>
                  </a:lnTo>
                  <a:lnTo>
                    <a:pt x="453" y="812"/>
                  </a:lnTo>
                  <a:lnTo>
                    <a:pt x="438" y="805"/>
                  </a:lnTo>
                  <a:lnTo>
                    <a:pt x="425" y="800"/>
                  </a:lnTo>
                  <a:lnTo>
                    <a:pt x="409" y="799"/>
                  </a:lnTo>
                  <a:lnTo>
                    <a:pt x="400" y="794"/>
                  </a:lnTo>
                  <a:lnTo>
                    <a:pt x="392" y="785"/>
                  </a:lnTo>
                  <a:lnTo>
                    <a:pt x="384" y="762"/>
                  </a:lnTo>
                  <a:lnTo>
                    <a:pt x="374" y="745"/>
                  </a:lnTo>
                  <a:lnTo>
                    <a:pt x="371" y="730"/>
                  </a:lnTo>
                  <a:lnTo>
                    <a:pt x="351" y="713"/>
                  </a:lnTo>
                  <a:lnTo>
                    <a:pt x="347" y="699"/>
                  </a:lnTo>
                  <a:lnTo>
                    <a:pt x="342" y="689"/>
                  </a:lnTo>
                  <a:lnTo>
                    <a:pt x="334" y="685"/>
                  </a:lnTo>
                  <a:lnTo>
                    <a:pt x="324" y="669"/>
                  </a:lnTo>
                  <a:lnTo>
                    <a:pt x="323" y="661"/>
                  </a:lnTo>
                  <a:lnTo>
                    <a:pt x="319" y="655"/>
                  </a:lnTo>
                  <a:lnTo>
                    <a:pt x="313" y="651"/>
                  </a:lnTo>
                  <a:lnTo>
                    <a:pt x="301" y="656"/>
                  </a:lnTo>
                  <a:lnTo>
                    <a:pt x="293" y="664"/>
                  </a:lnTo>
                  <a:lnTo>
                    <a:pt x="292" y="661"/>
                  </a:lnTo>
                  <a:lnTo>
                    <a:pt x="286" y="659"/>
                  </a:lnTo>
                  <a:lnTo>
                    <a:pt x="283" y="654"/>
                  </a:lnTo>
                  <a:lnTo>
                    <a:pt x="276" y="649"/>
                  </a:lnTo>
                  <a:lnTo>
                    <a:pt x="271" y="642"/>
                  </a:lnTo>
                  <a:lnTo>
                    <a:pt x="270" y="632"/>
                  </a:lnTo>
                  <a:lnTo>
                    <a:pt x="265" y="627"/>
                  </a:lnTo>
                  <a:lnTo>
                    <a:pt x="256" y="624"/>
                  </a:lnTo>
                  <a:lnTo>
                    <a:pt x="252" y="628"/>
                  </a:lnTo>
                  <a:lnTo>
                    <a:pt x="254" y="634"/>
                  </a:lnTo>
                  <a:lnTo>
                    <a:pt x="252" y="640"/>
                  </a:lnTo>
                  <a:lnTo>
                    <a:pt x="253" y="646"/>
                  </a:lnTo>
                  <a:lnTo>
                    <a:pt x="244" y="646"/>
                  </a:lnTo>
                  <a:lnTo>
                    <a:pt x="243" y="656"/>
                  </a:lnTo>
                  <a:lnTo>
                    <a:pt x="240" y="655"/>
                  </a:lnTo>
                  <a:lnTo>
                    <a:pt x="237" y="653"/>
                  </a:lnTo>
                  <a:lnTo>
                    <a:pt x="217" y="638"/>
                  </a:lnTo>
                  <a:lnTo>
                    <a:pt x="210" y="630"/>
                  </a:lnTo>
                  <a:lnTo>
                    <a:pt x="205" y="622"/>
                  </a:lnTo>
                  <a:lnTo>
                    <a:pt x="201" y="602"/>
                  </a:lnTo>
                  <a:lnTo>
                    <a:pt x="188" y="595"/>
                  </a:lnTo>
                  <a:lnTo>
                    <a:pt x="189" y="574"/>
                  </a:lnTo>
                  <a:lnTo>
                    <a:pt x="193" y="547"/>
                  </a:lnTo>
                  <a:lnTo>
                    <a:pt x="186" y="533"/>
                  </a:lnTo>
                  <a:lnTo>
                    <a:pt x="179" y="521"/>
                  </a:lnTo>
                  <a:lnTo>
                    <a:pt x="172" y="506"/>
                  </a:lnTo>
                  <a:lnTo>
                    <a:pt x="163" y="497"/>
                  </a:lnTo>
                  <a:lnTo>
                    <a:pt x="150" y="493"/>
                  </a:lnTo>
                  <a:lnTo>
                    <a:pt x="140" y="488"/>
                  </a:lnTo>
                  <a:lnTo>
                    <a:pt x="126" y="477"/>
                  </a:lnTo>
                  <a:lnTo>
                    <a:pt x="111" y="466"/>
                  </a:lnTo>
                  <a:lnTo>
                    <a:pt x="99" y="460"/>
                  </a:lnTo>
                  <a:lnTo>
                    <a:pt x="99" y="449"/>
                  </a:lnTo>
                  <a:lnTo>
                    <a:pt x="93" y="435"/>
                  </a:lnTo>
                  <a:lnTo>
                    <a:pt x="86" y="429"/>
                  </a:lnTo>
                  <a:lnTo>
                    <a:pt x="82" y="422"/>
                  </a:lnTo>
                  <a:lnTo>
                    <a:pt x="73" y="422"/>
                  </a:lnTo>
                  <a:lnTo>
                    <a:pt x="67" y="417"/>
                  </a:lnTo>
                  <a:lnTo>
                    <a:pt x="65" y="401"/>
                  </a:lnTo>
                  <a:lnTo>
                    <a:pt x="68" y="400"/>
                  </a:lnTo>
                  <a:lnTo>
                    <a:pt x="72" y="393"/>
                  </a:lnTo>
                  <a:lnTo>
                    <a:pt x="76" y="368"/>
                  </a:lnTo>
                  <a:lnTo>
                    <a:pt x="80" y="360"/>
                  </a:lnTo>
                  <a:lnTo>
                    <a:pt x="88" y="358"/>
                  </a:lnTo>
                  <a:lnTo>
                    <a:pt x="87" y="349"/>
                  </a:lnTo>
                  <a:lnTo>
                    <a:pt x="100" y="328"/>
                  </a:lnTo>
                  <a:lnTo>
                    <a:pt x="109" y="317"/>
                  </a:lnTo>
                  <a:lnTo>
                    <a:pt x="104" y="299"/>
                  </a:lnTo>
                  <a:lnTo>
                    <a:pt x="110" y="285"/>
                  </a:lnTo>
                  <a:lnTo>
                    <a:pt x="116" y="278"/>
                  </a:lnTo>
                  <a:lnTo>
                    <a:pt x="102" y="278"/>
                  </a:lnTo>
                  <a:lnTo>
                    <a:pt x="80" y="273"/>
                  </a:lnTo>
                  <a:lnTo>
                    <a:pt x="68" y="262"/>
                  </a:lnTo>
                  <a:lnTo>
                    <a:pt x="62" y="240"/>
                  </a:lnTo>
                  <a:lnTo>
                    <a:pt x="50" y="230"/>
                  </a:lnTo>
                  <a:lnTo>
                    <a:pt x="40" y="213"/>
                  </a:lnTo>
                  <a:lnTo>
                    <a:pt x="35" y="180"/>
                  </a:lnTo>
                  <a:lnTo>
                    <a:pt x="34" y="164"/>
                  </a:lnTo>
                  <a:lnTo>
                    <a:pt x="22" y="147"/>
                  </a:lnTo>
                  <a:lnTo>
                    <a:pt x="8" y="139"/>
                  </a:lnTo>
                  <a:lnTo>
                    <a:pt x="12" y="118"/>
                  </a:lnTo>
                  <a:lnTo>
                    <a:pt x="10" y="102"/>
                  </a:lnTo>
                  <a:lnTo>
                    <a:pt x="10" y="85"/>
                  </a:lnTo>
                  <a:lnTo>
                    <a:pt x="8" y="58"/>
                  </a:lnTo>
                  <a:lnTo>
                    <a:pt x="1" y="41"/>
                  </a:lnTo>
                  <a:lnTo>
                    <a:pt x="0" y="34"/>
                  </a:lnTo>
                  <a:lnTo>
                    <a:pt x="14" y="25"/>
                  </a:lnTo>
                  <a:lnTo>
                    <a:pt x="16" y="18"/>
                  </a:lnTo>
                  <a:lnTo>
                    <a:pt x="25" y="0"/>
                  </a:lnTo>
                  <a:lnTo>
                    <a:pt x="34" y="11"/>
                  </a:lnTo>
                  <a:lnTo>
                    <a:pt x="38" y="16"/>
                  </a:lnTo>
                  <a:lnTo>
                    <a:pt x="70" y="62"/>
                  </a:lnTo>
                  <a:lnTo>
                    <a:pt x="86" y="65"/>
                  </a:lnTo>
                  <a:lnTo>
                    <a:pt x="99" y="68"/>
                  </a:lnTo>
                  <a:lnTo>
                    <a:pt x="104" y="68"/>
                  </a:lnTo>
                  <a:lnTo>
                    <a:pt x="121" y="68"/>
                  </a:lnTo>
                  <a:lnTo>
                    <a:pt x="127" y="68"/>
                  </a:lnTo>
                  <a:lnTo>
                    <a:pt x="138" y="65"/>
                  </a:lnTo>
                  <a:lnTo>
                    <a:pt x="150" y="53"/>
                  </a:lnTo>
                  <a:lnTo>
                    <a:pt x="156" y="37"/>
                  </a:lnTo>
                  <a:lnTo>
                    <a:pt x="166" y="27"/>
                  </a:lnTo>
                  <a:lnTo>
                    <a:pt x="178" y="19"/>
                  </a:lnTo>
                  <a:lnTo>
                    <a:pt x="204" y="13"/>
                  </a:lnTo>
                  <a:lnTo>
                    <a:pt x="221" y="22"/>
                  </a:lnTo>
                  <a:lnTo>
                    <a:pt x="220" y="36"/>
                  </a:lnTo>
                  <a:lnTo>
                    <a:pt x="227" y="57"/>
                  </a:lnTo>
                  <a:lnTo>
                    <a:pt x="212" y="65"/>
                  </a:lnTo>
                  <a:lnTo>
                    <a:pt x="209" y="70"/>
                  </a:lnTo>
                  <a:lnTo>
                    <a:pt x="220" y="77"/>
                  </a:lnTo>
                  <a:lnTo>
                    <a:pt x="224" y="81"/>
                  </a:lnTo>
                  <a:lnTo>
                    <a:pt x="232" y="85"/>
                  </a:lnTo>
                  <a:lnTo>
                    <a:pt x="240" y="92"/>
                  </a:lnTo>
                  <a:lnTo>
                    <a:pt x="247" y="95"/>
                  </a:lnTo>
                  <a:lnTo>
                    <a:pt x="254" y="95"/>
                  </a:lnTo>
                  <a:lnTo>
                    <a:pt x="258" y="94"/>
                  </a:lnTo>
                  <a:lnTo>
                    <a:pt x="260" y="123"/>
                  </a:lnTo>
                  <a:lnTo>
                    <a:pt x="265" y="142"/>
                  </a:lnTo>
                  <a:lnTo>
                    <a:pt x="270" y="155"/>
                  </a:lnTo>
                  <a:lnTo>
                    <a:pt x="282" y="165"/>
                  </a:lnTo>
                  <a:lnTo>
                    <a:pt x="293" y="167"/>
                  </a:lnTo>
                  <a:lnTo>
                    <a:pt x="303" y="171"/>
                  </a:lnTo>
                  <a:lnTo>
                    <a:pt x="318" y="170"/>
                  </a:lnTo>
                  <a:lnTo>
                    <a:pt x="329" y="171"/>
                  </a:lnTo>
                  <a:lnTo>
                    <a:pt x="336" y="176"/>
                  </a:lnTo>
                  <a:lnTo>
                    <a:pt x="344" y="192"/>
                  </a:lnTo>
                  <a:lnTo>
                    <a:pt x="357" y="203"/>
                  </a:lnTo>
                  <a:lnTo>
                    <a:pt x="377" y="214"/>
                  </a:lnTo>
                  <a:lnTo>
                    <a:pt x="411" y="225"/>
                  </a:lnTo>
                  <a:lnTo>
                    <a:pt x="423" y="226"/>
                  </a:lnTo>
                  <a:lnTo>
                    <a:pt x="479" y="209"/>
                  </a:lnTo>
                  <a:lnTo>
                    <a:pt x="497" y="207"/>
                  </a:lnTo>
                  <a:lnTo>
                    <a:pt x="519" y="202"/>
                  </a:lnTo>
                  <a:lnTo>
                    <a:pt x="516" y="205"/>
                  </a:lnTo>
                  <a:lnTo>
                    <a:pt x="502" y="208"/>
                  </a:lnTo>
                  <a:lnTo>
                    <a:pt x="519" y="210"/>
                  </a:lnTo>
                  <a:lnTo>
                    <a:pt x="543" y="207"/>
                  </a:lnTo>
                  <a:lnTo>
                    <a:pt x="543" y="187"/>
                  </a:lnTo>
                  <a:lnTo>
                    <a:pt x="534" y="166"/>
                  </a:lnTo>
                  <a:lnTo>
                    <a:pt x="548" y="166"/>
                  </a:lnTo>
                  <a:lnTo>
                    <a:pt x="566" y="162"/>
                  </a:lnTo>
                  <a:lnTo>
                    <a:pt x="600" y="135"/>
                  </a:lnTo>
                  <a:lnTo>
                    <a:pt x="615" y="121"/>
                  </a:lnTo>
                  <a:lnTo>
                    <a:pt x="631" y="117"/>
                  </a:lnTo>
                  <a:lnTo>
                    <a:pt x="642" y="117"/>
                  </a:lnTo>
                  <a:lnTo>
                    <a:pt x="653" y="121"/>
                  </a:lnTo>
                  <a:lnTo>
                    <a:pt x="664" y="121"/>
                  </a:lnTo>
                  <a:lnTo>
                    <a:pt x="669" y="116"/>
                  </a:lnTo>
                  <a:lnTo>
                    <a:pt x="672" y="107"/>
                  </a:lnTo>
                  <a:lnTo>
                    <a:pt x="686" y="105"/>
                  </a:lnTo>
                  <a:lnTo>
                    <a:pt x="707" y="107"/>
                  </a:lnTo>
                  <a:lnTo>
                    <a:pt x="722" y="119"/>
                  </a:lnTo>
                  <a:lnTo>
                    <a:pt x="731" y="131"/>
                  </a:lnTo>
                  <a:lnTo>
                    <a:pt x="769" y="143"/>
                  </a:lnTo>
                  <a:lnTo>
                    <a:pt x="782" y="150"/>
                  </a:lnTo>
                  <a:lnTo>
                    <a:pt x="793" y="153"/>
                  </a:lnTo>
                  <a:lnTo>
                    <a:pt x="804" y="150"/>
                  </a:lnTo>
                  <a:lnTo>
                    <a:pt x="819" y="153"/>
                  </a:lnTo>
                  <a:lnTo>
                    <a:pt x="828" y="158"/>
                  </a:lnTo>
                  <a:lnTo>
                    <a:pt x="837" y="171"/>
                  </a:lnTo>
                  <a:lnTo>
                    <a:pt x="841" y="183"/>
                  </a:lnTo>
                  <a:lnTo>
                    <a:pt x="851" y="187"/>
                  </a:lnTo>
                  <a:lnTo>
                    <a:pt x="867" y="197"/>
                  </a:lnTo>
                  <a:lnTo>
                    <a:pt x="889" y="215"/>
                  </a:lnTo>
                  <a:lnTo>
                    <a:pt x="905" y="225"/>
                  </a:lnTo>
                  <a:lnTo>
                    <a:pt x="931" y="225"/>
                  </a:lnTo>
                  <a:lnTo>
                    <a:pt x="936" y="230"/>
                  </a:lnTo>
                  <a:lnTo>
                    <a:pt x="936" y="267"/>
                  </a:lnTo>
                  <a:lnTo>
                    <a:pt x="939" y="278"/>
                  </a:lnTo>
                  <a:lnTo>
                    <a:pt x="937" y="291"/>
                  </a:lnTo>
                  <a:lnTo>
                    <a:pt x="935" y="305"/>
                  </a:lnTo>
                  <a:lnTo>
                    <a:pt x="935" y="321"/>
                  </a:lnTo>
                  <a:lnTo>
                    <a:pt x="930" y="343"/>
                  </a:lnTo>
                  <a:lnTo>
                    <a:pt x="916" y="365"/>
                  </a:lnTo>
                  <a:lnTo>
                    <a:pt x="916" y="380"/>
                  </a:lnTo>
                  <a:lnTo>
                    <a:pt x="895" y="388"/>
                  </a:lnTo>
                  <a:lnTo>
                    <a:pt x="895" y="398"/>
                  </a:lnTo>
                  <a:lnTo>
                    <a:pt x="895" y="418"/>
                  </a:lnTo>
                  <a:lnTo>
                    <a:pt x="909" y="423"/>
                  </a:lnTo>
                  <a:lnTo>
                    <a:pt x="910" y="434"/>
                  </a:lnTo>
                  <a:lnTo>
                    <a:pt x="903" y="452"/>
                  </a:lnTo>
                  <a:lnTo>
                    <a:pt x="899" y="470"/>
                  </a:lnTo>
                  <a:lnTo>
                    <a:pt x="901" y="482"/>
                  </a:lnTo>
                  <a:lnTo>
                    <a:pt x="907" y="498"/>
                  </a:lnTo>
                  <a:lnTo>
                    <a:pt x="910" y="516"/>
                  </a:lnTo>
                  <a:lnTo>
                    <a:pt x="907" y="533"/>
                  </a:lnTo>
                  <a:lnTo>
                    <a:pt x="909" y="546"/>
                  </a:lnTo>
                  <a:lnTo>
                    <a:pt x="919" y="557"/>
                  </a:lnTo>
                  <a:lnTo>
                    <a:pt x="931" y="560"/>
                  </a:lnTo>
                  <a:lnTo>
                    <a:pt x="943" y="560"/>
                  </a:lnTo>
                  <a:lnTo>
                    <a:pt x="954" y="570"/>
                  </a:lnTo>
                  <a:lnTo>
                    <a:pt x="960" y="586"/>
                  </a:lnTo>
                  <a:lnTo>
                    <a:pt x="960" y="601"/>
                  </a:lnTo>
                  <a:lnTo>
                    <a:pt x="954" y="618"/>
                  </a:lnTo>
                  <a:lnTo>
                    <a:pt x="931" y="646"/>
                  </a:lnTo>
                  <a:lnTo>
                    <a:pt x="919" y="671"/>
                  </a:lnTo>
                  <a:lnTo>
                    <a:pt x="915" y="676"/>
                  </a:lnTo>
                  <a:lnTo>
                    <a:pt x="923" y="686"/>
                  </a:lnTo>
                  <a:lnTo>
                    <a:pt x="937" y="698"/>
                  </a:lnTo>
                  <a:lnTo>
                    <a:pt x="958" y="741"/>
                  </a:lnTo>
                  <a:lnTo>
                    <a:pt x="970" y="751"/>
                  </a:lnTo>
                  <a:lnTo>
                    <a:pt x="986" y="759"/>
                  </a:lnTo>
                  <a:lnTo>
                    <a:pt x="1013" y="768"/>
                  </a:lnTo>
                  <a:lnTo>
                    <a:pt x="1018" y="774"/>
                  </a:lnTo>
                  <a:lnTo>
                    <a:pt x="1023" y="800"/>
                  </a:lnTo>
                  <a:lnTo>
                    <a:pt x="1024" y="815"/>
                  </a:lnTo>
                  <a:lnTo>
                    <a:pt x="1023" y="829"/>
                  </a:lnTo>
                  <a:lnTo>
                    <a:pt x="1043" y="833"/>
                  </a:lnTo>
                  <a:lnTo>
                    <a:pt x="1048" y="838"/>
                  </a:lnTo>
                  <a:lnTo>
                    <a:pt x="1049" y="848"/>
                  </a:lnTo>
                  <a:lnTo>
                    <a:pt x="1046" y="854"/>
                  </a:lnTo>
                  <a:lnTo>
                    <a:pt x="1033" y="866"/>
                  </a:lnTo>
                  <a:lnTo>
                    <a:pt x="1021" y="869"/>
                  </a:lnTo>
                  <a:lnTo>
                    <a:pt x="1006" y="875"/>
                  </a:lnTo>
                  <a:lnTo>
                    <a:pt x="992" y="880"/>
                  </a:lnTo>
                  <a:lnTo>
                    <a:pt x="979" y="890"/>
                  </a:lnTo>
                  <a:lnTo>
                    <a:pt x="970" y="902"/>
                  </a:lnTo>
                  <a:lnTo>
                    <a:pt x="959" y="931"/>
                  </a:lnTo>
                  <a:lnTo>
                    <a:pt x="957" y="944"/>
                  </a:lnTo>
                  <a:lnTo>
                    <a:pt x="957" y="95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47" name="Freeform 151">
              <a:extLst>
                <a:ext uri="{FF2B5EF4-FFF2-40B4-BE49-F238E27FC236}">
                  <a16:creationId xmlns:a16="http://schemas.microsoft.com/office/drawing/2014/main" id="{B34274A5-8FBC-99B7-910E-7F1CD1063CA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905860" y="3085041"/>
              <a:ext cx="286530" cy="309415"/>
            </a:xfrm>
            <a:custGeom>
              <a:avLst/>
              <a:gdLst>
                <a:gd name="T0" fmla="*/ 2147483647 w 534"/>
                <a:gd name="T1" fmla="*/ 2147483647 h 548"/>
                <a:gd name="T2" fmla="*/ 2147483647 w 534"/>
                <a:gd name="T3" fmla="*/ 2147483647 h 548"/>
                <a:gd name="T4" fmla="*/ 2147483647 w 534"/>
                <a:gd name="T5" fmla="*/ 2147483647 h 548"/>
                <a:gd name="T6" fmla="*/ 2147483647 w 534"/>
                <a:gd name="T7" fmla="*/ 2147483647 h 548"/>
                <a:gd name="T8" fmla="*/ 2147483647 w 534"/>
                <a:gd name="T9" fmla="*/ 2147483647 h 548"/>
                <a:gd name="T10" fmla="*/ 2147483647 w 534"/>
                <a:gd name="T11" fmla="*/ 2147483647 h 548"/>
                <a:gd name="T12" fmla="*/ 2147483647 w 534"/>
                <a:gd name="T13" fmla="*/ 2147483647 h 548"/>
                <a:gd name="T14" fmla="*/ 2147483647 w 534"/>
                <a:gd name="T15" fmla="*/ 2147483647 h 548"/>
                <a:gd name="T16" fmla="*/ 2147483647 w 534"/>
                <a:gd name="T17" fmla="*/ 2147483647 h 548"/>
                <a:gd name="T18" fmla="*/ 2147483647 w 534"/>
                <a:gd name="T19" fmla="*/ 2147483647 h 548"/>
                <a:gd name="T20" fmla="*/ 2147483647 w 534"/>
                <a:gd name="T21" fmla="*/ 2147483647 h 548"/>
                <a:gd name="T22" fmla="*/ 0 w 534"/>
                <a:gd name="T23" fmla="*/ 2147483647 h 548"/>
                <a:gd name="T24" fmla="*/ 2147483647 w 534"/>
                <a:gd name="T25" fmla="*/ 2147483647 h 548"/>
                <a:gd name="T26" fmla="*/ 2147483647 w 534"/>
                <a:gd name="T27" fmla="*/ 2147483647 h 548"/>
                <a:gd name="T28" fmla="*/ 2147483647 w 534"/>
                <a:gd name="T29" fmla="*/ 2147483647 h 548"/>
                <a:gd name="T30" fmla="*/ 2147483647 w 534"/>
                <a:gd name="T31" fmla="*/ 2147483647 h 548"/>
                <a:gd name="T32" fmla="*/ 2147483647 w 534"/>
                <a:gd name="T33" fmla="*/ 0 h 548"/>
                <a:gd name="T34" fmla="*/ 2147483647 w 534"/>
                <a:gd name="T35" fmla="*/ 0 h 548"/>
                <a:gd name="T36" fmla="*/ 2147483647 w 534"/>
                <a:gd name="T37" fmla="*/ 0 h 548"/>
                <a:gd name="T38" fmla="*/ 2147483647 w 534"/>
                <a:gd name="T39" fmla="*/ 0 h 548"/>
                <a:gd name="T40" fmla="*/ 2147483647 w 534"/>
                <a:gd name="T41" fmla="*/ 0 h 548"/>
                <a:gd name="T42" fmla="*/ 2147483647 w 534"/>
                <a:gd name="T43" fmla="*/ 0 h 548"/>
                <a:gd name="T44" fmla="*/ 2147483647 w 534"/>
                <a:gd name="T45" fmla="*/ 0 h 548"/>
                <a:gd name="T46" fmla="*/ 2147483647 w 534"/>
                <a:gd name="T47" fmla="*/ 2147483647 h 548"/>
                <a:gd name="T48" fmla="*/ 2147483647 w 534"/>
                <a:gd name="T49" fmla="*/ 2147483647 h 548"/>
                <a:gd name="T50" fmla="*/ 2147483647 w 534"/>
                <a:gd name="T51" fmla="*/ 2147483647 h 548"/>
                <a:gd name="T52" fmla="*/ 2147483647 w 534"/>
                <a:gd name="T53" fmla="*/ 2147483647 h 548"/>
                <a:gd name="T54" fmla="*/ 2147483647 w 534"/>
                <a:gd name="T55" fmla="*/ 2147483647 h 548"/>
                <a:gd name="T56" fmla="*/ 2147483647 w 534"/>
                <a:gd name="T57" fmla="*/ 2147483647 h 548"/>
                <a:gd name="T58" fmla="*/ 2147483647 w 534"/>
                <a:gd name="T59" fmla="*/ 2147483647 h 548"/>
                <a:gd name="T60" fmla="*/ 2147483647 w 534"/>
                <a:gd name="T61" fmla="*/ 2147483647 h 548"/>
                <a:gd name="T62" fmla="*/ 2147483647 w 534"/>
                <a:gd name="T63" fmla="*/ 2147483647 h 548"/>
                <a:gd name="T64" fmla="*/ 2147483647 w 534"/>
                <a:gd name="T65" fmla="*/ 2147483647 h 548"/>
                <a:gd name="T66" fmla="*/ 2147483647 w 534"/>
                <a:gd name="T67" fmla="*/ 2147483647 h 548"/>
                <a:gd name="T68" fmla="*/ 2147483647 w 534"/>
                <a:gd name="T69" fmla="*/ 2147483647 h 548"/>
                <a:gd name="T70" fmla="*/ 2147483647 w 534"/>
                <a:gd name="T71" fmla="*/ 2147483647 h 548"/>
                <a:gd name="T72" fmla="*/ 2147483647 w 534"/>
                <a:gd name="T73" fmla="*/ 2147483647 h 548"/>
                <a:gd name="T74" fmla="*/ 2147483647 w 534"/>
                <a:gd name="T75" fmla="*/ 2147483647 h 548"/>
                <a:gd name="T76" fmla="*/ 2147483647 w 534"/>
                <a:gd name="T77" fmla="*/ 2147483647 h 548"/>
                <a:gd name="T78" fmla="*/ 2147483647 w 534"/>
                <a:gd name="T79" fmla="*/ 2147483647 h 548"/>
                <a:gd name="T80" fmla="*/ 2147483647 w 534"/>
                <a:gd name="T81" fmla="*/ 2147483647 h 548"/>
                <a:gd name="T82" fmla="*/ 2147483647 w 534"/>
                <a:gd name="T83" fmla="*/ 2147483647 h 548"/>
                <a:gd name="T84" fmla="*/ 2147483647 w 534"/>
                <a:gd name="T85" fmla="*/ 2147483647 h 54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34"/>
                <a:gd name="T130" fmla="*/ 0 h 548"/>
                <a:gd name="T131" fmla="*/ 534 w 534"/>
                <a:gd name="T132" fmla="*/ 548 h 54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34" h="548">
                  <a:moveTo>
                    <a:pt x="534" y="489"/>
                  </a:moveTo>
                  <a:lnTo>
                    <a:pt x="527" y="500"/>
                  </a:lnTo>
                  <a:lnTo>
                    <a:pt x="520" y="495"/>
                  </a:lnTo>
                  <a:lnTo>
                    <a:pt x="510" y="490"/>
                  </a:lnTo>
                  <a:lnTo>
                    <a:pt x="507" y="491"/>
                  </a:lnTo>
                  <a:lnTo>
                    <a:pt x="505" y="494"/>
                  </a:lnTo>
                  <a:lnTo>
                    <a:pt x="493" y="490"/>
                  </a:lnTo>
                  <a:lnTo>
                    <a:pt x="479" y="489"/>
                  </a:lnTo>
                  <a:lnTo>
                    <a:pt x="463" y="495"/>
                  </a:lnTo>
                  <a:lnTo>
                    <a:pt x="452" y="512"/>
                  </a:lnTo>
                  <a:lnTo>
                    <a:pt x="442" y="532"/>
                  </a:lnTo>
                  <a:lnTo>
                    <a:pt x="426" y="548"/>
                  </a:lnTo>
                  <a:lnTo>
                    <a:pt x="328" y="543"/>
                  </a:lnTo>
                  <a:lnTo>
                    <a:pt x="265" y="515"/>
                  </a:lnTo>
                  <a:lnTo>
                    <a:pt x="263" y="511"/>
                  </a:lnTo>
                  <a:lnTo>
                    <a:pt x="263" y="472"/>
                  </a:lnTo>
                  <a:lnTo>
                    <a:pt x="261" y="469"/>
                  </a:lnTo>
                  <a:lnTo>
                    <a:pt x="232" y="467"/>
                  </a:lnTo>
                  <a:lnTo>
                    <a:pt x="224" y="449"/>
                  </a:lnTo>
                  <a:lnTo>
                    <a:pt x="218" y="444"/>
                  </a:lnTo>
                  <a:lnTo>
                    <a:pt x="162" y="423"/>
                  </a:lnTo>
                  <a:lnTo>
                    <a:pt x="100" y="376"/>
                  </a:lnTo>
                  <a:lnTo>
                    <a:pt x="16" y="353"/>
                  </a:lnTo>
                  <a:lnTo>
                    <a:pt x="0" y="278"/>
                  </a:lnTo>
                  <a:lnTo>
                    <a:pt x="43" y="248"/>
                  </a:lnTo>
                  <a:lnTo>
                    <a:pt x="58" y="237"/>
                  </a:lnTo>
                  <a:lnTo>
                    <a:pt x="73" y="232"/>
                  </a:lnTo>
                  <a:lnTo>
                    <a:pt x="95" y="220"/>
                  </a:lnTo>
                  <a:lnTo>
                    <a:pt x="107" y="213"/>
                  </a:lnTo>
                  <a:lnTo>
                    <a:pt x="111" y="209"/>
                  </a:lnTo>
                  <a:lnTo>
                    <a:pt x="123" y="204"/>
                  </a:lnTo>
                  <a:lnTo>
                    <a:pt x="133" y="180"/>
                  </a:lnTo>
                  <a:lnTo>
                    <a:pt x="136" y="143"/>
                  </a:lnTo>
                  <a:lnTo>
                    <a:pt x="140" y="73"/>
                  </a:lnTo>
                  <a:lnTo>
                    <a:pt x="171" y="60"/>
                  </a:lnTo>
                  <a:lnTo>
                    <a:pt x="189" y="31"/>
                  </a:lnTo>
                  <a:lnTo>
                    <a:pt x="204" y="22"/>
                  </a:lnTo>
                  <a:lnTo>
                    <a:pt x="229" y="0"/>
                  </a:lnTo>
                  <a:lnTo>
                    <a:pt x="249" y="9"/>
                  </a:lnTo>
                  <a:lnTo>
                    <a:pt x="279" y="10"/>
                  </a:lnTo>
                  <a:lnTo>
                    <a:pt x="297" y="9"/>
                  </a:lnTo>
                  <a:lnTo>
                    <a:pt x="306" y="20"/>
                  </a:lnTo>
                  <a:lnTo>
                    <a:pt x="322" y="22"/>
                  </a:lnTo>
                  <a:lnTo>
                    <a:pt x="329" y="14"/>
                  </a:lnTo>
                  <a:lnTo>
                    <a:pt x="334" y="47"/>
                  </a:lnTo>
                  <a:lnTo>
                    <a:pt x="344" y="64"/>
                  </a:lnTo>
                  <a:lnTo>
                    <a:pt x="356" y="74"/>
                  </a:lnTo>
                  <a:lnTo>
                    <a:pt x="362" y="96"/>
                  </a:lnTo>
                  <a:lnTo>
                    <a:pt x="374" y="107"/>
                  </a:lnTo>
                  <a:lnTo>
                    <a:pt x="396" y="112"/>
                  </a:lnTo>
                  <a:lnTo>
                    <a:pt x="410" y="112"/>
                  </a:lnTo>
                  <a:lnTo>
                    <a:pt x="404" y="119"/>
                  </a:lnTo>
                  <a:lnTo>
                    <a:pt x="398" y="133"/>
                  </a:lnTo>
                  <a:lnTo>
                    <a:pt x="403" y="152"/>
                  </a:lnTo>
                  <a:lnTo>
                    <a:pt x="394" y="162"/>
                  </a:lnTo>
                  <a:lnTo>
                    <a:pt x="381" y="184"/>
                  </a:lnTo>
                  <a:lnTo>
                    <a:pt x="382" y="192"/>
                  </a:lnTo>
                  <a:lnTo>
                    <a:pt x="374" y="195"/>
                  </a:lnTo>
                  <a:lnTo>
                    <a:pt x="370" y="202"/>
                  </a:lnTo>
                  <a:lnTo>
                    <a:pt x="366" y="227"/>
                  </a:lnTo>
                  <a:lnTo>
                    <a:pt x="362" y="234"/>
                  </a:lnTo>
                  <a:lnTo>
                    <a:pt x="359" y="236"/>
                  </a:lnTo>
                  <a:lnTo>
                    <a:pt x="361" y="251"/>
                  </a:lnTo>
                  <a:lnTo>
                    <a:pt x="367" y="256"/>
                  </a:lnTo>
                  <a:lnTo>
                    <a:pt x="376" y="256"/>
                  </a:lnTo>
                  <a:lnTo>
                    <a:pt x="380" y="264"/>
                  </a:lnTo>
                  <a:lnTo>
                    <a:pt x="387" y="269"/>
                  </a:lnTo>
                  <a:lnTo>
                    <a:pt x="393" y="283"/>
                  </a:lnTo>
                  <a:lnTo>
                    <a:pt x="393" y="294"/>
                  </a:lnTo>
                  <a:lnTo>
                    <a:pt x="405" y="301"/>
                  </a:lnTo>
                  <a:lnTo>
                    <a:pt x="420" y="311"/>
                  </a:lnTo>
                  <a:lnTo>
                    <a:pt x="432" y="322"/>
                  </a:lnTo>
                  <a:lnTo>
                    <a:pt x="444" y="327"/>
                  </a:lnTo>
                  <a:lnTo>
                    <a:pt x="457" y="331"/>
                  </a:lnTo>
                  <a:lnTo>
                    <a:pt x="466" y="340"/>
                  </a:lnTo>
                  <a:lnTo>
                    <a:pt x="473" y="355"/>
                  </a:lnTo>
                  <a:lnTo>
                    <a:pt x="480" y="367"/>
                  </a:lnTo>
                  <a:lnTo>
                    <a:pt x="487" y="381"/>
                  </a:lnTo>
                  <a:lnTo>
                    <a:pt x="483" y="408"/>
                  </a:lnTo>
                  <a:lnTo>
                    <a:pt x="482" y="429"/>
                  </a:lnTo>
                  <a:lnTo>
                    <a:pt x="495" y="436"/>
                  </a:lnTo>
                  <a:lnTo>
                    <a:pt x="499" y="456"/>
                  </a:lnTo>
                  <a:lnTo>
                    <a:pt x="504" y="464"/>
                  </a:lnTo>
                  <a:lnTo>
                    <a:pt x="511" y="472"/>
                  </a:lnTo>
                  <a:lnTo>
                    <a:pt x="531" y="487"/>
                  </a:lnTo>
                  <a:lnTo>
                    <a:pt x="534" y="48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48" name="Freeform 152">
              <a:extLst>
                <a:ext uri="{FF2B5EF4-FFF2-40B4-BE49-F238E27FC236}">
                  <a16:creationId xmlns:a16="http://schemas.microsoft.com/office/drawing/2014/main" id="{9E31D3BE-A9CF-B3A6-BAAA-31D13C4AC84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255068" y="3501152"/>
              <a:ext cx="25370" cy="54872"/>
            </a:xfrm>
            <a:custGeom>
              <a:avLst/>
              <a:gdLst>
                <a:gd name="T0" fmla="*/ 0 w 45"/>
                <a:gd name="T1" fmla="*/ 2147483647 h 98"/>
                <a:gd name="T2" fmla="*/ 0 w 45"/>
                <a:gd name="T3" fmla="*/ 2147483647 h 98"/>
                <a:gd name="T4" fmla="*/ 0 w 45"/>
                <a:gd name="T5" fmla="*/ 2147483647 h 98"/>
                <a:gd name="T6" fmla="*/ 0 w 45"/>
                <a:gd name="T7" fmla="*/ 2147483647 h 98"/>
                <a:gd name="T8" fmla="*/ 0 w 45"/>
                <a:gd name="T9" fmla="*/ 0 h 98"/>
                <a:gd name="T10" fmla="*/ 0 w 45"/>
                <a:gd name="T11" fmla="*/ 0 h 98"/>
                <a:gd name="T12" fmla="*/ 0 w 45"/>
                <a:gd name="T13" fmla="*/ 0 h 98"/>
                <a:gd name="T14" fmla="*/ 0 w 45"/>
                <a:gd name="T15" fmla="*/ 0 h 98"/>
                <a:gd name="T16" fmla="*/ 0 w 45"/>
                <a:gd name="T17" fmla="*/ 0 h 98"/>
                <a:gd name="T18" fmla="*/ 0 w 45"/>
                <a:gd name="T19" fmla="*/ 0 h 98"/>
                <a:gd name="T20" fmla="*/ 0 w 45"/>
                <a:gd name="T21" fmla="*/ 0 h 98"/>
                <a:gd name="T22" fmla="*/ 0 w 45"/>
                <a:gd name="T23" fmla="*/ 0 h 98"/>
                <a:gd name="T24" fmla="*/ 0 w 45"/>
                <a:gd name="T25" fmla="*/ 0 h 98"/>
                <a:gd name="T26" fmla="*/ 0 w 45"/>
                <a:gd name="T27" fmla="*/ 0 h 98"/>
                <a:gd name="T28" fmla="*/ 0 w 45"/>
                <a:gd name="T29" fmla="*/ 0 h 98"/>
                <a:gd name="T30" fmla="*/ 0 w 45"/>
                <a:gd name="T31" fmla="*/ 0 h 98"/>
                <a:gd name="T32" fmla="*/ 0 w 45"/>
                <a:gd name="T33" fmla="*/ 0 h 98"/>
                <a:gd name="T34" fmla="*/ 0 w 45"/>
                <a:gd name="T35" fmla="*/ 0 h 98"/>
                <a:gd name="T36" fmla="*/ 0 w 45"/>
                <a:gd name="T37" fmla="*/ 0 h 98"/>
                <a:gd name="T38" fmla="*/ 0 w 45"/>
                <a:gd name="T39" fmla="*/ 0 h 98"/>
                <a:gd name="T40" fmla="*/ 0 w 45"/>
                <a:gd name="T41" fmla="*/ 0 h 98"/>
                <a:gd name="T42" fmla="*/ 0 w 45"/>
                <a:gd name="T43" fmla="*/ 0 h 98"/>
                <a:gd name="T44" fmla="*/ 0 w 45"/>
                <a:gd name="T45" fmla="*/ 0 h 98"/>
                <a:gd name="T46" fmla="*/ 0 w 45"/>
                <a:gd name="T47" fmla="*/ 0 h 98"/>
                <a:gd name="T48" fmla="*/ 0 w 45"/>
                <a:gd name="T49" fmla="*/ 0 h 98"/>
                <a:gd name="T50" fmla="*/ 0 w 45"/>
                <a:gd name="T51" fmla="*/ 0 h 98"/>
                <a:gd name="T52" fmla="*/ 0 w 45"/>
                <a:gd name="T53" fmla="*/ 0 h 98"/>
                <a:gd name="T54" fmla="*/ 0 w 45"/>
                <a:gd name="T55" fmla="*/ 0 h 98"/>
                <a:gd name="T56" fmla="*/ 0 w 45"/>
                <a:gd name="T57" fmla="*/ 0 h 98"/>
                <a:gd name="T58" fmla="*/ 0 w 45"/>
                <a:gd name="T59" fmla="*/ 0 h 98"/>
                <a:gd name="T60" fmla="*/ 0 w 45"/>
                <a:gd name="T61" fmla="*/ 0 h 98"/>
                <a:gd name="T62" fmla="*/ 0 w 45"/>
                <a:gd name="T63" fmla="*/ 0 h 98"/>
                <a:gd name="T64" fmla="*/ 0 w 45"/>
                <a:gd name="T65" fmla="*/ 0 h 98"/>
                <a:gd name="T66" fmla="*/ 0 w 45"/>
                <a:gd name="T67" fmla="*/ 2147483647 h 98"/>
                <a:gd name="T68" fmla="*/ 0 w 45"/>
                <a:gd name="T69" fmla="*/ 2147483647 h 98"/>
                <a:gd name="T70" fmla="*/ 0 w 45"/>
                <a:gd name="T71" fmla="*/ 2147483647 h 98"/>
                <a:gd name="T72" fmla="*/ 0 w 45"/>
                <a:gd name="T73" fmla="*/ 2147483647 h 98"/>
                <a:gd name="T74" fmla="*/ 0 w 45"/>
                <a:gd name="T75" fmla="*/ 2147483647 h 9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5"/>
                <a:gd name="T115" fmla="*/ 0 h 98"/>
                <a:gd name="T116" fmla="*/ 45 w 45"/>
                <a:gd name="T117" fmla="*/ 98 h 9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5" h="98">
                  <a:moveTo>
                    <a:pt x="16" y="98"/>
                  </a:moveTo>
                  <a:lnTo>
                    <a:pt x="35" y="90"/>
                  </a:lnTo>
                  <a:lnTo>
                    <a:pt x="38" y="87"/>
                  </a:lnTo>
                  <a:lnTo>
                    <a:pt x="39" y="81"/>
                  </a:lnTo>
                  <a:lnTo>
                    <a:pt x="43" y="74"/>
                  </a:lnTo>
                  <a:lnTo>
                    <a:pt x="44" y="70"/>
                  </a:lnTo>
                  <a:lnTo>
                    <a:pt x="44" y="55"/>
                  </a:lnTo>
                  <a:lnTo>
                    <a:pt x="40" y="50"/>
                  </a:lnTo>
                  <a:lnTo>
                    <a:pt x="40" y="42"/>
                  </a:lnTo>
                  <a:lnTo>
                    <a:pt x="40" y="33"/>
                  </a:lnTo>
                  <a:lnTo>
                    <a:pt x="43" y="32"/>
                  </a:lnTo>
                  <a:lnTo>
                    <a:pt x="41" y="29"/>
                  </a:lnTo>
                  <a:lnTo>
                    <a:pt x="44" y="25"/>
                  </a:lnTo>
                  <a:lnTo>
                    <a:pt x="44" y="21"/>
                  </a:lnTo>
                  <a:lnTo>
                    <a:pt x="45" y="16"/>
                  </a:lnTo>
                  <a:lnTo>
                    <a:pt x="43" y="15"/>
                  </a:lnTo>
                  <a:lnTo>
                    <a:pt x="36" y="12"/>
                  </a:lnTo>
                  <a:lnTo>
                    <a:pt x="34" y="10"/>
                  </a:lnTo>
                  <a:lnTo>
                    <a:pt x="34" y="6"/>
                  </a:lnTo>
                  <a:lnTo>
                    <a:pt x="30" y="4"/>
                  </a:lnTo>
                  <a:lnTo>
                    <a:pt x="24" y="0"/>
                  </a:lnTo>
                  <a:lnTo>
                    <a:pt x="18" y="4"/>
                  </a:lnTo>
                  <a:lnTo>
                    <a:pt x="13" y="12"/>
                  </a:lnTo>
                  <a:lnTo>
                    <a:pt x="11" y="26"/>
                  </a:lnTo>
                  <a:lnTo>
                    <a:pt x="7" y="36"/>
                  </a:lnTo>
                  <a:lnTo>
                    <a:pt x="1" y="43"/>
                  </a:lnTo>
                  <a:lnTo>
                    <a:pt x="1" y="50"/>
                  </a:lnTo>
                  <a:lnTo>
                    <a:pt x="0" y="55"/>
                  </a:lnTo>
                  <a:lnTo>
                    <a:pt x="2" y="58"/>
                  </a:lnTo>
                  <a:lnTo>
                    <a:pt x="0" y="63"/>
                  </a:lnTo>
                  <a:lnTo>
                    <a:pt x="1" y="66"/>
                  </a:lnTo>
                  <a:lnTo>
                    <a:pt x="5" y="74"/>
                  </a:lnTo>
                  <a:lnTo>
                    <a:pt x="2" y="77"/>
                  </a:lnTo>
                  <a:lnTo>
                    <a:pt x="5" y="80"/>
                  </a:lnTo>
                  <a:lnTo>
                    <a:pt x="3" y="84"/>
                  </a:lnTo>
                  <a:lnTo>
                    <a:pt x="2" y="85"/>
                  </a:lnTo>
                  <a:lnTo>
                    <a:pt x="9" y="97"/>
                  </a:lnTo>
                  <a:lnTo>
                    <a:pt x="16" y="9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49" name="Freeform 153">
              <a:extLst>
                <a:ext uri="{FF2B5EF4-FFF2-40B4-BE49-F238E27FC236}">
                  <a16:creationId xmlns:a16="http://schemas.microsoft.com/office/drawing/2014/main" id="{DAED77FC-619A-3219-670F-73398CD51AD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264022" y="3502676"/>
              <a:ext cx="153712" cy="121938"/>
            </a:xfrm>
            <a:custGeom>
              <a:avLst/>
              <a:gdLst>
                <a:gd name="T0" fmla="*/ 2147483647 w 288"/>
                <a:gd name="T1" fmla="*/ 2147483647 h 215"/>
                <a:gd name="T2" fmla="*/ 0 w 288"/>
                <a:gd name="T3" fmla="*/ 2147483647 h 215"/>
                <a:gd name="T4" fmla="*/ 0 w 288"/>
                <a:gd name="T5" fmla="*/ 2147483647 h 215"/>
                <a:gd name="T6" fmla="*/ 0 w 288"/>
                <a:gd name="T7" fmla="*/ 2147483647 h 215"/>
                <a:gd name="T8" fmla="*/ 0 w 288"/>
                <a:gd name="T9" fmla="*/ 2147483647 h 215"/>
                <a:gd name="T10" fmla="*/ 0 w 288"/>
                <a:gd name="T11" fmla="*/ 2147483647 h 215"/>
                <a:gd name="T12" fmla="*/ 0 w 288"/>
                <a:gd name="T13" fmla="*/ 2147483647 h 215"/>
                <a:gd name="T14" fmla="*/ 0 w 288"/>
                <a:gd name="T15" fmla="*/ 2147483647 h 215"/>
                <a:gd name="T16" fmla="*/ 0 w 288"/>
                <a:gd name="T17" fmla="*/ 2147483647 h 215"/>
                <a:gd name="T18" fmla="*/ 2147483647 w 288"/>
                <a:gd name="T19" fmla="*/ 2147483647 h 215"/>
                <a:gd name="T20" fmla="*/ 2147483647 w 288"/>
                <a:gd name="T21" fmla="*/ 2147483647 h 215"/>
                <a:gd name="T22" fmla="*/ 2147483647 w 288"/>
                <a:gd name="T23" fmla="*/ 2147483647 h 215"/>
                <a:gd name="T24" fmla="*/ 2147483647 w 288"/>
                <a:gd name="T25" fmla="*/ 2147483647 h 215"/>
                <a:gd name="T26" fmla="*/ 2147483647 w 288"/>
                <a:gd name="T27" fmla="*/ 2147483647 h 215"/>
                <a:gd name="T28" fmla="*/ 2147483647 w 288"/>
                <a:gd name="T29" fmla="*/ 2147483647 h 215"/>
                <a:gd name="T30" fmla="*/ 2147483647 w 288"/>
                <a:gd name="T31" fmla="*/ 2147483647 h 215"/>
                <a:gd name="T32" fmla="*/ 2147483647 w 288"/>
                <a:gd name="T33" fmla="*/ 2147483647 h 215"/>
                <a:gd name="T34" fmla="*/ 2147483647 w 288"/>
                <a:gd name="T35" fmla="*/ 2147483647 h 215"/>
                <a:gd name="T36" fmla="*/ 2147483647 w 288"/>
                <a:gd name="T37" fmla="*/ 2147483647 h 215"/>
                <a:gd name="T38" fmla="*/ 2147483647 w 288"/>
                <a:gd name="T39" fmla="*/ 2147483647 h 215"/>
                <a:gd name="T40" fmla="*/ 2147483647 w 288"/>
                <a:gd name="T41" fmla="*/ 2147483647 h 215"/>
                <a:gd name="T42" fmla="*/ 2147483647 w 288"/>
                <a:gd name="T43" fmla="*/ 0 h 215"/>
                <a:gd name="T44" fmla="*/ 2147483647 w 288"/>
                <a:gd name="T45" fmla="*/ 0 h 215"/>
                <a:gd name="T46" fmla="*/ 2147483647 w 288"/>
                <a:gd name="T47" fmla="*/ 0 h 215"/>
                <a:gd name="T48" fmla="*/ 2147483647 w 288"/>
                <a:gd name="T49" fmla="*/ 0 h 215"/>
                <a:gd name="T50" fmla="*/ 2147483647 w 288"/>
                <a:gd name="T51" fmla="*/ 0 h 215"/>
                <a:gd name="T52" fmla="*/ 2147483647 w 288"/>
                <a:gd name="T53" fmla="*/ 0 h 215"/>
                <a:gd name="T54" fmla="*/ 2147483647 w 288"/>
                <a:gd name="T55" fmla="*/ 0 h 215"/>
                <a:gd name="T56" fmla="*/ 2147483647 w 288"/>
                <a:gd name="T57" fmla="*/ 0 h 215"/>
                <a:gd name="T58" fmla="*/ 2147483647 w 288"/>
                <a:gd name="T59" fmla="*/ 0 h 215"/>
                <a:gd name="T60" fmla="*/ 2147483647 w 288"/>
                <a:gd name="T61" fmla="*/ 0 h 215"/>
                <a:gd name="T62" fmla="*/ 2147483647 w 288"/>
                <a:gd name="T63" fmla="*/ 0 h 215"/>
                <a:gd name="T64" fmla="*/ 2147483647 w 288"/>
                <a:gd name="T65" fmla="*/ 0 h 215"/>
                <a:gd name="T66" fmla="*/ 2147483647 w 288"/>
                <a:gd name="T67" fmla="*/ 0 h 215"/>
                <a:gd name="T68" fmla="*/ 2147483647 w 288"/>
                <a:gd name="T69" fmla="*/ 0 h 215"/>
                <a:gd name="T70" fmla="*/ 2147483647 w 288"/>
                <a:gd name="T71" fmla="*/ 0 h 215"/>
                <a:gd name="T72" fmla="*/ 2147483647 w 288"/>
                <a:gd name="T73" fmla="*/ 2147483647 h 215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215"/>
                <a:gd name="T113" fmla="*/ 288 w 288"/>
                <a:gd name="T114" fmla="*/ 215 h 215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215">
                  <a:moveTo>
                    <a:pt x="228" y="203"/>
                  </a:moveTo>
                  <a:lnTo>
                    <a:pt x="217" y="215"/>
                  </a:lnTo>
                  <a:lnTo>
                    <a:pt x="52" y="184"/>
                  </a:lnTo>
                  <a:lnTo>
                    <a:pt x="36" y="136"/>
                  </a:lnTo>
                  <a:lnTo>
                    <a:pt x="3" y="107"/>
                  </a:lnTo>
                  <a:lnTo>
                    <a:pt x="0" y="92"/>
                  </a:lnTo>
                  <a:lnTo>
                    <a:pt x="19" y="84"/>
                  </a:lnTo>
                  <a:lnTo>
                    <a:pt x="17" y="89"/>
                  </a:lnTo>
                  <a:lnTo>
                    <a:pt x="17" y="92"/>
                  </a:lnTo>
                  <a:lnTo>
                    <a:pt x="20" y="95"/>
                  </a:lnTo>
                  <a:lnTo>
                    <a:pt x="17" y="100"/>
                  </a:lnTo>
                  <a:lnTo>
                    <a:pt x="17" y="107"/>
                  </a:lnTo>
                  <a:lnTo>
                    <a:pt x="24" y="107"/>
                  </a:lnTo>
                  <a:lnTo>
                    <a:pt x="30" y="109"/>
                  </a:lnTo>
                  <a:lnTo>
                    <a:pt x="34" y="107"/>
                  </a:lnTo>
                  <a:lnTo>
                    <a:pt x="35" y="107"/>
                  </a:lnTo>
                  <a:lnTo>
                    <a:pt x="36" y="118"/>
                  </a:lnTo>
                  <a:lnTo>
                    <a:pt x="41" y="122"/>
                  </a:lnTo>
                  <a:lnTo>
                    <a:pt x="55" y="124"/>
                  </a:lnTo>
                  <a:lnTo>
                    <a:pt x="70" y="124"/>
                  </a:lnTo>
                  <a:lnTo>
                    <a:pt x="73" y="123"/>
                  </a:lnTo>
                  <a:lnTo>
                    <a:pt x="79" y="118"/>
                  </a:lnTo>
                  <a:lnTo>
                    <a:pt x="88" y="112"/>
                  </a:lnTo>
                  <a:lnTo>
                    <a:pt x="110" y="114"/>
                  </a:lnTo>
                  <a:lnTo>
                    <a:pt x="119" y="118"/>
                  </a:lnTo>
                  <a:lnTo>
                    <a:pt x="125" y="118"/>
                  </a:lnTo>
                  <a:lnTo>
                    <a:pt x="135" y="121"/>
                  </a:lnTo>
                  <a:lnTo>
                    <a:pt x="159" y="119"/>
                  </a:lnTo>
                  <a:lnTo>
                    <a:pt x="164" y="116"/>
                  </a:lnTo>
                  <a:lnTo>
                    <a:pt x="169" y="109"/>
                  </a:lnTo>
                  <a:lnTo>
                    <a:pt x="178" y="107"/>
                  </a:lnTo>
                  <a:lnTo>
                    <a:pt x="180" y="106"/>
                  </a:lnTo>
                  <a:lnTo>
                    <a:pt x="185" y="103"/>
                  </a:lnTo>
                  <a:lnTo>
                    <a:pt x="186" y="102"/>
                  </a:lnTo>
                  <a:lnTo>
                    <a:pt x="184" y="98"/>
                  </a:lnTo>
                  <a:lnTo>
                    <a:pt x="184" y="97"/>
                  </a:lnTo>
                  <a:lnTo>
                    <a:pt x="184" y="96"/>
                  </a:lnTo>
                  <a:lnTo>
                    <a:pt x="192" y="95"/>
                  </a:lnTo>
                  <a:lnTo>
                    <a:pt x="191" y="92"/>
                  </a:lnTo>
                  <a:lnTo>
                    <a:pt x="195" y="91"/>
                  </a:lnTo>
                  <a:lnTo>
                    <a:pt x="194" y="87"/>
                  </a:lnTo>
                  <a:lnTo>
                    <a:pt x="197" y="84"/>
                  </a:lnTo>
                  <a:lnTo>
                    <a:pt x="197" y="80"/>
                  </a:lnTo>
                  <a:lnTo>
                    <a:pt x="201" y="76"/>
                  </a:lnTo>
                  <a:lnTo>
                    <a:pt x="211" y="73"/>
                  </a:lnTo>
                  <a:lnTo>
                    <a:pt x="213" y="65"/>
                  </a:lnTo>
                  <a:lnTo>
                    <a:pt x="217" y="63"/>
                  </a:lnTo>
                  <a:lnTo>
                    <a:pt x="219" y="59"/>
                  </a:lnTo>
                  <a:lnTo>
                    <a:pt x="228" y="53"/>
                  </a:lnTo>
                  <a:lnTo>
                    <a:pt x="233" y="48"/>
                  </a:lnTo>
                  <a:lnTo>
                    <a:pt x="237" y="46"/>
                  </a:lnTo>
                  <a:lnTo>
                    <a:pt x="238" y="43"/>
                  </a:lnTo>
                  <a:lnTo>
                    <a:pt x="239" y="42"/>
                  </a:lnTo>
                  <a:lnTo>
                    <a:pt x="240" y="39"/>
                  </a:lnTo>
                  <a:lnTo>
                    <a:pt x="245" y="35"/>
                  </a:lnTo>
                  <a:lnTo>
                    <a:pt x="245" y="32"/>
                  </a:lnTo>
                  <a:lnTo>
                    <a:pt x="248" y="31"/>
                  </a:lnTo>
                  <a:lnTo>
                    <a:pt x="249" y="27"/>
                  </a:lnTo>
                  <a:lnTo>
                    <a:pt x="259" y="21"/>
                  </a:lnTo>
                  <a:lnTo>
                    <a:pt x="270" y="10"/>
                  </a:lnTo>
                  <a:lnTo>
                    <a:pt x="274" y="0"/>
                  </a:lnTo>
                  <a:lnTo>
                    <a:pt x="275" y="4"/>
                  </a:lnTo>
                  <a:lnTo>
                    <a:pt x="277" y="10"/>
                  </a:lnTo>
                  <a:lnTo>
                    <a:pt x="276" y="12"/>
                  </a:lnTo>
                  <a:lnTo>
                    <a:pt x="277" y="16"/>
                  </a:lnTo>
                  <a:lnTo>
                    <a:pt x="275" y="21"/>
                  </a:lnTo>
                  <a:lnTo>
                    <a:pt x="277" y="22"/>
                  </a:lnTo>
                  <a:lnTo>
                    <a:pt x="285" y="25"/>
                  </a:lnTo>
                  <a:lnTo>
                    <a:pt x="288" y="31"/>
                  </a:lnTo>
                  <a:lnTo>
                    <a:pt x="287" y="64"/>
                  </a:lnTo>
                  <a:lnTo>
                    <a:pt x="288" y="73"/>
                  </a:lnTo>
                  <a:lnTo>
                    <a:pt x="255" y="73"/>
                  </a:lnTo>
                  <a:lnTo>
                    <a:pt x="272" y="119"/>
                  </a:lnTo>
                  <a:lnTo>
                    <a:pt x="239" y="132"/>
                  </a:lnTo>
                  <a:lnTo>
                    <a:pt x="228" y="20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50" name="Freeform 155">
              <a:extLst>
                <a:ext uri="{FF2B5EF4-FFF2-40B4-BE49-F238E27FC236}">
                  <a16:creationId xmlns:a16="http://schemas.microsoft.com/office/drawing/2014/main" id="{268425F5-FB03-384F-F410-F632695F6BD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538744" y="2897562"/>
              <a:ext cx="543212" cy="248448"/>
            </a:xfrm>
            <a:custGeom>
              <a:avLst/>
              <a:gdLst>
                <a:gd name="T0" fmla="*/ 2147483647 w 1022"/>
                <a:gd name="T1" fmla="*/ 2147483647 h 439"/>
                <a:gd name="T2" fmla="*/ 2147483647 w 1022"/>
                <a:gd name="T3" fmla="*/ 2147483647 h 439"/>
                <a:gd name="T4" fmla="*/ 2147483647 w 1022"/>
                <a:gd name="T5" fmla="*/ 2147483647 h 439"/>
                <a:gd name="T6" fmla="*/ 2147483647 w 1022"/>
                <a:gd name="T7" fmla="*/ 2147483647 h 439"/>
                <a:gd name="T8" fmla="*/ 2147483647 w 1022"/>
                <a:gd name="T9" fmla="*/ 2147483647 h 439"/>
                <a:gd name="T10" fmla="*/ 0 w 1022"/>
                <a:gd name="T11" fmla="*/ 2147483647 h 439"/>
                <a:gd name="T12" fmla="*/ 0 w 1022"/>
                <a:gd name="T13" fmla="*/ 2147483647 h 439"/>
                <a:gd name="T14" fmla="*/ 0 w 1022"/>
                <a:gd name="T15" fmla="*/ 2147483647 h 439"/>
                <a:gd name="T16" fmla="*/ 0 w 1022"/>
                <a:gd name="T17" fmla="*/ 2147483647 h 439"/>
                <a:gd name="T18" fmla="*/ 0 w 1022"/>
                <a:gd name="T19" fmla="*/ 2147483647 h 439"/>
                <a:gd name="T20" fmla="*/ 0 w 1022"/>
                <a:gd name="T21" fmla="*/ 2147483647 h 439"/>
                <a:gd name="T22" fmla="*/ 0 w 1022"/>
                <a:gd name="T23" fmla="*/ 2147483647 h 439"/>
                <a:gd name="T24" fmla="*/ 0 w 1022"/>
                <a:gd name="T25" fmla="*/ 2147483647 h 439"/>
                <a:gd name="T26" fmla="*/ 0 w 1022"/>
                <a:gd name="T27" fmla="*/ 2147483647 h 439"/>
                <a:gd name="T28" fmla="*/ 0 w 1022"/>
                <a:gd name="T29" fmla="*/ 2147483647 h 439"/>
                <a:gd name="T30" fmla="*/ 0 w 1022"/>
                <a:gd name="T31" fmla="*/ 2147483647 h 439"/>
                <a:gd name="T32" fmla="*/ 0 w 1022"/>
                <a:gd name="T33" fmla="*/ 0 h 439"/>
                <a:gd name="T34" fmla="*/ 0 w 1022"/>
                <a:gd name="T35" fmla="*/ 0 h 439"/>
                <a:gd name="T36" fmla="*/ 0 w 1022"/>
                <a:gd name="T37" fmla="*/ 0 h 439"/>
                <a:gd name="T38" fmla="*/ 0 w 1022"/>
                <a:gd name="T39" fmla="*/ 0 h 439"/>
                <a:gd name="T40" fmla="*/ 0 w 1022"/>
                <a:gd name="T41" fmla="*/ 0 h 439"/>
                <a:gd name="T42" fmla="*/ 0 w 1022"/>
                <a:gd name="T43" fmla="*/ 0 h 439"/>
                <a:gd name="T44" fmla="*/ 0 w 1022"/>
                <a:gd name="T45" fmla="*/ 0 h 439"/>
                <a:gd name="T46" fmla="*/ 0 w 1022"/>
                <a:gd name="T47" fmla="*/ 0 h 439"/>
                <a:gd name="T48" fmla="*/ 0 w 1022"/>
                <a:gd name="T49" fmla="*/ 0 h 439"/>
                <a:gd name="T50" fmla="*/ 0 w 1022"/>
                <a:gd name="T51" fmla="*/ 0 h 439"/>
                <a:gd name="T52" fmla="*/ 0 w 1022"/>
                <a:gd name="T53" fmla="*/ 0 h 439"/>
                <a:gd name="T54" fmla="*/ 0 w 1022"/>
                <a:gd name="T55" fmla="*/ 0 h 439"/>
                <a:gd name="T56" fmla="*/ 0 w 1022"/>
                <a:gd name="T57" fmla="*/ 0 h 439"/>
                <a:gd name="T58" fmla="*/ 0 w 1022"/>
                <a:gd name="T59" fmla="*/ 0 h 439"/>
                <a:gd name="T60" fmla="*/ 0 w 1022"/>
                <a:gd name="T61" fmla="*/ 0 h 439"/>
                <a:gd name="T62" fmla="*/ 2147483647 w 1022"/>
                <a:gd name="T63" fmla="*/ 0 h 439"/>
                <a:gd name="T64" fmla="*/ 2147483647 w 1022"/>
                <a:gd name="T65" fmla="*/ 0 h 439"/>
                <a:gd name="T66" fmla="*/ 2147483647 w 1022"/>
                <a:gd name="T67" fmla="*/ 0 h 439"/>
                <a:gd name="T68" fmla="*/ 2147483647 w 1022"/>
                <a:gd name="T69" fmla="*/ 0 h 439"/>
                <a:gd name="T70" fmla="*/ 2147483647 w 1022"/>
                <a:gd name="T71" fmla="*/ 0 h 439"/>
                <a:gd name="T72" fmla="*/ 2147483647 w 1022"/>
                <a:gd name="T73" fmla="*/ 0 h 439"/>
                <a:gd name="T74" fmla="*/ 2147483647 w 1022"/>
                <a:gd name="T75" fmla="*/ 0 h 439"/>
                <a:gd name="T76" fmla="*/ 2147483647 w 1022"/>
                <a:gd name="T77" fmla="*/ 0 h 439"/>
                <a:gd name="T78" fmla="*/ 2147483647 w 1022"/>
                <a:gd name="T79" fmla="*/ 0 h 439"/>
                <a:gd name="T80" fmla="*/ 2147483647 w 1022"/>
                <a:gd name="T81" fmla="*/ 0 h 439"/>
                <a:gd name="T82" fmla="*/ 2147483647 w 1022"/>
                <a:gd name="T83" fmla="*/ 0 h 439"/>
                <a:gd name="T84" fmla="*/ 2147483647 w 1022"/>
                <a:gd name="T85" fmla="*/ 0 h 439"/>
                <a:gd name="T86" fmla="*/ 2147483647 w 1022"/>
                <a:gd name="T87" fmla="*/ 0 h 439"/>
                <a:gd name="T88" fmla="*/ 2147483647 w 1022"/>
                <a:gd name="T89" fmla="*/ 2147483647 h 439"/>
                <a:gd name="T90" fmla="*/ 2147483647 w 1022"/>
                <a:gd name="T91" fmla="*/ 2147483647 h 439"/>
                <a:gd name="T92" fmla="*/ 2147483647 w 1022"/>
                <a:gd name="T93" fmla="*/ 2147483647 h 439"/>
                <a:gd name="T94" fmla="*/ 2147483647 w 1022"/>
                <a:gd name="T95" fmla="*/ 2147483647 h 439"/>
                <a:gd name="T96" fmla="*/ 2147483647 w 1022"/>
                <a:gd name="T97" fmla="*/ 2147483647 h 439"/>
                <a:gd name="T98" fmla="*/ 2147483647 w 1022"/>
                <a:gd name="T99" fmla="*/ 2147483647 h 439"/>
                <a:gd name="T100" fmla="*/ 2147483647 w 1022"/>
                <a:gd name="T101" fmla="*/ 2147483647 h 439"/>
                <a:gd name="T102" fmla="*/ 2147483647 w 1022"/>
                <a:gd name="T103" fmla="*/ 2147483647 h 439"/>
                <a:gd name="T104" fmla="*/ 2147483647 w 1022"/>
                <a:gd name="T105" fmla="*/ 2147483647 h 439"/>
                <a:gd name="T106" fmla="*/ 2147483647 w 1022"/>
                <a:gd name="T107" fmla="*/ 2147483647 h 439"/>
                <a:gd name="T108" fmla="*/ 2147483647 w 1022"/>
                <a:gd name="T109" fmla="*/ 2147483647 h 439"/>
                <a:gd name="T110" fmla="*/ 2147483647 w 1022"/>
                <a:gd name="T111" fmla="*/ 2147483647 h 439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022"/>
                <a:gd name="T169" fmla="*/ 0 h 439"/>
                <a:gd name="T170" fmla="*/ 1022 w 1022"/>
                <a:gd name="T171" fmla="*/ 439 h 439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022" h="439">
                  <a:moveTo>
                    <a:pt x="538" y="424"/>
                  </a:moveTo>
                  <a:lnTo>
                    <a:pt x="535" y="411"/>
                  </a:lnTo>
                  <a:lnTo>
                    <a:pt x="538" y="395"/>
                  </a:lnTo>
                  <a:lnTo>
                    <a:pt x="548" y="389"/>
                  </a:lnTo>
                  <a:lnTo>
                    <a:pt x="552" y="379"/>
                  </a:lnTo>
                  <a:lnTo>
                    <a:pt x="543" y="370"/>
                  </a:lnTo>
                  <a:lnTo>
                    <a:pt x="526" y="378"/>
                  </a:lnTo>
                  <a:lnTo>
                    <a:pt x="524" y="389"/>
                  </a:lnTo>
                  <a:lnTo>
                    <a:pt x="516" y="391"/>
                  </a:lnTo>
                  <a:lnTo>
                    <a:pt x="503" y="390"/>
                  </a:lnTo>
                  <a:lnTo>
                    <a:pt x="493" y="381"/>
                  </a:lnTo>
                  <a:lnTo>
                    <a:pt x="484" y="376"/>
                  </a:lnTo>
                  <a:lnTo>
                    <a:pt x="477" y="374"/>
                  </a:lnTo>
                  <a:lnTo>
                    <a:pt x="471" y="374"/>
                  </a:lnTo>
                  <a:lnTo>
                    <a:pt x="460" y="379"/>
                  </a:lnTo>
                  <a:lnTo>
                    <a:pt x="441" y="397"/>
                  </a:lnTo>
                  <a:lnTo>
                    <a:pt x="436" y="406"/>
                  </a:lnTo>
                  <a:lnTo>
                    <a:pt x="427" y="407"/>
                  </a:lnTo>
                  <a:lnTo>
                    <a:pt x="419" y="414"/>
                  </a:lnTo>
                  <a:lnTo>
                    <a:pt x="408" y="418"/>
                  </a:lnTo>
                  <a:lnTo>
                    <a:pt x="397" y="417"/>
                  </a:lnTo>
                  <a:lnTo>
                    <a:pt x="379" y="422"/>
                  </a:lnTo>
                  <a:lnTo>
                    <a:pt x="369" y="427"/>
                  </a:lnTo>
                  <a:lnTo>
                    <a:pt x="350" y="421"/>
                  </a:lnTo>
                  <a:lnTo>
                    <a:pt x="341" y="409"/>
                  </a:lnTo>
                  <a:lnTo>
                    <a:pt x="337" y="402"/>
                  </a:lnTo>
                  <a:lnTo>
                    <a:pt x="331" y="397"/>
                  </a:lnTo>
                  <a:lnTo>
                    <a:pt x="321" y="391"/>
                  </a:lnTo>
                  <a:lnTo>
                    <a:pt x="295" y="379"/>
                  </a:lnTo>
                  <a:lnTo>
                    <a:pt x="283" y="370"/>
                  </a:lnTo>
                  <a:lnTo>
                    <a:pt x="267" y="368"/>
                  </a:lnTo>
                  <a:lnTo>
                    <a:pt x="257" y="370"/>
                  </a:lnTo>
                  <a:lnTo>
                    <a:pt x="248" y="370"/>
                  </a:lnTo>
                  <a:lnTo>
                    <a:pt x="245" y="379"/>
                  </a:lnTo>
                  <a:lnTo>
                    <a:pt x="245" y="391"/>
                  </a:lnTo>
                  <a:lnTo>
                    <a:pt x="242" y="396"/>
                  </a:lnTo>
                  <a:lnTo>
                    <a:pt x="240" y="407"/>
                  </a:lnTo>
                  <a:lnTo>
                    <a:pt x="220" y="412"/>
                  </a:lnTo>
                  <a:lnTo>
                    <a:pt x="207" y="417"/>
                  </a:lnTo>
                  <a:lnTo>
                    <a:pt x="196" y="417"/>
                  </a:lnTo>
                  <a:lnTo>
                    <a:pt x="186" y="414"/>
                  </a:lnTo>
                  <a:lnTo>
                    <a:pt x="176" y="409"/>
                  </a:lnTo>
                  <a:lnTo>
                    <a:pt x="167" y="401"/>
                  </a:lnTo>
                  <a:lnTo>
                    <a:pt x="164" y="386"/>
                  </a:lnTo>
                  <a:lnTo>
                    <a:pt x="164" y="381"/>
                  </a:lnTo>
                  <a:lnTo>
                    <a:pt x="156" y="378"/>
                  </a:lnTo>
                  <a:lnTo>
                    <a:pt x="154" y="382"/>
                  </a:lnTo>
                  <a:lnTo>
                    <a:pt x="155" y="386"/>
                  </a:lnTo>
                  <a:lnTo>
                    <a:pt x="151" y="386"/>
                  </a:lnTo>
                  <a:lnTo>
                    <a:pt x="143" y="380"/>
                  </a:lnTo>
                  <a:lnTo>
                    <a:pt x="137" y="374"/>
                  </a:lnTo>
                  <a:lnTo>
                    <a:pt x="134" y="373"/>
                  </a:lnTo>
                  <a:lnTo>
                    <a:pt x="119" y="374"/>
                  </a:lnTo>
                  <a:lnTo>
                    <a:pt x="117" y="380"/>
                  </a:lnTo>
                  <a:lnTo>
                    <a:pt x="107" y="386"/>
                  </a:lnTo>
                  <a:lnTo>
                    <a:pt x="105" y="386"/>
                  </a:lnTo>
                  <a:lnTo>
                    <a:pt x="108" y="379"/>
                  </a:lnTo>
                  <a:lnTo>
                    <a:pt x="107" y="375"/>
                  </a:lnTo>
                  <a:lnTo>
                    <a:pt x="73" y="385"/>
                  </a:lnTo>
                  <a:lnTo>
                    <a:pt x="79" y="378"/>
                  </a:lnTo>
                  <a:lnTo>
                    <a:pt x="87" y="371"/>
                  </a:lnTo>
                  <a:lnTo>
                    <a:pt x="101" y="371"/>
                  </a:lnTo>
                  <a:lnTo>
                    <a:pt x="108" y="368"/>
                  </a:lnTo>
                  <a:lnTo>
                    <a:pt x="110" y="366"/>
                  </a:lnTo>
                  <a:lnTo>
                    <a:pt x="118" y="362"/>
                  </a:lnTo>
                  <a:lnTo>
                    <a:pt x="122" y="357"/>
                  </a:lnTo>
                  <a:lnTo>
                    <a:pt x="113" y="355"/>
                  </a:lnTo>
                  <a:lnTo>
                    <a:pt x="92" y="360"/>
                  </a:lnTo>
                  <a:lnTo>
                    <a:pt x="69" y="360"/>
                  </a:lnTo>
                  <a:lnTo>
                    <a:pt x="67" y="355"/>
                  </a:lnTo>
                  <a:lnTo>
                    <a:pt x="79" y="344"/>
                  </a:lnTo>
                  <a:lnTo>
                    <a:pt x="71" y="336"/>
                  </a:lnTo>
                  <a:lnTo>
                    <a:pt x="68" y="333"/>
                  </a:lnTo>
                  <a:lnTo>
                    <a:pt x="63" y="333"/>
                  </a:lnTo>
                  <a:lnTo>
                    <a:pt x="64" y="325"/>
                  </a:lnTo>
                  <a:lnTo>
                    <a:pt x="69" y="321"/>
                  </a:lnTo>
                  <a:lnTo>
                    <a:pt x="71" y="316"/>
                  </a:lnTo>
                  <a:lnTo>
                    <a:pt x="64" y="317"/>
                  </a:lnTo>
                  <a:lnTo>
                    <a:pt x="57" y="320"/>
                  </a:lnTo>
                  <a:lnTo>
                    <a:pt x="52" y="312"/>
                  </a:lnTo>
                  <a:lnTo>
                    <a:pt x="59" y="309"/>
                  </a:lnTo>
                  <a:lnTo>
                    <a:pt x="60" y="300"/>
                  </a:lnTo>
                  <a:lnTo>
                    <a:pt x="56" y="290"/>
                  </a:lnTo>
                  <a:lnTo>
                    <a:pt x="51" y="287"/>
                  </a:lnTo>
                  <a:lnTo>
                    <a:pt x="37" y="283"/>
                  </a:lnTo>
                  <a:lnTo>
                    <a:pt x="30" y="277"/>
                  </a:lnTo>
                  <a:lnTo>
                    <a:pt x="20" y="279"/>
                  </a:lnTo>
                  <a:lnTo>
                    <a:pt x="16" y="277"/>
                  </a:lnTo>
                  <a:lnTo>
                    <a:pt x="10" y="271"/>
                  </a:lnTo>
                  <a:lnTo>
                    <a:pt x="10" y="268"/>
                  </a:lnTo>
                  <a:lnTo>
                    <a:pt x="16" y="266"/>
                  </a:lnTo>
                  <a:lnTo>
                    <a:pt x="17" y="256"/>
                  </a:lnTo>
                  <a:lnTo>
                    <a:pt x="16" y="251"/>
                  </a:lnTo>
                  <a:lnTo>
                    <a:pt x="19" y="245"/>
                  </a:lnTo>
                  <a:lnTo>
                    <a:pt x="22" y="246"/>
                  </a:lnTo>
                  <a:lnTo>
                    <a:pt x="28" y="262"/>
                  </a:lnTo>
                  <a:lnTo>
                    <a:pt x="35" y="263"/>
                  </a:lnTo>
                  <a:lnTo>
                    <a:pt x="43" y="262"/>
                  </a:lnTo>
                  <a:lnTo>
                    <a:pt x="54" y="262"/>
                  </a:lnTo>
                  <a:lnTo>
                    <a:pt x="52" y="260"/>
                  </a:lnTo>
                  <a:lnTo>
                    <a:pt x="42" y="255"/>
                  </a:lnTo>
                  <a:lnTo>
                    <a:pt x="37" y="246"/>
                  </a:lnTo>
                  <a:lnTo>
                    <a:pt x="38" y="239"/>
                  </a:lnTo>
                  <a:lnTo>
                    <a:pt x="47" y="231"/>
                  </a:lnTo>
                  <a:lnTo>
                    <a:pt x="44" y="226"/>
                  </a:lnTo>
                  <a:lnTo>
                    <a:pt x="38" y="220"/>
                  </a:lnTo>
                  <a:lnTo>
                    <a:pt x="38" y="214"/>
                  </a:lnTo>
                  <a:lnTo>
                    <a:pt x="32" y="206"/>
                  </a:lnTo>
                  <a:lnTo>
                    <a:pt x="33" y="195"/>
                  </a:lnTo>
                  <a:lnTo>
                    <a:pt x="43" y="186"/>
                  </a:lnTo>
                  <a:lnTo>
                    <a:pt x="41" y="182"/>
                  </a:lnTo>
                  <a:lnTo>
                    <a:pt x="25" y="186"/>
                  </a:lnTo>
                  <a:lnTo>
                    <a:pt x="0" y="186"/>
                  </a:lnTo>
                  <a:lnTo>
                    <a:pt x="0" y="181"/>
                  </a:lnTo>
                  <a:lnTo>
                    <a:pt x="3" y="160"/>
                  </a:lnTo>
                  <a:lnTo>
                    <a:pt x="8" y="150"/>
                  </a:lnTo>
                  <a:lnTo>
                    <a:pt x="14" y="149"/>
                  </a:lnTo>
                  <a:lnTo>
                    <a:pt x="20" y="138"/>
                  </a:lnTo>
                  <a:lnTo>
                    <a:pt x="27" y="132"/>
                  </a:lnTo>
                  <a:lnTo>
                    <a:pt x="35" y="122"/>
                  </a:lnTo>
                  <a:lnTo>
                    <a:pt x="48" y="123"/>
                  </a:lnTo>
                  <a:lnTo>
                    <a:pt x="63" y="118"/>
                  </a:lnTo>
                  <a:lnTo>
                    <a:pt x="68" y="123"/>
                  </a:lnTo>
                  <a:lnTo>
                    <a:pt x="80" y="127"/>
                  </a:lnTo>
                  <a:lnTo>
                    <a:pt x="91" y="126"/>
                  </a:lnTo>
                  <a:lnTo>
                    <a:pt x="87" y="112"/>
                  </a:lnTo>
                  <a:lnTo>
                    <a:pt x="96" y="113"/>
                  </a:lnTo>
                  <a:lnTo>
                    <a:pt x="102" y="117"/>
                  </a:lnTo>
                  <a:lnTo>
                    <a:pt x="101" y="122"/>
                  </a:lnTo>
                  <a:lnTo>
                    <a:pt x="108" y="123"/>
                  </a:lnTo>
                  <a:lnTo>
                    <a:pt x="122" y="121"/>
                  </a:lnTo>
                  <a:lnTo>
                    <a:pt x="149" y="121"/>
                  </a:lnTo>
                  <a:lnTo>
                    <a:pt x="161" y="120"/>
                  </a:lnTo>
                  <a:lnTo>
                    <a:pt x="160" y="113"/>
                  </a:lnTo>
                  <a:lnTo>
                    <a:pt x="151" y="111"/>
                  </a:lnTo>
                  <a:lnTo>
                    <a:pt x="150" y="107"/>
                  </a:lnTo>
                  <a:lnTo>
                    <a:pt x="160" y="104"/>
                  </a:lnTo>
                  <a:lnTo>
                    <a:pt x="204" y="100"/>
                  </a:lnTo>
                  <a:lnTo>
                    <a:pt x="204" y="96"/>
                  </a:lnTo>
                  <a:lnTo>
                    <a:pt x="196" y="94"/>
                  </a:lnTo>
                  <a:lnTo>
                    <a:pt x="189" y="96"/>
                  </a:lnTo>
                  <a:lnTo>
                    <a:pt x="176" y="94"/>
                  </a:lnTo>
                  <a:lnTo>
                    <a:pt x="173" y="90"/>
                  </a:lnTo>
                  <a:lnTo>
                    <a:pt x="170" y="89"/>
                  </a:lnTo>
                  <a:lnTo>
                    <a:pt x="167" y="83"/>
                  </a:lnTo>
                  <a:lnTo>
                    <a:pt x="161" y="79"/>
                  </a:lnTo>
                  <a:lnTo>
                    <a:pt x="164" y="73"/>
                  </a:lnTo>
                  <a:lnTo>
                    <a:pt x="170" y="62"/>
                  </a:lnTo>
                  <a:lnTo>
                    <a:pt x="171" y="66"/>
                  </a:lnTo>
                  <a:lnTo>
                    <a:pt x="180" y="66"/>
                  </a:lnTo>
                  <a:lnTo>
                    <a:pt x="193" y="69"/>
                  </a:lnTo>
                  <a:lnTo>
                    <a:pt x="231" y="68"/>
                  </a:lnTo>
                  <a:lnTo>
                    <a:pt x="242" y="72"/>
                  </a:lnTo>
                  <a:lnTo>
                    <a:pt x="248" y="75"/>
                  </a:lnTo>
                  <a:lnTo>
                    <a:pt x="253" y="74"/>
                  </a:lnTo>
                  <a:lnTo>
                    <a:pt x="274" y="77"/>
                  </a:lnTo>
                  <a:lnTo>
                    <a:pt x="288" y="70"/>
                  </a:lnTo>
                  <a:lnTo>
                    <a:pt x="295" y="57"/>
                  </a:lnTo>
                  <a:lnTo>
                    <a:pt x="307" y="51"/>
                  </a:lnTo>
                  <a:lnTo>
                    <a:pt x="318" y="41"/>
                  </a:lnTo>
                  <a:lnTo>
                    <a:pt x="332" y="36"/>
                  </a:lnTo>
                  <a:lnTo>
                    <a:pt x="343" y="26"/>
                  </a:lnTo>
                  <a:lnTo>
                    <a:pt x="355" y="19"/>
                  </a:lnTo>
                  <a:lnTo>
                    <a:pt x="381" y="9"/>
                  </a:lnTo>
                  <a:lnTo>
                    <a:pt x="398" y="7"/>
                  </a:lnTo>
                  <a:lnTo>
                    <a:pt x="414" y="5"/>
                  </a:lnTo>
                  <a:lnTo>
                    <a:pt x="436" y="8"/>
                  </a:lnTo>
                  <a:lnTo>
                    <a:pt x="473" y="8"/>
                  </a:lnTo>
                  <a:lnTo>
                    <a:pt x="485" y="2"/>
                  </a:lnTo>
                  <a:lnTo>
                    <a:pt x="493" y="0"/>
                  </a:lnTo>
                  <a:lnTo>
                    <a:pt x="499" y="3"/>
                  </a:lnTo>
                  <a:lnTo>
                    <a:pt x="499" y="10"/>
                  </a:lnTo>
                  <a:lnTo>
                    <a:pt x="506" y="21"/>
                  </a:lnTo>
                  <a:lnTo>
                    <a:pt x="520" y="29"/>
                  </a:lnTo>
                  <a:lnTo>
                    <a:pt x="533" y="35"/>
                  </a:lnTo>
                  <a:lnTo>
                    <a:pt x="546" y="26"/>
                  </a:lnTo>
                  <a:lnTo>
                    <a:pt x="553" y="37"/>
                  </a:lnTo>
                  <a:lnTo>
                    <a:pt x="560" y="58"/>
                  </a:lnTo>
                  <a:lnTo>
                    <a:pt x="587" y="61"/>
                  </a:lnTo>
                  <a:lnTo>
                    <a:pt x="623" y="80"/>
                  </a:lnTo>
                  <a:lnTo>
                    <a:pt x="629" y="77"/>
                  </a:lnTo>
                  <a:lnTo>
                    <a:pt x="635" y="74"/>
                  </a:lnTo>
                  <a:lnTo>
                    <a:pt x="656" y="84"/>
                  </a:lnTo>
                  <a:lnTo>
                    <a:pt x="677" y="83"/>
                  </a:lnTo>
                  <a:lnTo>
                    <a:pt x="693" y="77"/>
                  </a:lnTo>
                  <a:lnTo>
                    <a:pt x="724" y="72"/>
                  </a:lnTo>
                  <a:lnTo>
                    <a:pt x="758" y="80"/>
                  </a:lnTo>
                  <a:lnTo>
                    <a:pt x="779" y="79"/>
                  </a:lnTo>
                  <a:lnTo>
                    <a:pt x="820" y="51"/>
                  </a:lnTo>
                  <a:lnTo>
                    <a:pt x="838" y="40"/>
                  </a:lnTo>
                  <a:lnTo>
                    <a:pt x="840" y="35"/>
                  </a:lnTo>
                  <a:lnTo>
                    <a:pt x="847" y="41"/>
                  </a:lnTo>
                  <a:lnTo>
                    <a:pt x="855" y="41"/>
                  </a:lnTo>
                  <a:lnTo>
                    <a:pt x="868" y="37"/>
                  </a:lnTo>
                  <a:lnTo>
                    <a:pt x="887" y="43"/>
                  </a:lnTo>
                  <a:lnTo>
                    <a:pt x="893" y="43"/>
                  </a:lnTo>
                  <a:lnTo>
                    <a:pt x="898" y="36"/>
                  </a:lnTo>
                  <a:lnTo>
                    <a:pt x="903" y="32"/>
                  </a:lnTo>
                  <a:lnTo>
                    <a:pt x="911" y="35"/>
                  </a:lnTo>
                  <a:lnTo>
                    <a:pt x="919" y="42"/>
                  </a:lnTo>
                  <a:lnTo>
                    <a:pt x="930" y="58"/>
                  </a:lnTo>
                  <a:lnTo>
                    <a:pt x="935" y="59"/>
                  </a:lnTo>
                  <a:lnTo>
                    <a:pt x="944" y="69"/>
                  </a:lnTo>
                  <a:lnTo>
                    <a:pt x="951" y="75"/>
                  </a:lnTo>
                  <a:lnTo>
                    <a:pt x="958" y="89"/>
                  </a:lnTo>
                  <a:lnTo>
                    <a:pt x="960" y="109"/>
                  </a:lnTo>
                  <a:lnTo>
                    <a:pt x="963" y="123"/>
                  </a:lnTo>
                  <a:lnTo>
                    <a:pt x="971" y="133"/>
                  </a:lnTo>
                  <a:lnTo>
                    <a:pt x="982" y="137"/>
                  </a:lnTo>
                  <a:lnTo>
                    <a:pt x="990" y="143"/>
                  </a:lnTo>
                  <a:lnTo>
                    <a:pt x="1000" y="153"/>
                  </a:lnTo>
                  <a:lnTo>
                    <a:pt x="1008" y="156"/>
                  </a:lnTo>
                  <a:lnTo>
                    <a:pt x="1012" y="161"/>
                  </a:lnTo>
                  <a:lnTo>
                    <a:pt x="1003" y="179"/>
                  </a:lnTo>
                  <a:lnTo>
                    <a:pt x="1001" y="186"/>
                  </a:lnTo>
                  <a:lnTo>
                    <a:pt x="987" y="195"/>
                  </a:lnTo>
                  <a:lnTo>
                    <a:pt x="988" y="202"/>
                  </a:lnTo>
                  <a:lnTo>
                    <a:pt x="995" y="219"/>
                  </a:lnTo>
                  <a:lnTo>
                    <a:pt x="997" y="246"/>
                  </a:lnTo>
                  <a:lnTo>
                    <a:pt x="997" y="263"/>
                  </a:lnTo>
                  <a:lnTo>
                    <a:pt x="999" y="279"/>
                  </a:lnTo>
                  <a:lnTo>
                    <a:pt x="995" y="300"/>
                  </a:lnTo>
                  <a:lnTo>
                    <a:pt x="1009" y="308"/>
                  </a:lnTo>
                  <a:lnTo>
                    <a:pt x="1021" y="325"/>
                  </a:lnTo>
                  <a:lnTo>
                    <a:pt x="1022" y="341"/>
                  </a:lnTo>
                  <a:lnTo>
                    <a:pt x="1015" y="348"/>
                  </a:lnTo>
                  <a:lnTo>
                    <a:pt x="1000" y="347"/>
                  </a:lnTo>
                  <a:lnTo>
                    <a:pt x="990" y="336"/>
                  </a:lnTo>
                  <a:lnTo>
                    <a:pt x="973" y="337"/>
                  </a:lnTo>
                  <a:lnTo>
                    <a:pt x="942" y="336"/>
                  </a:lnTo>
                  <a:lnTo>
                    <a:pt x="922" y="327"/>
                  </a:lnTo>
                  <a:lnTo>
                    <a:pt x="897" y="348"/>
                  </a:lnTo>
                  <a:lnTo>
                    <a:pt x="888" y="349"/>
                  </a:lnTo>
                  <a:lnTo>
                    <a:pt x="887" y="347"/>
                  </a:lnTo>
                  <a:lnTo>
                    <a:pt x="887" y="342"/>
                  </a:lnTo>
                  <a:lnTo>
                    <a:pt x="883" y="339"/>
                  </a:lnTo>
                  <a:lnTo>
                    <a:pt x="881" y="337"/>
                  </a:lnTo>
                  <a:lnTo>
                    <a:pt x="872" y="344"/>
                  </a:lnTo>
                  <a:lnTo>
                    <a:pt x="855" y="352"/>
                  </a:lnTo>
                  <a:lnTo>
                    <a:pt x="820" y="354"/>
                  </a:lnTo>
                  <a:lnTo>
                    <a:pt x="810" y="351"/>
                  </a:lnTo>
                  <a:lnTo>
                    <a:pt x="801" y="351"/>
                  </a:lnTo>
                  <a:lnTo>
                    <a:pt x="785" y="355"/>
                  </a:lnTo>
                  <a:lnTo>
                    <a:pt x="775" y="364"/>
                  </a:lnTo>
                  <a:lnTo>
                    <a:pt x="767" y="368"/>
                  </a:lnTo>
                  <a:lnTo>
                    <a:pt x="754" y="371"/>
                  </a:lnTo>
                  <a:lnTo>
                    <a:pt x="750" y="375"/>
                  </a:lnTo>
                  <a:lnTo>
                    <a:pt x="716" y="381"/>
                  </a:lnTo>
                  <a:lnTo>
                    <a:pt x="689" y="378"/>
                  </a:lnTo>
                  <a:lnTo>
                    <a:pt x="678" y="366"/>
                  </a:lnTo>
                  <a:lnTo>
                    <a:pt x="671" y="365"/>
                  </a:lnTo>
                  <a:lnTo>
                    <a:pt x="657" y="366"/>
                  </a:lnTo>
                  <a:lnTo>
                    <a:pt x="648" y="373"/>
                  </a:lnTo>
                  <a:lnTo>
                    <a:pt x="634" y="378"/>
                  </a:lnTo>
                  <a:lnTo>
                    <a:pt x="626" y="380"/>
                  </a:lnTo>
                  <a:lnTo>
                    <a:pt x="622" y="384"/>
                  </a:lnTo>
                  <a:lnTo>
                    <a:pt x="607" y="381"/>
                  </a:lnTo>
                  <a:lnTo>
                    <a:pt x="598" y="384"/>
                  </a:lnTo>
                  <a:lnTo>
                    <a:pt x="597" y="381"/>
                  </a:lnTo>
                  <a:lnTo>
                    <a:pt x="597" y="379"/>
                  </a:lnTo>
                  <a:lnTo>
                    <a:pt x="597" y="378"/>
                  </a:lnTo>
                  <a:lnTo>
                    <a:pt x="592" y="374"/>
                  </a:lnTo>
                  <a:lnTo>
                    <a:pt x="583" y="373"/>
                  </a:lnTo>
                  <a:lnTo>
                    <a:pt x="578" y="370"/>
                  </a:lnTo>
                  <a:lnTo>
                    <a:pt x="573" y="381"/>
                  </a:lnTo>
                  <a:lnTo>
                    <a:pt x="571" y="382"/>
                  </a:lnTo>
                  <a:lnTo>
                    <a:pt x="571" y="387"/>
                  </a:lnTo>
                  <a:lnTo>
                    <a:pt x="569" y="396"/>
                  </a:lnTo>
                  <a:lnTo>
                    <a:pt x="579" y="408"/>
                  </a:lnTo>
                  <a:lnTo>
                    <a:pt x="579" y="411"/>
                  </a:lnTo>
                  <a:lnTo>
                    <a:pt x="576" y="412"/>
                  </a:lnTo>
                  <a:lnTo>
                    <a:pt x="569" y="412"/>
                  </a:lnTo>
                  <a:lnTo>
                    <a:pt x="560" y="414"/>
                  </a:lnTo>
                  <a:lnTo>
                    <a:pt x="560" y="418"/>
                  </a:lnTo>
                  <a:lnTo>
                    <a:pt x="560" y="427"/>
                  </a:lnTo>
                  <a:lnTo>
                    <a:pt x="554" y="432"/>
                  </a:lnTo>
                  <a:lnTo>
                    <a:pt x="551" y="433"/>
                  </a:lnTo>
                  <a:lnTo>
                    <a:pt x="548" y="439"/>
                  </a:lnTo>
                  <a:lnTo>
                    <a:pt x="542" y="435"/>
                  </a:lnTo>
                  <a:lnTo>
                    <a:pt x="540" y="432"/>
                  </a:lnTo>
                  <a:lnTo>
                    <a:pt x="536" y="432"/>
                  </a:lnTo>
                  <a:lnTo>
                    <a:pt x="538" y="42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51" name="Freeform 156">
              <a:extLst>
                <a:ext uri="{FF2B5EF4-FFF2-40B4-BE49-F238E27FC236}">
                  <a16:creationId xmlns:a16="http://schemas.microsoft.com/office/drawing/2014/main" id="{A65A3930-D5E1-A768-2AF5-BF7349577A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534267" y="2899086"/>
              <a:ext cx="88048" cy="80783"/>
            </a:xfrm>
            <a:custGeom>
              <a:avLst/>
              <a:gdLst>
                <a:gd name="T0" fmla="*/ 0 w 166"/>
                <a:gd name="T1" fmla="*/ 0 h 140"/>
                <a:gd name="T2" fmla="*/ 0 w 166"/>
                <a:gd name="T3" fmla="*/ 0 h 140"/>
                <a:gd name="T4" fmla="*/ 0 w 166"/>
                <a:gd name="T5" fmla="*/ 0 h 140"/>
                <a:gd name="T6" fmla="*/ 0 w 166"/>
                <a:gd name="T7" fmla="*/ 0 h 140"/>
                <a:gd name="T8" fmla="*/ 0 w 166"/>
                <a:gd name="T9" fmla="*/ 0 h 140"/>
                <a:gd name="T10" fmla="*/ 0 w 166"/>
                <a:gd name="T11" fmla="*/ 0 h 140"/>
                <a:gd name="T12" fmla="*/ 0 w 166"/>
                <a:gd name="T13" fmla="*/ 0 h 140"/>
                <a:gd name="T14" fmla="*/ 0 w 166"/>
                <a:gd name="T15" fmla="*/ 0 h 140"/>
                <a:gd name="T16" fmla="*/ 0 w 166"/>
                <a:gd name="T17" fmla="*/ 0 h 140"/>
                <a:gd name="T18" fmla="*/ 0 w 166"/>
                <a:gd name="T19" fmla="*/ 0 h 140"/>
                <a:gd name="T20" fmla="*/ 0 w 166"/>
                <a:gd name="T21" fmla="*/ 0 h 140"/>
                <a:gd name="T22" fmla="*/ 0 w 166"/>
                <a:gd name="T23" fmla="*/ 0 h 140"/>
                <a:gd name="T24" fmla="*/ 0 w 166"/>
                <a:gd name="T25" fmla="*/ 0 h 140"/>
                <a:gd name="T26" fmla="*/ 0 w 166"/>
                <a:gd name="T27" fmla="*/ 0 h 140"/>
                <a:gd name="T28" fmla="*/ 0 w 166"/>
                <a:gd name="T29" fmla="*/ 0 h 140"/>
                <a:gd name="T30" fmla="*/ 0 w 166"/>
                <a:gd name="T31" fmla="*/ 0 h 140"/>
                <a:gd name="T32" fmla="*/ 0 w 166"/>
                <a:gd name="T33" fmla="*/ 0 h 140"/>
                <a:gd name="T34" fmla="*/ 0 w 166"/>
                <a:gd name="T35" fmla="*/ 0 h 140"/>
                <a:gd name="T36" fmla="*/ 0 w 166"/>
                <a:gd name="T37" fmla="*/ 0 h 140"/>
                <a:gd name="T38" fmla="*/ 0 w 166"/>
                <a:gd name="T39" fmla="*/ 0 h 140"/>
                <a:gd name="T40" fmla="*/ 0 w 166"/>
                <a:gd name="T41" fmla="*/ 0 h 140"/>
                <a:gd name="T42" fmla="*/ 0 w 166"/>
                <a:gd name="T43" fmla="*/ 0 h 140"/>
                <a:gd name="T44" fmla="*/ 0 w 166"/>
                <a:gd name="T45" fmla="*/ 0 h 140"/>
                <a:gd name="T46" fmla="*/ 0 w 166"/>
                <a:gd name="T47" fmla="*/ 0 h 140"/>
                <a:gd name="T48" fmla="*/ 0 w 166"/>
                <a:gd name="T49" fmla="*/ 0 h 140"/>
                <a:gd name="T50" fmla="*/ 0 w 166"/>
                <a:gd name="T51" fmla="*/ 0 h 140"/>
                <a:gd name="T52" fmla="*/ 0 w 166"/>
                <a:gd name="T53" fmla="*/ 0 h 140"/>
                <a:gd name="T54" fmla="*/ 0 w 166"/>
                <a:gd name="T55" fmla="*/ 0 h 140"/>
                <a:gd name="T56" fmla="*/ 0 w 166"/>
                <a:gd name="T57" fmla="*/ 0 h 140"/>
                <a:gd name="T58" fmla="*/ 0 w 166"/>
                <a:gd name="T59" fmla="*/ 0 h 140"/>
                <a:gd name="T60" fmla="*/ 0 w 166"/>
                <a:gd name="T61" fmla="*/ 0 h 140"/>
                <a:gd name="T62" fmla="*/ 0 w 166"/>
                <a:gd name="T63" fmla="*/ 0 h 140"/>
                <a:gd name="T64" fmla="*/ 0 w 166"/>
                <a:gd name="T65" fmla="*/ 0 h 140"/>
                <a:gd name="T66" fmla="*/ 0 w 166"/>
                <a:gd name="T67" fmla="*/ 0 h 140"/>
                <a:gd name="T68" fmla="*/ 0 w 166"/>
                <a:gd name="T69" fmla="*/ 0 h 140"/>
                <a:gd name="T70" fmla="*/ 0 w 166"/>
                <a:gd name="T71" fmla="*/ 0 h 140"/>
                <a:gd name="T72" fmla="*/ 0 w 166"/>
                <a:gd name="T73" fmla="*/ 0 h 140"/>
                <a:gd name="T74" fmla="*/ 0 w 166"/>
                <a:gd name="T75" fmla="*/ 0 h 140"/>
                <a:gd name="T76" fmla="*/ 0 w 166"/>
                <a:gd name="T77" fmla="*/ 0 h 140"/>
                <a:gd name="T78" fmla="*/ 0 w 166"/>
                <a:gd name="T79" fmla="*/ 0 h 140"/>
                <a:gd name="T80" fmla="*/ 0 w 166"/>
                <a:gd name="T81" fmla="*/ 0 h 140"/>
                <a:gd name="T82" fmla="*/ 0 w 166"/>
                <a:gd name="T83" fmla="*/ 0 h 140"/>
                <a:gd name="T84" fmla="*/ 0 w 166"/>
                <a:gd name="T85" fmla="*/ 0 h 14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66"/>
                <a:gd name="T130" fmla="*/ 0 h 140"/>
                <a:gd name="T131" fmla="*/ 166 w 166"/>
                <a:gd name="T132" fmla="*/ 140 h 14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66" h="140">
                  <a:moveTo>
                    <a:pt x="108" y="8"/>
                  </a:moveTo>
                  <a:lnTo>
                    <a:pt x="100" y="6"/>
                  </a:lnTo>
                  <a:lnTo>
                    <a:pt x="77" y="10"/>
                  </a:lnTo>
                  <a:lnTo>
                    <a:pt x="59" y="0"/>
                  </a:lnTo>
                  <a:lnTo>
                    <a:pt x="39" y="8"/>
                  </a:lnTo>
                  <a:lnTo>
                    <a:pt x="25" y="10"/>
                  </a:lnTo>
                  <a:lnTo>
                    <a:pt x="16" y="18"/>
                  </a:lnTo>
                  <a:lnTo>
                    <a:pt x="19" y="24"/>
                  </a:lnTo>
                  <a:lnTo>
                    <a:pt x="28" y="31"/>
                  </a:lnTo>
                  <a:lnTo>
                    <a:pt x="27" y="42"/>
                  </a:lnTo>
                  <a:lnTo>
                    <a:pt x="16" y="51"/>
                  </a:lnTo>
                  <a:lnTo>
                    <a:pt x="14" y="67"/>
                  </a:lnTo>
                  <a:lnTo>
                    <a:pt x="10" y="81"/>
                  </a:lnTo>
                  <a:lnTo>
                    <a:pt x="0" y="96"/>
                  </a:lnTo>
                  <a:lnTo>
                    <a:pt x="3" y="100"/>
                  </a:lnTo>
                  <a:lnTo>
                    <a:pt x="10" y="104"/>
                  </a:lnTo>
                  <a:lnTo>
                    <a:pt x="43" y="100"/>
                  </a:lnTo>
                  <a:lnTo>
                    <a:pt x="36" y="107"/>
                  </a:lnTo>
                  <a:lnTo>
                    <a:pt x="21" y="113"/>
                  </a:lnTo>
                  <a:lnTo>
                    <a:pt x="10" y="120"/>
                  </a:lnTo>
                  <a:lnTo>
                    <a:pt x="9" y="127"/>
                  </a:lnTo>
                  <a:lnTo>
                    <a:pt x="9" y="140"/>
                  </a:lnTo>
                  <a:lnTo>
                    <a:pt x="17" y="137"/>
                  </a:lnTo>
                  <a:lnTo>
                    <a:pt x="23" y="127"/>
                  </a:lnTo>
                  <a:lnTo>
                    <a:pt x="33" y="118"/>
                  </a:lnTo>
                  <a:lnTo>
                    <a:pt x="58" y="101"/>
                  </a:lnTo>
                  <a:lnTo>
                    <a:pt x="76" y="86"/>
                  </a:lnTo>
                  <a:lnTo>
                    <a:pt x="85" y="75"/>
                  </a:lnTo>
                  <a:lnTo>
                    <a:pt x="97" y="75"/>
                  </a:lnTo>
                  <a:lnTo>
                    <a:pt x="108" y="73"/>
                  </a:lnTo>
                  <a:lnTo>
                    <a:pt x="124" y="73"/>
                  </a:lnTo>
                  <a:lnTo>
                    <a:pt x="138" y="74"/>
                  </a:lnTo>
                  <a:lnTo>
                    <a:pt x="145" y="78"/>
                  </a:lnTo>
                  <a:lnTo>
                    <a:pt x="160" y="73"/>
                  </a:lnTo>
                  <a:lnTo>
                    <a:pt x="166" y="64"/>
                  </a:lnTo>
                  <a:lnTo>
                    <a:pt x="166" y="56"/>
                  </a:lnTo>
                  <a:lnTo>
                    <a:pt x="156" y="54"/>
                  </a:lnTo>
                  <a:lnTo>
                    <a:pt x="139" y="48"/>
                  </a:lnTo>
                  <a:lnTo>
                    <a:pt x="125" y="42"/>
                  </a:lnTo>
                  <a:lnTo>
                    <a:pt x="117" y="36"/>
                  </a:lnTo>
                  <a:lnTo>
                    <a:pt x="109" y="27"/>
                  </a:lnTo>
                  <a:lnTo>
                    <a:pt x="107" y="16"/>
                  </a:lnTo>
                  <a:lnTo>
                    <a:pt x="108" y="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52" name="Freeform 157">
              <a:extLst>
                <a:ext uri="{FF2B5EF4-FFF2-40B4-BE49-F238E27FC236}">
                  <a16:creationId xmlns:a16="http://schemas.microsoft.com/office/drawing/2014/main" id="{ABD19BE2-2844-9B0A-722E-BF21E00A8F1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792442" y="3242035"/>
              <a:ext cx="123865" cy="152422"/>
            </a:xfrm>
            <a:custGeom>
              <a:avLst/>
              <a:gdLst>
                <a:gd name="T0" fmla="*/ 2147483647 w 231"/>
                <a:gd name="T1" fmla="*/ 2147483647 h 269"/>
                <a:gd name="T2" fmla="*/ 2147483647 w 231"/>
                <a:gd name="T3" fmla="*/ 0 h 269"/>
                <a:gd name="T4" fmla="*/ 2147483647 w 231"/>
                <a:gd name="T5" fmla="*/ 0 h 269"/>
                <a:gd name="T6" fmla="*/ 2147483647 w 231"/>
                <a:gd name="T7" fmla="*/ 0 h 269"/>
                <a:gd name="T8" fmla="*/ 2147483647 w 231"/>
                <a:gd name="T9" fmla="*/ 0 h 269"/>
                <a:gd name="T10" fmla="*/ 2147483647 w 231"/>
                <a:gd name="T11" fmla="*/ 0 h 269"/>
                <a:gd name="T12" fmla="*/ 2147483647 w 231"/>
                <a:gd name="T13" fmla="*/ 0 h 269"/>
                <a:gd name="T14" fmla="*/ 2147483647 w 231"/>
                <a:gd name="T15" fmla="*/ 0 h 269"/>
                <a:gd name="T16" fmla="*/ 2147483647 w 231"/>
                <a:gd name="T17" fmla="*/ 0 h 269"/>
                <a:gd name="T18" fmla="*/ 2147483647 w 231"/>
                <a:gd name="T19" fmla="*/ 0 h 269"/>
                <a:gd name="T20" fmla="*/ 2147483647 w 231"/>
                <a:gd name="T21" fmla="*/ 0 h 269"/>
                <a:gd name="T22" fmla="*/ 2147483647 w 231"/>
                <a:gd name="T23" fmla="*/ 0 h 269"/>
                <a:gd name="T24" fmla="*/ 0 w 231"/>
                <a:gd name="T25" fmla="*/ 0 h 269"/>
                <a:gd name="T26" fmla="*/ 0 w 231"/>
                <a:gd name="T27" fmla="*/ 0 h 269"/>
                <a:gd name="T28" fmla="*/ 0 w 231"/>
                <a:gd name="T29" fmla="*/ 0 h 269"/>
                <a:gd name="T30" fmla="*/ 0 w 231"/>
                <a:gd name="T31" fmla="*/ 0 h 269"/>
                <a:gd name="T32" fmla="*/ 0 w 231"/>
                <a:gd name="T33" fmla="*/ 0 h 269"/>
                <a:gd name="T34" fmla="*/ 0 w 231"/>
                <a:gd name="T35" fmla="*/ 2147483647 h 269"/>
                <a:gd name="T36" fmla="*/ 0 w 231"/>
                <a:gd name="T37" fmla="*/ 2147483647 h 269"/>
                <a:gd name="T38" fmla="*/ 0 w 231"/>
                <a:gd name="T39" fmla="*/ 2147483647 h 269"/>
                <a:gd name="T40" fmla="*/ 0 w 231"/>
                <a:gd name="T41" fmla="*/ 2147483647 h 269"/>
                <a:gd name="T42" fmla="*/ 0 w 231"/>
                <a:gd name="T43" fmla="*/ 2147483647 h 269"/>
                <a:gd name="T44" fmla="*/ 0 w 231"/>
                <a:gd name="T45" fmla="*/ 2147483647 h 269"/>
                <a:gd name="T46" fmla="*/ 0 w 231"/>
                <a:gd name="T47" fmla="*/ 2147483647 h 269"/>
                <a:gd name="T48" fmla="*/ 0 w 231"/>
                <a:gd name="T49" fmla="*/ 2147483647 h 269"/>
                <a:gd name="T50" fmla="*/ 0 w 231"/>
                <a:gd name="T51" fmla="*/ 2147483647 h 269"/>
                <a:gd name="T52" fmla="*/ 0 w 231"/>
                <a:gd name="T53" fmla="*/ 2147483647 h 269"/>
                <a:gd name="T54" fmla="*/ 0 w 231"/>
                <a:gd name="T55" fmla="*/ 2147483647 h 269"/>
                <a:gd name="T56" fmla="*/ 0 w 231"/>
                <a:gd name="T57" fmla="*/ 2147483647 h 269"/>
                <a:gd name="T58" fmla="*/ 0 w 231"/>
                <a:gd name="T59" fmla="*/ 2147483647 h 269"/>
                <a:gd name="T60" fmla="*/ 0 w 231"/>
                <a:gd name="T61" fmla="*/ 2147483647 h 269"/>
                <a:gd name="T62" fmla="*/ 0 w 231"/>
                <a:gd name="T63" fmla="*/ 2147483647 h 269"/>
                <a:gd name="T64" fmla="*/ 0 w 231"/>
                <a:gd name="T65" fmla="*/ 2147483647 h 269"/>
                <a:gd name="T66" fmla="*/ 2147483647 w 231"/>
                <a:gd name="T67" fmla="*/ 2147483647 h 269"/>
                <a:gd name="T68" fmla="*/ 2147483647 w 231"/>
                <a:gd name="T69" fmla="*/ 2147483647 h 269"/>
                <a:gd name="T70" fmla="*/ 2147483647 w 231"/>
                <a:gd name="T71" fmla="*/ 2147483647 h 269"/>
                <a:gd name="T72" fmla="*/ 2147483647 w 231"/>
                <a:gd name="T73" fmla="*/ 2147483647 h 269"/>
                <a:gd name="T74" fmla="*/ 2147483647 w 231"/>
                <a:gd name="T75" fmla="*/ 2147483647 h 269"/>
                <a:gd name="T76" fmla="*/ 2147483647 w 231"/>
                <a:gd name="T77" fmla="*/ 2147483647 h 269"/>
                <a:gd name="T78" fmla="*/ 2147483647 w 231"/>
                <a:gd name="T79" fmla="*/ 2147483647 h 269"/>
                <a:gd name="T80" fmla="*/ 2147483647 w 231"/>
                <a:gd name="T81" fmla="*/ 2147483647 h 269"/>
                <a:gd name="T82" fmla="*/ 2147483647 w 231"/>
                <a:gd name="T83" fmla="*/ 2147483647 h 269"/>
                <a:gd name="T84" fmla="*/ 2147483647 w 231"/>
                <a:gd name="T85" fmla="*/ 2147483647 h 269"/>
                <a:gd name="T86" fmla="*/ 2147483647 w 231"/>
                <a:gd name="T87" fmla="*/ 2147483647 h 269"/>
                <a:gd name="T88" fmla="*/ 2147483647 w 231"/>
                <a:gd name="T89" fmla="*/ 2147483647 h 269"/>
                <a:gd name="T90" fmla="*/ 2147483647 w 231"/>
                <a:gd name="T91" fmla="*/ 2147483647 h 269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31"/>
                <a:gd name="T139" fmla="*/ 0 h 269"/>
                <a:gd name="T140" fmla="*/ 231 w 231"/>
                <a:gd name="T141" fmla="*/ 269 h 269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31" h="269">
                  <a:moveTo>
                    <a:pt x="215" y="94"/>
                  </a:moveTo>
                  <a:lnTo>
                    <a:pt x="231" y="75"/>
                  </a:lnTo>
                  <a:lnTo>
                    <a:pt x="215" y="0"/>
                  </a:lnTo>
                  <a:lnTo>
                    <a:pt x="165" y="26"/>
                  </a:lnTo>
                  <a:lnTo>
                    <a:pt x="141" y="39"/>
                  </a:lnTo>
                  <a:lnTo>
                    <a:pt x="96" y="67"/>
                  </a:lnTo>
                  <a:lnTo>
                    <a:pt x="87" y="69"/>
                  </a:lnTo>
                  <a:lnTo>
                    <a:pt x="75" y="67"/>
                  </a:lnTo>
                  <a:lnTo>
                    <a:pt x="70" y="65"/>
                  </a:lnTo>
                  <a:lnTo>
                    <a:pt x="62" y="55"/>
                  </a:lnTo>
                  <a:lnTo>
                    <a:pt x="54" y="51"/>
                  </a:lnTo>
                  <a:lnTo>
                    <a:pt x="48" y="43"/>
                  </a:lnTo>
                  <a:lnTo>
                    <a:pt x="44" y="42"/>
                  </a:lnTo>
                  <a:lnTo>
                    <a:pt x="32" y="44"/>
                  </a:lnTo>
                  <a:lnTo>
                    <a:pt x="32" y="64"/>
                  </a:lnTo>
                  <a:lnTo>
                    <a:pt x="32" y="66"/>
                  </a:lnTo>
                  <a:lnTo>
                    <a:pt x="31" y="75"/>
                  </a:lnTo>
                  <a:lnTo>
                    <a:pt x="30" y="82"/>
                  </a:lnTo>
                  <a:lnTo>
                    <a:pt x="28" y="94"/>
                  </a:lnTo>
                  <a:lnTo>
                    <a:pt x="31" y="103"/>
                  </a:lnTo>
                  <a:lnTo>
                    <a:pt x="28" y="109"/>
                  </a:lnTo>
                  <a:lnTo>
                    <a:pt x="27" y="118"/>
                  </a:lnTo>
                  <a:lnTo>
                    <a:pt x="25" y="120"/>
                  </a:lnTo>
                  <a:lnTo>
                    <a:pt x="27" y="124"/>
                  </a:lnTo>
                  <a:lnTo>
                    <a:pt x="23" y="137"/>
                  </a:lnTo>
                  <a:lnTo>
                    <a:pt x="26" y="145"/>
                  </a:lnTo>
                  <a:lnTo>
                    <a:pt x="17" y="163"/>
                  </a:lnTo>
                  <a:lnTo>
                    <a:pt x="11" y="183"/>
                  </a:lnTo>
                  <a:lnTo>
                    <a:pt x="5" y="236"/>
                  </a:lnTo>
                  <a:lnTo>
                    <a:pt x="1" y="247"/>
                  </a:lnTo>
                  <a:lnTo>
                    <a:pt x="0" y="253"/>
                  </a:lnTo>
                  <a:lnTo>
                    <a:pt x="3" y="261"/>
                  </a:lnTo>
                  <a:lnTo>
                    <a:pt x="64" y="269"/>
                  </a:lnTo>
                  <a:lnTo>
                    <a:pt x="81" y="252"/>
                  </a:lnTo>
                  <a:lnTo>
                    <a:pt x="82" y="248"/>
                  </a:lnTo>
                  <a:lnTo>
                    <a:pt x="97" y="223"/>
                  </a:lnTo>
                  <a:lnTo>
                    <a:pt x="139" y="217"/>
                  </a:lnTo>
                  <a:lnTo>
                    <a:pt x="140" y="207"/>
                  </a:lnTo>
                  <a:lnTo>
                    <a:pt x="146" y="191"/>
                  </a:lnTo>
                  <a:lnTo>
                    <a:pt x="168" y="179"/>
                  </a:lnTo>
                  <a:lnTo>
                    <a:pt x="170" y="178"/>
                  </a:lnTo>
                  <a:lnTo>
                    <a:pt x="117" y="124"/>
                  </a:lnTo>
                  <a:lnTo>
                    <a:pt x="108" y="118"/>
                  </a:lnTo>
                  <a:lnTo>
                    <a:pt x="149" y="108"/>
                  </a:lnTo>
                  <a:lnTo>
                    <a:pt x="215" y="9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53" name="Freeform 158">
              <a:extLst>
                <a:ext uri="{FF2B5EF4-FFF2-40B4-BE49-F238E27FC236}">
                  <a16:creationId xmlns:a16="http://schemas.microsoft.com/office/drawing/2014/main" id="{7420B709-AE2A-19E7-E46A-F7783608E90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808858" y="3089613"/>
              <a:ext cx="207435" cy="190528"/>
            </a:xfrm>
            <a:custGeom>
              <a:avLst/>
              <a:gdLst>
                <a:gd name="T0" fmla="*/ 2147483647 w 387"/>
                <a:gd name="T1" fmla="*/ 2147483647 h 337"/>
                <a:gd name="T2" fmla="*/ 2147483647 w 387"/>
                <a:gd name="T3" fmla="*/ 2147483647 h 337"/>
                <a:gd name="T4" fmla="*/ 2147483647 w 387"/>
                <a:gd name="T5" fmla="*/ 2147483647 h 337"/>
                <a:gd name="T6" fmla="*/ 2147483647 w 387"/>
                <a:gd name="T7" fmla="*/ 0 h 337"/>
                <a:gd name="T8" fmla="*/ 2147483647 w 387"/>
                <a:gd name="T9" fmla="*/ 0 h 337"/>
                <a:gd name="T10" fmla="*/ 2147483647 w 387"/>
                <a:gd name="T11" fmla="*/ 0 h 337"/>
                <a:gd name="T12" fmla="*/ 2147483647 w 387"/>
                <a:gd name="T13" fmla="*/ 0 h 337"/>
                <a:gd name="T14" fmla="*/ 2147483647 w 387"/>
                <a:gd name="T15" fmla="*/ 0 h 337"/>
                <a:gd name="T16" fmla="*/ 2147483647 w 387"/>
                <a:gd name="T17" fmla="*/ 0 h 337"/>
                <a:gd name="T18" fmla="*/ 2147483647 w 387"/>
                <a:gd name="T19" fmla="*/ 0 h 337"/>
                <a:gd name="T20" fmla="*/ 2147483647 w 387"/>
                <a:gd name="T21" fmla="*/ 0 h 337"/>
                <a:gd name="T22" fmla="*/ 2147483647 w 387"/>
                <a:gd name="T23" fmla="*/ 0 h 337"/>
                <a:gd name="T24" fmla="*/ 2147483647 w 387"/>
                <a:gd name="T25" fmla="*/ 0 h 337"/>
                <a:gd name="T26" fmla="*/ 2147483647 w 387"/>
                <a:gd name="T27" fmla="*/ 0 h 337"/>
                <a:gd name="T28" fmla="*/ 2147483647 w 387"/>
                <a:gd name="T29" fmla="*/ 0 h 337"/>
                <a:gd name="T30" fmla="*/ 2147483647 w 387"/>
                <a:gd name="T31" fmla="*/ 0 h 337"/>
                <a:gd name="T32" fmla="*/ 2147483647 w 387"/>
                <a:gd name="T33" fmla="*/ 0 h 337"/>
                <a:gd name="T34" fmla="*/ 2147483647 w 387"/>
                <a:gd name="T35" fmla="*/ 0 h 337"/>
                <a:gd name="T36" fmla="*/ 2147483647 w 387"/>
                <a:gd name="T37" fmla="*/ 2147483647 h 337"/>
                <a:gd name="T38" fmla="*/ 0 w 387"/>
                <a:gd name="T39" fmla="*/ 2147483647 h 337"/>
                <a:gd name="T40" fmla="*/ 0 w 387"/>
                <a:gd name="T41" fmla="*/ 2147483647 h 337"/>
                <a:gd name="T42" fmla="*/ 0 w 387"/>
                <a:gd name="T43" fmla="*/ 2147483647 h 337"/>
                <a:gd name="T44" fmla="*/ 0 w 387"/>
                <a:gd name="T45" fmla="*/ 2147483647 h 337"/>
                <a:gd name="T46" fmla="*/ 2147483647 w 387"/>
                <a:gd name="T47" fmla="*/ 2147483647 h 337"/>
                <a:gd name="T48" fmla="*/ 2147483647 w 387"/>
                <a:gd name="T49" fmla="*/ 2147483647 h 337"/>
                <a:gd name="T50" fmla="*/ 2147483647 w 387"/>
                <a:gd name="T51" fmla="*/ 2147483647 h 337"/>
                <a:gd name="T52" fmla="*/ 2147483647 w 387"/>
                <a:gd name="T53" fmla="*/ 2147483647 h 337"/>
                <a:gd name="T54" fmla="*/ 2147483647 w 387"/>
                <a:gd name="T55" fmla="*/ 2147483647 h 337"/>
                <a:gd name="T56" fmla="*/ 2147483647 w 387"/>
                <a:gd name="T57" fmla="*/ 2147483647 h 337"/>
                <a:gd name="T58" fmla="*/ 2147483647 w 387"/>
                <a:gd name="T59" fmla="*/ 2147483647 h 337"/>
                <a:gd name="T60" fmla="*/ 2147483647 w 387"/>
                <a:gd name="T61" fmla="*/ 2147483647 h 337"/>
                <a:gd name="T62" fmla="*/ 0 w 387"/>
                <a:gd name="T63" fmla="*/ 2147483647 h 337"/>
                <a:gd name="T64" fmla="*/ 2147483647 w 387"/>
                <a:gd name="T65" fmla="*/ 2147483647 h 337"/>
                <a:gd name="T66" fmla="*/ 0 w 387"/>
                <a:gd name="T67" fmla="*/ 2147483647 h 337"/>
                <a:gd name="T68" fmla="*/ 0 w 387"/>
                <a:gd name="T69" fmla="*/ 2147483647 h 337"/>
                <a:gd name="T70" fmla="*/ 0 w 387"/>
                <a:gd name="T71" fmla="*/ 2147483647 h 337"/>
                <a:gd name="T72" fmla="*/ 0 w 387"/>
                <a:gd name="T73" fmla="*/ 2147483647 h 337"/>
                <a:gd name="T74" fmla="*/ 0 w 387"/>
                <a:gd name="T75" fmla="*/ 2147483647 h 337"/>
                <a:gd name="T76" fmla="*/ 0 w 387"/>
                <a:gd name="T77" fmla="*/ 2147483647 h 337"/>
                <a:gd name="T78" fmla="*/ 0 w 387"/>
                <a:gd name="T79" fmla="*/ 2147483647 h 337"/>
                <a:gd name="T80" fmla="*/ 0 w 387"/>
                <a:gd name="T81" fmla="*/ 2147483647 h 337"/>
                <a:gd name="T82" fmla="*/ 0 w 387"/>
                <a:gd name="T83" fmla="*/ 2147483647 h 337"/>
                <a:gd name="T84" fmla="*/ 2147483647 w 387"/>
                <a:gd name="T85" fmla="*/ 2147483647 h 33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87"/>
                <a:gd name="T130" fmla="*/ 0 h 337"/>
                <a:gd name="T131" fmla="*/ 387 w 387"/>
                <a:gd name="T132" fmla="*/ 337 h 33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87" h="337">
                  <a:moveTo>
                    <a:pt x="183" y="268"/>
                  </a:moveTo>
                  <a:lnTo>
                    <a:pt x="226" y="238"/>
                  </a:lnTo>
                  <a:lnTo>
                    <a:pt x="241" y="227"/>
                  </a:lnTo>
                  <a:lnTo>
                    <a:pt x="256" y="222"/>
                  </a:lnTo>
                  <a:lnTo>
                    <a:pt x="278" y="210"/>
                  </a:lnTo>
                  <a:lnTo>
                    <a:pt x="290" y="203"/>
                  </a:lnTo>
                  <a:lnTo>
                    <a:pt x="294" y="199"/>
                  </a:lnTo>
                  <a:lnTo>
                    <a:pt x="306" y="194"/>
                  </a:lnTo>
                  <a:lnTo>
                    <a:pt x="316" y="170"/>
                  </a:lnTo>
                  <a:lnTo>
                    <a:pt x="319" y="133"/>
                  </a:lnTo>
                  <a:lnTo>
                    <a:pt x="323" y="63"/>
                  </a:lnTo>
                  <a:lnTo>
                    <a:pt x="354" y="50"/>
                  </a:lnTo>
                  <a:lnTo>
                    <a:pt x="372" y="21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77" y="10"/>
                  </a:lnTo>
                  <a:lnTo>
                    <a:pt x="377" y="5"/>
                  </a:lnTo>
                  <a:lnTo>
                    <a:pt x="373" y="2"/>
                  </a:lnTo>
                  <a:lnTo>
                    <a:pt x="371" y="0"/>
                  </a:lnTo>
                  <a:lnTo>
                    <a:pt x="362" y="7"/>
                  </a:lnTo>
                  <a:lnTo>
                    <a:pt x="345" y="15"/>
                  </a:lnTo>
                  <a:lnTo>
                    <a:pt x="310" y="17"/>
                  </a:lnTo>
                  <a:lnTo>
                    <a:pt x="300" y="14"/>
                  </a:lnTo>
                  <a:lnTo>
                    <a:pt x="291" y="14"/>
                  </a:lnTo>
                  <a:lnTo>
                    <a:pt x="275" y="18"/>
                  </a:lnTo>
                  <a:lnTo>
                    <a:pt x="265" y="27"/>
                  </a:lnTo>
                  <a:lnTo>
                    <a:pt x="257" y="31"/>
                  </a:lnTo>
                  <a:lnTo>
                    <a:pt x="244" y="34"/>
                  </a:lnTo>
                  <a:lnTo>
                    <a:pt x="238" y="38"/>
                  </a:lnTo>
                  <a:lnTo>
                    <a:pt x="206" y="45"/>
                  </a:lnTo>
                  <a:lnTo>
                    <a:pt x="179" y="41"/>
                  </a:lnTo>
                  <a:lnTo>
                    <a:pt x="168" y="31"/>
                  </a:lnTo>
                  <a:lnTo>
                    <a:pt x="161" y="28"/>
                  </a:lnTo>
                  <a:lnTo>
                    <a:pt x="147" y="29"/>
                  </a:lnTo>
                  <a:lnTo>
                    <a:pt x="138" y="36"/>
                  </a:lnTo>
                  <a:lnTo>
                    <a:pt x="124" y="41"/>
                  </a:lnTo>
                  <a:lnTo>
                    <a:pt x="116" y="43"/>
                  </a:lnTo>
                  <a:lnTo>
                    <a:pt x="112" y="47"/>
                  </a:lnTo>
                  <a:lnTo>
                    <a:pt x="97" y="44"/>
                  </a:lnTo>
                  <a:lnTo>
                    <a:pt x="88" y="47"/>
                  </a:lnTo>
                  <a:lnTo>
                    <a:pt x="87" y="44"/>
                  </a:lnTo>
                  <a:lnTo>
                    <a:pt x="87" y="42"/>
                  </a:lnTo>
                  <a:lnTo>
                    <a:pt x="87" y="41"/>
                  </a:lnTo>
                  <a:lnTo>
                    <a:pt x="82" y="37"/>
                  </a:lnTo>
                  <a:lnTo>
                    <a:pt x="73" y="36"/>
                  </a:lnTo>
                  <a:lnTo>
                    <a:pt x="68" y="33"/>
                  </a:lnTo>
                  <a:lnTo>
                    <a:pt x="63" y="44"/>
                  </a:lnTo>
                  <a:lnTo>
                    <a:pt x="61" y="45"/>
                  </a:lnTo>
                  <a:lnTo>
                    <a:pt x="61" y="50"/>
                  </a:lnTo>
                  <a:lnTo>
                    <a:pt x="59" y="59"/>
                  </a:lnTo>
                  <a:lnTo>
                    <a:pt x="68" y="71"/>
                  </a:lnTo>
                  <a:lnTo>
                    <a:pt x="69" y="74"/>
                  </a:lnTo>
                  <a:lnTo>
                    <a:pt x="66" y="75"/>
                  </a:lnTo>
                  <a:lnTo>
                    <a:pt x="59" y="75"/>
                  </a:lnTo>
                  <a:lnTo>
                    <a:pt x="50" y="77"/>
                  </a:lnTo>
                  <a:lnTo>
                    <a:pt x="50" y="81"/>
                  </a:lnTo>
                  <a:lnTo>
                    <a:pt x="50" y="90"/>
                  </a:lnTo>
                  <a:lnTo>
                    <a:pt x="44" y="95"/>
                  </a:lnTo>
                  <a:lnTo>
                    <a:pt x="41" y="96"/>
                  </a:lnTo>
                  <a:lnTo>
                    <a:pt x="38" y="102"/>
                  </a:lnTo>
                  <a:lnTo>
                    <a:pt x="32" y="98"/>
                  </a:lnTo>
                  <a:lnTo>
                    <a:pt x="30" y="95"/>
                  </a:lnTo>
                  <a:lnTo>
                    <a:pt x="26" y="95"/>
                  </a:lnTo>
                  <a:lnTo>
                    <a:pt x="26" y="106"/>
                  </a:lnTo>
                  <a:lnTo>
                    <a:pt x="21" y="119"/>
                  </a:lnTo>
                  <a:lnTo>
                    <a:pt x="23" y="123"/>
                  </a:lnTo>
                  <a:lnTo>
                    <a:pt x="28" y="136"/>
                  </a:lnTo>
                  <a:lnTo>
                    <a:pt x="28" y="155"/>
                  </a:lnTo>
                  <a:lnTo>
                    <a:pt x="26" y="167"/>
                  </a:lnTo>
                  <a:lnTo>
                    <a:pt x="28" y="178"/>
                  </a:lnTo>
                  <a:lnTo>
                    <a:pt x="45" y="178"/>
                  </a:lnTo>
                  <a:lnTo>
                    <a:pt x="48" y="174"/>
                  </a:lnTo>
                  <a:lnTo>
                    <a:pt x="50" y="174"/>
                  </a:lnTo>
                  <a:lnTo>
                    <a:pt x="52" y="179"/>
                  </a:lnTo>
                  <a:lnTo>
                    <a:pt x="57" y="179"/>
                  </a:lnTo>
                  <a:lnTo>
                    <a:pt x="58" y="181"/>
                  </a:lnTo>
                  <a:lnTo>
                    <a:pt x="58" y="183"/>
                  </a:lnTo>
                  <a:lnTo>
                    <a:pt x="53" y="183"/>
                  </a:lnTo>
                  <a:lnTo>
                    <a:pt x="53" y="185"/>
                  </a:lnTo>
                  <a:lnTo>
                    <a:pt x="50" y="187"/>
                  </a:lnTo>
                  <a:lnTo>
                    <a:pt x="50" y="189"/>
                  </a:lnTo>
                  <a:lnTo>
                    <a:pt x="57" y="189"/>
                  </a:lnTo>
                  <a:lnTo>
                    <a:pt x="58" y="193"/>
                  </a:lnTo>
                  <a:lnTo>
                    <a:pt x="63" y="195"/>
                  </a:lnTo>
                  <a:lnTo>
                    <a:pt x="61" y="199"/>
                  </a:lnTo>
                  <a:lnTo>
                    <a:pt x="65" y="204"/>
                  </a:lnTo>
                  <a:lnTo>
                    <a:pt x="64" y="208"/>
                  </a:lnTo>
                  <a:lnTo>
                    <a:pt x="66" y="210"/>
                  </a:lnTo>
                  <a:lnTo>
                    <a:pt x="64" y="212"/>
                  </a:lnTo>
                  <a:lnTo>
                    <a:pt x="63" y="216"/>
                  </a:lnTo>
                  <a:lnTo>
                    <a:pt x="60" y="216"/>
                  </a:lnTo>
                  <a:lnTo>
                    <a:pt x="55" y="221"/>
                  </a:lnTo>
                  <a:lnTo>
                    <a:pt x="50" y="222"/>
                  </a:lnTo>
                  <a:lnTo>
                    <a:pt x="50" y="226"/>
                  </a:lnTo>
                  <a:lnTo>
                    <a:pt x="47" y="227"/>
                  </a:lnTo>
                  <a:lnTo>
                    <a:pt x="45" y="230"/>
                  </a:lnTo>
                  <a:lnTo>
                    <a:pt x="50" y="233"/>
                  </a:lnTo>
                  <a:lnTo>
                    <a:pt x="52" y="236"/>
                  </a:lnTo>
                  <a:lnTo>
                    <a:pt x="50" y="237"/>
                  </a:lnTo>
                  <a:lnTo>
                    <a:pt x="45" y="236"/>
                  </a:lnTo>
                  <a:lnTo>
                    <a:pt x="32" y="237"/>
                  </a:lnTo>
                  <a:lnTo>
                    <a:pt x="31" y="242"/>
                  </a:lnTo>
                  <a:lnTo>
                    <a:pt x="28" y="243"/>
                  </a:lnTo>
                  <a:lnTo>
                    <a:pt x="26" y="249"/>
                  </a:lnTo>
                  <a:lnTo>
                    <a:pt x="31" y="252"/>
                  </a:lnTo>
                  <a:lnTo>
                    <a:pt x="31" y="257"/>
                  </a:lnTo>
                  <a:lnTo>
                    <a:pt x="28" y="257"/>
                  </a:lnTo>
                  <a:lnTo>
                    <a:pt x="25" y="263"/>
                  </a:lnTo>
                  <a:lnTo>
                    <a:pt x="18" y="267"/>
                  </a:lnTo>
                  <a:lnTo>
                    <a:pt x="17" y="270"/>
                  </a:lnTo>
                  <a:lnTo>
                    <a:pt x="12" y="270"/>
                  </a:lnTo>
                  <a:lnTo>
                    <a:pt x="5" y="276"/>
                  </a:lnTo>
                  <a:lnTo>
                    <a:pt x="5" y="286"/>
                  </a:lnTo>
                  <a:lnTo>
                    <a:pt x="2" y="290"/>
                  </a:lnTo>
                  <a:lnTo>
                    <a:pt x="4" y="295"/>
                  </a:lnTo>
                  <a:lnTo>
                    <a:pt x="2" y="300"/>
                  </a:lnTo>
                  <a:lnTo>
                    <a:pt x="5" y="306"/>
                  </a:lnTo>
                  <a:lnTo>
                    <a:pt x="0" y="312"/>
                  </a:lnTo>
                  <a:lnTo>
                    <a:pt x="12" y="310"/>
                  </a:lnTo>
                  <a:lnTo>
                    <a:pt x="16" y="311"/>
                  </a:lnTo>
                  <a:lnTo>
                    <a:pt x="22" y="319"/>
                  </a:lnTo>
                  <a:lnTo>
                    <a:pt x="30" y="324"/>
                  </a:lnTo>
                  <a:lnTo>
                    <a:pt x="38" y="333"/>
                  </a:lnTo>
                  <a:lnTo>
                    <a:pt x="43" y="335"/>
                  </a:lnTo>
                  <a:lnTo>
                    <a:pt x="55" y="337"/>
                  </a:lnTo>
                  <a:lnTo>
                    <a:pt x="63" y="335"/>
                  </a:lnTo>
                  <a:lnTo>
                    <a:pt x="109" y="307"/>
                  </a:lnTo>
                  <a:lnTo>
                    <a:pt x="133" y="294"/>
                  </a:lnTo>
                  <a:lnTo>
                    <a:pt x="183" y="26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54" name="Freeform 159">
              <a:extLst>
                <a:ext uri="{FF2B5EF4-FFF2-40B4-BE49-F238E27FC236}">
                  <a16:creationId xmlns:a16="http://schemas.microsoft.com/office/drawing/2014/main" id="{5F86A189-0D2D-A93D-ABAD-6DB106C26F5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717825" y="3152107"/>
              <a:ext cx="68648" cy="42678"/>
            </a:xfrm>
            <a:custGeom>
              <a:avLst/>
              <a:gdLst>
                <a:gd name="T0" fmla="*/ 2147483647 w 126"/>
                <a:gd name="T1" fmla="*/ 0 h 75"/>
                <a:gd name="T2" fmla="*/ 2147483647 w 126"/>
                <a:gd name="T3" fmla="*/ 0 h 75"/>
                <a:gd name="T4" fmla="*/ 2147483647 w 126"/>
                <a:gd name="T5" fmla="*/ 0 h 75"/>
                <a:gd name="T6" fmla="*/ 2147483647 w 126"/>
                <a:gd name="T7" fmla="*/ 0 h 75"/>
                <a:gd name="T8" fmla="*/ 2147483647 w 126"/>
                <a:gd name="T9" fmla="*/ 0 h 75"/>
                <a:gd name="T10" fmla="*/ 2147483647 w 126"/>
                <a:gd name="T11" fmla="*/ 0 h 75"/>
                <a:gd name="T12" fmla="*/ 2147483647 w 126"/>
                <a:gd name="T13" fmla="*/ 0 h 75"/>
                <a:gd name="T14" fmla="*/ 2147483647 w 126"/>
                <a:gd name="T15" fmla="*/ 0 h 75"/>
                <a:gd name="T16" fmla="*/ 2147483647 w 126"/>
                <a:gd name="T17" fmla="*/ 0 h 75"/>
                <a:gd name="T18" fmla="*/ 2147483647 w 126"/>
                <a:gd name="T19" fmla="*/ 0 h 75"/>
                <a:gd name="T20" fmla="*/ 2147483647 w 126"/>
                <a:gd name="T21" fmla="*/ 0 h 75"/>
                <a:gd name="T22" fmla="*/ 2147483647 w 126"/>
                <a:gd name="T23" fmla="*/ 0 h 75"/>
                <a:gd name="T24" fmla="*/ 2147483647 w 126"/>
                <a:gd name="T25" fmla="*/ 0 h 75"/>
                <a:gd name="T26" fmla="*/ 2147483647 w 126"/>
                <a:gd name="T27" fmla="*/ 0 h 75"/>
                <a:gd name="T28" fmla="*/ 0 w 126"/>
                <a:gd name="T29" fmla="*/ 0 h 75"/>
                <a:gd name="T30" fmla="*/ 0 w 126"/>
                <a:gd name="T31" fmla="*/ 0 h 75"/>
                <a:gd name="T32" fmla="*/ 0 w 126"/>
                <a:gd name="T33" fmla="*/ 0 h 75"/>
                <a:gd name="T34" fmla="*/ 0 w 126"/>
                <a:gd name="T35" fmla="*/ 0 h 75"/>
                <a:gd name="T36" fmla="*/ 0 w 126"/>
                <a:gd name="T37" fmla="*/ 0 h 75"/>
                <a:gd name="T38" fmla="*/ 0 w 126"/>
                <a:gd name="T39" fmla="*/ 0 h 75"/>
                <a:gd name="T40" fmla="*/ 0 w 126"/>
                <a:gd name="T41" fmla="*/ 0 h 75"/>
                <a:gd name="T42" fmla="*/ 0 w 126"/>
                <a:gd name="T43" fmla="*/ 0 h 75"/>
                <a:gd name="T44" fmla="*/ 0 w 126"/>
                <a:gd name="T45" fmla="*/ 0 h 75"/>
                <a:gd name="T46" fmla="*/ 0 w 126"/>
                <a:gd name="T47" fmla="*/ 0 h 75"/>
                <a:gd name="T48" fmla="*/ 0 w 126"/>
                <a:gd name="T49" fmla="*/ 0 h 75"/>
                <a:gd name="T50" fmla="*/ 2147483647 w 126"/>
                <a:gd name="T51" fmla="*/ 0 h 75"/>
                <a:gd name="T52" fmla="*/ 2147483647 w 126"/>
                <a:gd name="T53" fmla="*/ 0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26"/>
                <a:gd name="T82" fmla="*/ 0 h 75"/>
                <a:gd name="T83" fmla="*/ 126 w 126"/>
                <a:gd name="T84" fmla="*/ 75 h 75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26" h="75">
                  <a:moveTo>
                    <a:pt x="92" y="16"/>
                  </a:moveTo>
                  <a:lnTo>
                    <a:pt x="106" y="11"/>
                  </a:lnTo>
                  <a:lnTo>
                    <a:pt x="112" y="5"/>
                  </a:lnTo>
                  <a:lnTo>
                    <a:pt x="122" y="0"/>
                  </a:lnTo>
                  <a:lnTo>
                    <a:pt x="126" y="0"/>
                  </a:lnTo>
                  <a:lnTo>
                    <a:pt x="123" y="9"/>
                  </a:lnTo>
                  <a:lnTo>
                    <a:pt x="115" y="17"/>
                  </a:lnTo>
                  <a:lnTo>
                    <a:pt x="107" y="21"/>
                  </a:lnTo>
                  <a:lnTo>
                    <a:pt x="96" y="37"/>
                  </a:lnTo>
                  <a:lnTo>
                    <a:pt x="99" y="43"/>
                  </a:lnTo>
                  <a:lnTo>
                    <a:pt x="92" y="52"/>
                  </a:lnTo>
                  <a:lnTo>
                    <a:pt x="80" y="54"/>
                  </a:lnTo>
                  <a:lnTo>
                    <a:pt x="69" y="64"/>
                  </a:lnTo>
                  <a:lnTo>
                    <a:pt x="53" y="68"/>
                  </a:lnTo>
                  <a:lnTo>
                    <a:pt x="43" y="75"/>
                  </a:lnTo>
                  <a:lnTo>
                    <a:pt x="25" y="72"/>
                  </a:lnTo>
                  <a:lnTo>
                    <a:pt x="13" y="66"/>
                  </a:lnTo>
                  <a:lnTo>
                    <a:pt x="5" y="57"/>
                  </a:lnTo>
                  <a:lnTo>
                    <a:pt x="0" y="45"/>
                  </a:lnTo>
                  <a:lnTo>
                    <a:pt x="13" y="42"/>
                  </a:lnTo>
                  <a:lnTo>
                    <a:pt x="21" y="37"/>
                  </a:lnTo>
                  <a:lnTo>
                    <a:pt x="31" y="36"/>
                  </a:lnTo>
                  <a:lnTo>
                    <a:pt x="38" y="33"/>
                  </a:lnTo>
                  <a:lnTo>
                    <a:pt x="40" y="25"/>
                  </a:lnTo>
                  <a:lnTo>
                    <a:pt x="43" y="26"/>
                  </a:lnTo>
                  <a:lnTo>
                    <a:pt x="63" y="25"/>
                  </a:lnTo>
                  <a:lnTo>
                    <a:pt x="92" y="1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55" name="Freeform 160">
              <a:extLst>
                <a:ext uri="{FF2B5EF4-FFF2-40B4-BE49-F238E27FC236}">
                  <a16:creationId xmlns:a16="http://schemas.microsoft.com/office/drawing/2014/main" id="{58E14C05-AB2B-530F-B6F3-34FFE63ABED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041663" y="2928046"/>
              <a:ext cx="91032" cy="100598"/>
            </a:xfrm>
            <a:custGeom>
              <a:avLst/>
              <a:gdLst>
                <a:gd name="T0" fmla="*/ 2147483647 w 170"/>
                <a:gd name="T1" fmla="*/ 2147483647 h 175"/>
                <a:gd name="T2" fmla="*/ 2147483647 w 170"/>
                <a:gd name="T3" fmla="*/ 2147483647 h 175"/>
                <a:gd name="T4" fmla="*/ 2147483647 w 170"/>
                <a:gd name="T5" fmla="*/ 2147483647 h 175"/>
                <a:gd name="T6" fmla="*/ 2147483647 w 170"/>
                <a:gd name="T7" fmla="*/ 2147483647 h 175"/>
                <a:gd name="T8" fmla="*/ 0 w 170"/>
                <a:gd name="T9" fmla="*/ 2147483647 h 175"/>
                <a:gd name="T10" fmla="*/ 0 w 170"/>
                <a:gd name="T11" fmla="*/ 2147483647 h 175"/>
                <a:gd name="T12" fmla="*/ 0 w 170"/>
                <a:gd name="T13" fmla="*/ 2147483647 h 175"/>
                <a:gd name="T14" fmla="*/ 0 w 170"/>
                <a:gd name="T15" fmla="*/ 0 h 175"/>
                <a:gd name="T16" fmla="*/ 0 w 170"/>
                <a:gd name="T17" fmla="*/ 0 h 175"/>
                <a:gd name="T18" fmla="*/ 0 w 170"/>
                <a:gd name="T19" fmla="*/ 0 h 175"/>
                <a:gd name="T20" fmla="*/ 0 w 170"/>
                <a:gd name="T21" fmla="*/ 0 h 175"/>
                <a:gd name="T22" fmla="*/ 0 w 170"/>
                <a:gd name="T23" fmla="*/ 0 h 175"/>
                <a:gd name="T24" fmla="*/ 0 w 170"/>
                <a:gd name="T25" fmla="*/ 0 h 175"/>
                <a:gd name="T26" fmla="*/ 0 w 170"/>
                <a:gd name="T27" fmla="*/ 0 h 175"/>
                <a:gd name="T28" fmla="*/ 0 w 170"/>
                <a:gd name="T29" fmla="*/ 0 h 175"/>
                <a:gd name="T30" fmla="*/ 2147483647 w 170"/>
                <a:gd name="T31" fmla="*/ 0 h 175"/>
                <a:gd name="T32" fmla="*/ 2147483647 w 170"/>
                <a:gd name="T33" fmla="*/ 0 h 175"/>
                <a:gd name="T34" fmla="*/ 2147483647 w 170"/>
                <a:gd name="T35" fmla="*/ 0 h 175"/>
                <a:gd name="T36" fmla="*/ 2147483647 w 170"/>
                <a:gd name="T37" fmla="*/ 0 h 175"/>
                <a:gd name="T38" fmla="*/ 2147483647 w 170"/>
                <a:gd name="T39" fmla="*/ 0 h 175"/>
                <a:gd name="T40" fmla="*/ 2147483647 w 170"/>
                <a:gd name="T41" fmla="*/ 0 h 175"/>
                <a:gd name="T42" fmla="*/ 2147483647 w 170"/>
                <a:gd name="T43" fmla="*/ 0 h 175"/>
                <a:gd name="T44" fmla="*/ 2147483647 w 170"/>
                <a:gd name="T45" fmla="*/ 0 h 175"/>
                <a:gd name="T46" fmla="*/ 2147483647 w 170"/>
                <a:gd name="T47" fmla="*/ 0 h 175"/>
                <a:gd name="T48" fmla="*/ 2147483647 w 170"/>
                <a:gd name="T49" fmla="*/ 0 h 175"/>
                <a:gd name="T50" fmla="*/ 2147483647 w 170"/>
                <a:gd name="T51" fmla="*/ 0 h 175"/>
                <a:gd name="T52" fmla="*/ 2147483647 w 170"/>
                <a:gd name="T53" fmla="*/ 0 h 175"/>
                <a:gd name="T54" fmla="*/ 2147483647 w 170"/>
                <a:gd name="T55" fmla="*/ 0 h 175"/>
                <a:gd name="T56" fmla="*/ 2147483647 w 170"/>
                <a:gd name="T57" fmla="*/ 0 h 175"/>
                <a:gd name="T58" fmla="*/ 2147483647 w 170"/>
                <a:gd name="T59" fmla="*/ 0 h 175"/>
                <a:gd name="T60" fmla="*/ 2147483647 w 170"/>
                <a:gd name="T61" fmla="*/ 2147483647 h 175"/>
                <a:gd name="T62" fmla="*/ 2147483647 w 170"/>
                <a:gd name="T63" fmla="*/ 2147483647 h 175"/>
                <a:gd name="T64" fmla="*/ 2147483647 w 170"/>
                <a:gd name="T65" fmla="*/ 2147483647 h 175"/>
                <a:gd name="T66" fmla="*/ 2147483647 w 170"/>
                <a:gd name="T67" fmla="*/ 2147483647 h 175"/>
                <a:gd name="T68" fmla="*/ 2147483647 w 170"/>
                <a:gd name="T69" fmla="*/ 2147483647 h 175"/>
                <a:gd name="T70" fmla="*/ 2147483647 w 170"/>
                <a:gd name="T71" fmla="*/ 2147483647 h 175"/>
                <a:gd name="T72" fmla="*/ 2147483647 w 170"/>
                <a:gd name="T73" fmla="*/ 2147483647 h 175"/>
                <a:gd name="T74" fmla="*/ 2147483647 w 170"/>
                <a:gd name="T75" fmla="*/ 2147483647 h 175"/>
                <a:gd name="T76" fmla="*/ 2147483647 w 170"/>
                <a:gd name="T77" fmla="*/ 2147483647 h 175"/>
                <a:gd name="T78" fmla="*/ 2147483647 w 170"/>
                <a:gd name="T79" fmla="*/ 2147483647 h 175"/>
                <a:gd name="T80" fmla="*/ 2147483647 w 170"/>
                <a:gd name="T81" fmla="*/ 2147483647 h 175"/>
                <a:gd name="T82" fmla="*/ 2147483647 w 170"/>
                <a:gd name="T83" fmla="*/ 2147483647 h 175"/>
                <a:gd name="T84" fmla="*/ 2147483647 w 170"/>
                <a:gd name="T85" fmla="*/ 2147483647 h 175"/>
                <a:gd name="T86" fmla="*/ 2147483647 w 170"/>
                <a:gd name="T87" fmla="*/ 2147483647 h 175"/>
                <a:gd name="T88" fmla="*/ 2147483647 w 170"/>
                <a:gd name="T89" fmla="*/ 2147483647 h 175"/>
                <a:gd name="T90" fmla="*/ 2147483647 w 170"/>
                <a:gd name="T91" fmla="*/ 2147483647 h 175"/>
                <a:gd name="T92" fmla="*/ 2147483647 w 170"/>
                <a:gd name="T93" fmla="*/ 2147483647 h 175"/>
                <a:gd name="T94" fmla="*/ 2147483647 w 170"/>
                <a:gd name="T95" fmla="*/ 2147483647 h 175"/>
                <a:gd name="T96" fmla="*/ 2147483647 w 170"/>
                <a:gd name="T97" fmla="*/ 2147483647 h 175"/>
                <a:gd name="T98" fmla="*/ 2147483647 w 170"/>
                <a:gd name="T99" fmla="*/ 2147483647 h 175"/>
                <a:gd name="T100" fmla="*/ 2147483647 w 170"/>
                <a:gd name="T101" fmla="*/ 2147483647 h 175"/>
                <a:gd name="T102" fmla="*/ 2147483647 w 170"/>
                <a:gd name="T103" fmla="*/ 2147483647 h 175"/>
                <a:gd name="T104" fmla="*/ 2147483647 w 170"/>
                <a:gd name="T105" fmla="*/ 2147483647 h 175"/>
                <a:gd name="T106" fmla="*/ 2147483647 w 170"/>
                <a:gd name="T107" fmla="*/ 2147483647 h 175"/>
                <a:gd name="T108" fmla="*/ 2147483647 w 170"/>
                <a:gd name="T109" fmla="*/ 2147483647 h 175"/>
                <a:gd name="T110" fmla="*/ 2147483647 w 170"/>
                <a:gd name="T111" fmla="*/ 2147483647 h 175"/>
                <a:gd name="T112" fmla="*/ 2147483647 w 170"/>
                <a:gd name="T113" fmla="*/ 2147483647 h 175"/>
                <a:gd name="T114" fmla="*/ 2147483647 w 170"/>
                <a:gd name="T115" fmla="*/ 2147483647 h 175"/>
                <a:gd name="T116" fmla="*/ 2147483647 w 170"/>
                <a:gd name="T117" fmla="*/ 2147483647 h 175"/>
                <a:gd name="T118" fmla="*/ 2147483647 w 170"/>
                <a:gd name="T119" fmla="*/ 2147483647 h 175"/>
                <a:gd name="T120" fmla="*/ 2147483647 w 170"/>
                <a:gd name="T121" fmla="*/ 2147483647 h 17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70"/>
                <a:gd name="T184" fmla="*/ 0 h 175"/>
                <a:gd name="T185" fmla="*/ 170 w 170"/>
                <a:gd name="T186" fmla="*/ 175 h 17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70" h="175">
                  <a:moveTo>
                    <a:pt x="77" y="118"/>
                  </a:moveTo>
                  <a:lnTo>
                    <a:pt x="68" y="107"/>
                  </a:lnTo>
                  <a:lnTo>
                    <a:pt x="64" y="102"/>
                  </a:lnTo>
                  <a:lnTo>
                    <a:pt x="56" y="99"/>
                  </a:lnTo>
                  <a:lnTo>
                    <a:pt x="46" y="89"/>
                  </a:lnTo>
                  <a:lnTo>
                    <a:pt x="38" y="83"/>
                  </a:lnTo>
                  <a:lnTo>
                    <a:pt x="27" y="79"/>
                  </a:lnTo>
                  <a:lnTo>
                    <a:pt x="19" y="69"/>
                  </a:lnTo>
                  <a:lnTo>
                    <a:pt x="16" y="55"/>
                  </a:lnTo>
                  <a:lnTo>
                    <a:pt x="14" y="35"/>
                  </a:lnTo>
                  <a:lnTo>
                    <a:pt x="7" y="21"/>
                  </a:lnTo>
                  <a:lnTo>
                    <a:pt x="0" y="15"/>
                  </a:lnTo>
                  <a:lnTo>
                    <a:pt x="21" y="14"/>
                  </a:lnTo>
                  <a:lnTo>
                    <a:pt x="28" y="9"/>
                  </a:lnTo>
                  <a:lnTo>
                    <a:pt x="44" y="8"/>
                  </a:lnTo>
                  <a:lnTo>
                    <a:pt x="51" y="4"/>
                  </a:lnTo>
                  <a:lnTo>
                    <a:pt x="67" y="7"/>
                  </a:lnTo>
                  <a:lnTo>
                    <a:pt x="76" y="5"/>
                  </a:lnTo>
                  <a:lnTo>
                    <a:pt x="86" y="0"/>
                  </a:lnTo>
                  <a:lnTo>
                    <a:pt x="87" y="0"/>
                  </a:lnTo>
                  <a:lnTo>
                    <a:pt x="89" y="8"/>
                  </a:lnTo>
                  <a:lnTo>
                    <a:pt x="99" y="20"/>
                  </a:lnTo>
                  <a:lnTo>
                    <a:pt x="107" y="21"/>
                  </a:lnTo>
                  <a:lnTo>
                    <a:pt x="114" y="26"/>
                  </a:lnTo>
                  <a:lnTo>
                    <a:pt x="115" y="34"/>
                  </a:lnTo>
                  <a:lnTo>
                    <a:pt x="110" y="40"/>
                  </a:lnTo>
                  <a:lnTo>
                    <a:pt x="110" y="48"/>
                  </a:lnTo>
                  <a:lnTo>
                    <a:pt x="113" y="56"/>
                  </a:lnTo>
                  <a:lnTo>
                    <a:pt x="118" y="63"/>
                  </a:lnTo>
                  <a:lnTo>
                    <a:pt x="123" y="68"/>
                  </a:lnTo>
                  <a:lnTo>
                    <a:pt x="137" y="77"/>
                  </a:lnTo>
                  <a:lnTo>
                    <a:pt x="138" y="84"/>
                  </a:lnTo>
                  <a:lnTo>
                    <a:pt x="135" y="93"/>
                  </a:lnTo>
                  <a:lnTo>
                    <a:pt x="126" y="94"/>
                  </a:lnTo>
                  <a:lnTo>
                    <a:pt x="129" y="101"/>
                  </a:lnTo>
                  <a:lnTo>
                    <a:pt x="138" y="113"/>
                  </a:lnTo>
                  <a:lnTo>
                    <a:pt x="153" y="122"/>
                  </a:lnTo>
                  <a:lnTo>
                    <a:pt x="161" y="122"/>
                  </a:lnTo>
                  <a:lnTo>
                    <a:pt x="168" y="123"/>
                  </a:lnTo>
                  <a:lnTo>
                    <a:pt x="164" y="131"/>
                  </a:lnTo>
                  <a:lnTo>
                    <a:pt x="163" y="139"/>
                  </a:lnTo>
                  <a:lnTo>
                    <a:pt x="169" y="144"/>
                  </a:lnTo>
                  <a:lnTo>
                    <a:pt x="168" y="152"/>
                  </a:lnTo>
                  <a:lnTo>
                    <a:pt x="161" y="154"/>
                  </a:lnTo>
                  <a:lnTo>
                    <a:pt x="166" y="160"/>
                  </a:lnTo>
                  <a:lnTo>
                    <a:pt x="169" y="168"/>
                  </a:lnTo>
                  <a:lnTo>
                    <a:pt x="170" y="175"/>
                  </a:lnTo>
                  <a:lnTo>
                    <a:pt x="164" y="175"/>
                  </a:lnTo>
                  <a:lnTo>
                    <a:pt x="147" y="175"/>
                  </a:lnTo>
                  <a:lnTo>
                    <a:pt x="142" y="175"/>
                  </a:lnTo>
                  <a:lnTo>
                    <a:pt x="141" y="150"/>
                  </a:lnTo>
                  <a:lnTo>
                    <a:pt x="137" y="143"/>
                  </a:lnTo>
                  <a:lnTo>
                    <a:pt x="132" y="136"/>
                  </a:lnTo>
                  <a:lnTo>
                    <a:pt x="129" y="128"/>
                  </a:lnTo>
                  <a:lnTo>
                    <a:pt x="121" y="126"/>
                  </a:lnTo>
                  <a:lnTo>
                    <a:pt x="114" y="128"/>
                  </a:lnTo>
                  <a:lnTo>
                    <a:pt x="107" y="128"/>
                  </a:lnTo>
                  <a:lnTo>
                    <a:pt x="99" y="125"/>
                  </a:lnTo>
                  <a:lnTo>
                    <a:pt x="94" y="117"/>
                  </a:lnTo>
                  <a:lnTo>
                    <a:pt x="87" y="116"/>
                  </a:lnTo>
                  <a:lnTo>
                    <a:pt x="77" y="11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56" name="Freeform 161">
              <a:extLst>
                <a:ext uri="{FF2B5EF4-FFF2-40B4-BE49-F238E27FC236}">
                  <a16:creationId xmlns:a16="http://schemas.microsoft.com/office/drawing/2014/main" id="{422063BF-15EF-477A-EDFC-B4E36AACAB6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132696" y="2261963"/>
              <a:ext cx="1189397" cy="676753"/>
            </a:xfrm>
            <a:custGeom>
              <a:avLst/>
              <a:gdLst>
                <a:gd name="T0" fmla="*/ 2147483647 w 2230"/>
                <a:gd name="T1" fmla="*/ 2147483647 h 1190"/>
                <a:gd name="T2" fmla="*/ 2147483647 w 2230"/>
                <a:gd name="T3" fmla="*/ 2147483647 h 1190"/>
                <a:gd name="T4" fmla="*/ 2147483647 w 2230"/>
                <a:gd name="T5" fmla="*/ 2147483647 h 1190"/>
                <a:gd name="T6" fmla="*/ 2147483647 w 2230"/>
                <a:gd name="T7" fmla="*/ 2147483647 h 1190"/>
                <a:gd name="T8" fmla="*/ 2147483647 w 2230"/>
                <a:gd name="T9" fmla="*/ 2147483647 h 1190"/>
                <a:gd name="T10" fmla="*/ 2147483647 w 2230"/>
                <a:gd name="T11" fmla="*/ 2147483647 h 1190"/>
                <a:gd name="T12" fmla="*/ 2147483647 w 2230"/>
                <a:gd name="T13" fmla="*/ 2147483647 h 1190"/>
                <a:gd name="T14" fmla="*/ 2147483647 w 2230"/>
                <a:gd name="T15" fmla="*/ 2147483647 h 1190"/>
                <a:gd name="T16" fmla="*/ 2147483647 w 2230"/>
                <a:gd name="T17" fmla="*/ 2147483647 h 1190"/>
                <a:gd name="T18" fmla="*/ 2147483647 w 2230"/>
                <a:gd name="T19" fmla="*/ 2147483647 h 1190"/>
                <a:gd name="T20" fmla="*/ 2147483647 w 2230"/>
                <a:gd name="T21" fmla="*/ 2147483647 h 1190"/>
                <a:gd name="T22" fmla="*/ 0 w 2230"/>
                <a:gd name="T23" fmla="*/ 2147483647 h 1190"/>
                <a:gd name="T24" fmla="*/ 0 w 2230"/>
                <a:gd name="T25" fmla="*/ 2147483647 h 1190"/>
                <a:gd name="T26" fmla="*/ 2147483647 w 2230"/>
                <a:gd name="T27" fmla="*/ 2147483647 h 1190"/>
                <a:gd name="T28" fmla="*/ 2147483647 w 2230"/>
                <a:gd name="T29" fmla="*/ 2147483647 h 1190"/>
                <a:gd name="T30" fmla="*/ 2147483647 w 2230"/>
                <a:gd name="T31" fmla="*/ 2147483647 h 1190"/>
                <a:gd name="T32" fmla="*/ 2147483647 w 2230"/>
                <a:gd name="T33" fmla="*/ 2147483647 h 1190"/>
                <a:gd name="T34" fmla="*/ 2147483647 w 2230"/>
                <a:gd name="T35" fmla="*/ 2147483647 h 1190"/>
                <a:gd name="T36" fmla="*/ 2147483647 w 2230"/>
                <a:gd name="T37" fmla="*/ 2147483647 h 1190"/>
                <a:gd name="T38" fmla="*/ 2147483647 w 2230"/>
                <a:gd name="T39" fmla="*/ 2147483647 h 1190"/>
                <a:gd name="T40" fmla="*/ 2147483647 w 2230"/>
                <a:gd name="T41" fmla="*/ 2147483647 h 1190"/>
                <a:gd name="T42" fmla="*/ 2147483647 w 2230"/>
                <a:gd name="T43" fmla="*/ 2147483647 h 1190"/>
                <a:gd name="T44" fmla="*/ 2147483647 w 2230"/>
                <a:gd name="T45" fmla="*/ 2147483647 h 1190"/>
                <a:gd name="T46" fmla="*/ 2147483647 w 2230"/>
                <a:gd name="T47" fmla="*/ 2147483647 h 1190"/>
                <a:gd name="T48" fmla="*/ 2147483647 w 2230"/>
                <a:gd name="T49" fmla="*/ 2147483647 h 1190"/>
                <a:gd name="T50" fmla="*/ 2147483647 w 2230"/>
                <a:gd name="T51" fmla="*/ 2147483647 h 1190"/>
                <a:gd name="T52" fmla="*/ 2147483647 w 2230"/>
                <a:gd name="T53" fmla="*/ 2147483647 h 1190"/>
                <a:gd name="T54" fmla="*/ 2147483647 w 2230"/>
                <a:gd name="T55" fmla="*/ 2147483647 h 1190"/>
                <a:gd name="T56" fmla="*/ 2147483647 w 2230"/>
                <a:gd name="T57" fmla="*/ 2147483647 h 1190"/>
                <a:gd name="T58" fmla="*/ 2147483647 w 2230"/>
                <a:gd name="T59" fmla="*/ 2147483647 h 1190"/>
                <a:gd name="T60" fmla="*/ 2147483647 w 2230"/>
                <a:gd name="T61" fmla="*/ 2147483647 h 1190"/>
                <a:gd name="T62" fmla="*/ 2147483647 w 2230"/>
                <a:gd name="T63" fmla="*/ 0 h 1190"/>
                <a:gd name="T64" fmla="*/ 2147483647 w 2230"/>
                <a:gd name="T65" fmla="*/ 0 h 1190"/>
                <a:gd name="T66" fmla="*/ 2147483647 w 2230"/>
                <a:gd name="T67" fmla="*/ 0 h 1190"/>
                <a:gd name="T68" fmla="*/ 2147483647 w 2230"/>
                <a:gd name="T69" fmla="*/ 0 h 1190"/>
                <a:gd name="T70" fmla="*/ 2147483647 w 2230"/>
                <a:gd name="T71" fmla="*/ 2147483647 h 1190"/>
                <a:gd name="T72" fmla="*/ 2147483647 w 2230"/>
                <a:gd name="T73" fmla="*/ 2147483647 h 1190"/>
                <a:gd name="T74" fmla="*/ 2147483647 w 2230"/>
                <a:gd name="T75" fmla="*/ 2147483647 h 1190"/>
                <a:gd name="T76" fmla="*/ 2147483647 w 2230"/>
                <a:gd name="T77" fmla="*/ 2147483647 h 1190"/>
                <a:gd name="T78" fmla="*/ 2147483647 w 2230"/>
                <a:gd name="T79" fmla="*/ 2147483647 h 1190"/>
                <a:gd name="T80" fmla="*/ 2147483647 w 2230"/>
                <a:gd name="T81" fmla="*/ 2147483647 h 1190"/>
                <a:gd name="T82" fmla="*/ 2147483647 w 2230"/>
                <a:gd name="T83" fmla="*/ 2147483647 h 1190"/>
                <a:gd name="T84" fmla="*/ 2147483647 w 2230"/>
                <a:gd name="T85" fmla="*/ 2147483647 h 1190"/>
                <a:gd name="T86" fmla="*/ 2147483647 w 2230"/>
                <a:gd name="T87" fmla="*/ 2147483647 h 1190"/>
                <a:gd name="T88" fmla="*/ 2147483647 w 2230"/>
                <a:gd name="T89" fmla="*/ 2147483647 h 1190"/>
                <a:gd name="T90" fmla="*/ 2147483647 w 2230"/>
                <a:gd name="T91" fmla="*/ 2147483647 h 1190"/>
                <a:gd name="T92" fmla="*/ 2147483647 w 2230"/>
                <a:gd name="T93" fmla="*/ 2147483647 h 1190"/>
                <a:gd name="T94" fmla="*/ 2147483647 w 2230"/>
                <a:gd name="T95" fmla="*/ 2147483647 h 1190"/>
                <a:gd name="T96" fmla="*/ 2147483647 w 2230"/>
                <a:gd name="T97" fmla="*/ 2147483647 h 1190"/>
                <a:gd name="T98" fmla="*/ 2147483647 w 2230"/>
                <a:gd name="T99" fmla="*/ 2147483647 h 1190"/>
                <a:gd name="T100" fmla="*/ 2147483647 w 2230"/>
                <a:gd name="T101" fmla="*/ 2147483647 h 1190"/>
                <a:gd name="T102" fmla="*/ 2147483647 w 2230"/>
                <a:gd name="T103" fmla="*/ 2147483647 h 1190"/>
                <a:gd name="T104" fmla="*/ 2147483647 w 2230"/>
                <a:gd name="T105" fmla="*/ 2147483647 h 1190"/>
                <a:gd name="T106" fmla="*/ 2147483647 w 2230"/>
                <a:gd name="T107" fmla="*/ 2147483647 h 1190"/>
                <a:gd name="T108" fmla="*/ 2147483647 w 2230"/>
                <a:gd name="T109" fmla="*/ 2147483647 h 1190"/>
                <a:gd name="T110" fmla="*/ 2147483647 w 2230"/>
                <a:gd name="T111" fmla="*/ 2147483647 h 1190"/>
                <a:gd name="T112" fmla="*/ 2147483647 w 2230"/>
                <a:gd name="T113" fmla="*/ 2147483647 h 1190"/>
                <a:gd name="T114" fmla="*/ 2147483647 w 2230"/>
                <a:gd name="T115" fmla="*/ 2147483647 h 1190"/>
                <a:gd name="T116" fmla="*/ 2147483647 w 2230"/>
                <a:gd name="T117" fmla="*/ 2147483647 h 1190"/>
                <a:gd name="T118" fmla="*/ 2147483647 w 2230"/>
                <a:gd name="T119" fmla="*/ 2147483647 h 1190"/>
                <a:gd name="T120" fmla="*/ 2147483647 w 2230"/>
                <a:gd name="T121" fmla="*/ 2147483647 h 119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230"/>
                <a:gd name="T184" fmla="*/ 0 h 1190"/>
                <a:gd name="T185" fmla="*/ 2230 w 2230"/>
                <a:gd name="T186" fmla="*/ 1190 h 119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230" h="1190">
                  <a:moveTo>
                    <a:pt x="518" y="898"/>
                  </a:moveTo>
                  <a:lnTo>
                    <a:pt x="518" y="968"/>
                  </a:lnTo>
                  <a:lnTo>
                    <a:pt x="518" y="1042"/>
                  </a:lnTo>
                  <a:lnTo>
                    <a:pt x="518" y="1107"/>
                  </a:lnTo>
                  <a:lnTo>
                    <a:pt x="518" y="1168"/>
                  </a:lnTo>
                  <a:lnTo>
                    <a:pt x="506" y="1174"/>
                  </a:lnTo>
                  <a:lnTo>
                    <a:pt x="486" y="1173"/>
                  </a:lnTo>
                  <a:lnTo>
                    <a:pt x="477" y="1166"/>
                  </a:lnTo>
                  <a:lnTo>
                    <a:pt x="468" y="1143"/>
                  </a:lnTo>
                  <a:lnTo>
                    <a:pt x="464" y="1136"/>
                  </a:lnTo>
                  <a:lnTo>
                    <a:pt x="458" y="1130"/>
                  </a:lnTo>
                  <a:lnTo>
                    <a:pt x="452" y="1115"/>
                  </a:lnTo>
                  <a:lnTo>
                    <a:pt x="447" y="1108"/>
                  </a:lnTo>
                  <a:lnTo>
                    <a:pt x="432" y="1102"/>
                  </a:lnTo>
                  <a:lnTo>
                    <a:pt x="425" y="1097"/>
                  </a:lnTo>
                  <a:lnTo>
                    <a:pt x="418" y="1092"/>
                  </a:lnTo>
                  <a:lnTo>
                    <a:pt x="410" y="1092"/>
                  </a:lnTo>
                  <a:lnTo>
                    <a:pt x="402" y="1093"/>
                  </a:lnTo>
                  <a:lnTo>
                    <a:pt x="378" y="1100"/>
                  </a:lnTo>
                  <a:lnTo>
                    <a:pt x="355" y="1109"/>
                  </a:lnTo>
                  <a:lnTo>
                    <a:pt x="325" y="1135"/>
                  </a:lnTo>
                  <a:lnTo>
                    <a:pt x="324" y="1096"/>
                  </a:lnTo>
                  <a:lnTo>
                    <a:pt x="333" y="1085"/>
                  </a:lnTo>
                  <a:lnTo>
                    <a:pt x="335" y="1065"/>
                  </a:lnTo>
                  <a:lnTo>
                    <a:pt x="323" y="1060"/>
                  </a:lnTo>
                  <a:lnTo>
                    <a:pt x="311" y="1059"/>
                  </a:lnTo>
                  <a:lnTo>
                    <a:pt x="291" y="1050"/>
                  </a:lnTo>
                  <a:lnTo>
                    <a:pt x="281" y="1037"/>
                  </a:lnTo>
                  <a:lnTo>
                    <a:pt x="274" y="1037"/>
                  </a:lnTo>
                  <a:lnTo>
                    <a:pt x="262" y="1035"/>
                  </a:lnTo>
                  <a:lnTo>
                    <a:pt x="259" y="996"/>
                  </a:lnTo>
                  <a:lnTo>
                    <a:pt x="247" y="976"/>
                  </a:lnTo>
                  <a:lnTo>
                    <a:pt x="239" y="970"/>
                  </a:lnTo>
                  <a:lnTo>
                    <a:pt x="232" y="956"/>
                  </a:lnTo>
                  <a:lnTo>
                    <a:pt x="209" y="947"/>
                  </a:lnTo>
                  <a:lnTo>
                    <a:pt x="198" y="930"/>
                  </a:lnTo>
                  <a:lnTo>
                    <a:pt x="205" y="924"/>
                  </a:lnTo>
                  <a:lnTo>
                    <a:pt x="223" y="924"/>
                  </a:lnTo>
                  <a:lnTo>
                    <a:pt x="241" y="927"/>
                  </a:lnTo>
                  <a:lnTo>
                    <a:pt x="250" y="932"/>
                  </a:lnTo>
                  <a:lnTo>
                    <a:pt x="258" y="930"/>
                  </a:lnTo>
                  <a:lnTo>
                    <a:pt x="271" y="931"/>
                  </a:lnTo>
                  <a:lnTo>
                    <a:pt x="268" y="924"/>
                  </a:lnTo>
                  <a:lnTo>
                    <a:pt x="264" y="913"/>
                  </a:lnTo>
                  <a:lnTo>
                    <a:pt x="262" y="894"/>
                  </a:lnTo>
                  <a:lnTo>
                    <a:pt x="266" y="883"/>
                  </a:lnTo>
                  <a:lnTo>
                    <a:pt x="276" y="878"/>
                  </a:lnTo>
                  <a:lnTo>
                    <a:pt x="276" y="886"/>
                  </a:lnTo>
                  <a:lnTo>
                    <a:pt x="287" y="887"/>
                  </a:lnTo>
                  <a:lnTo>
                    <a:pt x="298" y="882"/>
                  </a:lnTo>
                  <a:lnTo>
                    <a:pt x="301" y="873"/>
                  </a:lnTo>
                  <a:lnTo>
                    <a:pt x="311" y="865"/>
                  </a:lnTo>
                  <a:lnTo>
                    <a:pt x="328" y="863"/>
                  </a:lnTo>
                  <a:lnTo>
                    <a:pt x="344" y="873"/>
                  </a:lnTo>
                  <a:lnTo>
                    <a:pt x="360" y="879"/>
                  </a:lnTo>
                  <a:lnTo>
                    <a:pt x="376" y="876"/>
                  </a:lnTo>
                  <a:lnTo>
                    <a:pt x="386" y="868"/>
                  </a:lnTo>
                  <a:lnTo>
                    <a:pt x="389" y="870"/>
                  </a:lnTo>
                  <a:lnTo>
                    <a:pt x="394" y="874"/>
                  </a:lnTo>
                  <a:lnTo>
                    <a:pt x="413" y="881"/>
                  </a:lnTo>
                  <a:lnTo>
                    <a:pt x="424" y="887"/>
                  </a:lnTo>
                  <a:lnTo>
                    <a:pt x="435" y="884"/>
                  </a:lnTo>
                  <a:lnTo>
                    <a:pt x="447" y="887"/>
                  </a:lnTo>
                  <a:lnTo>
                    <a:pt x="451" y="879"/>
                  </a:lnTo>
                  <a:lnTo>
                    <a:pt x="443" y="867"/>
                  </a:lnTo>
                  <a:lnTo>
                    <a:pt x="453" y="867"/>
                  </a:lnTo>
                  <a:lnTo>
                    <a:pt x="446" y="855"/>
                  </a:lnTo>
                  <a:lnTo>
                    <a:pt x="435" y="841"/>
                  </a:lnTo>
                  <a:lnTo>
                    <a:pt x="425" y="834"/>
                  </a:lnTo>
                  <a:lnTo>
                    <a:pt x="420" y="823"/>
                  </a:lnTo>
                  <a:lnTo>
                    <a:pt x="409" y="823"/>
                  </a:lnTo>
                  <a:lnTo>
                    <a:pt x="398" y="806"/>
                  </a:lnTo>
                  <a:lnTo>
                    <a:pt x="392" y="782"/>
                  </a:lnTo>
                  <a:lnTo>
                    <a:pt x="384" y="771"/>
                  </a:lnTo>
                  <a:lnTo>
                    <a:pt x="382" y="777"/>
                  </a:lnTo>
                  <a:lnTo>
                    <a:pt x="375" y="760"/>
                  </a:lnTo>
                  <a:lnTo>
                    <a:pt x="370" y="760"/>
                  </a:lnTo>
                  <a:lnTo>
                    <a:pt x="367" y="749"/>
                  </a:lnTo>
                  <a:lnTo>
                    <a:pt x="348" y="732"/>
                  </a:lnTo>
                  <a:lnTo>
                    <a:pt x="336" y="731"/>
                  </a:lnTo>
                  <a:lnTo>
                    <a:pt x="336" y="725"/>
                  </a:lnTo>
                  <a:lnTo>
                    <a:pt x="323" y="723"/>
                  </a:lnTo>
                  <a:lnTo>
                    <a:pt x="312" y="728"/>
                  </a:lnTo>
                  <a:lnTo>
                    <a:pt x="303" y="730"/>
                  </a:lnTo>
                  <a:lnTo>
                    <a:pt x="292" y="736"/>
                  </a:lnTo>
                  <a:lnTo>
                    <a:pt x="289" y="725"/>
                  </a:lnTo>
                  <a:lnTo>
                    <a:pt x="274" y="725"/>
                  </a:lnTo>
                  <a:lnTo>
                    <a:pt x="270" y="722"/>
                  </a:lnTo>
                  <a:lnTo>
                    <a:pt x="257" y="720"/>
                  </a:lnTo>
                  <a:lnTo>
                    <a:pt x="242" y="718"/>
                  </a:lnTo>
                  <a:lnTo>
                    <a:pt x="207" y="752"/>
                  </a:lnTo>
                  <a:lnTo>
                    <a:pt x="188" y="753"/>
                  </a:lnTo>
                  <a:lnTo>
                    <a:pt x="162" y="761"/>
                  </a:lnTo>
                  <a:lnTo>
                    <a:pt x="136" y="765"/>
                  </a:lnTo>
                  <a:lnTo>
                    <a:pt x="114" y="771"/>
                  </a:lnTo>
                  <a:lnTo>
                    <a:pt x="136" y="786"/>
                  </a:lnTo>
                  <a:lnTo>
                    <a:pt x="119" y="793"/>
                  </a:lnTo>
                  <a:lnTo>
                    <a:pt x="112" y="791"/>
                  </a:lnTo>
                  <a:lnTo>
                    <a:pt x="108" y="785"/>
                  </a:lnTo>
                  <a:lnTo>
                    <a:pt x="102" y="781"/>
                  </a:lnTo>
                  <a:lnTo>
                    <a:pt x="93" y="781"/>
                  </a:lnTo>
                  <a:lnTo>
                    <a:pt x="86" y="779"/>
                  </a:lnTo>
                  <a:lnTo>
                    <a:pt x="83" y="773"/>
                  </a:lnTo>
                  <a:lnTo>
                    <a:pt x="90" y="766"/>
                  </a:lnTo>
                  <a:lnTo>
                    <a:pt x="91" y="758"/>
                  </a:lnTo>
                  <a:lnTo>
                    <a:pt x="98" y="755"/>
                  </a:lnTo>
                  <a:lnTo>
                    <a:pt x="107" y="761"/>
                  </a:lnTo>
                  <a:lnTo>
                    <a:pt x="119" y="758"/>
                  </a:lnTo>
                  <a:lnTo>
                    <a:pt x="110" y="701"/>
                  </a:lnTo>
                  <a:lnTo>
                    <a:pt x="103" y="699"/>
                  </a:lnTo>
                  <a:lnTo>
                    <a:pt x="98" y="693"/>
                  </a:lnTo>
                  <a:lnTo>
                    <a:pt x="96" y="684"/>
                  </a:lnTo>
                  <a:lnTo>
                    <a:pt x="92" y="678"/>
                  </a:lnTo>
                  <a:lnTo>
                    <a:pt x="86" y="672"/>
                  </a:lnTo>
                  <a:lnTo>
                    <a:pt x="79" y="672"/>
                  </a:lnTo>
                  <a:lnTo>
                    <a:pt x="61" y="674"/>
                  </a:lnTo>
                  <a:lnTo>
                    <a:pt x="48" y="671"/>
                  </a:lnTo>
                  <a:lnTo>
                    <a:pt x="47" y="679"/>
                  </a:lnTo>
                  <a:lnTo>
                    <a:pt x="34" y="667"/>
                  </a:lnTo>
                  <a:lnTo>
                    <a:pt x="33" y="660"/>
                  </a:lnTo>
                  <a:lnTo>
                    <a:pt x="29" y="652"/>
                  </a:lnTo>
                  <a:lnTo>
                    <a:pt x="34" y="646"/>
                  </a:lnTo>
                  <a:lnTo>
                    <a:pt x="29" y="639"/>
                  </a:lnTo>
                  <a:lnTo>
                    <a:pt x="28" y="631"/>
                  </a:lnTo>
                  <a:lnTo>
                    <a:pt x="0" y="621"/>
                  </a:lnTo>
                  <a:lnTo>
                    <a:pt x="11" y="577"/>
                  </a:lnTo>
                  <a:lnTo>
                    <a:pt x="24" y="570"/>
                  </a:lnTo>
                  <a:lnTo>
                    <a:pt x="29" y="562"/>
                  </a:lnTo>
                  <a:lnTo>
                    <a:pt x="27" y="555"/>
                  </a:lnTo>
                  <a:lnTo>
                    <a:pt x="16" y="544"/>
                  </a:lnTo>
                  <a:lnTo>
                    <a:pt x="26" y="499"/>
                  </a:lnTo>
                  <a:lnTo>
                    <a:pt x="39" y="490"/>
                  </a:lnTo>
                  <a:lnTo>
                    <a:pt x="44" y="484"/>
                  </a:lnTo>
                  <a:lnTo>
                    <a:pt x="42" y="475"/>
                  </a:lnTo>
                  <a:lnTo>
                    <a:pt x="45" y="468"/>
                  </a:lnTo>
                  <a:lnTo>
                    <a:pt x="45" y="461"/>
                  </a:lnTo>
                  <a:lnTo>
                    <a:pt x="49" y="452"/>
                  </a:lnTo>
                  <a:lnTo>
                    <a:pt x="54" y="446"/>
                  </a:lnTo>
                  <a:lnTo>
                    <a:pt x="60" y="451"/>
                  </a:lnTo>
                  <a:lnTo>
                    <a:pt x="64" y="458"/>
                  </a:lnTo>
                  <a:lnTo>
                    <a:pt x="76" y="468"/>
                  </a:lnTo>
                  <a:lnTo>
                    <a:pt x="93" y="505"/>
                  </a:lnTo>
                  <a:lnTo>
                    <a:pt x="102" y="507"/>
                  </a:lnTo>
                  <a:lnTo>
                    <a:pt x="128" y="490"/>
                  </a:lnTo>
                  <a:lnTo>
                    <a:pt x="125" y="481"/>
                  </a:lnTo>
                  <a:lnTo>
                    <a:pt x="122" y="474"/>
                  </a:lnTo>
                  <a:lnTo>
                    <a:pt x="118" y="449"/>
                  </a:lnTo>
                  <a:lnTo>
                    <a:pt x="110" y="436"/>
                  </a:lnTo>
                  <a:lnTo>
                    <a:pt x="119" y="437"/>
                  </a:lnTo>
                  <a:lnTo>
                    <a:pt x="126" y="435"/>
                  </a:lnTo>
                  <a:lnTo>
                    <a:pt x="146" y="420"/>
                  </a:lnTo>
                  <a:lnTo>
                    <a:pt x="153" y="416"/>
                  </a:lnTo>
                  <a:lnTo>
                    <a:pt x="158" y="410"/>
                  </a:lnTo>
                  <a:lnTo>
                    <a:pt x="158" y="402"/>
                  </a:lnTo>
                  <a:lnTo>
                    <a:pt x="158" y="393"/>
                  </a:lnTo>
                  <a:lnTo>
                    <a:pt x="166" y="392"/>
                  </a:lnTo>
                  <a:lnTo>
                    <a:pt x="174" y="393"/>
                  </a:lnTo>
                  <a:lnTo>
                    <a:pt x="182" y="391"/>
                  </a:lnTo>
                  <a:lnTo>
                    <a:pt x="187" y="383"/>
                  </a:lnTo>
                  <a:lnTo>
                    <a:pt x="193" y="379"/>
                  </a:lnTo>
                  <a:lnTo>
                    <a:pt x="201" y="377"/>
                  </a:lnTo>
                  <a:lnTo>
                    <a:pt x="206" y="371"/>
                  </a:lnTo>
                  <a:lnTo>
                    <a:pt x="214" y="366"/>
                  </a:lnTo>
                  <a:lnTo>
                    <a:pt x="219" y="360"/>
                  </a:lnTo>
                  <a:lnTo>
                    <a:pt x="220" y="352"/>
                  </a:lnTo>
                  <a:lnTo>
                    <a:pt x="227" y="348"/>
                  </a:lnTo>
                  <a:lnTo>
                    <a:pt x="242" y="343"/>
                  </a:lnTo>
                  <a:lnTo>
                    <a:pt x="258" y="343"/>
                  </a:lnTo>
                  <a:lnTo>
                    <a:pt x="259" y="351"/>
                  </a:lnTo>
                  <a:lnTo>
                    <a:pt x="263" y="359"/>
                  </a:lnTo>
                  <a:lnTo>
                    <a:pt x="279" y="355"/>
                  </a:lnTo>
                  <a:lnTo>
                    <a:pt x="284" y="361"/>
                  </a:lnTo>
                  <a:lnTo>
                    <a:pt x="289" y="354"/>
                  </a:lnTo>
                  <a:lnTo>
                    <a:pt x="291" y="345"/>
                  </a:lnTo>
                  <a:lnTo>
                    <a:pt x="296" y="339"/>
                  </a:lnTo>
                  <a:lnTo>
                    <a:pt x="303" y="340"/>
                  </a:lnTo>
                  <a:lnTo>
                    <a:pt x="311" y="336"/>
                  </a:lnTo>
                  <a:lnTo>
                    <a:pt x="318" y="336"/>
                  </a:lnTo>
                  <a:lnTo>
                    <a:pt x="324" y="352"/>
                  </a:lnTo>
                  <a:lnTo>
                    <a:pt x="329" y="359"/>
                  </a:lnTo>
                  <a:lnTo>
                    <a:pt x="338" y="355"/>
                  </a:lnTo>
                  <a:lnTo>
                    <a:pt x="345" y="355"/>
                  </a:lnTo>
                  <a:lnTo>
                    <a:pt x="352" y="357"/>
                  </a:lnTo>
                  <a:lnTo>
                    <a:pt x="368" y="354"/>
                  </a:lnTo>
                  <a:lnTo>
                    <a:pt x="376" y="355"/>
                  </a:lnTo>
                  <a:lnTo>
                    <a:pt x="383" y="360"/>
                  </a:lnTo>
                  <a:lnTo>
                    <a:pt x="389" y="365"/>
                  </a:lnTo>
                  <a:lnTo>
                    <a:pt x="395" y="379"/>
                  </a:lnTo>
                  <a:lnTo>
                    <a:pt x="416" y="392"/>
                  </a:lnTo>
                  <a:lnTo>
                    <a:pt x="421" y="398"/>
                  </a:lnTo>
                  <a:lnTo>
                    <a:pt x="424" y="406"/>
                  </a:lnTo>
                  <a:lnTo>
                    <a:pt x="435" y="419"/>
                  </a:lnTo>
                  <a:lnTo>
                    <a:pt x="434" y="426"/>
                  </a:lnTo>
                  <a:lnTo>
                    <a:pt x="435" y="435"/>
                  </a:lnTo>
                  <a:lnTo>
                    <a:pt x="440" y="441"/>
                  </a:lnTo>
                  <a:lnTo>
                    <a:pt x="447" y="438"/>
                  </a:lnTo>
                  <a:lnTo>
                    <a:pt x="447" y="431"/>
                  </a:lnTo>
                  <a:lnTo>
                    <a:pt x="446" y="422"/>
                  </a:lnTo>
                  <a:lnTo>
                    <a:pt x="447" y="415"/>
                  </a:lnTo>
                  <a:lnTo>
                    <a:pt x="442" y="408"/>
                  </a:lnTo>
                  <a:lnTo>
                    <a:pt x="447" y="402"/>
                  </a:lnTo>
                  <a:lnTo>
                    <a:pt x="456" y="400"/>
                  </a:lnTo>
                  <a:lnTo>
                    <a:pt x="458" y="408"/>
                  </a:lnTo>
                  <a:lnTo>
                    <a:pt x="464" y="414"/>
                  </a:lnTo>
                  <a:lnTo>
                    <a:pt x="467" y="421"/>
                  </a:lnTo>
                  <a:lnTo>
                    <a:pt x="473" y="426"/>
                  </a:lnTo>
                  <a:lnTo>
                    <a:pt x="488" y="432"/>
                  </a:lnTo>
                  <a:lnTo>
                    <a:pt x="502" y="440"/>
                  </a:lnTo>
                  <a:lnTo>
                    <a:pt x="511" y="437"/>
                  </a:lnTo>
                  <a:lnTo>
                    <a:pt x="531" y="424"/>
                  </a:lnTo>
                  <a:lnTo>
                    <a:pt x="531" y="415"/>
                  </a:lnTo>
                  <a:lnTo>
                    <a:pt x="537" y="411"/>
                  </a:lnTo>
                  <a:lnTo>
                    <a:pt x="543" y="406"/>
                  </a:lnTo>
                  <a:lnTo>
                    <a:pt x="551" y="405"/>
                  </a:lnTo>
                  <a:lnTo>
                    <a:pt x="559" y="408"/>
                  </a:lnTo>
                  <a:lnTo>
                    <a:pt x="559" y="400"/>
                  </a:lnTo>
                  <a:lnTo>
                    <a:pt x="567" y="399"/>
                  </a:lnTo>
                  <a:lnTo>
                    <a:pt x="575" y="402"/>
                  </a:lnTo>
                  <a:lnTo>
                    <a:pt x="582" y="397"/>
                  </a:lnTo>
                  <a:lnTo>
                    <a:pt x="590" y="402"/>
                  </a:lnTo>
                  <a:lnTo>
                    <a:pt x="601" y="413"/>
                  </a:lnTo>
                  <a:lnTo>
                    <a:pt x="615" y="404"/>
                  </a:lnTo>
                  <a:lnTo>
                    <a:pt x="619" y="397"/>
                  </a:lnTo>
                  <a:lnTo>
                    <a:pt x="634" y="397"/>
                  </a:lnTo>
                  <a:lnTo>
                    <a:pt x="641" y="393"/>
                  </a:lnTo>
                  <a:lnTo>
                    <a:pt x="657" y="399"/>
                  </a:lnTo>
                  <a:lnTo>
                    <a:pt x="662" y="405"/>
                  </a:lnTo>
                  <a:lnTo>
                    <a:pt x="663" y="421"/>
                  </a:lnTo>
                  <a:lnTo>
                    <a:pt x="669" y="427"/>
                  </a:lnTo>
                  <a:lnTo>
                    <a:pt x="674" y="434"/>
                  </a:lnTo>
                  <a:lnTo>
                    <a:pt x="690" y="432"/>
                  </a:lnTo>
                  <a:lnTo>
                    <a:pt x="705" y="435"/>
                  </a:lnTo>
                  <a:lnTo>
                    <a:pt x="707" y="446"/>
                  </a:lnTo>
                  <a:lnTo>
                    <a:pt x="725" y="445"/>
                  </a:lnTo>
                  <a:lnTo>
                    <a:pt x="731" y="440"/>
                  </a:lnTo>
                  <a:lnTo>
                    <a:pt x="738" y="425"/>
                  </a:lnTo>
                  <a:lnTo>
                    <a:pt x="743" y="419"/>
                  </a:lnTo>
                  <a:lnTo>
                    <a:pt x="749" y="421"/>
                  </a:lnTo>
                  <a:lnTo>
                    <a:pt x="760" y="434"/>
                  </a:lnTo>
                  <a:lnTo>
                    <a:pt x="776" y="435"/>
                  </a:lnTo>
                  <a:lnTo>
                    <a:pt x="792" y="432"/>
                  </a:lnTo>
                  <a:lnTo>
                    <a:pt x="800" y="426"/>
                  </a:lnTo>
                  <a:lnTo>
                    <a:pt x="814" y="421"/>
                  </a:lnTo>
                  <a:lnTo>
                    <a:pt x="827" y="383"/>
                  </a:lnTo>
                  <a:lnTo>
                    <a:pt x="830" y="376"/>
                  </a:lnTo>
                  <a:lnTo>
                    <a:pt x="824" y="370"/>
                  </a:lnTo>
                  <a:lnTo>
                    <a:pt x="823" y="366"/>
                  </a:lnTo>
                  <a:lnTo>
                    <a:pt x="809" y="365"/>
                  </a:lnTo>
                  <a:lnTo>
                    <a:pt x="793" y="363"/>
                  </a:lnTo>
                  <a:lnTo>
                    <a:pt x="787" y="356"/>
                  </a:lnTo>
                  <a:lnTo>
                    <a:pt x="784" y="351"/>
                  </a:lnTo>
                  <a:lnTo>
                    <a:pt x="766" y="348"/>
                  </a:lnTo>
                  <a:lnTo>
                    <a:pt x="759" y="345"/>
                  </a:lnTo>
                  <a:lnTo>
                    <a:pt x="760" y="336"/>
                  </a:lnTo>
                  <a:lnTo>
                    <a:pt x="755" y="329"/>
                  </a:lnTo>
                  <a:lnTo>
                    <a:pt x="739" y="327"/>
                  </a:lnTo>
                  <a:lnTo>
                    <a:pt x="741" y="318"/>
                  </a:lnTo>
                  <a:lnTo>
                    <a:pt x="748" y="316"/>
                  </a:lnTo>
                  <a:lnTo>
                    <a:pt x="760" y="306"/>
                  </a:lnTo>
                  <a:lnTo>
                    <a:pt x="776" y="301"/>
                  </a:lnTo>
                  <a:lnTo>
                    <a:pt x="790" y="291"/>
                  </a:lnTo>
                  <a:lnTo>
                    <a:pt x="793" y="285"/>
                  </a:lnTo>
                  <a:lnTo>
                    <a:pt x="795" y="276"/>
                  </a:lnTo>
                  <a:lnTo>
                    <a:pt x="776" y="249"/>
                  </a:lnTo>
                  <a:lnTo>
                    <a:pt x="784" y="246"/>
                  </a:lnTo>
                  <a:lnTo>
                    <a:pt x="790" y="241"/>
                  </a:lnTo>
                  <a:lnTo>
                    <a:pt x="792" y="232"/>
                  </a:lnTo>
                  <a:lnTo>
                    <a:pt x="798" y="227"/>
                  </a:lnTo>
                  <a:lnTo>
                    <a:pt x="807" y="226"/>
                  </a:lnTo>
                  <a:lnTo>
                    <a:pt x="814" y="227"/>
                  </a:lnTo>
                  <a:lnTo>
                    <a:pt x="823" y="226"/>
                  </a:lnTo>
                  <a:lnTo>
                    <a:pt x="830" y="228"/>
                  </a:lnTo>
                  <a:lnTo>
                    <a:pt x="846" y="228"/>
                  </a:lnTo>
                  <a:lnTo>
                    <a:pt x="855" y="226"/>
                  </a:lnTo>
                  <a:lnTo>
                    <a:pt x="857" y="217"/>
                  </a:lnTo>
                  <a:lnTo>
                    <a:pt x="854" y="211"/>
                  </a:lnTo>
                  <a:lnTo>
                    <a:pt x="839" y="203"/>
                  </a:lnTo>
                  <a:lnTo>
                    <a:pt x="807" y="199"/>
                  </a:lnTo>
                  <a:lnTo>
                    <a:pt x="803" y="192"/>
                  </a:lnTo>
                  <a:lnTo>
                    <a:pt x="805" y="183"/>
                  </a:lnTo>
                  <a:lnTo>
                    <a:pt x="812" y="183"/>
                  </a:lnTo>
                  <a:lnTo>
                    <a:pt x="819" y="180"/>
                  </a:lnTo>
                  <a:lnTo>
                    <a:pt x="823" y="173"/>
                  </a:lnTo>
                  <a:lnTo>
                    <a:pt x="818" y="168"/>
                  </a:lnTo>
                  <a:lnTo>
                    <a:pt x="811" y="172"/>
                  </a:lnTo>
                  <a:lnTo>
                    <a:pt x="795" y="172"/>
                  </a:lnTo>
                  <a:lnTo>
                    <a:pt x="795" y="163"/>
                  </a:lnTo>
                  <a:lnTo>
                    <a:pt x="797" y="156"/>
                  </a:lnTo>
                  <a:lnTo>
                    <a:pt x="802" y="150"/>
                  </a:lnTo>
                  <a:lnTo>
                    <a:pt x="791" y="139"/>
                  </a:lnTo>
                  <a:lnTo>
                    <a:pt x="807" y="137"/>
                  </a:lnTo>
                  <a:lnTo>
                    <a:pt x="811" y="131"/>
                  </a:lnTo>
                  <a:lnTo>
                    <a:pt x="820" y="131"/>
                  </a:lnTo>
                  <a:lnTo>
                    <a:pt x="825" y="137"/>
                  </a:lnTo>
                  <a:lnTo>
                    <a:pt x="833" y="136"/>
                  </a:lnTo>
                  <a:lnTo>
                    <a:pt x="841" y="137"/>
                  </a:lnTo>
                  <a:lnTo>
                    <a:pt x="849" y="135"/>
                  </a:lnTo>
                  <a:lnTo>
                    <a:pt x="873" y="136"/>
                  </a:lnTo>
                  <a:lnTo>
                    <a:pt x="878" y="142"/>
                  </a:lnTo>
                  <a:lnTo>
                    <a:pt x="888" y="130"/>
                  </a:lnTo>
                  <a:lnTo>
                    <a:pt x="895" y="128"/>
                  </a:lnTo>
                  <a:lnTo>
                    <a:pt x="911" y="128"/>
                  </a:lnTo>
                  <a:lnTo>
                    <a:pt x="918" y="123"/>
                  </a:lnTo>
                  <a:lnTo>
                    <a:pt x="926" y="120"/>
                  </a:lnTo>
                  <a:lnTo>
                    <a:pt x="938" y="110"/>
                  </a:lnTo>
                  <a:lnTo>
                    <a:pt x="947" y="113"/>
                  </a:lnTo>
                  <a:lnTo>
                    <a:pt x="952" y="118"/>
                  </a:lnTo>
                  <a:lnTo>
                    <a:pt x="961" y="118"/>
                  </a:lnTo>
                  <a:lnTo>
                    <a:pt x="963" y="110"/>
                  </a:lnTo>
                  <a:lnTo>
                    <a:pt x="980" y="107"/>
                  </a:lnTo>
                  <a:lnTo>
                    <a:pt x="986" y="102"/>
                  </a:lnTo>
                  <a:lnTo>
                    <a:pt x="995" y="102"/>
                  </a:lnTo>
                  <a:lnTo>
                    <a:pt x="1002" y="98"/>
                  </a:lnTo>
                  <a:lnTo>
                    <a:pt x="1010" y="98"/>
                  </a:lnTo>
                  <a:lnTo>
                    <a:pt x="1017" y="101"/>
                  </a:lnTo>
                  <a:lnTo>
                    <a:pt x="1022" y="93"/>
                  </a:lnTo>
                  <a:lnTo>
                    <a:pt x="1023" y="86"/>
                  </a:lnTo>
                  <a:lnTo>
                    <a:pt x="1027" y="79"/>
                  </a:lnTo>
                  <a:lnTo>
                    <a:pt x="1034" y="74"/>
                  </a:lnTo>
                  <a:lnTo>
                    <a:pt x="1042" y="72"/>
                  </a:lnTo>
                  <a:lnTo>
                    <a:pt x="1049" y="76"/>
                  </a:lnTo>
                  <a:lnTo>
                    <a:pt x="1067" y="70"/>
                  </a:lnTo>
                  <a:lnTo>
                    <a:pt x="1067" y="71"/>
                  </a:lnTo>
                  <a:lnTo>
                    <a:pt x="1104" y="61"/>
                  </a:lnTo>
                  <a:lnTo>
                    <a:pt x="1136" y="58"/>
                  </a:lnTo>
                  <a:lnTo>
                    <a:pt x="1164" y="49"/>
                  </a:lnTo>
                  <a:lnTo>
                    <a:pt x="1171" y="44"/>
                  </a:lnTo>
                  <a:lnTo>
                    <a:pt x="1179" y="44"/>
                  </a:lnTo>
                  <a:lnTo>
                    <a:pt x="1187" y="42"/>
                  </a:lnTo>
                  <a:lnTo>
                    <a:pt x="1191" y="36"/>
                  </a:lnTo>
                  <a:lnTo>
                    <a:pt x="1191" y="28"/>
                  </a:lnTo>
                  <a:lnTo>
                    <a:pt x="1191" y="20"/>
                  </a:lnTo>
                  <a:lnTo>
                    <a:pt x="1200" y="21"/>
                  </a:lnTo>
                  <a:lnTo>
                    <a:pt x="1207" y="20"/>
                  </a:lnTo>
                  <a:lnTo>
                    <a:pt x="1212" y="12"/>
                  </a:lnTo>
                  <a:lnTo>
                    <a:pt x="1218" y="7"/>
                  </a:lnTo>
                  <a:lnTo>
                    <a:pt x="1227" y="7"/>
                  </a:lnTo>
                  <a:lnTo>
                    <a:pt x="1232" y="1"/>
                  </a:lnTo>
                  <a:lnTo>
                    <a:pt x="1239" y="0"/>
                  </a:lnTo>
                  <a:lnTo>
                    <a:pt x="1244" y="6"/>
                  </a:lnTo>
                  <a:lnTo>
                    <a:pt x="1253" y="4"/>
                  </a:lnTo>
                  <a:lnTo>
                    <a:pt x="1260" y="7"/>
                  </a:lnTo>
                  <a:lnTo>
                    <a:pt x="1269" y="5"/>
                  </a:lnTo>
                  <a:lnTo>
                    <a:pt x="1276" y="9"/>
                  </a:lnTo>
                  <a:lnTo>
                    <a:pt x="1281" y="15"/>
                  </a:lnTo>
                  <a:lnTo>
                    <a:pt x="1295" y="23"/>
                  </a:lnTo>
                  <a:lnTo>
                    <a:pt x="1302" y="20"/>
                  </a:lnTo>
                  <a:lnTo>
                    <a:pt x="1308" y="15"/>
                  </a:lnTo>
                  <a:lnTo>
                    <a:pt x="1324" y="12"/>
                  </a:lnTo>
                  <a:lnTo>
                    <a:pt x="1332" y="15"/>
                  </a:lnTo>
                  <a:lnTo>
                    <a:pt x="1338" y="21"/>
                  </a:lnTo>
                  <a:lnTo>
                    <a:pt x="1341" y="28"/>
                  </a:lnTo>
                  <a:lnTo>
                    <a:pt x="1343" y="44"/>
                  </a:lnTo>
                  <a:lnTo>
                    <a:pt x="1341" y="53"/>
                  </a:lnTo>
                  <a:lnTo>
                    <a:pt x="1344" y="60"/>
                  </a:lnTo>
                  <a:lnTo>
                    <a:pt x="1356" y="71"/>
                  </a:lnTo>
                  <a:lnTo>
                    <a:pt x="1352" y="79"/>
                  </a:lnTo>
                  <a:lnTo>
                    <a:pt x="1354" y="94"/>
                  </a:lnTo>
                  <a:lnTo>
                    <a:pt x="1349" y="102"/>
                  </a:lnTo>
                  <a:lnTo>
                    <a:pt x="1344" y="107"/>
                  </a:lnTo>
                  <a:lnTo>
                    <a:pt x="1347" y="114"/>
                  </a:lnTo>
                  <a:lnTo>
                    <a:pt x="1350" y="123"/>
                  </a:lnTo>
                  <a:lnTo>
                    <a:pt x="1366" y="118"/>
                  </a:lnTo>
                  <a:lnTo>
                    <a:pt x="1373" y="123"/>
                  </a:lnTo>
                  <a:lnTo>
                    <a:pt x="1381" y="122"/>
                  </a:lnTo>
                  <a:lnTo>
                    <a:pt x="1384" y="113"/>
                  </a:lnTo>
                  <a:lnTo>
                    <a:pt x="1392" y="113"/>
                  </a:lnTo>
                  <a:lnTo>
                    <a:pt x="1399" y="115"/>
                  </a:lnTo>
                  <a:lnTo>
                    <a:pt x="1402" y="107"/>
                  </a:lnTo>
                  <a:lnTo>
                    <a:pt x="1402" y="99"/>
                  </a:lnTo>
                  <a:lnTo>
                    <a:pt x="1409" y="101"/>
                  </a:lnTo>
                  <a:lnTo>
                    <a:pt x="1413" y="108"/>
                  </a:lnTo>
                  <a:lnTo>
                    <a:pt x="1415" y="117"/>
                  </a:lnTo>
                  <a:lnTo>
                    <a:pt x="1420" y="122"/>
                  </a:lnTo>
                  <a:lnTo>
                    <a:pt x="1418" y="129"/>
                  </a:lnTo>
                  <a:lnTo>
                    <a:pt x="1416" y="137"/>
                  </a:lnTo>
                  <a:lnTo>
                    <a:pt x="1432" y="139"/>
                  </a:lnTo>
                  <a:lnTo>
                    <a:pt x="1430" y="131"/>
                  </a:lnTo>
                  <a:lnTo>
                    <a:pt x="1425" y="125"/>
                  </a:lnTo>
                  <a:lnTo>
                    <a:pt x="1432" y="123"/>
                  </a:lnTo>
                  <a:lnTo>
                    <a:pt x="1448" y="125"/>
                  </a:lnTo>
                  <a:lnTo>
                    <a:pt x="1456" y="130"/>
                  </a:lnTo>
                  <a:lnTo>
                    <a:pt x="1461" y="136"/>
                  </a:lnTo>
                  <a:lnTo>
                    <a:pt x="1469" y="140"/>
                  </a:lnTo>
                  <a:lnTo>
                    <a:pt x="1476" y="140"/>
                  </a:lnTo>
                  <a:lnTo>
                    <a:pt x="1480" y="133"/>
                  </a:lnTo>
                  <a:lnTo>
                    <a:pt x="1488" y="129"/>
                  </a:lnTo>
                  <a:lnTo>
                    <a:pt x="1490" y="137"/>
                  </a:lnTo>
                  <a:lnTo>
                    <a:pt x="1490" y="145"/>
                  </a:lnTo>
                  <a:lnTo>
                    <a:pt x="1481" y="147"/>
                  </a:lnTo>
                  <a:lnTo>
                    <a:pt x="1475" y="152"/>
                  </a:lnTo>
                  <a:lnTo>
                    <a:pt x="1470" y="160"/>
                  </a:lnTo>
                  <a:lnTo>
                    <a:pt x="1468" y="167"/>
                  </a:lnTo>
                  <a:lnTo>
                    <a:pt x="1469" y="176"/>
                  </a:lnTo>
                  <a:lnTo>
                    <a:pt x="1474" y="183"/>
                  </a:lnTo>
                  <a:lnTo>
                    <a:pt x="1481" y="182"/>
                  </a:lnTo>
                  <a:lnTo>
                    <a:pt x="1486" y="176"/>
                  </a:lnTo>
                  <a:lnTo>
                    <a:pt x="1501" y="169"/>
                  </a:lnTo>
                  <a:lnTo>
                    <a:pt x="1508" y="173"/>
                  </a:lnTo>
                  <a:lnTo>
                    <a:pt x="1517" y="172"/>
                  </a:lnTo>
                  <a:lnTo>
                    <a:pt x="1522" y="177"/>
                  </a:lnTo>
                  <a:lnTo>
                    <a:pt x="1531" y="177"/>
                  </a:lnTo>
                  <a:lnTo>
                    <a:pt x="1528" y="169"/>
                  </a:lnTo>
                  <a:lnTo>
                    <a:pt x="1533" y="163"/>
                  </a:lnTo>
                  <a:lnTo>
                    <a:pt x="1542" y="163"/>
                  </a:lnTo>
                  <a:lnTo>
                    <a:pt x="1551" y="151"/>
                  </a:lnTo>
                  <a:lnTo>
                    <a:pt x="1567" y="149"/>
                  </a:lnTo>
                  <a:lnTo>
                    <a:pt x="1580" y="137"/>
                  </a:lnTo>
                  <a:lnTo>
                    <a:pt x="1586" y="123"/>
                  </a:lnTo>
                  <a:lnTo>
                    <a:pt x="1592" y="118"/>
                  </a:lnTo>
                  <a:lnTo>
                    <a:pt x="1601" y="119"/>
                  </a:lnTo>
                  <a:lnTo>
                    <a:pt x="1617" y="115"/>
                  </a:lnTo>
                  <a:lnTo>
                    <a:pt x="1624" y="113"/>
                  </a:lnTo>
                  <a:lnTo>
                    <a:pt x="1628" y="106"/>
                  </a:lnTo>
                  <a:lnTo>
                    <a:pt x="1644" y="104"/>
                  </a:lnTo>
                  <a:lnTo>
                    <a:pt x="1657" y="96"/>
                  </a:lnTo>
                  <a:lnTo>
                    <a:pt x="1661" y="103"/>
                  </a:lnTo>
                  <a:lnTo>
                    <a:pt x="1662" y="110"/>
                  </a:lnTo>
                  <a:lnTo>
                    <a:pt x="1657" y="118"/>
                  </a:lnTo>
                  <a:lnTo>
                    <a:pt x="1650" y="122"/>
                  </a:lnTo>
                  <a:lnTo>
                    <a:pt x="1642" y="120"/>
                  </a:lnTo>
                  <a:lnTo>
                    <a:pt x="1641" y="128"/>
                  </a:lnTo>
                  <a:lnTo>
                    <a:pt x="1644" y="135"/>
                  </a:lnTo>
                  <a:lnTo>
                    <a:pt x="1648" y="137"/>
                  </a:lnTo>
                  <a:lnTo>
                    <a:pt x="1720" y="204"/>
                  </a:lnTo>
                  <a:lnTo>
                    <a:pt x="1840" y="422"/>
                  </a:lnTo>
                  <a:lnTo>
                    <a:pt x="1854" y="411"/>
                  </a:lnTo>
                  <a:lnTo>
                    <a:pt x="1857" y="404"/>
                  </a:lnTo>
                  <a:lnTo>
                    <a:pt x="1857" y="397"/>
                  </a:lnTo>
                  <a:lnTo>
                    <a:pt x="1868" y="383"/>
                  </a:lnTo>
                  <a:lnTo>
                    <a:pt x="1876" y="382"/>
                  </a:lnTo>
                  <a:lnTo>
                    <a:pt x="1881" y="388"/>
                  </a:lnTo>
                  <a:lnTo>
                    <a:pt x="1889" y="391"/>
                  </a:lnTo>
                  <a:lnTo>
                    <a:pt x="1903" y="399"/>
                  </a:lnTo>
                  <a:lnTo>
                    <a:pt x="1899" y="406"/>
                  </a:lnTo>
                  <a:lnTo>
                    <a:pt x="1903" y="413"/>
                  </a:lnTo>
                  <a:lnTo>
                    <a:pt x="1909" y="414"/>
                  </a:lnTo>
                  <a:lnTo>
                    <a:pt x="1914" y="427"/>
                  </a:lnTo>
                  <a:lnTo>
                    <a:pt x="1938" y="425"/>
                  </a:lnTo>
                  <a:lnTo>
                    <a:pt x="1956" y="430"/>
                  </a:lnTo>
                  <a:lnTo>
                    <a:pt x="1963" y="427"/>
                  </a:lnTo>
                  <a:lnTo>
                    <a:pt x="1979" y="427"/>
                  </a:lnTo>
                  <a:lnTo>
                    <a:pt x="1981" y="420"/>
                  </a:lnTo>
                  <a:lnTo>
                    <a:pt x="1986" y="414"/>
                  </a:lnTo>
                  <a:lnTo>
                    <a:pt x="1995" y="415"/>
                  </a:lnTo>
                  <a:lnTo>
                    <a:pt x="2002" y="415"/>
                  </a:lnTo>
                  <a:lnTo>
                    <a:pt x="2006" y="408"/>
                  </a:lnTo>
                  <a:lnTo>
                    <a:pt x="2012" y="403"/>
                  </a:lnTo>
                  <a:lnTo>
                    <a:pt x="2028" y="408"/>
                  </a:lnTo>
                  <a:lnTo>
                    <a:pt x="2035" y="411"/>
                  </a:lnTo>
                  <a:lnTo>
                    <a:pt x="2039" y="419"/>
                  </a:lnTo>
                  <a:lnTo>
                    <a:pt x="2046" y="422"/>
                  </a:lnTo>
                  <a:lnTo>
                    <a:pt x="2056" y="435"/>
                  </a:lnTo>
                  <a:lnTo>
                    <a:pt x="2064" y="438"/>
                  </a:lnTo>
                  <a:lnTo>
                    <a:pt x="2067" y="446"/>
                  </a:lnTo>
                  <a:lnTo>
                    <a:pt x="2065" y="454"/>
                  </a:lnTo>
                  <a:lnTo>
                    <a:pt x="2066" y="462"/>
                  </a:lnTo>
                  <a:lnTo>
                    <a:pt x="2070" y="469"/>
                  </a:lnTo>
                  <a:lnTo>
                    <a:pt x="2078" y="470"/>
                  </a:lnTo>
                  <a:lnTo>
                    <a:pt x="2099" y="481"/>
                  </a:lnTo>
                  <a:lnTo>
                    <a:pt x="2103" y="489"/>
                  </a:lnTo>
                  <a:lnTo>
                    <a:pt x="2103" y="496"/>
                  </a:lnTo>
                  <a:lnTo>
                    <a:pt x="2110" y="500"/>
                  </a:lnTo>
                  <a:lnTo>
                    <a:pt x="2115" y="505"/>
                  </a:lnTo>
                  <a:lnTo>
                    <a:pt x="2123" y="519"/>
                  </a:lnTo>
                  <a:lnTo>
                    <a:pt x="2129" y="524"/>
                  </a:lnTo>
                  <a:lnTo>
                    <a:pt x="2145" y="526"/>
                  </a:lnTo>
                  <a:lnTo>
                    <a:pt x="2152" y="531"/>
                  </a:lnTo>
                  <a:lnTo>
                    <a:pt x="2159" y="533"/>
                  </a:lnTo>
                  <a:lnTo>
                    <a:pt x="2168" y="534"/>
                  </a:lnTo>
                  <a:lnTo>
                    <a:pt x="2177" y="534"/>
                  </a:lnTo>
                  <a:lnTo>
                    <a:pt x="2179" y="527"/>
                  </a:lnTo>
                  <a:lnTo>
                    <a:pt x="2184" y="521"/>
                  </a:lnTo>
                  <a:lnTo>
                    <a:pt x="2199" y="515"/>
                  </a:lnTo>
                  <a:lnTo>
                    <a:pt x="2201" y="523"/>
                  </a:lnTo>
                  <a:lnTo>
                    <a:pt x="2205" y="531"/>
                  </a:lnTo>
                  <a:lnTo>
                    <a:pt x="2212" y="535"/>
                  </a:lnTo>
                  <a:lnTo>
                    <a:pt x="2218" y="549"/>
                  </a:lnTo>
                  <a:lnTo>
                    <a:pt x="2226" y="554"/>
                  </a:lnTo>
                  <a:lnTo>
                    <a:pt x="2230" y="561"/>
                  </a:lnTo>
                  <a:lnTo>
                    <a:pt x="2217" y="587"/>
                  </a:lnTo>
                  <a:lnTo>
                    <a:pt x="2207" y="607"/>
                  </a:lnTo>
                  <a:lnTo>
                    <a:pt x="2191" y="623"/>
                  </a:lnTo>
                  <a:lnTo>
                    <a:pt x="2171" y="629"/>
                  </a:lnTo>
                  <a:lnTo>
                    <a:pt x="2156" y="628"/>
                  </a:lnTo>
                  <a:lnTo>
                    <a:pt x="2145" y="648"/>
                  </a:lnTo>
                  <a:lnTo>
                    <a:pt x="2140" y="673"/>
                  </a:lnTo>
                  <a:lnTo>
                    <a:pt x="2142" y="696"/>
                  </a:lnTo>
                  <a:lnTo>
                    <a:pt x="2139" y="733"/>
                  </a:lnTo>
                  <a:lnTo>
                    <a:pt x="2116" y="741"/>
                  </a:lnTo>
                  <a:lnTo>
                    <a:pt x="2102" y="753"/>
                  </a:lnTo>
                  <a:lnTo>
                    <a:pt x="2092" y="745"/>
                  </a:lnTo>
                  <a:lnTo>
                    <a:pt x="2082" y="736"/>
                  </a:lnTo>
                  <a:lnTo>
                    <a:pt x="2048" y="739"/>
                  </a:lnTo>
                  <a:lnTo>
                    <a:pt x="2030" y="733"/>
                  </a:lnTo>
                  <a:lnTo>
                    <a:pt x="2021" y="726"/>
                  </a:lnTo>
                  <a:lnTo>
                    <a:pt x="1996" y="726"/>
                  </a:lnTo>
                  <a:lnTo>
                    <a:pt x="1986" y="747"/>
                  </a:lnTo>
                  <a:lnTo>
                    <a:pt x="1978" y="773"/>
                  </a:lnTo>
                  <a:lnTo>
                    <a:pt x="1965" y="800"/>
                  </a:lnTo>
                  <a:lnTo>
                    <a:pt x="1959" y="824"/>
                  </a:lnTo>
                  <a:lnTo>
                    <a:pt x="1956" y="844"/>
                  </a:lnTo>
                  <a:lnTo>
                    <a:pt x="1958" y="859"/>
                  </a:lnTo>
                  <a:lnTo>
                    <a:pt x="1964" y="877"/>
                  </a:lnTo>
                  <a:lnTo>
                    <a:pt x="1957" y="882"/>
                  </a:lnTo>
                  <a:lnTo>
                    <a:pt x="1902" y="884"/>
                  </a:lnTo>
                  <a:lnTo>
                    <a:pt x="1879" y="892"/>
                  </a:lnTo>
                  <a:lnTo>
                    <a:pt x="1861" y="894"/>
                  </a:lnTo>
                  <a:lnTo>
                    <a:pt x="1841" y="901"/>
                  </a:lnTo>
                  <a:lnTo>
                    <a:pt x="1831" y="909"/>
                  </a:lnTo>
                  <a:lnTo>
                    <a:pt x="1840" y="916"/>
                  </a:lnTo>
                  <a:lnTo>
                    <a:pt x="1847" y="931"/>
                  </a:lnTo>
                  <a:lnTo>
                    <a:pt x="1852" y="969"/>
                  </a:lnTo>
                  <a:lnTo>
                    <a:pt x="1856" y="984"/>
                  </a:lnTo>
                  <a:lnTo>
                    <a:pt x="1863" y="996"/>
                  </a:lnTo>
                  <a:lnTo>
                    <a:pt x="1872" y="1023"/>
                  </a:lnTo>
                  <a:lnTo>
                    <a:pt x="1872" y="1038"/>
                  </a:lnTo>
                  <a:lnTo>
                    <a:pt x="1859" y="1048"/>
                  </a:lnTo>
                  <a:lnTo>
                    <a:pt x="1860" y="1061"/>
                  </a:lnTo>
                  <a:lnTo>
                    <a:pt x="1852" y="1070"/>
                  </a:lnTo>
                  <a:lnTo>
                    <a:pt x="1850" y="1081"/>
                  </a:lnTo>
                  <a:lnTo>
                    <a:pt x="1850" y="1099"/>
                  </a:lnTo>
                  <a:lnTo>
                    <a:pt x="1843" y="1099"/>
                  </a:lnTo>
                  <a:lnTo>
                    <a:pt x="1823" y="1086"/>
                  </a:lnTo>
                  <a:lnTo>
                    <a:pt x="1807" y="1083"/>
                  </a:lnTo>
                  <a:lnTo>
                    <a:pt x="1792" y="1065"/>
                  </a:lnTo>
                  <a:lnTo>
                    <a:pt x="1776" y="1064"/>
                  </a:lnTo>
                  <a:lnTo>
                    <a:pt x="1768" y="1061"/>
                  </a:lnTo>
                  <a:lnTo>
                    <a:pt x="1760" y="1061"/>
                  </a:lnTo>
                  <a:lnTo>
                    <a:pt x="1753" y="1057"/>
                  </a:lnTo>
                  <a:lnTo>
                    <a:pt x="1745" y="1056"/>
                  </a:lnTo>
                  <a:lnTo>
                    <a:pt x="1721" y="1057"/>
                  </a:lnTo>
                  <a:lnTo>
                    <a:pt x="1698" y="1054"/>
                  </a:lnTo>
                  <a:lnTo>
                    <a:pt x="1689" y="1055"/>
                  </a:lnTo>
                  <a:lnTo>
                    <a:pt x="1674" y="1048"/>
                  </a:lnTo>
                  <a:lnTo>
                    <a:pt x="1667" y="1048"/>
                  </a:lnTo>
                  <a:lnTo>
                    <a:pt x="1652" y="1054"/>
                  </a:lnTo>
                  <a:lnTo>
                    <a:pt x="1620" y="1050"/>
                  </a:lnTo>
                  <a:lnTo>
                    <a:pt x="1612" y="1050"/>
                  </a:lnTo>
                  <a:lnTo>
                    <a:pt x="1596" y="1054"/>
                  </a:lnTo>
                  <a:lnTo>
                    <a:pt x="1580" y="1054"/>
                  </a:lnTo>
                  <a:lnTo>
                    <a:pt x="1571" y="1053"/>
                  </a:lnTo>
                  <a:lnTo>
                    <a:pt x="1565" y="1048"/>
                  </a:lnTo>
                  <a:lnTo>
                    <a:pt x="1556" y="1046"/>
                  </a:lnTo>
                  <a:lnTo>
                    <a:pt x="1540" y="1048"/>
                  </a:lnTo>
                  <a:lnTo>
                    <a:pt x="1534" y="1043"/>
                  </a:lnTo>
                  <a:lnTo>
                    <a:pt x="1513" y="1030"/>
                  </a:lnTo>
                  <a:lnTo>
                    <a:pt x="1506" y="1034"/>
                  </a:lnTo>
                  <a:lnTo>
                    <a:pt x="1499" y="1035"/>
                  </a:lnTo>
                  <a:lnTo>
                    <a:pt x="1491" y="1038"/>
                  </a:lnTo>
                  <a:lnTo>
                    <a:pt x="1479" y="1048"/>
                  </a:lnTo>
                  <a:lnTo>
                    <a:pt x="1478" y="1056"/>
                  </a:lnTo>
                  <a:lnTo>
                    <a:pt x="1473" y="1064"/>
                  </a:lnTo>
                  <a:lnTo>
                    <a:pt x="1470" y="1080"/>
                  </a:lnTo>
                  <a:lnTo>
                    <a:pt x="1467" y="1086"/>
                  </a:lnTo>
                  <a:lnTo>
                    <a:pt x="1451" y="1082"/>
                  </a:lnTo>
                  <a:lnTo>
                    <a:pt x="1437" y="1075"/>
                  </a:lnTo>
                  <a:lnTo>
                    <a:pt x="1421" y="1070"/>
                  </a:lnTo>
                  <a:lnTo>
                    <a:pt x="1414" y="1066"/>
                  </a:lnTo>
                  <a:lnTo>
                    <a:pt x="1406" y="1064"/>
                  </a:lnTo>
                  <a:lnTo>
                    <a:pt x="1398" y="1064"/>
                  </a:lnTo>
                  <a:lnTo>
                    <a:pt x="1383" y="1061"/>
                  </a:lnTo>
                  <a:lnTo>
                    <a:pt x="1375" y="1062"/>
                  </a:lnTo>
                  <a:lnTo>
                    <a:pt x="1367" y="1060"/>
                  </a:lnTo>
                  <a:lnTo>
                    <a:pt x="1351" y="1062"/>
                  </a:lnTo>
                  <a:lnTo>
                    <a:pt x="1344" y="1066"/>
                  </a:lnTo>
                  <a:lnTo>
                    <a:pt x="1341" y="1073"/>
                  </a:lnTo>
                  <a:lnTo>
                    <a:pt x="1343" y="1081"/>
                  </a:lnTo>
                  <a:lnTo>
                    <a:pt x="1338" y="1088"/>
                  </a:lnTo>
                  <a:lnTo>
                    <a:pt x="1334" y="1096"/>
                  </a:lnTo>
                  <a:lnTo>
                    <a:pt x="1332" y="1103"/>
                  </a:lnTo>
                  <a:lnTo>
                    <a:pt x="1320" y="1115"/>
                  </a:lnTo>
                  <a:lnTo>
                    <a:pt x="1313" y="1118"/>
                  </a:lnTo>
                  <a:lnTo>
                    <a:pt x="1306" y="1115"/>
                  </a:lnTo>
                  <a:lnTo>
                    <a:pt x="1300" y="1130"/>
                  </a:lnTo>
                  <a:lnTo>
                    <a:pt x="1293" y="1135"/>
                  </a:lnTo>
                  <a:lnTo>
                    <a:pt x="1271" y="1145"/>
                  </a:lnTo>
                  <a:lnTo>
                    <a:pt x="1257" y="1153"/>
                  </a:lnTo>
                  <a:lnTo>
                    <a:pt x="1252" y="1159"/>
                  </a:lnTo>
                  <a:lnTo>
                    <a:pt x="1244" y="1162"/>
                  </a:lnTo>
                  <a:lnTo>
                    <a:pt x="1237" y="1167"/>
                  </a:lnTo>
                  <a:lnTo>
                    <a:pt x="1233" y="1174"/>
                  </a:lnTo>
                  <a:lnTo>
                    <a:pt x="1231" y="1182"/>
                  </a:lnTo>
                  <a:lnTo>
                    <a:pt x="1225" y="1186"/>
                  </a:lnTo>
                  <a:lnTo>
                    <a:pt x="1217" y="1190"/>
                  </a:lnTo>
                  <a:lnTo>
                    <a:pt x="1209" y="1189"/>
                  </a:lnTo>
                  <a:lnTo>
                    <a:pt x="1194" y="1183"/>
                  </a:lnTo>
                  <a:lnTo>
                    <a:pt x="1185" y="1180"/>
                  </a:lnTo>
                  <a:lnTo>
                    <a:pt x="1172" y="1172"/>
                  </a:lnTo>
                  <a:lnTo>
                    <a:pt x="1115" y="1178"/>
                  </a:lnTo>
                  <a:lnTo>
                    <a:pt x="1105" y="1132"/>
                  </a:lnTo>
                  <a:lnTo>
                    <a:pt x="1072" y="1126"/>
                  </a:lnTo>
                  <a:lnTo>
                    <a:pt x="1071" y="1113"/>
                  </a:lnTo>
                  <a:lnTo>
                    <a:pt x="1071" y="1097"/>
                  </a:lnTo>
                  <a:lnTo>
                    <a:pt x="1080" y="1096"/>
                  </a:lnTo>
                  <a:lnTo>
                    <a:pt x="1078" y="1053"/>
                  </a:lnTo>
                  <a:lnTo>
                    <a:pt x="1065" y="1054"/>
                  </a:lnTo>
                  <a:lnTo>
                    <a:pt x="1048" y="1021"/>
                  </a:lnTo>
                  <a:lnTo>
                    <a:pt x="1035" y="1011"/>
                  </a:lnTo>
                  <a:lnTo>
                    <a:pt x="1028" y="1007"/>
                  </a:lnTo>
                  <a:lnTo>
                    <a:pt x="1016" y="997"/>
                  </a:lnTo>
                  <a:lnTo>
                    <a:pt x="1010" y="991"/>
                  </a:lnTo>
                  <a:lnTo>
                    <a:pt x="996" y="997"/>
                  </a:lnTo>
                  <a:lnTo>
                    <a:pt x="920" y="996"/>
                  </a:lnTo>
                  <a:lnTo>
                    <a:pt x="849" y="1008"/>
                  </a:lnTo>
                  <a:lnTo>
                    <a:pt x="820" y="980"/>
                  </a:lnTo>
                  <a:lnTo>
                    <a:pt x="777" y="932"/>
                  </a:lnTo>
                  <a:lnTo>
                    <a:pt x="742" y="899"/>
                  </a:lnTo>
                  <a:lnTo>
                    <a:pt x="728" y="889"/>
                  </a:lnTo>
                  <a:lnTo>
                    <a:pt x="709" y="874"/>
                  </a:lnTo>
                  <a:lnTo>
                    <a:pt x="689" y="860"/>
                  </a:lnTo>
                  <a:lnTo>
                    <a:pt x="658" y="847"/>
                  </a:lnTo>
                  <a:lnTo>
                    <a:pt x="518" y="89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57" name="Freeform 162">
              <a:extLst>
                <a:ext uri="{FF2B5EF4-FFF2-40B4-BE49-F238E27FC236}">
                  <a16:creationId xmlns:a16="http://schemas.microsoft.com/office/drawing/2014/main" id="{A0D682FA-8B8E-A545-405C-2C69E6568FE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937200" y="2835069"/>
              <a:ext cx="196989" cy="102122"/>
            </a:xfrm>
            <a:custGeom>
              <a:avLst/>
              <a:gdLst>
                <a:gd name="T0" fmla="*/ 2147483647 w 368"/>
                <a:gd name="T1" fmla="*/ 2147483647 h 182"/>
                <a:gd name="T2" fmla="*/ 2147483647 w 368"/>
                <a:gd name="T3" fmla="*/ 2147483647 h 182"/>
                <a:gd name="T4" fmla="*/ 2147483647 w 368"/>
                <a:gd name="T5" fmla="*/ 2147483647 h 182"/>
                <a:gd name="T6" fmla="*/ 2147483647 w 368"/>
                <a:gd name="T7" fmla="*/ 2147483647 h 182"/>
                <a:gd name="T8" fmla="*/ 2147483647 w 368"/>
                <a:gd name="T9" fmla="*/ 2147483647 h 182"/>
                <a:gd name="T10" fmla="*/ 2147483647 w 368"/>
                <a:gd name="T11" fmla="*/ 2147483647 h 182"/>
                <a:gd name="T12" fmla="*/ 2147483647 w 368"/>
                <a:gd name="T13" fmla="*/ 2147483647 h 182"/>
                <a:gd name="T14" fmla="*/ 2147483647 w 368"/>
                <a:gd name="T15" fmla="*/ 2147483647 h 182"/>
                <a:gd name="T16" fmla="*/ 2147483647 w 368"/>
                <a:gd name="T17" fmla="*/ 2147483647 h 182"/>
                <a:gd name="T18" fmla="*/ 2147483647 w 368"/>
                <a:gd name="T19" fmla="*/ 2147483647 h 182"/>
                <a:gd name="T20" fmla="*/ 2147483647 w 368"/>
                <a:gd name="T21" fmla="*/ 2147483647 h 182"/>
                <a:gd name="T22" fmla="*/ 2147483647 w 368"/>
                <a:gd name="T23" fmla="*/ 2147483647 h 182"/>
                <a:gd name="T24" fmla="*/ 2147483647 w 368"/>
                <a:gd name="T25" fmla="*/ 2147483647 h 182"/>
                <a:gd name="T26" fmla="*/ 2147483647 w 368"/>
                <a:gd name="T27" fmla="*/ 2147483647 h 182"/>
                <a:gd name="T28" fmla="*/ 2147483647 w 368"/>
                <a:gd name="T29" fmla="*/ 2147483647 h 182"/>
                <a:gd name="T30" fmla="*/ 2147483647 w 368"/>
                <a:gd name="T31" fmla="*/ 2147483647 h 182"/>
                <a:gd name="T32" fmla="*/ 2147483647 w 368"/>
                <a:gd name="T33" fmla="*/ 2147483647 h 182"/>
                <a:gd name="T34" fmla="*/ 2147483647 w 368"/>
                <a:gd name="T35" fmla="*/ 2147483647 h 182"/>
                <a:gd name="T36" fmla="*/ 2147483647 w 368"/>
                <a:gd name="T37" fmla="*/ 2147483647 h 182"/>
                <a:gd name="T38" fmla="*/ 2147483647 w 368"/>
                <a:gd name="T39" fmla="*/ 2147483647 h 182"/>
                <a:gd name="T40" fmla="*/ 2147483647 w 368"/>
                <a:gd name="T41" fmla="*/ 2147483647 h 182"/>
                <a:gd name="T42" fmla="*/ 2147483647 w 368"/>
                <a:gd name="T43" fmla="*/ 0 h 182"/>
                <a:gd name="T44" fmla="*/ 2147483647 w 368"/>
                <a:gd name="T45" fmla="*/ 0 h 182"/>
                <a:gd name="T46" fmla="*/ 2147483647 w 368"/>
                <a:gd name="T47" fmla="*/ 0 h 182"/>
                <a:gd name="T48" fmla="*/ 2147483647 w 368"/>
                <a:gd name="T49" fmla="*/ 0 h 182"/>
                <a:gd name="T50" fmla="*/ 2147483647 w 368"/>
                <a:gd name="T51" fmla="*/ 0 h 182"/>
                <a:gd name="T52" fmla="*/ 2147483647 w 368"/>
                <a:gd name="T53" fmla="*/ 0 h 182"/>
                <a:gd name="T54" fmla="*/ 2147483647 w 368"/>
                <a:gd name="T55" fmla="*/ 0 h 182"/>
                <a:gd name="T56" fmla="*/ 2147483647 w 368"/>
                <a:gd name="T57" fmla="*/ 0 h 182"/>
                <a:gd name="T58" fmla="*/ 2147483647 w 368"/>
                <a:gd name="T59" fmla="*/ 0 h 182"/>
                <a:gd name="T60" fmla="*/ 2147483647 w 368"/>
                <a:gd name="T61" fmla="*/ 0 h 182"/>
                <a:gd name="T62" fmla="*/ 2147483647 w 368"/>
                <a:gd name="T63" fmla="*/ 0 h 182"/>
                <a:gd name="T64" fmla="*/ 2147483647 w 368"/>
                <a:gd name="T65" fmla="*/ 0 h 182"/>
                <a:gd name="T66" fmla="*/ 0 w 368"/>
                <a:gd name="T67" fmla="*/ 0 h 182"/>
                <a:gd name="T68" fmla="*/ 0 w 368"/>
                <a:gd name="T69" fmla="*/ 0 h 182"/>
                <a:gd name="T70" fmla="*/ 0 w 368"/>
                <a:gd name="T71" fmla="*/ 0 h 182"/>
                <a:gd name="T72" fmla="*/ 0 w 368"/>
                <a:gd name="T73" fmla="*/ 0 h 182"/>
                <a:gd name="T74" fmla="*/ 2147483647 w 368"/>
                <a:gd name="T75" fmla="*/ 0 h 182"/>
                <a:gd name="T76" fmla="*/ 2147483647 w 368"/>
                <a:gd name="T77" fmla="*/ 0 h 182"/>
                <a:gd name="T78" fmla="*/ 2147483647 w 368"/>
                <a:gd name="T79" fmla="*/ 2147483647 h 182"/>
                <a:gd name="T80" fmla="*/ 2147483647 w 368"/>
                <a:gd name="T81" fmla="*/ 2147483647 h 182"/>
                <a:gd name="T82" fmla="*/ 2147483647 w 368"/>
                <a:gd name="T83" fmla="*/ 2147483647 h 182"/>
                <a:gd name="T84" fmla="*/ 2147483647 w 368"/>
                <a:gd name="T85" fmla="*/ 2147483647 h 18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68"/>
                <a:gd name="T130" fmla="*/ 0 h 182"/>
                <a:gd name="T131" fmla="*/ 368 w 368"/>
                <a:gd name="T132" fmla="*/ 182 h 18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68" h="182">
                  <a:moveTo>
                    <a:pt x="87" y="148"/>
                  </a:moveTo>
                  <a:lnTo>
                    <a:pt x="94" y="154"/>
                  </a:lnTo>
                  <a:lnTo>
                    <a:pt x="102" y="154"/>
                  </a:lnTo>
                  <a:lnTo>
                    <a:pt x="115" y="150"/>
                  </a:lnTo>
                  <a:lnTo>
                    <a:pt x="134" y="156"/>
                  </a:lnTo>
                  <a:lnTo>
                    <a:pt x="140" y="156"/>
                  </a:lnTo>
                  <a:lnTo>
                    <a:pt x="145" y="149"/>
                  </a:lnTo>
                  <a:lnTo>
                    <a:pt x="150" y="145"/>
                  </a:lnTo>
                  <a:lnTo>
                    <a:pt x="158" y="148"/>
                  </a:lnTo>
                  <a:lnTo>
                    <a:pt x="166" y="155"/>
                  </a:lnTo>
                  <a:lnTo>
                    <a:pt x="177" y="171"/>
                  </a:lnTo>
                  <a:lnTo>
                    <a:pt x="182" y="172"/>
                  </a:lnTo>
                  <a:lnTo>
                    <a:pt x="191" y="182"/>
                  </a:lnTo>
                  <a:lnTo>
                    <a:pt x="212" y="181"/>
                  </a:lnTo>
                  <a:lnTo>
                    <a:pt x="219" y="176"/>
                  </a:lnTo>
                  <a:lnTo>
                    <a:pt x="235" y="175"/>
                  </a:lnTo>
                  <a:lnTo>
                    <a:pt x="242" y="171"/>
                  </a:lnTo>
                  <a:lnTo>
                    <a:pt x="258" y="174"/>
                  </a:lnTo>
                  <a:lnTo>
                    <a:pt x="267" y="172"/>
                  </a:lnTo>
                  <a:lnTo>
                    <a:pt x="277" y="167"/>
                  </a:lnTo>
                  <a:lnTo>
                    <a:pt x="282" y="166"/>
                  </a:lnTo>
                  <a:lnTo>
                    <a:pt x="296" y="156"/>
                  </a:lnTo>
                  <a:lnTo>
                    <a:pt x="304" y="158"/>
                  </a:lnTo>
                  <a:lnTo>
                    <a:pt x="311" y="160"/>
                  </a:lnTo>
                  <a:lnTo>
                    <a:pt x="317" y="166"/>
                  </a:lnTo>
                  <a:lnTo>
                    <a:pt x="332" y="174"/>
                  </a:lnTo>
                  <a:lnTo>
                    <a:pt x="341" y="172"/>
                  </a:lnTo>
                  <a:lnTo>
                    <a:pt x="355" y="179"/>
                  </a:lnTo>
                  <a:lnTo>
                    <a:pt x="364" y="180"/>
                  </a:lnTo>
                  <a:lnTo>
                    <a:pt x="368" y="174"/>
                  </a:lnTo>
                  <a:lnTo>
                    <a:pt x="365" y="166"/>
                  </a:lnTo>
                  <a:lnTo>
                    <a:pt x="352" y="156"/>
                  </a:lnTo>
                  <a:lnTo>
                    <a:pt x="349" y="149"/>
                  </a:lnTo>
                  <a:lnTo>
                    <a:pt x="343" y="143"/>
                  </a:lnTo>
                  <a:lnTo>
                    <a:pt x="344" y="134"/>
                  </a:lnTo>
                  <a:lnTo>
                    <a:pt x="355" y="124"/>
                  </a:lnTo>
                  <a:lnTo>
                    <a:pt x="357" y="124"/>
                  </a:lnTo>
                  <a:lnTo>
                    <a:pt x="352" y="121"/>
                  </a:lnTo>
                  <a:lnTo>
                    <a:pt x="345" y="116"/>
                  </a:lnTo>
                  <a:lnTo>
                    <a:pt x="329" y="111"/>
                  </a:lnTo>
                  <a:lnTo>
                    <a:pt x="317" y="101"/>
                  </a:lnTo>
                  <a:lnTo>
                    <a:pt x="321" y="86"/>
                  </a:lnTo>
                  <a:lnTo>
                    <a:pt x="317" y="79"/>
                  </a:lnTo>
                  <a:lnTo>
                    <a:pt x="310" y="75"/>
                  </a:lnTo>
                  <a:lnTo>
                    <a:pt x="302" y="75"/>
                  </a:lnTo>
                  <a:lnTo>
                    <a:pt x="295" y="72"/>
                  </a:lnTo>
                  <a:lnTo>
                    <a:pt x="290" y="66"/>
                  </a:lnTo>
                  <a:lnTo>
                    <a:pt x="274" y="63"/>
                  </a:lnTo>
                  <a:lnTo>
                    <a:pt x="267" y="64"/>
                  </a:lnTo>
                  <a:lnTo>
                    <a:pt x="261" y="59"/>
                  </a:lnTo>
                  <a:lnTo>
                    <a:pt x="252" y="59"/>
                  </a:lnTo>
                  <a:lnTo>
                    <a:pt x="237" y="66"/>
                  </a:lnTo>
                  <a:lnTo>
                    <a:pt x="231" y="70"/>
                  </a:lnTo>
                  <a:lnTo>
                    <a:pt x="223" y="73"/>
                  </a:lnTo>
                  <a:lnTo>
                    <a:pt x="215" y="69"/>
                  </a:lnTo>
                  <a:lnTo>
                    <a:pt x="213" y="61"/>
                  </a:lnTo>
                  <a:lnTo>
                    <a:pt x="175" y="39"/>
                  </a:lnTo>
                  <a:lnTo>
                    <a:pt x="171" y="34"/>
                  </a:lnTo>
                  <a:lnTo>
                    <a:pt x="164" y="29"/>
                  </a:lnTo>
                  <a:lnTo>
                    <a:pt x="148" y="29"/>
                  </a:lnTo>
                  <a:lnTo>
                    <a:pt x="132" y="24"/>
                  </a:lnTo>
                  <a:lnTo>
                    <a:pt x="108" y="26"/>
                  </a:lnTo>
                  <a:lnTo>
                    <a:pt x="99" y="25"/>
                  </a:lnTo>
                  <a:lnTo>
                    <a:pt x="76" y="15"/>
                  </a:lnTo>
                  <a:lnTo>
                    <a:pt x="60" y="13"/>
                  </a:lnTo>
                  <a:lnTo>
                    <a:pt x="54" y="7"/>
                  </a:lnTo>
                  <a:lnTo>
                    <a:pt x="40" y="2"/>
                  </a:lnTo>
                  <a:lnTo>
                    <a:pt x="31" y="3"/>
                  </a:lnTo>
                  <a:lnTo>
                    <a:pt x="24" y="0"/>
                  </a:lnTo>
                  <a:lnTo>
                    <a:pt x="15" y="2"/>
                  </a:lnTo>
                  <a:lnTo>
                    <a:pt x="0" y="7"/>
                  </a:lnTo>
                  <a:lnTo>
                    <a:pt x="5" y="11"/>
                  </a:lnTo>
                  <a:lnTo>
                    <a:pt x="14" y="18"/>
                  </a:lnTo>
                  <a:lnTo>
                    <a:pt x="21" y="27"/>
                  </a:lnTo>
                  <a:lnTo>
                    <a:pt x="31" y="32"/>
                  </a:lnTo>
                  <a:lnTo>
                    <a:pt x="56" y="39"/>
                  </a:lnTo>
                  <a:lnTo>
                    <a:pt x="67" y="51"/>
                  </a:lnTo>
                  <a:lnTo>
                    <a:pt x="78" y="57"/>
                  </a:lnTo>
                  <a:lnTo>
                    <a:pt x="84" y="68"/>
                  </a:lnTo>
                  <a:lnTo>
                    <a:pt x="87" y="82"/>
                  </a:lnTo>
                  <a:lnTo>
                    <a:pt x="91" y="104"/>
                  </a:lnTo>
                  <a:lnTo>
                    <a:pt x="100" y="113"/>
                  </a:lnTo>
                  <a:lnTo>
                    <a:pt x="100" y="124"/>
                  </a:lnTo>
                  <a:lnTo>
                    <a:pt x="99" y="138"/>
                  </a:lnTo>
                  <a:lnTo>
                    <a:pt x="92" y="145"/>
                  </a:lnTo>
                  <a:lnTo>
                    <a:pt x="87" y="14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58" name="Freeform 163">
              <a:extLst>
                <a:ext uri="{FF2B5EF4-FFF2-40B4-BE49-F238E27FC236}">
                  <a16:creationId xmlns:a16="http://schemas.microsoft.com/office/drawing/2014/main" id="{195DC7B2-38D7-F6DB-A767-5A0E96D500E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408780" y="2748188"/>
              <a:ext cx="502919" cy="344473"/>
            </a:xfrm>
            <a:custGeom>
              <a:avLst/>
              <a:gdLst>
                <a:gd name="T0" fmla="*/ 0 w 940"/>
                <a:gd name="T1" fmla="*/ 2147483647 h 612"/>
                <a:gd name="T2" fmla="*/ 2147483647 w 940"/>
                <a:gd name="T3" fmla="*/ 2147483647 h 612"/>
                <a:gd name="T4" fmla="*/ 2147483647 w 940"/>
                <a:gd name="T5" fmla="*/ 2147483647 h 612"/>
                <a:gd name="T6" fmla="*/ 2147483647 w 940"/>
                <a:gd name="T7" fmla="*/ 2147483647 h 612"/>
                <a:gd name="T8" fmla="*/ 2147483647 w 940"/>
                <a:gd name="T9" fmla="*/ 2147483647 h 612"/>
                <a:gd name="T10" fmla="*/ 2147483647 w 940"/>
                <a:gd name="T11" fmla="*/ 2147483647 h 612"/>
                <a:gd name="T12" fmla="*/ 2147483647 w 940"/>
                <a:gd name="T13" fmla="*/ 2147483647 h 612"/>
                <a:gd name="T14" fmla="*/ 2147483647 w 940"/>
                <a:gd name="T15" fmla="*/ 2147483647 h 612"/>
                <a:gd name="T16" fmla="*/ 2147483647 w 940"/>
                <a:gd name="T17" fmla="*/ 2147483647 h 612"/>
                <a:gd name="T18" fmla="*/ 2147483647 w 940"/>
                <a:gd name="T19" fmla="*/ 2147483647 h 612"/>
                <a:gd name="T20" fmla="*/ 2147483647 w 940"/>
                <a:gd name="T21" fmla="*/ 2147483647 h 612"/>
                <a:gd name="T22" fmla="*/ 2147483647 w 940"/>
                <a:gd name="T23" fmla="*/ 2147483647 h 612"/>
                <a:gd name="T24" fmla="*/ 2147483647 w 940"/>
                <a:gd name="T25" fmla="*/ 2147483647 h 612"/>
                <a:gd name="T26" fmla="*/ 2147483647 w 940"/>
                <a:gd name="T27" fmla="*/ 2147483647 h 612"/>
                <a:gd name="T28" fmla="*/ 2147483647 w 940"/>
                <a:gd name="T29" fmla="*/ 2147483647 h 612"/>
                <a:gd name="T30" fmla="*/ 2147483647 w 940"/>
                <a:gd name="T31" fmla="*/ 2147483647 h 612"/>
                <a:gd name="T32" fmla="*/ 2147483647 w 940"/>
                <a:gd name="T33" fmla="*/ 2147483647 h 612"/>
                <a:gd name="T34" fmla="*/ 2147483647 w 940"/>
                <a:gd name="T35" fmla="*/ 2147483647 h 612"/>
                <a:gd name="T36" fmla="*/ 2147483647 w 940"/>
                <a:gd name="T37" fmla="*/ 2147483647 h 612"/>
                <a:gd name="T38" fmla="*/ 2147483647 w 940"/>
                <a:gd name="T39" fmla="*/ 2147483647 h 612"/>
                <a:gd name="T40" fmla="*/ 2147483647 w 940"/>
                <a:gd name="T41" fmla="*/ 2147483647 h 612"/>
                <a:gd name="T42" fmla="*/ 2147483647 w 940"/>
                <a:gd name="T43" fmla="*/ 2147483647 h 612"/>
                <a:gd name="T44" fmla="*/ 2147483647 w 940"/>
                <a:gd name="T45" fmla="*/ 2147483647 h 612"/>
                <a:gd name="T46" fmla="*/ 2147483647 w 940"/>
                <a:gd name="T47" fmla="*/ 2147483647 h 612"/>
                <a:gd name="T48" fmla="*/ 2147483647 w 940"/>
                <a:gd name="T49" fmla="*/ 2147483647 h 612"/>
                <a:gd name="T50" fmla="*/ 2147483647 w 940"/>
                <a:gd name="T51" fmla="*/ 2147483647 h 612"/>
                <a:gd name="T52" fmla="*/ 2147483647 w 940"/>
                <a:gd name="T53" fmla="*/ 2147483647 h 612"/>
                <a:gd name="T54" fmla="*/ 2147483647 w 940"/>
                <a:gd name="T55" fmla="*/ 2147483647 h 612"/>
                <a:gd name="T56" fmla="*/ 2147483647 w 940"/>
                <a:gd name="T57" fmla="*/ 2147483647 h 612"/>
                <a:gd name="T58" fmla="*/ 2147483647 w 940"/>
                <a:gd name="T59" fmla="*/ 2147483647 h 612"/>
                <a:gd name="T60" fmla="*/ 2147483647 w 940"/>
                <a:gd name="T61" fmla="*/ 2147483647 h 612"/>
                <a:gd name="T62" fmla="*/ 2147483647 w 940"/>
                <a:gd name="T63" fmla="*/ 2147483647 h 612"/>
                <a:gd name="T64" fmla="*/ 2147483647 w 940"/>
                <a:gd name="T65" fmla="*/ 2147483647 h 612"/>
                <a:gd name="T66" fmla="*/ 2147483647 w 940"/>
                <a:gd name="T67" fmla="*/ 2147483647 h 612"/>
                <a:gd name="T68" fmla="*/ 2147483647 w 940"/>
                <a:gd name="T69" fmla="*/ 2147483647 h 612"/>
                <a:gd name="T70" fmla="*/ 2147483647 w 940"/>
                <a:gd name="T71" fmla="*/ 2147483647 h 612"/>
                <a:gd name="T72" fmla="*/ 2147483647 w 940"/>
                <a:gd name="T73" fmla="*/ 2147483647 h 612"/>
                <a:gd name="T74" fmla="*/ 2147483647 w 940"/>
                <a:gd name="T75" fmla="*/ 2147483647 h 612"/>
                <a:gd name="T76" fmla="*/ 2147483647 w 940"/>
                <a:gd name="T77" fmla="*/ 2147483647 h 612"/>
                <a:gd name="T78" fmla="*/ 2147483647 w 940"/>
                <a:gd name="T79" fmla="*/ 2147483647 h 612"/>
                <a:gd name="T80" fmla="*/ 2147483647 w 940"/>
                <a:gd name="T81" fmla="*/ 2147483647 h 612"/>
                <a:gd name="T82" fmla="*/ 2147483647 w 940"/>
                <a:gd name="T83" fmla="*/ 2147483647 h 612"/>
                <a:gd name="T84" fmla="*/ 2147483647 w 940"/>
                <a:gd name="T85" fmla="*/ 2147483647 h 612"/>
                <a:gd name="T86" fmla="*/ 2147483647 w 940"/>
                <a:gd name="T87" fmla="*/ 2147483647 h 612"/>
                <a:gd name="T88" fmla="*/ 2147483647 w 940"/>
                <a:gd name="T89" fmla="*/ 2147483647 h 612"/>
                <a:gd name="T90" fmla="*/ 2147483647 w 940"/>
                <a:gd name="T91" fmla="*/ 2147483647 h 612"/>
                <a:gd name="T92" fmla="*/ 2147483647 w 940"/>
                <a:gd name="T93" fmla="*/ 2147483647 h 612"/>
                <a:gd name="T94" fmla="*/ 2147483647 w 940"/>
                <a:gd name="T95" fmla="*/ 2147483647 h 612"/>
                <a:gd name="T96" fmla="*/ 2147483647 w 940"/>
                <a:gd name="T97" fmla="*/ 2147483647 h 612"/>
                <a:gd name="T98" fmla="*/ 2147483647 w 940"/>
                <a:gd name="T99" fmla="*/ 2147483647 h 612"/>
                <a:gd name="T100" fmla="*/ 2147483647 w 940"/>
                <a:gd name="T101" fmla="*/ 2147483647 h 612"/>
                <a:gd name="T102" fmla="*/ 2147483647 w 940"/>
                <a:gd name="T103" fmla="*/ 2147483647 h 612"/>
                <a:gd name="T104" fmla="*/ 2147483647 w 940"/>
                <a:gd name="T105" fmla="*/ 2147483647 h 612"/>
                <a:gd name="T106" fmla="*/ 2147483647 w 940"/>
                <a:gd name="T107" fmla="*/ 2147483647 h 612"/>
                <a:gd name="T108" fmla="*/ 2147483647 w 940"/>
                <a:gd name="T109" fmla="*/ 2147483647 h 612"/>
                <a:gd name="T110" fmla="*/ 2147483647 w 940"/>
                <a:gd name="T111" fmla="*/ 2147483647 h 612"/>
                <a:gd name="T112" fmla="*/ 2147483647 w 940"/>
                <a:gd name="T113" fmla="*/ 0 h 612"/>
                <a:gd name="T114" fmla="*/ 0 w 940"/>
                <a:gd name="T115" fmla="*/ 0 h 61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940"/>
                <a:gd name="T175" fmla="*/ 0 h 612"/>
                <a:gd name="T176" fmla="*/ 940 w 940"/>
                <a:gd name="T177" fmla="*/ 612 h 61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940" h="612">
                  <a:moveTo>
                    <a:pt x="0" y="51"/>
                  </a:moveTo>
                  <a:lnTo>
                    <a:pt x="0" y="121"/>
                  </a:lnTo>
                  <a:lnTo>
                    <a:pt x="0" y="195"/>
                  </a:lnTo>
                  <a:lnTo>
                    <a:pt x="0" y="260"/>
                  </a:lnTo>
                  <a:lnTo>
                    <a:pt x="0" y="321"/>
                  </a:lnTo>
                  <a:lnTo>
                    <a:pt x="54" y="330"/>
                  </a:lnTo>
                  <a:lnTo>
                    <a:pt x="62" y="325"/>
                  </a:lnTo>
                  <a:lnTo>
                    <a:pt x="56" y="310"/>
                  </a:lnTo>
                  <a:lnTo>
                    <a:pt x="57" y="303"/>
                  </a:lnTo>
                  <a:lnTo>
                    <a:pt x="52" y="287"/>
                  </a:lnTo>
                  <a:lnTo>
                    <a:pt x="56" y="279"/>
                  </a:lnTo>
                  <a:lnTo>
                    <a:pt x="63" y="274"/>
                  </a:lnTo>
                  <a:lnTo>
                    <a:pt x="67" y="268"/>
                  </a:lnTo>
                  <a:lnTo>
                    <a:pt x="72" y="261"/>
                  </a:lnTo>
                  <a:lnTo>
                    <a:pt x="80" y="260"/>
                  </a:lnTo>
                  <a:lnTo>
                    <a:pt x="96" y="260"/>
                  </a:lnTo>
                  <a:lnTo>
                    <a:pt x="105" y="256"/>
                  </a:lnTo>
                  <a:lnTo>
                    <a:pt x="107" y="249"/>
                  </a:lnTo>
                  <a:lnTo>
                    <a:pt x="107" y="241"/>
                  </a:lnTo>
                  <a:lnTo>
                    <a:pt x="115" y="238"/>
                  </a:lnTo>
                  <a:lnTo>
                    <a:pt x="127" y="246"/>
                  </a:lnTo>
                  <a:lnTo>
                    <a:pt x="135" y="249"/>
                  </a:lnTo>
                  <a:lnTo>
                    <a:pt x="132" y="241"/>
                  </a:lnTo>
                  <a:lnTo>
                    <a:pt x="127" y="234"/>
                  </a:lnTo>
                  <a:lnTo>
                    <a:pt x="121" y="229"/>
                  </a:lnTo>
                  <a:lnTo>
                    <a:pt x="128" y="225"/>
                  </a:lnTo>
                  <a:lnTo>
                    <a:pt x="135" y="225"/>
                  </a:lnTo>
                  <a:lnTo>
                    <a:pt x="143" y="220"/>
                  </a:lnTo>
                  <a:lnTo>
                    <a:pt x="144" y="214"/>
                  </a:lnTo>
                  <a:lnTo>
                    <a:pt x="165" y="235"/>
                  </a:lnTo>
                  <a:lnTo>
                    <a:pt x="178" y="244"/>
                  </a:lnTo>
                  <a:lnTo>
                    <a:pt x="183" y="250"/>
                  </a:lnTo>
                  <a:lnTo>
                    <a:pt x="192" y="253"/>
                  </a:lnTo>
                  <a:lnTo>
                    <a:pt x="201" y="251"/>
                  </a:lnTo>
                  <a:lnTo>
                    <a:pt x="216" y="255"/>
                  </a:lnTo>
                  <a:lnTo>
                    <a:pt x="220" y="262"/>
                  </a:lnTo>
                  <a:lnTo>
                    <a:pt x="218" y="269"/>
                  </a:lnTo>
                  <a:lnTo>
                    <a:pt x="219" y="278"/>
                  </a:lnTo>
                  <a:lnTo>
                    <a:pt x="225" y="283"/>
                  </a:lnTo>
                  <a:lnTo>
                    <a:pt x="231" y="287"/>
                  </a:lnTo>
                  <a:lnTo>
                    <a:pt x="224" y="290"/>
                  </a:lnTo>
                  <a:lnTo>
                    <a:pt x="224" y="298"/>
                  </a:lnTo>
                  <a:lnTo>
                    <a:pt x="225" y="306"/>
                  </a:lnTo>
                  <a:lnTo>
                    <a:pt x="223" y="314"/>
                  </a:lnTo>
                  <a:lnTo>
                    <a:pt x="228" y="320"/>
                  </a:lnTo>
                  <a:lnTo>
                    <a:pt x="242" y="328"/>
                  </a:lnTo>
                  <a:lnTo>
                    <a:pt x="259" y="331"/>
                  </a:lnTo>
                  <a:lnTo>
                    <a:pt x="267" y="330"/>
                  </a:lnTo>
                  <a:lnTo>
                    <a:pt x="291" y="335"/>
                  </a:lnTo>
                  <a:lnTo>
                    <a:pt x="299" y="332"/>
                  </a:lnTo>
                  <a:lnTo>
                    <a:pt x="300" y="325"/>
                  </a:lnTo>
                  <a:lnTo>
                    <a:pt x="306" y="321"/>
                  </a:lnTo>
                  <a:lnTo>
                    <a:pt x="314" y="326"/>
                  </a:lnTo>
                  <a:lnTo>
                    <a:pt x="326" y="337"/>
                  </a:lnTo>
                  <a:lnTo>
                    <a:pt x="331" y="343"/>
                  </a:lnTo>
                  <a:lnTo>
                    <a:pt x="333" y="351"/>
                  </a:lnTo>
                  <a:lnTo>
                    <a:pt x="334" y="366"/>
                  </a:lnTo>
                  <a:lnTo>
                    <a:pt x="338" y="374"/>
                  </a:lnTo>
                  <a:lnTo>
                    <a:pt x="345" y="378"/>
                  </a:lnTo>
                  <a:lnTo>
                    <a:pt x="350" y="384"/>
                  </a:lnTo>
                  <a:lnTo>
                    <a:pt x="355" y="400"/>
                  </a:lnTo>
                  <a:lnTo>
                    <a:pt x="354" y="408"/>
                  </a:lnTo>
                  <a:lnTo>
                    <a:pt x="360" y="423"/>
                  </a:lnTo>
                  <a:lnTo>
                    <a:pt x="365" y="429"/>
                  </a:lnTo>
                  <a:lnTo>
                    <a:pt x="416" y="459"/>
                  </a:lnTo>
                  <a:lnTo>
                    <a:pt x="436" y="483"/>
                  </a:lnTo>
                  <a:lnTo>
                    <a:pt x="443" y="488"/>
                  </a:lnTo>
                  <a:lnTo>
                    <a:pt x="460" y="489"/>
                  </a:lnTo>
                  <a:lnTo>
                    <a:pt x="473" y="498"/>
                  </a:lnTo>
                  <a:lnTo>
                    <a:pt x="493" y="513"/>
                  </a:lnTo>
                  <a:lnTo>
                    <a:pt x="515" y="536"/>
                  </a:lnTo>
                  <a:lnTo>
                    <a:pt x="521" y="542"/>
                  </a:lnTo>
                  <a:lnTo>
                    <a:pt x="530" y="543"/>
                  </a:lnTo>
                  <a:lnTo>
                    <a:pt x="536" y="538"/>
                  </a:lnTo>
                  <a:lnTo>
                    <a:pt x="544" y="537"/>
                  </a:lnTo>
                  <a:lnTo>
                    <a:pt x="567" y="547"/>
                  </a:lnTo>
                  <a:lnTo>
                    <a:pt x="572" y="553"/>
                  </a:lnTo>
                  <a:lnTo>
                    <a:pt x="579" y="557"/>
                  </a:lnTo>
                  <a:lnTo>
                    <a:pt x="585" y="562"/>
                  </a:lnTo>
                  <a:lnTo>
                    <a:pt x="581" y="569"/>
                  </a:lnTo>
                  <a:lnTo>
                    <a:pt x="578" y="577"/>
                  </a:lnTo>
                  <a:lnTo>
                    <a:pt x="578" y="592"/>
                  </a:lnTo>
                  <a:lnTo>
                    <a:pt x="579" y="601"/>
                  </a:lnTo>
                  <a:lnTo>
                    <a:pt x="578" y="606"/>
                  </a:lnTo>
                  <a:lnTo>
                    <a:pt x="607" y="605"/>
                  </a:lnTo>
                  <a:lnTo>
                    <a:pt x="615" y="607"/>
                  </a:lnTo>
                  <a:lnTo>
                    <a:pt x="621" y="612"/>
                  </a:lnTo>
                  <a:lnTo>
                    <a:pt x="630" y="610"/>
                  </a:lnTo>
                  <a:lnTo>
                    <a:pt x="643" y="611"/>
                  </a:lnTo>
                  <a:lnTo>
                    <a:pt x="648" y="608"/>
                  </a:lnTo>
                  <a:lnTo>
                    <a:pt x="648" y="601"/>
                  </a:lnTo>
                  <a:lnTo>
                    <a:pt x="646" y="595"/>
                  </a:lnTo>
                  <a:lnTo>
                    <a:pt x="653" y="581"/>
                  </a:lnTo>
                  <a:lnTo>
                    <a:pt x="661" y="570"/>
                  </a:lnTo>
                  <a:lnTo>
                    <a:pt x="664" y="564"/>
                  </a:lnTo>
                  <a:lnTo>
                    <a:pt x="671" y="559"/>
                  </a:lnTo>
                  <a:lnTo>
                    <a:pt x="676" y="554"/>
                  </a:lnTo>
                  <a:lnTo>
                    <a:pt x="678" y="547"/>
                  </a:lnTo>
                  <a:lnTo>
                    <a:pt x="677" y="541"/>
                  </a:lnTo>
                  <a:lnTo>
                    <a:pt x="670" y="536"/>
                  </a:lnTo>
                  <a:lnTo>
                    <a:pt x="665" y="529"/>
                  </a:lnTo>
                  <a:lnTo>
                    <a:pt x="661" y="513"/>
                  </a:lnTo>
                  <a:lnTo>
                    <a:pt x="665" y="507"/>
                  </a:lnTo>
                  <a:lnTo>
                    <a:pt x="666" y="498"/>
                  </a:lnTo>
                  <a:lnTo>
                    <a:pt x="664" y="491"/>
                  </a:lnTo>
                  <a:lnTo>
                    <a:pt x="658" y="486"/>
                  </a:lnTo>
                  <a:lnTo>
                    <a:pt x="649" y="487"/>
                  </a:lnTo>
                  <a:lnTo>
                    <a:pt x="640" y="486"/>
                  </a:lnTo>
                  <a:lnTo>
                    <a:pt x="638" y="478"/>
                  </a:lnTo>
                  <a:lnTo>
                    <a:pt x="630" y="473"/>
                  </a:lnTo>
                  <a:lnTo>
                    <a:pt x="624" y="467"/>
                  </a:lnTo>
                  <a:lnTo>
                    <a:pt x="632" y="462"/>
                  </a:lnTo>
                  <a:lnTo>
                    <a:pt x="630" y="454"/>
                  </a:lnTo>
                  <a:lnTo>
                    <a:pt x="634" y="448"/>
                  </a:lnTo>
                  <a:lnTo>
                    <a:pt x="642" y="444"/>
                  </a:lnTo>
                  <a:lnTo>
                    <a:pt x="650" y="443"/>
                  </a:lnTo>
                  <a:lnTo>
                    <a:pt x="656" y="449"/>
                  </a:lnTo>
                  <a:lnTo>
                    <a:pt x="664" y="450"/>
                  </a:lnTo>
                  <a:lnTo>
                    <a:pt x="680" y="449"/>
                  </a:lnTo>
                  <a:lnTo>
                    <a:pt x="687" y="446"/>
                  </a:lnTo>
                  <a:lnTo>
                    <a:pt x="699" y="424"/>
                  </a:lnTo>
                  <a:lnTo>
                    <a:pt x="699" y="417"/>
                  </a:lnTo>
                  <a:lnTo>
                    <a:pt x="707" y="412"/>
                  </a:lnTo>
                  <a:lnTo>
                    <a:pt x="723" y="409"/>
                  </a:lnTo>
                  <a:lnTo>
                    <a:pt x="729" y="405"/>
                  </a:lnTo>
                  <a:lnTo>
                    <a:pt x="731" y="397"/>
                  </a:lnTo>
                  <a:lnTo>
                    <a:pt x="731" y="389"/>
                  </a:lnTo>
                  <a:lnTo>
                    <a:pt x="726" y="382"/>
                  </a:lnTo>
                  <a:lnTo>
                    <a:pt x="732" y="378"/>
                  </a:lnTo>
                  <a:lnTo>
                    <a:pt x="734" y="369"/>
                  </a:lnTo>
                  <a:lnTo>
                    <a:pt x="741" y="365"/>
                  </a:lnTo>
                  <a:lnTo>
                    <a:pt x="747" y="370"/>
                  </a:lnTo>
                  <a:lnTo>
                    <a:pt x="756" y="369"/>
                  </a:lnTo>
                  <a:lnTo>
                    <a:pt x="769" y="362"/>
                  </a:lnTo>
                  <a:lnTo>
                    <a:pt x="784" y="354"/>
                  </a:lnTo>
                  <a:lnTo>
                    <a:pt x="788" y="347"/>
                  </a:lnTo>
                  <a:lnTo>
                    <a:pt x="794" y="342"/>
                  </a:lnTo>
                  <a:lnTo>
                    <a:pt x="801" y="342"/>
                  </a:lnTo>
                  <a:lnTo>
                    <a:pt x="802" y="351"/>
                  </a:lnTo>
                  <a:lnTo>
                    <a:pt x="807" y="357"/>
                  </a:lnTo>
                  <a:lnTo>
                    <a:pt x="809" y="364"/>
                  </a:lnTo>
                  <a:lnTo>
                    <a:pt x="805" y="371"/>
                  </a:lnTo>
                  <a:lnTo>
                    <a:pt x="798" y="375"/>
                  </a:lnTo>
                  <a:lnTo>
                    <a:pt x="791" y="380"/>
                  </a:lnTo>
                  <a:lnTo>
                    <a:pt x="796" y="396"/>
                  </a:lnTo>
                  <a:lnTo>
                    <a:pt x="800" y="403"/>
                  </a:lnTo>
                  <a:lnTo>
                    <a:pt x="809" y="402"/>
                  </a:lnTo>
                  <a:lnTo>
                    <a:pt x="816" y="398"/>
                  </a:lnTo>
                  <a:lnTo>
                    <a:pt x="820" y="398"/>
                  </a:lnTo>
                  <a:lnTo>
                    <a:pt x="832" y="397"/>
                  </a:lnTo>
                  <a:lnTo>
                    <a:pt x="839" y="398"/>
                  </a:lnTo>
                  <a:lnTo>
                    <a:pt x="855" y="403"/>
                  </a:lnTo>
                  <a:lnTo>
                    <a:pt x="871" y="401"/>
                  </a:lnTo>
                  <a:lnTo>
                    <a:pt x="877" y="396"/>
                  </a:lnTo>
                  <a:lnTo>
                    <a:pt x="881" y="389"/>
                  </a:lnTo>
                  <a:lnTo>
                    <a:pt x="888" y="385"/>
                  </a:lnTo>
                  <a:lnTo>
                    <a:pt x="896" y="385"/>
                  </a:lnTo>
                  <a:lnTo>
                    <a:pt x="901" y="379"/>
                  </a:lnTo>
                  <a:lnTo>
                    <a:pt x="909" y="381"/>
                  </a:lnTo>
                  <a:lnTo>
                    <a:pt x="915" y="378"/>
                  </a:lnTo>
                  <a:lnTo>
                    <a:pt x="919" y="369"/>
                  </a:lnTo>
                  <a:lnTo>
                    <a:pt x="935" y="365"/>
                  </a:lnTo>
                  <a:lnTo>
                    <a:pt x="940" y="358"/>
                  </a:lnTo>
                  <a:lnTo>
                    <a:pt x="933" y="354"/>
                  </a:lnTo>
                  <a:lnTo>
                    <a:pt x="925" y="357"/>
                  </a:lnTo>
                  <a:lnTo>
                    <a:pt x="909" y="352"/>
                  </a:lnTo>
                  <a:lnTo>
                    <a:pt x="898" y="342"/>
                  </a:lnTo>
                  <a:lnTo>
                    <a:pt x="890" y="342"/>
                  </a:lnTo>
                  <a:lnTo>
                    <a:pt x="884" y="337"/>
                  </a:lnTo>
                  <a:lnTo>
                    <a:pt x="870" y="328"/>
                  </a:lnTo>
                  <a:lnTo>
                    <a:pt x="870" y="320"/>
                  </a:lnTo>
                  <a:lnTo>
                    <a:pt x="865" y="314"/>
                  </a:lnTo>
                  <a:lnTo>
                    <a:pt x="858" y="310"/>
                  </a:lnTo>
                  <a:lnTo>
                    <a:pt x="853" y="325"/>
                  </a:lnTo>
                  <a:lnTo>
                    <a:pt x="845" y="330"/>
                  </a:lnTo>
                  <a:lnTo>
                    <a:pt x="843" y="337"/>
                  </a:lnTo>
                  <a:lnTo>
                    <a:pt x="836" y="337"/>
                  </a:lnTo>
                  <a:lnTo>
                    <a:pt x="812" y="327"/>
                  </a:lnTo>
                  <a:lnTo>
                    <a:pt x="804" y="314"/>
                  </a:lnTo>
                  <a:lnTo>
                    <a:pt x="796" y="317"/>
                  </a:lnTo>
                  <a:lnTo>
                    <a:pt x="790" y="312"/>
                  </a:lnTo>
                  <a:lnTo>
                    <a:pt x="782" y="310"/>
                  </a:lnTo>
                  <a:lnTo>
                    <a:pt x="783" y="301"/>
                  </a:lnTo>
                  <a:lnTo>
                    <a:pt x="798" y="292"/>
                  </a:lnTo>
                  <a:lnTo>
                    <a:pt x="810" y="280"/>
                  </a:lnTo>
                  <a:lnTo>
                    <a:pt x="820" y="268"/>
                  </a:lnTo>
                  <a:lnTo>
                    <a:pt x="834" y="262"/>
                  </a:lnTo>
                  <a:lnTo>
                    <a:pt x="833" y="253"/>
                  </a:lnTo>
                  <a:lnTo>
                    <a:pt x="816" y="249"/>
                  </a:lnTo>
                  <a:lnTo>
                    <a:pt x="814" y="256"/>
                  </a:lnTo>
                  <a:lnTo>
                    <a:pt x="802" y="268"/>
                  </a:lnTo>
                  <a:lnTo>
                    <a:pt x="795" y="271"/>
                  </a:lnTo>
                  <a:lnTo>
                    <a:pt x="788" y="268"/>
                  </a:lnTo>
                  <a:lnTo>
                    <a:pt x="782" y="283"/>
                  </a:lnTo>
                  <a:lnTo>
                    <a:pt x="775" y="288"/>
                  </a:lnTo>
                  <a:lnTo>
                    <a:pt x="753" y="298"/>
                  </a:lnTo>
                  <a:lnTo>
                    <a:pt x="739" y="306"/>
                  </a:lnTo>
                  <a:lnTo>
                    <a:pt x="734" y="312"/>
                  </a:lnTo>
                  <a:lnTo>
                    <a:pt x="726" y="315"/>
                  </a:lnTo>
                  <a:lnTo>
                    <a:pt x="719" y="320"/>
                  </a:lnTo>
                  <a:lnTo>
                    <a:pt x="715" y="327"/>
                  </a:lnTo>
                  <a:lnTo>
                    <a:pt x="713" y="335"/>
                  </a:lnTo>
                  <a:lnTo>
                    <a:pt x="707" y="339"/>
                  </a:lnTo>
                  <a:lnTo>
                    <a:pt x="699" y="343"/>
                  </a:lnTo>
                  <a:lnTo>
                    <a:pt x="691" y="342"/>
                  </a:lnTo>
                  <a:lnTo>
                    <a:pt x="676" y="335"/>
                  </a:lnTo>
                  <a:lnTo>
                    <a:pt x="667" y="333"/>
                  </a:lnTo>
                  <a:lnTo>
                    <a:pt x="654" y="325"/>
                  </a:lnTo>
                  <a:lnTo>
                    <a:pt x="597" y="331"/>
                  </a:lnTo>
                  <a:lnTo>
                    <a:pt x="587" y="285"/>
                  </a:lnTo>
                  <a:lnTo>
                    <a:pt x="554" y="279"/>
                  </a:lnTo>
                  <a:lnTo>
                    <a:pt x="553" y="266"/>
                  </a:lnTo>
                  <a:lnTo>
                    <a:pt x="554" y="250"/>
                  </a:lnTo>
                  <a:lnTo>
                    <a:pt x="562" y="249"/>
                  </a:lnTo>
                  <a:lnTo>
                    <a:pt x="560" y="206"/>
                  </a:lnTo>
                  <a:lnTo>
                    <a:pt x="547" y="207"/>
                  </a:lnTo>
                  <a:lnTo>
                    <a:pt x="530" y="174"/>
                  </a:lnTo>
                  <a:lnTo>
                    <a:pt x="517" y="164"/>
                  </a:lnTo>
                  <a:lnTo>
                    <a:pt x="510" y="160"/>
                  </a:lnTo>
                  <a:lnTo>
                    <a:pt x="498" y="150"/>
                  </a:lnTo>
                  <a:lnTo>
                    <a:pt x="492" y="144"/>
                  </a:lnTo>
                  <a:lnTo>
                    <a:pt x="478" y="150"/>
                  </a:lnTo>
                  <a:lnTo>
                    <a:pt x="402" y="149"/>
                  </a:lnTo>
                  <a:lnTo>
                    <a:pt x="331" y="161"/>
                  </a:lnTo>
                  <a:lnTo>
                    <a:pt x="304" y="133"/>
                  </a:lnTo>
                  <a:lnTo>
                    <a:pt x="259" y="85"/>
                  </a:lnTo>
                  <a:lnTo>
                    <a:pt x="224" y="52"/>
                  </a:lnTo>
                  <a:lnTo>
                    <a:pt x="210" y="42"/>
                  </a:lnTo>
                  <a:lnTo>
                    <a:pt x="191" y="26"/>
                  </a:lnTo>
                  <a:lnTo>
                    <a:pt x="171" y="13"/>
                  </a:lnTo>
                  <a:lnTo>
                    <a:pt x="142" y="0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59" name="Freeform 164">
              <a:extLst>
                <a:ext uri="{FF2B5EF4-FFF2-40B4-BE49-F238E27FC236}">
                  <a16:creationId xmlns:a16="http://schemas.microsoft.com/office/drawing/2014/main" id="{A0EB90ED-5395-E03B-E366-444570BB693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305808" y="2865554"/>
              <a:ext cx="416364" cy="307892"/>
            </a:xfrm>
            <a:custGeom>
              <a:avLst/>
              <a:gdLst>
                <a:gd name="T0" fmla="*/ 2147483647 w 778"/>
                <a:gd name="T1" fmla="*/ 2147483647 h 536"/>
                <a:gd name="T2" fmla="*/ 2147483647 w 778"/>
                <a:gd name="T3" fmla="*/ 0 h 536"/>
                <a:gd name="T4" fmla="*/ 2147483647 w 778"/>
                <a:gd name="T5" fmla="*/ 0 h 536"/>
                <a:gd name="T6" fmla="*/ 2147483647 w 778"/>
                <a:gd name="T7" fmla="*/ 0 h 536"/>
                <a:gd name="T8" fmla="*/ 2147483647 w 778"/>
                <a:gd name="T9" fmla="*/ 0 h 536"/>
                <a:gd name="T10" fmla="*/ 2147483647 w 778"/>
                <a:gd name="T11" fmla="*/ 0 h 536"/>
                <a:gd name="T12" fmla="*/ 2147483647 w 778"/>
                <a:gd name="T13" fmla="*/ 0 h 536"/>
                <a:gd name="T14" fmla="*/ 2147483647 w 778"/>
                <a:gd name="T15" fmla="*/ 0 h 536"/>
                <a:gd name="T16" fmla="*/ 2147483647 w 778"/>
                <a:gd name="T17" fmla="*/ 0 h 536"/>
                <a:gd name="T18" fmla="*/ 2147483647 w 778"/>
                <a:gd name="T19" fmla="*/ 2147483647 h 536"/>
                <a:gd name="T20" fmla="*/ 2147483647 w 778"/>
                <a:gd name="T21" fmla="*/ 2147483647 h 536"/>
                <a:gd name="T22" fmla="*/ 2147483647 w 778"/>
                <a:gd name="T23" fmla="*/ 2147483647 h 536"/>
                <a:gd name="T24" fmla="*/ 2147483647 w 778"/>
                <a:gd name="T25" fmla="*/ 2147483647 h 536"/>
                <a:gd name="T26" fmla="*/ 2147483647 w 778"/>
                <a:gd name="T27" fmla="*/ 2147483647 h 536"/>
                <a:gd name="T28" fmla="*/ 2147483647 w 778"/>
                <a:gd name="T29" fmla="*/ 2147483647 h 536"/>
                <a:gd name="T30" fmla="*/ 2147483647 w 778"/>
                <a:gd name="T31" fmla="*/ 2147483647 h 536"/>
                <a:gd name="T32" fmla="*/ 2147483647 w 778"/>
                <a:gd name="T33" fmla="*/ 2147483647 h 536"/>
                <a:gd name="T34" fmla="*/ 2147483647 w 778"/>
                <a:gd name="T35" fmla="*/ 2147483647 h 536"/>
                <a:gd name="T36" fmla="*/ 2147483647 w 778"/>
                <a:gd name="T37" fmla="*/ 2147483647 h 536"/>
                <a:gd name="T38" fmla="*/ 2147483647 w 778"/>
                <a:gd name="T39" fmla="*/ 2147483647 h 536"/>
                <a:gd name="T40" fmla="*/ 2147483647 w 778"/>
                <a:gd name="T41" fmla="*/ 2147483647 h 536"/>
                <a:gd name="T42" fmla="*/ 2147483647 w 778"/>
                <a:gd name="T43" fmla="*/ 2147483647 h 536"/>
                <a:gd name="T44" fmla="*/ 2147483647 w 778"/>
                <a:gd name="T45" fmla="*/ 2147483647 h 536"/>
                <a:gd name="T46" fmla="*/ 2147483647 w 778"/>
                <a:gd name="T47" fmla="*/ 2147483647 h 536"/>
                <a:gd name="T48" fmla="*/ 2147483647 w 778"/>
                <a:gd name="T49" fmla="*/ 2147483647 h 536"/>
                <a:gd name="T50" fmla="*/ 2147483647 w 778"/>
                <a:gd name="T51" fmla="*/ 2147483647 h 536"/>
                <a:gd name="T52" fmla="*/ 2147483647 w 778"/>
                <a:gd name="T53" fmla="*/ 2147483647 h 536"/>
                <a:gd name="T54" fmla="*/ 2147483647 w 778"/>
                <a:gd name="T55" fmla="*/ 2147483647 h 536"/>
                <a:gd name="T56" fmla="*/ 2147483647 w 778"/>
                <a:gd name="T57" fmla="*/ 2147483647 h 536"/>
                <a:gd name="T58" fmla="*/ 2147483647 w 778"/>
                <a:gd name="T59" fmla="*/ 2147483647 h 536"/>
                <a:gd name="T60" fmla="*/ 2147483647 w 778"/>
                <a:gd name="T61" fmla="*/ 2147483647 h 536"/>
                <a:gd name="T62" fmla="*/ 2147483647 w 778"/>
                <a:gd name="T63" fmla="*/ 2147483647 h 536"/>
                <a:gd name="T64" fmla="*/ 2147483647 w 778"/>
                <a:gd name="T65" fmla="*/ 2147483647 h 536"/>
                <a:gd name="T66" fmla="*/ 2147483647 w 778"/>
                <a:gd name="T67" fmla="*/ 2147483647 h 536"/>
                <a:gd name="T68" fmla="*/ 2147483647 w 778"/>
                <a:gd name="T69" fmla="*/ 2147483647 h 536"/>
                <a:gd name="T70" fmla="*/ 2147483647 w 778"/>
                <a:gd name="T71" fmla="*/ 2147483647 h 536"/>
                <a:gd name="T72" fmla="*/ 2147483647 w 778"/>
                <a:gd name="T73" fmla="*/ 2147483647 h 536"/>
                <a:gd name="T74" fmla="*/ 2147483647 w 778"/>
                <a:gd name="T75" fmla="*/ 2147483647 h 536"/>
                <a:gd name="T76" fmla="*/ 2147483647 w 778"/>
                <a:gd name="T77" fmla="*/ 2147483647 h 536"/>
                <a:gd name="T78" fmla="*/ 2147483647 w 778"/>
                <a:gd name="T79" fmla="*/ 2147483647 h 536"/>
                <a:gd name="T80" fmla="*/ 2147483647 w 778"/>
                <a:gd name="T81" fmla="*/ 2147483647 h 536"/>
                <a:gd name="T82" fmla="*/ 2147483647 w 778"/>
                <a:gd name="T83" fmla="*/ 2147483647 h 536"/>
                <a:gd name="T84" fmla="*/ 2147483647 w 778"/>
                <a:gd name="T85" fmla="*/ 2147483647 h 536"/>
                <a:gd name="T86" fmla="*/ 2147483647 w 778"/>
                <a:gd name="T87" fmla="*/ 2147483647 h 536"/>
                <a:gd name="T88" fmla="*/ 0 w 778"/>
                <a:gd name="T89" fmla="*/ 2147483647 h 536"/>
                <a:gd name="T90" fmla="*/ 0 w 778"/>
                <a:gd name="T91" fmla="*/ 2147483647 h 536"/>
                <a:gd name="T92" fmla="*/ 0 w 778"/>
                <a:gd name="T93" fmla="*/ 2147483647 h 536"/>
                <a:gd name="T94" fmla="*/ 2147483647 w 778"/>
                <a:gd name="T95" fmla="*/ 2147483647 h 536"/>
                <a:gd name="T96" fmla="*/ 2147483647 w 778"/>
                <a:gd name="T97" fmla="*/ 2147483647 h 536"/>
                <a:gd name="T98" fmla="*/ 2147483647 w 778"/>
                <a:gd name="T99" fmla="*/ 2147483647 h 536"/>
                <a:gd name="T100" fmla="*/ 2147483647 w 778"/>
                <a:gd name="T101" fmla="*/ 0 h 536"/>
                <a:gd name="T102" fmla="*/ 0 w 778"/>
                <a:gd name="T103" fmla="*/ 2147483647 h 536"/>
                <a:gd name="T104" fmla="*/ 0 w 778"/>
                <a:gd name="T105" fmla="*/ 2147483647 h 536"/>
                <a:gd name="T106" fmla="*/ 2147483647 w 778"/>
                <a:gd name="T107" fmla="*/ 0 h 536"/>
                <a:gd name="T108" fmla="*/ 2147483647 w 778"/>
                <a:gd name="T109" fmla="*/ 0 h 536"/>
                <a:gd name="T110" fmla="*/ 2147483647 w 778"/>
                <a:gd name="T111" fmla="*/ 0 h 536"/>
                <a:gd name="T112" fmla="*/ 2147483647 w 778"/>
                <a:gd name="T113" fmla="*/ 2147483647 h 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78"/>
                <a:gd name="T172" fmla="*/ 0 h 536"/>
                <a:gd name="T173" fmla="*/ 778 w 778"/>
                <a:gd name="T174" fmla="*/ 536 h 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78" h="536">
                  <a:moveTo>
                    <a:pt x="193" y="107"/>
                  </a:moveTo>
                  <a:lnTo>
                    <a:pt x="247" y="116"/>
                  </a:lnTo>
                  <a:lnTo>
                    <a:pt x="255" y="111"/>
                  </a:lnTo>
                  <a:lnTo>
                    <a:pt x="249" y="96"/>
                  </a:lnTo>
                  <a:lnTo>
                    <a:pt x="250" y="89"/>
                  </a:lnTo>
                  <a:lnTo>
                    <a:pt x="245" y="73"/>
                  </a:lnTo>
                  <a:lnTo>
                    <a:pt x="249" y="65"/>
                  </a:lnTo>
                  <a:lnTo>
                    <a:pt x="256" y="60"/>
                  </a:lnTo>
                  <a:lnTo>
                    <a:pt x="260" y="54"/>
                  </a:lnTo>
                  <a:lnTo>
                    <a:pt x="265" y="47"/>
                  </a:lnTo>
                  <a:lnTo>
                    <a:pt x="273" y="46"/>
                  </a:lnTo>
                  <a:lnTo>
                    <a:pt x="289" y="46"/>
                  </a:lnTo>
                  <a:lnTo>
                    <a:pt x="298" y="42"/>
                  </a:lnTo>
                  <a:lnTo>
                    <a:pt x="300" y="35"/>
                  </a:lnTo>
                  <a:lnTo>
                    <a:pt x="300" y="27"/>
                  </a:lnTo>
                  <a:lnTo>
                    <a:pt x="308" y="24"/>
                  </a:lnTo>
                  <a:lnTo>
                    <a:pt x="320" y="32"/>
                  </a:lnTo>
                  <a:lnTo>
                    <a:pt x="328" y="35"/>
                  </a:lnTo>
                  <a:lnTo>
                    <a:pt x="325" y="27"/>
                  </a:lnTo>
                  <a:lnTo>
                    <a:pt x="320" y="20"/>
                  </a:lnTo>
                  <a:lnTo>
                    <a:pt x="314" y="15"/>
                  </a:lnTo>
                  <a:lnTo>
                    <a:pt x="321" y="11"/>
                  </a:lnTo>
                  <a:lnTo>
                    <a:pt x="328" y="11"/>
                  </a:lnTo>
                  <a:lnTo>
                    <a:pt x="336" y="6"/>
                  </a:lnTo>
                  <a:lnTo>
                    <a:pt x="337" y="0"/>
                  </a:lnTo>
                  <a:lnTo>
                    <a:pt x="358" y="21"/>
                  </a:lnTo>
                  <a:lnTo>
                    <a:pt x="371" y="30"/>
                  </a:lnTo>
                  <a:lnTo>
                    <a:pt x="376" y="36"/>
                  </a:lnTo>
                  <a:lnTo>
                    <a:pt x="385" y="39"/>
                  </a:lnTo>
                  <a:lnTo>
                    <a:pt x="394" y="37"/>
                  </a:lnTo>
                  <a:lnTo>
                    <a:pt x="409" y="41"/>
                  </a:lnTo>
                  <a:lnTo>
                    <a:pt x="413" y="48"/>
                  </a:lnTo>
                  <a:lnTo>
                    <a:pt x="411" y="55"/>
                  </a:lnTo>
                  <a:lnTo>
                    <a:pt x="412" y="64"/>
                  </a:lnTo>
                  <a:lnTo>
                    <a:pt x="418" y="69"/>
                  </a:lnTo>
                  <a:lnTo>
                    <a:pt x="424" y="73"/>
                  </a:lnTo>
                  <a:lnTo>
                    <a:pt x="417" y="76"/>
                  </a:lnTo>
                  <a:lnTo>
                    <a:pt x="417" y="84"/>
                  </a:lnTo>
                  <a:lnTo>
                    <a:pt x="418" y="92"/>
                  </a:lnTo>
                  <a:lnTo>
                    <a:pt x="416" y="100"/>
                  </a:lnTo>
                  <a:lnTo>
                    <a:pt x="421" y="106"/>
                  </a:lnTo>
                  <a:lnTo>
                    <a:pt x="435" y="114"/>
                  </a:lnTo>
                  <a:lnTo>
                    <a:pt x="452" y="117"/>
                  </a:lnTo>
                  <a:lnTo>
                    <a:pt x="460" y="116"/>
                  </a:lnTo>
                  <a:lnTo>
                    <a:pt x="484" y="121"/>
                  </a:lnTo>
                  <a:lnTo>
                    <a:pt x="492" y="118"/>
                  </a:lnTo>
                  <a:lnTo>
                    <a:pt x="493" y="111"/>
                  </a:lnTo>
                  <a:lnTo>
                    <a:pt x="499" y="107"/>
                  </a:lnTo>
                  <a:lnTo>
                    <a:pt x="507" y="112"/>
                  </a:lnTo>
                  <a:lnTo>
                    <a:pt x="519" y="123"/>
                  </a:lnTo>
                  <a:lnTo>
                    <a:pt x="524" y="129"/>
                  </a:lnTo>
                  <a:lnTo>
                    <a:pt x="526" y="137"/>
                  </a:lnTo>
                  <a:lnTo>
                    <a:pt x="527" y="152"/>
                  </a:lnTo>
                  <a:lnTo>
                    <a:pt x="531" y="160"/>
                  </a:lnTo>
                  <a:lnTo>
                    <a:pt x="538" y="164"/>
                  </a:lnTo>
                  <a:lnTo>
                    <a:pt x="543" y="170"/>
                  </a:lnTo>
                  <a:lnTo>
                    <a:pt x="548" y="186"/>
                  </a:lnTo>
                  <a:lnTo>
                    <a:pt x="547" y="194"/>
                  </a:lnTo>
                  <a:lnTo>
                    <a:pt x="553" y="209"/>
                  </a:lnTo>
                  <a:lnTo>
                    <a:pt x="558" y="215"/>
                  </a:lnTo>
                  <a:lnTo>
                    <a:pt x="609" y="245"/>
                  </a:lnTo>
                  <a:lnTo>
                    <a:pt x="629" y="269"/>
                  </a:lnTo>
                  <a:lnTo>
                    <a:pt x="636" y="274"/>
                  </a:lnTo>
                  <a:lnTo>
                    <a:pt x="653" y="275"/>
                  </a:lnTo>
                  <a:lnTo>
                    <a:pt x="666" y="284"/>
                  </a:lnTo>
                  <a:lnTo>
                    <a:pt x="686" y="299"/>
                  </a:lnTo>
                  <a:lnTo>
                    <a:pt x="708" y="322"/>
                  </a:lnTo>
                  <a:lnTo>
                    <a:pt x="714" y="328"/>
                  </a:lnTo>
                  <a:lnTo>
                    <a:pt x="723" y="329"/>
                  </a:lnTo>
                  <a:lnTo>
                    <a:pt x="729" y="324"/>
                  </a:lnTo>
                  <a:lnTo>
                    <a:pt x="737" y="323"/>
                  </a:lnTo>
                  <a:lnTo>
                    <a:pt x="760" y="333"/>
                  </a:lnTo>
                  <a:lnTo>
                    <a:pt x="765" y="339"/>
                  </a:lnTo>
                  <a:lnTo>
                    <a:pt x="772" y="343"/>
                  </a:lnTo>
                  <a:lnTo>
                    <a:pt x="778" y="348"/>
                  </a:lnTo>
                  <a:lnTo>
                    <a:pt x="774" y="355"/>
                  </a:lnTo>
                  <a:lnTo>
                    <a:pt x="771" y="363"/>
                  </a:lnTo>
                  <a:lnTo>
                    <a:pt x="771" y="378"/>
                  </a:lnTo>
                  <a:lnTo>
                    <a:pt x="772" y="387"/>
                  </a:lnTo>
                  <a:lnTo>
                    <a:pt x="771" y="392"/>
                  </a:lnTo>
                  <a:lnTo>
                    <a:pt x="756" y="392"/>
                  </a:lnTo>
                  <a:lnTo>
                    <a:pt x="746" y="388"/>
                  </a:lnTo>
                  <a:lnTo>
                    <a:pt x="733" y="380"/>
                  </a:lnTo>
                  <a:lnTo>
                    <a:pt x="728" y="380"/>
                  </a:lnTo>
                  <a:lnTo>
                    <a:pt x="723" y="380"/>
                  </a:lnTo>
                  <a:lnTo>
                    <a:pt x="720" y="383"/>
                  </a:lnTo>
                  <a:lnTo>
                    <a:pt x="719" y="391"/>
                  </a:lnTo>
                  <a:lnTo>
                    <a:pt x="717" y="397"/>
                  </a:lnTo>
                  <a:lnTo>
                    <a:pt x="714" y="398"/>
                  </a:lnTo>
                  <a:lnTo>
                    <a:pt x="699" y="398"/>
                  </a:lnTo>
                  <a:lnTo>
                    <a:pt x="693" y="397"/>
                  </a:lnTo>
                  <a:lnTo>
                    <a:pt x="685" y="398"/>
                  </a:lnTo>
                  <a:lnTo>
                    <a:pt x="680" y="404"/>
                  </a:lnTo>
                  <a:lnTo>
                    <a:pt x="676" y="408"/>
                  </a:lnTo>
                  <a:lnTo>
                    <a:pt x="675" y="410"/>
                  </a:lnTo>
                  <a:lnTo>
                    <a:pt x="675" y="417"/>
                  </a:lnTo>
                  <a:lnTo>
                    <a:pt x="669" y="434"/>
                  </a:lnTo>
                  <a:lnTo>
                    <a:pt x="666" y="437"/>
                  </a:lnTo>
                  <a:lnTo>
                    <a:pt x="664" y="450"/>
                  </a:lnTo>
                  <a:lnTo>
                    <a:pt x="664" y="457"/>
                  </a:lnTo>
                  <a:lnTo>
                    <a:pt x="663" y="462"/>
                  </a:lnTo>
                  <a:lnTo>
                    <a:pt x="648" y="472"/>
                  </a:lnTo>
                  <a:lnTo>
                    <a:pt x="640" y="473"/>
                  </a:lnTo>
                  <a:lnTo>
                    <a:pt x="634" y="479"/>
                  </a:lnTo>
                  <a:lnTo>
                    <a:pt x="626" y="483"/>
                  </a:lnTo>
                  <a:lnTo>
                    <a:pt x="618" y="488"/>
                  </a:lnTo>
                  <a:lnTo>
                    <a:pt x="601" y="491"/>
                  </a:lnTo>
                  <a:lnTo>
                    <a:pt x="594" y="494"/>
                  </a:lnTo>
                  <a:lnTo>
                    <a:pt x="586" y="493"/>
                  </a:lnTo>
                  <a:lnTo>
                    <a:pt x="586" y="499"/>
                  </a:lnTo>
                  <a:lnTo>
                    <a:pt x="593" y="504"/>
                  </a:lnTo>
                  <a:lnTo>
                    <a:pt x="589" y="509"/>
                  </a:lnTo>
                  <a:lnTo>
                    <a:pt x="585" y="510"/>
                  </a:lnTo>
                  <a:lnTo>
                    <a:pt x="583" y="522"/>
                  </a:lnTo>
                  <a:lnTo>
                    <a:pt x="579" y="525"/>
                  </a:lnTo>
                  <a:lnTo>
                    <a:pt x="570" y="528"/>
                  </a:lnTo>
                  <a:lnTo>
                    <a:pt x="564" y="534"/>
                  </a:lnTo>
                  <a:lnTo>
                    <a:pt x="551" y="534"/>
                  </a:lnTo>
                  <a:lnTo>
                    <a:pt x="543" y="536"/>
                  </a:lnTo>
                  <a:lnTo>
                    <a:pt x="538" y="536"/>
                  </a:lnTo>
                  <a:lnTo>
                    <a:pt x="534" y="530"/>
                  </a:lnTo>
                  <a:lnTo>
                    <a:pt x="526" y="526"/>
                  </a:lnTo>
                  <a:lnTo>
                    <a:pt x="520" y="521"/>
                  </a:lnTo>
                  <a:lnTo>
                    <a:pt x="508" y="523"/>
                  </a:lnTo>
                  <a:lnTo>
                    <a:pt x="497" y="520"/>
                  </a:lnTo>
                  <a:lnTo>
                    <a:pt x="494" y="517"/>
                  </a:lnTo>
                  <a:lnTo>
                    <a:pt x="488" y="511"/>
                  </a:lnTo>
                  <a:lnTo>
                    <a:pt x="482" y="507"/>
                  </a:lnTo>
                  <a:lnTo>
                    <a:pt x="484" y="494"/>
                  </a:lnTo>
                  <a:lnTo>
                    <a:pt x="481" y="483"/>
                  </a:lnTo>
                  <a:lnTo>
                    <a:pt x="481" y="446"/>
                  </a:lnTo>
                  <a:lnTo>
                    <a:pt x="476" y="441"/>
                  </a:lnTo>
                  <a:lnTo>
                    <a:pt x="450" y="441"/>
                  </a:lnTo>
                  <a:lnTo>
                    <a:pt x="434" y="431"/>
                  </a:lnTo>
                  <a:lnTo>
                    <a:pt x="412" y="413"/>
                  </a:lnTo>
                  <a:lnTo>
                    <a:pt x="396" y="403"/>
                  </a:lnTo>
                  <a:lnTo>
                    <a:pt x="386" y="399"/>
                  </a:lnTo>
                  <a:lnTo>
                    <a:pt x="382" y="387"/>
                  </a:lnTo>
                  <a:lnTo>
                    <a:pt x="373" y="374"/>
                  </a:lnTo>
                  <a:lnTo>
                    <a:pt x="364" y="369"/>
                  </a:lnTo>
                  <a:lnTo>
                    <a:pt x="349" y="366"/>
                  </a:lnTo>
                  <a:lnTo>
                    <a:pt x="338" y="369"/>
                  </a:lnTo>
                  <a:lnTo>
                    <a:pt x="327" y="366"/>
                  </a:lnTo>
                  <a:lnTo>
                    <a:pt x="314" y="359"/>
                  </a:lnTo>
                  <a:lnTo>
                    <a:pt x="276" y="347"/>
                  </a:lnTo>
                  <a:lnTo>
                    <a:pt x="267" y="335"/>
                  </a:lnTo>
                  <a:lnTo>
                    <a:pt x="252" y="323"/>
                  </a:lnTo>
                  <a:lnTo>
                    <a:pt x="231" y="321"/>
                  </a:lnTo>
                  <a:lnTo>
                    <a:pt x="217" y="323"/>
                  </a:lnTo>
                  <a:lnTo>
                    <a:pt x="214" y="332"/>
                  </a:lnTo>
                  <a:lnTo>
                    <a:pt x="209" y="337"/>
                  </a:lnTo>
                  <a:lnTo>
                    <a:pt x="198" y="337"/>
                  </a:lnTo>
                  <a:lnTo>
                    <a:pt x="187" y="333"/>
                  </a:lnTo>
                  <a:lnTo>
                    <a:pt x="176" y="333"/>
                  </a:lnTo>
                  <a:lnTo>
                    <a:pt x="160" y="337"/>
                  </a:lnTo>
                  <a:lnTo>
                    <a:pt x="145" y="351"/>
                  </a:lnTo>
                  <a:lnTo>
                    <a:pt x="111" y="378"/>
                  </a:lnTo>
                  <a:lnTo>
                    <a:pt x="93" y="382"/>
                  </a:lnTo>
                  <a:lnTo>
                    <a:pt x="79" y="382"/>
                  </a:lnTo>
                  <a:lnTo>
                    <a:pt x="80" y="378"/>
                  </a:lnTo>
                  <a:lnTo>
                    <a:pt x="74" y="338"/>
                  </a:lnTo>
                  <a:lnTo>
                    <a:pt x="73" y="312"/>
                  </a:lnTo>
                  <a:lnTo>
                    <a:pt x="77" y="289"/>
                  </a:lnTo>
                  <a:lnTo>
                    <a:pt x="86" y="275"/>
                  </a:lnTo>
                  <a:lnTo>
                    <a:pt x="75" y="272"/>
                  </a:lnTo>
                  <a:lnTo>
                    <a:pt x="64" y="262"/>
                  </a:lnTo>
                  <a:lnTo>
                    <a:pt x="57" y="252"/>
                  </a:lnTo>
                  <a:lnTo>
                    <a:pt x="50" y="250"/>
                  </a:lnTo>
                  <a:lnTo>
                    <a:pt x="50" y="247"/>
                  </a:lnTo>
                  <a:lnTo>
                    <a:pt x="70" y="238"/>
                  </a:lnTo>
                  <a:lnTo>
                    <a:pt x="77" y="234"/>
                  </a:lnTo>
                  <a:lnTo>
                    <a:pt x="66" y="230"/>
                  </a:lnTo>
                  <a:lnTo>
                    <a:pt x="58" y="225"/>
                  </a:lnTo>
                  <a:lnTo>
                    <a:pt x="51" y="219"/>
                  </a:lnTo>
                  <a:lnTo>
                    <a:pt x="61" y="209"/>
                  </a:lnTo>
                  <a:lnTo>
                    <a:pt x="68" y="214"/>
                  </a:lnTo>
                  <a:lnTo>
                    <a:pt x="78" y="218"/>
                  </a:lnTo>
                  <a:lnTo>
                    <a:pt x="72" y="207"/>
                  </a:lnTo>
                  <a:lnTo>
                    <a:pt x="51" y="199"/>
                  </a:lnTo>
                  <a:lnTo>
                    <a:pt x="34" y="203"/>
                  </a:lnTo>
                  <a:lnTo>
                    <a:pt x="26" y="211"/>
                  </a:lnTo>
                  <a:lnTo>
                    <a:pt x="21" y="211"/>
                  </a:lnTo>
                  <a:lnTo>
                    <a:pt x="14" y="181"/>
                  </a:lnTo>
                  <a:lnTo>
                    <a:pt x="16" y="166"/>
                  </a:lnTo>
                  <a:lnTo>
                    <a:pt x="23" y="155"/>
                  </a:lnTo>
                  <a:lnTo>
                    <a:pt x="24" y="151"/>
                  </a:lnTo>
                  <a:lnTo>
                    <a:pt x="21" y="128"/>
                  </a:lnTo>
                  <a:lnTo>
                    <a:pt x="27" y="143"/>
                  </a:lnTo>
                  <a:lnTo>
                    <a:pt x="32" y="151"/>
                  </a:lnTo>
                  <a:lnTo>
                    <a:pt x="53" y="151"/>
                  </a:lnTo>
                  <a:lnTo>
                    <a:pt x="73" y="157"/>
                  </a:lnTo>
                  <a:lnTo>
                    <a:pt x="84" y="156"/>
                  </a:lnTo>
                  <a:lnTo>
                    <a:pt x="99" y="160"/>
                  </a:lnTo>
                  <a:lnTo>
                    <a:pt x="109" y="155"/>
                  </a:lnTo>
                  <a:lnTo>
                    <a:pt x="99" y="154"/>
                  </a:lnTo>
                  <a:lnTo>
                    <a:pt x="97" y="148"/>
                  </a:lnTo>
                  <a:lnTo>
                    <a:pt x="112" y="144"/>
                  </a:lnTo>
                  <a:lnTo>
                    <a:pt x="126" y="127"/>
                  </a:lnTo>
                  <a:lnTo>
                    <a:pt x="102" y="109"/>
                  </a:lnTo>
                  <a:lnTo>
                    <a:pt x="86" y="91"/>
                  </a:lnTo>
                  <a:lnTo>
                    <a:pt x="80" y="74"/>
                  </a:lnTo>
                  <a:lnTo>
                    <a:pt x="70" y="60"/>
                  </a:lnTo>
                  <a:lnTo>
                    <a:pt x="68" y="58"/>
                  </a:lnTo>
                  <a:lnTo>
                    <a:pt x="57" y="57"/>
                  </a:lnTo>
                  <a:lnTo>
                    <a:pt x="39" y="62"/>
                  </a:lnTo>
                  <a:lnTo>
                    <a:pt x="23" y="70"/>
                  </a:lnTo>
                  <a:lnTo>
                    <a:pt x="14" y="82"/>
                  </a:lnTo>
                  <a:lnTo>
                    <a:pt x="14" y="91"/>
                  </a:lnTo>
                  <a:lnTo>
                    <a:pt x="19" y="94"/>
                  </a:lnTo>
                  <a:lnTo>
                    <a:pt x="20" y="119"/>
                  </a:lnTo>
                  <a:lnTo>
                    <a:pt x="18" y="117"/>
                  </a:lnTo>
                  <a:lnTo>
                    <a:pt x="4" y="92"/>
                  </a:lnTo>
                  <a:lnTo>
                    <a:pt x="0" y="74"/>
                  </a:lnTo>
                  <a:lnTo>
                    <a:pt x="30" y="48"/>
                  </a:lnTo>
                  <a:lnTo>
                    <a:pt x="53" y="39"/>
                  </a:lnTo>
                  <a:lnTo>
                    <a:pt x="77" y="32"/>
                  </a:lnTo>
                  <a:lnTo>
                    <a:pt x="85" y="31"/>
                  </a:lnTo>
                  <a:lnTo>
                    <a:pt x="93" y="31"/>
                  </a:lnTo>
                  <a:lnTo>
                    <a:pt x="100" y="35"/>
                  </a:lnTo>
                  <a:lnTo>
                    <a:pt x="107" y="41"/>
                  </a:lnTo>
                  <a:lnTo>
                    <a:pt x="122" y="47"/>
                  </a:lnTo>
                  <a:lnTo>
                    <a:pt x="127" y="54"/>
                  </a:lnTo>
                  <a:lnTo>
                    <a:pt x="133" y="69"/>
                  </a:lnTo>
                  <a:lnTo>
                    <a:pt x="139" y="75"/>
                  </a:lnTo>
                  <a:lnTo>
                    <a:pt x="143" y="82"/>
                  </a:lnTo>
                  <a:lnTo>
                    <a:pt x="153" y="105"/>
                  </a:lnTo>
                  <a:lnTo>
                    <a:pt x="163" y="112"/>
                  </a:lnTo>
                  <a:lnTo>
                    <a:pt x="181" y="113"/>
                  </a:lnTo>
                  <a:lnTo>
                    <a:pt x="193" y="10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60" name="Freeform 166">
              <a:extLst>
                <a:ext uri="{FF2B5EF4-FFF2-40B4-BE49-F238E27FC236}">
                  <a16:creationId xmlns:a16="http://schemas.microsoft.com/office/drawing/2014/main" id="{338D8819-6CF3-5185-15A1-65DE57C8C0E2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081956" y="2993588"/>
              <a:ext cx="35816" cy="35057"/>
            </a:xfrm>
            <a:custGeom>
              <a:avLst/>
              <a:gdLst>
                <a:gd name="T0" fmla="*/ 0 w 65"/>
                <a:gd name="T1" fmla="*/ 0 h 59"/>
                <a:gd name="T2" fmla="*/ 0 w 65"/>
                <a:gd name="T3" fmla="*/ 0 h 59"/>
                <a:gd name="T4" fmla="*/ 0 w 65"/>
                <a:gd name="T5" fmla="*/ 0 h 59"/>
                <a:gd name="T6" fmla="*/ 0 w 65"/>
                <a:gd name="T7" fmla="*/ 0 h 59"/>
                <a:gd name="T8" fmla="*/ 0 w 65"/>
                <a:gd name="T9" fmla="*/ 0 h 59"/>
                <a:gd name="T10" fmla="*/ 0 w 65"/>
                <a:gd name="T11" fmla="*/ 0 h 59"/>
                <a:gd name="T12" fmla="*/ 0 w 65"/>
                <a:gd name="T13" fmla="*/ 0 h 59"/>
                <a:gd name="T14" fmla="*/ 0 w 65"/>
                <a:gd name="T15" fmla="*/ 0 h 59"/>
                <a:gd name="T16" fmla="*/ 0 w 65"/>
                <a:gd name="T17" fmla="*/ 0 h 59"/>
                <a:gd name="T18" fmla="*/ 0 w 65"/>
                <a:gd name="T19" fmla="*/ 0 h 59"/>
                <a:gd name="T20" fmla="*/ 0 w 65"/>
                <a:gd name="T21" fmla="*/ 0 h 59"/>
                <a:gd name="T22" fmla="*/ 0 w 65"/>
                <a:gd name="T23" fmla="*/ 0 h 59"/>
                <a:gd name="T24" fmla="*/ 0 w 65"/>
                <a:gd name="T25" fmla="*/ 0 h 59"/>
                <a:gd name="T26" fmla="*/ 0 w 65"/>
                <a:gd name="T27" fmla="*/ 0 h 59"/>
                <a:gd name="T28" fmla="*/ 0 w 65"/>
                <a:gd name="T29" fmla="*/ 0 h 59"/>
                <a:gd name="T30" fmla="*/ 0 w 65"/>
                <a:gd name="T31" fmla="*/ 0 h 5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65"/>
                <a:gd name="T49" fmla="*/ 0 h 59"/>
                <a:gd name="T50" fmla="*/ 65 w 65"/>
                <a:gd name="T51" fmla="*/ 59 h 5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65" h="59">
                  <a:moveTo>
                    <a:pt x="65" y="59"/>
                  </a:moveTo>
                  <a:lnTo>
                    <a:pt x="52" y="56"/>
                  </a:lnTo>
                  <a:lnTo>
                    <a:pt x="36" y="53"/>
                  </a:lnTo>
                  <a:lnTo>
                    <a:pt x="4" y="7"/>
                  </a:lnTo>
                  <a:lnTo>
                    <a:pt x="0" y="2"/>
                  </a:lnTo>
                  <a:lnTo>
                    <a:pt x="10" y="0"/>
                  </a:lnTo>
                  <a:lnTo>
                    <a:pt x="17" y="1"/>
                  </a:lnTo>
                  <a:lnTo>
                    <a:pt x="22" y="9"/>
                  </a:lnTo>
                  <a:lnTo>
                    <a:pt x="30" y="12"/>
                  </a:lnTo>
                  <a:lnTo>
                    <a:pt x="37" y="13"/>
                  </a:lnTo>
                  <a:lnTo>
                    <a:pt x="44" y="10"/>
                  </a:lnTo>
                  <a:lnTo>
                    <a:pt x="52" y="12"/>
                  </a:lnTo>
                  <a:lnTo>
                    <a:pt x="55" y="20"/>
                  </a:lnTo>
                  <a:lnTo>
                    <a:pt x="60" y="27"/>
                  </a:lnTo>
                  <a:lnTo>
                    <a:pt x="64" y="34"/>
                  </a:lnTo>
                  <a:lnTo>
                    <a:pt x="65" y="5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61" name="Freeform 167">
              <a:extLst>
                <a:ext uri="{FF2B5EF4-FFF2-40B4-BE49-F238E27FC236}">
                  <a16:creationId xmlns:a16="http://schemas.microsoft.com/office/drawing/2014/main" id="{77BD16EC-DE23-16F9-4F96-1A648A91750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087926" y="2905183"/>
              <a:ext cx="156696" cy="140228"/>
            </a:xfrm>
            <a:custGeom>
              <a:avLst/>
              <a:gdLst>
                <a:gd name="T0" fmla="*/ 0 w 294"/>
                <a:gd name="T1" fmla="*/ 0 h 245"/>
                <a:gd name="T2" fmla="*/ 0 w 294"/>
                <a:gd name="T3" fmla="*/ 0 h 245"/>
                <a:gd name="T4" fmla="*/ 0 w 294"/>
                <a:gd name="T5" fmla="*/ 0 h 245"/>
                <a:gd name="T6" fmla="*/ 0 w 294"/>
                <a:gd name="T7" fmla="*/ 0 h 245"/>
                <a:gd name="T8" fmla="*/ 0 w 294"/>
                <a:gd name="T9" fmla="*/ 0 h 245"/>
                <a:gd name="T10" fmla="*/ 0 w 294"/>
                <a:gd name="T11" fmla="*/ 0 h 245"/>
                <a:gd name="T12" fmla="*/ 0 w 294"/>
                <a:gd name="T13" fmla="*/ 0 h 245"/>
                <a:gd name="T14" fmla="*/ 0 w 294"/>
                <a:gd name="T15" fmla="*/ 0 h 245"/>
                <a:gd name="T16" fmla="*/ 0 w 294"/>
                <a:gd name="T17" fmla="*/ 0 h 245"/>
                <a:gd name="T18" fmla="*/ 0 w 294"/>
                <a:gd name="T19" fmla="*/ 0 h 245"/>
                <a:gd name="T20" fmla="*/ 0 w 294"/>
                <a:gd name="T21" fmla="*/ 0 h 245"/>
                <a:gd name="T22" fmla="*/ 0 w 294"/>
                <a:gd name="T23" fmla="*/ 0 h 245"/>
                <a:gd name="T24" fmla="*/ 0 w 294"/>
                <a:gd name="T25" fmla="*/ 0 h 245"/>
                <a:gd name="T26" fmla="*/ 0 w 294"/>
                <a:gd name="T27" fmla="*/ 0 h 245"/>
                <a:gd name="T28" fmla="*/ 0 w 294"/>
                <a:gd name="T29" fmla="*/ 0 h 245"/>
                <a:gd name="T30" fmla="*/ 0 w 294"/>
                <a:gd name="T31" fmla="*/ 0 h 245"/>
                <a:gd name="T32" fmla="*/ 0 w 294"/>
                <a:gd name="T33" fmla="*/ 0 h 245"/>
                <a:gd name="T34" fmla="*/ 0 w 294"/>
                <a:gd name="T35" fmla="*/ 0 h 245"/>
                <a:gd name="T36" fmla="*/ 0 w 294"/>
                <a:gd name="T37" fmla="*/ 0 h 245"/>
                <a:gd name="T38" fmla="*/ 0 w 294"/>
                <a:gd name="T39" fmla="*/ 0 h 245"/>
                <a:gd name="T40" fmla="*/ 0 w 294"/>
                <a:gd name="T41" fmla="*/ 0 h 245"/>
                <a:gd name="T42" fmla="*/ 0 w 294"/>
                <a:gd name="T43" fmla="*/ 0 h 245"/>
                <a:gd name="T44" fmla="*/ 0 w 294"/>
                <a:gd name="T45" fmla="*/ 0 h 245"/>
                <a:gd name="T46" fmla="*/ 0 w 294"/>
                <a:gd name="T47" fmla="*/ 0 h 245"/>
                <a:gd name="T48" fmla="*/ 0 w 294"/>
                <a:gd name="T49" fmla="*/ 0 h 245"/>
                <a:gd name="T50" fmla="*/ 0 w 294"/>
                <a:gd name="T51" fmla="*/ 0 h 245"/>
                <a:gd name="T52" fmla="*/ 0 w 294"/>
                <a:gd name="T53" fmla="*/ 0 h 245"/>
                <a:gd name="T54" fmla="*/ 0 w 294"/>
                <a:gd name="T55" fmla="*/ 0 h 245"/>
                <a:gd name="T56" fmla="*/ 0 w 294"/>
                <a:gd name="T57" fmla="*/ 0 h 245"/>
                <a:gd name="T58" fmla="*/ 0 w 294"/>
                <a:gd name="T59" fmla="*/ 0 h 245"/>
                <a:gd name="T60" fmla="*/ 0 w 294"/>
                <a:gd name="T61" fmla="*/ 0 h 245"/>
                <a:gd name="T62" fmla="*/ 0 w 294"/>
                <a:gd name="T63" fmla="*/ 0 h 245"/>
                <a:gd name="T64" fmla="*/ 0 w 294"/>
                <a:gd name="T65" fmla="*/ 0 h 245"/>
                <a:gd name="T66" fmla="*/ 0 w 294"/>
                <a:gd name="T67" fmla="*/ 0 h 245"/>
                <a:gd name="T68" fmla="*/ 0 w 294"/>
                <a:gd name="T69" fmla="*/ 0 h 245"/>
                <a:gd name="T70" fmla="*/ 0 w 294"/>
                <a:gd name="T71" fmla="*/ 0 h 245"/>
                <a:gd name="T72" fmla="*/ 0 w 294"/>
                <a:gd name="T73" fmla="*/ 0 h 245"/>
                <a:gd name="T74" fmla="*/ 0 w 294"/>
                <a:gd name="T75" fmla="*/ 0 h 245"/>
                <a:gd name="T76" fmla="*/ 0 w 294"/>
                <a:gd name="T77" fmla="*/ 0 h 245"/>
                <a:gd name="T78" fmla="*/ 0 w 294"/>
                <a:gd name="T79" fmla="*/ 0 h 245"/>
                <a:gd name="T80" fmla="*/ 0 w 294"/>
                <a:gd name="T81" fmla="*/ 0 h 245"/>
                <a:gd name="T82" fmla="*/ 0 w 294"/>
                <a:gd name="T83" fmla="*/ 0 h 245"/>
                <a:gd name="T84" fmla="*/ 0 w 294"/>
                <a:gd name="T85" fmla="*/ 0 h 245"/>
                <a:gd name="T86" fmla="*/ 0 w 294"/>
                <a:gd name="T87" fmla="*/ 0 h 245"/>
                <a:gd name="T88" fmla="*/ 0 w 294"/>
                <a:gd name="T89" fmla="*/ 0 h 245"/>
                <a:gd name="T90" fmla="*/ 0 w 294"/>
                <a:gd name="T91" fmla="*/ 0 h 245"/>
                <a:gd name="T92" fmla="*/ 0 w 294"/>
                <a:gd name="T93" fmla="*/ 0 h 245"/>
                <a:gd name="T94" fmla="*/ 0 w 294"/>
                <a:gd name="T95" fmla="*/ 0 h 245"/>
                <a:gd name="T96" fmla="*/ 0 w 294"/>
                <a:gd name="T97" fmla="*/ 0 h 245"/>
                <a:gd name="T98" fmla="*/ 0 w 294"/>
                <a:gd name="T99" fmla="*/ 0 h 245"/>
                <a:gd name="T100" fmla="*/ 0 w 294"/>
                <a:gd name="T101" fmla="*/ 0 h 24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94"/>
                <a:gd name="T154" fmla="*/ 0 h 245"/>
                <a:gd name="T155" fmla="*/ 294 w 294"/>
                <a:gd name="T156" fmla="*/ 245 h 24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94" h="245">
                  <a:moveTo>
                    <a:pt x="80" y="0"/>
                  </a:moveTo>
                  <a:lnTo>
                    <a:pt x="88" y="5"/>
                  </a:lnTo>
                  <a:lnTo>
                    <a:pt x="95" y="5"/>
                  </a:lnTo>
                  <a:lnTo>
                    <a:pt x="107" y="16"/>
                  </a:lnTo>
                  <a:lnTo>
                    <a:pt x="111" y="24"/>
                  </a:lnTo>
                  <a:lnTo>
                    <a:pt x="119" y="24"/>
                  </a:lnTo>
                  <a:lnTo>
                    <a:pt x="124" y="40"/>
                  </a:lnTo>
                  <a:lnTo>
                    <a:pt x="126" y="47"/>
                  </a:lnTo>
                  <a:lnTo>
                    <a:pt x="135" y="47"/>
                  </a:lnTo>
                  <a:lnTo>
                    <a:pt x="151" y="51"/>
                  </a:lnTo>
                  <a:lnTo>
                    <a:pt x="159" y="48"/>
                  </a:lnTo>
                  <a:lnTo>
                    <a:pt x="164" y="43"/>
                  </a:lnTo>
                  <a:lnTo>
                    <a:pt x="170" y="28"/>
                  </a:lnTo>
                  <a:lnTo>
                    <a:pt x="178" y="24"/>
                  </a:lnTo>
                  <a:lnTo>
                    <a:pt x="185" y="20"/>
                  </a:lnTo>
                  <a:lnTo>
                    <a:pt x="188" y="13"/>
                  </a:lnTo>
                  <a:lnTo>
                    <a:pt x="194" y="3"/>
                  </a:lnTo>
                  <a:lnTo>
                    <a:pt x="220" y="34"/>
                  </a:lnTo>
                  <a:lnTo>
                    <a:pt x="236" y="68"/>
                  </a:lnTo>
                  <a:lnTo>
                    <a:pt x="245" y="83"/>
                  </a:lnTo>
                  <a:lnTo>
                    <a:pt x="253" y="93"/>
                  </a:lnTo>
                  <a:lnTo>
                    <a:pt x="261" y="98"/>
                  </a:lnTo>
                  <a:lnTo>
                    <a:pt x="274" y="93"/>
                  </a:lnTo>
                  <a:lnTo>
                    <a:pt x="281" y="98"/>
                  </a:lnTo>
                  <a:lnTo>
                    <a:pt x="287" y="100"/>
                  </a:lnTo>
                  <a:lnTo>
                    <a:pt x="292" y="109"/>
                  </a:lnTo>
                  <a:lnTo>
                    <a:pt x="294" y="118"/>
                  </a:lnTo>
                  <a:lnTo>
                    <a:pt x="283" y="109"/>
                  </a:lnTo>
                  <a:lnTo>
                    <a:pt x="269" y="110"/>
                  </a:lnTo>
                  <a:lnTo>
                    <a:pt x="259" y="117"/>
                  </a:lnTo>
                  <a:lnTo>
                    <a:pt x="251" y="127"/>
                  </a:lnTo>
                  <a:lnTo>
                    <a:pt x="248" y="147"/>
                  </a:lnTo>
                  <a:lnTo>
                    <a:pt x="247" y="164"/>
                  </a:lnTo>
                  <a:lnTo>
                    <a:pt x="240" y="180"/>
                  </a:lnTo>
                  <a:lnTo>
                    <a:pt x="236" y="206"/>
                  </a:lnTo>
                  <a:lnTo>
                    <a:pt x="223" y="192"/>
                  </a:lnTo>
                  <a:lnTo>
                    <a:pt x="216" y="197"/>
                  </a:lnTo>
                  <a:lnTo>
                    <a:pt x="213" y="206"/>
                  </a:lnTo>
                  <a:lnTo>
                    <a:pt x="213" y="227"/>
                  </a:lnTo>
                  <a:lnTo>
                    <a:pt x="215" y="244"/>
                  </a:lnTo>
                  <a:lnTo>
                    <a:pt x="211" y="245"/>
                  </a:lnTo>
                  <a:lnTo>
                    <a:pt x="204" y="245"/>
                  </a:lnTo>
                  <a:lnTo>
                    <a:pt x="197" y="242"/>
                  </a:lnTo>
                  <a:lnTo>
                    <a:pt x="189" y="235"/>
                  </a:lnTo>
                  <a:lnTo>
                    <a:pt x="181" y="231"/>
                  </a:lnTo>
                  <a:lnTo>
                    <a:pt x="177" y="227"/>
                  </a:lnTo>
                  <a:lnTo>
                    <a:pt x="166" y="220"/>
                  </a:lnTo>
                  <a:lnTo>
                    <a:pt x="169" y="215"/>
                  </a:lnTo>
                  <a:lnTo>
                    <a:pt x="184" y="207"/>
                  </a:lnTo>
                  <a:lnTo>
                    <a:pt x="177" y="186"/>
                  </a:lnTo>
                  <a:lnTo>
                    <a:pt x="178" y="172"/>
                  </a:lnTo>
                  <a:lnTo>
                    <a:pt x="161" y="163"/>
                  </a:lnTo>
                  <a:lnTo>
                    <a:pt x="135" y="169"/>
                  </a:lnTo>
                  <a:lnTo>
                    <a:pt x="123" y="177"/>
                  </a:lnTo>
                  <a:lnTo>
                    <a:pt x="113" y="187"/>
                  </a:lnTo>
                  <a:lnTo>
                    <a:pt x="107" y="203"/>
                  </a:lnTo>
                  <a:lnTo>
                    <a:pt x="95" y="217"/>
                  </a:lnTo>
                  <a:lnTo>
                    <a:pt x="84" y="218"/>
                  </a:lnTo>
                  <a:lnTo>
                    <a:pt x="83" y="211"/>
                  </a:lnTo>
                  <a:lnTo>
                    <a:pt x="80" y="203"/>
                  </a:lnTo>
                  <a:lnTo>
                    <a:pt x="75" y="197"/>
                  </a:lnTo>
                  <a:lnTo>
                    <a:pt x="82" y="196"/>
                  </a:lnTo>
                  <a:lnTo>
                    <a:pt x="83" y="187"/>
                  </a:lnTo>
                  <a:lnTo>
                    <a:pt x="77" y="182"/>
                  </a:lnTo>
                  <a:lnTo>
                    <a:pt x="78" y="175"/>
                  </a:lnTo>
                  <a:lnTo>
                    <a:pt x="82" y="166"/>
                  </a:lnTo>
                  <a:lnTo>
                    <a:pt x="75" y="165"/>
                  </a:lnTo>
                  <a:lnTo>
                    <a:pt x="67" y="165"/>
                  </a:lnTo>
                  <a:lnTo>
                    <a:pt x="52" y="156"/>
                  </a:lnTo>
                  <a:lnTo>
                    <a:pt x="43" y="144"/>
                  </a:lnTo>
                  <a:lnTo>
                    <a:pt x="40" y="137"/>
                  </a:lnTo>
                  <a:lnTo>
                    <a:pt x="49" y="136"/>
                  </a:lnTo>
                  <a:lnTo>
                    <a:pt x="52" y="127"/>
                  </a:lnTo>
                  <a:lnTo>
                    <a:pt x="51" y="120"/>
                  </a:lnTo>
                  <a:lnTo>
                    <a:pt x="37" y="111"/>
                  </a:lnTo>
                  <a:lnTo>
                    <a:pt x="32" y="106"/>
                  </a:lnTo>
                  <a:lnTo>
                    <a:pt x="27" y="99"/>
                  </a:lnTo>
                  <a:lnTo>
                    <a:pt x="24" y="91"/>
                  </a:lnTo>
                  <a:lnTo>
                    <a:pt x="24" y="83"/>
                  </a:lnTo>
                  <a:lnTo>
                    <a:pt x="29" y="77"/>
                  </a:lnTo>
                  <a:lnTo>
                    <a:pt x="28" y="69"/>
                  </a:lnTo>
                  <a:lnTo>
                    <a:pt x="21" y="64"/>
                  </a:lnTo>
                  <a:lnTo>
                    <a:pt x="13" y="64"/>
                  </a:lnTo>
                  <a:lnTo>
                    <a:pt x="3" y="51"/>
                  </a:lnTo>
                  <a:lnTo>
                    <a:pt x="1" y="43"/>
                  </a:lnTo>
                  <a:lnTo>
                    <a:pt x="0" y="43"/>
                  </a:lnTo>
                  <a:lnTo>
                    <a:pt x="5" y="42"/>
                  </a:lnTo>
                  <a:lnTo>
                    <a:pt x="19" y="32"/>
                  </a:lnTo>
                  <a:lnTo>
                    <a:pt x="27" y="34"/>
                  </a:lnTo>
                  <a:lnTo>
                    <a:pt x="34" y="36"/>
                  </a:lnTo>
                  <a:lnTo>
                    <a:pt x="40" y="42"/>
                  </a:lnTo>
                  <a:lnTo>
                    <a:pt x="55" y="50"/>
                  </a:lnTo>
                  <a:lnTo>
                    <a:pt x="64" y="48"/>
                  </a:lnTo>
                  <a:lnTo>
                    <a:pt x="78" y="55"/>
                  </a:lnTo>
                  <a:lnTo>
                    <a:pt x="87" y="56"/>
                  </a:lnTo>
                  <a:lnTo>
                    <a:pt x="91" y="50"/>
                  </a:lnTo>
                  <a:lnTo>
                    <a:pt x="88" y="42"/>
                  </a:lnTo>
                  <a:lnTo>
                    <a:pt x="75" y="32"/>
                  </a:lnTo>
                  <a:lnTo>
                    <a:pt x="72" y="25"/>
                  </a:lnTo>
                  <a:lnTo>
                    <a:pt x="66" y="19"/>
                  </a:lnTo>
                  <a:lnTo>
                    <a:pt x="67" y="10"/>
                  </a:lnTo>
                  <a:lnTo>
                    <a:pt x="78" y="0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62" name="Freeform 170">
              <a:extLst>
                <a:ext uri="{FF2B5EF4-FFF2-40B4-BE49-F238E27FC236}">
                  <a16:creationId xmlns:a16="http://schemas.microsoft.com/office/drawing/2014/main" id="{80624E2F-5934-5140-844B-D0456569CC0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044779" y="2594243"/>
              <a:ext cx="225343" cy="117364"/>
            </a:xfrm>
            <a:custGeom>
              <a:avLst/>
              <a:gdLst>
                <a:gd name="T0" fmla="*/ 0 w 420"/>
                <a:gd name="T1" fmla="*/ 0 h 205"/>
                <a:gd name="T2" fmla="*/ 0 w 420"/>
                <a:gd name="T3" fmla="*/ 0 h 205"/>
                <a:gd name="T4" fmla="*/ 0 w 420"/>
                <a:gd name="T5" fmla="*/ 0 h 205"/>
                <a:gd name="T6" fmla="*/ 0 w 420"/>
                <a:gd name="T7" fmla="*/ 0 h 205"/>
                <a:gd name="T8" fmla="*/ 0 w 420"/>
                <a:gd name="T9" fmla="*/ 0 h 205"/>
                <a:gd name="T10" fmla="*/ 0 w 420"/>
                <a:gd name="T11" fmla="*/ 0 h 205"/>
                <a:gd name="T12" fmla="*/ 0 w 420"/>
                <a:gd name="T13" fmla="*/ 0 h 205"/>
                <a:gd name="T14" fmla="*/ 0 w 420"/>
                <a:gd name="T15" fmla="*/ 0 h 205"/>
                <a:gd name="T16" fmla="*/ 0 w 420"/>
                <a:gd name="T17" fmla="*/ 0 h 205"/>
                <a:gd name="T18" fmla="*/ 0 w 420"/>
                <a:gd name="T19" fmla="*/ 0 h 205"/>
                <a:gd name="T20" fmla="*/ 0 w 420"/>
                <a:gd name="T21" fmla="*/ 0 h 205"/>
                <a:gd name="T22" fmla="*/ 0 w 420"/>
                <a:gd name="T23" fmla="*/ 0 h 205"/>
                <a:gd name="T24" fmla="*/ 0 w 420"/>
                <a:gd name="T25" fmla="*/ 0 h 205"/>
                <a:gd name="T26" fmla="*/ 0 w 420"/>
                <a:gd name="T27" fmla="*/ 0 h 205"/>
                <a:gd name="T28" fmla="*/ 0 w 420"/>
                <a:gd name="T29" fmla="*/ 0 h 205"/>
                <a:gd name="T30" fmla="*/ 0 w 420"/>
                <a:gd name="T31" fmla="*/ 0 h 205"/>
                <a:gd name="T32" fmla="*/ 0 w 420"/>
                <a:gd name="T33" fmla="*/ 0 h 205"/>
                <a:gd name="T34" fmla="*/ 0 w 420"/>
                <a:gd name="T35" fmla="*/ 0 h 205"/>
                <a:gd name="T36" fmla="*/ 0 w 420"/>
                <a:gd name="T37" fmla="*/ 0 h 205"/>
                <a:gd name="T38" fmla="*/ 0 w 420"/>
                <a:gd name="T39" fmla="*/ 0 h 205"/>
                <a:gd name="T40" fmla="*/ 0 w 420"/>
                <a:gd name="T41" fmla="*/ 0 h 205"/>
                <a:gd name="T42" fmla="*/ 0 w 420"/>
                <a:gd name="T43" fmla="*/ 0 h 205"/>
                <a:gd name="T44" fmla="*/ 0 w 420"/>
                <a:gd name="T45" fmla="*/ 0 h 205"/>
                <a:gd name="T46" fmla="*/ 0 w 420"/>
                <a:gd name="T47" fmla="*/ 0 h 205"/>
                <a:gd name="T48" fmla="*/ 0 w 420"/>
                <a:gd name="T49" fmla="*/ 0 h 205"/>
                <a:gd name="T50" fmla="*/ 0 w 420"/>
                <a:gd name="T51" fmla="*/ 0 h 205"/>
                <a:gd name="T52" fmla="*/ 0 w 420"/>
                <a:gd name="T53" fmla="*/ 0 h 205"/>
                <a:gd name="T54" fmla="*/ 0 w 420"/>
                <a:gd name="T55" fmla="*/ 0 h 205"/>
                <a:gd name="T56" fmla="*/ 0 w 420"/>
                <a:gd name="T57" fmla="*/ 0 h 205"/>
                <a:gd name="T58" fmla="*/ 0 w 420"/>
                <a:gd name="T59" fmla="*/ 0 h 205"/>
                <a:gd name="T60" fmla="*/ 2147483647 w 420"/>
                <a:gd name="T61" fmla="*/ 0 h 205"/>
                <a:gd name="T62" fmla="*/ 2147483647 w 420"/>
                <a:gd name="T63" fmla="*/ 0 h 205"/>
                <a:gd name="T64" fmla="*/ 2147483647 w 420"/>
                <a:gd name="T65" fmla="*/ 0 h 205"/>
                <a:gd name="T66" fmla="*/ 2147483647 w 420"/>
                <a:gd name="T67" fmla="*/ 0 h 205"/>
                <a:gd name="T68" fmla="*/ 2147483647 w 420"/>
                <a:gd name="T69" fmla="*/ 0 h 205"/>
                <a:gd name="T70" fmla="*/ 2147483647 w 420"/>
                <a:gd name="T71" fmla="*/ 0 h 205"/>
                <a:gd name="T72" fmla="*/ 2147483647 w 420"/>
                <a:gd name="T73" fmla="*/ 0 h 205"/>
                <a:gd name="T74" fmla="*/ 2147483647 w 420"/>
                <a:gd name="T75" fmla="*/ 0 h 205"/>
                <a:gd name="T76" fmla="*/ 2147483647 w 420"/>
                <a:gd name="T77" fmla="*/ 0 h 205"/>
                <a:gd name="T78" fmla="*/ 2147483647 w 420"/>
                <a:gd name="T79" fmla="*/ 0 h 205"/>
                <a:gd name="T80" fmla="*/ 2147483647 w 420"/>
                <a:gd name="T81" fmla="*/ 0 h 205"/>
                <a:gd name="T82" fmla="*/ 2147483647 w 420"/>
                <a:gd name="T83" fmla="*/ 0 h 205"/>
                <a:gd name="T84" fmla="*/ 0 w 420"/>
                <a:gd name="T85" fmla="*/ 0 h 205"/>
                <a:gd name="T86" fmla="*/ 0 w 420"/>
                <a:gd name="T87" fmla="*/ 0 h 205"/>
                <a:gd name="T88" fmla="*/ 0 w 420"/>
                <a:gd name="T89" fmla="*/ 0 h 205"/>
                <a:gd name="T90" fmla="*/ 0 w 420"/>
                <a:gd name="T91" fmla="*/ 0 h 2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20"/>
                <a:gd name="T139" fmla="*/ 0 h 205"/>
                <a:gd name="T140" fmla="*/ 420 w 420"/>
                <a:gd name="T141" fmla="*/ 205 h 20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20" h="205">
                  <a:moveTo>
                    <a:pt x="235" y="20"/>
                  </a:moveTo>
                  <a:lnTo>
                    <a:pt x="234" y="27"/>
                  </a:lnTo>
                  <a:lnTo>
                    <a:pt x="217" y="35"/>
                  </a:lnTo>
                  <a:lnTo>
                    <a:pt x="213" y="43"/>
                  </a:lnTo>
                  <a:lnTo>
                    <a:pt x="210" y="53"/>
                  </a:lnTo>
                  <a:lnTo>
                    <a:pt x="188" y="62"/>
                  </a:lnTo>
                  <a:lnTo>
                    <a:pt x="183" y="74"/>
                  </a:lnTo>
                  <a:lnTo>
                    <a:pt x="184" y="90"/>
                  </a:lnTo>
                  <a:lnTo>
                    <a:pt x="191" y="106"/>
                  </a:lnTo>
                  <a:lnTo>
                    <a:pt x="191" y="113"/>
                  </a:lnTo>
                  <a:lnTo>
                    <a:pt x="184" y="117"/>
                  </a:lnTo>
                  <a:lnTo>
                    <a:pt x="179" y="110"/>
                  </a:lnTo>
                  <a:lnTo>
                    <a:pt x="164" y="110"/>
                  </a:lnTo>
                  <a:lnTo>
                    <a:pt x="153" y="106"/>
                  </a:lnTo>
                  <a:lnTo>
                    <a:pt x="149" y="111"/>
                  </a:lnTo>
                  <a:lnTo>
                    <a:pt x="116" y="114"/>
                  </a:lnTo>
                  <a:lnTo>
                    <a:pt x="97" y="127"/>
                  </a:lnTo>
                  <a:lnTo>
                    <a:pt x="83" y="127"/>
                  </a:lnTo>
                  <a:lnTo>
                    <a:pt x="70" y="119"/>
                  </a:lnTo>
                  <a:lnTo>
                    <a:pt x="59" y="118"/>
                  </a:lnTo>
                  <a:lnTo>
                    <a:pt x="51" y="124"/>
                  </a:lnTo>
                  <a:lnTo>
                    <a:pt x="49" y="132"/>
                  </a:lnTo>
                  <a:lnTo>
                    <a:pt x="44" y="134"/>
                  </a:lnTo>
                  <a:lnTo>
                    <a:pt x="34" y="129"/>
                  </a:lnTo>
                  <a:lnTo>
                    <a:pt x="28" y="121"/>
                  </a:lnTo>
                  <a:lnTo>
                    <a:pt x="19" y="119"/>
                  </a:lnTo>
                  <a:lnTo>
                    <a:pt x="11" y="119"/>
                  </a:lnTo>
                  <a:lnTo>
                    <a:pt x="0" y="123"/>
                  </a:lnTo>
                  <a:lnTo>
                    <a:pt x="7" y="132"/>
                  </a:lnTo>
                  <a:lnTo>
                    <a:pt x="16" y="137"/>
                  </a:lnTo>
                  <a:lnTo>
                    <a:pt x="17" y="144"/>
                  </a:lnTo>
                  <a:lnTo>
                    <a:pt x="17" y="155"/>
                  </a:lnTo>
                  <a:lnTo>
                    <a:pt x="11" y="162"/>
                  </a:lnTo>
                  <a:lnTo>
                    <a:pt x="17" y="167"/>
                  </a:lnTo>
                  <a:lnTo>
                    <a:pt x="27" y="171"/>
                  </a:lnTo>
                  <a:lnTo>
                    <a:pt x="36" y="172"/>
                  </a:lnTo>
                  <a:lnTo>
                    <a:pt x="44" y="168"/>
                  </a:lnTo>
                  <a:lnTo>
                    <a:pt x="51" y="173"/>
                  </a:lnTo>
                  <a:lnTo>
                    <a:pt x="65" y="178"/>
                  </a:lnTo>
                  <a:lnTo>
                    <a:pt x="68" y="177"/>
                  </a:lnTo>
                  <a:lnTo>
                    <a:pt x="84" y="172"/>
                  </a:lnTo>
                  <a:lnTo>
                    <a:pt x="104" y="165"/>
                  </a:lnTo>
                  <a:lnTo>
                    <a:pt x="122" y="164"/>
                  </a:lnTo>
                  <a:lnTo>
                    <a:pt x="132" y="161"/>
                  </a:lnTo>
                  <a:lnTo>
                    <a:pt x="137" y="157"/>
                  </a:lnTo>
                  <a:lnTo>
                    <a:pt x="143" y="156"/>
                  </a:lnTo>
                  <a:lnTo>
                    <a:pt x="146" y="159"/>
                  </a:lnTo>
                  <a:lnTo>
                    <a:pt x="146" y="164"/>
                  </a:lnTo>
                  <a:lnTo>
                    <a:pt x="148" y="171"/>
                  </a:lnTo>
                  <a:lnTo>
                    <a:pt x="152" y="178"/>
                  </a:lnTo>
                  <a:lnTo>
                    <a:pt x="163" y="187"/>
                  </a:lnTo>
                  <a:lnTo>
                    <a:pt x="168" y="187"/>
                  </a:lnTo>
                  <a:lnTo>
                    <a:pt x="178" y="193"/>
                  </a:lnTo>
                  <a:lnTo>
                    <a:pt x="208" y="198"/>
                  </a:lnTo>
                  <a:lnTo>
                    <a:pt x="222" y="203"/>
                  </a:lnTo>
                  <a:lnTo>
                    <a:pt x="231" y="203"/>
                  </a:lnTo>
                  <a:lnTo>
                    <a:pt x="247" y="203"/>
                  </a:lnTo>
                  <a:lnTo>
                    <a:pt x="275" y="205"/>
                  </a:lnTo>
                  <a:lnTo>
                    <a:pt x="283" y="200"/>
                  </a:lnTo>
                  <a:lnTo>
                    <a:pt x="292" y="189"/>
                  </a:lnTo>
                  <a:lnTo>
                    <a:pt x="305" y="187"/>
                  </a:lnTo>
                  <a:lnTo>
                    <a:pt x="325" y="191"/>
                  </a:lnTo>
                  <a:lnTo>
                    <a:pt x="330" y="182"/>
                  </a:lnTo>
                  <a:lnTo>
                    <a:pt x="334" y="182"/>
                  </a:lnTo>
                  <a:lnTo>
                    <a:pt x="351" y="184"/>
                  </a:lnTo>
                  <a:lnTo>
                    <a:pt x="353" y="176"/>
                  </a:lnTo>
                  <a:lnTo>
                    <a:pt x="362" y="172"/>
                  </a:lnTo>
                  <a:lnTo>
                    <a:pt x="372" y="161"/>
                  </a:lnTo>
                  <a:lnTo>
                    <a:pt x="383" y="159"/>
                  </a:lnTo>
                  <a:lnTo>
                    <a:pt x="382" y="148"/>
                  </a:lnTo>
                  <a:lnTo>
                    <a:pt x="382" y="138"/>
                  </a:lnTo>
                  <a:lnTo>
                    <a:pt x="390" y="119"/>
                  </a:lnTo>
                  <a:lnTo>
                    <a:pt x="384" y="111"/>
                  </a:lnTo>
                  <a:lnTo>
                    <a:pt x="388" y="103"/>
                  </a:lnTo>
                  <a:lnTo>
                    <a:pt x="415" y="103"/>
                  </a:lnTo>
                  <a:lnTo>
                    <a:pt x="420" y="95"/>
                  </a:lnTo>
                  <a:lnTo>
                    <a:pt x="420" y="75"/>
                  </a:lnTo>
                  <a:lnTo>
                    <a:pt x="412" y="62"/>
                  </a:lnTo>
                  <a:lnTo>
                    <a:pt x="406" y="40"/>
                  </a:lnTo>
                  <a:lnTo>
                    <a:pt x="406" y="26"/>
                  </a:lnTo>
                  <a:lnTo>
                    <a:pt x="398" y="15"/>
                  </a:lnTo>
                  <a:lnTo>
                    <a:pt x="362" y="19"/>
                  </a:lnTo>
                  <a:lnTo>
                    <a:pt x="348" y="6"/>
                  </a:lnTo>
                  <a:lnTo>
                    <a:pt x="340" y="1"/>
                  </a:lnTo>
                  <a:lnTo>
                    <a:pt x="307" y="0"/>
                  </a:lnTo>
                  <a:lnTo>
                    <a:pt x="301" y="10"/>
                  </a:lnTo>
                  <a:lnTo>
                    <a:pt x="297" y="19"/>
                  </a:lnTo>
                  <a:lnTo>
                    <a:pt x="287" y="27"/>
                  </a:lnTo>
                  <a:lnTo>
                    <a:pt x="278" y="31"/>
                  </a:lnTo>
                  <a:lnTo>
                    <a:pt x="267" y="32"/>
                  </a:lnTo>
                  <a:lnTo>
                    <a:pt x="256" y="31"/>
                  </a:lnTo>
                  <a:lnTo>
                    <a:pt x="249" y="25"/>
                  </a:lnTo>
                  <a:lnTo>
                    <a:pt x="235" y="2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63" name="Freeform 171">
              <a:extLst>
                <a:ext uri="{FF2B5EF4-FFF2-40B4-BE49-F238E27FC236}">
                  <a16:creationId xmlns:a16="http://schemas.microsoft.com/office/drawing/2014/main" id="{867B5E03-A182-AB35-F3B7-40ECD73E8D6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810481" y="2879271"/>
              <a:ext cx="14923" cy="7622"/>
            </a:xfrm>
            <a:custGeom>
              <a:avLst/>
              <a:gdLst>
                <a:gd name="T0" fmla="*/ 0 w 21"/>
                <a:gd name="T1" fmla="*/ 0 h 13"/>
                <a:gd name="T2" fmla="*/ 0 w 21"/>
                <a:gd name="T3" fmla="*/ 0 h 13"/>
                <a:gd name="T4" fmla="*/ 0 w 21"/>
                <a:gd name="T5" fmla="*/ 0 h 13"/>
                <a:gd name="T6" fmla="*/ 0 w 21"/>
                <a:gd name="T7" fmla="*/ 0 h 13"/>
                <a:gd name="T8" fmla="*/ 0 w 21"/>
                <a:gd name="T9" fmla="*/ 0 h 13"/>
                <a:gd name="T10" fmla="*/ 0 w 21"/>
                <a:gd name="T11" fmla="*/ 0 h 13"/>
                <a:gd name="T12" fmla="*/ 0 w 21"/>
                <a:gd name="T13" fmla="*/ 0 h 13"/>
                <a:gd name="T14" fmla="*/ 0 w 21"/>
                <a:gd name="T15" fmla="*/ 0 h 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1"/>
                <a:gd name="T25" fmla="*/ 0 h 13"/>
                <a:gd name="T26" fmla="*/ 21 w 21"/>
                <a:gd name="T27" fmla="*/ 13 h 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" h="13">
                  <a:moveTo>
                    <a:pt x="18" y="7"/>
                  </a:moveTo>
                  <a:lnTo>
                    <a:pt x="21" y="11"/>
                  </a:lnTo>
                  <a:lnTo>
                    <a:pt x="16" y="13"/>
                  </a:lnTo>
                  <a:lnTo>
                    <a:pt x="10" y="12"/>
                  </a:lnTo>
                  <a:lnTo>
                    <a:pt x="6" y="7"/>
                  </a:lnTo>
                  <a:lnTo>
                    <a:pt x="0" y="0"/>
                  </a:lnTo>
                  <a:lnTo>
                    <a:pt x="13" y="1"/>
                  </a:lnTo>
                  <a:lnTo>
                    <a:pt x="18" y="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64" name="Freeform 172">
              <a:extLst>
                <a:ext uri="{FF2B5EF4-FFF2-40B4-BE49-F238E27FC236}">
                  <a16:creationId xmlns:a16="http://schemas.microsoft.com/office/drawing/2014/main" id="{B2628098-B97A-B93D-69D4-C4009EE6FE4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049256" y="2668929"/>
              <a:ext cx="7462" cy="16767"/>
            </a:xfrm>
            <a:custGeom>
              <a:avLst/>
              <a:gdLst>
                <a:gd name="T0" fmla="*/ 0 w 14"/>
                <a:gd name="T1" fmla="*/ 0 h 30"/>
                <a:gd name="T2" fmla="*/ 0 w 14"/>
                <a:gd name="T3" fmla="*/ 0 h 30"/>
                <a:gd name="T4" fmla="*/ 0 w 14"/>
                <a:gd name="T5" fmla="*/ 0 h 30"/>
                <a:gd name="T6" fmla="*/ 0 w 14"/>
                <a:gd name="T7" fmla="*/ 0 h 30"/>
                <a:gd name="T8" fmla="*/ 0 w 14"/>
                <a:gd name="T9" fmla="*/ 0 h 30"/>
                <a:gd name="T10" fmla="*/ 0 w 14"/>
                <a:gd name="T11" fmla="*/ 0 h 30"/>
                <a:gd name="T12" fmla="*/ 0 w 14"/>
                <a:gd name="T13" fmla="*/ 0 h 30"/>
                <a:gd name="T14" fmla="*/ 0 w 14"/>
                <a:gd name="T15" fmla="*/ 0 h 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30"/>
                <a:gd name="T26" fmla="*/ 14 w 14"/>
                <a:gd name="T27" fmla="*/ 30 h 3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30">
                  <a:moveTo>
                    <a:pt x="8" y="30"/>
                  </a:moveTo>
                  <a:lnTo>
                    <a:pt x="14" y="23"/>
                  </a:lnTo>
                  <a:lnTo>
                    <a:pt x="14" y="12"/>
                  </a:lnTo>
                  <a:lnTo>
                    <a:pt x="13" y="5"/>
                  </a:lnTo>
                  <a:lnTo>
                    <a:pt x="4" y="0"/>
                  </a:lnTo>
                  <a:lnTo>
                    <a:pt x="2" y="8"/>
                  </a:lnTo>
                  <a:lnTo>
                    <a:pt x="0" y="18"/>
                  </a:lnTo>
                  <a:lnTo>
                    <a:pt x="8" y="3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65" name="Freeform 174">
              <a:extLst>
                <a:ext uri="{FF2B5EF4-FFF2-40B4-BE49-F238E27FC236}">
                  <a16:creationId xmlns:a16="http://schemas.microsoft.com/office/drawing/2014/main" id="{AAFEDF99-BB85-F05B-2597-D4931F6870E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136500" y="3054857"/>
              <a:ext cx="90346" cy="62606"/>
            </a:xfrm>
            <a:custGeom>
              <a:avLst/>
              <a:gdLst>
                <a:gd name="T0" fmla="*/ 0 w 172"/>
                <a:gd name="T1" fmla="*/ 0 h 110"/>
                <a:gd name="T2" fmla="*/ 0 w 172"/>
                <a:gd name="T3" fmla="*/ 0 h 110"/>
                <a:gd name="T4" fmla="*/ 0 w 172"/>
                <a:gd name="T5" fmla="*/ 0 h 110"/>
                <a:gd name="T6" fmla="*/ 0 w 172"/>
                <a:gd name="T7" fmla="*/ 0 h 110"/>
                <a:gd name="T8" fmla="*/ 0 w 172"/>
                <a:gd name="T9" fmla="*/ 0 h 110"/>
                <a:gd name="T10" fmla="*/ 0 w 172"/>
                <a:gd name="T11" fmla="*/ 0 h 110"/>
                <a:gd name="T12" fmla="*/ 0 w 172"/>
                <a:gd name="T13" fmla="*/ 0 h 110"/>
                <a:gd name="T14" fmla="*/ 0 w 172"/>
                <a:gd name="T15" fmla="*/ 0 h 110"/>
                <a:gd name="T16" fmla="*/ 0 w 172"/>
                <a:gd name="T17" fmla="*/ 0 h 110"/>
                <a:gd name="T18" fmla="*/ 0 w 172"/>
                <a:gd name="T19" fmla="*/ 0 h 110"/>
                <a:gd name="T20" fmla="*/ 0 w 172"/>
                <a:gd name="T21" fmla="*/ 0 h 110"/>
                <a:gd name="T22" fmla="*/ 0 w 172"/>
                <a:gd name="T23" fmla="*/ 0 h 110"/>
                <a:gd name="T24" fmla="*/ 0 w 172"/>
                <a:gd name="T25" fmla="*/ 0 h 110"/>
                <a:gd name="T26" fmla="*/ 0 w 172"/>
                <a:gd name="T27" fmla="*/ 0 h 110"/>
                <a:gd name="T28" fmla="*/ 0 w 172"/>
                <a:gd name="T29" fmla="*/ 0 h 110"/>
                <a:gd name="T30" fmla="*/ 0 w 172"/>
                <a:gd name="T31" fmla="*/ 0 h 110"/>
                <a:gd name="T32" fmla="*/ 0 w 172"/>
                <a:gd name="T33" fmla="*/ 0 h 110"/>
                <a:gd name="T34" fmla="*/ 0 w 172"/>
                <a:gd name="T35" fmla="*/ 0 h 110"/>
                <a:gd name="T36" fmla="*/ 0 w 172"/>
                <a:gd name="T37" fmla="*/ 0 h 110"/>
                <a:gd name="T38" fmla="*/ 0 w 172"/>
                <a:gd name="T39" fmla="*/ 0 h 110"/>
                <a:gd name="T40" fmla="*/ 0 w 172"/>
                <a:gd name="T41" fmla="*/ 0 h 110"/>
                <a:gd name="T42" fmla="*/ 0 w 172"/>
                <a:gd name="T43" fmla="*/ 0 h 110"/>
                <a:gd name="T44" fmla="*/ 0 w 172"/>
                <a:gd name="T45" fmla="*/ 0 h 110"/>
                <a:gd name="T46" fmla="*/ 0 w 172"/>
                <a:gd name="T47" fmla="*/ 0 h 110"/>
                <a:gd name="T48" fmla="*/ 0 w 172"/>
                <a:gd name="T49" fmla="*/ 0 h 110"/>
                <a:gd name="T50" fmla="*/ 0 w 172"/>
                <a:gd name="T51" fmla="*/ 0 h 110"/>
                <a:gd name="T52" fmla="*/ 0 w 172"/>
                <a:gd name="T53" fmla="*/ 0 h 110"/>
                <a:gd name="T54" fmla="*/ 0 w 172"/>
                <a:gd name="T55" fmla="*/ 0 h 110"/>
                <a:gd name="T56" fmla="*/ 0 w 172"/>
                <a:gd name="T57" fmla="*/ 0 h 110"/>
                <a:gd name="T58" fmla="*/ 0 w 172"/>
                <a:gd name="T59" fmla="*/ 0 h 110"/>
                <a:gd name="T60" fmla="*/ 0 w 172"/>
                <a:gd name="T61" fmla="*/ 0 h 110"/>
                <a:gd name="T62" fmla="*/ 0 w 172"/>
                <a:gd name="T63" fmla="*/ 0 h 110"/>
                <a:gd name="T64" fmla="*/ 0 w 172"/>
                <a:gd name="T65" fmla="*/ 0 h 110"/>
                <a:gd name="T66" fmla="*/ 0 w 172"/>
                <a:gd name="T67" fmla="*/ 0 h 110"/>
                <a:gd name="T68" fmla="*/ 0 w 172"/>
                <a:gd name="T69" fmla="*/ 0 h 110"/>
                <a:gd name="T70" fmla="*/ 0 w 172"/>
                <a:gd name="T71" fmla="*/ 0 h 110"/>
                <a:gd name="T72" fmla="*/ 0 w 172"/>
                <a:gd name="T73" fmla="*/ 0 h 110"/>
                <a:gd name="T74" fmla="*/ 0 w 172"/>
                <a:gd name="T75" fmla="*/ 0 h 110"/>
                <a:gd name="T76" fmla="*/ 0 w 172"/>
                <a:gd name="T77" fmla="*/ 0 h 110"/>
                <a:gd name="T78" fmla="*/ 0 w 172"/>
                <a:gd name="T79" fmla="*/ 0 h 110"/>
                <a:gd name="T80" fmla="*/ 0 w 172"/>
                <a:gd name="T81" fmla="*/ 0 h 110"/>
                <a:gd name="T82" fmla="*/ 0 w 172"/>
                <a:gd name="T83" fmla="*/ 0 h 110"/>
                <a:gd name="T84" fmla="*/ 0 w 172"/>
                <a:gd name="T85" fmla="*/ 0 h 110"/>
                <a:gd name="T86" fmla="*/ 0 w 172"/>
                <a:gd name="T87" fmla="*/ 0 h 11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72"/>
                <a:gd name="T133" fmla="*/ 0 h 110"/>
                <a:gd name="T134" fmla="*/ 172 w 172"/>
                <a:gd name="T135" fmla="*/ 110 h 11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72" h="110">
                  <a:moveTo>
                    <a:pt x="172" y="0"/>
                  </a:moveTo>
                  <a:lnTo>
                    <a:pt x="168" y="1"/>
                  </a:lnTo>
                  <a:lnTo>
                    <a:pt x="168" y="2"/>
                  </a:lnTo>
                  <a:lnTo>
                    <a:pt x="167" y="12"/>
                  </a:lnTo>
                  <a:lnTo>
                    <a:pt x="153" y="34"/>
                  </a:lnTo>
                  <a:lnTo>
                    <a:pt x="143" y="60"/>
                  </a:lnTo>
                  <a:lnTo>
                    <a:pt x="142" y="66"/>
                  </a:lnTo>
                  <a:lnTo>
                    <a:pt x="146" y="70"/>
                  </a:lnTo>
                  <a:lnTo>
                    <a:pt x="147" y="75"/>
                  </a:lnTo>
                  <a:lnTo>
                    <a:pt x="152" y="87"/>
                  </a:lnTo>
                  <a:lnTo>
                    <a:pt x="146" y="103"/>
                  </a:lnTo>
                  <a:lnTo>
                    <a:pt x="145" y="110"/>
                  </a:lnTo>
                  <a:lnTo>
                    <a:pt x="130" y="110"/>
                  </a:lnTo>
                  <a:lnTo>
                    <a:pt x="118" y="108"/>
                  </a:lnTo>
                  <a:lnTo>
                    <a:pt x="108" y="98"/>
                  </a:lnTo>
                  <a:lnTo>
                    <a:pt x="99" y="88"/>
                  </a:lnTo>
                  <a:lnTo>
                    <a:pt x="84" y="83"/>
                  </a:lnTo>
                  <a:lnTo>
                    <a:pt x="76" y="82"/>
                  </a:lnTo>
                  <a:lnTo>
                    <a:pt x="67" y="79"/>
                  </a:lnTo>
                  <a:lnTo>
                    <a:pt x="61" y="71"/>
                  </a:lnTo>
                  <a:lnTo>
                    <a:pt x="49" y="66"/>
                  </a:lnTo>
                  <a:lnTo>
                    <a:pt x="37" y="56"/>
                  </a:lnTo>
                  <a:lnTo>
                    <a:pt x="25" y="51"/>
                  </a:lnTo>
                  <a:lnTo>
                    <a:pt x="8" y="48"/>
                  </a:lnTo>
                  <a:lnTo>
                    <a:pt x="2" y="40"/>
                  </a:lnTo>
                  <a:lnTo>
                    <a:pt x="0" y="26"/>
                  </a:lnTo>
                  <a:lnTo>
                    <a:pt x="1" y="18"/>
                  </a:lnTo>
                  <a:lnTo>
                    <a:pt x="3" y="15"/>
                  </a:lnTo>
                  <a:lnTo>
                    <a:pt x="6" y="10"/>
                  </a:lnTo>
                  <a:lnTo>
                    <a:pt x="9" y="8"/>
                  </a:lnTo>
                  <a:lnTo>
                    <a:pt x="19" y="15"/>
                  </a:lnTo>
                  <a:lnTo>
                    <a:pt x="25" y="15"/>
                  </a:lnTo>
                  <a:lnTo>
                    <a:pt x="41" y="5"/>
                  </a:lnTo>
                  <a:lnTo>
                    <a:pt x="62" y="15"/>
                  </a:lnTo>
                  <a:lnTo>
                    <a:pt x="66" y="22"/>
                  </a:lnTo>
                  <a:lnTo>
                    <a:pt x="73" y="22"/>
                  </a:lnTo>
                  <a:lnTo>
                    <a:pt x="80" y="20"/>
                  </a:lnTo>
                  <a:lnTo>
                    <a:pt x="110" y="16"/>
                  </a:lnTo>
                  <a:lnTo>
                    <a:pt x="119" y="13"/>
                  </a:lnTo>
                  <a:lnTo>
                    <a:pt x="127" y="8"/>
                  </a:lnTo>
                  <a:lnTo>
                    <a:pt x="146" y="8"/>
                  </a:lnTo>
                  <a:lnTo>
                    <a:pt x="152" y="4"/>
                  </a:lnTo>
                  <a:lnTo>
                    <a:pt x="163" y="2"/>
                  </a:lnTo>
                  <a:lnTo>
                    <a:pt x="172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66" name="Freeform 175">
              <a:extLst>
                <a:ext uri="{FF2B5EF4-FFF2-40B4-BE49-F238E27FC236}">
                  <a16:creationId xmlns:a16="http://schemas.microsoft.com/office/drawing/2014/main" id="{3B89A4EC-3016-E423-AC03-BEF2FABCDC3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011609" y="2932490"/>
              <a:ext cx="42516" cy="99601"/>
            </a:xfrm>
            <a:custGeom>
              <a:avLst/>
              <a:gdLst>
                <a:gd name="T0" fmla="*/ 0 w 82"/>
                <a:gd name="T1" fmla="*/ 0 h 173"/>
                <a:gd name="T2" fmla="*/ 0 w 82"/>
                <a:gd name="T3" fmla="*/ 0 h 173"/>
                <a:gd name="T4" fmla="*/ 0 w 82"/>
                <a:gd name="T5" fmla="*/ 0 h 173"/>
                <a:gd name="T6" fmla="*/ 0 w 82"/>
                <a:gd name="T7" fmla="*/ 0 h 173"/>
                <a:gd name="T8" fmla="*/ 0 w 82"/>
                <a:gd name="T9" fmla="*/ 0 h 173"/>
                <a:gd name="T10" fmla="*/ 0 w 82"/>
                <a:gd name="T11" fmla="*/ 0 h 173"/>
                <a:gd name="T12" fmla="*/ 0 w 82"/>
                <a:gd name="T13" fmla="*/ 0 h 173"/>
                <a:gd name="T14" fmla="*/ 0 w 82"/>
                <a:gd name="T15" fmla="*/ 0 h 173"/>
                <a:gd name="T16" fmla="*/ 0 w 82"/>
                <a:gd name="T17" fmla="*/ 0 h 173"/>
                <a:gd name="T18" fmla="*/ 0 w 82"/>
                <a:gd name="T19" fmla="*/ 0 h 173"/>
                <a:gd name="T20" fmla="*/ 0 w 82"/>
                <a:gd name="T21" fmla="*/ 0 h 173"/>
                <a:gd name="T22" fmla="*/ 0 w 82"/>
                <a:gd name="T23" fmla="*/ 0 h 173"/>
                <a:gd name="T24" fmla="*/ 0 w 82"/>
                <a:gd name="T25" fmla="*/ 0 h 173"/>
                <a:gd name="T26" fmla="*/ 0 w 82"/>
                <a:gd name="T27" fmla="*/ 0 h 173"/>
                <a:gd name="T28" fmla="*/ 0 w 82"/>
                <a:gd name="T29" fmla="*/ 0 h 173"/>
                <a:gd name="T30" fmla="*/ 0 w 82"/>
                <a:gd name="T31" fmla="*/ 0 h 173"/>
                <a:gd name="T32" fmla="*/ 0 w 82"/>
                <a:gd name="T33" fmla="*/ 0 h 173"/>
                <a:gd name="T34" fmla="*/ 0 w 82"/>
                <a:gd name="T35" fmla="*/ 0 h 173"/>
                <a:gd name="T36" fmla="*/ 0 w 82"/>
                <a:gd name="T37" fmla="*/ 0 h 173"/>
                <a:gd name="T38" fmla="*/ 0 w 82"/>
                <a:gd name="T39" fmla="*/ 0 h 173"/>
                <a:gd name="T40" fmla="*/ 0 w 82"/>
                <a:gd name="T41" fmla="*/ 0 h 173"/>
                <a:gd name="T42" fmla="*/ 0 w 82"/>
                <a:gd name="T43" fmla="*/ 0 h 173"/>
                <a:gd name="T44" fmla="*/ 0 w 82"/>
                <a:gd name="T45" fmla="*/ 0 h 173"/>
                <a:gd name="T46" fmla="*/ 0 w 82"/>
                <a:gd name="T47" fmla="*/ 0 h 173"/>
                <a:gd name="T48" fmla="*/ 0 w 82"/>
                <a:gd name="T49" fmla="*/ 0 h 173"/>
                <a:gd name="T50" fmla="*/ 0 w 82"/>
                <a:gd name="T51" fmla="*/ 0 h 173"/>
                <a:gd name="T52" fmla="*/ 0 w 82"/>
                <a:gd name="T53" fmla="*/ 0 h 173"/>
                <a:gd name="T54" fmla="*/ 0 w 82"/>
                <a:gd name="T55" fmla="*/ 0 h 173"/>
                <a:gd name="T56" fmla="*/ 0 w 82"/>
                <a:gd name="T57" fmla="*/ 0 h 173"/>
                <a:gd name="T58" fmla="*/ 0 w 82"/>
                <a:gd name="T59" fmla="*/ 0 h 173"/>
                <a:gd name="T60" fmla="*/ 0 w 82"/>
                <a:gd name="T61" fmla="*/ 0 h 173"/>
                <a:gd name="T62" fmla="*/ 0 w 82"/>
                <a:gd name="T63" fmla="*/ 0 h 173"/>
                <a:gd name="T64" fmla="*/ 0 w 82"/>
                <a:gd name="T65" fmla="*/ 0 h 173"/>
                <a:gd name="T66" fmla="*/ 0 w 82"/>
                <a:gd name="T67" fmla="*/ 0 h 173"/>
                <a:gd name="T68" fmla="*/ 0 w 82"/>
                <a:gd name="T69" fmla="*/ 0 h 173"/>
                <a:gd name="T70" fmla="*/ 0 w 82"/>
                <a:gd name="T71" fmla="*/ 0 h 173"/>
                <a:gd name="T72" fmla="*/ 0 w 82"/>
                <a:gd name="T73" fmla="*/ 0 h 173"/>
                <a:gd name="T74" fmla="*/ 0 w 82"/>
                <a:gd name="T75" fmla="*/ 0 h 173"/>
                <a:gd name="T76" fmla="*/ 0 w 82"/>
                <a:gd name="T77" fmla="*/ 0 h 173"/>
                <a:gd name="T78" fmla="*/ 0 w 82"/>
                <a:gd name="T79" fmla="*/ 0 h 173"/>
                <a:gd name="T80" fmla="*/ 0 w 82"/>
                <a:gd name="T81" fmla="*/ 0 h 173"/>
                <a:gd name="T82" fmla="*/ 0 w 82"/>
                <a:gd name="T83" fmla="*/ 0 h 17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82"/>
                <a:gd name="T127" fmla="*/ 0 h 173"/>
                <a:gd name="T128" fmla="*/ 82 w 82"/>
                <a:gd name="T129" fmla="*/ 173 h 17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82" h="173">
                  <a:moveTo>
                    <a:pt x="50" y="0"/>
                  </a:moveTo>
                  <a:lnTo>
                    <a:pt x="63" y="5"/>
                  </a:lnTo>
                  <a:lnTo>
                    <a:pt x="64" y="8"/>
                  </a:lnTo>
                  <a:lnTo>
                    <a:pt x="70" y="12"/>
                  </a:lnTo>
                  <a:lnTo>
                    <a:pt x="75" y="24"/>
                  </a:lnTo>
                  <a:lnTo>
                    <a:pt x="81" y="43"/>
                  </a:lnTo>
                  <a:lnTo>
                    <a:pt x="82" y="63"/>
                  </a:lnTo>
                  <a:lnTo>
                    <a:pt x="80" y="79"/>
                  </a:lnTo>
                  <a:lnTo>
                    <a:pt x="81" y="111"/>
                  </a:lnTo>
                  <a:lnTo>
                    <a:pt x="80" y="138"/>
                  </a:lnTo>
                  <a:lnTo>
                    <a:pt x="76" y="144"/>
                  </a:lnTo>
                  <a:lnTo>
                    <a:pt x="76" y="149"/>
                  </a:lnTo>
                  <a:lnTo>
                    <a:pt x="70" y="154"/>
                  </a:lnTo>
                  <a:lnTo>
                    <a:pt x="57" y="150"/>
                  </a:lnTo>
                  <a:lnTo>
                    <a:pt x="52" y="155"/>
                  </a:lnTo>
                  <a:lnTo>
                    <a:pt x="47" y="165"/>
                  </a:lnTo>
                  <a:lnTo>
                    <a:pt x="41" y="171"/>
                  </a:lnTo>
                  <a:lnTo>
                    <a:pt x="31" y="173"/>
                  </a:lnTo>
                  <a:lnTo>
                    <a:pt x="26" y="168"/>
                  </a:lnTo>
                  <a:lnTo>
                    <a:pt x="15" y="152"/>
                  </a:lnTo>
                  <a:lnTo>
                    <a:pt x="14" y="144"/>
                  </a:lnTo>
                  <a:lnTo>
                    <a:pt x="14" y="139"/>
                  </a:lnTo>
                  <a:lnTo>
                    <a:pt x="11" y="130"/>
                  </a:lnTo>
                  <a:lnTo>
                    <a:pt x="14" y="109"/>
                  </a:lnTo>
                  <a:lnTo>
                    <a:pt x="17" y="106"/>
                  </a:lnTo>
                  <a:lnTo>
                    <a:pt x="18" y="101"/>
                  </a:lnTo>
                  <a:lnTo>
                    <a:pt x="16" y="97"/>
                  </a:lnTo>
                  <a:lnTo>
                    <a:pt x="14" y="89"/>
                  </a:lnTo>
                  <a:lnTo>
                    <a:pt x="15" y="80"/>
                  </a:lnTo>
                  <a:lnTo>
                    <a:pt x="15" y="70"/>
                  </a:lnTo>
                  <a:lnTo>
                    <a:pt x="12" y="63"/>
                  </a:lnTo>
                  <a:lnTo>
                    <a:pt x="10" y="54"/>
                  </a:lnTo>
                  <a:lnTo>
                    <a:pt x="7" y="53"/>
                  </a:lnTo>
                  <a:lnTo>
                    <a:pt x="4" y="53"/>
                  </a:lnTo>
                  <a:lnTo>
                    <a:pt x="0" y="47"/>
                  </a:lnTo>
                  <a:lnTo>
                    <a:pt x="0" y="26"/>
                  </a:lnTo>
                  <a:lnTo>
                    <a:pt x="1" y="25"/>
                  </a:lnTo>
                  <a:lnTo>
                    <a:pt x="10" y="33"/>
                  </a:lnTo>
                  <a:lnTo>
                    <a:pt x="20" y="32"/>
                  </a:lnTo>
                  <a:lnTo>
                    <a:pt x="39" y="12"/>
                  </a:lnTo>
                  <a:lnTo>
                    <a:pt x="45" y="10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67" name="Freeform 176">
              <a:extLst>
                <a:ext uri="{FF2B5EF4-FFF2-40B4-BE49-F238E27FC236}">
                  <a16:creationId xmlns:a16="http://schemas.microsoft.com/office/drawing/2014/main" id="{562DDF7A-6394-8988-C775-499CAE4CBBA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966436" y="2682064"/>
              <a:ext cx="342785" cy="387022"/>
            </a:xfrm>
            <a:custGeom>
              <a:avLst/>
              <a:gdLst>
                <a:gd name="T0" fmla="*/ 0 w 645"/>
                <a:gd name="T1" fmla="*/ 0 h 681"/>
                <a:gd name="T2" fmla="*/ 0 w 645"/>
                <a:gd name="T3" fmla="*/ 0 h 681"/>
                <a:gd name="T4" fmla="*/ 0 w 645"/>
                <a:gd name="T5" fmla="*/ 0 h 681"/>
                <a:gd name="T6" fmla="*/ 0 w 645"/>
                <a:gd name="T7" fmla="*/ 0 h 681"/>
                <a:gd name="T8" fmla="*/ 0 w 645"/>
                <a:gd name="T9" fmla="*/ 0 h 681"/>
                <a:gd name="T10" fmla="*/ 0 w 645"/>
                <a:gd name="T11" fmla="*/ 0 h 681"/>
                <a:gd name="T12" fmla="*/ 0 w 645"/>
                <a:gd name="T13" fmla="*/ 0 h 681"/>
                <a:gd name="T14" fmla="*/ 0 w 645"/>
                <a:gd name="T15" fmla="*/ 0 h 681"/>
                <a:gd name="T16" fmla="*/ 0 w 645"/>
                <a:gd name="T17" fmla="*/ 0 h 681"/>
                <a:gd name="T18" fmla="*/ 0 w 645"/>
                <a:gd name="T19" fmla="*/ 0 h 681"/>
                <a:gd name="T20" fmla="*/ 0 w 645"/>
                <a:gd name="T21" fmla="*/ 0 h 681"/>
                <a:gd name="T22" fmla="*/ 0 w 645"/>
                <a:gd name="T23" fmla="*/ 0 h 681"/>
                <a:gd name="T24" fmla="*/ 0 w 645"/>
                <a:gd name="T25" fmla="*/ 0 h 681"/>
                <a:gd name="T26" fmla="*/ 0 w 645"/>
                <a:gd name="T27" fmla="*/ 0 h 681"/>
                <a:gd name="T28" fmla="*/ 0 w 645"/>
                <a:gd name="T29" fmla="*/ 0 h 681"/>
                <a:gd name="T30" fmla="*/ 0 w 645"/>
                <a:gd name="T31" fmla="*/ 0 h 681"/>
                <a:gd name="T32" fmla="*/ 0 w 645"/>
                <a:gd name="T33" fmla="*/ 0 h 681"/>
                <a:gd name="T34" fmla="*/ 0 w 645"/>
                <a:gd name="T35" fmla="*/ 0 h 681"/>
                <a:gd name="T36" fmla="*/ 0 w 645"/>
                <a:gd name="T37" fmla="*/ 0 h 681"/>
                <a:gd name="T38" fmla="*/ 0 w 645"/>
                <a:gd name="T39" fmla="*/ 0 h 681"/>
                <a:gd name="T40" fmla="*/ 0 w 645"/>
                <a:gd name="T41" fmla="*/ 0 h 681"/>
                <a:gd name="T42" fmla="*/ 0 w 645"/>
                <a:gd name="T43" fmla="*/ 0 h 681"/>
                <a:gd name="T44" fmla="*/ 0 w 645"/>
                <a:gd name="T45" fmla="*/ 0 h 681"/>
                <a:gd name="T46" fmla="*/ 0 w 645"/>
                <a:gd name="T47" fmla="*/ 0 h 681"/>
                <a:gd name="T48" fmla="*/ 0 w 645"/>
                <a:gd name="T49" fmla="*/ 0 h 681"/>
                <a:gd name="T50" fmla="*/ 0 w 645"/>
                <a:gd name="T51" fmla="*/ 0 h 681"/>
                <a:gd name="T52" fmla="*/ 0 w 645"/>
                <a:gd name="T53" fmla="*/ 0 h 681"/>
                <a:gd name="T54" fmla="*/ 0 w 645"/>
                <a:gd name="T55" fmla="*/ 0 h 681"/>
                <a:gd name="T56" fmla="*/ 0 w 645"/>
                <a:gd name="T57" fmla="*/ 0 h 681"/>
                <a:gd name="T58" fmla="*/ 0 w 645"/>
                <a:gd name="T59" fmla="*/ 0 h 681"/>
                <a:gd name="T60" fmla="*/ 0 w 645"/>
                <a:gd name="T61" fmla="*/ 0 h 681"/>
                <a:gd name="T62" fmla="*/ 0 w 645"/>
                <a:gd name="T63" fmla="*/ 0 h 681"/>
                <a:gd name="T64" fmla="*/ 0 w 645"/>
                <a:gd name="T65" fmla="*/ 0 h 681"/>
                <a:gd name="T66" fmla="*/ 0 w 645"/>
                <a:gd name="T67" fmla="*/ 0 h 681"/>
                <a:gd name="T68" fmla="*/ 0 w 645"/>
                <a:gd name="T69" fmla="*/ 0 h 681"/>
                <a:gd name="T70" fmla="*/ 0 w 645"/>
                <a:gd name="T71" fmla="*/ 0 h 681"/>
                <a:gd name="T72" fmla="*/ 0 w 645"/>
                <a:gd name="T73" fmla="*/ 0 h 681"/>
                <a:gd name="T74" fmla="*/ 0 w 645"/>
                <a:gd name="T75" fmla="*/ 0 h 681"/>
                <a:gd name="T76" fmla="*/ 0 w 645"/>
                <a:gd name="T77" fmla="*/ 0 h 681"/>
                <a:gd name="T78" fmla="*/ 0 w 645"/>
                <a:gd name="T79" fmla="*/ 0 h 681"/>
                <a:gd name="T80" fmla="*/ 0 w 645"/>
                <a:gd name="T81" fmla="*/ 0 h 681"/>
                <a:gd name="T82" fmla="*/ 0 w 645"/>
                <a:gd name="T83" fmla="*/ 0 h 681"/>
                <a:gd name="T84" fmla="*/ 0 w 645"/>
                <a:gd name="T85" fmla="*/ 0 h 681"/>
                <a:gd name="T86" fmla="*/ 0 w 645"/>
                <a:gd name="T87" fmla="*/ 0 h 681"/>
                <a:gd name="T88" fmla="*/ 0 w 645"/>
                <a:gd name="T89" fmla="*/ 0 h 681"/>
                <a:gd name="T90" fmla="*/ 0 w 645"/>
                <a:gd name="T91" fmla="*/ 0 h 681"/>
                <a:gd name="T92" fmla="*/ 0 w 645"/>
                <a:gd name="T93" fmla="*/ 0 h 681"/>
                <a:gd name="T94" fmla="*/ 0 w 645"/>
                <a:gd name="T95" fmla="*/ 0 h 681"/>
                <a:gd name="T96" fmla="*/ 0 w 645"/>
                <a:gd name="T97" fmla="*/ 0 h 681"/>
                <a:gd name="T98" fmla="*/ 0 w 645"/>
                <a:gd name="T99" fmla="*/ 0 h 681"/>
                <a:gd name="T100" fmla="*/ 0 w 645"/>
                <a:gd name="T101" fmla="*/ 0 h 681"/>
                <a:gd name="T102" fmla="*/ 0 w 645"/>
                <a:gd name="T103" fmla="*/ 0 h 681"/>
                <a:gd name="T104" fmla="*/ 0 w 645"/>
                <a:gd name="T105" fmla="*/ 0 h 681"/>
                <a:gd name="T106" fmla="*/ 0 w 645"/>
                <a:gd name="T107" fmla="*/ 0 h 681"/>
                <a:gd name="T108" fmla="*/ 0 w 645"/>
                <a:gd name="T109" fmla="*/ 0 h 681"/>
                <a:gd name="T110" fmla="*/ 0 w 645"/>
                <a:gd name="T111" fmla="*/ 0 h 681"/>
                <a:gd name="T112" fmla="*/ 0 w 645"/>
                <a:gd name="T113" fmla="*/ 0 h 681"/>
                <a:gd name="T114" fmla="*/ 0 w 645"/>
                <a:gd name="T115" fmla="*/ 0 h 681"/>
                <a:gd name="T116" fmla="*/ 0 w 645"/>
                <a:gd name="T117" fmla="*/ 0 h 681"/>
                <a:gd name="T118" fmla="*/ 0 w 645"/>
                <a:gd name="T119" fmla="*/ 0 h 681"/>
                <a:gd name="T120" fmla="*/ 0 w 645"/>
                <a:gd name="T121" fmla="*/ 0 h 68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45"/>
                <a:gd name="T184" fmla="*/ 0 h 681"/>
                <a:gd name="T185" fmla="*/ 645 w 645"/>
                <a:gd name="T186" fmla="*/ 681 h 68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45" h="681">
                  <a:moveTo>
                    <a:pt x="201" y="17"/>
                  </a:moveTo>
                  <a:lnTo>
                    <a:pt x="199" y="28"/>
                  </a:lnTo>
                  <a:lnTo>
                    <a:pt x="199" y="36"/>
                  </a:lnTo>
                  <a:lnTo>
                    <a:pt x="195" y="38"/>
                  </a:lnTo>
                  <a:lnTo>
                    <a:pt x="184" y="40"/>
                  </a:lnTo>
                  <a:lnTo>
                    <a:pt x="183" y="46"/>
                  </a:lnTo>
                  <a:lnTo>
                    <a:pt x="184" y="53"/>
                  </a:lnTo>
                  <a:lnTo>
                    <a:pt x="186" y="59"/>
                  </a:lnTo>
                  <a:lnTo>
                    <a:pt x="185" y="63"/>
                  </a:lnTo>
                  <a:lnTo>
                    <a:pt x="164" y="59"/>
                  </a:lnTo>
                  <a:lnTo>
                    <a:pt x="153" y="58"/>
                  </a:lnTo>
                  <a:lnTo>
                    <a:pt x="147" y="53"/>
                  </a:lnTo>
                  <a:lnTo>
                    <a:pt x="140" y="49"/>
                  </a:lnTo>
                  <a:lnTo>
                    <a:pt x="137" y="60"/>
                  </a:lnTo>
                  <a:lnTo>
                    <a:pt x="126" y="79"/>
                  </a:lnTo>
                  <a:lnTo>
                    <a:pt x="125" y="89"/>
                  </a:lnTo>
                  <a:lnTo>
                    <a:pt x="123" y="94"/>
                  </a:lnTo>
                  <a:lnTo>
                    <a:pt x="115" y="89"/>
                  </a:lnTo>
                  <a:lnTo>
                    <a:pt x="109" y="81"/>
                  </a:lnTo>
                  <a:lnTo>
                    <a:pt x="98" y="73"/>
                  </a:lnTo>
                  <a:lnTo>
                    <a:pt x="92" y="53"/>
                  </a:lnTo>
                  <a:lnTo>
                    <a:pt x="81" y="59"/>
                  </a:lnTo>
                  <a:lnTo>
                    <a:pt x="75" y="68"/>
                  </a:lnTo>
                  <a:lnTo>
                    <a:pt x="75" y="76"/>
                  </a:lnTo>
                  <a:lnTo>
                    <a:pt x="71" y="81"/>
                  </a:lnTo>
                  <a:lnTo>
                    <a:pt x="60" y="90"/>
                  </a:lnTo>
                  <a:lnTo>
                    <a:pt x="48" y="90"/>
                  </a:lnTo>
                  <a:lnTo>
                    <a:pt x="23" y="96"/>
                  </a:lnTo>
                  <a:lnTo>
                    <a:pt x="14" y="96"/>
                  </a:lnTo>
                  <a:lnTo>
                    <a:pt x="5" y="97"/>
                  </a:lnTo>
                  <a:lnTo>
                    <a:pt x="3" y="102"/>
                  </a:lnTo>
                  <a:lnTo>
                    <a:pt x="5" y="107"/>
                  </a:lnTo>
                  <a:lnTo>
                    <a:pt x="16" y="133"/>
                  </a:lnTo>
                  <a:lnTo>
                    <a:pt x="18" y="143"/>
                  </a:lnTo>
                  <a:lnTo>
                    <a:pt x="7" y="150"/>
                  </a:lnTo>
                  <a:lnTo>
                    <a:pt x="2" y="156"/>
                  </a:lnTo>
                  <a:lnTo>
                    <a:pt x="0" y="165"/>
                  </a:lnTo>
                  <a:lnTo>
                    <a:pt x="1" y="170"/>
                  </a:lnTo>
                  <a:lnTo>
                    <a:pt x="2" y="175"/>
                  </a:lnTo>
                  <a:lnTo>
                    <a:pt x="11" y="177"/>
                  </a:lnTo>
                  <a:lnTo>
                    <a:pt x="12" y="186"/>
                  </a:lnTo>
                  <a:lnTo>
                    <a:pt x="10" y="194"/>
                  </a:lnTo>
                  <a:lnTo>
                    <a:pt x="11" y="205"/>
                  </a:lnTo>
                  <a:lnTo>
                    <a:pt x="13" y="216"/>
                  </a:lnTo>
                  <a:lnTo>
                    <a:pt x="19" y="225"/>
                  </a:lnTo>
                  <a:lnTo>
                    <a:pt x="44" y="227"/>
                  </a:lnTo>
                  <a:lnTo>
                    <a:pt x="48" y="236"/>
                  </a:lnTo>
                  <a:lnTo>
                    <a:pt x="48" y="245"/>
                  </a:lnTo>
                  <a:lnTo>
                    <a:pt x="45" y="251"/>
                  </a:lnTo>
                  <a:lnTo>
                    <a:pt x="46" y="254"/>
                  </a:lnTo>
                  <a:lnTo>
                    <a:pt x="54" y="254"/>
                  </a:lnTo>
                  <a:lnTo>
                    <a:pt x="64" y="254"/>
                  </a:lnTo>
                  <a:lnTo>
                    <a:pt x="80" y="247"/>
                  </a:lnTo>
                  <a:lnTo>
                    <a:pt x="81" y="240"/>
                  </a:lnTo>
                  <a:lnTo>
                    <a:pt x="89" y="226"/>
                  </a:lnTo>
                  <a:lnTo>
                    <a:pt x="94" y="224"/>
                  </a:lnTo>
                  <a:lnTo>
                    <a:pt x="97" y="218"/>
                  </a:lnTo>
                  <a:lnTo>
                    <a:pt x="114" y="210"/>
                  </a:lnTo>
                  <a:lnTo>
                    <a:pt x="123" y="210"/>
                  </a:lnTo>
                  <a:lnTo>
                    <a:pt x="132" y="213"/>
                  </a:lnTo>
                  <a:lnTo>
                    <a:pt x="173" y="236"/>
                  </a:lnTo>
                  <a:lnTo>
                    <a:pt x="190" y="243"/>
                  </a:lnTo>
                  <a:lnTo>
                    <a:pt x="193" y="248"/>
                  </a:lnTo>
                  <a:lnTo>
                    <a:pt x="195" y="259"/>
                  </a:lnTo>
                  <a:lnTo>
                    <a:pt x="207" y="294"/>
                  </a:lnTo>
                  <a:lnTo>
                    <a:pt x="211" y="306"/>
                  </a:lnTo>
                  <a:lnTo>
                    <a:pt x="210" y="313"/>
                  </a:lnTo>
                  <a:lnTo>
                    <a:pt x="231" y="333"/>
                  </a:lnTo>
                  <a:lnTo>
                    <a:pt x="241" y="345"/>
                  </a:lnTo>
                  <a:lnTo>
                    <a:pt x="244" y="361"/>
                  </a:lnTo>
                  <a:lnTo>
                    <a:pt x="252" y="358"/>
                  </a:lnTo>
                  <a:lnTo>
                    <a:pt x="259" y="358"/>
                  </a:lnTo>
                  <a:lnTo>
                    <a:pt x="269" y="365"/>
                  </a:lnTo>
                  <a:lnTo>
                    <a:pt x="282" y="386"/>
                  </a:lnTo>
                  <a:lnTo>
                    <a:pt x="292" y="387"/>
                  </a:lnTo>
                  <a:lnTo>
                    <a:pt x="309" y="410"/>
                  </a:lnTo>
                  <a:lnTo>
                    <a:pt x="323" y="424"/>
                  </a:lnTo>
                  <a:lnTo>
                    <a:pt x="347" y="444"/>
                  </a:lnTo>
                  <a:lnTo>
                    <a:pt x="352" y="442"/>
                  </a:lnTo>
                  <a:lnTo>
                    <a:pt x="379" y="444"/>
                  </a:lnTo>
                  <a:lnTo>
                    <a:pt x="385" y="445"/>
                  </a:lnTo>
                  <a:lnTo>
                    <a:pt x="400" y="462"/>
                  </a:lnTo>
                  <a:lnTo>
                    <a:pt x="404" y="472"/>
                  </a:lnTo>
                  <a:lnTo>
                    <a:pt x="421" y="479"/>
                  </a:lnTo>
                  <a:lnTo>
                    <a:pt x="422" y="482"/>
                  </a:lnTo>
                  <a:lnTo>
                    <a:pt x="421" y="490"/>
                  </a:lnTo>
                  <a:lnTo>
                    <a:pt x="440" y="487"/>
                  </a:lnTo>
                  <a:lnTo>
                    <a:pt x="444" y="488"/>
                  </a:lnTo>
                  <a:lnTo>
                    <a:pt x="449" y="494"/>
                  </a:lnTo>
                  <a:lnTo>
                    <a:pt x="453" y="505"/>
                  </a:lnTo>
                  <a:lnTo>
                    <a:pt x="451" y="512"/>
                  </a:lnTo>
                  <a:lnTo>
                    <a:pt x="455" y="520"/>
                  </a:lnTo>
                  <a:lnTo>
                    <a:pt x="467" y="525"/>
                  </a:lnTo>
                  <a:lnTo>
                    <a:pt x="473" y="530"/>
                  </a:lnTo>
                  <a:lnTo>
                    <a:pt x="478" y="537"/>
                  </a:lnTo>
                  <a:lnTo>
                    <a:pt x="483" y="527"/>
                  </a:lnTo>
                  <a:lnTo>
                    <a:pt x="487" y="527"/>
                  </a:lnTo>
                  <a:lnTo>
                    <a:pt x="495" y="539"/>
                  </a:lnTo>
                  <a:lnTo>
                    <a:pt x="495" y="546"/>
                  </a:lnTo>
                  <a:lnTo>
                    <a:pt x="498" y="559"/>
                  </a:lnTo>
                  <a:lnTo>
                    <a:pt x="510" y="578"/>
                  </a:lnTo>
                  <a:lnTo>
                    <a:pt x="513" y="596"/>
                  </a:lnTo>
                  <a:lnTo>
                    <a:pt x="522" y="617"/>
                  </a:lnTo>
                  <a:lnTo>
                    <a:pt x="507" y="624"/>
                  </a:lnTo>
                  <a:lnTo>
                    <a:pt x="500" y="629"/>
                  </a:lnTo>
                  <a:lnTo>
                    <a:pt x="503" y="640"/>
                  </a:lnTo>
                  <a:lnTo>
                    <a:pt x="496" y="651"/>
                  </a:lnTo>
                  <a:lnTo>
                    <a:pt x="492" y="661"/>
                  </a:lnTo>
                  <a:lnTo>
                    <a:pt x="494" y="673"/>
                  </a:lnTo>
                  <a:lnTo>
                    <a:pt x="496" y="681"/>
                  </a:lnTo>
                  <a:lnTo>
                    <a:pt x="496" y="678"/>
                  </a:lnTo>
                  <a:lnTo>
                    <a:pt x="496" y="681"/>
                  </a:lnTo>
                  <a:lnTo>
                    <a:pt x="503" y="681"/>
                  </a:lnTo>
                  <a:lnTo>
                    <a:pt x="511" y="681"/>
                  </a:lnTo>
                  <a:lnTo>
                    <a:pt x="514" y="678"/>
                  </a:lnTo>
                  <a:lnTo>
                    <a:pt x="522" y="661"/>
                  </a:lnTo>
                  <a:lnTo>
                    <a:pt x="525" y="656"/>
                  </a:lnTo>
                  <a:lnTo>
                    <a:pt x="532" y="651"/>
                  </a:lnTo>
                  <a:lnTo>
                    <a:pt x="538" y="649"/>
                  </a:lnTo>
                  <a:lnTo>
                    <a:pt x="540" y="643"/>
                  </a:lnTo>
                  <a:lnTo>
                    <a:pt x="541" y="621"/>
                  </a:lnTo>
                  <a:lnTo>
                    <a:pt x="544" y="616"/>
                  </a:lnTo>
                  <a:lnTo>
                    <a:pt x="553" y="613"/>
                  </a:lnTo>
                  <a:lnTo>
                    <a:pt x="562" y="607"/>
                  </a:lnTo>
                  <a:lnTo>
                    <a:pt x="567" y="607"/>
                  </a:lnTo>
                  <a:lnTo>
                    <a:pt x="570" y="603"/>
                  </a:lnTo>
                  <a:lnTo>
                    <a:pt x="570" y="590"/>
                  </a:lnTo>
                  <a:lnTo>
                    <a:pt x="568" y="585"/>
                  </a:lnTo>
                  <a:lnTo>
                    <a:pt x="567" y="575"/>
                  </a:lnTo>
                  <a:lnTo>
                    <a:pt x="564" y="570"/>
                  </a:lnTo>
                  <a:lnTo>
                    <a:pt x="554" y="564"/>
                  </a:lnTo>
                  <a:lnTo>
                    <a:pt x="549" y="558"/>
                  </a:lnTo>
                  <a:lnTo>
                    <a:pt x="538" y="553"/>
                  </a:lnTo>
                  <a:lnTo>
                    <a:pt x="538" y="543"/>
                  </a:lnTo>
                  <a:lnTo>
                    <a:pt x="543" y="523"/>
                  </a:lnTo>
                  <a:lnTo>
                    <a:pt x="551" y="511"/>
                  </a:lnTo>
                  <a:lnTo>
                    <a:pt x="564" y="499"/>
                  </a:lnTo>
                  <a:lnTo>
                    <a:pt x="575" y="496"/>
                  </a:lnTo>
                  <a:lnTo>
                    <a:pt x="591" y="509"/>
                  </a:lnTo>
                  <a:lnTo>
                    <a:pt x="604" y="512"/>
                  </a:lnTo>
                  <a:lnTo>
                    <a:pt x="615" y="519"/>
                  </a:lnTo>
                  <a:lnTo>
                    <a:pt x="619" y="527"/>
                  </a:lnTo>
                  <a:lnTo>
                    <a:pt x="626" y="539"/>
                  </a:lnTo>
                  <a:lnTo>
                    <a:pt x="637" y="546"/>
                  </a:lnTo>
                  <a:lnTo>
                    <a:pt x="637" y="543"/>
                  </a:lnTo>
                  <a:lnTo>
                    <a:pt x="645" y="527"/>
                  </a:lnTo>
                  <a:lnTo>
                    <a:pt x="642" y="520"/>
                  </a:lnTo>
                  <a:lnTo>
                    <a:pt x="636" y="511"/>
                  </a:lnTo>
                  <a:lnTo>
                    <a:pt x="626" y="500"/>
                  </a:lnTo>
                  <a:lnTo>
                    <a:pt x="615" y="482"/>
                  </a:lnTo>
                  <a:lnTo>
                    <a:pt x="580" y="468"/>
                  </a:lnTo>
                  <a:lnTo>
                    <a:pt x="572" y="460"/>
                  </a:lnTo>
                  <a:lnTo>
                    <a:pt x="560" y="452"/>
                  </a:lnTo>
                  <a:lnTo>
                    <a:pt x="524" y="437"/>
                  </a:lnTo>
                  <a:lnTo>
                    <a:pt x="516" y="433"/>
                  </a:lnTo>
                  <a:lnTo>
                    <a:pt x="510" y="430"/>
                  </a:lnTo>
                  <a:lnTo>
                    <a:pt x="506" y="430"/>
                  </a:lnTo>
                  <a:lnTo>
                    <a:pt x="502" y="426"/>
                  </a:lnTo>
                  <a:lnTo>
                    <a:pt x="502" y="420"/>
                  </a:lnTo>
                  <a:lnTo>
                    <a:pt x="508" y="414"/>
                  </a:lnTo>
                  <a:lnTo>
                    <a:pt x="516" y="409"/>
                  </a:lnTo>
                  <a:lnTo>
                    <a:pt x="517" y="401"/>
                  </a:lnTo>
                  <a:lnTo>
                    <a:pt x="511" y="392"/>
                  </a:lnTo>
                  <a:lnTo>
                    <a:pt x="500" y="392"/>
                  </a:lnTo>
                  <a:lnTo>
                    <a:pt x="496" y="394"/>
                  </a:lnTo>
                  <a:lnTo>
                    <a:pt x="503" y="392"/>
                  </a:lnTo>
                  <a:lnTo>
                    <a:pt x="496" y="394"/>
                  </a:lnTo>
                  <a:lnTo>
                    <a:pt x="465" y="394"/>
                  </a:lnTo>
                  <a:lnTo>
                    <a:pt x="465" y="403"/>
                  </a:lnTo>
                  <a:lnTo>
                    <a:pt x="453" y="390"/>
                  </a:lnTo>
                  <a:lnTo>
                    <a:pt x="442" y="382"/>
                  </a:lnTo>
                  <a:lnTo>
                    <a:pt x="437" y="382"/>
                  </a:lnTo>
                  <a:lnTo>
                    <a:pt x="435" y="374"/>
                  </a:lnTo>
                  <a:lnTo>
                    <a:pt x="431" y="374"/>
                  </a:lnTo>
                  <a:lnTo>
                    <a:pt x="410" y="354"/>
                  </a:lnTo>
                  <a:lnTo>
                    <a:pt x="405" y="345"/>
                  </a:lnTo>
                  <a:lnTo>
                    <a:pt x="398" y="332"/>
                  </a:lnTo>
                  <a:lnTo>
                    <a:pt x="392" y="313"/>
                  </a:lnTo>
                  <a:lnTo>
                    <a:pt x="388" y="309"/>
                  </a:lnTo>
                  <a:lnTo>
                    <a:pt x="382" y="285"/>
                  </a:lnTo>
                  <a:lnTo>
                    <a:pt x="374" y="270"/>
                  </a:lnTo>
                  <a:lnTo>
                    <a:pt x="369" y="267"/>
                  </a:lnTo>
                  <a:lnTo>
                    <a:pt x="363" y="267"/>
                  </a:lnTo>
                  <a:lnTo>
                    <a:pt x="362" y="263"/>
                  </a:lnTo>
                  <a:lnTo>
                    <a:pt x="347" y="254"/>
                  </a:lnTo>
                  <a:lnTo>
                    <a:pt x="341" y="247"/>
                  </a:lnTo>
                  <a:lnTo>
                    <a:pt x="320" y="237"/>
                  </a:lnTo>
                  <a:lnTo>
                    <a:pt x="314" y="230"/>
                  </a:lnTo>
                  <a:lnTo>
                    <a:pt x="309" y="220"/>
                  </a:lnTo>
                  <a:lnTo>
                    <a:pt x="306" y="211"/>
                  </a:lnTo>
                  <a:lnTo>
                    <a:pt x="306" y="193"/>
                  </a:lnTo>
                  <a:lnTo>
                    <a:pt x="308" y="177"/>
                  </a:lnTo>
                  <a:lnTo>
                    <a:pt x="313" y="172"/>
                  </a:lnTo>
                  <a:lnTo>
                    <a:pt x="314" y="165"/>
                  </a:lnTo>
                  <a:lnTo>
                    <a:pt x="312" y="159"/>
                  </a:lnTo>
                  <a:lnTo>
                    <a:pt x="304" y="156"/>
                  </a:lnTo>
                  <a:lnTo>
                    <a:pt x="302" y="141"/>
                  </a:lnTo>
                  <a:lnTo>
                    <a:pt x="304" y="134"/>
                  </a:lnTo>
                  <a:lnTo>
                    <a:pt x="314" y="126"/>
                  </a:lnTo>
                  <a:lnTo>
                    <a:pt x="318" y="126"/>
                  </a:lnTo>
                  <a:lnTo>
                    <a:pt x="319" y="127"/>
                  </a:lnTo>
                  <a:lnTo>
                    <a:pt x="324" y="126"/>
                  </a:lnTo>
                  <a:lnTo>
                    <a:pt x="357" y="108"/>
                  </a:lnTo>
                  <a:lnTo>
                    <a:pt x="366" y="111"/>
                  </a:lnTo>
                  <a:lnTo>
                    <a:pt x="376" y="106"/>
                  </a:lnTo>
                  <a:lnTo>
                    <a:pt x="382" y="107"/>
                  </a:lnTo>
                  <a:lnTo>
                    <a:pt x="383" y="113"/>
                  </a:lnTo>
                  <a:lnTo>
                    <a:pt x="379" y="121"/>
                  </a:lnTo>
                  <a:lnTo>
                    <a:pt x="379" y="122"/>
                  </a:lnTo>
                  <a:lnTo>
                    <a:pt x="384" y="123"/>
                  </a:lnTo>
                  <a:lnTo>
                    <a:pt x="389" y="122"/>
                  </a:lnTo>
                  <a:lnTo>
                    <a:pt x="393" y="119"/>
                  </a:lnTo>
                  <a:lnTo>
                    <a:pt x="394" y="114"/>
                  </a:lnTo>
                  <a:lnTo>
                    <a:pt x="392" y="111"/>
                  </a:lnTo>
                  <a:lnTo>
                    <a:pt x="388" y="110"/>
                  </a:lnTo>
                  <a:lnTo>
                    <a:pt x="385" y="105"/>
                  </a:lnTo>
                  <a:lnTo>
                    <a:pt x="378" y="101"/>
                  </a:lnTo>
                  <a:lnTo>
                    <a:pt x="376" y="98"/>
                  </a:lnTo>
                  <a:lnTo>
                    <a:pt x="376" y="90"/>
                  </a:lnTo>
                  <a:lnTo>
                    <a:pt x="371" y="84"/>
                  </a:lnTo>
                  <a:lnTo>
                    <a:pt x="372" y="76"/>
                  </a:lnTo>
                  <a:lnTo>
                    <a:pt x="374" y="69"/>
                  </a:lnTo>
                  <a:lnTo>
                    <a:pt x="369" y="70"/>
                  </a:lnTo>
                  <a:lnTo>
                    <a:pt x="367" y="69"/>
                  </a:lnTo>
                  <a:lnTo>
                    <a:pt x="367" y="64"/>
                  </a:lnTo>
                  <a:lnTo>
                    <a:pt x="369" y="57"/>
                  </a:lnTo>
                  <a:lnTo>
                    <a:pt x="381" y="47"/>
                  </a:lnTo>
                  <a:lnTo>
                    <a:pt x="372" y="47"/>
                  </a:lnTo>
                  <a:lnTo>
                    <a:pt x="358" y="42"/>
                  </a:lnTo>
                  <a:lnTo>
                    <a:pt x="328" y="37"/>
                  </a:lnTo>
                  <a:lnTo>
                    <a:pt x="318" y="31"/>
                  </a:lnTo>
                  <a:lnTo>
                    <a:pt x="313" y="31"/>
                  </a:lnTo>
                  <a:lnTo>
                    <a:pt x="302" y="22"/>
                  </a:lnTo>
                  <a:lnTo>
                    <a:pt x="298" y="15"/>
                  </a:lnTo>
                  <a:lnTo>
                    <a:pt x="296" y="8"/>
                  </a:lnTo>
                  <a:lnTo>
                    <a:pt x="296" y="3"/>
                  </a:lnTo>
                  <a:lnTo>
                    <a:pt x="293" y="0"/>
                  </a:lnTo>
                  <a:lnTo>
                    <a:pt x="287" y="1"/>
                  </a:lnTo>
                  <a:lnTo>
                    <a:pt x="282" y="5"/>
                  </a:lnTo>
                  <a:lnTo>
                    <a:pt x="272" y="8"/>
                  </a:lnTo>
                  <a:lnTo>
                    <a:pt x="254" y="9"/>
                  </a:lnTo>
                  <a:lnTo>
                    <a:pt x="234" y="16"/>
                  </a:lnTo>
                  <a:lnTo>
                    <a:pt x="218" y="21"/>
                  </a:lnTo>
                  <a:lnTo>
                    <a:pt x="215" y="22"/>
                  </a:lnTo>
                  <a:lnTo>
                    <a:pt x="201" y="1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68" name="Freeform 177">
              <a:extLst>
                <a:ext uri="{FF2B5EF4-FFF2-40B4-BE49-F238E27FC236}">
                  <a16:creationId xmlns:a16="http://schemas.microsoft.com/office/drawing/2014/main" id="{F7A2B36C-DEAF-0A7A-F844-ACB6A1E9FD2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937330" y="2536323"/>
              <a:ext cx="17908" cy="32008"/>
            </a:xfrm>
            <a:custGeom>
              <a:avLst/>
              <a:gdLst>
                <a:gd name="T0" fmla="*/ 0 w 38"/>
                <a:gd name="T1" fmla="*/ 0 h 53"/>
                <a:gd name="T2" fmla="*/ 0 w 38"/>
                <a:gd name="T3" fmla="*/ 0 h 53"/>
                <a:gd name="T4" fmla="*/ 0 w 38"/>
                <a:gd name="T5" fmla="*/ 0 h 53"/>
                <a:gd name="T6" fmla="*/ 0 w 38"/>
                <a:gd name="T7" fmla="*/ 0 h 53"/>
                <a:gd name="T8" fmla="*/ 0 w 38"/>
                <a:gd name="T9" fmla="*/ 0 h 53"/>
                <a:gd name="T10" fmla="*/ 0 w 38"/>
                <a:gd name="T11" fmla="*/ 0 h 53"/>
                <a:gd name="T12" fmla="*/ 0 w 38"/>
                <a:gd name="T13" fmla="*/ 0 h 53"/>
                <a:gd name="T14" fmla="*/ 0 w 38"/>
                <a:gd name="T15" fmla="*/ 0 h 53"/>
                <a:gd name="T16" fmla="*/ 0 w 38"/>
                <a:gd name="T17" fmla="*/ 0 h 53"/>
                <a:gd name="T18" fmla="*/ 0 w 38"/>
                <a:gd name="T19" fmla="*/ 0 h 53"/>
                <a:gd name="T20" fmla="*/ 0 w 38"/>
                <a:gd name="T21" fmla="*/ 0 h 53"/>
                <a:gd name="T22" fmla="*/ 0 w 38"/>
                <a:gd name="T23" fmla="*/ 0 h 53"/>
                <a:gd name="T24" fmla="*/ 0 w 38"/>
                <a:gd name="T25" fmla="*/ 0 h 53"/>
                <a:gd name="T26" fmla="*/ 0 w 38"/>
                <a:gd name="T27" fmla="*/ 0 h 53"/>
                <a:gd name="T28" fmla="*/ 0 w 38"/>
                <a:gd name="T29" fmla="*/ 0 h 5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8"/>
                <a:gd name="T46" fmla="*/ 0 h 53"/>
                <a:gd name="T47" fmla="*/ 38 w 38"/>
                <a:gd name="T48" fmla="*/ 53 h 5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8" h="53">
                  <a:moveTo>
                    <a:pt x="21" y="53"/>
                  </a:moveTo>
                  <a:lnTo>
                    <a:pt x="33" y="52"/>
                  </a:lnTo>
                  <a:lnTo>
                    <a:pt x="38" y="45"/>
                  </a:lnTo>
                  <a:lnTo>
                    <a:pt x="37" y="33"/>
                  </a:lnTo>
                  <a:lnTo>
                    <a:pt x="33" y="26"/>
                  </a:lnTo>
                  <a:lnTo>
                    <a:pt x="28" y="18"/>
                  </a:lnTo>
                  <a:lnTo>
                    <a:pt x="28" y="11"/>
                  </a:lnTo>
                  <a:lnTo>
                    <a:pt x="30" y="4"/>
                  </a:lnTo>
                  <a:lnTo>
                    <a:pt x="22" y="0"/>
                  </a:lnTo>
                  <a:lnTo>
                    <a:pt x="16" y="0"/>
                  </a:lnTo>
                  <a:lnTo>
                    <a:pt x="6" y="7"/>
                  </a:lnTo>
                  <a:lnTo>
                    <a:pt x="0" y="20"/>
                  </a:lnTo>
                  <a:lnTo>
                    <a:pt x="3" y="33"/>
                  </a:lnTo>
                  <a:lnTo>
                    <a:pt x="3" y="48"/>
                  </a:lnTo>
                  <a:lnTo>
                    <a:pt x="21" y="5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69" name="Freeform 178">
              <a:extLst>
                <a:ext uri="{FF2B5EF4-FFF2-40B4-BE49-F238E27FC236}">
                  <a16:creationId xmlns:a16="http://schemas.microsoft.com/office/drawing/2014/main" id="{D42B10FE-514C-4476-CE36-CC1A2DABC65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943300" y="2656735"/>
              <a:ext cx="131326" cy="79259"/>
            </a:xfrm>
            <a:custGeom>
              <a:avLst/>
              <a:gdLst>
                <a:gd name="T0" fmla="*/ 0 w 241"/>
                <a:gd name="T1" fmla="*/ 0 h 142"/>
                <a:gd name="T2" fmla="*/ 0 w 241"/>
                <a:gd name="T3" fmla="*/ 0 h 142"/>
                <a:gd name="T4" fmla="*/ 0 w 241"/>
                <a:gd name="T5" fmla="*/ 0 h 142"/>
                <a:gd name="T6" fmla="*/ 0 w 241"/>
                <a:gd name="T7" fmla="*/ 0 h 142"/>
                <a:gd name="T8" fmla="*/ 0 w 241"/>
                <a:gd name="T9" fmla="*/ 0 h 142"/>
                <a:gd name="T10" fmla="*/ 0 w 241"/>
                <a:gd name="T11" fmla="*/ 0 h 142"/>
                <a:gd name="T12" fmla="*/ 0 w 241"/>
                <a:gd name="T13" fmla="*/ 0 h 142"/>
                <a:gd name="T14" fmla="*/ 0 w 241"/>
                <a:gd name="T15" fmla="*/ 0 h 142"/>
                <a:gd name="T16" fmla="*/ 0 w 241"/>
                <a:gd name="T17" fmla="*/ 0 h 142"/>
                <a:gd name="T18" fmla="*/ 0 w 241"/>
                <a:gd name="T19" fmla="*/ 0 h 142"/>
                <a:gd name="T20" fmla="*/ 0 w 241"/>
                <a:gd name="T21" fmla="*/ 0 h 142"/>
                <a:gd name="T22" fmla="*/ 0 w 241"/>
                <a:gd name="T23" fmla="*/ 0 h 142"/>
                <a:gd name="T24" fmla="*/ 0 w 241"/>
                <a:gd name="T25" fmla="*/ 0 h 142"/>
                <a:gd name="T26" fmla="*/ 0 w 241"/>
                <a:gd name="T27" fmla="*/ 0 h 142"/>
                <a:gd name="T28" fmla="*/ 0 w 241"/>
                <a:gd name="T29" fmla="*/ 0 h 142"/>
                <a:gd name="T30" fmla="*/ 0 w 241"/>
                <a:gd name="T31" fmla="*/ 0 h 142"/>
                <a:gd name="T32" fmla="*/ 0 w 241"/>
                <a:gd name="T33" fmla="*/ 0 h 142"/>
                <a:gd name="T34" fmla="*/ 0 w 241"/>
                <a:gd name="T35" fmla="*/ 0 h 142"/>
                <a:gd name="T36" fmla="*/ 0 w 241"/>
                <a:gd name="T37" fmla="*/ 0 h 142"/>
                <a:gd name="T38" fmla="*/ 0 w 241"/>
                <a:gd name="T39" fmla="*/ 0 h 142"/>
                <a:gd name="T40" fmla="*/ 0 w 241"/>
                <a:gd name="T41" fmla="*/ 0 h 142"/>
                <a:gd name="T42" fmla="*/ 0 w 241"/>
                <a:gd name="T43" fmla="*/ 0 h 142"/>
                <a:gd name="T44" fmla="*/ 0 w 241"/>
                <a:gd name="T45" fmla="*/ 0 h 142"/>
                <a:gd name="T46" fmla="*/ 0 w 241"/>
                <a:gd name="T47" fmla="*/ 0 h 142"/>
                <a:gd name="T48" fmla="*/ 0 w 241"/>
                <a:gd name="T49" fmla="*/ 0 h 142"/>
                <a:gd name="T50" fmla="*/ 0 w 241"/>
                <a:gd name="T51" fmla="*/ 0 h 142"/>
                <a:gd name="T52" fmla="*/ 0 w 241"/>
                <a:gd name="T53" fmla="*/ 0 h 142"/>
                <a:gd name="T54" fmla="*/ 0 w 241"/>
                <a:gd name="T55" fmla="*/ 0 h 142"/>
                <a:gd name="T56" fmla="*/ 0 w 241"/>
                <a:gd name="T57" fmla="*/ 0 h 142"/>
                <a:gd name="T58" fmla="*/ 0 w 241"/>
                <a:gd name="T59" fmla="*/ 0 h 142"/>
                <a:gd name="T60" fmla="*/ 0 w 241"/>
                <a:gd name="T61" fmla="*/ 0 h 142"/>
                <a:gd name="T62" fmla="*/ 0 w 241"/>
                <a:gd name="T63" fmla="*/ 0 h 142"/>
                <a:gd name="T64" fmla="*/ 0 w 241"/>
                <a:gd name="T65" fmla="*/ 0 h 14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41"/>
                <a:gd name="T100" fmla="*/ 0 h 142"/>
                <a:gd name="T101" fmla="*/ 241 w 241"/>
                <a:gd name="T102" fmla="*/ 142 h 14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41" h="142">
                  <a:moveTo>
                    <a:pt x="54" y="142"/>
                  </a:moveTo>
                  <a:lnTo>
                    <a:pt x="52" y="131"/>
                  </a:lnTo>
                  <a:lnTo>
                    <a:pt x="45" y="130"/>
                  </a:lnTo>
                  <a:lnTo>
                    <a:pt x="42" y="119"/>
                  </a:lnTo>
                  <a:lnTo>
                    <a:pt x="42" y="101"/>
                  </a:lnTo>
                  <a:lnTo>
                    <a:pt x="38" y="100"/>
                  </a:lnTo>
                  <a:lnTo>
                    <a:pt x="21" y="100"/>
                  </a:lnTo>
                  <a:lnTo>
                    <a:pt x="10" y="117"/>
                  </a:lnTo>
                  <a:lnTo>
                    <a:pt x="4" y="121"/>
                  </a:lnTo>
                  <a:lnTo>
                    <a:pt x="0" y="119"/>
                  </a:lnTo>
                  <a:lnTo>
                    <a:pt x="2" y="97"/>
                  </a:lnTo>
                  <a:lnTo>
                    <a:pt x="5" y="84"/>
                  </a:lnTo>
                  <a:lnTo>
                    <a:pt x="9" y="81"/>
                  </a:lnTo>
                  <a:lnTo>
                    <a:pt x="13" y="74"/>
                  </a:lnTo>
                  <a:lnTo>
                    <a:pt x="20" y="70"/>
                  </a:lnTo>
                  <a:lnTo>
                    <a:pt x="21" y="67"/>
                  </a:lnTo>
                  <a:lnTo>
                    <a:pt x="24" y="57"/>
                  </a:lnTo>
                  <a:lnTo>
                    <a:pt x="30" y="49"/>
                  </a:lnTo>
                  <a:lnTo>
                    <a:pt x="53" y="23"/>
                  </a:lnTo>
                  <a:lnTo>
                    <a:pt x="50" y="18"/>
                  </a:lnTo>
                  <a:lnTo>
                    <a:pt x="53" y="11"/>
                  </a:lnTo>
                  <a:lnTo>
                    <a:pt x="70" y="13"/>
                  </a:lnTo>
                  <a:lnTo>
                    <a:pt x="78" y="9"/>
                  </a:lnTo>
                  <a:lnTo>
                    <a:pt x="85" y="3"/>
                  </a:lnTo>
                  <a:lnTo>
                    <a:pt x="91" y="9"/>
                  </a:lnTo>
                  <a:lnTo>
                    <a:pt x="127" y="6"/>
                  </a:lnTo>
                  <a:lnTo>
                    <a:pt x="153" y="0"/>
                  </a:lnTo>
                  <a:lnTo>
                    <a:pt x="172" y="6"/>
                  </a:lnTo>
                  <a:lnTo>
                    <a:pt x="190" y="13"/>
                  </a:lnTo>
                  <a:lnTo>
                    <a:pt x="197" y="22"/>
                  </a:lnTo>
                  <a:lnTo>
                    <a:pt x="195" y="30"/>
                  </a:lnTo>
                  <a:lnTo>
                    <a:pt x="193" y="40"/>
                  </a:lnTo>
                  <a:lnTo>
                    <a:pt x="201" y="52"/>
                  </a:lnTo>
                  <a:lnTo>
                    <a:pt x="207" y="57"/>
                  </a:lnTo>
                  <a:lnTo>
                    <a:pt x="217" y="62"/>
                  </a:lnTo>
                  <a:lnTo>
                    <a:pt x="226" y="63"/>
                  </a:lnTo>
                  <a:lnTo>
                    <a:pt x="234" y="58"/>
                  </a:lnTo>
                  <a:lnTo>
                    <a:pt x="241" y="63"/>
                  </a:lnTo>
                  <a:lnTo>
                    <a:pt x="239" y="74"/>
                  </a:lnTo>
                  <a:lnTo>
                    <a:pt x="239" y="82"/>
                  </a:lnTo>
                  <a:lnTo>
                    <a:pt x="235" y="84"/>
                  </a:lnTo>
                  <a:lnTo>
                    <a:pt x="224" y="86"/>
                  </a:lnTo>
                  <a:lnTo>
                    <a:pt x="223" y="92"/>
                  </a:lnTo>
                  <a:lnTo>
                    <a:pt x="224" y="99"/>
                  </a:lnTo>
                  <a:lnTo>
                    <a:pt x="226" y="105"/>
                  </a:lnTo>
                  <a:lnTo>
                    <a:pt x="225" y="109"/>
                  </a:lnTo>
                  <a:lnTo>
                    <a:pt x="204" y="105"/>
                  </a:lnTo>
                  <a:lnTo>
                    <a:pt x="193" y="104"/>
                  </a:lnTo>
                  <a:lnTo>
                    <a:pt x="187" y="99"/>
                  </a:lnTo>
                  <a:lnTo>
                    <a:pt x="180" y="95"/>
                  </a:lnTo>
                  <a:lnTo>
                    <a:pt x="177" y="106"/>
                  </a:lnTo>
                  <a:lnTo>
                    <a:pt x="166" y="126"/>
                  </a:lnTo>
                  <a:lnTo>
                    <a:pt x="165" y="135"/>
                  </a:lnTo>
                  <a:lnTo>
                    <a:pt x="163" y="140"/>
                  </a:lnTo>
                  <a:lnTo>
                    <a:pt x="155" y="135"/>
                  </a:lnTo>
                  <a:lnTo>
                    <a:pt x="149" y="127"/>
                  </a:lnTo>
                  <a:lnTo>
                    <a:pt x="138" y="119"/>
                  </a:lnTo>
                  <a:lnTo>
                    <a:pt x="132" y="99"/>
                  </a:lnTo>
                  <a:lnTo>
                    <a:pt x="121" y="105"/>
                  </a:lnTo>
                  <a:lnTo>
                    <a:pt x="115" y="114"/>
                  </a:lnTo>
                  <a:lnTo>
                    <a:pt x="115" y="122"/>
                  </a:lnTo>
                  <a:lnTo>
                    <a:pt x="111" y="127"/>
                  </a:lnTo>
                  <a:lnTo>
                    <a:pt x="100" y="136"/>
                  </a:lnTo>
                  <a:lnTo>
                    <a:pt x="88" y="136"/>
                  </a:lnTo>
                  <a:lnTo>
                    <a:pt x="63" y="142"/>
                  </a:lnTo>
                  <a:lnTo>
                    <a:pt x="54" y="14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70" name="Freeform 179">
              <a:extLst>
                <a:ext uri="{FF2B5EF4-FFF2-40B4-BE49-F238E27FC236}">
                  <a16:creationId xmlns:a16="http://schemas.microsoft.com/office/drawing/2014/main" id="{6F30312A-36F1-2A8C-1985-F9948524974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855251" y="2475353"/>
              <a:ext cx="97003" cy="89929"/>
            </a:xfrm>
            <a:custGeom>
              <a:avLst/>
              <a:gdLst>
                <a:gd name="T0" fmla="*/ 0 w 188"/>
                <a:gd name="T1" fmla="*/ 0 h 161"/>
                <a:gd name="T2" fmla="*/ 0 w 188"/>
                <a:gd name="T3" fmla="*/ 0 h 161"/>
                <a:gd name="T4" fmla="*/ 0 w 188"/>
                <a:gd name="T5" fmla="*/ 0 h 161"/>
                <a:gd name="T6" fmla="*/ 0 w 188"/>
                <a:gd name="T7" fmla="*/ 0 h 161"/>
                <a:gd name="T8" fmla="*/ 0 w 188"/>
                <a:gd name="T9" fmla="*/ 0 h 161"/>
                <a:gd name="T10" fmla="*/ 0 w 188"/>
                <a:gd name="T11" fmla="*/ 0 h 161"/>
                <a:gd name="T12" fmla="*/ 0 w 188"/>
                <a:gd name="T13" fmla="*/ 0 h 161"/>
                <a:gd name="T14" fmla="*/ 0 w 188"/>
                <a:gd name="T15" fmla="*/ 0 h 161"/>
                <a:gd name="T16" fmla="*/ 0 w 188"/>
                <a:gd name="T17" fmla="*/ 0 h 161"/>
                <a:gd name="T18" fmla="*/ 0 w 188"/>
                <a:gd name="T19" fmla="*/ 0 h 161"/>
                <a:gd name="T20" fmla="*/ 0 w 188"/>
                <a:gd name="T21" fmla="*/ 0 h 161"/>
                <a:gd name="T22" fmla="*/ 0 w 188"/>
                <a:gd name="T23" fmla="*/ 0 h 161"/>
                <a:gd name="T24" fmla="*/ 0 w 188"/>
                <a:gd name="T25" fmla="*/ 0 h 161"/>
                <a:gd name="T26" fmla="*/ 0 w 188"/>
                <a:gd name="T27" fmla="*/ 0 h 161"/>
                <a:gd name="T28" fmla="*/ 0 w 188"/>
                <a:gd name="T29" fmla="*/ 0 h 161"/>
                <a:gd name="T30" fmla="*/ 0 w 188"/>
                <a:gd name="T31" fmla="*/ 0 h 161"/>
                <a:gd name="T32" fmla="*/ 0 w 188"/>
                <a:gd name="T33" fmla="*/ 0 h 161"/>
                <a:gd name="T34" fmla="*/ 0 w 188"/>
                <a:gd name="T35" fmla="*/ 0 h 161"/>
                <a:gd name="T36" fmla="*/ 0 w 188"/>
                <a:gd name="T37" fmla="*/ 0 h 161"/>
                <a:gd name="T38" fmla="*/ 0 w 188"/>
                <a:gd name="T39" fmla="*/ 0 h 161"/>
                <a:gd name="T40" fmla="*/ 0 w 188"/>
                <a:gd name="T41" fmla="*/ 0 h 161"/>
                <a:gd name="T42" fmla="*/ 0 w 188"/>
                <a:gd name="T43" fmla="*/ 0 h 161"/>
                <a:gd name="T44" fmla="*/ 0 w 188"/>
                <a:gd name="T45" fmla="*/ 0 h 161"/>
                <a:gd name="T46" fmla="*/ 0 w 188"/>
                <a:gd name="T47" fmla="*/ 0 h 161"/>
                <a:gd name="T48" fmla="*/ 0 w 188"/>
                <a:gd name="T49" fmla="*/ 0 h 161"/>
                <a:gd name="T50" fmla="*/ 0 w 188"/>
                <a:gd name="T51" fmla="*/ 0 h 161"/>
                <a:gd name="T52" fmla="*/ 0 w 188"/>
                <a:gd name="T53" fmla="*/ 0 h 161"/>
                <a:gd name="T54" fmla="*/ 0 w 188"/>
                <a:gd name="T55" fmla="*/ 0 h 161"/>
                <a:gd name="T56" fmla="*/ 0 w 188"/>
                <a:gd name="T57" fmla="*/ 0 h 161"/>
                <a:gd name="T58" fmla="*/ 0 w 188"/>
                <a:gd name="T59" fmla="*/ 0 h 161"/>
                <a:gd name="T60" fmla="*/ 0 w 188"/>
                <a:gd name="T61" fmla="*/ 0 h 161"/>
                <a:gd name="T62" fmla="*/ 0 w 188"/>
                <a:gd name="T63" fmla="*/ 0 h 161"/>
                <a:gd name="T64" fmla="*/ 0 w 188"/>
                <a:gd name="T65" fmla="*/ 0 h 161"/>
                <a:gd name="T66" fmla="*/ 0 w 188"/>
                <a:gd name="T67" fmla="*/ 0 h 161"/>
                <a:gd name="T68" fmla="*/ 0 w 188"/>
                <a:gd name="T69" fmla="*/ 0 h 161"/>
                <a:gd name="T70" fmla="*/ 0 w 188"/>
                <a:gd name="T71" fmla="*/ 0 h 161"/>
                <a:gd name="T72" fmla="*/ 0 w 188"/>
                <a:gd name="T73" fmla="*/ 0 h 161"/>
                <a:gd name="T74" fmla="*/ 0 w 188"/>
                <a:gd name="T75" fmla="*/ 0 h 161"/>
                <a:gd name="T76" fmla="*/ 0 w 188"/>
                <a:gd name="T77" fmla="*/ 0 h 161"/>
                <a:gd name="T78" fmla="*/ 0 w 188"/>
                <a:gd name="T79" fmla="*/ 0 h 161"/>
                <a:gd name="T80" fmla="*/ 0 w 188"/>
                <a:gd name="T81" fmla="*/ 0 h 161"/>
                <a:gd name="T82" fmla="*/ 0 w 188"/>
                <a:gd name="T83" fmla="*/ 0 h 161"/>
                <a:gd name="T84" fmla="*/ 0 w 188"/>
                <a:gd name="T85" fmla="*/ 0 h 161"/>
                <a:gd name="T86" fmla="*/ 0 w 188"/>
                <a:gd name="T87" fmla="*/ 0 h 161"/>
                <a:gd name="T88" fmla="*/ 0 w 188"/>
                <a:gd name="T89" fmla="*/ 0 h 161"/>
                <a:gd name="T90" fmla="*/ 0 w 188"/>
                <a:gd name="T91" fmla="*/ 0 h 161"/>
                <a:gd name="T92" fmla="*/ 0 w 188"/>
                <a:gd name="T93" fmla="*/ 0 h 161"/>
                <a:gd name="T94" fmla="*/ 0 w 188"/>
                <a:gd name="T95" fmla="*/ 0 h 161"/>
                <a:gd name="T96" fmla="*/ 0 w 188"/>
                <a:gd name="T97" fmla="*/ 0 h 161"/>
                <a:gd name="T98" fmla="*/ 0 w 188"/>
                <a:gd name="T99" fmla="*/ 0 h 161"/>
                <a:gd name="T100" fmla="*/ 0 w 188"/>
                <a:gd name="T101" fmla="*/ 0 h 161"/>
                <a:gd name="T102" fmla="*/ 0 w 188"/>
                <a:gd name="T103" fmla="*/ 0 h 161"/>
                <a:gd name="T104" fmla="*/ 0 w 188"/>
                <a:gd name="T105" fmla="*/ 0 h 161"/>
                <a:gd name="T106" fmla="*/ 0 w 188"/>
                <a:gd name="T107" fmla="*/ 0 h 161"/>
                <a:gd name="T108" fmla="*/ 0 w 188"/>
                <a:gd name="T109" fmla="*/ 0 h 16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88"/>
                <a:gd name="T166" fmla="*/ 0 h 161"/>
                <a:gd name="T167" fmla="*/ 188 w 188"/>
                <a:gd name="T168" fmla="*/ 161 h 16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88" h="161">
                  <a:moveTo>
                    <a:pt x="158" y="160"/>
                  </a:moveTo>
                  <a:lnTo>
                    <a:pt x="150" y="161"/>
                  </a:lnTo>
                  <a:lnTo>
                    <a:pt x="140" y="159"/>
                  </a:lnTo>
                  <a:lnTo>
                    <a:pt x="131" y="152"/>
                  </a:lnTo>
                  <a:lnTo>
                    <a:pt x="120" y="146"/>
                  </a:lnTo>
                  <a:lnTo>
                    <a:pt x="123" y="140"/>
                  </a:lnTo>
                  <a:lnTo>
                    <a:pt x="118" y="138"/>
                  </a:lnTo>
                  <a:lnTo>
                    <a:pt x="118" y="114"/>
                  </a:lnTo>
                  <a:lnTo>
                    <a:pt x="112" y="114"/>
                  </a:lnTo>
                  <a:lnTo>
                    <a:pt x="106" y="122"/>
                  </a:lnTo>
                  <a:lnTo>
                    <a:pt x="101" y="129"/>
                  </a:lnTo>
                  <a:lnTo>
                    <a:pt x="91" y="129"/>
                  </a:lnTo>
                  <a:lnTo>
                    <a:pt x="81" y="125"/>
                  </a:lnTo>
                  <a:lnTo>
                    <a:pt x="79" y="110"/>
                  </a:lnTo>
                  <a:lnTo>
                    <a:pt x="76" y="101"/>
                  </a:lnTo>
                  <a:lnTo>
                    <a:pt x="70" y="96"/>
                  </a:lnTo>
                  <a:lnTo>
                    <a:pt x="58" y="92"/>
                  </a:lnTo>
                  <a:lnTo>
                    <a:pt x="44" y="84"/>
                  </a:lnTo>
                  <a:lnTo>
                    <a:pt x="34" y="80"/>
                  </a:lnTo>
                  <a:lnTo>
                    <a:pt x="25" y="62"/>
                  </a:lnTo>
                  <a:lnTo>
                    <a:pt x="13" y="63"/>
                  </a:lnTo>
                  <a:lnTo>
                    <a:pt x="2" y="58"/>
                  </a:lnTo>
                  <a:lnTo>
                    <a:pt x="0" y="48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23" y="15"/>
                  </a:lnTo>
                  <a:lnTo>
                    <a:pt x="33" y="11"/>
                  </a:lnTo>
                  <a:lnTo>
                    <a:pt x="39" y="10"/>
                  </a:lnTo>
                  <a:lnTo>
                    <a:pt x="39" y="11"/>
                  </a:lnTo>
                  <a:lnTo>
                    <a:pt x="56" y="20"/>
                  </a:lnTo>
                  <a:lnTo>
                    <a:pt x="76" y="14"/>
                  </a:lnTo>
                  <a:lnTo>
                    <a:pt x="91" y="4"/>
                  </a:lnTo>
                  <a:lnTo>
                    <a:pt x="103" y="1"/>
                  </a:lnTo>
                  <a:lnTo>
                    <a:pt x="118" y="0"/>
                  </a:lnTo>
                  <a:lnTo>
                    <a:pt x="124" y="6"/>
                  </a:lnTo>
                  <a:lnTo>
                    <a:pt x="127" y="6"/>
                  </a:lnTo>
                  <a:lnTo>
                    <a:pt x="129" y="14"/>
                  </a:lnTo>
                  <a:lnTo>
                    <a:pt x="138" y="17"/>
                  </a:lnTo>
                  <a:lnTo>
                    <a:pt x="146" y="19"/>
                  </a:lnTo>
                  <a:lnTo>
                    <a:pt x="155" y="24"/>
                  </a:lnTo>
                  <a:lnTo>
                    <a:pt x="155" y="35"/>
                  </a:lnTo>
                  <a:lnTo>
                    <a:pt x="154" y="44"/>
                  </a:lnTo>
                  <a:lnTo>
                    <a:pt x="156" y="55"/>
                  </a:lnTo>
                  <a:lnTo>
                    <a:pt x="163" y="62"/>
                  </a:lnTo>
                  <a:lnTo>
                    <a:pt x="176" y="62"/>
                  </a:lnTo>
                  <a:lnTo>
                    <a:pt x="181" y="68"/>
                  </a:lnTo>
                  <a:lnTo>
                    <a:pt x="182" y="79"/>
                  </a:lnTo>
                  <a:lnTo>
                    <a:pt x="188" y="87"/>
                  </a:lnTo>
                  <a:lnTo>
                    <a:pt x="188" y="96"/>
                  </a:lnTo>
                  <a:lnTo>
                    <a:pt x="177" y="112"/>
                  </a:lnTo>
                  <a:lnTo>
                    <a:pt x="171" y="112"/>
                  </a:lnTo>
                  <a:lnTo>
                    <a:pt x="161" y="119"/>
                  </a:lnTo>
                  <a:lnTo>
                    <a:pt x="155" y="132"/>
                  </a:lnTo>
                  <a:lnTo>
                    <a:pt x="158" y="145"/>
                  </a:lnTo>
                  <a:lnTo>
                    <a:pt x="158" y="16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71" name="Freeform 180">
              <a:extLst>
                <a:ext uri="{FF2B5EF4-FFF2-40B4-BE49-F238E27FC236}">
                  <a16:creationId xmlns:a16="http://schemas.microsoft.com/office/drawing/2014/main" id="{C9FCE218-D807-5E29-E2D4-6A92454F315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504551" y="2830496"/>
              <a:ext cx="365623" cy="310940"/>
            </a:xfrm>
            <a:custGeom>
              <a:avLst/>
              <a:gdLst>
                <a:gd name="T0" fmla="*/ 0 w 687"/>
                <a:gd name="T1" fmla="*/ 2147483647 h 545"/>
                <a:gd name="T2" fmla="*/ 0 w 687"/>
                <a:gd name="T3" fmla="*/ 2147483647 h 545"/>
                <a:gd name="T4" fmla="*/ 0 w 687"/>
                <a:gd name="T5" fmla="*/ 2147483647 h 545"/>
                <a:gd name="T6" fmla="*/ 0 w 687"/>
                <a:gd name="T7" fmla="*/ 2147483647 h 545"/>
                <a:gd name="T8" fmla="*/ 0 w 687"/>
                <a:gd name="T9" fmla="*/ 0 h 545"/>
                <a:gd name="T10" fmla="*/ 0 w 687"/>
                <a:gd name="T11" fmla="*/ 0 h 545"/>
                <a:gd name="T12" fmla="*/ 0 w 687"/>
                <a:gd name="T13" fmla="*/ 0 h 545"/>
                <a:gd name="T14" fmla="*/ 0 w 687"/>
                <a:gd name="T15" fmla="*/ 0 h 545"/>
                <a:gd name="T16" fmla="*/ 0 w 687"/>
                <a:gd name="T17" fmla="*/ 0 h 545"/>
                <a:gd name="T18" fmla="*/ 0 w 687"/>
                <a:gd name="T19" fmla="*/ 0 h 545"/>
                <a:gd name="T20" fmla="*/ 0 w 687"/>
                <a:gd name="T21" fmla="*/ 0 h 545"/>
                <a:gd name="T22" fmla="*/ 0 w 687"/>
                <a:gd name="T23" fmla="*/ 0 h 545"/>
                <a:gd name="T24" fmla="*/ 0 w 687"/>
                <a:gd name="T25" fmla="*/ 0 h 545"/>
                <a:gd name="T26" fmla="*/ 0 w 687"/>
                <a:gd name="T27" fmla="*/ 0 h 545"/>
                <a:gd name="T28" fmla="*/ 0 w 687"/>
                <a:gd name="T29" fmla="*/ 0 h 545"/>
                <a:gd name="T30" fmla="*/ 0 w 687"/>
                <a:gd name="T31" fmla="*/ 0 h 545"/>
                <a:gd name="T32" fmla="*/ 0 w 687"/>
                <a:gd name="T33" fmla="*/ 0 h 545"/>
                <a:gd name="T34" fmla="*/ 0 w 687"/>
                <a:gd name="T35" fmla="*/ 0 h 545"/>
                <a:gd name="T36" fmla="*/ 0 w 687"/>
                <a:gd name="T37" fmla="*/ 0 h 545"/>
                <a:gd name="T38" fmla="*/ 0 w 687"/>
                <a:gd name="T39" fmla="*/ 0 h 545"/>
                <a:gd name="T40" fmla="*/ 0 w 687"/>
                <a:gd name="T41" fmla="*/ 0 h 545"/>
                <a:gd name="T42" fmla="*/ 0 w 687"/>
                <a:gd name="T43" fmla="*/ 0 h 545"/>
                <a:gd name="T44" fmla="*/ 0 w 687"/>
                <a:gd name="T45" fmla="*/ 0 h 545"/>
                <a:gd name="T46" fmla="*/ 0 w 687"/>
                <a:gd name="T47" fmla="*/ 0 h 545"/>
                <a:gd name="T48" fmla="*/ 2147483647 w 687"/>
                <a:gd name="T49" fmla="*/ 0 h 545"/>
                <a:gd name="T50" fmla="*/ 2147483647 w 687"/>
                <a:gd name="T51" fmla="*/ 0 h 545"/>
                <a:gd name="T52" fmla="*/ 2147483647 w 687"/>
                <a:gd name="T53" fmla="*/ 0 h 545"/>
                <a:gd name="T54" fmla="*/ 2147483647 w 687"/>
                <a:gd name="T55" fmla="*/ 0 h 545"/>
                <a:gd name="T56" fmla="*/ 2147483647 w 687"/>
                <a:gd name="T57" fmla="*/ 0 h 545"/>
                <a:gd name="T58" fmla="*/ 2147483647 w 687"/>
                <a:gd name="T59" fmla="*/ 0 h 545"/>
                <a:gd name="T60" fmla="*/ 2147483647 w 687"/>
                <a:gd name="T61" fmla="*/ 0 h 545"/>
                <a:gd name="T62" fmla="*/ 2147483647 w 687"/>
                <a:gd name="T63" fmla="*/ 0 h 545"/>
                <a:gd name="T64" fmla="*/ 2147483647 w 687"/>
                <a:gd name="T65" fmla="*/ 0 h 545"/>
                <a:gd name="T66" fmla="*/ 2147483647 w 687"/>
                <a:gd name="T67" fmla="*/ 0 h 545"/>
                <a:gd name="T68" fmla="*/ 2147483647 w 687"/>
                <a:gd name="T69" fmla="*/ 0 h 545"/>
                <a:gd name="T70" fmla="*/ 2147483647 w 687"/>
                <a:gd name="T71" fmla="*/ 0 h 545"/>
                <a:gd name="T72" fmla="*/ 2147483647 w 687"/>
                <a:gd name="T73" fmla="*/ 0 h 545"/>
                <a:gd name="T74" fmla="*/ 2147483647 w 687"/>
                <a:gd name="T75" fmla="*/ 0 h 545"/>
                <a:gd name="T76" fmla="*/ 2147483647 w 687"/>
                <a:gd name="T77" fmla="*/ 0 h 545"/>
                <a:gd name="T78" fmla="*/ 2147483647 w 687"/>
                <a:gd name="T79" fmla="*/ 2147483647 h 545"/>
                <a:gd name="T80" fmla="*/ 2147483647 w 687"/>
                <a:gd name="T81" fmla="*/ 2147483647 h 545"/>
                <a:gd name="T82" fmla="*/ 2147483647 w 687"/>
                <a:gd name="T83" fmla="*/ 2147483647 h 545"/>
                <a:gd name="T84" fmla="*/ 2147483647 w 687"/>
                <a:gd name="T85" fmla="*/ 2147483647 h 545"/>
                <a:gd name="T86" fmla="*/ 2147483647 w 687"/>
                <a:gd name="T87" fmla="*/ 2147483647 h 545"/>
                <a:gd name="T88" fmla="*/ 2147483647 w 687"/>
                <a:gd name="T89" fmla="*/ 2147483647 h 545"/>
                <a:gd name="T90" fmla="*/ 2147483647 w 687"/>
                <a:gd name="T91" fmla="*/ 2147483647 h 545"/>
                <a:gd name="T92" fmla="*/ 2147483647 w 687"/>
                <a:gd name="T93" fmla="*/ 2147483647 h 545"/>
                <a:gd name="T94" fmla="*/ 2147483647 w 687"/>
                <a:gd name="T95" fmla="*/ 2147483647 h 545"/>
                <a:gd name="T96" fmla="*/ 2147483647 w 687"/>
                <a:gd name="T97" fmla="*/ 2147483647 h 545"/>
                <a:gd name="T98" fmla="*/ 0 w 687"/>
                <a:gd name="T99" fmla="*/ 2147483647 h 545"/>
                <a:gd name="T100" fmla="*/ 0 w 687"/>
                <a:gd name="T101" fmla="*/ 2147483647 h 545"/>
                <a:gd name="T102" fmla="*/ 0 w 687"/>
                <a:gd name="T103" fmla="*/ 2147483647 h 545"/>
                <a:gd name="T104" fmla="*/ 0 w 687"/>
                <a:gd name="T105" fmla="*/ 2147483647 h 545"/>
                <a:gd name="T106" fmla="*/ 0 w 687"/>
                <a:gd name="T107" fmla="*/ 2147483647 h 545"/>
                <a:gd name="T108" fmla="*/ 0 w 687"/>
                <a:gd name="T109" fmla="*/ 2147483647 h 545"/>
                <a:gd name="T110" fmla="*/ 0 w 687"/>
                <a:gd name="T111" fmla="*/ 2147483647 h 54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87"/>
                <a:gd name="T169" fmla="*/ 0 h 545"/>
                <a:gd name="T170" fmla="*/ 687 w 687"/>
                <a:gd name="T171" fmla="*/ 545 h 54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87" h="545">
                  <a:moveTo>
                    <a:pt x="105" y="468"/>
                  </a:moveTo>
                  <a:lnTo>
                    <a:pt x="101" y="451"/>
                  </a:lnTo>
                  <a:lnTo>
                    <a:pt x="100" y="440"/>
                  </a:lnTo>
                  <a:lnTo>
                    <a:pt x="107" y="430"/>
                  </a:lnTo>
                  <a:lnTo>
                    <a:pt x="122" y="419"/>
                  </a:lnTo>
                  <a:lnTo>
                    <a:pt x="128" y="410"/>
                  </a:lnTo>
                  <a:lnTo>
                    <a:pt x="126" y="399"/>
                  </a:lnTo>
                  <a:lnTo>
                    <a:pt x="116" y="388"/>
                  </a:lnTo>
                  <a:lnTo>
                    <a:pt x="112" y="376"/>
                  </a:lnTo>
                  <a:lnTo>
                    <a:pt x="113" y="361"/>
                  </a:lnTo>
                  <a:lnTo>
                    <a:pt x="121" y="349"/>
                  </a:lnTo>
                  <a:lnTo>
                    <a:pt x="124" y="340"/>
                  </a:lnTo>
                  <a:lnTo>
                    <a:pt x="122" y="335"/>
                  </a:lnTo>
                  <a:lnTo>
                    <a:pt x="110" y="317"/>
                  </a:lnTo>
                  <a:lnTo>
                    <a:pt x="106" y="301"/>
                  </a:lnTo>
                  <a:lnTo>
                    <a:pt x="114" y="295"/>
                  </a:lnTo>
                  <a:lnTo>
                    <a:pt x="126" y="291"/>
                  </a:lnTo>
                  <a:lnTo>
                    <a:pt x="135" y="280"/>
                  </a:lnTo>
                  <a:lnTo>
                    <a:pt x="137" y="270"/>
                  </a:lnTo>
                  <a:lnTo>
                    <a:pt x="129" y="260"/>
                  </a:lnTo>
                  <a:lnTo>
                    <a:pt x="129" y="253"/>
                  </a:lnTo>
                  <a:lnTo>
                    <a:pt x="135" y="238"/>
                  </a:lnTo>
                  <a:lnTo>
                    <a:pt x="138" y="224"/>
                  </a:lnTo>
                  <a:lnTo>
                    <a:pt x="138" y="210"/>
                  </a:lnTo>
                  <a:lnTo>
                    <a:pt x="139" y="200"/>
                  </a:lnTo>
                  <a:lnTo>
                    <a:pt x="161" y="178"/>
                  </a:lnTo>
                  <a:lnTo>
                    <a:pt x="169" y="165"/>
                  </a:lnTo>
                  <a:lnTo>
                    <a:pt x="169" y="156"/>
                  </a:lnTo>
                  <a:lnTo>
                    <a:pt x="161" y="147"/>
                  </a:lnTo>
                  <a:lnTo>
                    <a:pt x="155" y="138"/>
                  </a:lnTo>
                  <a:lnTo>
                    <a:pt x="140" y="134"/>
                  </a:lnTo>
                  <a:lnTo>
                    <a:pt x="123" y="134"/>
                  </a:lnTo>
                  <a:lnTo>
                    <a:pt x="110" y="140"/>
                  </a:lnTo>
                  <a:lnTo>
                    <a:pt x="86" y="138"/>
                  </a:lnTo>
                  <a:lnTo>
                    <a:pt x="73" y="140"/>
                  </a:lnTo>
                  <a:lnTo>
                    <a:pt x="65" y="135"/>
                  </a:lnTo>
                  <a:lnTo>
                    <a:pt x="64" y="123"/>
                  </a:lnTo>
                  <a:lnTo>
                    <a:pt x="51" y="125"/>
                  </a:lnTo>
                  <a:lnTo>
                    <a:pt x="36" y="131"/>
                  </a:lnTo>
                  <a:lnTo>
                    <a:pt x="27" y="141"/>
                  </a:lnTo>
                  <a:lnTo>
                    <a:pt x="25" y="136"/>
                  </a:lnTo>
                  <a:lnTo>
                    <a:pt x="25" y="128"/>
                  </a:lnTo>
                  <a:lnTo>
                    <a:pt x="28" y="116"/>
                  </a:lnTo>
                  <a:lnTo>
                    <a:pt x="35" y="107"/>
                  </a:lnTo>
                  <a:lnTo>
                    <a:pt x="26" y="108"/>
                  </a:lnTo>
                  <a:lnTo>
                    <a:pt x="30" y="100"/>
                  </a:lnTo>
                  <a:lnTo>
                    <a:pt x="20" y="95"/>
                  </a:lnTo>
                  <a:lnTo>
                    <a:pt x="27" y="82"/>
                  </a:lnTo>
                  <a:lnTo>
                    <a:pt x="22" y="82"/>
                  </a:lnTo>
                  <a:lnTo>
                    <a:pt x="15" y="79"/>
                  </a:lnTo>
                  <a:lnTo>
                    <a:pt x="16" y="70"/>
                  </a:lnTo>
                  <a:lnTo>
                    <a:pt x="0" y="57"/>
                  </a:lnTo>
                  <a:lnTo>
                    <a:pt x="5" y="43"/>
                  </a:lnTo>
                  <a:lnTo>
                    <a:pt x="17" y="34"/>
                  </a:lnTo>
                  <a:lnTo>
                    <a:pt x="28" y="31"/>
                  </a:lnTo>
                  <a:lnTo>
                    <a:pt x="47" y="31"/>
                  </a:lnTo>
                  <a:lnTo>
                    <a:pt x="56" y="22"/>
                  </a:lnTo>
                  <a:lnTo>
                    <a:pt x="54" y="16"/>
                  </a:lnTo>
                  <a:lnTo>
                    <a:pt x="62" y="5"/>
                  </a:lnTo>
                  <a:lnTo>
                    <a:pt x="84" y="0"/>
                  </a:lnTo>
                  <a:lnTo>
                    <a:pt x="95" y="3"/>
                  </a:lnTo>
                  <a:lnTo>
                    <a:pt x="110" y="10"/>
                  </a:lnTo>
                  <a:lnTo>
                    <a:pt x="129" y="14"/>
                  </a:lnTo>
                  <a:lnTo>
                    <a:pt x="170" y="12"/>
                  </a:lnTo>
                  <a:lnTo>
                    <a:pt x="180" y="7"/>
                  </a:lnTo>
                  <a:lnTo>
                    <a:pt x="192" y="9"/>
                  </a:lnTo>
                  <a:lnTo>
                    <a:pt x="212" y="15"/>
                  </a:lnTo>
                  <a:lnTo>
                    <a:pt x="223" y="15"/>
                  </a:lnTo>
                  <a:lnTo>
                    <a:pt x="256" y="22"/>
                  </a:lnTo>
                  <a:lnTo>
                    <a:pt x="273" y="23"/>
                  </a:lnTo>
                  <a:lnTo>
                    <a:pt x="293" y="22"/>
                  </a:lnTo>
                  <a:lnTo>
                    <a:pt x="306" y="18"/>
                  </a:lnTo>
                  <a:lnTo>
                    <a:pt x="317" y="22"/>
                  </a:lnTo>
                  <a:lnTo>
                    <a:pt x="337" y="25"/>
                  </a:lnTo>
                  <a:lnTo>
                    <a:pt x="366" y="23"/>
                  </a:lnTo>
                  <a:lnTo>
                    <a:pt x="381" y="28"/>
                  </a:lnTo>
                  <a:lnTo>
                    <a:pt x="398" y="30"/>
                  </a:lnTo>
                  <a:lnTo>
                    <a:pt x="408" y="27"/>
                  </a:lnTo>
                  <a:lnTo>
                    <a:pt x="409" y="31"/>
                  </a:lnTo>
                  <a:lnTo>
                    <a:pt x="431" y="49"/>
                  </a:lnTo>
                  <a:lnTo>
                    <a:pt x="440" y="54"/>
                  </a:lnTo>
                  <a:lnTo>
                    <a:pt x="451" y="57"/>
                  </a:lnTo>
                  <a:lnTo>
                    <a:pt x="462" y="63"/>
                  </a:lnTo>
                  <a:lnTo>
                    <a:pt x="469" y="69"/>
                  </a:lnTo>
                  <a:lnTo>
                    <a:pt x="515" y="81"/>
                  </a:lnTo>
                  <a:lnTo>
                    <a:pt x="531" y="82"/>
                  </a:lnTo>
                  <a:lnTo>
                    <a:pt x="537" y="81"/>
                  </a:lnTo>
                  <a:lnTo>
                    <a:pt x="547" y="74"/>
                  </a:lnTo>
                  <a:lnTo>
                    <a:pt x="555" y="73"/>
                  </a:lnTo>
                  <a:lnTo>
                    <a:pt x="564" y="75"/>
                  </a:lnTo>
                  <a:lnTo>
                    <a:pt x="579" y="85"/>
                  </a:lnTo>
                  <a:lnTo>
                    <a:pt x="585" y="92"/>
                  </a:lnTo>
                  <a:lnTo>
                    <a:pt x="589" y="97"/>
                  </a:lnTo>
                  <a:lnTo>
                    <a:pt x="595" y="98"/>
                  </a:lnTo>
                  <a:lnTo>
                    <a:pt x="600" y="96"/>
                  </a:lnTo>
                  <a:lnTo>
                    <a:pt x="597" y="92"/>
                  </a:lnTo>
                  <a:lnTo>
                    <a:pt x="608" y="101"/>
                  </a:lnTo>
                  <a:lnTo>
                    <a:pt x="616" y="103"/>
                  </a:lnTo>
                  <a:lnTo>
                    <a:pt x="644" y="101"/>
                  </a:lnTo>
                  <a:lnTo>
                    <a:pt x="657" y="98"/>
                  </a:lnTo>
                  <a:lnTo>
                    <a:pt x="671" y="98"/>
                  </a:lnTo>
                  <a:lnTo>
                    <a:pt x="678" y="100"/>
                  </a:lnTo>
                  <a:lnTo>
                    <a:pt x="686" y="102"/>
                  </a:lnTo>
                  <a:lnTo>
                    <a:pt x="687" y="109"/>
                  </a:lnTo>
                  <a:lnTo>
                    <a:pt x="678" y="114"/>
                  </a:lnTo>
                  <a:lnTo>
                    <a:pt x="680" y="124"/>
                  </a:lnTo>
                  <a:lnTo>
                    <a:pt x="683" y="133"/>
                  </a:lnTo>
                  <a:lnTo>
                    <a:pt x="675" y="144"/>
                  </a:lnTo>
                  <a:lnTo>
                    <a:pt x="637" y="167"/>
                  </a:lnTo>
                  <a:lnTo>
                    <a:pt x="623" y="181"/>
                  </a:lnTo>
                  <a:lnTo>
                    <a:pt x="564" y="203"/>
                  </a:lnTo>
                  <a:lnTo>
                    <a:pt x="552" y="217"/>
                  </a:lnTo>
                  <a:lnTo>
                    <a:pt x="552" y="224"/>
                  </a:lnTo>
                  <a:lnTo>
                    <a:pt x="543" y="232"/>
                  </a:lnTo>
                  <a:lnTo>
                    <a:pt x="531" y="247"/>
                  </a:lnTo>
                  <a:lnTo>
                    <a:pt x="515" y="274"/>
                  </a:lnTo>
                  <a:lnTo>
                    <a:pt x="495" y="300"/>
                  </a:lnTo>
                  <a:lnTo>
                    <a:pt x="492" y="312"/>
                  </a:lnTo>
                  <a:lnTo>
                    <a:pt x="489" y="318"/>
                  </a:lnTo>
                  <a:lnTo>
                    <a:pt x="489" y="321"/>
                  </a:lnTo>
                  <a:lnTo>
                    <a:pt x="492" y="327"/>
                  </a:lnTo>
                  <a:lnTo>
                    <a:pt x="494" y="337"/>
                  </a:lnTo>
                  <a:lnTo>
                    <a:pt x="497" y="343"/>
                  </a:lnTo>
                  <a:lnTo>
                    <a:pt x="501" y="349"/>
                  </a:lnTo>
                  <a:lnTo>
                    <a:pt x="506" y="351"/>
                  </a:lnTo>
                  <a:lnTo>
                    <a:pt x="515" y="354"/>
                  </a:lnTo>
                  <a:lnTo>
                    <a:pt x="519" y="360"/>
                  </a:lnTo>
                  <a:lnTo>
                    <a:pt x="514" y="369"/>
                  </a:lnTo>
                  <a:lnTo>
                    <a:pt x="500" y="378"/>
                  </a:lnTo>
                  <a:lnTo>
                    <a:pt x="492" y="385"/>
                  </a:lnTo>
                  <a:lnTo>
                    <a:pt x="484" y="392"/>
                  </a:lnTo>
                  <a:lnTo>
                    <a:pt x="474" y="409"/>
                  </a:lnTo>
                  <a:lnTo>
                    <a:pt x="472" y="418"/>
                  </a:lnTo>
                  <a:lnTo>
                    <a:pt x="467" y="426"/>
                  </a:lnTo>
                  <a:lnTo>
                    <a:pt x="465" y="435"/>
                  </a:lnTo>
                  <a:lnTo>
                    <a:pt x="467" y="441"/>
                  </a:lnTo>
                  <a:lnTo>
                    <a:pt x="435" y="445"/>
                  </a:lnTo>
                  <a:lnTo>
                    <a:pt x="415" y="463"/>
                  </a:lnTo>
                  <a:lnTo>
                    <a:pt x="408" y="482"/>
                  </a:lnTo>
                  <a:lnTo>
                    <a:pt x="404" y="490"/>
                  </a:lnTo>
                  <a:lnTo>
                    <a:pt x="398" y="496"/>
                  </a:lnTo>
                  <a:lnTo>
                    <a:pt x="391" y="498"/>
                  </a:lnTo>
                  <a:lnTo>
                    <a:pt x="379" y="495"/>
                  </a:lnTo>
                  <a:lnTo>
                    <a:pt x="364" y="501"/>
                  </a:lnTo>
                  <a:lnTo>
                    <a:pt x="350" y="501"/>
                  </a:lnTo>
                  <a:lnTo>
                    <a:pt x="334" y="498"/>
                  </a:lnTo>
                  <a:lnTo>
                    <a:pt x="318" y="500"/>
                  </a:lnTo>
                  <a:lnTo>
                    <a:pt x="306" y="498"/>
                  </a:lnTo>
                  <a:lnTo>
                    <a:pt x="269" y="502"/>
                  </a:lnTo>
                  <a:lnTo>
                    <a:pt x="258" y="515"/>
                  </a:lnTo>
                  <a:lnTo>
                    <a:pt x="246" y="516"/>
                  </a:lnTo>
                  <a:lnTo>
                    <a:pt x="234" y="521"/>
                  </a:lnTo>
                  <a:lnTo>
                    <a:pt x="226" y="529"/>
                  </a:lnTo>
                  <a:lnTo>
                    <a:pt x="223" y="536"/>
                  </a:lnTo>
                  <a:lnTo>
                    <a:pt x="218" y="541"/>
                  </a:lnTo>
                  <a:lnTo>
                    <a:pt x="210" y="545"/>
                  </a:lnTo>
                  <a:lnTo>
                    <a:pt x="193" y="542"/>
                  </a:lnTo>
                  <a:lnTo>
                    <a:pt x="181" y="533"/>
                  </a:lnTo>
                  <a:lnTo>
                    <a:pt x="170" y="517"/>
                  </a:lnTo>
                  <a:lnTo>
                    <a:pt x="169" y="509"/>
                  </a:lnTo>
                  <a:lnTo>
                    <a:pt x="161" y="502"/>
                  </a:lnTo>
                  <a:lnTo>
                    <a:pt x="161" y="491"/>
                  </a:lnTo>
                  <a:lnTo>
                    <a:pt x="160" y="488"/>
                  </a:lnTo>
                  <a:lnTo>
                    <a:pt x="156" y="484"/>
                  </a:lnTo>
                  <a:lnTo>
                    <a:pt x="148" y="477"/>
                  </a:lnTo>
                  <a:lnTo>
                    <a:pt x="133" y="468"/>
                  </a:lnTo>
                  <a:lnTo>
                    <a:pt x="126" y="467"/>
                  </a:lnTo>
                  <a:lnTo>
                    <a:pt x="105" y="46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72" name="Freeform 181">
              <a:extLst>
                <a:ext uri="{FF2B5EF4-FFF2-40B4-BE49-F238E27FC236}">
                  <a16:creationId xmlns:a16="http://schemas.microsoft.com/office/drawing/2014/main" id="{E1ECA462-1B9C-0FC8-7889-B03A0C6FED7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871667" y="2371707"/>
              <a:ext cx="107449" cy="138704"/>
            </a:xfrm>
            <a:custGeom>
              <a:avLst/>
              <a:gdLst>
                <a:gd name="T0" fmla="*/ 0 w 196"/>
                <a:gd name="T1" fmla="*/ 0 h 239"/>
                <a:gd name="T2" fmla="*/ 0 w 196"/>
                <a:gd name="T3" fmla="*/ 0 h 239"/>
                <a:gd name="T4" fmla="*/ 0 w 196"/>
                <a:gd name="T5" fmla="*/ 0 h 239"/>
                <a:gd name="T6" fmla="*/ 0 w 196"/>
                <a:gd name="T7" fmla="*/ 0 h 239"/>
                <a:gd name="T8" fmla="*/ 0 w 196"/>
                <a:gd name="T9" fmla="*/ 0 h 239"/>
                <a:gd name="T10" fmla="*/ 0 w 196"/>
                <a:gd name="T11" fmla="*/ 0 h 239"/>
                <a:gd name="T12" fmla="*/ 0 w 196"/>
                <a:gd name="T13" fmla="*/ 0 h 239"/>
                <a:gd name="T14" fmla="*/ 0 w 196"/>
                <a:gd name="T15" fmla="*/ 0 h 239"/>
                <a:gd name="T16" fmla="*/ 0 w 196"/>
                <a:gd name="T17" fmla="*/ 0 h 239"/>
                <a:gd name="T18" fmla="*/ 0 w 196"/>
                <a:gd name="T19" fmla="*/ 0 h 239"/>
                <a:gd name="T20" fmla="*/ 0 w 196"/>
                <a:gd name="T21" fmla="*/ 0 h 239"/>
                <a:gd name="T22" fmla="*/ 0 w 196"/>
                <a:gd name="T23" fmla="*/ 0 h 239"/>
                <a:gd name="T24" fmla="*/ 0 w 196"/>
                <a:gd name="T25" fmla="*/ 0 h 239"/>
                <a:gd name="T26" fmla="*/ 0 w 196"/>
                <a:gd name="T27" fmla="*/ 0 h 239"/>
                <a:gd name="T28" fmla="*/ 0 w 196"/>
                <a:gd name="T29" fmla="*/ 0 h 239"/>
                <a:gd name="T30" fmla="*/ 0 w 196"/>
                <a:gd name="T31" fmla="*/ 0 h 239"/>
                <a:gd name="T32" fmla="*/ 0 w 196"/>
                <a:gd name="T33" fmla="*/ 0 h 239"/>
                <a:gd name="T34" fmla="*/ 0 w 196"/>
                <a:gd name="T35" fmla="*/ 0 h 239"/>
                <a:gd name="T36" fmla="*/ 0 w 196"/>
                <a:gd name="T37" fmla="*/ 0 h 239"/>
                <a:gd name="T38" fmla="*/ 0 w 196"/>
                <a:gd name="T39" fmla="*/ 0 h 239"/>
                <a:gd name="T40" fmla="*/ 0 w 196"/>
                <a:gd name="T41" fmla="*/ 0 h 239"/>
                <a:gd name="T42" fmla="*/ 0 w 196"/>
                <a:gd name="T43" fmla="*/ 0 h 239"/>
                <a:gd name="T44" fmla="*/ 0 w 196"/>
                <a:gd name="T45" fmla="*/ 0 h 239"/>
                <a:gd name="T46" fmla="*/ 0 w 196"/>
                <a:gd name="T47" fmla="*/ 0 h 239"/>
                <a:gd name="T48" fmla="*/ 0 w 196"/>
                <a:gd name="T49" fmla="*/ 0 h 239"/>
                <a:gd name="T50" fmla="*/ 0 w 196"/>
                <a:gd name="T51" fmla="*/ 0 h 239"/>
                <a:gd name="T52" fmla="*/ 0 w 196"/>
                <a:gd name="T53" fmla="*/ 0 h 239"/>
                <a:gd name="T54" fmla="*/ 0 w 196"/>
                <a:gd name="T55" fmla="*/ 0 h 239"/>
                <a:gd name="T56" fmla="*/ 0 w 196"/>
                <a:gd name="T57" fmla="*/ 0 h 239"/>
                <a:gd name="T58" fmla="*/ 0 w 196"/>
                <a:gd name="T59" fmla="*/ 0 h 239"/>
                <a:gd name="T60" fmla="*/ 0 w 196"/>
                <a:gd name="T61" fmla="*/ 0 h 239"/>
                <a:gd name="T62" fmla="*/ 0 w 196"/>
                <a:gd name="T63" fmla="*/ 0 h 239"/>
                <a:gd name="T64" fmla="*/ 0 w 196"/>
                <a:gd name="T65" fmla="*/ 0 h 239"/>
                <a:gd name="T66" fmla="*/ 0 w 196"/>
                <a:gd name="T67" fmla="*/ 0 h 239"/>
                <a:gd name="T68" fmla="*/ 0 w 196"/>
                <a:gd name="T69" fmla="*/ 0 h 239"/>
                <a:gd name="T70" fmla="*/ 0 w 196"/>
                <a:gd name="T71" fmla="*/ 0 h 239"/>
                <a:gd name="T72" fmla="*/ 0 w 196"/>
                <a:gd name="T73" fmla="*/ 0 h 239"/>
                <a:gd name="T74" fmla="*/ 0 w 196"/>
                <a:gd name="T75" fmla="*/ 0 h 239"/>
                <a:gd name="T76" fmla="*/ 0 w 196"/>
                <a:gd name="T77" fmla="*/ 0 h 239"/>
                <a:gd name="T78" fmla="*/ 0 w 196"/>
                <a:gd name="T79" fmla="*/ 0 h 239"/>
                <a:gd name="T80" fmla="*/ 0 w 196"/>
                <a:gd name="T81" fmla="*/ 0 h 239"/>
                <a:gd name="T82" fmla="*/ 0 w 196"/>
                <a:gd name="T83" fmla="*/ 0 h 239"/>
                <a:gd name="T84" fmla="*/ 0 w 196"/>
                <a:gd name="T85" fmla="*/ 0 h 239"/>
                <a:gd name="T86" fmla="*/ 0 w 196"/>
                <a:gd name="T87" fmla="*/ 0 h 239"/>
                <a:gd name="T88" fmla="*/ 0 w 196"/>
                <a:gd name="T89" fmla="*/ 0 h 239"/>
                <a:gd name="T90" fmla="*/ 0 w 196"/>
                <a:gd name="T91" fmla="*/ 0 h 239"/>
                <a:gd name="T92" fmla="*/ 0 w 196"/>
                <a:gd name="T93" fmla="*/ 0 h 239"/>
                <a:gd name="T94" fmla="*/ 0 w 196"/>
                <a:gd name="T95" fmla="*/ 0 h 239"/>
                <a:gd name="T96" fmla="*/ 0 w 196"/>
                <a:gd name="T97" fmla="*/ 0 h 23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96"/>
                <a:gd name="T148" fmla="*/ 0 h 239"/>
                <a:gd name="T149" fmla="*/ 196 w 196"/>
                <a:gd name="T150" fmla="*/ 239 h 23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96" h="239">
                  <a:moveTo>
                    <a:pt x="137" y="239"/>
                  </a:moveTo>
                  <a:lnTo>
                    <a:pt x="124" y="239"/>
                  </a:lnTo>
                  <a:lnTo>
                    <a:pt x="117" y="232"/>
                  </a:lnTo>
                  <a:lnTo>
                    <a:pt x="116" y="221"/>
                  </a:lnTo>
                  <a:lnTo>
                    <a:pt x="117" y="212"/>
                  </a:lnTo>
                  <a:lnTo>
                    <a:pt x="116" y="201"/>
                  </a:lnTo>
                  <a:lnTo>
                    <a:pt x="107" y="196"/>
                  </a:lnTo>
                  <a:lnTo>
                    <a:pt x="99" y="194"/>
                  </a:lnTo>
                  <a:lnTo>
                    <a:pt x="90" y="189"/>
                  </a:lnTo>
                  <a:lnTo>
                    <a:pt x="88" y="183"/>
                  </a:lnTo>
                  <a:lnTo>
                    <a:pt x="85" y="183"/>
                  </a:lnTo>
                  <a:lnTo>
                    <a:pt x="79" y="177"/>
                  </a:lnTo>
                  <a:lnTo>
                    <a:pt x="64" y="178"/>
                  </a:lnTo>
                  <a:lnTo>
                    <a:pt x="52" y="181"/>
                  </a:lnTo>
                  <a:lnTo>
                    <a:pt x="37" y="191"/>
                  </a:lnTo>
                  <a:lnTo>
                    <a:pt x="17" y="197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3" y="185"/>
                  </a:lnTo>
                  <a:lnTo>
                    <a:pt x="10" y="185"/>
                  </a:lnTo>
                  <a:lnTo>
                    <a:pt x="21" y="191"/>
                  </a:lnTo>
                  <a:lnTo>
                    <a:pt x="30" y="186"/>
                  </a:lnTo>
                  <a:lnTo>
                    <a:pt x="38" y="186"/>
                  </a:lnTo>
                  <a:lnTo>
                    <a:pt x="42" y="182"/>
                  </a:lnTo>
                  <a:lnTo>
                    <a:pt x="35" y="181"/>
                  </a:lnTo>
                  <a:lnTo>
                    <a:pt x="25" y="182"/>
                  </a:lnTo>
                  <a:lnTo>
                    <a:pt x="20" y="181"/>
                  </a:lnTo>
                  <a:lnTo>
                    <a:pt x="24" y="172"/>
                  </a:lnTo>
                  <a:lnTo>
                    <a:pt x="43" y="169"/>
                  </a:lnTo>
                  <a:lnTo>
                    <a:pt x="54" y="162"/>
                  </a:lnTo>
                  <a:lnTo>
                    <a:pt x="72" y="159"/>
                  </a:lnTo>
                  <a:lnTo>
                    <a:pt x="78" y="155"/>
                  </a:lnTo>
                  <a:lnTo>
                    <a:pt x="73" y="151"/>
                  </a:lnTo>
                  <a:lnTo>
                    <a:pt x="62" y="156"/>
                  </a:lnTo>
                  <a:lnTo>
                    <a:pt x="52" y="155"/>
                  </a:lnTo>
                  <a:lnTo>
                    <a:pt x="45" y="153"/>
                  </a:lnTo>
                  <a:lnTo>
                    <a:pt x="38" y="146"/>
                  </a:lnTo>
                  <a:lnTo>
                    <a:pt x="38" y="138"/>
                  </a:lnTo>
                  <a:lnTo>
                    <a:pt x="40" y="133"/>
                  </a:lnTo>
                  <a:lnTo>
                    <a:pt x="62" y="106"/>
                  </a:lnTo>
                  <a:lnTo>
                    <a:pt x="68" y="69"/>
                  </a:lnTo>
                  <a:lnTo>
                    <a:pt x="74" y="52"/>
                  </a:lnTo>
                  <a:lnTo>
                    <a:pt x="84" y="48"/>
                  </a:lnTo>
                  <a:lnTo>
                    <a:pt x="88" y="57"/>
                  </a:lnTo>
                  <a:lnTo>
                    <a:pt x="94" y="62"/>
                  </a:lnTo>
                  <a:lnTo>
                    <a:pt x="94" y="65"/>
                  </a:lnTo>
                  <a:lnTo>
                    <a:pt x="94" y="67"/>
                  </a:lnTo>
                  <a:lnTo>
                    <a:pt x="85" y="69"/>
                  </a:lnTo>
                  <a:lnTo>
                    <a:pt x="84" y="73"/>
                  </a:lnTo>
                  <a:lnTo>
                    <a:pt x="83" y="79"/>
                  </a:lnTo>
                  <a:lnTo>
                    <a:pt x="84" y="90"/>
                  </a:lnTo>
                  <a:lnTo>
                    <a:pt x="84" y="94"/>
                  </a:lnTo>
                  <a:lnTo>
                    <a:pt x="89" y="100"/>
                  </a:lnTo>
                  <a:lnTo>
                    <a:pt x="100" y="103"/>
                  </a:lnTo>
                  <a:lnTo>
                    <a:pt x="105" y="103"/>
                  </a:lnTo>
                  <a:lnTo>
                    <a:pt x="106" y="101"/>
                  </a:lnTo>
                  <a:lnTo>
                    <a:pt x="105" y="94"/>
                  </a:lnTo>
                  <a:lnTo>
                    <a:pt x="101" y="88"/>
                  </a:lnTo>
                  <a:lnTo>
                    <a:pt x="100" y="83"/>
                  </a:lnTo>
                  <a:lnTo>
                    <a:pt x="103" y="81"/>
                  </a:lnTo>
                  <a:lnTo>
                    <a:pt x="110" y="76"/>
                  </a:lnTo>
                  <a:lnTo>
                    <a:pt x="111" y="65"/>
                  </a:lnTo>
                  <a:lnTo>
                    <a:pt x="116" y="53"/>
                  </a:lnTo>
                  <a:lnTo>
                    <a:pt x="112" y="51"/>
                  </a:lnTo>
                  <a:lnTo>
                    <a:pt x="106" y="51"/>
                  </a:lnTo>
                  <a:lnTo>
                    <a:pt x="105" y="48"/>
                  </a:lnTo>
                  <a:lnTo>
                    <a:pt x="102" y="31"/>
                  </a:lnTo>
                  <a:lnTo>
                    <a:pt x="103" y="26"/>
                  </a:lnTo>
                  <a:lnTo>
                    <a:pt x="108" y="19"/>
                  </a:lnTo>
                  <a:lnTo>
                    <a:pt x="117" y="11"/>
                  </a:lnTo>
                  <a:lnTo>
                    <a:pt x="128" y="6"/>
                  </a:lnTo>
                  <a:lnTo>
                    <a:pt x="138" y="4"/>
                  </a:lnTo>
                  <a:lnTo>
                    <a:pt x="151" y="6"/>
                  </a:lnTo>
                  <a:lnTo>
                    <a:pt x="161" y="2"/>
                  </a:lnTo>
                  <a:lnTo>
                    <a:pt x="173" y="0"/>
                  </a:lnTo>
                  <a:lnTo>
                    <a:pt x="182" y="3"/>
                  </a:lnTo>
                  <a:lnTo>
                    <a:pt x="191" y="10"/>
                  </a:lnTo>
                  <a:lnTo>
                    <a:pt x="196" y="16"/>
                  </a:lnTo>
                  <a:lnTo>
                    <a:pt x="186" y="62"/>
                  </a:lnTo>
                  <a:lnTo>
                    <a:pt x="170" y="73"/>
                  </a:lnTo>
                  <a:lnTo>
                    <a:pt x="172" y="81"/>
                  </a:lnTo>
                  <a:lnTo>
                    <a:pt x="191" y="90"/>
                  </a:lnTo>
                  <a:lnTo>
                    <a:pt x="189" y="101"/>
                  </a:lnTo>
                  <a:lnTo>
                    <a:pt x="182" y="111"/>
                  </a:lnTo>
                  <a:lnTo>
                    <a:pt x="172" y="118"/>
                  </a:lnTo>
                  <a:lnTo>
                    <a:pt x="171" y="129"/>
                  </a:lnTo>
                  <a:lnTo>
                    <a:pt x="166" y="140"/>
                  </a:lnTo>
                  <a:lnTo>
                    <a:pt x="158" y="142"/>
                  </a:lnTo>
                  <a:lnTo>
                    <a:pt x="145" y="137"/>
                  </a:lnTo>
                  <a:lnTo>
                    <a:pt x="135" y="137"/>
                  </a:lnTo>
                  <a:lnTo>
                    <a:pt x="134" y="145"/>
                  </a:lnTo>
                  <a:lnTo>
                    <a:pt x="138" y="160"/>
                  </a:lnTo>
                  <a:lnTo>
                    <a:pt x="139" y="170"/>
                  </a:lnTo>
                  <a:lnTo>
                    <a:pt x="138" y="182"/>
                  </a:lnTo>
                  <a:lnTo>
                    <a:pt x="138" y="201"/>
                  </a:lnTo>
                  <a:lnTo>
                    <a:pt x="132" y="208"/>
                  </a:lnTo>
                  <a:lnTo>
                    <a:pt x="132" y="215"/>
                  </a:lnTo>
                  <a:lnTo>
                    <a:pt x="137" y="232"/>
                  </a:lnTo>
                  <a:lnTo>
                    <a:pt x="137" y="23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73" name="Freeform 182">
              <a:extLst>
                <a:ext uri="{FF2B5EF4-FFF2-40B4-BE49-F238E27FC236}">
                  <a16:creationId xmlns:a16="http://schemas.microsoft.com/office/drawing/2014/main" id="{666F2035-90BF-0D92-2D38-0DDFD5F0A24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500074" y="2900610"/>
              <a:ext cx="92525" cy="202722"/>
            </a:xfrm>
            <a:custGeom>
              <a:avLst/>
              <a:gdLst>
                <a:gd name="T0" fmla="*/ 0 w 177"/>
                <a:gd name="T1" fmla="*/ 2147483647 h 356"/>
                <a:gd name="T2" fmla="*/ 0 w 177"/>
                <a:gd name="T3" fmla="*/ 0 h 356"/>
                <a:gd name="T4" fmla="*/ 0 w 177"/>
                <a:gd name="T5" fmla="*/ 0 h 356"/>
                <a:gd name="T6" fmla="*/ 0 w 177"/>
                <a:gd name="T7" fmla="*/ 0 h 356"/>
                <a:gd name="T8" fmla="*/ 0 w 177"/>
                <a:gd name="T9" fmla="*/ 0 h 356"/>
                <a:gd name="T10" fmla="*/ 0 w 177"/>
                <a:gd name="T11" fmla="*/ 0 h 356"/>
                <a:gd name="T12" fmla="*/ 0 w 177"/>
                <a:gd name="T13" fmla="*/ 0 h 356"/>
                <a:gd name="T14" fmla="*/ 0 w 177"/>
                <a:gd name="T15" fmla="*/ 0 h 356"/>
                <a:gd name="T16" fmla="*/ 0 w 177"/>
                <a:gd name="T17" fmla="*/ 0 h 356"/>
                <a:gd name="T18" fmla="*/ 0 w 177"/>
                <a:gd name="T19" fmla="*/ 0 h 356"/>
                <a:gd name="T20" fmla="*/ 0 w 177"/>
                <a:gd name="T21" fmla="*/ 0 h 356"/>
                <a:gd name="T22" fmla="*/ 0 w 177"/>
                <a:gd name="T23" fmla="*/ 0 h 356"/>
                <a:gd name="T24" fmla="*/ 0 w 177"/>
                <a:gd name="T25" fmla="*/ 0 h 356"/>
                <a:gd name="T26" fmla="*/ 0 w 177"/>
                <a:gd name="T27" fmla="*/ 0 h 356"/>
                <a:gd name="T28" fmla="*/ 0 w 177"/>
                <a:gd name="T29" fmla="*/ 0 h 356"/>
                <a:gd name="T30" fmla="*/ 0 w 177"/>
                <a:gd name="T31" fmla="*/ 0 h 356"/>
                <a:gd name="T32" fmla="*/ 0 w 177"/>
                <a:gd name="T33" fmla="*/ 0 h 356"/>
                <a:gd name="T34" fmla="*/ 0 w 177"/>
                <a:gd name="T35" fmla="*/ 0 h 356"/>
                <a:gd name="T36" fmla="*/ 0 w 177"/>
                <a:gd name="T37" fmla="*/ 0 h 356"/>
                <a:gd name="T38" fmla="*/ 0 w 177"/>
                <a:gd name="T39" fmla="*/ 0 h 356"/>
                <a:gd name="T40" fmla="*/ 0 w 177"/>
                <a:gd name="T41" fmla="*/ 0 h 356"/>
                <a:gd name="T42" fmla="*/ 0 w 177"/>
                <a:gd name="T43" fmla="*/ 0 h 356"/>
                <a:gd name="T44" fmla="*/ 0 w 177"/>
                <a:gd name="T45" fmla="*/ 0 h 356"/>
                <a:gd name="T46" fmla="*/ 0 w 177"/>
                <a:gd name="T47" fmla="*/ 0 h 356"/>
                <a:gd name="T48" fmla="*/ 0 w 177"/>
                <a:gd name="T49" fmla="*/ 0 h 356"/>
                <a:gd name="T50" fmla="*/ 0 w 177"/>
                <a:gd name="T51" fmla="*/ 0 h 356"/>
                <a:gd name="T52" fmla="*/ 0 w 177"/>
                <a:gd name="T53" fmla="*/ 0 h 356"/>
                <a:gd name="T54" fmla="*/ 0 w 177"/>
                <a:gd name="T55" fmla="*/ 0 h 356"/>
                <a:gd name="T56" fmla="*/ 0 w 177"/>
                <a:gd name="T57" fmla="*/ 0 h 356"/>
                <a:gd name="T58" fmla="*/ 0 w 177"/>
                <a:gd name="T59" fmla="*/ 0 h 356"/>
                <a:gd name="T60" fmla="*/ 0 w 177"/>
                <a:gd name="T61" fmla="*/ 0 h 356"/>
                <a:gd name="T62" fmla="*/ 0 w 177"/>
                <a:gd name="T63" fmla="*/ 2147483647 h 356"/>
                <a:gd name="T64" fmla="*/ 0 w 177"/>
                <a:gd name="T65" fmla="*/ 2147483647 h 356"/>
                <a:gd name="T66" fmla="*/ 0 w 177"/>
                <a:gd name="T67" fmla="*/ 2147483647 h 356"/>
                <a:gd name="T68" fmla="*/ 0 w 177"/>
                <a:gd name="T69" fmla="*/ 2147483647 h 356"/>
                <a:gd name="T70" fmla="*/ 0 w 177"/>
                <a:gd name="T71" fmla="*/ 2147483647 h 356"/>
                <a:gd name="T72" fmla="*/ 0 w 177"/>
                <a:gd name="T73" fmla="*/ 2147483647 h 356"/>
                <a:gd name="T74" fmla="*/ 0 w 177"/>
                <a:gd name="T75" fmla="*/ 2147483647 h 35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77"/>
                <a:gd name="T115" fmla="*/ 0 h 356"/>
                <a:gd name="T116" fmla="*/ 177 w 177"/>
                <a:gd name="T117" fmla="*/ 356 h 35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77" h="356">
                  <a:moveTo>
                    <a:pt x="113" y="345"/>
                  </a:moveTo>
                  <a:lnTo>
                    <a:pt x="109" y="328"/>
                  </a:lnTo>
                  <a:lnTo>
                    <a:pt x="108" y="317"/>
                  </a:lnTo>
                  <a:lnTo>
                    <a:pt x="115" y="307"/>
                  </a:lnTo>
                  <a:lnTo>
                    <a:pt x="130" y="296"/>
                  </a:lnTo>
                  <a:lnTo>
                    <a:pt x="136" y="287"/>
                  </a:lnTo>
                  <a:lnTo>
                    <a:pt x="134" y="275"/>
                  </a:lnTo>
                  <a:lnTo>
                    <a:pt x="124" y="265"/>
                  </a:lnTo>
                  <a:lnTo>
                    <a:pt x="120" y="253"/>
                  </a:lnTo>
                  <a:lnTo>
                    <a:pt x="121" y="238"/>
                  </a:lnTo>
                  <a:lnTo>
                    <a:pt x="129" y="226"/>
                  </a:lnTo>
                  <a:lnTo>
                    <a:pt x="132" y="217"/>
                  </a:lnTo>
                  <a:lnTo>
                    <a:pt x="130" y="212"/>
                  </a:lnTo>
                  <a:lnTo>
                    <a:pt x="118" y="194"/>
                  </a:lnTo>
                  <a:lnTo>
                    <a:pt x="114" y="178"/>
                  </a:lnTo>
                  <a:lnTo>
                    <a:pt x="122" y="172"/>
                  </a:lnTo>
                  <a:lnTo>
                    <a:pt x="134" y="168"/>
                  </a:lnTo>
                  <a:lnTo>
                    <a:pt x="143" y="157"/>
                  </a:lnTo>
                  <a:lnTo>
                    <a:pt x="145" y="147"/>
                  </a:lnTo>
                  <a:lnTo>
                    <a:pt x="137" y="137"/>
                  </a:lnTo>
                  <a:lnTo>
                    <a:pt x="137" y="130"/>
                  </a:lnTo>
                  <a:lnTo>
                    <a:pt x="143" y="115"/>
                  </a:lnTo>
                  <a:lnTo>
                    <a:pt x="146" y="101"/>
                  </a:lnTo>
                  <a:lnTo>
                    <a:pt x="146" y="87"/>
                  </a:lnTo>
                  <a:lnTo>
                    <a:pt x="147" y="77"/>
                  </a:lnTo>
                  <a:lnTo>
                    <a:pt x="169" y="55"/>
                  </a:lnTo>
                  <a:lnTo>
                    <a:pt x="177" y="42"/>
                  </a:lnTo>
                  <a:lnTo>
                    <a:pt x="177" y="33"/>
                  </a:lnTo>
                  <a:lnTo>
                    <a:pt x="169" y="24"/>
                  </a:lnTo>
                  <a:lnTo>
                    <a:pt x="163" y="15"/>
                  </a:lnTo>
                  <a:lnTo>
                    <a:pt x="148" y="11"/>
                  </a:lnTo>
                  <a:lnTo>
                    <a:pt x="131" y="11"/>
                  </a:lnTo>
                  <a:lnTo>
                    <a:pt x="118" y="17"/>
                  </a:lnTo>
                  <a:lnTo>
                    <a:pt x="94" y="15"/>
                  </a:lnTo>
                  <a:lnTo>
                    <a:pt x="81" y="17"/>
                  </a:lnTo>
                  <a:lnTo>
                    <a:pt x="73" y="12"/>
                  </a:lnTo>
                  <a:lnTo>
                    <a:pt x="72" y="0"/>
                  </a:lnTo>
                  <a:lnTo>
                    <a:pt x="59" y="2"/>
                  </a:lnTo>
                  <a:lnTo>
                    <a:pt x="44" y="8"/>
                  </a:lnTo>
                  <a:lnTo>
                    <a:pt x="35" y="18"/>
                  </a:lnTo>
                  <a:lnTo>
                    <a:pt x="44" y="63"/>
                  </a:lnTo>
                  <a:lnTo>
                    <a:pt x="45" y="74"/>
                  </a:lnTo>
                  <a:lnTo>
                    <a:pt x="41" y="81"/>
                  </a:lnTo>
                  <a:lnTo>
                    <a:pt x="38" y="104"/>
                  </a:lnTo>
                  <a:lnTo>
                    <a:pt x="35" y="113"/>
                  </a:lnTo>
                  <a:lnTo>
                    <a:pt x="32" y="129"/>
                  </a:lnTo>
                  <a:lnTo>
                    <a:pt x="30" y="144"/>
                  </a:lnTo>
                  <a:lnTo>
                    <a:pt x="28" y="155"/>
                  </a:lnTo>
                  <a:lnTo>
                    <a:pt x="22" y="173"/>
                  </a:lnTo>
                  <a:lnTo>
                    <a:pt x="16" y="184"/>
                  </a:lnTo>
                  <a:lnTo>
                    <a:pt x="3" y="203"/>
                  </a:lnTo>
                  <a:lnTo>
                    <a:pt x="3" y="220"/>
                  </a:lnTo>
                  <a:lnTo>
                    <a:pt x="0" y="235"/>
                  </a:lnTo>
                  <a:lnTo>
                    <a:pt x="1" y="238"/>
                  </a:lnTo>
                  <a:lnTo>
                    <a:pt x="8" y="243"/>
                  </a:lnTo>
                  <a:lnTo>
                    <a:pt x="18" y="259"/>
                  </a:lnTo>
                  <a:lnTo>
                    <a:pt x="25" y="255"/>
                  </a:lnTo>
                  <a:lnTo>
                    <a:pt x="40" y="253"/>
                  </a:lnTo>
                  <a:lnTo>
                    <a:pt x="39" y="258"/>
                  </a:lnTo>
                  <a:lnTo>
                    <a:pt x="36" y="262"/>
                  </a:lnTo>
                  <a:lnTo>
                    <a:pt x="38" y="277"/>
                  </a:lnTo>
                  <a:lnTo>
                    <a:pt x="35" y="290"/>
                  </a:lnTo>
                  <a:lnTo>
                    <a:pt x="36" y="296"/>
                  </a:lnTo>
                  <a:lnTo>
                    <a:pt x="36" y="319"/>
                  </a:lnTo>
                  <a:lnTo>
                    <a:pt x="35" y="328"/>
                  </a:lnTo>
                  <a:lnTo>
                    <a:pt x="29" y="340"/>
                  </a:lnTo>
                  <a:lnTo>
                    <a:pt x="29" y="351"/>
                  </a:lnTo>
                  <a:lnTo>
                    <a:pt x="32" y="355"/>
                  </a:lnTo>
                  <a:lnTo>
                    <a:pt x="43" y="352"/>
                  </a:lnTo>
                  <a:lnTo>
                    <a:pt x="55" y="352"/>
                  </a:lnTo>
                  <a:lnTo>
                    <a:pt x="67" y="352"/>
                  </a:lnTo>
                  <a:lnTo>
                    <a:pt x="76" y="356"/>
                  </a:lnTo>
                  <a:lnTo>
                    <a:pt x="87" y="356"/>
                  </a:lnTo>
                  <a:lnTo>
                    <a:pt x="97" y="352"/>
                  </a:lnTo>
                  <a:lnTo>
                    <a:pt x="104" y="348"/>
                  </a:lnTo>
                  <a:lnTo>
                    <a:pt x="113" y="34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74" name="Freeform 183">
              <a:extLst>
                <a:ext uri="{FF2B5EF4-FFF2-40B4-BE49-F238E27FC236}">
                  <a16:creationId xmlns:a16="http://schemas.microsoft.com/office/drawing/2014/main" id="{779A867D-3D0A-BAF8-26D7-39DC68C8AD1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943300" y="2295496"/>
              <a:ext cx="262652" cy="373432"/>
            </a:xfrm>
            <a:custGeom>
              <a:avLst/>
              <a:gdLst>
                <a:gd name="T0" fmla="*/ 0 w 490"/>
                <a:gd name="T1" fmla="*/ 0 h 659"/>
                <a:gd name="T2" fmla="*/ 0 w 490"/>
                <a:gd name="T3" fmla="*/ 0 h 659"/>
                <a:gd name="T4" fmla="*/ 0 w 490"/>
                <a:gd name="T5" fmla="*/ 0 h 659"/>
                <a:gd name="T6" fmla="*/ 0 w 490"/>
                <a:gd name="T7" fmla="*/ 0 h 659"/>
                <a:gd name="T8" fmla="*/ 0 w 490"/>
                <a:gd name="T9" fmla="*/ 0 h 659"/>
                <a:gd name="T10" fmla="*/ 0 w 490"/>
                <a:gd name="T11" fmla="*/ 0 h 659"/>
                <a:gd name="T12" fmla="*/ 0 w 490"/>
                <a:gd name="T13" fmla="*/ 0 h 659"/>
                <a:gd name="T14" fmla="*/ 0 w 490"/>
                <a:gd name="T15" fmla="*/ 0 h 659"/>
                <a:gd name="T16" fmla="*/ 0 w 490"/>
                <a:gd name="T17" fmla="*/ 0 h 659"/>
                <a:gd name="T18" fmla="*/ 0 w 490"/>
                <a:gd name="T19" fmla="*/ 0 h 659"/>
                <a:gd name="T20" fmla="*/ 0 w 490"/>
                <a:gd name="T21" fmla="*/ 0 h 659"/>
                <a:gd name="T22" fmla="*/ 0 w 490"/>
                <a:gd name="T23" fmla="*/ 0 h 659"/>
                <a:gd name="T24" fmla="*/ 0 w 490"/>
                <a:gd name="T25" fmla="*/ 0 h 659"/>
                <a:gd name="T26" fmla="*/ 0 w 490"/>
                <a:gd name="T27" fmla="*/ 0 h 659"/>
                <a:gd name="T28" fmla="*/ 0 w 490"/>
                <a:gd name="T29" fmla="*/ 0 h 659"/>
                <a:gd name="T30" fmla="*/ 0 w 490"/>
                <a:gd name="T31" fmla="*/ 0 h 659"/>
                <a:gd name="T32" fmla="*/ 0 w 490"/>
                <a:gd name="T33" fmla="*/ 0 h 659"/>
                <a:gd name="T34" fmla="*/ 0 w 490"/>
                <a:gd name="T35" fmla="*/ 0 h 659"/>
                <a:gd name="T36" fmla="*/ 0 w 490"/>
                <a:gd name="T37" fmla="*/ 0 h 659"/>
                <a:gd name="T38" fmla="*/ 0 w 490"/>
                <a:gd name="T39" fmla="*/ 0 h 659"/>
                <a:gd name="T40" fmla="*/ 0 w 490"/>
                <a:gd name="T41" fmla="*/ 2147483647 h 659"/>
                <a:gd name="T42" fmla="*/ 0 w 490"/>
                <a:gd name="T43" fmla="*/ 2147483647 h 659"/>
                <a:gd name="T44" fmla="*/ 0 w 490"/>
                <a:gd name="T45" fmla="*/ 2147483647 h 659"/>
                <a:gd name="T46" fmla="*/ 0 w 490"/>
                <a:gd name="T47" fmla="*/ 2147483647 h 659"/>
                <a:gd name="T48" fmla="*/ 0 w 490"/>
                <a:gd name="T49" fmla="*/ 2147483647 h 659"/>
                <a:gd name="T50" fmla="*/ 0 w 490"/>
                <a:gd name="T51" fmla="*/ 2147483647 h 659"/>
                <a:gd name="T52" fmla="*/ 0 w 490"/>
                <a:gd name="T53" fmla="*/ 2147483647 h 659"/>
                <a:gd name="T54" fmla="*/ 0 w 490"/>
                <a:gd name="T55" fmla="*/ 2147483647 h 659"/>
                <a:gd name="T56" fmla="*/ 0 w 490"/>
                <a:gd name="T57" fmla="*/ 2147483647 h 659"/>
                <a:gd name="T58" fmla="*/ 0 w 490"/>
                <a:gd name="T59" fmla="*/ 2147483647 h 659"/>
                <a:gd name="T60" fmla="*/ 0 w 490"/>
                <a:gd name="T61" fmla="*/ 2147483647 h 659"/>
                <a:gd name="T62" fmla="*/ 0 w 490"/>
                <a:gd name="T63" fmla="*/ 2147483647 h 659"/>
                <a:gd name="T64" fmla="*/ 2147483647 w 490"/>
                <a:gd name="T65" fmla="*/ 2147483647 h 659"/>
                <a:gd name="T66" fmla="*/ 2147483647 w 490"/>
                <a:gd name="T67" fmla="*/ 2147483647 h 659"/>
                <a:gd name="T68" fmla="*/ 2147483647 w 490"/>
                <a:gd name="T69" fmla="*/ 2147483647 h 659"/>
                <a:gd name="T70" fmla="*/ 2147483647 w 490"/>
                <a:gd name="T71" fmla="*/ 2147483647 h 659"/>
                <a:gd name="T72" fmla="*/ 2147483647 w 490"/>
                <a:gd name="T73" fmla="*/ 2147483647 h 659"/>
                <a:gd name="T74" fmla="*/ 2147483647 w 490"/>
                <a:gd name="T75" fmla="*/ 2147483647 h 659"/>
                <a:gd name="T76" fmla="*/ 2147483647 w 490"/>
                <a:gd name="T77" fmla="*/ 2147483647 h 659"/>
                <a:gd name="T78" fmla="*/ 2147483647 w 490"/>
                <a:gd name="T79" fmla="*/ 2147483647 h 659"/>
                <a:gd name="T80" fmla="*/ 2147483647 w 490"/>
                <a:gd name="T81" fmla="*/ 2147483647 h 659"/>
                <a:gd name="T82" fmla="*/ 2147483647 w 490"/>
                <a:gd name="T83" fmla="*/ 2147483647 h 659"/>
                <a:gd name="T84" fmla="*/ 2147483647 w 490"/>
                <a:gd name="T85" fmla="*/ 2147483647 h 659"/>
                <a:gd name="T86" fmla="*/ 2147483647 w 490"/>
                <a:gd name="T87" fmla="*/ 0 h 659"/>
                <a:gd name="T88" fmla="*/ 2147483647 w 490"/>
                <a:gd name="T89" fmla="*/ 0 h 659"/>
                <a:gd name="T90" fmla="*/ 2147483647 w 490"/>
                <a:gd name="T91" fmla="*/ 0 h 659"/>
                <a:gd name="T92" fmla="*/ 2147483647 w 490"/>
                <a:gd name="T93" fmla="*/ 0 h 659"/>
                <a:gd name="T94" fmla="*/ 2147483647 w 490"/>
                <a:gd name="T95" fmla="*/ 0 h 659"/>
                <a:gd name="T96" fmla="*/ 2147483647 w 490"/>
                <a:gd name="T97" fmla="*/ 0 h 659"/>
                <a:gd name="T98" fmla="*/ 2147483647 w 490"/>
                <a:gd name="T99" fmla="*/ 0 h 659"/>
                <a:gd name="T100" fmla="*/ 2147483647 w 490"/>
                <a:gd name="T101" fmla="*/ 0 h 659"/>
                <a:gd name="T102" fmla="*/ 2147483647 w 490"/>
                <a:gd name="T103" fmla="*/ 0 h 659"/>
                <a:gd name="T104" fmla="*/ 0 w 490"/>
                <a:gd name="T105" fmla="*/ 0 h 659"/>
                <a:gd name="T106" fmla="*/ 0 w 490"/>
                <a:gd name="T107" fmla="*/ 0 h 65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490"/>
                <a:gd name="T163" fmla="*/ 0 h 659"/>
                <a:gd name="T164" fmla="*/ 490 w 490"/>
                <a:gd name="T165" fmla="*/ 659 h 65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490" h="659">
                  <a:moveTo>
                    <a:pt x="261" y="88"/>
                  </a:moveTo>
                  <a:lnTo>
                    <a:pt x="260" y="83"/>
                  </a:lnTo>
                  <a:lnTo>
                    <a:pt x="264" y="73"/>
                  </a:lnTo>
                  <a:lnTo>
                    <a:pt x="271" y="68"/>
                  </a:lnTo>
                  <a:lnTo>
                    <a:pt x="276" y="62"/>
                  </a:lnTo>
                  <a:lnTo>
                    <a:pt x="276" y="52"/>
                  </a:lnTo>
                  <a:lnTo>
                    <a:pt x="272" y="49"/>
                  </a:lnTo>
                  <a:lnTo>
                    <a:pt x="255" y="55"/>
                  </a:lnTo>
                  <a:lnTo>
                    <a:pt x="249" y="55"/>
                  </a:lnTo>
                  <a:lnTo>
                    <a:pt x="244" y="49"/>
                  </a:lnTo>
                  <a:lnTo>
                    <a:pt x="233" y="44"/>
                  </a:lnTo>
                  <a:lnTo>
                    <a:pt x="228" y="50"/>
                  </a:lnTo>
                  <a:lnTo>
                    <a:pt x="223" y="50"/>
                  </a:lnTo>
                  <a:lnTo>
                    <a:pt x="222" y="42"/>
                  </a:lnTo>
                  <a:lnTo>
                    <a:pt x="215" y="42"/>
                  </a:lnTo>
                  <a:lnTo>
                    <a:pt x="211" y="39"/>
                  </a:lnTo>
                  <a:lnTo>
                    <a:pt x="217" y="31"/>
                  </a:lnTo>
                  <a:lnTo>
                    <a:pt x="217" y="22"/>
                  </a:lnTo>
                  <a:lnTo>
                    <a:pt x="212" y="11"/>
                  </a:lnTo>
                  <a:lnTo>
                    <a:pt x="196" y="6"/>
                  </a:lnTo>
                  <a:lnTo>
                    <a:pt x="189" y="7"/>
                  </a:lnTo>
                  <a:lnTo>
                    <a:pt x="190" y="2"/>
                  </a:lnTo>
                  <a:lnTo>
                    <a:pt x="182" y="6"/>
                  </a:lnTo>
                  <a:lnTo>
                    <a:pt x="158" y="0"/>
                  </a:lnTo>
                  <a:lnTo>
                    <a:pt x="150" y="1"/>
                  </a:lnTo>
                  <a:lnTo>
                    <a:pt x="150" y="11"/>
                  </a:lnTo>
                  <a:lnTo>
                    <a:pt x="158" y="25"/>
                  </a:lnTo>
                  <a:lnTo>
                    <a:pt x="164" y="31"/>
                  </a:lnTo>
                  <a:lnTo>
                    <a:pt x="167" y="38"/>
                  </a:lnTo>
                  <a:lnTo>
                    <a:pt x="153" y="46"/>
                  </a:lnTo>
                  <a:lnTo>
                    <a:pt x="152" y="50"/>
                  </a:lnTo>
                  <a:lnTo>
                    <a:pt x="148" y="55"/>
                  </a:lnTo>
                  <a:lnTo>
                    <a:pt x="155" y="55"/>
                  </a:lnTo>
                  <a:lnTo>
                    <a:pt x="159" y="58"/>
                  </a:lnTo>
                  <a:lnTo>
                    <a:pt x="157" y="65"/>
                  </a:lnTo>
                  <a:lnTo>
                    <a:pt x="161" y="71"/>
                  </a:lnTo>
                  <a:lnTo>
                    <a:pt x="166" y="74"/>
                  </a:lnTo>
                  <a:lnTo>
                    <a:pt x="164" y="78"/>
                  </a:lnTo>
                  <a:lnTo>
                    <a:pt x="159" y="79"/>
                  </a:lnTo>
                  <a:lnTo>
                    <a:pt x="159" y="87"/>
                  </a:lnTo>
                  <a:lnTo>
                    <a:pt x="172" y="97"/>
                  </a:lnTo>
                  <a:lnTo>
                    <a:pt x="170" y="99"/>
                  </a:lnTo>
                  <a:lnTo>
                    <a:pt x="148" y="99"/>
                  </a:lnTo>
                  <a:lnTo>
                    <a:pt x="145" y="106"/>
                  </a:lnTo>
                  <a:lnTo>
                    <a:pt x="142" y="110"/>
                  </a:lnTo>
                  <a:lnTo>
                    <a:pt x="142" y="128"/>
                  </a:lnTo>
                  <a:lnTo>
                    <a:pt x="148" y="148"/>
                  </a:lnTo>
                  <a:lnTo>
                    <a:pt x="142" y="142"/>
                  </a:lnTo>
                  <a:lnTo>
                    <a:pt x="137" y="128"/>
                  </a:lnTo>
                  <a:lnTo>
                    <a:pt x="130" y="126"/>
                  </a:lnTo>
                  <a:lnTo>
                    <a:pt x="129" y="137"/>
                  </a:lnTo>
                  <a:lnTo>
                    <a:pt x="123" y="137"/>
                  </a:lnTo>
                  <a:lnTo>
                    <a:pt x="120" y="125"/>
                  </a:lnTo>
                  <a:lnTo>
                    <a:pt x="115" y="115"/>
                  </a:lnTo>
                  <a:lnTo>
                    <a:pt x="99" y="113"/>
                  </a:lnTo>
                  <a:lnTo>
                    <a:pt x="72" y="117"/>
                  </a:lnTo>
                  <a:lnTo>
                    <a:pt x="69" y="126"/>
                  </a:lnTo>
                  <a:lnTo>
                    <a:pt x="65" y="130"/>
                  </a:lnTo>
                  <a:lnTo>
                    <a:pt x="61" y="137"/>
                  </a:lnTo>
                  <a:lnTo>
                    <a:pt x="62" y="140"/>
                  </a:lnTo>
                  <a:lnTo>
                    <a:pt x="73" y="142"/>
                  </a:lnTo>
                  <a:lnTo>
                    <a:pt x="78" y="146"/>
                  </a:lnTo>
                  <a:lnTo>
                    <a:pt x="83" y="152"/>
                  </a:lnTo>
                  <a:lnTo>
                    <a:pt x="86" y="160"/>
                  </a:lnTo>
                  <a:lnTo>
                    <a:pt x="83" y="159"/>
                  </a:lnTo>
                  <a:lnTo>
                    <a:pt x="78" y="151"/>
                  </a:lnTo>
                  <a:lnTo>
                    <a:pt x="64" y="154"/>
                  </a:lnTo>
                  <a:lnTo>
                    <a:pt x="54" y="200"/>
                  </a:lnTo>
                  <a:lnTo>
                    <a:pt x="38" y="211"/>
                  </a:lnTo>
                  <a:lnTo>
                    <a:pt x="40" y="219"/>
                  </a:lnTo>
                  <a:lnTo>
                    <a:pt x="59" y="228"/>
                  </a:lnTo>
                  <a:lnTo>
                    <a:pt x="57" y="239"/>
                  </a:lnTo>
                  <a:lnTo>
                    <a:pt x="50" y="249"/>
                  </a:lnTo>
                  <a:lnTo>
                    <a:pt x="40" y="256"/>
                  </a:lnTo>
                  <a:lnTo>
                    <a:pt x="39" y="267"/>
                  </a:lnTo>
                  <a:lnTo>
                    <a:pt x="34" y="278"/>
                  </a:lnTo>
                  <a:lnTo>
                    <a:pt x="26" y="280"/>
                  </a:lnTo>
                  <a:lnTo>
                    <a:pt x="13" y="275"/>
                  </a:lnTo>
                  <a:lnTo>
                    <a:pt x="3" y="275"/>
                  </a:lnTo>
                  <a:lnTo>
                    <a:pt x="2" y="283"/>
                  </a:lnTo>
                  <a:lnTo>
                    <a:pt x="6" y="298"/>
                  </a:lnTo>
                  <a:lnTo>
                    <a:pt x="7" y="308"/>
                  </a:lnTo>
                  <a:lnTo>
                    <a:pt x="6" y="320"/>
                  </a:lnTo>
                  <a:lnTo>
                    <a:pt x="6" y="339"/>
                  </a:lnTo>
                  <a:lnTo>
                    <a:pt x="0" y="346"/>
                  </a:lnTo>
                  <a:lnTo>
                    <a:pt x="0" y="353"/>
                  </a:lnTo>
                  <a:lnTo>
                    <a:pt x="5" y="370"/>
                  </a:lnTo>
                  <a:lnTo>
                    <a:pt x="5" y="377"/>
                  </a:lnTo>
                  <a:lnTo>
                    <a:pt x="10" y="383"/>
                  </a:lnTo>
                  <a:lnTo>
                    <a:pt x="11" y="394"/>
                  </a:lnTo>
                  <a:lnTo>
                    <a:pt x="17" y="402"/>
                  </a:lnTo>
                  <a:lnTo>
                    <a:pt x="17" y="410"/>
                  </a:lnTo>
                  <a:lnTo>
                    <a:pt x="6" y="427"/>
                  </a:lnTo>
                  <a:lnTo>
                    <a:pt x="14" y="431"/>
                  </a:lnTo>
                  <a:lnTo>
                    <a:pt x="12" y="438"/>
                  </a:lnTo>
                  <a:lnTo>
                    <a:pt x="12" y="445"/>
                  </a:lnTo>
                  <a:lnTo>
                    <a:pt x="17" y="453"/>
                  </a:lnTo>
                  <a:lnTo>
                    <a:pt x="21" y="460"/>
                  </a:lnTo>
                  <a:lnTo>
                    <a:pt x="22" y="472"/>
                  </a:lnTo>
                  <a:lnTo>
                    <a:pt x="17" y="479"/>
                  </a:lnTo>
                  <a:lnTo>
                    <a:pt x="29" y="490"/>
                  </a:lnTo>
                  <a:lnTo>
                    <a:pt x="37" y="496"/>
                  </a:lnTo>
                  <a:lnTo>
                    <a:pt x="43" y="507"/>
                  </a:lnTo>
                  <a:lnTo>
                    <a:pt x="61" y="508"/>
                  </a:lnTo>
                  <a:lnTo>
                    <a:pt x="102" y="520"/>
                  </a:lnTo>
                  <a:lnTo>
                    <a:pt x="115" y="526"/>
                  </a:lnTo>
                  <a:lnTo>
                    <a:pt x="113" y="538"/>
                  </a:lnTo>
                  <a:lnTo>
                    <a:pt x="96" y="561"/>
                  </a:lnTo>
                  <a:lnTo>
                    <a:pt x="93" y="573"/>
                  </a:lnTo>
                  <a:lnTo>
                    <a:pt x="86" y="598"/>
                  </a:lnTo>
                  <a:lnTo>
                    <a:pt x="84" y="626"/>
                  </a:lnTo>
                  <a:lnTo>
                    <a:pt x="86" y="636"/>
                  </a:lnTo>
                  <a:lnTo>
                    <a:pt x="88" y="638"/>
                  </a:lnTo>
                  <a:lnTo>
                    <a:pt x="94" y="644"/>
                  </a:lnTo>
                  <a:lnTo>
                    <a:pt x="130" y="639"/>
                  </a:lnTo>
                  <a:lnTo>
                    <a:pt x="156" y="635"/>
                  </a:lnTo>
                  <a:lnTo>
                    <a:pt x="175" y="639"/>
                  </a:lnTo>
                  <a:lnTo>
                    <a:pt x="193" y="648"/>
                  </a:lnTo>
                  <a:lnTo>
                    <a:pt x="204" y="644"/>
                  </a:lnTo>
                  <a:lnTo>
                    <a:pt x="212" y="644"/>
                  </a:lnTo>
                  <a:lnTo>
                    <a:pt x="221" y="646"/>
                  </a:lnTo>
                  <a:lnTo>
                    <a:pt x="227" y="654"/>
                  </a:lnTo>
                  <a:lnTo>
                    <a:pt x="237" y="659"/>
                  </a:lnTo>
                  <a:lnTo>
                    <a:pt x="242" y="657"/>
                  </a:lnTo>
                  <a:lnTo>
                    <a:pt x="244" y="649"/>
                  </a:lnTo>
                  <a:lnTo>
                    <a:pt x="252" y="643"/>
                  </a:lnTo>
                  <a:lnTo>
                    <a:pt x="263" y="644"/>
                  </a:lnTo>
                  <a:lnTo>
                    <a:pt x="276" y="652"/>
                  </a:lnTo>
                  <a:lnTo>
                    <a:pt x="290" y="652"/>
                  </a:lnTo>
                  <a:lnTo>
                    <a:pt x="309" y="639"/>
                  </a:lnTo>
                  <a:lnTo>
                    <a:pt x="342" y="636"/>
                  </a:lnTo>
                  <a:lnTo>
                    <a:pt x="346" y="631"/>
                  </a:lnTo>
                  <a:lnTo>
                    <a:pt x="357" y="635"/>
                  </a:lnTo>
                  <a:lnTo>
                    <a:pt x="372" y="635"/>
                  </a:lnTo>
                  <a:lnTo>
                    <a:pt x="377" y="642"/>
                  </a:lnTo>
                  <a:lnTo>
                    <a:pt x="384" y="638"/>
                  </a:lnTo>
                  <a:lnTo>
                    <a:pt x="384" y="631"/>
                  </a:lnTo>
                  <a:lnTo>
                    <a:pt x="377" y="615"/>
                  </a:lnTo>
                  <a:lnTo>
                    <a:pt x="376" y="599"/>
                  </a:lnTo>
                  <a:lnTo>
                    <a:pt x="381" y="587"/>
                  </a:lnTo>
                  <a:lnTo>
                    <a:pt x="403" y="578"/>
                  </a:lnTo>
                  <a:lnTo>
                    <a:pt x="406" y="568"/>
                  </a:lnTo>
                  <a:lnTo>
                    <a:pt x="410" y="560"/>
                  </a:lnTo>
                  <a:lnTo>
                    <a:pt x="427" y="552"/>
                  </a:lnTo>
                  <a:lnTo>
                    <a:pt x="428" y="545"/>
                  </a:lnTo>
                  <a:lnTo>
                    <a:pt x="425" y="539"/>
                  </a:lnTo>
                  <a:lnTo>
                    <a:pt x="399" y="519"/>
                  </a:lnTo>
                  <a:lnTo>
                    <a:pt x="389" y="506"/>
                  </a:lnTo>
                  <a:lnTo>
                    <a:pt x="361" y="483"/>
                  </a:lnTo>
                  <a:lnTo>
                    <a:pt x="351" y="470"/>
                  </a:lnTo>
                  <a:lnTo>
                    <a:pt x="351" y="453"/>
                  </a:lnTo>
                  <a:lnTo>
                    <a:pt x="349" y="440"/>
                  </a:lnTo>
                  <a:lnTo>
                    <a:pt x="336" y="434"/>
                  </a:lnTo>
                  <a:lnTo>
                    <a:pt x="328" y="425"/>
                  </a:lnTo>
                  <a:lnTo>
                    <a:pt x="328" y="416"/>
                  </a:lnTo>
                  <a:lnTo>
                    <a:pt x="329" y="411"/>
                  </a:lnTo>
                  <a:lnTo>
                    <a:pt x="345" y="426"/>
                  </a:lnTo>
                  <a:lnTo>
                    <a:pt x="347" y="426"/>
                  </a:lnTo>
                  <a:lnTo>
                    <a:pt x="352" y="412"/>
                  </a:lnTo>
                  <a:lnTo>
                    <a:pt x="368" y="405"/>
                  </a:lnTo>
                  <a:lnTo>
                    <a:pt x="385" y="399"/>
                  </a:lnTo>
                  <a:lnTo>
                    <a:pt x="403" y="391"/>
                  </a:lnTo>
                  <a:lnTo>
                    <a:pt x="409" y="379"/>
                  </a:lnTo>
                  <a:lnTo>
                    <a:pt x="447" y="366"/>
                  </a:lnTo>
                  <a:lnTo>
                    <a:pt x="451" y="343"/>
                  </a:lnTo>
                  <a:lnTo>
                    <a:pt x="460" y="346"/>
                  </a:lnTo>
                  <a:lnTo>
                    <a:pt x="468" y="358"/>
                  </a:lnTo>
                  <a:lnTo>
                    <a:pt x="474" y="367"/>
                  </a:lnTo>
                  <a:lnTo>
                    <a:pt x="481" y="367"/>
                  </a:lnTo>
                  <a:lnTo>
                    <a:pt x="485" y="358"/>
                  </a:lnTo>
                  <a:lnTo>
                    <a:pt x="489" y="341"/>
                  </a:lnTo>
                  <a:lnTo>
                    <a:pt x="490" y="320"/>
                  </a:lnTo>
                  <a:lnTo>
                    <a:pt x="489" y="316"/>
                  </a:lnTo>
                  <a:lnTo>
                    <a:pt x="473" y="297"/>
                  </a:lnTo>
                  <a:lnTo>
                    <a:pt x="470" y="273"/>
                  </a:lnTo>
                  <a:lnTo>
                    <a:pt x="470" y="262"/>
                  </a:lnTo>
                  <a:lnTo>
                    <a:pt x="469" y="246"/>
                  </a:lnTo>
                  <a:lnTo>
                    <a:pt x="467" y="237"/>
                  </a:lnTo>
                  <a:lnTo>
                    <a:pt x="464" y="213"/>
                  </a:lnTo>
                  <a:lnTo>
                    <a:pt x="463" y="205"/>
                  </a:lnTo>
                  <a:lnTo>
                    <a:pt x="448" y="194"/>
                  </a:lnTo>
                  <a:lnTo>
                    <a:pt x="447" y="186"/>
                  </a:lnTo>
                  <a:lnTo>
                    <a:pt x="452" y="174"/>
                  </a:lnTo>
                  <a:lnTo>
                    <a:pt x="458" y="162"/>
                  </a:lnTo>
                  <a:lnTo>
                    <a:pt x="459" y="149"/>
                  </a:lnTo>
                  <a:lnTo>
                    <a:pt x="459" y="132"/>
                  </a:lnTo>
                  <a:lnTo>
                    <a:pt x="451" y="115"/>
                  </a:lnTo>
                  <a:lnTo>
                    <a:pt x="448" y="106"/>
                  </a:lnTo>
                  <a:lnTo>
                    <a:pt x="426" y="99"/>
                  </a:lnTo>
                  <a:lnTo>
                    <a:pt x="424" y="85"/>
                  </a:lnTo>
                  <a:lnTo>
                    <a:pt x="415" y="72"/>
                  </a:lnTo>
                  <a:lnTo>
                    <a:pt x="405" y="73"/>
                  </a:lnTo>
                  <a:lnTo>
                    <a:pt x="399" y="68"/>
                  </a:lnTo>
                  <a:lnTo>
                    <a:pt x="397" y="67"/>
                  </a:lnTo>
                  <a:lnTo>
                    <a:pt x="394" y="60"/>
                  </a:lnTo>
                  <a:lnTo>
                    <a:pt x="387" y="55"/>
                  </a:lnTo>
                  <a:lnTo>
                    <a:pt x="381" y="49"/>
                  </a:lnTo>
                  <a:lnTo>
                    <a:pt x="365" y="51"/>
                  </a:lnTo>
                  <a:lnTo>
                    <a:pt x="357" y="55"/>
                  </a:lnTo>
                  <a:lnTo>
                    <a:pt x="351" y="60"/>
                  </a:lnTo>
                  <a:lnTo>
                    <a:pt x="352" y="54"/>
                  </a:lnTo>
                  <a:lnTo>
                    <a:pt x="358" y="49"/>
                  </a:lnTo>
                  <a:lnTo>
                    <a:pt x="368" y="42"/>
                  </a:lnTo>
                  <a:lnTo>
                    <a:pt x="361" y="41"/>
                  </a:lnTo>
                  <a:lnTo>
                    <a:pt x="352" y="42"/>
                  </a:lnTo>
                  <a:lnTo>
                    <a:pt x="339" y="60"/>
                  </a:lnTo>
                  <a:lnTo>
                    <a:pt x="335" y="70"/>
                  </a:lnTo>
                  <a:lnTo>
                    <a:pt x="330" y="72"/>
                  </a:lnTo>
                  <a:lnTo>
                    <a:pt x="330" y="66"/>
                  </a:lnTo>
                  <a:lnTo>
                    <a:pt x="312" y="71"/>
                  </a:lnTo>
                  <a:lnTo>
                    <a:pt x="296" y="83"/>
                  </a:lnTo>
                  <a:lnTo>
                    <a:pt x="299" y="88"/>
                  </a:lnTo>
                  <a:lnTo>
                    <a:pt x="290" y="88"/>
                  </a:lnTo>
                  <a:lnTo>
                    <a:pt x="277" y="84"/>
                  </a:lnTo>
                  <a:lnTo>
                    <a:pt x="264" y="94"/>
                  </a:lnTo>
                  <a:lnTo>
                    <a:pt x="261" y="8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75" name="Freeform 185">
              <a:extLst>
                <a:ext uri="{FF2B5EF4-FFF2-40B4-BE49-F238E27FC236}">
                  <a16:creationId xmlns:a16="http://schemas.microsoft.com/office/drawing/2014/main" id="{A653204C-0380-4FCA-85E0-22E71F5C259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022779" y="2861601"/>
              <a:ext cx="29350" cy="68156"/>
            </a:xfrm>
            <a:custGeom>
              <a:avLst/>
              <a:gdLst>
                <a:gd name="T0" fmla="*/ 0 w 52"/>
                <a:gd name="T1" fmla="*/ 0 h 121"/>
                <a:gd name="T2" fmla="*/ 0 w 52"/>
                <a:gd name="T3" fmla="*/ 0 h 121"/>
                <a:gd name="T4" fmla="*/ 0 w 52"/>
                <a:gd name="T5" fmla="*/ 0 h 121"/>
                <a:gd name="T6" fmla="*/ 0 w 52"/>
                <a:gd name="T7" fmla="*/ 0 h 121"/>
                <a:gd name="T8" fmla="*/ 0 w 52"/>
                <a:gd name="T9" fmla="*/ 0 h 121"/>
                <a:gd name="T10" fmla="*/ 0 w 52"/>
                <a:gd name="T11" fmla="*/ 0 h 121"/>
                <a:gd name="T12" fmla="*/ 0 w 52"/>
                <a:gd name="T13" fmla="*/ 0 h 121"/>
                <a:gd name="T14" fmla="*/ 0 w 52"/>
                <a:gd name="T15" fmla="*/ 0 h 121"/>
                <a:gd name="T16" fmla="*/ 0 w 52"/>
                <a:gd name="T17" fmla="*/ 0 h 121"/>
                <a:gd name="T18" fmla="*/ 0 w 52"/>
                <a:gd name="T19" fmla="*/ 0 h 121"/>
                <a:gd name="T20" fmla="*/ 0 w 52"/>
                <a:gd name="T21" fmla="*/ 0 h 121"/>
                <a:gd name="T22" fmla="*/ 0 w 52"/>
                <a:gd name="T23" fmla="*/ 0 h 121"/>
                <a:gd name="T24" fmla="*/ 0 w 52"/>
                <a:gd name="T25" fmla="*/ 0 h 121"/>
                <a:gd name="T26" fmla="*/ 0 w 52"/>
                <a:gd name="T27" fmla="*/ 0 h 121"/>
                <a:gd name="T28" fmla="*/ 0 w 52"/>
                <a:gd name="T29" fmla="*/ 0 h 121"/>
                <a:gd name="T30" fmla="*/ 0 w 52"/>
                <a:gd name="T31" fmla="*/ 0 h 121"/>
                <a:gd name="T32" fmla="*/ 0 w 52"/>
                <a:gd name="T33" fmla="*/ 0 h 121"/>
                <a:gd name="T34" fmla="*/ 0 w 52"/>
                <a:gd name="T35" fmla="*/ 0 h 121"/>
                <a:gd name="T36" fmla="*/ 0 w 52"/>
                <a:gd name="T37" fmla="*/ 0 h 121"/>
                <a:gd name="T38" fmla="*/ 0 w 52"/>
                <a:gd name="T39" fmla="*/ 0 h 121"/>
                <a:gd name="T40" fmla="*/ 0 w 52"/>
                <a:gd name="T41" fmla="*/ 0 h 121"/>
                <a:gd name="T42" fmla="*/ 0 w 52"/>
                <a:gd name="T43" fmla="*/ 0 h 121"/>
                <a:gd name="T44" fmla="*/ 0 w 52"/>
                <a:gd name="T45" fmla="*/ 0 h 121"/>
                <a:gd name="T46" fmla="*/ 0 w 52"/>
                <a:gd name="T47" fmla="*/ 0 h 121"/>
                <a:gd name="T48" fmla="*/ 0 w 52"/>
                <a:gd name="T49" fmla="*/ 0 h 121"/>
                <a:gd name="T50" fmla="*/ 0 w 52"/>
                <a:gd name="T51" fmla="*/ 0 h 121"/>
                <a:gd name="T52" fmla="*/ 0 w 52"/>
                <a:gd name="T53" fmla="*/ 0 h 12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52"/>
                <a:gd name="T82" fmla="*/ 0 h 121"/>
                <a:gd name="T83" fmla="*/ 52 w 52"/>
                <a:gd name="T84" fmla="*/ 121 h 121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52" h="121">
                  <a:moveTo>
                    <a:pt x="41" y="0"/>
                  </a:moveTo>
                  <a:lnTo>
                    <a:pt x="46" y="2"/>
                  </a:lnTo>
                  <a:lnTo>
                    <a:pt x="47" y="32"/>
                  </a:lnTo>
                  <a:lnTo>
                    <a:pt x="52" y="59"/>
                  </a:lnTo>
                  <a:lnTo>
                    <a:pt x="51" y="70"/>
                  </a:lnTo>
                  <a:lnTo>
                    <a:pt x="47" y="79"/>
                  </a:lnTo>
                  <a:lnTo>
                    <a:pt x="44" y="89"/>
                  </a:lnTo>
                  <a:lnTo>
                    <a:pt x="41" y="103"/>
                  </a:lnTo>
                  <a:lnTo>
                    <a:pt x="33" y="115"/>
                  </a:lnTo>
                  <a:lnTo>
                    <a:pt x="33" y="121"/>
                  </a:lnTo>
                  <a:lnTo>
                    <a:pt x="28" y="114"/>
                  </a:lnTo>
                  <a:lnTo>
                    <a:pt x="22" y="113"/>
                  </a:lnTo>
                  <a:lnTo>
                    <a:pt x="16" y="109"/>
                  </a:lnTo>
                  <a:lnTo>
                    <a:pt x="14" y="103"/>
                  </a:lnTo>
                  <a:lnTo>
                    <a:pt x="14" y="95"/>
                  </a:lnTo>
                  <a:lnTo>
                    <a:pt x="8" y="93"/>
                  </a:lnTo>
                  <a:lnTo>
                    <a:pt x="5" y="87"/>
                  </a:lnTo>
                  <a:lnTo>
                    <a:pt x="4" y="65"/>
                  </a:lnTo>
                  <a:lnTo>
                    <a:pt x="0" y="60"/>
                  </a:lnTo>
                  <a:lnTo>
                    <a:pt x="0" y="44"/>
                  </a:lnTo>
                  <a:lnTo>
                    <a:pt x="5" y="30"/>
                  </a:lnTo>
                  <a:lnTo>
                    <a:pt x="10" y="32"/>
                  </a:lnTo>
                  <a:lnTo>
                    <a:pt x="16" y="29"/>
                  </a:lnTo>
                  <a:lnTo>
                    <a:pt x="27" y="22"/>
                  </a:lnTo>
                  <a:lnTo>
                    <a:pt x="36" y="18"/>
                  </a:lnTo>
                  <a:lnTo>
                    <a:pt x="38" y="14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76" name="Freeform 186">
              <a:extLst>
                <a:ext uri="{FF2B5EF4-FFF2-40B4-BE49-F238E27FC236}">
                  <a16:creationId xmlns:a16="http://schemas.microsoft.com/office/drawing/2014/main" id="{E893C561-4EE2-0E92-C237-A03DEBA2007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635891" y="2492422"/>
              <a:ext cx="370879" cy="397577"/>
            </a:xfrm>
            <a:custGeom>
              <a:avLst/>
              <a:gdLst>
                <a:gd name="T0" fmla="*/ 0 w 694"/>
                <a:gd name="T1" fmla="*/ 0 h 700"/>
                <a:gd name="T2" fmla="*/ 0 w 694"/>
                <a:gd name="T3" fmla="*/ 0 h 700"/>
                <a:gd name="T4" fmla="*/ 0 w 694"/>
                <a:gd name="T5" fmla="*/ 0 h 700"/>
                <a:gd name="T6" fmla="*/ 0 w 694"/>
                <a:gd name="T7" fmla="*/ 0 h 700"/>
                <a:gd name="T8" fmla="*/ 0 w 694"/>
                <a:gd name="T9" fmla="*/ 0 h 700"/>
                <a:gd name="T10" fmla="*/ 0 w 694"/>
                <a:gd name="T11" fmla="*/ 0 h 700"/>
                <a:gd name="T12" fmla="*/ 0 w 694"/>
                <a:gd name="T13" fmla="*/ 0 h 700"/>
                <a:gd name="T14" fmla="*/ 0 w 694"/>
                <a:gd name="T15" fmla="*/ 0 h 700"/>
                <a:gd name="T16" fmla="*/ 0 w 694"/>
                <a:gd name="T17" fmla="*/ 0 h 700"/>
                <a:gd name="T18" fmla="*/ 0 w 694"/>
                <a:gd name="T19" fmla="*/ 0 h 700"/>
                <a:gd name="T20" fmla="*/ 0 w 694"/>
                <a:gd name="T21" fmla="*/ 0 h 700"/>
                <a:gd name="T22" fmla="*/ 0 w 694"/>
                <a:gd name="T23" fmla="*/ 0 h 700"/>
                <a:gd name="T24" fmla="*/ 0 w 694"/>
                <a:gd name="T25" fmla="*/ 0 h 700"/>
                <a:gd name="T26" fmla="*/ 0 w 694"/>
                <a:gd name="T27" fmla="*/ 0 h 700"/>
                <a:gd name="T28" fmla="*/ 0 w 694"/>
                <a:gd name="T29" fmla="*/ 0 h 700"/>
                <a:gd name="T30" fmla="*/ 0 w 694"/>
                <a:gd name="T31" fmla="*/ 0 h 700"/>
                <a:gd name="T32" fmla="*/ 0 w 694"/>
                <a:gd name="T33" fmla="*/ 0 h 700"/>
                <a:gd name="T34" fmla="*/ 0 w 694"/>
                <a:gd name="T35" fmla="*/ 0 h 700"/>
                <a:gd name="T36" fmla="*/ 0 w 694"/>
                <a:gd name="T37" fmla="*/ 0 h 700"/>
                <a:gd name="T38" fmla="*/ 0 w 694"/>
                <a:gd name="T39" fmla="*/ 0 h 700"/>
                <a:gd name="T40" fmla="*/ 0 w 694"/>
                <a:gd name="T41" fmla="*/ 0 h 700"/>
                <a:gd name="T42" fmla="*/ 0 w 694"/>
                <a:gd name="T43" fmla="*/ 0 h 700"/>
                <a:gd name="T44" fmla="*/ 0 w 694"/>
                <a:gd name="T45" fmla="*/ 0 h 700"/>
                <a:gd name="T46" fmla="*/ 0 w 694"/>
                <a:gd name="T47" fmla="*/ 0 h 700"/>
                <a:gd name="T48" fmla="*/ 0 w 694"/>
                <a:gd name="T49" fmla="*/ 0 h 700"/>
                <a:gd name="T50" fmla="*/ 0 w 694"/>
                <a:gd name="T51" fmla="*/ 0 h 700"/>
                <a:gd name="T52" fmla="*/ 0 w 694"/>
                <a:gd name="T53" fmla="*/ 0 h 700"/>
                <a:gd name="T54" fmla="*/ 0 w 694"/>
                <a:gd name="T55" fmla="*/ 0 h 700"/>
                <a:gd name="T56" fmla="*/ 0 w 694"/>
                <a:gd name="T57" fmla="*/ 0 h 700"/>
                <a:gd name="T58" fmla="*/ 0 w 694"/>
                <a:gd name="T59" fmla="*/ 0 h 700"/>
                <a:gd name="T60" fmla="*/ 0 w 694"/>
                <a:gd name="T61" fmla="*/ 0 h 700"/>
                <a:gd name="T62" fmla="*/ 0 w 694"/>
                <a:gd name="T63" fmla="*/ 0 h 700"/>
                <a:gd name="T64" fmla="*/ 0 w 694"/>
                <a:gd name="T65" fmla="*/ 0 h 700"/>
                <a:gd name="T66" fmla="*/ 0 w 694"/>
                <a:gd name="T67" fmla="*/ 0 h 700"/>
                <a:gd name="T68" fmla="*/ 0 w 694"/>
                <a:gd name="T69" fmla="*/ 0 h 700"/>
                <a:gd name="T70" fmla="*/ 0 w 694"/>
                <a:gd name="T71" fmla="*/ 0 h 700"/>
                <a:gd name="T72" fmla="*/ 0 w 694"/>
                <a:gd name="T73" fmla="*/ 0 h 700"/>
                <a:gd name="T74" fmla="*/ 0 w 694"/>
                <a:gd name="T75" fmla="*/ 0 h 700"/>
                <a:gd name="T76" fmla="*/ 0 w 694"/>
                <a:gd name="T77" fmla="*/ 0 h 700"/>
                <a:gd name="T78" fmla="*/ 0 w 694"/>
                <a:gd name="T79" fmla="*/ 0 h 700"/>
                <a:gd name="T80" fmla="*/ 0 w 694"/>
                <a:gd name="T81" fmla="*/ 0 h 700"/>
                <a:gd name="T82" fmla="*/ 0 w 694"/>
                <a:gd name="T83" fmla="*/ 0 h 700"/>
                <a:gd name="T84" fmla="*/ 0 w 694"/>
                <a:gd name="T85" fmla="*/ 0 h 700"/>
                <a:gd name="T86" fmla="*/ 0 w 694"/>
                <a:gd name="T87" fmla="*/ 0 h 700"/>
                <a:gd name="T88" fmla="*/ 0 w 694"/>
                <a:gd name="T89" fmla="*/ 0 h 700"/>
                <a:gd name="T90" fmla="*/ 0 w 694"/>
                <a:gd name="T91" fmla="*/ 0 h 700"/>
                <a:gd name="T92" fmla="*/ 0 w 694"/>
                <a:gd name="T93" fmla="*/ 0 h 700"/>
                <a:gd name="T94" fmla="*/ 0 w 694"/>
                <a:gd name="T95" fmla="*/ 0 h 700"/>
                <a:gd name="T96" fmla="*/ 0 w 694"/>
                <a:gd name="T97" fmla="*/ 0 h 700"/>
                <a:gd name="T98" fmla="*/ 0 w 694"/>
                <a:gd name="T99" fmla="*/ 0 h 700"/>
                <a:gd name="T100" fmla="*/ 0 w 694"/>
                <a:gd name="T101" fmla="*/ 0 h 70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4"/>
                <a:gd name="T154" fmla="*/ 0 h 700"/>
                <a:gd name="T155" fmla="*/ 694 w 694"/>
                <a:gd name="T156" fmla="*/ 700 h 70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4" h="700">
                  <a:moveTo>
                    <a:pt x="408" y="0"/>
                  </a:moveTo>
                  <a:lnTo>
                    <a:pt x="403" y="4"/>
                  </a:lnTo>
                  <a:lnTo>
                    <a:pt x="381" y="7"/>
                  </a:lnTo>
                  <a:lnTo>
                    <a:pt x="355" y="17"/>
                  </a:lnTo>
                  <a:lnTo>
                    <a:pt x="349" y="36"/>
                  </a:lnTo>
                  <a:lnTo>
                    <a:pt x="345" y="66"/>
                  </a:lnTo>
                  <a:lnTo>
                    <a:pt x="349" y="70"/>
                  </a:lnTo>
                  <a:lnTo>
                    <a:pt x="348" y="76"/>
                  </a:lnTo>
                  <a:lnTo>
                    <a:pt x="336" y="90"/>
                  </a:lnTo>
                  <a:lnTo>
                    <a:pt x="322" y="100"/>
                  </a:lnTo>
                  <a:lnTo>
                    <a:pt x="290" y="109"/>
                  </a:lnTo>
                  <a:lnTo>
                    <a:pt x="275" y="119"/>
                  </a:lnTo>
                  <a:lnTo>
                    <a:pt x="268" y="132"/>
                  </a:lnTo>
                  <a:lnTo>
                    <a:pt x="269" y="138"/>
                  </a:lnTo>
                  <a:lnTo>
                    <a:pt x="284" y="138"/>
                  </a:lnTo>
                  <a:lnTo>
                    <a:pt x="289" y="139"/>
                  </a:lnTo>
                  <a:lnTo>
                    <a:pt x="288" y="143"/>
                  </a:lnTo>
                  <a:lnTo>
                    <a:pt x="267" y="145"/>
                  </a:lnTo>
                  <a:lnTo>
                    <a:pt x="257" y="152"/>
                  </a:lnTo>
                  <a:lnTo>
                    <a:pt x="248" y="154"/>
                  </a:lnTo>
                  <a:lnTo>
                    <a:pt x="237" y="154"/>
                  </a:lnTo>
                  <a:lnTo>
                    <a:pt x="224" y="150"/>
                  </a:lnTo>
                  <a:lnTo>
                    <a:pt x="208" y="148"/>
                  </a:lnTo>
                  <a:lnTo>
                    <a:pt x="203" y="149"/>
                  </a:lnTo>
                  <a:lnTo>
                    <a:pt x="191" y="133"/>
                  </a:lnTo>
                  <a:lnTo>
                    <a:pt x="192" y="124"/>
                  </a:lnTo>
                  <a:lnTo>
                    <a:pt x="188" y="122"/>
                  </a:lnTo>
                  <a:lnTo>
                    <a:pt x="167" y="123"/>
                  </a:lnTo>
                  <a:lnTo>
                    <a:pt x="157" y="120"/>
                  </a:lnTo>
                  <a:lnTo>
                    <a:pt x="159" y="140"/>
                  </a:lnTo>
                  <a:lnTo>
                    <a:pt x="162" y="149"/>
                  </a:lnTo>
                  <a:lnTo>
                    <a:pt x="168" y="154"/>
                  </a:lnTo>
                  <a:lnTo>
                    <a:pt x="175" y="177"/>
                  </a:lnTo>
                  <a:lnTo>
                    <a:pt x="175" y="189"/>
                  </a:lnTo>
                  <a:lnTo>
                    <a:pt x="177" y="202"/>
                  </a:lnTo>
                  <a:lnTo>
                    <a:pt x="183" y="206"/>
                  </a:lnTo>
                  <a:lnTo>
                    <a:pt x="179" y="210"/>
                  </a:lnTo>
                  <a:lnTo>
                    <a:pt x="168" y="211"/>
                  </a:lnTo>
                  <a:lnTo>
                    <a:pt x="165" y="208"/>
                  </a:lnTo>
                  <a:lnTo>
                    <a:pt x="160" y="205"/>
                  </a:lnTo>
                  <a:lnTo>
                    <a:pt x="152" y="208"/>
                  </a:lnTo>
                  <a:lnTo>
                    <a:pt x="145" y="210"/>
                  </a:lnTo>
                  <a:lnTo>
                    <a:pt x="136" y="209"/>
                  </a:lnTo>
                  <a:lnTo>
                    <a:pt x="118" y="215"/>
                  </a:lnTo>
                  <a:lnTo>
                    <a:pt x="93" y="194"/>
                  </a:lnTo>
                  <a:lnTo>
                    <a:pt x="76" y="195"/>
                  </a:lnTo>
                  <a:lnTo>
                    <a:pt x="71" y="193"/>
                  </a:lnTo>
                  <a:lnTo>
                    <a:pt x="66" y="197"/>
                  </a:lnTo>
                  <a:lnTo>
                    <a:pt x="65" y="202"/>
                  </a:lnTo>
                  <a:lnTo>
                    <a:pt x="51" y="206"/>
                  </a:lnTo>
                  <a:lnTo>
                    <a:pt x="42" y="206"/>
                  </a:lnTo>
                  <a:lnTo>
                    <a:pt x="26" y="209"/>
                  </a:lnTo>
                  <a:lnTo>
                    <a:pt x="4" y="219"/>
                  </a:lnTo>
                  <a:lnTo>
                    <a:pt x="0" y="229"/>
                  </a:lnTo>
                  <a:lnTo>
                    <a:pt x="0" y="235"/>
                  </a:lnTo>
                  <a:lnTo>
                    <a:pt x="20" y="232"/>
                  </a:lnTo>
                  <a:lnTo>
                    <a:pt x="19" y="237"/>
                  </a:lnTo>
                  <a:lnTo>
                    <a:pt x="14" y="237"/>
                  </a:lnTo>
                  <a:lnTo>
                    <a:pt x="9" y="243"/>
                  </a:lnTo>
                  <a:lnTo>
                    <a:pt x="11" y="248"/>
                  </a:lnTo>
                  <a:lnTo>
                    <a:pt x="19" y="247"/>
                  </a:lnTo>
                  <a:lnTo>
                    <a:pt x="28" y="247"/>
                  </a:lnTo>
                  <a:lnTo>
                    <a:pt x="26" y="254"/>
                  </a:lnTo>
                  <a:lnTo>
                    <a:pt x="5" y="258"/>
                  </a:lnTo>
                  <a:lnTo>
                    <a:pt x="10" y="263"/>
                  </a:lnTo>
                  <a:lnTo>
                    <a:pt x="23" y="268"/>
                  </a:lnTo>
                  <a:lnTo>
                    <a:pt x="23" y="279"/>
                  </a:lnTo>
                  <a:lnTo>
                    <a:pt x="35" y="280"/>
                  </a:lnTo>
                  <a:lnTo>
                    <a:pt x="35" y="274"/>
                  </a:lnTo>
                  <a:lnTo>
                    <a:pt x="43" y="273"/>
                  </a:lnTo>
                  <a:lnTo>
                    <a:pt x="74" y="284"/>
                  </a:lnTo>
                  <a:lnTo>
                    <a:pt x="84" y="291"/>
                  </a:lnTo>
                  <a:lnTo>
                    <a:pt x="86" y="296"/>
                  </a:lnTo>
                  <a:lnTo>
                    <a:pt x="91" y="299"/>
                  </a:lnTo>
                  <a:lnTo>
                    <a:pt x="103" y="294"/>
                  </a:lnTo>
                  <a:lnTo>
                    <a:pt x="111" y="296"/>
                  </a:lnTo>
                  <a:lnTo>
                    <a:pt x="106" y="300"/>
                  </a:lnTo>
                  <a:lnTo>
                    <a:pt x="118" y="305"/>
                  </a:lnTo>
                  <a:lnTo>
                    <a:pt x="124" y="300"/>
                  </a:lnTo>
                  <a:lnTo>
                    <a:pt x="128" y="302"/>
                  </a:lnTo>
                  <a:lnTo>
                    <a:pt x="125" y="318"/>
                  </a:lnTo>
                  <a:lnTo>
                    <a:pt x="140" y="322"/>
                  </a:lnTo>
                  <a:lnTo>
                    <a:pt x="155" y="318"/>
                  </a:lnTo>
                  <a:lnTo>
                    <a:pt x="165" y="323"/>
                  </a:lnTo>
                  <a:lnTo>
                    <a:pt x="148" y="328"/>
                  </a:lnTo>
                  <a:lnTo>
                    <a:pt x="148" y="334"/>
                  </a:lnTo>
                  <a:lnTo>
                    <a:pt x="155" y="342"/>
                  </a:lnTo>
                  <a:lnTo>
                    <a:pt x="150" y="349"/>
                  </a:lnTo>
                  <a:lnTo>
                    <a:pt x="144" y="344"/>
                  </a:lnTo>
                  <a:lnTo>
                    <a:pt x="144" y="351"/>
                  </a:lnTo>
                  <a:lnTo>
                    <a:pt x="155" y="364"/>
                  </a:lnTo>
                  <a:lnTo>
                    <a:pt x="161" y="374"/>
                  </a:lnTo>
                  <a:lnTo>
                    <a:pt x="164" y="381"/>
                  </a:lnTo>
                  <a:lnTo>
                    <a:pt x="176" y="389"/>
                  </a:lnTo>
                  <a:lnTo>
                    <a:pt x="188" y="397"/>
                  </a:lnTo>
                  <a:lnTo>
                    <a:pt x="203" y="401"/>
                  </a:lnTo>
                  <a:lnTo>
                    <a:pt x="200" y="408"/>
                  </a:lnTo>
                  <a:lnTo>
                    <a:pt x="204" y="417"/>
                  </a:lnTo>
                  <a:lnTo>
                    <a:pt x="204" y="429"/>
                  </a:lnTo>
                  <a:lnTo>
                    <a:pt x="199" y="440"/>
                  </a:lnTo>
                  <a:lnTo>
                    <a:pt x="203" y="450"/>
                  </a:lnTo>
                  <a:lnTo>
                    <a:pt x="213" y="457"/>
                  </a:lnTo>
                  <a:lnTo>
                    <a:pt x="220" y="467"/>
                  </a:lnTo>
                  <a:lnTo>
                    <a:pt x="224" y="480"/>
                  </a:lnTo>
                  <a:lnTo>
                    <a:pt x="220" y="475"/>
                  </a:lnTo>
                  <a:lnTo>
                    <a:pt x="207" y="460"/>
                  </a:lnTo>
                  <a:lnTo>
                    <a:pt x="203" y="467"/>
                  </a:lnTo>
                  <a:lnTo>
                    <a:pt x="203" y="484"/>
                  </a:lnTo>
                  <a:lnTo>
                    <a:pt x="198" y="517"/>
                  </a:lnTo>
                  <a:lnTo>
                    <a:pt x="197" y="527"/>
                  </a:lnTo>
                  <a:lnTo>
                    <a:pt x="203" y="518"/>
                  </a:lnTo>
                  <a:lnTo>
                    <a:pt x="207" y="526"/>
                  </a:lnTo>
                  <a:lnTo>
                    <a:pt x="204" y="530"/>
                  </a:lnTo>
                  <a:lnTo>
                    <a:pt x="197" y="534"/>
                  </a:lnTo>
                  <a:lnTo>
                    <a:pt x="197" y="547"/>
                  </a:lnTo>
                  <a:lnTo>
                    <a:pt x="186" y="607"/>
                  </a:lnTo>
                  <a:lnTo>
                    <a:pt x="181" y="618"/>
                  </a:lnTo>
                  <a:lnTo>
                    <a:pt x="171" y="624"/>
                  </a:lnTo>
                  <a:lnTo>
                    <a:pt x="161" y="624"/>
                  </a:lnTo>
                  <a:lnTo>
                    <a:pt x="162" y="628"/>
                  </a:lnTo>
                  <a:lnTo>
                    <a:pt x="184" y="646"/>
                  </a:lnTo>
                  <a:lnTo>
                    <a:pt x="193" y="650"/>
                  </a:lnTo>
                  <a:lnTo>
                    <a:pt x="204" y="652"/>
                  </a:lnTo>
                  <a:lnTo>
                    <a:pt x="215" y="660"/>
                  </a:lnTo>
                  <a:lnTo>
                    <a:pt x="222" y="666"/>
                  </a:lnTo>
                  <a:lnTo>
                    <a:pt x="268" y="678"/>
                  </a:lnTo>
                  <a:lnTo>
                    <a:pt x="284" y="679"/>
                  </a:lnTo>
                  <a:lnTo>
                    <a:pt x="290" y="678"/>
                  </a:lnTo>
                  <a:lnTo>
                    <a:pt x="300" y="671"/>
                  </a:lnTo>
                  <a:lnTo>
                    <a:pt x="308" y="670"/>
                  </a:lnTo>
                  <a:lnTo>
                    <a:pt x="317" y="672"/>
                  </a:lnTo>
                  <a:lnTo>
                    <a:pt x="332" y="682"/>
                  </a:lnTo>
                  <a:lnTo>
                    <a:pt x="345" y="683"/>
                  </a:lnTo>
                  <a:lnTo>
                    <a:pt x="350" y="689"/>
                  </a:lnTo>
                  <a:lnTo>
                    <a:pt x="361" y="698"/>
                  </a:lnTo>
                  <a:lnTo>
                    <a:pt x="369" y="700"/>
                  </a:lnTo>
                  <a:lnTo>
                    <a:pt x="397" y="698"/>
                  </a:lnTo>
                  <a:lnTo>
                    <a:pt x="410" y="695"/>
                  </a:lnTo>
                  <a:lnTo>
                    <a:pt x="424" y="695"/>
                  </a:lnTo>
                  <a:lnTo>
                    <a:pt x="431" y="697"/>
                  </a:lnTo>
                  <a:lnTo>
                    <a:pt x="429" y="667"/>
                  </a:lnTo>
                  <a:lnTo>
                    <a:pt x="425" y="663"/>
                  </a:lnTo>
                  <a:lnTo>
                    <a:pt x="428" y="649"/>
                  </a:lnTo>
                  <a:lnTo>
                    <a:pt x="434" y="638"/>
                  </a:lnTo>
                  <a:lnTo>
                    <a:pt x="452" y="629"/>
                  </a:lnTo>
                  <a:lnTo>
                    <a:pt x="463" y="622"/>
                  </a:lnTo>
                  <a:lnTo>
                    <a:pt x="469" y="617"/>
                  </a:lnTo>
                  <a:lnTo>
                    <a:pt x="478" y="612"/>
                  </a:lnTo>
                  <a:lnTo>
                    <a:pt x="483" y="612"/>
                  </a:lnTo>
                  <a:lnTo>
                    <a:pt x="487" y="615"/>
                  </a:lnTo>
                  <a:lnTo>
                    <a:pt x="503" y="618"/>
                  </a:lnTo>
                  <a:lnTo>
                    <a:pt x="505" y="619"/>
                  </a:lnTo>
                  <a:lnTo>
                    <a:pt x="507" y="623"/>
                  </a:lnTo>
                  <a:lnTo>
                    <a:pt x="512" y="624"/>
                  </a:lnTo>
                  <a:lnTo>
                    <a:pt x="525" y="625"/>
                  </a:lnTo>
                  <a:lnTo>
                    <a:pt x="526" y="622"/>
                  </a:lnTo>
                  <a:lnTo>
                    <a:pt x="536" y="623"/>
                  </a:lnTo>
                  <a:lnTo>
                    <a:pt x="538" y="625"/>
                  </a:lnTo>
                  <a:lnTo>
                    <a:pt x="546" y="625"/>
                  </a:lnTo>
                  <a:lnTo>
                    <a:pt x="552" y="628"/>
                  </a:lnTo>
                  <a:lnTo>
                    <a:pt x="553" y="633"/>
                  </a:lnTo>
                  <a:lnTo>
                    <a:pt x="557" y="634"/>
                  </a:lnTo>
                  <a:lnTo>
                    <a:pt x="569" y="635"/>
                  </a:lnTo>
                  <a:lnTo>
                    <a:pt x="578" y="644"/>
                  </a:lnTo>
                  <a:lnTo>
                    <a:pt x="593" y="645"/>
                  </a:lnTo>
                  <a:lnTo>
                    <a:pt x="617" y="634"/>
                  </a:lnTo>
                  <a:lnTo>
                    <a:pt x="619" y="631"/>
                  </a:lnTo>
                  <a:lnTo>
                    <a:pt x="620" y="625"/>
                  </a:lnTo>
                  <a:lnTo>
                    <a:pt x="629" y="619"/>
                  </a:lnTo>
                  <a:lnTo>
                    <a:pt x="640" y="608"/>
                  </a:lnTo>
                  <a:lnTo>
                    <a:pt x="646" y="604"/>
                  </a:lnTo>
                  <a:lnTo>
                    <a:pt x="648" y="600"/>
                  </a:lnTo>
                  <a:lnTo>
                    <a:pt x="667" y="590"/>
                  </a:lnTo>
                  <a:lnTo>
                    <a:pt x="668" y="588"/>
                  </a:lnTo>
                  <a:lnTo>
                    <a:pt x="667" y="585"/>
                  </a:lnTo>
                  <a:lnTo>
                    <a:pt x="670" y="579"/>
                  </a:lnTo>
                  <a:lnTo>
                    <a:pt x="670" y="570"/>
                  </a:lnTo>
                  <a:lnTo>
                    <a:pt x="666" y="561"/>
                  </a:lnTo>
                  <a:lnTo>
                    <a:pt x="641" y="559"/>
                  </a:lnTo>
                  <a:lnTo>
                    <a:pt x="635" y="550"/>
                  </a:lnTo>
                  <a:lnTo>
                    <a:pt x="633" y="539"/>
                  </a:lnTo>
                  <a:lnTo>
                    <a:pt x="632" y="528"/>
                  </a:lnTo>
                  <a:lnTo>
                    <a:pt x="634" y="520"/>
                  </a:lnTo>
                  <a:lnTo>
                    <a:pt x="633" y="511"/>
                  </a:lnTo>
                  <a:lnTo>
                    <a:pt x="624" y="509"/>
                  </a:lnTo>
                  <a:lnTo>
                    <a:pt x="623" y="504"/>
                  </a:lnTo>
                  <a:lnTo>
                    <a:pt x="622" y="499"/>
                  </a:lnTo>
                  <a:lnTo>
                    <a:pt x="624" y="490"/>
                  </a:lnTo>
                  <a:lnTo>
                    <a:pt x="629" y="484"/>
                  </a:lnTo>
                  <a:lnTo>
                    <a:pt x="640" y="477"/>
                  </a:lnTo>
                  <a:lnTo>
                    <a:pt x="638" y="467"/>
                  </a:lnTo>
                  <a:lnTo>
                    <a:pt x="627" y="441"/>
                  </a:lnTo>
                  <a:lnTo>
                    <a:pt x="625" y="436"/>
                  </a:lnTo>
                  <a:lnTo>
                    <a:pt x="627" y="431"/>
                  </a:lnTo>
                  <a:lnTo>
                    <a:pt x="636" y="430"/>
                  </a:lnTo>
                  <a:lnTo>
                    <a:pt x="634" y="419"/>
                  </a:lnTo>
                  <a:lnTo>
                    <a:pt x="627" y="418"/>
                  </a:lnTo>
                  <a:lnTo>
                    <a:pt x="624" y="407"/>
                  </a:lnTo>
                  <a:lnTo>
                    <a:pt x="624" y="389"/>
                  </a:lnTo>
                  <a:lnTo>
                    <a:pt x="620" y="388"/>
                  </a:lnTo>
                  <a:lnTo>
                    <a:pt x="603" y="388"/>
                  </a:lnTo>
                  <a:lnTo>
                    <a:pt x="592" y="404"/>
                  </a:lnTo>
                  <a:lnTo>
                    <a:pt x="586" y="409"/>
                  </a:lnTo>
                  <a:lnTo>
                    <a:pt x="582" y="407"/>
                  </a:lnTo>
                  <a:lnTo>
                    <a:pt x="584" y="385"/>
                  </a:lnTo>
                  <a:lnTo>
                    <a:pt x="587" y="372"/>
                  </a:lnTo>
                  <a:lnTo>
                    <a:pt x="591" y="369"/>
                  </a:lnTo>
                  <a:lnTo>
                    <a:pt x="595" y="362"/>
                  </a:lnTo>
                  <a:lnTo>
                    <a:pt x="602" y="358"/>
                  </a:lnTo>
                  <a:lnTo>
                    <a:pt x="603" y="355"/>
                  </a:lnTo>
                  <a:lnTo>
                    <a:pt x="606" y="345"/>
                  </a:lnTo>
                  <a:lnTo>
                    <a:pt x="612" y="337"/>
                  </a:lnTo>
                  <a:lnTo>
                    <a:pt x="635" y="311"/>
                  </a:lnTo>
                  <a:lnTo>
                    <a:pt x="632" y="306"/>
                  </a:lnTo>
                  <a:lnTo>
                    <a:pt x="635" y="299"/>
                  </a:lnTo>
                  <a:lnTo>
                    <a:pt x="652" y="300"/>
                  </a:lnTo>
                  <a:lnTo>
                    <a:pt x="660" y="297"/>
                  </a:lnTo>
                  <a:lnTo>
                    <a:pt x="667" y="291"/>
                  </a:lnTo>
                  <a:lnTo>
                    <a:pt x="665" y="289"/>
                  </a:lnTo>
                  <a:lnTo>
                    <a:pt x="663" y="279"/>
                  </a:lnTo>
                  <a:lnTo>
                    <a:pt x="665" y="251"/>
                  </a:lnTo>
                  <a:lnTo>
                    <a:pt x="672" y="226"/>
                  </a:lnTo>
                  <a:lnTo>
                    <a:pt x="675" y="214"/>
                  </a:lnTo>
                  <a:lnTo>
                    <a:pt x="692" y="191"/>
                  </a:lnTo>
                  <a:lnTo>
                    <a:pt x="694" y="179"/>
                  </a:lnTo>
                  <a:lnTo>
                    <a:pt x="681" y="173"/>
                  </a:lnTo>
                  <a:lnTo>
                    <a:pt x="640" y="161"/>
                  </a:lnTo>
                  <a:lnTo>
                    <a:pt x="622" y="160"/>
                  </a:lnTo>
                  <a:lnTo>
                    <a:pt x="616" y="149"/>
                  </a:lnTo>
                  <a:lnTo>
                    <a:pt x="608" y="143"/>
                  </a:lnTo>
                  <a:lnTo>
                    <a:pt x="596" y="132"/>
                  </a:lnTo>
                  <a:lnTo>
                    <a:pt x="584" y="133"/>
                  </a:lnTo>
                  <a:lnTo>
                    <a:pt x="566" y="128"/>
                  </a:lnTo>
                  <a:lnTo>
                    <a:pt x="558" y="129"/>
                  </a:lnTo>
                  <a:lnTo>
                    <a:pt x="548" y="127"/>
                  </a:lnTo>
                  <a:lnTo>
                    <a:pt x="539" y="119"/>
                  </a:lnTo>
                  <a:lnTo>
                    <a:pt x="528" y="114"/>
                  </a:lnTo>
                  <a:lnTo>
                    <a:pt x="531" y="108"/>
                  </a:lnTo>
                  <a:lnTo>
                    <a:pt x="526" y="106"/>
                  </a:lnTo>
                  <a:lnTo>
                    <a:pt x="526" y="82"/>
                  </a:lnTo>
                  <a:lnTo>
                    <a:pt x="520" y="82"/>
                  </a:lnTo>
                  <a:lnTo>
                    <a:pt x="514" y="90"/>
                  </a:lnTo>
                  <a:lnTo>
                    <a:pt x="509" y="97"/>
                  </a:lnTo>
                  <a:lnTo>
                    <a:pt x="499" y="97"/>
                  </a:lnTo>
                  <a:lnTo>
                    <a:pt x="489" y="93"/>
                  </a:lnTo>
                  <a:lnTo>
                    <a:pt x="487" y="78"/>
                  </a:lnTo>
                  <a:lnTo>
                    <a:pt x="484" y="69"/>
                  </a:lnTo>
                  <a:lnTo>
                    <a:pt x="478" y="64"/>
                  </a:lnTo>
                  <a:lnTo>
                    <a:pt x="466" y="60"/>
                  </a:lnTo>
                  <a:lnTo>
                    <a:pt x="452" y="52"/>
                  </a:lnTo>
                  <a:lnTo>
                    <a:pt x="442" y="48"/>
                  </a:lnTo>
                  <a:lnTo>
                    <a:pt x="433" y="30"/>
                  </a:lnTo>
                  <a:lnTo>
                    <a:pt x="421" y="31"/>
                  </a:lnTo>
                  <a:lnTo>
                    <a:pt x="410" y="26"/>
                  </a:lnTo>
                  <a:lnTo>
                    <a:pt x="408" y="16"/>
                  </a:lnTo>
                  <a:lnTo>
                    <a:pt x="408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77" name="Freeform 188">
              <a:extLst>
                <a:ext uri="{FF2B5EF4-FFF2-40B4-BE49-F238E27FC236}">
                  <a16:creationId xmlns:a16="http://schemas.microsoft.com/office/drawing/2014/main" id="{5CF7BEC8-AFB2-CE9F-3040-35F96C722F5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594988" y="2082182"/>
              <a:ext cx="229785" cy="464427"/>
            </a:xfrm>
            <a:custGeom>
              <a:avLst/>
              <a:gdLst>
                <a:gd name="T0" fmla="*/ 0 w 430"/>
                <a:gd name="T1" fmla="*/ 0 h 814"/>
                <a:gd name="T2" fmla="*/ 0 w 430"/>
                <a:gd name="T3" fmla="*/ 0 h 814"/>
                <a:gd name="T4" fmla="*/ 0 w 430"/>
                <a:gd name="T5" fmla="*/ 0 h 814"/>
                <a:gd name="T6" fmla="*/ 0 w 430"/>
                <a:gd name="T7" fmla="*/ 0 h 814"/>
                <a:gd name="T8" fmla="*/ 0 w 430"/>
                <a:gd name="T9" fmla="*/ 0 h 814"/>
                <a:gd name="T10" fmla="*/ 0 w 430"/>
                <a:gd name="T11" fmla="*/ 0 h 814"/>
                <a:gd name="T12" fmla="*/ 0 w 430"/>
                <a:gd name="T13" fmla="*/ 0 h 814"/>
                <a:gd name="T14" fmla="*/ 0 w 430"/>
                <a:gd name="T15" fmla="*/ 0 h 814"/>
                <a:gd name="T16" fmla="*/ 0 w 430"/>
                <a:gd name="T17" fmla="*/ 0 h 814"/>
                <a:gd name="T18" fmla="*/ 0 w 430"/>
                <a:gd name="T19" fmla="*/ 0 h 814"/>
                <a:gd name="T20" fmla="*/ 0 w 430"/>
                <a:gd name="T21" fmla="*/ 0 h 814"/>
                <a:gd name="T22" fmla="*/ 0 w 430"/>
                <a:gd name="T23" fmla="*/ 0 h 814"/>
                <a:gd name="T24" fmla="*/ 0 w 430"/>
                <a:gd name="T25" fmla="*/ 0 h 814"/>
                <a:gd name="T26" fmla="*/ 0 w 430"/>
                <a:gd name="T27" fmla="*/ 0 h 814"/>
                <a:gd name="T28" fmla="*/ 0 w 430"/>
                <a:gd name="T29" fmla="*/ 0 h 814"/>
                <a:gd name="T30" fmla="*/ 0 w 430"/>
                <a:gd name="T31" fmla="*/ 0 h 814"/>
                <a:gd name="T32" fmla="*/ 0 w 430"/>
                <a:gd name="T33" fmla="*/ 0 h 814"/>
                <a:gd name="T34" fmla="*/ 0 w 430"/>
                <a:gd name="T35" fmla="*/ 0 h 814"/>
                <a:gd name="T36" fmla="*/ 0 w 430"/>
                <a:gd name="T37" fmla="*/ 0 h 814"/>
                <a:gd name="T38" fmla="*/ 0 w 430"/>
                <a:gd name="T39" fmla="*/ 0 h 814"/>
                <a:gd name="T40" fmla="*/ 0 w 430"/>
                <a:gd name="T41" fmla="*/ 0 h 814"/>
                <a:gd name="T42" fmla="*/ 0 w 430"/>
                <a:gd name="T43" fmla="*/ 0 h 814"/>
                <a:gd name="T44" fmla="*/ 0 w 430"/>
                <a:gd name="T45" fmla="*/ 0 h 814"/>
                <a:gd name="T46" fmla="*/ 0 w 430"/>
                <a:gd name="T47" fmla="*/ 0 h 814"/>
                <a:gd name="T48" fmla="*/ 0 w 430"/>
                <a:gd name="T49" fmla="*/ 0 h 814"/>
                <a:gd name="T50" fmla="*/ 0 w 430"/>
                <a:gd name="T51" fmla="*/ 0 h 814"/>
                <a:gd name="T52" fmla="*/ 0 w 430"/>
                <a:gd name="T53" fmla="*/ 0 h 814"/>
                <a:gd name="T54" fmla="*/ 0 w 430"/>
                <a:gd name="T55" fmla="*/ 0 h 814"/>
                <a:gd name="T56" fmla="*/ 0 w 430"/>
                <a:gd name="T57" fmla="*/ 0 h 814"/>
                <a:gd name="T58" fmla="*/ 0 w 430"/>
                <a:gd name="T59" fmla="*/ 0 h 814"/>
                <a:gd name="T60" fmla="*/ 0 w 430"/>
                <a:gd name="T61" fmla="*/ 0 h 814"/>
                <a:gd name="T62" fmla="*/ 0 w 430"/>
                <a:gd name="T63" fmla="*/ 0 h 814"/>
                <a:gd name="T64" fmla="*/ 0 w 430"/>
                <a:gd name="T65" fmla="*/ 0 h 814"/>
                <a:gd name="T66" fmla="*/ 0 w 430"/>
                <a:gd name="T67" fmla="*/ 0 h 814"/>
                <a:gd name="T68" fmla="*/ 0 w 430"/>
                <a:gd name="T69" fmla="*/ 0 h 814"/>
                <a:gd name="T70" fmla="*/ 0 w 430"/>
                <a:gd name="T71" fmla="*/ 0 h 814"/>
                <a:gd name="T72" fmla="*/ 0 w 430"/>
                <a:gd name="T73" fmla="*/ 0 h 814"/>
                <a:gd name="T74" fmla="*/ 0 w 430"/>
                <a:gd name="T75" fmla="*/ 0 h 814"/>
                <a:gd name="T76" fmla="*/ 0 w 430"/>
                <a:gd name="T77" fmla="*/ 0 h 814"/>
                <a:gd name="T78" fmla="*/ 0 w 430"/>
                <a:gd name="T79" fmla="*/ 0 h 814"/>
                <a:gd name="T80" fmla="*/ 0 w 430"/>
                <a:gd name="T81" fmla="*/ 0 h 814"/>
                <a:gd name="T82" fmla="*/ 0 w 430"/>
                <a:gd name="T83" fmla="*/ 0 h 814"/>
                <a:gd name="T84" fmla="*/ 0 w 430"/>
                <a:gd name="T85" fmla="*/ 0 h 814"/>
                <a:gd name="T86" fmla="*/ 0 w 430"/>
                <a:gd name="T87" fmla="*/ 0 h 814"/>
                <a:gd name="T88" fmla="*/ 0 w 430"/>
                <a:gd name="T89" fmla="*/ 0 h 814"/>
                <a:gd name="T90" fmla="*/ 0 w 430"/>
                <a:gd name="T91" fmla="*/ 0 h 814"/>
                <a:gd name="T92" fmla="*/ 0 w 430"/>
                <a:gd name="T93" fmla="*/ 0 h 814"/>
                <a:gd name="T94" fmla="*/ 0 w 430"/>
                <a:gd name="T95" fmla="*/ 0 h 814"/>
                <a:gd name="T96" fmla="*/ 0 w 430"/>
                <a:gd name="T97" fmla="*/ 0 h 814"/>
                <a:gd name="T98" fmla="*/ 0 w 430"/>
                <a:gd name="T99" fmla="*/ 0 h 814"/>
                <a:gd name="T100" fmla="*/ 0 w 430"/>
                <a:gd name="T101" fmla="*/ 0 h 814"/>
                <a:gd name="T102" fmla="*/ 0 w 430"/>
                <a:gd name="T103" fmla="*/ 0 h 814"/>
                <a:gd name="T104" fmla="*/ 0 w 430"/>
                <a:gd name="T105" fmla="*/ 0 h 814"/>
                <a:gd name="T106" fmla="*/ 0 w 430"/>
                <a:gd name="T107" fmla="*/ 0 h 814"/>
                <a:gd name="T108" fmla="*/ 0 w 430"/>
                <a:gd name="T109" fmla="*/ 0 h 8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30"/>
                <a:gd name="T166" fmla="*/ 0 h 814"/>
                <a:gd name="T167" fmla="*/ 430 w 430"/>
                <a:gd name="T168" fmla="*/ 814 h 81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30" h="814">
                  <a:moveTo>
                    <a:pt x="199" y="767"/>
                  </a:moveTo>
                  <a:lnTo>
                    <a:pt x="200" y="768"/>
                  </a:lnTo>
                  <a:lnTo>
                    <a:pt x="203" y="762"/>
                  </a:lnTo>
                  <a:lnTo>
                    <a:pt x="212" y="760"/>
                  </a:lnTo>
                  <a:lnTo>
                    <a:pt x="222" y="764"/>
                  </a:lnTo>
                  <a:lnTo>
                    <a:pt x="227" y="761"/>
                  </a:lnTo>
                  <a:lnTo>
                    <a:pt x="225" y="754"/>
                  </a:lnTo>
                  <a:lnTo>
                    <a:pt x="251" y="754"/>
                  </a:lnTo>
                  <a:lnTo>
                    <a:pt x="253" y="750"/>
                  </a:lnTo>
                  <a:lnTo>
                    <a:pt x="259" y="748"/>
                  </a:lnTo>
                  <a:lnTo>
                    <a:pt x="260" y="743"/>
                  </a:lnTo>
                  <a:lnTo>
                    <a:pt x="260" y="737"/>
                  </a:lnTo>
                  <a:lnTo>
                    <a:pt x="267" y="741"/>
                  </a:lnTo>
                  <a:lnTo>
                    <a:pt x="274" y="744"/>
                  </a:lnTo>
                  <a:lnTo>
                    <a:pt x="283" y="741"/>
                  </a:lnTo>
                  <a:lnTo>
                    <a:pt x="285" y="745"/>
                  </a:lnTo>
                  <a:lnTo>
                    <a:pt x="290" y="750"/>
                  </a:lnTo>
                  <a:lnTo>
                    <a:pt x="328" y="744"/>
                  </a:lnTo>
                  <a:lnTo>
                    <a:pt x="339" y="746"/>
                  </a:lnTo>
                  <a:lnTo>
                    <a:pt x="388" y="733"/>
                  </a:lnTo>
                  <a:lnTo>
                    <a:pt x="389" y="729"/>
                  </a:lnTo>
                  <a:lnTo>
                    <a:pt x="410" y="713"/>
                  </a:lnTo>
                  <a:lnTo>
                    <a:pt x="413" y="702"/>
                  </a:lnTo>
                  <a:lnTo>
                    <a:pt x="410" y="698"/>
                  </a:lnTo>
                  <a:lnTo>
                    <a:pt x="386" y="698"/>
                  </a:lnTo>
                  <a:lnTo>
                    <a:pt x="373" y="697"/>
                  </a:lnTo>
                  <a:lnTo>
                    <a:pt x="373" y="689"/>
                  </a:lnTo>
                  <a:lnTo>
                    <a:pt x="369" y="682"/>
                  </a:lnTo>
                  <a:lnTo>
                    <a:pt x="378" y="679"/>
                  </a:lnTo>
                  <a:lnTo>
                    <a:pt x="381" y="674"/>
                  </a:lnTo>
                  <a:lnTo>
                    <a:pt x="386" y="668"/>
                  </a:lnTo>
                  <a:lnTo>
                    <a:pt x="383" y="665"/>
                  </a:lnTo>
                  <a:lnTo>
                    <a:pt x="377" y="663"/>
                  </a:lnTo>
                  <a:lnTo>
                    <a:pt x="383" y="658"/>
                  </a:lnTo>
                  <a:lnTo>
                    <a:pt x="391" y="655"/>
                  </a:lnTo>
                  <a:lnTo>
                    <a:pt x="394" y="659"/>
                  </a:lnTo>
                  <a:lnTo>
                    <a:pt x="403" y="657"/>
                  </a:lnTo>
                  <a:lnTo>
                    <a:pt x="404" y="651"/>
                  </a:lnTo>
                  <a:lnTo>
                    <a:pt x="403" y="642"/>
                  </a:lnTo>
                  <a:lnTo>
                    <a:pt x="408" y="642"/>
                  </a:lnTo>
                  <a:lnTo>
                    <a:pt x="415" y="638"/>
                  </a:lnTo>
                  <a:lnTo>
                    <a:pt x="423" y="628"/>
                  </a:lnTo>
                  <a:lnTo>
                    <a:pt x="429" y="608"/>
                  </a:lnTo>
                  <a:lnTo>
                    <a:pt x="430" y="593"/>
                  </a:lnTo>
                  <a:lnTo>
                    <a:pt x="426" y="577"/>
                  </a:lnTo>
                  <a:lnTo>
                    <a:pt x="418" y="563"/>
                  </a:lnTo>
                  <a:lnTo>
                    <a:pt x="408" y="557"/>
                  </a:lnTo>
                  <a:lnTo>
                    <a:pt x="399" y="554"/>
                  </a:lnTo>
                  <a:lnTo>
                    <a:pt x="387" y="554"/>
                  </a:lnTo>
                  <a:lnTo>
                    <a:pt x="365" y="557"/>
                  </a:lnTo>
                  <a:lnTo>
                    <a:pt x="355" y="572"/>
                  </a:lnTo>
                  <a:lnTo>
                    <a:pt x="350" y="567"/>
                  </a:lnTo>
                  <a:lnTo>
                    <a:pt x="340" y="566"/>
                  </a:lnTo>
                  <a:lnTo>
                    <a:pt x="337" y="565"/>
                  </a:lnTo>
                  <a:lnTo>
                    <a:pt x="340" y="555"/>
                  </a:lnTo>
                  <a:lnTo>
                    <a:pt x="353" y="540"/>
                  </a:lnTo>
                  <a:lnTo>
                    <a:pt x="355" y="534"/>
                  </a:lnTo>
                  <a:lnTo>
                    <a:pt x="355" y="525"/>
                  </a:lnTo>
                  <a:lnTo>
                    <a:pt x="345" y="512"/>
                  </a:lnTo>
                  <a:lnTo>
                    <a:pt x="339" y="507"/>
                  </a:lnTo>
                  <a:lnTo>
                    <a:pt x="335" y="501"/>
                  </a:lnTo>
                  <a:lnTo>
                    <a:pt x="330" y="498"/>
                  </a:lnTo>
                  <a:lnTo>
                    <a:pt x="317" y="485"/>
                  </a:lnTo>
                  <a:lnTo>
                    <a:pt x="321" y="482"/>
                  </a:lnTo>
                  <a:lnTo>
                    <a:pt x="332" y="492"/>
                  </a:lnTo>
                  <a:lnTo>
                    <a:pt x="344" y="495"/>
                  </a:lnTo>
                  <a:lnTo>
                    <a:pt x="345" y="493"/>
                  </a:lnTo>
                  <a:lnTo>
                    <a:pt x="343" y="477"/>
                  </a:lnTo>
                  <a:lnTo>
                    <a:pt x="335" y="471"/>
                  </a:lnTo>
                  <a:lnTo>
                    <a:pt x="326" y="459"/>
                  </a:lnTo>
                  <a:lnTo>
                    <a:pt x="323" y="444"/>
                  </a:lnTo>
                  <a:lnTo>
                    <a:pt x="316" y="433"/>
                  </a:lnTo>
                  <a:lnTo>
                    <a:pt x="311" y="423"/>
                  </a:lnTo>
                  <a:lnTo>
                    <a:pt x="301" y="410"/>
                  </a:lnTo>
                  <a:lnTo>
                    <a:pt x="290" y="405"/>
                  </a:lnTo>
                  <a:lnTo>
                    <a:pt x="276" y="402"/>
                  </a:lnTo>
                  <a:lnTo>
                    <a:pt x="273" y="399"/>
                  </a:lnTo>
                  <a:lnTo>
                    <a:pt x="268" y="385"/>
                  </a:lnTo>
                  <a:lnTo>
                    <a:pt x="260" y="374"/>
                  </a:lnTo>
                  <a:lnTo>
                    <a:pt x="254" y="361"/>
                  </a:lnTo>
                  <a:lnTo>
                    <a:pt x="252" y="350"/>
                  </a:lnTo>
                  <a:lnTo>
                    <a:pt x="248" y="312"/>
                  </a:lnTo>
                  <a:lnTo>
                    <a:pt x="240" y="305"/>
                  </a:lnTo>
                  <a:lnTo>
                    <a:pt x="228" y="293"/>
                  </a:lnTo>
                  <a:lnTo>
                    <a:pt x="221" y="282"/>
                  </a:lnTo>
                  <a:lnTo>
                    <a:pt x="193" y="266"/>
                  </a:lnTo>
                  <a:lnTo>
                    <a:pt x="188" y="265"/>
                  </a:lnTo>
                  <a:lnTo>
                    <a:pt x="171" y="271"/>
                  </a:lnTo>
                  <a:lnTo>
                    <a:pt x="156" y="267"/>
                  </a:lnTo>
                  <a:lnTo>
                    <a:pt x="155" y="265"/>
                  </a:lnTo>
                  <a:lnTo>
                    <a:pt x="157" y="258"/>
                  </a:lnTo>
                  <a:lnTo>
                    <a:pt x="163" y="251"/>
                  </a:lnTo>
                  <a:lnTo>
                    <a:pt x="172" y="249"/>
                  </a:lnTo>
                  <a:lnTo>
                    <a:pt x="182" y="249"/>
                  </a:lnTo>
                  <a:lnTo>
                    <a:pt x="192" y="244"/>
                  </a:lnTo>
                  <a:lnTo>
                    <a:pt x="181" y="229"/>
                  </a:lnTo>
                  <a:lnTo>
                    <a:pt x="176" y="228"/>
                  </a:lnTo>
                  <a:lnTo>
                    <a:pt x="174" y="222"/>
                  </a:lnTo>
                  <a:lnTo>
                    <a:pt x="183" y="223"/>
                  </a:lnTo>
                  <a:lnTo>
                    <a:pt x="189" y="218"/>
                  </a:lnTo>
                  <a:lnTo>
                    <a:pt x="195" y="210"/>
                  </a:lnTo>
                  <a:lnTo>
                    <a:pt x="198" y="202"/>
                  </a:lnTo>
                  <a:lnTo>
                    <a:pt x="211" y="183"/>
                  </a:lnTo>
                  <a:lnTo>
                    <a:pt x="212" y="173"/>
                  </a:lnTo>
                  <a:lnTo>
                    <a:pt x="216" y="160"/>
                  </a:lnTo>
                  <a:lnTo>
                    <a:pt x="220" y="145"/>
                  </a:lnTo>
                  <a:lnTo>
                    <a:pt x="233" y="129"/>
                  </a:lnTo>
                  <a:lnTo>
                    <a:pt x="233" y="109"/>
                  </a:lnTo>
                  <a:lnTo>
                    <a:pt x="230" y="100"/>
                  </a:lnTo>
                  <a:lnTo>
                    <a:pt x="214" y="99"/>
                  </a:lnTo>
                  <a:lnTo>
                    <a:pt x="200" y="102"/>
                  </a:lnTo>
                  <a:lnTo>
                    <a:pt x="178" y="98"/>
                  </a:lnTo>
                  <a:lnTo>
                    <a:pt x="166" y="100"/>
                  </a:lnTo>
                  <a:lnTo>
                    <a:pt x="154" y="97"/>
                  </a:lnTo>
                  <a:lnTo>
                    <a:pt x="118" y="109"/>
                  </a:lnTo>
                  <a:lnTo>
                    <a:pt x="111" y="116"/>
                  </a:lnTo>
                  <a:lnTo>
                    <a:pt x="106" y="113"/>
                  </a:lnTo>
                  <a:lnTo>
                    <a:pt x="108" y="105"/>
                  </a:lnTo>
                  <a:lnTo>
                    <a:pt x="108" y="102"/>
                  </a:lnTo>
                  <a:lnTo>
                    <a:pt x="99" y="104"/>
                  </a:lnTo>
                  <a:lnTo>
                    <a:pt x="99" y="99"/>
                  </a:lnTo>
                  <a:lnTo>
                    <a:pt x="114" y="95"/>
                  </a:lnTo>
                  <a:lnTo>
                    <a:pt x="124" y="86"/>
                  </a:lnTo>
                  <a:lnTo>
                    <a:pt x="107" y="84"/>
                  </a:lnTo>
                  <a:lnTo>
                    <a:pt x="108" y="77"/>
                  </a:lnTo>
                  <a:lnTo>
                    <a:pt x="109" y="78"/>
                  </a:lnTo>
                  <a:lnTo>
                    <a:pt x="119" y="66"/>
                  </a:lnTo>
                  <a:lnTo>
                    <a:pt x="139" y="54"/>
                  </a:lnTo>
                  <a:lnTo>
                    <a:pt x="147" y="39"/>
                  </a:lnTo>
                  <a:lnTo>
                    <a:pt x="161" y="30"/>
                  </a:lnTo>
                  <a:lnTo>
                    <a:pt x="163" y="4"/>
                  </a:lnTo>
                  <a:lnTo>
                    <a:pt x="151" y="0"/>
                  </a:lnTo>
                  <a:lnTo>
                    <a:pt x="138" y="4"/>
                  </a:lnTo>
                  <a:lnTo>
                    <a:pt x="124" y="8"/>
                  </a:lnTo>
                  <a:lnTo>
                    <a:pt x="112" y="8"/>
                  </a:lnTo>
                  <a:lnTo>
                    <a:pt x="96" y="12"/>
                  </a:lnTo>
                  <a:lnTo>
                    <a:pt x="95" y="11"/>
                  </a:lnTo>
                  <a:lnTo>
                    <a:pt x="75" y="6"/>
                  </a:lnTo>
                  <a:lnTo>
                    <a:pt x="64" y="9"/>
                  </a:lnTo>
                  <a:lnTo>
                    <a:pt x="54" y="27"/>
                  </a:lnTo>
                  <a:lnTo>
                    <a:pt x="54" y="41"/>
                  </a:lnTo>
                  <a:lnTo>
                    <a:pt x="42" y="43"/>
                  </a:lnTo>
                  <a:lnTo>
                    <a:pt x="43" y="57"/>
                  </a:lnTo>
                  <a:lnTo>
                    <a:pt x="37" y="60"/>
                  </a:lnTo>
                  <a:lnTo>
                    <a:pt x="39" y="65"/>
                  </a:lnTo>
                  <a:lnTo>
                    <a:pt x="47" y="73"/>
                  </a:lnTo>
                  <a:lnTo>
                    <a:pt x="20" y="88"/>
                  </a:lnTo>
                  <a:lnTo>
                    <a:pt x="20" y="109"/>
                  </a:lnTo>
                  <a:lnTo>
                    <a:pt x="27" y="113"/>
                  </a:lnTo>
                  <a:lnTo>
                    <a:pt x="25" y="115"/>
                  </a:lnTo>
                  <a:lnTo>
                    <a:pt x="18" y="114"/>
                  </a:lnTo>
                  <a:lnTo>
                    <a:pt x="16" y="115"/>
                  </a:lnTo>
                  <a:lnTo>
                    <a:pt x="16" y="130"/>
                  </a:lnTo>
                  <a:lnTo>
                    <a:pt x="22" y="131"/>
                  </a:lnTo>
                  <a:lnTo>
                    <a:pt x="34" y="129"/>
                  </a:lnTo>
                  <a:lnTo>
                    <a:pt x="33" y="133"/>
                  </a:lnTo>
                  <a:lnTo>
                    <a:pt x="27" y="136"/>
                  </a:lnTo>
                  <a:lnTo>
                    <a:pt x="33" y="138"/>
                  </a:lnTo>
                  <a:lnTo>
                    <a:pt x="28" y="147"/>
                  </a:lnTo>
                  <a:lnTo>
                    <a:pt x="27" y="151"/>
                  </a:lnTo>
                  <a:lnTo>
                    <a:pt x="28" y="157"/>
                  </a:lnTo>
                  <a:lnTo>
                    <a:pt x="26" y="158"/>
                  </a:lnTo>
                  <a:lnTo>
                    <a:pt x="22" y="163"/>
                  </a:lnTo>
                  <a:lnTo>
                    <a:pt x="22" y="167"/>
                  </a:lnTo>
                  <a:lnTo>
                    <a:pt x="18" y="170"/>
                  </a:lnTo>
                  <a:lnTo>
                    <a:pt x="16" y="178"/>
                  </a:lnTo>
                  <a:lnTo>
                    <a:pt x="16" y="192"/>
                  </a:lnTo>
                  <a:lnTo>
                    <a:pt x="5" y="195"/>
                  </a:lnTo>
                  <a:lnTo>
                    <a:pt x="0" y="197"/>
                  </a:lnTo>
                  <a:lnTo>
                    <a:pt x="0" y="201"/>
                  </a:lnTo>
                  <a:lnTo>
                    <a:pt x="10" y="202"/>
                  </a:lnTo>
                  <a:lnTo>
                    <a:pt x="11" y="211"/>
                  </a:lnTo>
                  <a:lnTo>
                    <a:pt x="23" y="222"/>
                  </a:lnTo>
                  <a:lnTo>
                    <a:pt x="33" y="215"/>
                  </a:lnTo>
                  <a:lnTo>
                    <a:pt x="43" y="206"/>
                  </a:lnTo>
                  <a:lnTo>
                    <a:pt x="44" y="205"/>
                  </a:lnTo>
                  <a:lnTo>
                    <a:pt x="45" y="206"/>
                  </a:lnTo>
                  <a:lnTo>
                    <a:pt x="45" y="212"/>
                  </a:lnTo>
                  <a:lnTo>
                    <a:pt x="33" y="243"/>
                  </a:lnTo>
                  <a:lnTo>
                    <a:pt x="31" y="254"/>
                  </a:lnTo>
                  <a:lnTo>
                    <a:pt x="31" y="259"/>
                  </a:lnTo>
                  <a:lnTo>
                    <a:pt x="28" y="264"/>
                  </a:lnTo>
                  <a:lnTo>
                    <a:pt x="26" y="275"/>
                  </a:lnTo>
                  <a:lnTo>
                    <a:pt x="26" y="283"/>
                  </a:lnTo>
                  <a:lnTo>
                    <a:pt x="32" y="282"/>
                  </a:lnTo>
                  <a:lnTo>
                    <a:pt x="34" y="286"/>
                  </a:lnTo>
                  <a:lnTo>
                    <a:pt x="33" y="292"/>
                  </a:lnTo>
                  <a:lnTo>
                    <a:pt x="25" y="307"/>
                  </a:lnTo>
                  <a:lnTo>
                    <a:pt x="20" y="331"/>
                  </a:lnTo>
                  <a:lnTo>
                    <a:pt x="20" y="334"/>
                  </a:lnTo>
                  <a:lnTo>
                    <a:pt x="26" y="334"/>
                  </a:lnTo>
                  <a:lnTo>
                    <a:pt x="28" y="330"/>
                  </a:lnTo>
                  <a:lnTo>
                    <a:pt x="32" y="318"/>
                  </a:lnTo>
                  <a:lnTo>
                    <a:pt x="43" y="291"/>
                  </a:lnTo>
                  <a:lnTo>
                    <a:pt x="42" y="277"/>
                  </a:lnTo>
                  <a:lnTo>
                    <a:pt x="39" y="270"/>
                  </a:lnTo>
                  <a:lnTo>
                    <a:pt x="38" y="266"/>
                  </a:lnTo>
                  <a:lnTo>
                    <a:pt x="54" y="248"/>
                  </a:lnTo>
                  <a:lnTo>
                    <a:pt x="54" y="254"/>
                  </a:lnTo>
                  <a:lnTo>
                    <a:pt x="47" y="271"/>
                  </a:lnTo>
                  <a:lnTo>
                    <a:pt x="47" y="282"/>
                  </a:lnTo>
                  <a:lnTo>
                    <a:pt x="49" y="278"/>
                  </a:lnTo>
                  <a:lnTo>
                    <a:pt x="52" y="277"/>
                  </a:lnTo>
                  <a:lnTo>
                    <a:pt x="53" y="273"/>
                  </a:lnTo>
                  <a:lnTo>
                    <a:pt x="55" y="271"/>
                  </a:lnTo>
                  <a:lnTo>
                    <a:pt x="61" y="276"/>
                  </a:lnTo>
                  <a:lnTo>
                    <a:pt x="64" y="275"/>
                  </a:lnTo>
                  <a:lnTo>
                    <a:pt x="64" y="261"/>
                  </a:lnTo>
                  <a:lnTo>
                    <a:pt x="72" y="266"/>
                  </a:lnTo>
                  <a:lnTo>
                    <a:pt x="79" y="272"/>
                  </a:lnTo>
                  <a:lnTo>
                    <a:pt x="74" y="273"/>
                  </a:lnTo>
                  <a:lnTo>
                    <a:pt x="71" y="278"/>
                  </a:lnTo>
                  <a:lnTo>
                    <a:pt x="69" y="283"/>
                  </a:lnTo>
                  <a:lnTo>
                    <a:pt x="68" y="298"/>
                  </a:lnTo>
                  <a:lnTo>
                    <a:pt x="71" y="303"/>
                  </a:lnTo>
                  <a:lnTo>
                    <a:pt x="77" y="308"/>
                  </a:lnTo>
                  <a:lnTo>
                    <a:pt x="79" y="319"/>
                  </a:lnTo>
                  <a:lnTo>
                    <a:pt x="74" y="328"/>
                  </a:lnTo>
                  <a:lnTo>
                    <a:pt x="69" y="341"/>
                  </a:lnTo>
                  <a:lnTo>
                    <a:pt x="61" y="355"/>
                  </a:lnTo>
                  <a:lnTo>
                    <a:pt x="59" y="363"/>
                  </a:lnTo>
                  <a:lnTo>
                    <a:pt x="60" y="372"/>
                  </a:lnTo>
                  <a:lnTo>
                    <a:pt x="54" y="367"/>
                  </a:lnTo>
                  <a:lnTo>
                    <a:pt x="52" y="372"/>
                  </a:lnTo>
                  <a:lnTo>
                    <a:pt x="59" y="395"/>
                  </a:lnTo>
                  <a:lnTo>
                    <a:pt x="64" y="399"/>
                  </a:lnTo>
                  <a:lnTo>
                    <a:pt x="66" y="398"/>
                  </a:lnTo>
                  <a:lnTo>
                    <a:pt x="65" y="384"/>
                  </a:lnTo>
                  <a:lnTo>
                    <a:pt x="66" y="380"/>
                  </a:lnTo>
                  <a:lnTo>
                    <a:pt x="70" y="379"/>
                  </a:lnTo>
                  <a:lnTo>
                    <a:pt x="87" y="391"/>
                  </a:lnTo>
                  <a:lnTo>
                    <a:pt x="92" y="394"/>
                  </a:lnTo>
                  <a:lnTo>
                    <a:pt x="95" y="388"/>
                  </a:lnTo>
                  <a:lnTo>
                    <a:pt x="95" y="380"/>
                  </a:lnTo>
                  <a:lnTo>
                    <a:pt x="119" y="383"/>
                  </a:lnTo>
                  <a:lnTo>
                    <a:pt x="135" y="374"/>
                  </a:lnTo>
                  <a:lnTo>
                    <a:pt x="136" y="372"/>
                  </a:lnTo>
                  <a:lnTo>
                    <a:pt x="144" y="368"/>
                  </a:lnTo>
                  <a:lnTo>
                    <a:pt x="165" y="371"/>
                  </a:lnTo>
                  <a:lnTo>
                    <a:pt x="162" y="373"/>
                  </a:lnTo>
                  <a:lnTo>
                    <a:pt x="158" y="373"/>
                  </a:lnTo>
                  <a:lnTo>
                    <a:pt x="150" y="380"/>
                  </a:lnTo>
                  <a:lnTo>
                    <a:pt x="138" y="406"/>
                  </a:lnTo>
                  <a:lnTo>
                    <a:pt x="135" y="413"/>
                  </a:lnTo>
                  <a:lnTo>
                    <a:pt x="138" y="421"/>
                  </a:lnTo>
                  <a:lnTo>
                    <a:pt x="145" y="431"/>
                  </a:lnTo>
                  <a:lnTo>
                    <a:pt x="149" y="438"/>
                  </a:lnTo>
                  <a:lnTo>
                    <a:pt x="150" y="439"/>
                  </a:lnTo>
                  <a:lnTo>
                    <a:pt x="151" y="437"/>
                  </a:lnTo>
                  <a:lnTo>
                    <a:pt x="158" y="449"/>
                  </a:lnTo>
                  <a:lnTo>
                    <a:pt x="172" y="444"/>
                  </a:lnTo>
                  <a:lnTo>
                    <a:pt x="181" y="437"/>
                  </a:lnTo>
                  <a:lnTo>
                    <a:pt x="184" y="438"/>
                  </a:lnTo>
                  <a:lnTo>
                    <a:pt x="181" y="444"/>
                  </a:lnTo>
                  <a:lnTo>
                    <a:pt x="179" y="461"/>
                  </a:lnTo>
                  <a:lnTo>
                    <a:pt x="174" y="468"/>
                  </a:lnTo>
                  <a:lnTo>
                    <a:pt x="169" y="479"/>
                  </a:lnTo>
                  <a:lnTo>
                    <a:pt x="179" y="481"/>
                  </a:lnTo>
                  <a:lnTo>
                    <a:pt x="174" y="490"/>
                  </a:lnTo>
                  <a:lnTo>
                    <a:pt x="168" y="506"/>
                  </a:lnTo>
                  <a:lnTo>
                    <a:pt x="172" y="509"/>
                  </a:lnTo>
                  <a:lnTo>
                    <a:pt x="177" y="513"/>
                  </a:lnTo>
                  <a:lnTo>
                    <a:pt x="173" y="514"/>
                  </a:lnTo>
                  <a:lnTo>
                    <a:pt x="168" y="523"/>
                  </a:lnTo>
                  <a:lnTo>
                    <a:pt x="128" y="522"/>
                  </a:lnTo>
                  <a:lnTo>
                    <a:pt x="115" y="529"/>
                  </a:lnTo>
                  <a:lnTo>
                    <a:pt x="102" y="540"/>
                  </a:lnTo>
                  <a:lnTo>
                    <a:pt x="79" y="565"/>
                  </a:lnTo>
                  <a:lnTo>
                    <a:pt x="84" y="568"/>
                  </a:lnTo>
                  <a:lnTo>
                    <a:pt x="98" y="558"/>
                  </a:lnTo>
                  <a:lnTo>
                    <a:pt x="109" y="556"/>
                  </a:lnTo>
                  <a:lnTo>
                    <a:pt x="111" y="565"/>
                  </a:lnTo>
                  <a:lnTo>
                    <a:pt x="112" y="585"/>
                  </a:lnTo>
                  <a:lnTo>
                    <a:pt x="113" y="589"/>
                  </a:lnTo>
                  <a:lnTo>
                    <a:pt x="119" y="593"/>
                  </a:lnTo>
                  <a:lnTo>
                    <a:pt x="108" y="615"/>
                  </a:lnTo>
                  <a:lnTo>
                    <a:pt x="79" y="636"/>
                  </a:lnTo>
                  <a:lnTo>
                    <a:pt x="48" y="652"/>
                  </a:lnTo>
                  <a:lnTo>
                    <a:pt x="50" y="654"/>
                  </a:lnTo>
                  <a:lnTo>
                    <a:pt x="52" y="660"/>
                  </a:lnTo>
                  <a:lnTo>
                    <a:pt x="56" y="671"/>
                  </a:lnTo>
                  <a:lnTo>
                    <a:pt x="59" y="674"/>
                  </a:lnTo>
                  <a:lnTo>
                    <a:pt x="65" y="675"/>
                  </a:lnTo>
                  <a:lnTo>
                    <a:pt x="72" y="671"/>
                  </a:lnTo>
                  <a:lnTo>
                    <a:pt x="82" y="663"/>
                  </a:lnTo>
                  <a:lnTo>
                    <a:pt x="91" y="659"/>
                  </a:lnTo>
                  <a:lnTo>
                    <a:pt x="95" y="660"/>
                  </a:lnTo>
                  <a:lnTo>
                    <a:pt x="97" y="674"/>
                  </a:lnTo>
                  <a:lnTo>
                    <a:pt x="101" y="678"/>
                  </a:lnTo>
                  <a:lnTo>
                    <a:pt x="113" y="678"/>
                  </a:lnTo>
                  <a:lnTo>
                    <a:pt x="120" y="671"/>
                  </a:lnTo>
                  <a:lnTo>
                    <a:pt x="123" y="670"/>
                  </a:lnTo>
                  <a:lnTo>
                    <a:pt x="127" y="673"/>
                  </a:lnTo>
                  <a:lnTo>
                    <a:pt x="141" y="692"/>
                  </a:lnTo>
                  <a:lnTo>
                    <a:pt x="147" y="694"/>
                  </a:lnTo>
                  <a:lnTo>
                    <a:pt x="156" y="694"/>
                  </a:lnTo>
                  <a:lnTo>
                    <a:pt x="162" y="689"/>
                  </a:lnTo>
                  <a:lnTo>
                    <a:pt x="166" y="682"/>
                  </a:lnTo>
                  <a:lnTo>
                    <a:pt x="179" y="675"/>
                  </a:lnTo>
                  <a:lnTo>
                    <a:pt x="194" y="663"/>
                  </a:lnTo>
                  <a:lnTo>
                    <a:pt x="195" y="670"/>
                  </a:lnTo>
                  <a:lnTo>
                    <a:pt x="190" y="678"/>
                  </a:lnTo>
                  <a:lnTo>
                    <a:pt x="174" y="697"/>
                  </a:lnTo>
                  <a:lnTo>
                    <a:pt x="172" y="705"/>
                  </a:lnTo>
                  <a:lnTo>
                    <a:pt x="168" y="708"/>
                  </a:lnTo>
                  <a:lnTo>
                    <a:pt x="156" y="711"/>
                  </a:lnTo>
                  <a:lnTo>
                    <a:pt x="124" y="711"/>
                  </a:lnTo>
                  <a:lnTo>
                    <a:pt x="109" y="713"/>
                  </a:lnTo>
                  <a:lnTo>
                    <a:pt x="104" y="724"/>
                  </a:lnTo>
                  <a:lnTo>
                    <a:pt x="95" y="730"/>
                  </a:lnTo>
                  <a:lnTo>
                    <a:pt x="88" y="745"/>
                  </a:lnTo>
                  <a:lnTo>
                    <a:pt x="47" y="791"/>
                  </a:lnTo>
                  <a:lnTo>
                    <a:pt x="31" y="800"/>
                  </a:lnTo>
                  <a:lnTo>
                    <a:pt x="28" y="809"/>
                  </a:lnTo>
                  <a:lnTo>
                    <a:pt x="28" y="813"/>
                  </a:lnTo>
                  <a:lnTo>
                    <a:pt x="31" y="807"/>
                  </a:lnTo>
                  <a:lnTo>
                    <a:pt x="34" y="804"/>
                  </a:lnTo>
                  <a:lnTo>
                    <a:pt x="45" y="810"/>
                  </a:lnTo>
                  <a:lnTo>
                    <a:pt x="50" y="809"/>
                  </a:lnTo>
                  <a:lnTo>
                    <a:pt x="54" y="814"/>
                  </a:lnTo>
                  <a:lnTo>
                    <a:pt x="58" y="809"/>
                  </a:lnTo>
                  <a:lnTo>
                    <a:pt x="60" y="800"/>
                  </a:lnTo>
                  <a:lnTo>
                    <a:pt x="71" y="796"/>
                  </a:lnTo>
                  <a:lnTo>
                    <a:pt x="77" y="784"/>
                  </a:lnTo>
                  <a:lnTo>
                    <a:pt x="107" y="783"/>
                  </a:lnTo>
                  <a:lnTo>
                    <a:pt x="127" y="791"/>
                  </a:lnTo>
                  <a:lnTo>
                    <a:pt x="134" y="791"/>
                  </a:lnTo>
                  <a:lnTo>
                    <a:pt x="141" y="782"/>
                  </a:lnTo>
                  <a:lnTo>
                    <a:pt x="145" y="760"/>
                  </a:lnTo>
                  <a:lnTo>
                    <a:pt x="149" y="759"/>
                  </a:lnTo>
                  <a:lnTo>
                    <a:pt x="156" y="759"/>
                  </a:lnTo>
                  <a:lnTo>
                    <a:pt x="166" y="754"/>
                  </a:lnTo>
                  <a:lnTo>
                    <a:pt x="182" y="750"/>
                  </a:lnTo>
                  <a:lnTo>
                    <a:pt x="199" y="76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78" name="Freeform 189">
              <a:extLst>
                <a:ext uri="{FF2B5EF4-FFF2-40B4-BE49-F238E27FC236}">
                  <a16:creationId xmlns:a16="http://schemas.microsoft.com/office/drawing/2014/main" id="{0E9F9749-3647-6F57-53D1-509F1D59B19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536205" y="2273081"/>
              <a:ext cx="74814" cy="71231"/>
            </a:xfrm>
            <a:custGeom>
              <a:avLst/>
              <a:gdLst>
                <a:gd name="T0" fmla="*/ 0 w 140"/>
                <a:gd name="T1" fmla="*/ 0 h 126"/>
                <a:gd name="T2" fmla="*/ 0 w 140"/>
                <a:gd name="T3" fmla="*/ 0 h 126"/>
                <a:gd name="T4" fmla="*/ 0 w 140"/>
                <a:gd name="T5" fmla="*/ 0 h 126"/>
                <a:gd name="T6" fmla="*/ 0 w 140"/>
                <a:gd name="T7" fmla="*/ 0 h 126"/>
                <a:gd name="T8" fmla="*/ 0 w 140"/>
                <a:gd name="T9" fmla="*/ 0 h 126"/>
                <a:gd name="T10" fmla="*/ 0 w 140"/>
                <a:gd name="T11" fmla="*/ 0 h 126"/>
                <a:gd name="T12" fmla="*/ 0 w 140"/>
                <a:gd name="T13" fmla="*/ 0 h 126"/>
                <a:gd name="T14" fmla="*/ 0 w 140"/>
                <a:gd name="T15" fmla="*/ 0 h 126"/>
                <a:gd name="T16" fmla="*/ 0 w 140"/>
                <a:gd name="T17" fmla="*/ 0 h 126"/>
                <a:gd name="T18" fmla="*/ 0 w 140"/>
                <a:gd name="T19" fmla="*/ 0 h 126"/>
                <a:gd name="T20" fmla="*/ 0 w 140"/>
                <a:gd name="T21" fmla="*/ 0 h 126"/>
                <a:gd name="T22" fmla="*/ 0 w 140"/>
                <a:gd name="T23" fmla="*/ 0 h 126"/>
                <a:gd name="T24" fmla="*/ 0 w 140"/>
                <a:gd name="T25" fmla="*/ 0 h 126"/>
                <a:gd name="T26" fmla="*/ 0 w 140"/>
                <a:gd name="T27" fmla="*/ 0 h 126"/>
                <a:gd name="T28" fmla="*/ 0 w 140"/>
                <a:gd name="T29" fmla="*/ 0 h 126"/>
                <a:gd name="T30" fmla="*/ 0 w 140"/>
                <a:gd name="T31" fmla="*/ 0 h 126"/>
                <a:gd name="T32" fmla="*/ 0 w 140"/>
                <a:gd name="T33" fmla="*/ 0 h 126"/>
                <a:gd name="T34" fmla="*/ 0 w 140"/>
                <a:gd name="T35" fmla="*/ 0 h 126"/>
                <a:gd name="T36" fmla="*/ 0 w 140"/>
                <a:gd name="T37" fmla="*/ 0 h 126"/>
                <a:gd name="T38" fmla="*/ 0 w 140"/>
                <a:gd name="T39" fmla="*/ 0 h 126"/>
                <a:gd name="T40" fmla="*/ 0 w 140"/>
                <a:gd name="T41" fmla="*/ 0 h 126"/>
                <a:gd name="T42" fmla="*/ 0 w 140"/>
                <a:gd name="T43" fmla="*/ 0 h 126"/>
                <a:gd name="T44" fmla="*/ 0 w 140"/>
                <a:gd name="T45" fmla="*/ 0 h 126"/>
                <a:gd name="T46" fmla="*/ 0 w 140"/>
                <a:gd name="T47" fmla="*/ 0 h 126"/>
                <a:gd name="T48" fmla="*/ 0 w 140"/>
                <a:gd name="T49" fmla="*/ 0 h 126"/>
                <a:gd name="T50" fmla="*/ 0 w 140"/>
                <a:gd name="T51" fmla="*/ 0 h 126"/>
                <a:gd name="T52" fmla="*/ 0 w 140"/>
                <a:gd name="T53" fmla="*/ 0 h 126"/>
                <a:gd name="T54" fmla="*/ 0 w 140"/>
                <a:gd name="T55" fmla="*/ 0 h 126"/>
                <a:gd name="T56" fmla="*/ 0 w 140"/>
                <a:gd name="T57" fmla="*/ 0 h 126"/>
                <a:gd name="T58" fmla="*/ 0 w 140"/>
                <a:gd name="T59" fmla="*/ 0 h 126"/>
                <a:gd name="T60" fmla="*/ 0 w 140"/>
                <a:gd name="T61" fmla="*/ 0 h 126"/>
                <a:gd name="T62" fmla="*/ 0 w 140"/>
                <a:gd name="T63" fmla="*/ 0 h 126"/>
                <a:gd name="T64" fmla="*/ 0 w 140"/>
                <a:gd name="T65" fmla="*/ 0 h 126"/>
                <a:gd name="T66" fmla="*/ 0 w 140"/>
                <a:gd name="T67" fmla="*/ 0 h 126"/>
                <a:gd name="T68" fmla="*/ 0 w 140"/>
                <a:gd name="T69" fmla="*/ 0 h 126"/>
                <a:gd name="T70" fmla="*/ 0 w 140"/>
                <a:gd name="T71" fmla="*/ 0 h 126"/>
                <a:gd name="T72" fmla="*/ 0 w 140"/>
                <a:gd name="T73" fmla="*/ 0 h 126"/>
                <a:gd name="T74" fmla="*/ 0 w 140"/>
                <a:gd name="T75" fmla="*/ 0 h 126"/>
                <a:gd name="T76" fmla="*/ 0 w 140"/>
                <a:gd name="T77" fmla="*/ 0 h 126"/>
                <a:gd name="T78" fmla="*/ 0 w 140"/>
                <a:gd name="T79" fmla="*/ 0 h 126"/>
                <a:gd name="T80" fmla="*/ 0 w 140"/>
                <a:gd name="T81" fmla="*/ 0 h 126"/>
                <a:gd name="T82" fmla="*/ 0 w 140"/>
                <a:gd name="T83" fmla="*/ 0 h 126"/>
                <a:gd name="T84" fmla="*/ 0 w 140"/>
                <a:gd name="T85" fmla="*/ 0 h 126"/>
                <a:gd name="T86" fmla="*/ 0 w 140"/>
                <a:gd name="T87" fmla="*/ 0 h 126"/>
                <a:gd name="T88" fmla="*/ 0 w 140"/>
                <a:gd name="T89" fmla="*/ 0 h 126"/>
                <a:gd name="T90" fmla="*/ 0 w 140"/>
                <a:gd name="T91" fmla="*/ 0 h 126"/>
                <a:gd name="T92" fmla="*/ 0 w 140"/>
                <a:gd name="T93" fmla="*/ 0 h 126"/>
                <a:gd name="T94" fmla="*/ 0 w 140"/>
                <a:gd name="T95" fmla="*/ 0 h 12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40"/>
                <a:gd name="T145" fmla="*/ 0 h 126"/>
                <a:gd name="T146" fmla="*/ 140 w 140"/>
                <a:gd name="T147" fmla="*/ 126 h 12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40" h="126">
                  <a:moveTo>
                    <a:pt x="28" y="36"/>
                  </a:moveTo>
                  <a:lnTo>
                    <a:pt x="27" y="48"/>
                  </a:lnTo>
                  <a:lnTo>
                    <a:pt x="21" y="58"/>
                  </a:lnTo>
                  <a:lnTo>
                    <a:pt x="11" y="59"/>
                  </a:lnTo>
                  <a:lnTo>
                    <a:pt x="11" y="72"/>
                  </a:lnTo>
                  <a:lnTo>
                    <a:pt x="0" y="80"/>
                  </a:lnTo>
                  <a:lnTo>
                    <a:pt x="16" y="91"/>
                  </a:lnTo>
                  <a:lnTo>
                    <a:pt x="23" y="110"/>
                  </a:lnTo>
                  <a:lnTo>
                    <a:pt x="34" y="115"/>
                  </a:lnTo>
                  <a:lnTo>
                    <a:pt x="47" y="104"/>
                  </a:lnTo>
                  <a:lnTo>
                    <a:pt x="53" y="93"/>
                  </a:lnTo>
                  <a:lnTo>
                    <a:pt x="82" y="85"/>
                  </a:lnTo>
                  <a:lnTo>
                    <a:pt x="97" y="99"/>
                  </a:lnTo>
                  <a:lnTo>
                    <a:pt x="98" y="106"/>
                  </a:lnTo>
                  <a:lnTo>
                    <a:pt x="98" y="121"/>
                  </a:lnTo>
                  <a:lnTo>
                    <a:pt x="101" y="126"/>
                  </a:lnTo>
                  <a:lnTo>
                    <a:pt x="103" y="126"/>
                  </a:lnTo>
                  <a:lnTo>
                    <a:pt x="117" y="117"/>
                  </a:lnTo>
                  <a:lnTo>
                    <a:pt x="119" y="107"/>
                  </a:lnTo>
                  <a:lnTo>
                    <a:pt x="132" y="105"/>
                  </a:lnTo>
                  <a:lnTo>
                    <a:pt x="138" y="97"/>
                  </a:lnTo>
                  <a:lnTo>
                    <a:pt x="132" y="85"/>
                  </a:lnTo>
                  <a:lnTo>
                    <a:pt x="130" y="78"/>
                  </a:lnTo>
                  <a:lnTo>
                    <a:pt x="138" y="90"/>
                  </a:lnTo>
                  <a:lnTo>
                    <a:pt x="140" y="79"/>
                  </a:lnTo>
                  <a:lnTo>
                    <a:pt x="135" y="68"/>
                  </a:lnTo>
                  <a:lnTo>
                    <a:pt x="130" y="66"/>
                  </a:lnTo>
                  <a:lnTo>
                    <a:pt x="116" y="68"/>
                  </a:lnTo>
                  <a:lnTo>
                    <a:pt x="122" y="57"/>
                  </a:lnTo>
                  <a:lnTo>
                    <a:pt x="120" y="39"/>
                  </a:lnTo>
                  <a:lnTo>
                    <a:pt x="112" y="27"/>
                  </a:lnTo>
                  <a:lnTo>
                    <a:pt x="106" y="16"/>
                  </a:lnTo>
                  <a:lnTo>
                    <a:pt x="89" y="10"/>
                  </a:lnTo>
                  <a:lnTo>
                    <a:pt x="64" y="18"/>
                  </a:lnTo>
                  <a:lnTo>
                    <a:pt x="58" y="24"/>
                  </a:lnTo>
                  <a:lnTo>
                    <a:pt x="50" y="27"/>
                  </a:lnTo>
                  <a:lnTo>
                    <a:pt x="48" y="24"/>
                  </a:lnTo>
                  <a:lnTo>
                    <a:pt x="59" y="10"/>
                  </a:lnTo>
                  <a:lnTo>
                    <a:pt x="57" y="7"/>
                  </a:lnTo>
                  <a:lnTo>
                    <a:pt x="48" y="2"/>
                  </a:lnTo>
                  <a:lnTo>
                    <a:pt x="39" y="0"/>
                  </a:lnTo>
                  <a:lnTo>
                    <a:pt x="38" y="5"/>
                  </a:lnTo>
                  <a:lnTo>
                    <a:pt x="36" y="8"/>
                  </a:lnTo>
                  <a:lnTo>
                    <a:pt x="33" y="14"/>
                  </a:lnTo>
                  <a:lnTo>
                    <a:pt x="34" y="20"/>
                  </a:lnTo>
                  <a:lnTo>
                    <a:pt x="34" y="27"/>
                  </a:lnTo>
                  <a:lnTo>
                    <a:pt x="33" y="34"/>
                  </a:lnTo>
                  <a:lnTo>
                    <a:pt x="28" y="3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79" name="Freeform 190">
              <a:extLst>
                <a:ext uri="{FF2B5EF4-FFF2-40B4-BE49-F238E27FC236}">
                  <a16:creationId xmlns:a16="http://schemas.microsoft.com/office/drawing/2014/main" id="{E4BE0305-A7B1-C146-8AF0-6CB5E1BA8A4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470227" y="2277205"/>
              <a:ext cx="125357" cy="198148"/>
            </a:xfrm>
            <a:custGeom>
              <a:avLst/>
              <a:gdLst>
                <a:gd name="T0" fmla="*/ 0 w 233"/>
                <a:gd name="T1" fmla="*/ 0 h 345"/>
                <a:gd name="T2" fmla="*/ 0 w 233"/>
                <a:gd name="T3" fmla="*/ 0 h 345"/>
                <a:gd name="T4" fmla="*/ 0 w 233"/>
                <a:gd name="T5" fmla="*/ 0 h 345"/>
                <a:gd name="T6" fmla="*/ 0 w 233"/>
                <a:gd name="T7" fmla="*/ 0 h 345"/>
                <a:gd name="T8" fmla="*/ 0 w 233"/>
                <a:gd name="T9" fmla="*/ 0 h 345"/>
                <a:gd name="T10" fmla="*/ 0 w 233"/>
                <a:gd name="T11" fmla="*/ 0 h 345"/>
                <a:gd name="T12" fmla="*/ 0 w 233"/>
                <a:gd name="T13" fmla="*/ 0 h 345"/>
                <a:gd name="T14" fmla="*/ 0 w 233"/>
                <a:gd name="T15" fmla="*/ 0 h 345"/>
                <a:gd name="T16" fmla="*/ 0 w 233"/>
                <a:gd name="T17" fmla="*/ 0 h 345"/>
                <a:gd name="T18" fmla="*/ 0 w 233"/>
                <a:gd name="T19" fmla="*/ 0 h 345"/>
                <a:gd name="T20" fmla="*/ 0 w 233"/>
                <a:gd name="T21" fmla="*/ 0 h 345"/>
                <a:gd name="T22" fmla="*/ 0 w 233"/>
                <a:gd name="T23" fmla="*/ 0 h 345"/>
                <a:gd name="T24" fmla="*/ 0 w 233"/>
                <a:gd name="T25" fmla="*/ 0 h 345"/>
                <a:gd name="T26" fmla="*/ 0 w 233"/>
                <a:gd name="T27" fmla="*/ 0 h 345"/>
                <a:gd name="T28" fmla="*/ 0 w 233"/>
                <a:gd name="T29" fmla="*/ 0 h 345"/>
                <a:gd name="T30" fmla="*/ 0 w 233"/>
                <a:gd name="T31" fmla="*/ 0 h 345"/>
                <a:gd name="T32" fmla="*/ 0 w 233"/>
                <a:gd name="T33" fmla="*/ 0 h 345"/>
                <a:gd name="T34" fmla="*/ 0 w 233"/>
                <a:gd name="T35" fmla="*/ 0 h 345"/>
                <a:gd name="T36" fmla="*/ 0 w 233"/>
                <a:gd name="T37" fmla="*/ 0 h 345"/>
                <a:gd name="T38" fmla="*/ 0 w 233"/>
                <a:gd name="T39" fmla="*/ 0 h 345"/>
                <a:gd name="T40" fmla="*/ 0 w 233"/>
                <a:gd name="T41" fmla="*/ 0 h 345"/>
                <a:gd name="T42" fmla="*/ 0 w 233"/>
                <a:gd name="T43" fmla="*/ 0 h 345"/>
                <a:gd name="T44" fmla="*/ 0 w 233"/>
                <a:gd name="T45" fmla="*/ 0 h 345"/>
                <a:gd name="T46" fmla="*/ 0 w 233"/>
                <a:gd name="T47" fmla="*/ 0 h 345"/>
                <a:gd name="T48" fmla="*/ 0 w 233"/>
                <a:gd name="T49" fmla="*/ 0 h 345"/>
                <a:gd name="T50" fmla="*/ 0 w 233"/>
                <a:gd name="T51" fmla="*/ 0 h 345"/>
                <a:gd name="T52" fmla="*/ 0 w 233"/>
                <a:gd name="T53" fmla="*/ 0 h 345"/>
                <a:gd name="T54" fmla="*/ 0 w 233"/>
                <a:gd name="T55" fmla="*/ 0 h 345"/>
                <a:gd name="T56" fmla="*/ 0 w 233"/>
                <a:gd name="T57" fmla="*/ 0 h 345"/>
                <a:gd name="T58" fmla="*/ 0 w 233"/>
                <a:gd name="T59" fmla="*/ 2147483647 h 345"/>
                <a:gd name="T60" fmla="*/ 0 w 233"/>
                <a:gd name="T61" fmla="*/ 0 h 345"/>
                <a:gd name="T62" fmla="*/ 0 w 233"/>
                <a:gd name="T63" fmla="*/ 2147483647 h 345"/>
                <a:gd name="T64" fmla="*/ 0 w 233"/>
                <a:gd name="T65" fmla="*/ 2147483647 h 345"/>
                <a:gd name="T66" fmla="*/ 0 w 233"/>
                <a:gd name="T67" fmla="*/ 2147483647 h 345"/>
                <a:gd name="T68" fmla="*/ 0 w 233"/>
                <a:gd name="T69" fmla="*/ 2147483647 h 345"/>
                <a:gd name="T70" fmla="*/ 0 w 233"/>
                <a:gd name="T71" fmla="*/ 2147483647 h 345"/>
                <a:gd name="T72" fmla="*/ 0 w 233"/>
                <a:gd name="T73" fmla="*/ 2147483647 h 345"/>
                <a:gd name="T74" fmla="*/ 0 w 233"/>
                <a:gd name="T75" fmla="*/ 0 h 345"/>
                <a:gd name="T76" fmla="*/ 0 w 233"/>
                <a:gd name="T77" fmla="*/ 2147483647 h 345"/>
                <a:gd name="T78" fmla="*/ 0 w 233"/>
                <a:gd name="T79" fmla="*/ 0 h 345"/>
                <a:gd name="T80" fmla="*/ 0 w 233"/>
                <a:gd name="T81" fmla="*/ 0 h 345"/>
                <a:gd name="T82" fmla="*/ 0 w 233"/>
                <a:gd name="T83" fmla="*/ 0 h 345"/>
                <a:gd name="T84" fmla="*/ 0 w 233"/>
                <a:gd name="T85" fmla="*/ 0 h 345"/>
                <a:gd name="T86" fmla="*/ 0 w 233"/>
                <a:gd name="T87" fmla="*/ 0 h 345"/>
                <a:gd name="T88" fmla="*/ 0 w 233"/>
                <a:gd name="T89" fmla="*/ 0 h 345"/>
                <a:gd name="T90" fmla="*/ 0 w 233"/>
                <a:gd name="T91" fmla="*/ 0 h 345"/>
                <a:gd name="T92" fmla="*/ 0 w 233"/>
                <a:gd name="T93" fmla="*/ 0 h 34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3"/>
                <a:gd name="T142" fmla="*/ 0 h 345"/>
                <a:gd name="T143" fmla="*/ 233 w 233"/>
                <a:gd name="T144" fmla="*/ 345 h 345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3" h="345">
                  <a:moveTo>
                    <a:pt x="226" y="117"/>
                  </a:moveTo>
                  <a:lnTo>
                    <a:pt x="223" y="112"/>
                  </a:lnTo>
                  <a:lnTo>
                    <a:pt x="223" y="97"/>
                  </a:lnTo>
                  <a:lnTo>
                    <a:pt x="222" y="90"/>
                  </a:lnTo>
                  <a:lnTo>
                    <a:pt x="207" y="76"/>
                  </a:lnTo>
                  <a:lnTo>
                    <a:pt x="178" y="84"/>
                  </a:lnTo>
                  <a:lnTo>
                    <a:pt x="172" y="95"/>
                  </a:lnTo>
                  <a:lnTo>
                    <a:pt x="159" y="106"/>
                  </a:lnTo>
                  <a:lnTo>
                    <a:pt x="148" y="100"/>
                  </a:lnTo>
                  <a:lnTo>
                    <a:pt x="141" y="82"/>
                  </a:lnTo>
                  <a:lnTo>
                    <a:pt x="125" y="71"/>
                  </a:lnTo>
                  <a:lnTo>
                    <a:pt x="136" y="63"/>
                  </a:lnTo>
                  <a:lnTo>
                    <a:pt x="136" y="50"/>
                  </a:lnTo>
                  <a:lnTo>
                    <a:pt x="146" y="49"/>
                  </a:lnTo>
                  <a:lnTo>
                    <a:pt x="152" y="39"/>
                  </a:lnTo>
                  <a:lnTo>
                    <a:pt x="153" y="27"/>
                  </a:lnTo>
                  <a:lnTo>
                    <a:pt x="155" y="22"/>
                  </a:lnTo>
                  <a:lnTo>
                    <a:pt x="152" y="2"/>
                  </a:lnTo>
                  <a:lnTo>
                    <a:pt x="151" y="0"/>
                  </a:lnTo>
                  <a:lnTo>
                    <a:pt x="145" y="1"/>
                  </a:lnTo>
                  <a:lnTo>
                    <a:pt x="135" y="6"/>
                  </a:lnTo>
                  <a:lnTo>
                    <a:pt x="131" y="4"/>
                  </a:lnTo>
                  <a:lnTo>
                    <a:pt x="121" y="11"/>
                  </a:lnTo>
                  <a:lnTo>
                    <a:pt x="113" y="18"/>
                  </a:lnTo>
                  <a:lnTo>
                    <a:pt x="108" y="20"/>
                  </a:lnTo>
                  <a:lnTo>
                    <a:pt x="105" y="30"/>
                  </a:lnTo>
                  <a:lnTo>
                    <a:pt x="108" y="34"/>
                  </a:lnTo>
                  <a:lnTo>
                    <a:pt x="107" y="37"/>
                  </a:lnTo>
                  <a:lnTo>
                    <a:pt x="99" y="45"/>
                  </a:lnTo>
                  <a:lnTo>
                    <a:pt x="88" y="53"/>
                  </a:lnTo>
                  <a:lnTo>
                    <a:pt x="91" y="59"/>
                  </a:lnTo>
                  <a:lnTo>
                    <a:pt x="99" y="59"/>
                  </a:lnTo>
                  <a:lnTo>
                    <a:pt x="104" y="60"/>
                  </a:lnTo>
                  <a:lnTo>
                    <a:pt x="110" y="59"/>
                  </a:lnTo>
                  <a:lnTo>
                    <a:pt x="119" y="59"/>
                  </a:lnTo>
                  <a:lnTo>
                    <a:pt x="120" y="63"/>
                  </a:lnTo>
                  <a:lnTo>
                    <a:pt x="117" y="71"/>
                  </a:lnTo>
                  <a:lnTo>
                    <a:pt x="98" y="84"/>
                  </a:lnTo>
                  <a:lnTo>
                    <a:pt x="99" y="87"/>
                  </a:lnTo>
                  <a:lnTo>
                    <a:pt x="98" y="95"/>
                  </a:lnTo>
                  <a:lnTo>
                    <a:pt x="83" y="93"/>
                  </a:lnTo>
                  <a:lnTo>
                    <a:pt x="65" y="97"/>
                  </a:lnTo>
                  <a:lnTo>
                    <a:pt x="61" y="90"/>
                  </a:lnTo>
                  <a:lnTo>
                    <a:pt x="37" y="87"/>
                  </a:lnTo>
                  <a:lnTo>
                    <a:pt x="31" y="96"/>
                  </a:lnTo>
                  <a:lnTo>
                    <a:pt x="26" y="104"/>
                  </a:lnTo>
                  <a:lnTo>
                    <a:pt x="29" y="120"/>
                  </a:lnTo>
                  <a:lnTo>
                    <a:pt x="23" y="118"/>
                  </a:lnTo>
                  <a:lnTo>
                    <a:pt x="15" y="119"/>
                  </a:lnTo>
                  <a:lnTo>
                    <a:pt x="21" y="128"/>
                  </a:lnTo>
                  <a:lnTo>
                    <a:pt x="43" y="130"/>
                  </a:lnTo>
                  <a:lnTo>
                    <a:pt x="44" y="136"/>
                  </a:lnTo>
                  <a:lnTo>
                    <a:pt x="28" y="146"/>
                  </a:lnTo>
                  <a:lnTo>
                    <a:pt x="24" y="154"/>
                  </a:lnTo>
                  <a:lnTo>
                    <a:pt x="17" y="158"/>
                  </a:lnTo>
                  <a:lnTo>
                    <a:pt x="17" y="166"/>
                  </a:lnTo>
                  <a:lnTo>
                    <a:pt x="23" y="173"/>
                  </a:lnTo>
                  <a:lnTo>
                    <a:pt x="28" y="174"/>
                  </a:lnTo>
                  <a:lnTo>
                    <a:pt x="28" y="179"/>
                  </a:lnTo>
                  <a:lnTo>
                    <a:pt x="40" y="179"/>
                  </a:lnTo>
                  <a:lnTo>
                    <a:pt x="43" y="186"/>
                  </a:lnTo>
                  <a:lnTo>
                    <a:pt x="75" y="187"/>
                  </a:lnTo>
                  <a:lnTo>
                    <a:pt x="78" y="192"/>
                  </a:lnTo>
                  <a:lnTo>
                    <a:pt x="74" y="197"/>
                  </a:lnTo>
                  <a:lnTo>
                    <a:pt x="61" y="201"/>
                  </a:lnTo>
                  <a:lnTo>
                    <a:pt x="54" y="209"/>
                  </a:lnTo>
                  <a:lnTo>
                    <a:pt x="53" y="224"/>
                  </a:lnTo>
                  <a:lnTo>
                    <a:pt x="48" y="233"/>
                  </a:lnTo>
                  <a:lnTo>
                    <a:pt x="32" y="248"/>
                  </a:lnTo>
                  <a:lnTo>
                    <a:pt x="65" y="243"/>
                  </a:lnTo>
                  <a:lnTo>
                    <a:pt x="81" y="227"/>
                  </a:lnTo>
                  <a:lnTo>
                    <a:pt x="81" y="238"/>
                  </a:lnTo>
                  <a:lnTo>
                    <a:pt x="89" y="240"/>
                  </a:lnTo>
                  <a:lnTo>
                    <a:pt x="91" y="241"/>
                  </a:lnTo>
                  <a:lnTo>
                    <a:pt x="56" y="249"/>
                  </a:lnTo>
                  <a:lnTo>
                    <a:pt x="42" y="251"/>
                  </a:lnTo>
                  <a:lnTo>
                    <a:pt x="31" y="268"/>
                  </a:lnTo>
                  <a:lnTo>
                    <a:pt x="29" y="274"/>
                  </a:lnTo>
                  <a:lnTo>
                    <a:pt x="27" y="278"/>
                  </a:lnTo>
                  <a:lnTo>
                    <a:pt x="21" y="276"/>
                  </a:lnTo>
                  <a:lnTo>
                    <a:pt x="15" y="279"/>
                  </a:lnTo>
                  <a:lnTo>
                    <a:pt x="8" y="278"/>
                  </a:lnTo>
                  <a:lnTo>
                    <a:pt x="2" y="283"/>
                  </a:lnTo>
                  <a:lnTo>
                    <a:pt x="0" y="291"/>
                  </a:lnTo>
                  <a:lnTo>
                    <a:pt x="24" y="289"/>
                  </a:lnTo>
                  <a:lnTo>
                    <a:pt x="26" y="294"/>
                  </a:lnTo>
                  <a:lnTo>
                    <a:pt x="13" y="299"/>
                  </a:lnTo>
                  <a:lnTo>
                    <a:pt x="5" y="308"/>
                  </a:lnTo>
                  <a:lnTo>
                    <a:pt x="3" y="314"/>
                  </a:lnTo>
                  <a:lnTo>
                    <a:pt x="11" y="314"/>
                  </a:lnTo>
                  <a:lnTo>
                    <a:pt x="13" y="319"/>
                  </a:lnTo>
                  <a:lnTo>
                    <a:pt x="16" y="319"/>
                  </a:lnTo>
                  <a:lnTo>
                    <a:pt x="38" y="312"/>
                  </a:lnTo>
                  <a:lnTo>
                    <a:pt x="38" y="318"/>
                  </a:lnTo>
                  <a:lnTo>
                    <a:pt x="29" y="323"/>
                  </a:lnTo>
                  <a:lnTo>
                    <a:pt x="16" y="334"/>
                  </a:lnTo>
                  <a:lnTo>
                    <a:pt x="19" y="334"/>
                  </a:lnTo>
                  <a:lnTo>
                    <a:pt x="45" y="326"/>
                  </a:lnTo>
                  <a:lnTo>
                    <a:pt x="48" y="328"/>
                  </a:lnTo>
                  <a:lnTo>
                    <a:pt x="45" y="334"/>
                  </a:lnTo>
                  <a:lnTo>
                    <a:pt x="39" y="334"/>
                  </a:lnTo>
                  <a:lnTo>
                    <a:pt x="33" y="338"/>
                  </a:lnTo>
                  <a:lnTo>
                    <a:pt x="34" y="340"/>
                  </a:lnTo>
                  <a:lnTo>
                    <a:pt x="34" y="345"/>
                  </a:lnTo>
                  <a:lnTo>
                    <a:pt x="44" y="340"/>
                  </a:lnTo>
                  <a:lnTo>
                    <a:pt x="51" y="339"/>
                  </a:lnTo>
                  <a:lnTo>
                    <a:pt x="55" y="341"/>
                  </a:lnTo>
                  <a:lnTo>
                    <a:pt x="60" y="343"/>
                  </a:lnTo>
                  <a:lnTo>
                    <a:pt x="67" y="338"/>
                  </a:lnTo>
                  <a:lnTo>
                    <a:pt x="74" y="338"/>
                  </a:lnTo>
                  <a:lnTo>
                    <a:pt x="102" y="329"/>
                  </a:lnTo>
                  <a:lnTo>
                    <a:pt x="109" y="323"/>
                  </a:lnTo>
                  <a:lnTo>
                    <a:pt x="110" y="316"/>
                  </a:lnTo>
                  <a:lnTo>
                    <a:pt x="109" y="308"/>
                  </a:lnTo>
                  <a:lnTo>
                    <a:pt x="113" y="310"/>
                  </a:lnTo>
                  <a:lnTo>
                    <a:pt x="115" y="316"/>
                  </a:lnTo>
                  <a:lnTo>
                    <a:pt x="119" y="317"/>
                  </a:lnTo>
                  <a:lnTo>
                    <a:pt x="131" y="311"/>
                  </a:lnTo>
                  <a:lnTo>
                    <a:pt x="135" y="305"/>
                  </a:lnTo>
                  <a:lnTo>
                    <a:pt x="145" y="306"/>
                  </a:lnTo>
                  <a:lnTo>
                    <a:pt x="148" y="301"/>
                  </a:lnTo>
                  <a:lnTo>
                    <a:pt x="151" y="295"/>
                  </a:lnTo>
                  <a:lnTo>
                    <a:pt x="153" y="291"/>
                  </a:lnTo>
                  <a:lnTo>
                    <a:pt x="177" y="286"/>
                  </a:lnTo>
                  <a:lnTo>
                    <a:pt x="189" y="281"/>
                  </a:lnTo>
                  <a:lnTo>
                    <a:pt x="201" y="281"/>
                  </a:lnTo>
                  <a:lnTo>
                    <a:pt x="209" y="285"/>
                  </a:lnTo>
                  <a:lnTo>
                    <a:pt x="216" y="285"/>
                  </a:lnTo>
                  <a:lnTo>
                    <a:pt x="218" y="278"/>
                  </a:lnTo>
                  <a:lnTo>
                    <a:pt x="215" y="269"/>
                  </a:lnTo>
                  <a:lnTo>
                    <a:pt x="222" y="251"/>
                  </a:lnTo>
                  <a:lnTo>
                    <a:pt x="225" y="236"/>
                  </a:lnTo>
                  <a:lnTo>
                    <a:pt x="231" y="225"/>
                  </a:lnTo>
                  <a:lnTo>
                    <a:pt x="233" y="216"/>
                  </a:lnTo>
                  <a:lnTo>
                    <a:pt x="231" y="197"/>
                  </a:lnTo>
                  <a:lnTo>
                    <a:pt x="227" y="178"/>
                  </a:lnTo>
                  <a:lnTo>
                    <a:pt x="231" y="176"/>
                  </a:lnTo>
                  <a:lnTo>
                    <a:pt x="233" y="160"/>
                  </a:lnTo>
                  <a:lnTo>
                    <a:pt x="220" y="128"/>
                  </a:lnTo>
                  <a:lnTo>
                    <a:pt x="220" y="119"/>
                  </a:lnTo>
                  <a:lnTo>
                    <a:pt x="226" y="11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80" name="Freeform 191">
              <a:extLst>
                <a:ext uri="{FF2B5EF4-FFF2-40B4-BE49-F238E27FC236}">
                  <a16:creationId xmlns:a16="http://schemas.microsoft.com/office/drawing/2014/main" id="{C155122E-03C9-B54B-C7FA-635D569E533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416372" y="2426578"/>
              <a:ext cx="531274" cy="374957"/>
            </a:xfrm>
            <a:custGeom>
              <a:avLst/>
              <a:gdLst>
                <a:gd name="T0" fmla="*/ 0 w 995"/>
                <a:gd name="T1" fmla="*/ 2147483647 h 658"/>
                <a:gd name="T2" fmla="*/ 0 w 995"/>
                <a:gd name="T3" fmla="*/ 2147483647 h 658"/>
                <a:gd name="T4" fmla="*/ 0 w 995"/>
                <a:gd name="T5" fmla="*/ 0 h 658"/>
                <a:gd name="T6" fmla="*/ 0 w 995"/>
                <a:gd name="T7" fmla="*/ 0 h 658"/>
                <a:gd name="T8" fmla="*/ 0 w 995"/>
                <a:gd name="T9" fmla="*/ 0 h 658"/>
                <a:gd name="T10" fmla="*/ 0 w 995"/>
                <a:gd name="T11" fmla="*/ 0 h 658"/>
                <a:gd name="T12" fmla="*/ 0 w 995"/>
                <a:gd name="T13" fmla="*/ 0 h 658"/>
                <a:gd name="T14" fmla="*/ 0 w 995"/>
                <a:gd name="T15" fmla="*/ 0 h 658"/>
                <a:gd name="T16" fmla="*/ 2147483647 w 995"/>
                <a:gd name="T17" fmla="*/ 0 h 658"/>
                <a:gd name="T18" fmla="*/ 2147483647 w 995"/>
                <a:gd name="T19" fmla="*/ 0 h 658"/>
                <a:gd name="T20" fmla="*/ 2147483647 w 995"/>
                <a:gd name="T21" fmla="*/ 0 h 658"/>
                <a:gd name="T22" fmla="*/ 2147483647 w 995"/>
                <a:gd name="T23" fmla="*/ 0 h 658"/>
                <a:gd name="T24" fmla="*/ 2147483647 w 995"/>
                <a:gd name="T25" fmla="*/ 0 h 658"/>
                <a:gd name="T26" fmla="*/ 2147483647 w 995"/>
                <a:gd name="T27" fmla="*/ 0 h 658"/>
                <a:gd name="T28" fmla="*/ 2147483647 w 995"/>
                <a:gd name="T29" fmla="*/ 0 h 658"/>
                <a:gd name="T30" fmla="*/ 2147483647 w 995"/>
                <a:gd name="T31" fmla="*/ 0 h 658"/>
                <a:gd name="T32" fmla="*/ 2147483647 w 995"/>
                <a:gd name="T33" fmla="*/ 0 h 658"/>
                <a:gd name="T34" fmla="*/ 2147483647 w 995"/>
                <a:gd name="T35" fmla="*/ 0 h 658"/>
                <a:gd name="T36" fmla="*/ 2147483647 w 995"/>
                <a:gd name="T37" fmla="*/ 0 h 658"/>
                <a:gd name="T38" fmla="*/ 2147483647 w 995"/>
                <a:gd name="T39" fmla="*/ 0 h 658"/>
                <a:gd name="T40" fmla="*/ 2147483647 w 995"/>
                <a:gd name="T41" fmla="*/ 0 h 658"/>
                <a:gd name="T42" fmla="*/ 2147483647 w 995"/>
                <a:gd name="T43" fmla="*/ 0 h 658"/>
                <a:gd name="T44" fmla="*/ 2147483647 w 995"/>
                <a:gd name="T45" fmla="*/ 2147483647 h 658"/>
                <a:gd name="T46" fmla="*/ 2147483647 w 995"/>
                <a:gd name="T47" fmla="*/ 2147483647 h 658"/>
                <a:gd name="T48" fmla="*/ 2147483647 w 995"/>
                <a:gd name="T49" fmla="*/ 2147483647 h 658"/>
                <a:gd name="T50" fmla="*/ 2147483647 w 995"/>
                <a:gd name="T51" fmla="*/ 2147483647 h 658"/>
                <a:gd name="T52" fmla="*/ 2147483647 w 995"/>
                <a:gd name="T53" fmla="*/ 2147483647 h 658"/>
                <a:gd name="T54" fmla="*/ 2147483647 w 995"/>
                <a:gd name="T55" fmla="*/ 2147483647 h 658"/>
                <a:gd name="T56" fmla="*/ 2147483647 w 995"/>
                <a:gd name="T57" fmla="*/ 2147483647 h 658"/>
                <a:gd name="T58" fmla="*/ 2147483647 w 995"/>
                <a:gd name="T59" fmla="*/ 2147483647 h 658"/>
                <a:gd name="T60" fmla="*/ 2147483647 w 995"/>
                <a:gd name="T61" fmla="*/ 2147483647 h 658"/>
                <a:gd name="T62" fmla="*/ 2147483647 w 995"/>
                <a:gd name="T63" fmla="*/ 2147483647 h 658"/>
                <a:gd name="T64" fmla="*/ 2147483647 w 995"/>
                <a:gd name="T65" fmla="*/ 2147483647 h 658"/>
                <a:gd name="T66" fmla="*/ 2147483647 w 995"/>
                <a:gd name="T67" fmla="*/ 2147483647 h 658"/>
                <a:gd name="T68" fmla="*/ 2147483647 w 995"/>
                <a:gd name="T69" fmla="*/ 2147483647 h 658"/>
                <a:gd name="T70" fmla="*/ 2147483647 w 995"/>
                <a:gd name="T71" fmla="*/ 2147483647 h 658"/>
                <a:gd name="T72" fmla="*/ 2147483647 w 995"/>
                <a:gd name="T73" fmla="*/ 2147483647 h 658"/>
                <a:gd name="T74" fmla="*/ 2147483647 w 995"/>
                <a:gd name="T75" fmla="*/ 2147483647 h 658"/>
                <a:gd name="T76" fmla="*/ 2147483647 w 995"/>
                <a:gd name="T77" fmla="*/ 2147483647 h 658"/>
                <a:gd name="T78" fmla="*/ 2147483647 w 995"/>
                <a:gd name="T79" fmla="*/ 2147483647 h 658"/>
                <a:gd name="T80" fmla="*/ 2147483647 w 995"/>
                <a:gd name="T81" fmla="*/ 2147483647 h 658"/>
                <a:gd name="T82" fmla="*/ 2147483647 w 995"/>
                <a:gd name="T83" fmla="*/ 2147483647 h 658"/>
                <a:gd name="T84" fmla="*/ 2147483647 w 995"/>
                <a:gd name="T85" fmla="*/ 2147483647 h 658"/>
                <a:gd name="T86" fmla="*/ 2147483647 w 995"/>
                <a:gd name="T87" fmla="*/ 2147483647 h 658"/>
                <a:gd name="T88" fmla="*/ 2147483647 w 995"/>
                <a:gd name="T89" fmla="*/ 2147483647 h 658"/>
                <a:gd name="T90" fmla="*/ 2147483647 w 995"/>
                <a:gd name="T91" fmla="*/ 2147483647 h 658"/>
                <a:gd name="T92" fmla="*/ 2147483647 w 995"/>
                <a:gd name="T93" fmla="*/ 2147483647 h 658"/>
                <a:gd name="T94" fmla="*/ 2147483647 w 995"/>
                <a:gd name="T95" fmla="*/ 2147483647 h 658"/>
                <a:gd name="T96" fmla="*/ 2147483647 w 995"/>
                <a:gd name="T97" fmla="*/ 2147483647 h 658"/>
                <a:gd name="T98" fmla="*/ 2147483647 w 995"/>
                <a:gd name="T99" fmla="*/ 2147483647 h 658"/>
                <a:gd name="T100" fmla="*/ 2147483647 w 995"/>
                <a:gd name="T101" fmla="*/ 2147483647 h 658"/>
                <a:gd name="T102" fmla="*/ 2147483647 w 995"/>
                <a:gd name="T103" fmla="*/ 2147483647 h 658"/>
                <a:gd name="T104" fmla="*/ 2147483647 w 995"/>
                <a:gd name="T105" fmla="*/ 2147483647 h 658"/>
                <a:gd name="T106" fmla="*/ 2147483647 w 995"/>
                <a:gd name="T107" fmla="*/ 2147483647 h 658"/>
                <a:gd name="T108" fmla="*/ 2147483647 w 995"/>
                <a:gd name="T109" fmla="*/ 2147483647 h 658"/>
                <a:gd name="T110" fmla="*/ 0 w 995"/>
                <a:gd name="T111" fmla="*/ 2147483647 h 65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995"/>
                <a:gd name="T169" fmla="*/ 0 h 658"/>
                <a:gd name="T170" fmla="*/ 995 w 995"/>
                <a:gd name="T171" fmla="*/ 658 h 65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995" h="658">
                  <a:moveTo>
                    <a:pt x="248" y="353"/>
                  </a:moveTo>
                  <a:lnTo>
                    <a:pt x="242" y="352"/>
                  </a:lnTo>
                  <a:lnTo>
                    <a:pt x="208" y="373"/>
                  </a:lnTo>
                  <a:lnTo>
                    <a:pt x="189" y="374"/>
                  </a:lnTo>
                  <a:lnTo>
                    <a:pt x="173" y="378"/>
                  </a:lnTo>
                  <a:lnTo>
                    <a:pt x="157" y="389"/>
                  </a:lnTo>
                  <a:lnTo>
                    <a:pt x="148" y="384"/>
                  </a:lnTo>
                  <a:lnTo>
                    <a:pt x="137" y="374"/>
                  </a:lnTo>
                  <a:lnTo>
                    <a:pt x="121" y="376"/>
                  </a:lnTo>
                  <a:lnTo>
                    <a:pt x="106" y="379"/>
                  </a:lnTo>
                  <a:lnTo>
                    <a:pt x="83" y="377"/>
                  </a:lnTo>
                  <a:lnTo>
                    <a:pt x="64" y="374"/>
                  </a:lnTo>
                  <a:lnTo>
                    <a:pt x="47" y="374"/>
                  </a:lnTo>
                  <a:lnTo>
                    <a:pt x="40" y="377"/>
                  </a:lnTo>
                  <a:lnTo>
                    <a:pt x="36" y="367"/>
                  </a:lnTo>
                  <a:lnTo>
                    <a:pt x="27" y="358"/>
                  </a:lnTo>
                  <a:lnTo>
                    <a:pt x="15" y="348"/>
                  </a:lnTo>
                  <a:lnTo>
                    <a:pt x="0" y="341"/>
                  </a:lnTo>
                  <a:lnTo>
                    <a:pt x="6" y="318"/>
                  </a:lnTo>
                  <a:lnTo>
                    <a:pt x="17" y="288"/>
                  </a:lnTo>
                  <a:lnTo>
                    <a:pt x="19" y="282"/>
                  </a:lnTo>
                  <a:lnTo>
                    <a:pt x="24" y="283"/>
                  </a:lnTo>
                  <a:lnTo>
                    <a:pt x="33" y="281"/>
                  </a:lnTo>
                  <a:lnTo>
                    <a:pt x="31" y="269"/>
                  </a:lnTo>
                  <a:lnTo>
                    <a:pt x="33" y="254"/>
                  </a:lnTo>
                  <a:lnTo>
                    <a:pt x="51" y="216"/>
                  </a:lnTo>
                  <a:lnTo>
                    <a:pt x="65" y="197"/>
                  </a:lnTo>
                  <a:lnTo>
                    <a:pt x="85" y="184"/>
                  </a:lnTo>
                  <a:lnTo>
                    <a:pt x="103" y="169"/>
                  </a:lnTo>
                  <a:lnTo>
                    <a:pt x="108" y="156"/>
                  </a:lnTo>
                  <a:lnTo>
                    <a:pt x="102" y="140"/>
                  </a:lnTo>
                  <a:lnTo>
                    <a:pt x="103" y="129"/>
                  </a:lnTo>
                  <a:lnTo>
                    <a:pt x="92" y="118"/>
                  </a:lnTo>
                  <a:lnTo>
                    <a:pt x="91" y="114"/>
                  </a:lnTo>
                  <a:lnTo>
                    <a:pt x="84" y="95"/>
                  </a:lnTo>
                  <a:lnTo>
                    <a:pt x="83" y="83"/>
                  </a:lnTo>
                  <a:lnTo>
                    <a:pt x="76" y="71"/>
                  </a:lnTo>
                  <a:lnTo>
                    <a:pt x="83" y="65"/>
                  </a:lnTo>
                  <a:lnTo>
                    <a:pt x="91" y="64"/>
                  </a:lnTo>
                  <a:lnTo>
                    <a:pt x="100" y="65"/>
                  </a:lnTo>
                  <a:lnTo>
                    <a:pt x="114" y="57"/>
                  </a:lnTo>
                  <a:lnTo>
                    <a:pt x="121" y="51"/>
                  </a:lnTo>
                  <a:lnTo>
                    <a:pt x="123" y="44"/>
                  </a:lnTo>
                  <a:lnTo>
                    <a:pt x="130" y="40"/>
                  </a:lnTo>
                  <a:lnTo>
                    <a:pt x="172" y="34"/>
                  </a:lnTo>
                  <a:lnTo>
                    <a:pt x="180" y="37"/>
                  </a:lnTo>
                  <a:lnTo>
                    <a:pt x="197" y="38"/>
                  </a:lnTo>
                  <a:lnTo>
                    <a:pt x="205" y="35"/>
                  </a:lnTo>
                  <a:lnTo>
                    <a:pt x="219" y="44"/>
                  </a:lnTo>
                  <a:lnTo>
                    <a:pt x="235" y="49"/>
                  </a:lnTo>
                  <a:lnTo>
                    <a:pt x="243" y="50"/>
                  </a:lnTo>
                  <a:lnTo>
                    <a:pt x="252" y="49"/>
                  </a:lnTo>
                  <a:lnTo>
                    <a:pt x="258" y="52"/>
                  </a:lnTo>
                  <a:lnTo>
                    <a:pt x="267" y="55"/>
                  </a:lnTo>
                  <a:lnTo>
                    <a:pt x="274" y="59"/>
                  </a:lnTo>
                  <a:lnTo>
                    <a:pt x="275" y="67"/>
                  </a:lnTo>
                  <a:lnTo>
                    <a:pt x="282" y="72"/>
                  </a:lnTo>
                  <a:lnTo>
                    <a:pt x="297" y="71"/>
                  </a:lnTo>
                  <a:lnTo>
                    <a:pt x="299" y="79"/>
                  </a:lnTo>
                  <a:lnTo>
                    <a:pt x="306" y="86"/>
                  </a:lnTo>
                  <a:lnTo>
                    <a:pt x="312" y="79"/>
                  </a:lnTo>
                  <a:lnTo>
                    <a:pt x="320" y="77"/>
                  </a:lnTo>
                  <a:lnTo>
                    <a:pt x="328" y="77"/>
                  </a:lnTo>
                  <a:lnTo>
                    <a:pt x="334" y="71"/>
                  </a:lnTo>
                  <a:lnTo>
                    <a:pt x="340" y="76"/>
                  </a:lnTo>
                  <a:lnTo>
                    <a:pt x="349" y="78"/>
                  </a:lnTo>
                  <a:lnTo>
                    <a:pt x="356" y="76"/>
                  </a:lnTo>
                  <a:lnTo>
                    <a:pt x="361" y="83"/>
                  </a:lnTo>
                  <a:lnTo>
                    <a:pt x="369" y="88"/>
                  </a:lnTo>
                  <a:lnTo>
                    <a:pt x="386" y="70"/>
                  </a:lnTo>
                  <a:lnTo>
                    <a:pt x="398" y="79"/>
                  </a:lnTo>
                  <a:lnTo>
                    <a:pt x="402" y="87"/>
                  </a:lnTo>
                  <a:lnTo>
                    <a:pt x="408" y="93"/>
                  </a:lnTo>
                  <a:lnTo>
                    <a:pt x="415" y="88"/>
                  </a:lnTo>
                  <a:lnTo>
                    <a:pt x="424" y="88"/>
                  </a:lnTo>
                  <a:lnTo>
                    <a:pt x="440" y="86"/>
                  </a:lnTo>
                  <a:lnTo>
                    <a:pt x="449" y="86"/>
                  </a:lnTo>
                  <a:lnTo>
                    <a:pt x="456" y="89"/>
                  </a:lnTo>
                  <a:lnTo>
                    <a:pt x="461" y="95"/>
                  </a:lnTo>
                  <a:lnTo>
                    <a:pt x="469" y="93"/>
                  </a:lnTo>
                  <a:lnTo>
                    <a:pt x="473" y="86"/>
                  </a:lnTo>
                  <a:lnTo>
                    <a:pt x="471" y="70"/>
                  </a:lnTo>
                  <a:lnTo>
                    <a:pt x="473" y="61"/>
                  </a:lnTo>
                  <a:lnTo>
                    <a:pt x="473" y="52"/>
                  </a:lnTo>
                  <a:lnTo>
                    <a:pt x="476" y="44"/>
                  </a:lnTo>
                  <a:lnTo>
                    <a:pt x="494" y="27"/>
                  </a:lnTo>
                  <a:lnTo>
                    <a:pt x="501" y="23"/>
                  </a:lnTo>
                  <a:lnTo>
                    <a:pt x="510" y="23"/>
                  </a:lnTo>
                  <a:lnTo>
                    <a:pt x="517" y="18"/>
                  </a:lnTo>
                  <a:lnTo>
                    <a:pt x="537" y="18"/>
                  </a:lnTo>
                  <a:lnTo>
                    <a:pt x="543" y="23"/>
                  </a:lnTo>
                  <a:lnTo>
                    <a:pt x="551" y="25"/>
                  </a:lnTo>
                  <a:lnTo>
                    <a:pt x="558" y="22"/>
                  </a:lnTo>
                  <a:lnTo>
                    <a:pt x="563" y="16"/>
                  </a:lnTo>
                  <a:lnTo>
                    <a:pt x="565" y="7"/>
                  </a:lnTo>
                  <a:lnTo>
                    <a:pt x="573" y="2"/>
                  </a:lnTo>
                  <a:lnTo>
                    <a:pt x="589" y="6"/>
                  </a:lnTo>
                  <a:lnTo>
                    <a:pt x="597" y="6"/>
                  </a:lnTo>
                  <a:lnTo>
                    <a:pt x="613" y="1"/>
                  </a:lnTo>
                  <a:lnTo>
                    <a:pt x="629" y="3"/>
                  </a:lnTo>
                  <a:lnTo>
                    <a:pt x="645" y="0"/>
                  </a:lnTo>
                  <a:lnTo>
                    <a:pt x="657" y="9"/>
                  </a:lnTo>
                  <a:lnTo>
                    <a:pt x="662" y="17"/>
                  </a:lnTo>
                  <a:lnTo>
                    <a:pt x="662" y="25"/>
                  </a:lnTo>
                  <a:lnTo>
                    <a:pt x="675" y="37"/>
                  </a:lnTo>
                  <a:lnTo>
                    <a:pt x="680" y="43"/>
                  </a:lnTo>
                  <a:lnTo>
                    <a:pt x="680" y="52"/>
                  </a:lnTo>
                  <a:lnTo>
                    <a:pt x="671" y="56"/>
                  </a:lnTo>
                  <a:lnTo>
                    <a:pt x="664" y="57"/>
                  </a:lnTo>
                  <a:lnTo>
                    <a:pt x="667" y="65"/>
                  </a:lnTo>
                  <a:lnTo>
                    <a:pt x="667" y="72"/>
                  </a:lnTo>
                  <a:lnTo>
                    <a:pt x="671" y="88"/>
                  </a:lnTo>
                  <a:lnTo>
                    <a:pt x="678" y="93"/>
                  </a:lnTo>
                  <a:lnTo>
                    <a:pt x="686" y="97"/>
                  </a:lnTo>
                  <a:lnTo>
                    <a:pt x="702" y="100"/>
                  </a:lnTo>
                  <a:lnTo>
                    <a:pt x="709" y="97"/>
                  </a:lnTo>
                  <a:lnTo>
                    <a:pt x="718" y="97"/>
                  </a:lnTo>
                  <a:lnTo>
                    <a:pt x="720" y="105"/>
                  </a:lnTo>
                  <a:lnTo>
                    <a:pt x="731" y="116"/>
                  </a:lnTo>
                  <a:lnTo>
                    <a:pt x="738" y="145"/>
                  </a:lnTo>
                  <a:lnTo>
                    <a:pt x="736" y="152"/>
                  </a:lnTo>
                  <a:lnTo>
                    <a:pt x="738" y="159"/>
                  </a:lnTo>
                  <a:lnTo>
                    <a:pt x="745" y="165"/>
                  </a:lnTo>
                  <a:lnTo>
                    <a:pt x="752" y="169"/>
                  </a:lnTo>
                  <a:lnTo>
                    <a:pt x="759" y="165"/>
                  </a:lnTo>
                  <a:lnTo>
                    <a:pt x="767" y="164"/>
                  </a:lnTo>
                  <a:lnTo>
                    <a:pt x="775" y="165"/>
                  </a:lnTo>
                  <a:lnTo>
                    <a:pt x="786" y="177"/>
                  </a:lnTo>
                  <a:lnTo>
                    <a:pt x="795" y="174"/>
                  </a:lnTo>
                  <a:lnTo>
                    <a:pt x="801" y="178"/>
                  </a:lnTo>
                  <a:lnTo>
                    <a:pt x="827" y="170"/>
                  </a:lnTo>
                  <a:lnTo>
                    <a:pt x="842" y="163"/>
                  </a:lnTo>
                  <a:lnTo>
                    <a:pt x="849" y="165"/>
                  </a:lnTo>
                  <a:lnTo>
                    <a:pt x="854" y="173"/>
                  </a:lnTo>
                  <a:lnTo>
                    <a:pt x="865" y="195"/>
                  </a:lnTo>
                  <a:lnTo>
                    <a:pt x="876" y="206"/>
                  </a:lnTo>
                  <a:lnTo>
                    <a:pt x="883" y="206"/>
                  </a:lnTo>
                  <a:lnTo>
                    <a:pt x="887" y="199"/>
                  </a:lnTo>
                  <a:lnTo>
                    <a:pt x="896" y="199"/>
                  </a:lnTo>
                  <a:lnTo>
                    <a:pt x="901" y="205"/>
                  </a:lnTo>
                  <a:lnTo>
                    <a:pt x="908" y="206"/>
                  </a:lnTo>
                  <a:lnTo>
                    <a:pt x="915" y="210"/>
                  </a:lnTo>
                  <a:lnTo>
                    <a:pt x="922" y="216"/>
                  </a:lnTo>
                  <a:lnTo>
                    <a:pt x="938" y="215"/>
                  </a:lnTo>
                  <a:lnTo>
                    <a:pt x="951" y="224"/>
                  </a:lnTo>
                  <a:lnTo>
                    <a:pt x="958" y="223"/>
                  </a:lnTo>
                  <a:lnTo>
                    <a:pt x="971" y="234"/>
                  </a:lnTo>
                  <a:lnTo>
                    <a:pt x="979" y="235"/>
                  </a:lnTo>
                  <a:lnTo>
                    <a:pt x="988" y="235"/>
                  </a:lnTo>
                  <a:lnTo>
                    <a:pt x="994" y="240"/>
                  </a:lnTo>
                  <a:lnTo>
                    <a:pt x="987" y="244"/>
                  </a:lnTo>
                  <a:lnTo>
                    <a:pt x="995" y="267"/>
                  </a:lnTo>
                  <a:lnTo>
                    <a:pt x="987" y="282"/>
                  </a:lnTo>
                  <a:lnTo>
                    <a:pt x="971" y="286"/>
                  </a:lnTo>
                  <a:lnTo>
                    <a:pt x="976" y="292"/>
                  </a:lnTo>
                  <a:lnTo>
                    <a:pt x="984" y="294"/>
                  </a:lnTo>
                  <a:lnTo>
                    <a:pt x="988" y="301"/>
                  </a:lnTo>
                  <a:lnTo>
                    <a:pt x="972" y="306"/>
                  </a:lnTo>
                  <a:lnTo>
                    <a:pt x="969" y="313"/>
                  </a:lnTo>
                  <a:lnTo>
                    <a:pt x="968" y="320"/>
                  </a:lnTo>
                  <a:lnTo>
                    <a:pt x="973" y="326"/>
                  </a:lnTo>
                  <a:lnTo>
                    <a:pt x="976" y="335"/>
                  </a:lnTo>
                  <a:lnTo>
                    <a:pt x="974" y="342"/>
                  </a:lnTo>
                  <a:lnTo>
                    <a:pt x="980" y="346"/>
                  </a:lnTo>
                  <a:lnTo>
                    <a:pt x="978" y="362"/>
                  </a:lnTo>
                  <a:lnTo>
                    <a:pt x="971" y="385"/>
                  </a:lnTo>
                  <a:lnTo>
                    <a:pt x="963" y="389"/>
                  </a:lnTo>
                  <a:lnTo>
                    <a:pt x="947" y="385"/>
                  </a:lnTo>
                  <a:lnTo>
                    <a:pt x="940" y="387"/>
                  </a:lnTo>
                  <a:lnTo>
                    <a:pt x="925" y="379"/>
                  </a:lnTo>
                  <a:lnTo>
                    <a:pt x="919" y="384"/>
                  </a:lnTo>
                  <a:lnTo>
                    <a:pt x="910" y="398"/>
                  </a:lnTo>
                  <a:lnTo>
                    <a:pt x="896" y="404"/>
                  </a:lnTo>
                  <a:lnTo>
                    <a:pt x="888" y="419"/>
                  </a:lnTo>
                  <a:lnTo>
                    <a:pt x="890" y="427"/>
                  </a:lnTo>
                  <a:lnTo>
                    <a:pt x="890" y="442"/>
                  </a:lnTo>
                  <a:lnTo>
                    <a:pt x="866" y="446"/>
                  </a:lnTo>
                  <a:lnTo>
                    <a:pt x="853" y="448"/>
                  </a:lnTo>
                  <a:lnTo>
                    <a:pt x="843" y="459"/>
                  </a:lnTo>
                  <a:lnTo>
                    <a:pt x="836" y="458"/>
                  </a:lnTo>
                  <a:lnTo>
                    <a:pt x="817" y="465"/>
                  </a:lnTo>
                  <a:lnTo>
                    <a:pt x="813" y="477"/>
                  </a:lnTo>
                  <a:lnTo>
                    <a:pt x="801" y="470"/>
                  </a:lnTo>
                  <a:lnTo>
                    <a:pt x="779" y="481"/>
                  </a:lnTo>
                  <a:lnTo>
                    <a:pt x="777" y="486"/>
                  </a:lnTo>
                  <a:lnTo>
                    <a:pt x="775" y="481"/>
                  </a:lnTo>
                  <a:lnTo>
                    <a:pt x="764" y="485"/>
                  </a:lnTo>
                  <a:lnTo>
                    <a:pt x="757" y="485"/>
                  </a:lnTo>
                  <a:lnTo>
                    <a:pt x="741" y="500"/>
                  </a:lnTo>
                  <a:lnTo>
                    <a:pt x="737" y="501"/>
                  </a:lnTo>
                  <a:lnTo>
                    <a:pt x="731" y="511"/>
                  </a:lnTo>
                  <a:lnTo>
                    <a:pt x="724" y="522"/>
                  </a:lnTo>
                  <a:lnTo>
                    <a:pt x="716" y="525"/>
                  </a:lnTo>
                  <a:lnTo>
                    <a:pt x="719" y="520"/>
                  </a:lnTo>
                  <a:lnTo>
                    <a:pt x="725" y="517"/>
                  </a:lnTo>
                  <a:lnTo>
                    <a:pt x="730" y="512"/>
                  </a:lnTo>
                  <a:lnTo>
                    <a:pt x="725" y="497"/>
                  </a:lnTo>
                  <a:lnTo>
                    <a:pt x="721" y="497"/>
                  </a:lnTo>
                  <a:lnTo>
                    <a:pt x="716" y="512"/>
                  </a:lnTo>
                  <a:lnTo>
                    <a:pt x="707" y="522"/>
                  </a:lnTo>
                  <a:lnTo>
                    <a:pt x="709" y="536"/>
                  </a:lnTo>
                  <a:lnTo>
                    <a:pt x="709" y="545"/>
                  </a:lnTo>
                  <a:lnTo>
                    <a:pt x="704" y="545"/>
                  </a:lnTo>
                  <a:lnTo>
                    <a:pt x="704" y="541"/>
                  </a:lnTo>
                  <a:lnTo>
                    <a:pt x="698" y="530"/>
                  </a:lnTo>
                  <a:lnTo>
                    <a:pt x="699" y="527"/>
                  </a:lnTo>
                  <a:lnTo>
                    <a:pt x="697" y="523"/>
                  </a:lnTo>
                  <a:lnTo>
                    <a:pt x="691" y="528"/>
                  </a:lnTo>
                  <a:lnTo>
                    <a:pt x="687" y="534"/>
                  </a:lnTo>
                  <a:lnTo>
                    <a:pt x="684" y="533"/>
                  </a:lnTo>
                  <a:lnTo>
                    <a:pt x="687" y="525"/>
                  </a:lnTo>
                  <a:lnTo>
                    <a:pt x="684" y="523"/>
                  </a:lnTo>
                  <a:lnTo>
                    <a:pt x="671" y="523"/>
                  </a:lnTo>
                  <a:lnTo>
                    <a:pt x="670" y="520"/>
                  </a:lnTo>
                  <a:lnTo>
                    <a:pt x="670" y="512"/>
                  </a:lnTo>
                  <a:lnTo>
                    <a:pt x="666" y="507"/>
                  </a:lnTo>
                  <a:lnTo>
                    <a:pt x="664" y="520"/>
                  </a:lnTo>
                  <a:lnTo>
                    <a:pt x="661" y="522"/>
                  </a:lnTo>
                  <a:lnTo>
                    <a:pt x="644" y="517"/>
                  </a:lnTo>
                  <a:lnTo>
                    <a:pt x="649" y="520"/>
                  </a:lnTo>
                  <a:lnTo>
                    <a:pt x="653" y="525"/>
                  </a:lnTo>
                  <a:lnTo>
                    <a:pt x="657" y="525"/>
                  </a:lnTo>
                  <a:lnTo>
                    <a:pt x="660" y="527"/>
                  </a:lnTo>
                  <a:lnTo>
                    <a:pt x="662" y="533"/>
                  </a:lnTo>
                  <a:lnTo>
                    <a:pt x="664" y="538"/>
                  </a:lnTo>
                  <a:lnTo>
                    <a:pt x="667" y="543"/>
                  </a:lnTo>
                  <a:lnTo>
                    <a:pt x="670" y="540"/>
                  </a:lnTo>
                  <a:lnTo>
                    <a:pt x="670" y="533"/>
                  </a:lnTo>
                  <a:lnTo>
                    <a:pt x="680" y="535"/>
                  </a:lnTo>
                  <a:lnTo>
                    <a:pt x="684" y="539"/>
                  </a:lnTo>
                  <a:lnTo>
                    <a:pt x="689" y="539"/>
                  </a:lnTo>
                  <a:lnTo>
                    <a:pt x="686" y="551"/>
                  </a:lnTo>
                  <a:lnTo>
                    <a:pt x="688" y="552"/>
                  </a:lnTo>
                  <a:lnTo>
                    <a:pt x="694" y="550"/>
                  </a:lnTo>
                  <a:lnTo>
                    <a:pt x="697" y="551"/>
                  </a:lnTo>
                  <a:lnTo>
                    <a:pt x="694" y="560"/>
                  </a:lnTo>
                  <a:lnTo>
                    <a:pt x="708" y="559"/>
                  </a:lnTo>
                  <a:lnTo>
                    <a:pt x="714" y="567"/>
                  </a:lnTo>
                  <a:lnTo>
                    <a:pt x="714" y="578"/>
                  </a:lnTo>
                  <a:lnTo>
                    <a:pt x="716" y="588"/>
                  </a:lnTo>
                  <a:lnTo>
                    <a:pt x="720" y="583"/>
                  </a:lnTo>
                  <a:lnTo>
                    <a:pt x="737" y="588"/>
                  </a:lnTo>
                  <a:lnTo>
                    <a:pt x="738" y="582"/>
                  </a:lnTo>
                  <a:lnTo>
                    <a:pt x="750" y="590"/>
                  </a:lnTo>
                  <a:lnTo>
                    <a:pt x="762" y="577"/>
                  </a:lnTo>
                  <a:lnTo>
                    <a:pt x="766" y="577"/>
                  </a:lnTo>
                  <a:lnTo>
                    <a:pt x="768" y="582"/>
                  </a:lnTo>
                  <a:lnTo>
                    <a:pt x="775" y="578"/>
                  </a:lnTo>
                  <a:lnTo>
                    <a:pt x="789" y="575"/>
                  </a:lnTo>
                  <a:lnTo>
                    <a:pt x="800" y="576"/>
                  </a:lnTo>
                  <a:lnTo>
                    <a:pt x="799" y="584"/>
                  </a:lnTo>
                  <a:lnTo>
                    <a:pt x="795" y="588"/>
                  </a:lnTo>
                  <a:lnTo>
                    <a:pt x="794" y="597"/>
                  </a:lnTo>
                  <a:lnTo>
                    <a:pt x="794" y="608"/>
                  </a:lnTo>
                  <a:lnTo>
                    <a:pt x="775" y="608"/>
                  </a:lnTo>
                  <a:lnTo>
                    <a:pt x="772" y="611"/>
                  </a:lnTo>
                  <a:lnTo>
                    <a:pt x="740" y="602"/>
                  </a:lnTo>
                  <a:lnTo>
                    <a:pt x="723" y="619"/>
                  </a:lnTo>
                  <a:lnTo>
                    <a:pt x="714" y="629"/>
                  </a:lnTo>
                  <a:lnTo>
                    <a:pt x="702" y="626"/>
                  </a:lnTo>
                  <a:lnTo>
                    <a:pt x="687" y="630"/>
                  </a:lnTo>
                  <a:lnTo>
                    <a:pt x="692" y="633"/>
                  </a:lnTo>
                  <a:lnTo>
                    <a:pt x="686" y="635"/>
                  </a:lnTo>
                  <a:lnTo>
                    <a:pt x="681" y="641"/>
                  </a:lnTo>
                  <a:lnTo>
                    <a:pt x="680" y="646"/>
                  </a:lnTo>
                  <a:lnTo>
                    <a:pt x="677" y="649"/>
                  </a:lnTo>
                  <a:lnTo>
                    <a:pt x="670" y="651"/>
                  </a:lnTo>
                  <a:lnTo>
                    <a:pt x="659" y="658"/>
                  </a:lnTo>
                  <a:lnTo>
                    <a:pt x="643" y="657"/>
                  </a:lnTo>
                  <a:lnTo>
                    <a:pt x="639" y="656"/>
                  </a:lnTo>
                  <a:lnTo>
                    <a:pt x="628" y="646"/>
                  </a:lnTo>
                  <a:lnTo>
                    <a:pt x="632" y="638"/>
                  </a:lnTo>
                  <a:lnTo>
                    <a:pt x="632" y="629"/>
                  </a:lnTo>
                  <a:lnTo>
                    <a:pt x="634" y="620"/>
                  </a:lnTo>
                  <a:lnTo>
                    <a:pt x="633" y="610"/>
                  </a:lnTo>
                  <a:lnTo>
                    <a:pt x="628" y="599"/>
                  </a:lnTo>
                  <a:lnTo>
                    <a:pt x="621" y="598"/>
                  </a:lnTo>
                  <a:lnTo>
                    <a:pt x="614" y="598"/>
                  </a:lnTo>
                  <a:lnTo>
                    <a:pt x="607" y="590"/>
                  </a:lnTo>
                  <a:lnTo>
                    <a:pt x="595" y="583"/>
                  </a:lnTo>
                  <a:lnTo>
                    <a:pt x="579" y="583"/>
                  </a:lnTo>
                  <a:lnTo>
                    <a:pt x="579" y="581"/>
                  </a:lnTo>
                  <a:lnTo>
                    <a:pt x="581" y="575"/>
                  </a:lnTo>
                  <a:lnTo>
                    <a:pt x="591" y="570"/>
                  </a:lnTo>
                  <a:lnTo>
                    <a:pt x="605" y="556"/>
                  </a:lnTo>
                  <a:lnTo>
                    <a:pt x="613" y="550"/>
                  </a:lnTo>
                  <a:lnTo>
                    <a:pt x="641" y="541"/>
                  </a:lnTo>
                  <a:lnTo>
                    <a:pt x="645" y="539"/>
                  </a:lnTo>
                  <a:lnTo>
                    <a:pt x="641" y="536"/>
                  </a:lnTo>
                  <a:lnTo>
                    <a:pt x="640" y="529"/>
                  </a:lnTo>
                  <a:lnTo>
                    <a:pt x="634" y="523"/>
                  </a:lnTo>
                  <a:lnTo>
                    <a:pt x="628" y="529"/>
                  </a:lnTo>
                  <a:lnTo>
                    <a:pt x="618" y="524"/>
                  </a:lnTo>
                  <a:lnTo>
                    <a:pt x="618" y="519"/>
                  </a:lnTo>
                  <a:lnTo>
                    <a:pt x="610" y="522"/>
                  </a:lnTo>
                  <a:lnTo>
                    <a:pt x="608" y="525"/>
                  </a:lnTo>
                  <a:lnTo>
                    <a:pt x="601" y="525"/>
                  </a:lnTo>
                  <a:lnTo>
                    <a:pt x="579" y="530"/>
                  </a:lnTo>
                  <a:lnTo>
                    <a:pt x="563" y="524"/>
                  </a:lnTo>
                  <a:lnTo>
                    <a:pt x="557" y="518"/>
                  </a:lnTo>
                  <a:lnTo>
                    <a:pt x="551" y="516"/>
                  </a:lnTo>
                  <a:lnTo>
                    <a:pt x="539" y="517"/>
                  </a:lnTo>
                  <a:lnTo>
                    <a:pt x="538" y="513"/>
                  </a:lnTo>
                  <a:lnTo>
                    <a:pt x="551" y="503"/>
                  </a:lnTo>
                  <a:lnTo>
                    <a:pt x="549" y="501"/>
                  </a:lnTo>
                  <a:lnTo>
                    <a:pt x="533" y="498"/>
                  </a:lnTo>
                  <a:lnTo>
                    <a:pt x="528" y="496"/>
                  </a:lnTo>
                  <a:lnTo>
                    <a:pt x="536" y="492"/>
                  </a:lnTo>
                  <a:lnTo>
                    <a:pt x="560" y="496"/>
                  </a:lnTo>
                  <a:lnTo>
                    <a:pt x="563" y="495"/>
                  </a:lnTo>
                  <a:lnTo>
                    <a:pt x="560" y="491"/>
                  </a:lnTo>
                  <a:lnTo>
                    <a:pt x="554" y="490"/>
                  </a:lnTo>
                  <a:lnTo>
                    <a:pt x="548" y="481"/>
                  </a:lnTo>
                  <a:lnTo>
                    <a:pt x="543" y="471"/>
                  </a:lnTo>
                  <a:lnTo>
                    <a:pt x="541" y="479"/>
                  </a:lnTo>
                  <a:lnTo>
                    <a:pt x="533" y="482"/>
                  </a:lnTo>
                  <a:lnTo>
                    <a:pt x="524" y="485"/>
                  </a:lnTo>
                  <a:lnTo>
                    <a:pt x="526" y="475"/>
                  </a:lnTo>
                  <a:lnTo>
                    <a:pt x="520" y="480"/>
                  </a:lnTo>
                  <a:lnTo>
                    <a:pt x="508" y="486"/>
                  </a:lnTo>
                  <a:lnTo>
                    <a:pt x="492" y="489"/>
                  </a:lnTo>
                  <a:lnTo>
                    <a:pt x="485" y="492"/>
                  </a:lnTo>
                  <a:lnTo>
                    <a:pt x="478" y="495"/>
                  </a:lnTo>
                  <a:lnTo>
                    <a:pt x="477" y="502"/>
                  </a:lnTo>
                  <a:lnTo>
                    <a:pt x="466" y="520"/>
                  </a:lnTo>
                  <a:lnTo>
                    <a:pt x="461" y="519"/>
                  </a:lnTo>
                  <a:lnTo>
                    <a:pt x="457" y="511"/>
                  </a:lnTo>
                  <a:lnTo>
                    <a:pt x="450" y="509"/>
                  </a:lnTo>
                  <a:lnTo>
                    <a:pt x="446" y="504"/>
                  </a:lnTo>
                  <a:lnTo>
                    <a:pt x="449" y="512"/>
                  </a:lnTo>
                  <a:lnTo>
                    <a:pt x="457" y="519"/>
                  </a:lnTo>
                  <a:lnTo>
                    <a:pt x="458" y="530"/>
                  </a:lnTo>
                  <a:lnTo>
                    <a:pt x="453" y="541"/>
                  </a:lnTo>
                  <a:lnTo>
                    <a:pt x="449" y="546"/>
                  </a:lnTo>
                  <a:lnTo>
                    <a:pt x="434" y="547"/>
                  </a:lnTo>
                  <a:lnTo>
                    <a:pt x="431" y="552"/>
                  </a:lnTo>
                  <a:lnTo>
                    <a:pt x="426" y="555"/>
                  </a:lnTo>
                  <a:lnTo>
                    <a:pt x="425" y="562"/>
                  </a:lnTo>
                  <a:lnTo>
                    <a:pt x="420" y="560"/>
                  </a:lnTo>
                  <a:lnTo>
                    <a:pt x="419" y="550"/>
                  </a:lnTo>
                  <a:lnTo>
                    <a:pt x="418" y="546"/>
                  </a:lnTo>
                  <a:lnTo>
                    <a:pt x="418" y="566"/>
                  </a:lnTo>
                  <a:lnTo>
                    <a:pt x="419" y="581"/>
                  </a:lnTo>
                  <a:lnTo>
                    <a:pt x="417" y="582"/>
                  </a:lnTo>
                  <a:lnTo>
                    <a:pt x="411" y="578"/>
                  </a:lnTo>
                  <a:lnTo>
                    <a:pt x="402" y="578"/>
                  </a:lnTo>
                  <a:lnTo>
                    <a:pt x="393" y="582"/>
                  </a:lnTo>
                  <a:lnTo>
                    <a:pt x="379" y="584"/>
                  </a:lnTo>
                  <a:lnTo>
                    <a:pt x="368" y="592"/>
                  </a:lnTo>
                  <a:lnTo>
                    <a:pt x="356" y="593"/>
                  </a:lnTo>
                  <a:lnTo>
                    <a:pt x="344" y="576"/>
                  </a:lnTo>
                  <a:lnTo>
                    <a:pt x="336" y="577"/>
                  </a:lnTo>
                  <a:lnTo>
                    <a:pt x="336" y="573"/>
                  </a:lnTo>
                  <a:lnTo>
                    <a:pt x="345" y="573"/>
                  </a:lnTo>
                  <a:lnTo>
                    <a:pt x="350" y="567"/>
                  </a:lnTo>
                  <a:lnTo>
                    <a:pt x="352" y="560"/>
                  </a:lnTo>
                  <a:lnTo>
                    <a:pt x="354" y="552"/>
                  </a:lnTo>
                  <a:lnTo>
                    <a:pt x="363" y="547"/>
                  </a:lnTo>
                  <a:lnTo>
                    <a:pt x="364" y="539"/>
                  </a:lnTo>
                  <a:lnTo>
                    <a:pt x="369" y="534"/>
                  </a:lnTo>
                  <a:lnTo>
                    <a:pt x="376" y="530"/>
                  </a:lnTo>
                  <a:lnTo>
                    <a:pt x="379" y="506"/>
                  </a:lnTo>
                  <a:lnTo>
                    <a:pt x="382" y="498"/>
                  </a:lnTo>
                  <a:lnTo>
                    <a:pt x="391" y="495"/>
                  </a:lnTo>
                  <a:lnTo>
                    <a:pt x="395" y="501"/>
                  </a:lnTo>
                  <a:lnTo>
                    <a:pt x="402" y="497"/>
                  </a:lnTo>
                  <a:lnTo>
                    <a:pt x="425" y="503"/>
                  </a:lnTo>
                  <a:lnTo>
                    <a:pt x="431" y="498"/>
                  </a:lnTo>
                  <a:lnTo>
                    <a:pt x="435" y="491"/>
                  </a:lnTo>
                  <a:lnTo>
                    <a:pt x="431" y="484"/>
                  </a:lnTo>
                  <a:lnTo>
                    <a:pt x="434" y="476"/>
                  </a:lnTo>
                  <a:lnTo>
                    <a:pt x="433" y="468"/>
                  </a:lnTo>
                  <a:lnTo>
                    <a:pt x="428" y="460"/>
                  </a:lnTo>
                  <a:lnTo>
                    <a:pt x="413" y="453"/>
                  </a:lnTo>
                  <a:lnTo>
                    <a:pt x="407" y="439"/>
                  </a:lnTo>
                  <a:lnTo>
                    <a:pt x="408" y="431"/>
                  </a:lnTo>
                  <a:lnTo>
                    <a:pt x="406" y="423"/>
                  </a:lnTo>
                  <a:lnTo>
                    <a:pt x="398" y="422"/>
                  </a:lnTo>
                  <a:lnTo>
                    <a:pt x="395" y="415"/>
                  </a:lnTo>
                  <a:lnTo>
                    <a:pt x="387" y="409"/>
                  </a:lnTo>
                  <a:lnTo>
                    <a:pt x="391" y="393"/>
                  </a:lnTo>
                  <a:lnTo>
                    <a:pt x="391" y="385"/>
                  </a:lnTo>
                  <a:lnTo>
                    <a:pt x="391" y="377"/>
                  </a:lnTo>
                  <a:lnTo>
                    <a:pt x="387" y="369"/>
                  </a:lnTo>
                  <a:lnTo>
                    <a:pt x="379" y="372"/>
                  </a:lnTo>
                  <a:lnTo>
                    <a:pt x="368" y="360"/>
                  </a:lnTo>
                  <a:lnTo>
                    <a:pt x="359" y="358"/>
                  </a:lnTo>
                  <a:lnTo>
                    <a:pt x="343" y="361"/>
                  </a:lnTo>
                  <a:lnTo>
                    <a:pt x="336" y="358"/>
                  </a:lnTo>
                  <a:lnTo>
                    <a:pt x="317" y="342"/>
                  </a:lnTo>
                  <a:lnTo>
                    <a:pt x="310" y="339"/>
                  </a:lnTo>
                  <a:lnTo>
                    <a:pt x="294" y="334"/>
                  </a:lnTo>
                  <a:lnTo>
                    <a:pt x="278" y="339"/>
                  </a:lnTo>
                  <a:lnTo>
                    <a:pt x="269" y="340"/>
                  </a:lnTo>
                  <a:lnTo>
                    <a:pt x="261" y="339"/>
                  </a:lnTo>
                  <a:lnTo>
                    <a:pt x="254" y="342"/>
                  </a:lnTo>
                  <a:lnTo>
                    <a:pt x="248" y="35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81" name="Freeform 192">
              <a:extLst>
                <a:ext uri="{FF2B5EF4-FFF2-40B4-BE49-F238E27FC236}">
                  <a16:creationId xmlns:a16="http://schemas.microsoft.com/office/drawing/2014/main" id="{1F222E62-A05E-C791-BB03-8ED9CC6A46F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547698" y="2615582"/>
              <a:ext cx="101479" cy="138704"/>
            </a:xfrm>
            <a:custGeom>
              <a:avLst/>
              <a:gdLst>
                <a:gd name="T0" fmla="*/ 0 w 187"/>
                <a:gd name="T1" fmla="*/ 0 h 239"/>
                <a:gd name="T2" fmla="*/ 0 w 187"/>
                <a:gd name="T3" fmla="*/ 0 h 239"/>
                <a:gd name="T4" fmla="*/ 0 w 187"/>
                <a:gd name="T5" fmla="*/ 0 h 239"/>
                <a:gd name="T6" fmla="*/ 0 w 187"/>
                <a:gd name="T7" fmla="*/ 0 h 239"/>
                <a:gd name="T8" fmla="*/ 0 w 187"/>
                <a:gd name="T9" fmla="*/ 0 h 239"/>
                <a:gd name="T10" fmla="*/ 0 w 187"/>
                <a:gd name="T11" fmla="*/ 0 h 239"/>
                <a:gd name="T12" fmla="*/ 0 w 187"/>
                <a:gd name="T13" fmla="*/ 0 h 239"/>
                <a:gd name="T14" fmla="*/ 0 w 187"/>
                <a:gd name="T15" fmla="*/ 0 h 239"/>
                <a:gd name="T16" fmla="*/ 0 w 187"/>
                <a:gd name="T17" fmla="*/ 0 h 239"/>
                <a:gd name="T18" fmla="*/ 0 w 187"/>
                <a:gd name="T19" fmla="*/ 0 h 239"/>
                <a:gd name="T20" fmla="*/ 0 w 187"/>
                <a:gd name="T21" fmla="*/ 0 h 239"/>
                <a:gd name="T22" fmla="*/ 0 w 187"/>
                <a:gd name="T23" fmla="*/ 0 h 239"/>
                <a:gd name="T24" fmla="*/ 0 w 187"/>
                <a:gd name="T25" fmla="*/ 0 h 239"/>
                <a:gd name="T26" fmla="*/ 0 w 187"/>
                <a:gd name="T27" fmla="*/ 0 h 239"/>
                <a:gd name="T28" fmla="*/ 0 w 187"/>
                <a:gd name="T29" fmla="*/ 0 h 239"/>
                <a:gd name="T30" fmla="*/ 0 w 187"/>
                <a:gd name="T31" fmla="*/ 0 h 239"/>
                <a:gd name="T32" fmla="*/ 0 w 187"/>
                <a:gd name="T33" fmla="*/ 0 h 239"/>
                <a:gd name="T34" fmla="*/ 0 w 187"/>
                <a:gd name="T35" fmla="*/ 0 h 239"/>
                <a:gd name="T36" fmla="*/ 0 w 187"/>
                <a:gd name="T37" fmla="*/ 0 h 239"/>
                <a:gd name="T38" fmla="*/ 0 w 187"/>
                <a:gd name="T39" fmla="*/ 0 h 239"/>
                <a:gd name="T40" fmla="*/ 0 w 187"/>
                <a:gd name="T41" fmla="*/ 0 h 239"/>
                <a:gd name="T42" fmla="*/ 0 w 187"/>
                <a:gd name="T43" fmla="*/ 0 h 239"/>
                <a:gd name="T44" fmla="*/ 0 w 187"/>
                <a:gd name="T45" fmla="*/ 0 h 239"/>
                <a:gd name="T46" fmla="*/ 0 w 187"/>
                <a:gd name="T47" fmla="*/ 0 h 239"/>
                <a:gd name="T48" fmla="*/ 0 w 187"/>
                <a:gd name="T49" fmla="*/ 0 h 239"/>
                <a:gd name="T50" fmla="*/ 0 w 187"/>
                <a:gd name="T51" fmla="*/ 0 h 239"/>
                <a:gd name="T52" fmla="*/ 0 w 187"/>
                <a:gd name="T53" fmla="*/ 0 h 239"/>
                <a:gd name="T54" fmla="*/ 0 w 187"/>
                <a:gd name="T55" fmla="*/ 0 h 239"/>
                <a:gd name="T56" fmla="*/ 0 w 187"/>
                <a:gd name="T57" fmla="*/ 0 h 239"/>
                <a:gd name="T58" fmla="*/ 0 w 187"/>
                <a:gd name="T59" fmla="*/ 0 h 239"/>
                <a:gd name="T60" fmla="*/ 0 w 187"/>
                <a:gd name="T61" fmla="*/ 0 h 239"/>
                <a:gd name="T62" fmla="*/ 0 w 187"/>
                <a:gd name="T63" fmla="*/ 0 h 239"/>
                <a:gd name="T64" fmla="*/ 0 w 187"/>
                <a:gd name="T65" fmla="*/ 0 h 239"/>
                <a:gd name="T66" fmla="*/ 0 w 187"/>
                <a:gd name="T67" fmla="*/ 0 h 239"/>
                <a:gd name="T68" fmla="*/ 0 w 187"/>
                <a:gd name="T69" fmla="*/ 0 h 239"/>
                <a:gd name="T70" fmla="*/ 0 w 187"/>
                <a:gd name="T71" fmla="*/ 0 h 239"/>
                <a:gd name="T72" fmla="*/ 0 w 187"/>
                <a:gd name="T73" fmla="*/ 0 h 239"/>
                <a:gd name="T74" fmla="*/ 0 w 187"/>
                <a:gd name="T75" fmla="*/ 0 h 239"/>
                <a:gd name="T76" fmla="*/ 0 w 187"/>
                <a:gd name="T77" fmla="*/ 0 h 239"/>
                <a:gd name="T78" fmla="*/ 0 w 187"/>
                <a:gd name="T79" fmla="*/ 0 h 239"/>
                <a:gd name="T80" fmla="*/ 0 w 187"/>
                <a:gd name="T81" fmla="*/ 0 h 239"/>
                <a:gd name="T82" fmla="*/ 0 w 187"/>
                <a:gd name="T83" fmla="*/ 0 h 239"/>
                <a:gd name="T84" fmla="*/ 0 w 187"/>
                <a:gd name="T85" fmla="*/ 0 h 239"/>
                <a:gd name="T86" fmla="*/ 0 w 187"/>
                <a:gd name="T87" fmla="*/ 0 h 239"/>
                <a:gd name="T88" fmla="*/ 0 w 187"/>
                <a:gd name="T89" fmla="*/ 0 h 239"/>
                <a:gd name="T90" fmla="*/ 0 w 187"/>
                <a:gd name="T91" fmla="*/ 0 h 239"/>
                <a:gd name="T92" fmla="*/ 0 w 187"/>
                <a:gd name="T93" fmla="*/ 0 h 239"/>
                <a:gd name="T94" fmla="*/ 0 w 187"/>
                <a:gd name="T95" fmla="*/ 0 h 239"/>
                <a:gd name="T96" fmla="*/ 0 w 187"/>
                <a:gd name="T97" fmla="*/ 0 h 239"/>
                <a:gd name="T98" fmla="*/ 0 w 187"/>
                <a:gd name="T99" fmla="*/ 0 h 239"/>
                <a:gd name="T100" fmla="*/ 0 w 187"/>
                <a:gd name="T101" fmla="*/ 0 h 239"/>
                <a:gd name="T102" fmla="*/ 0 w 187"/>
                <a:gd name="T103" fmla="*/ 0 h 239"/>
                <a:gd name="T104" fmla="*/ 0 w 187"/>
                <a:gd name="T105" fmla="*/ 0 h 239"/>
                <a:gd name="T106" fmla="*/ 0 w 187"/>
                <a:gd name="T107" fmla="*/ 0 h 239"/>
                <a:gd name="T108" fmla="*/ 0 w 187"/>
                <a:gd name="T109" fmla="*/ 0 h 239"/>
                <a:gd name="T110" fmla="*/ 0 w 187"/>
                <a:gd name="T111" fmla="*/ 0 h 239"/>
                <a:gd name="T112" fmla="*/ 0 w 187"/>
                <a:gd name="T113" fmla="*/ 0 h 239"/>
                <a:gd name="T114" fmla="*/ 0 w 187"/>
                <a:gd name="T115" fmla="*/ 0 h 239"/>
                <a:gd name="T116" fmla="*/ 0 w 187"/>
                <a:gd name="T117" fmla="*/ 0 h 23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87"/>
                <a:gd name="T178" fmla="*/ 0 h 239"/>
                <a:gd name="T179" fmla="*/ 187 w 187"/>
                <a:gd name="T180" fmla="*/ 239 h 23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87" h="239">
                  <a:moveTo>
                    <a:pt x="88" y="239"/>
                  </a:moveTo>
                  <a:lnTo>
                    <a:pt x="88" y="225"/>
                  </a:lnTo>
                  <a:lnTo>
                    <a:pt x="86" y="212"/>
                  </a:lnTo>
                  <a:lnTo>
                    <a:pt x="84" y="200"/>
                  </a:lnTo>
                  <a:lnTo>
                    <a:pt x="86" y="184"/>
                  </a:lnTo>
                  <a:lnTo>
                    <a:pt x="86" y="164"/>
                  </a:lnTo>
                  <a:lnTo>
                    <a:pt x="81" y="135"/>
                  </a:lnTo>
                  <a:lnTo>
                    <a:pt x="70" y="115"/>
                  </a:lnTo>
                  <a:lnTo>
                    <a:pt x="57" y="94"/>
                  </a:lnTo>
                  <a:lnTo>
                    <a:pt x="45" y="73"/>
                  </a:lnTo>
                  <a:lnTo>
                    <a:pt x="42" y="56"/>
                  </a:lnTo>
                  <a:lnTo>
                    <a:pt x="34" y="43"/>
                  </a:lnTo>
                  <a:lnTo>
                    <a:pt x="20" y="29"/>
                  </a:lnTo>
                  <a:lnTo>
                    <a:pt x="8" y="19"/>
                  </a:lnTo>
                  <a:lnTo>
                    <a:pt x="0" y="19"/>
                  </a:lnTo>
                  <a:lnTo>
                    <a:pt x="6" y="8"/>
                  </a:lnTo>
                  <a:lnTo>
                    <a:pt x="13" y="3"/>
                  </a:lnTo>
                  <a:lnTo>
                    <a:pt x="21" y="6"/>
                  </a:lnTo>
                  <a:lnTo>
                    <a:pt x="30" y="5"/>
                  </a:lnTo>
                  <a:lnTo>
                    <a:pt x="46" y="0"/>
                  </a:lnTo>
                  <a:lnTo>
                    <a:pt x="62" y="5"/>
                  </a:lnTo>
                  <a:lnTo>
                    <a:pt x="69" y="8"/>
                  </a:lnTo>
                  <a:lnTo>
                    <a:pt x="88" y="24"/>
                  </a:lnTo>
                  <a:lnTo>
                    <a:pt x="95" y="27"/>
                  </a:lnTo>
                  <a:lnTo>
                    <a:pt x="111" y="24"/>
                  </a:lnTo>
                  <a:lnTo>
                    <a:pt x="120" y="26"/>
                  </a:lnTo>
                  <a:lnTo>
                    <a:pt x="131" y="38"/>
                  </a:lnTo>
                  <a:lnTo>
                    <a:pt x="139" y="35"/>
                  </a:lnTo>
                  <a:lnTo>
                    <a:pt x="143" y="43"/>
                  </a:lnTo>
                  <a:lnTo>
                    <a:pt x="143" y="51"/>
                  </a:lnTo>
                  <a:lnTo>
                    <a:pt x="143" y="59"/>
                  </a:lnTo>
                  <a:lnTo>
                    <a:pt x="139" y="75"/>
                  </a:lnTo>
                  <a:lnTo>
                    <a:pt x="147" y="81"/>
                  </a:lnTo>
                  <a:lnTo>
                    <a:pt x="150" y="87"/>
                  </a:lnTo>
                  <a:lnTo>
                    <a:pt x="158" y="89"/>
                  </a:lnTo>
                  <a:lnTo>
                    <a:pt x="160" y="97"/>
                  </a:lnTo>
                  <a:lnTo>
                    <a:pt x="159" y="104"/>
                  </a:lnTo>
                  <a:lnTo>
                    <a:pt x="165" y="119"/>
                  </a:lnTo>
                  <a:lnTo>
                    <a:pt x="180" y="126"/>
                  </a:lnTo>
                  <a:lnTo>
                    <a:pt x="185" y="134"/>
                  </a:lnTo>
                  <a:lnTo>
                    <a:pt x="186" y="141"/>
                  </a:lnTo>
                  <a:lnTo>
                    <a:pt x="183" y="150"/>
                  </a:lnTo>
                  <a:lnTo>
                    <a:pt x="187" y="157"/>
                  </a:lnTo>
                  <a:lnTo>
                    <a:pt x="183" y="164"/>
                  </a:lnTo>
                  <a:lnTo>
                    <a:pt x="177" y="169"/>
                  </a:lnTo>
                  <a:lnTo>
                    <a:pt x="154" y="163"/>
                  </a:lnTo>
                  <a:lnTo>
                    <a:pt x="147" y="167"/>
                  </a:lnTo>
                  <a:lnTo>
                    <a:pt x="143" y="161"/>
                  </a:lnTo>
                  <a:lnTo>
                    <a:pt x="134" y="164"/>
                  </a:lnTo>
                  <a:lnTo>
                    <a:pt x="131" y="172"/>
                  </a:lnTo>
                  <a:lnTo>
                    <a:pt x="128" y="196"/>
                  </a:lnTo>
                  <a:lnTo>
                    <a:pt x="121" y="200"/>
                  </a:lnTo>
                  <a:lnTo>
                    <a:pt x="116" y="205"/>
                  </a:lnTo>
                  <a:lnTo>
                    <a:pt x="115" y="213"/>
                  </a:lnTo>
                  <a:lnTo>
                    <a:pt x="107" y="218"/>
                  </a:lnTo>
                  <a:lnTo>
                    <a:pt x="104" y="226"/>
                  </a:lnTo>
                  <a:lnTo>
                    <a:pt x="104" y="233"/>
                  </a:lnTo>
                  <a:lnTo>
                    <a:pt x="97" y="239"/>
                  </a:lnTo>
                  <a:lnTo>
                    <a:pt x="88" y="23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82" name="Freeform 193">
              <a:extLst>
                <a:ext uri="{FF2B5EF4-FFF2-40B4-BE49-F238E27FC236}">
                  <a16:creationId xmlns:a16="http://schemas.microsoft.com/office/drawing/2014/main" id="{CE78F8F7-7973-AF27-0897-CBD2FBCD15C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446219" y="2223858"/>
              <a:ext cx="285038" cy="257593"/>
            </a:xfrm>
            <a:custGeom>
              <a:avLst/>
              <a:gdLst>
                <a:gd name="T0" fmla="*/ 0 w 532"/>
                <a:gd name="T1" fmla="*/ 2147483647 h 452"/>
                <a:gd name="T2" fmla="*/ 0 w 532"/>
                <a:gd name="T3" fmla="*/ 2147483647 h 452"/>
                <a:gd name="T4" fmla="*/ 0 w 532"/>
                <a:gd name="T5" fmla="*/ 0 h 452"/>
                <a:gd name="T6" fmla="*/ 0 w 532"/>
                <a:gd name="T7" fmla="*/ 0 h 452"/>
                <a:gd name="T8" fmla="*/ 0 w 532"/>
                <a:gd name="T9" fmla="*/ 0 h 452"/>
                <a:gd name="T10" fmla="*/ 0 w 532"/>
                <a:gd name="T11" fmla="*/ 0 h 452"/>
                <a:gd name="T12" fmla="*/ 0 w 532"/>
                <a:gd name="T13" fmla="*/ 0 h 452"/>
                <a:gd name="T14" fmla="*/ 0 w 532"/>
                <a:gd name="T15" fmla="*/ 0 h 452"/>
                <a:gd name="T16" fmla="*/ 0 w 532"/>
                <a:gd name="T17" fmla="*/ 0 h 452"/>
                <a:gd name="T18" fmla="*/ 0 w 532"/>
                <a:gd name="T19" fmla="*/ 0 h 452"/>
                <a:gd name="T20" fmla="*/ 0 w 532"/>
                <a:gd name="T21" fmla="*/ 0 h 452"/>
                <a:gd name="T22" fmla="*/ 0 w 532"/>
                <a:gd name="T23" fmla="*/ 0 h 452"/>
                <a:gd name="T24" fmla="*/ 0 w 532"/>
                <a:gd name="T25" fmla="*/ 0 h 452"/>
                <a:gd name="T26" fmla="*/ 0 w 532"/>
                <a:gd name="T27" fmla="*/ 0 h 452"/>
                <a:gd name="T28" fmla="*/ 0 w 532"/>
                <a:gd name="T29" fmla="*/ 0 h 452"/>
                <a:gd name="T30" fmla="*/ 0 w 532"/>
                <a:gd name="T31" fmla="*/ 0 h 452"/>
                <a:gd name="T32" fmla="*/ 0 w 532"/>
                <a:gd name="T33" fmla="*/ 0 h 452"/>
                <a:gd name="T34" fmla="*/ 0 w 532"/>
                <a:gd name="T35" fmla="*/ 0 h 452"/>
                <a:gd name="T36" fmla="*/ 0 w 532"/>
                <a:gd name="T37" fmla="*/ 0 h 452"/>
                <a:gd name="T38" fmla="*/ 0 w 532"/>
                <a:gd name="T39" fmla="*/ 0 h 452"/>
                <a:gd name="T40" fmla="*/ 0 w 532"/>
                <a:gd name="T41" fmla="*/ 0 h 452"/>
                <a:gd name="T42" fmla="*/ 2147483647 w 532"/>
                <a:gd name="T43" fmla="*/ 0 h 452"/>
                <a:gd name="T44" fmla="*/ 2147483647 w 532"/>
                <a:gd name="T45" fmla="*/ 0 h 452"/>
                <a:gd name="T46" fmla="*/ 2147483647 w 532"/>
                <a:gd name="T47" fmla="*/ 0 h 452"/>
                <a:gd name="T48" fmla="*/ 2147483647 w 532"/>
                <a:gd name="T49" fmla="*/ 0 h 452"/>
                <a:gd name="T50" fmla="*/ 2147483647 w 532"/>
                <a:gd name="T51" fmla="*/ 0 h 452"/>
                <a:gd name="T52" fmla="*/ 2147483647 w 532"/>
                <a:gd name="T53" fmla="*/ 0 h 452"/>
                <a:gd name="T54" fmla="*/ 2147483647 w 532"/>
                <a:gd name="T55" fmla="*/ 0 h 452"/>
                <a:gd name="T56" fmla="*/ 2147483647 w 532"/>
                <a:gd name="T57" fmla="*/ 0 h 452"/>
                <a:gd name="T58" fmla="*/ 2147483647 w 532"/>
                <a:gd name="T59" fmla="*/ 0 h 452"/>
                <a:gd name="T60" fmla="*/ 2147483647 w 532"/>
                <a:gd name="T61" fmla="*/ 0 h 452"/>
                <a:gd name="T62" fmla="*/ 2147483647 w 532"/>
                <a:gd name="T63" fmla="*/ 0 h 452"/>
                <a:gd name="T64" fmla="*/ 2147483647 w 532"/>
                <a:gd name="T65" fmla="*/ 0 h 452"/>
                <a:gd name="T66" fmla="*/ 2147483647 w 532"/>
                <a:gd name="T67" fmla="*/ 0 h 452"/>
                <a:gd name="T68" fmla="*/ 2147483647 w 532"/>
                <a:gd name="T69" fmla="*/ 0 h 452"/>
                <a:gd name="T70" fmla="*/ 2147483647 w 532"/>
                <a:gd name="T71" fmla="*/ 0 h 452"/>
                <a:gd name="T72" fmla="*/ 2147483647 w 532"/>
                <a:gd name="T73" fmla="*/ 0 h 452"/>
                <a:gd name="T74" fmla="*/ 2147483647 w 532"/>
                <a:gd name="T75" fmla="*/ 0 h 452"/>
                <a:gd name="T76" fmla="*/ 2147483647 w 532"/>
                <a:gd name="T77" fmla="*/ 0 h 452"/>
                <a:gd name="T78" fmla="*/ 2147483647 w 532"/>
                <a:gd name="T79" fmla="*/ 2147483647 h 452"/>
                <a:gd name="T80" fmla="*/ 2147483647 w 532"/>
                <a:gd name="T81" fmla="*/ 2147483647 h 452"/>
                <a:gd name="T82" fmla="*/ 2147483647 w 532"/>
                <a:gd name="T83" fmla="*/ 2147483647 h 452"/>
                <a:gd name="T84" fmla="*/ 2147483647 w 532"/>
                <a:gd name="T85" fmla="*/ 2147483647 h 452"/>
                <a:gd name="T86" fmla="*/ 2147483647 w 532"/>
                <a:gd name="T87" fmla="*/ 2147483647 h 452"/>
                <a:gd name="T88" fmla="*/ 2147483647 w 532"/>
                <a:gd name="T89" fmla="*/ 2147483647 h 452"/>
                <a:gd name="T90" fmla="*/ 2147483647 w 532"/>
                <a:gd name="T91" fmla="*/ 2147483647 h 452"/>
                <a:gd name="T92" fmla="*/ 2147483647 w 532"/>
                <a:gd name="T93" fmla="*/ 2147483647 h 452"/>
                <a:gd name="T94" fmla="*/ 2147483647 w 532"/>
                <a:gd name="T95" fmla="*/ 2147483647 h 452"/>
                <a:gd name="T96" fmla="*/ 0 w 532"/>
                <a:gd name="T97" fmla="*/ 2147483647 h 452"/>
                <a:gd name="T98" fmla="*/ 0 w 532"/>
                <a:gd name="T99" fmla="*/ 2147483647 h 452"/>
                <a:gd name="T100" fmla="*/ 0 w 532"/>
                <a:gd name="T101" fmla="*/ 2147483647 h 452"/>
                <a:gd name="T102" fmla="*/ 0 w 532"/>
                <a:gd name="T103" fmla="*/ 2147483647 h 452"/>
                <a:gd name="T104" fmla="*/ 0 w 532"/>
                <a:gd name="T105" fmla="*/ 2147483647 h 452"/>
                <a:gd name="T106" fmla="*/ 0 w 532"/>
                <a:gd name="T107" fmla="*/ 2147483647 h 452"/>
                <a:gd name="T108" fmla="*/ 0 w 532"/>
                <a:gd name="T109" fmla="*/ 2147483647 h 452"/>
                <a:gd name="T110" fmla="*/ 0 w 532"/>
                <a:gd name="T111" fmla="*/ 2147483647 h 452"/>
                <a:gd name="T112" fmla="*/ 0 w 532"/>
                <a:gd name="T113" fmla="*/ 2147483647 h 452"/>
                <a:gd name="T114" fmla="*/ 0 w 532"/>
                <a:gd name="T115" fmla="*/ 2147483647 h 452"/>
                <a:gd name="T116" fmla="*/ 0 w 532"/>
                <a:gd name="T117" fmla="*/ 2147483647 h 45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32"/>
                <a:gd name="T178" fmla="*/ 0 h 452"/>
                <a:gd name="T179" fmla="*/ 532 w 532"/>
                <a:gd name="T180" fmla="*/ 452 h 45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532" h="452">
                  <a:moveTo>
                    <a:pt x="17" y="428"/>
                  </a:moveTo>
                  <a:lnTo>
                    <a:pt x="21" y="387"/>
                  </a:lnTo>
                  <a:lnTo>
                    <a:pt x="6" y="374"/>
                  </a:lnTo>
                  <a:lnTo>
                    <a:pt x="0" y="363"/>
                  </a:lnTo>
                  <a:lnTo>
                    <a:pt x="11" y="351"/>
                  </a:lnTo>
                  <a:lnTo>
                    <a:pt x="26" y="342"/>
                  </a:lnTo>
                  <a:lnTo>
                    <a:pt x="37" y="325"/>
                  </a:lnTo>
                  <a:lnTo>
                    <a:pt x="38" y="308"/>
                  </a:lnTo>
                  <a:lnTo>
                    <a:pt x="38" y="292"/>
                  </a:lnTo>
                  <a:lnTo>
                    <a:pt x="20" y="220"/>
                  </a:lnTo>
                  <a:lnTo>
                    <a:pt x="19" y="210"/>
                  </a:lnTo>
                  <a:lnTo>
                    <a:pt x="33" y="214"/>
                  </a:lnTo>
                  <a:lnTo>
                    <a:pt x="49" y="210"/>
                  </a:lnTo>
                  <a:lnTo>
                    <a:pt x="65" y="213"/>
                  </a:lnTo>
                  <a:lnTo>
                    <a:pt x="73" y="210"/>
                  </a:lnTo>
                  <a:lnTo>
                    <a:pt x="79" y="204"/>
                  </a:lnTo>
                  <a:lnTo>
                    <a:pt x="86" y="208"/>
                  </a:lnTo>
                  <a:lnTo>
                    <a:pt x="94" y="207"/>
                  </a:lnTo>
                  <a:lnTo>
                    <a:pt x="91" y="193"/>
                  </a:lnTo>
                  <a:lnTo>
                    <a:pt x="97" y="190"/>
                  </a:lnTo>
                  <a:lnTo>
                    <a:pt x="106" y="190"/>
                  </a:lnTo>
                  <a:lnTo>
                    <a:pt x="111" y="183"/>
                  </a:lnTo>
                  <a:lnTo>
                    <a:pt x="118" y="179"/>
                  </a:lnTo>
                  <a:lnTo>
                    <a:pt x="125" y="182"/>
                  </a:lnTo>
                  <a:lnTo>
                    <a:pt x="130" y="188"/>
                  </a:lnTo>
                  <a:lnTo>
                    <a:pt x="138" y="192"/>
                  </a:lnTo>
                  <a:lnTo>
                    <a:pt x="145" y="190"/>
                  </a:lnTo>
                  <a:lnTo>
                    <a:pt x="144" y="181"/>
                  </a:lnTo>
                  <a:lnTo>
                    <a:pt x="139" y="175"/>
                  </a:lnTo>
                  <a:lnTo>
                    <a:pt x="135" y="167"/>
                  </a:lnTo>
                  <a:lnTo>
                    <a:pt x="137" y="160"/>
                  </a:lnTo>
                  <a:lnTo>
                    <a:pt x="145" y="147"/>
                  </a:lnTo>
                  <a:lnTo>
                    <a:pt x="145" y="138"/>
                  </a:lnTo>
                  <a:lnTo>
                    <a:pt x="148" y="129"/>
                  </a:lnTo>
                  <a:lnTo>
                    <a:pt x="148" y="122"/>
                  </a:lnTo>
                  <a:lnTo>
                    <a:pt x="149" y="113"/>
                  </a:lnTo>
                  <a:lnTo>
                    <a:pt x="156" y="110"/>
                  </a:lnTo>
                  <a:lnTo>
                    <a:pt x="165" y="107"/>
                  </a:lnTo>
                  <a:lnTo>
                    <a:pt x="170" y="102"/>
                  </a:lnTo>
                  <a:lnTo>
                    <a:pt x="177" y="99"/>
                  </a:lnTo>
                  <a:lnTo>
                    <a:pt x="191" y="99"/>
                  </a:lnTo>
                  <a:lnTo>
                    <a:pt x="199" y="80"/>
                  </a:lnTo>
                  <a:lnTo>
                    <a:pt x="192" y="77"/>
                  </a:lnTo>
                  <a:lnTo>
                    <a:pt x="183" y="77"/>
                  </a:lnTo>
                  <a:lnTo>
                    <a:pt x="183" y="69"/>
                  </a:lnTo>
                  <a:lnTo>
                    <a:pt x="183" y="61"/>
                  </a:lnTo>
                  <a:lnTo>
                    <a:pt x="191" y="57"/>
                  </a:lnTo>
                  <a:lnTo>
                    <a:pt x="197" y="51"/>
                  </a:lnTo>
                  <a:lnTo>
                    <a:pt x="195" y="50"/>
                  </a:lnTo>
                  <a:lnTo>
                    <a:pt x="195" y="48"/>
                  </a:lnTo>
                  <a:lnTo>
                    <a:pt x="204" y="50"/>
                  </a:lnTo>
                  <a:lnTo>
                    <a:pt x="210" y="46"/>
                  </a:lnTo>
                  <a:lnTo>
                    <a:pt x="213" y="37"/>
                  </a:lnTo>
                  <a:lnTo>
                    <a:pt x="219" y="32"/>
                  </a:lnTo>
                  <a:lnTo>
                    <a:pt x="235" y="39"/>
                  </a:lnTo>
                  <a:lnTo>
                    <a:pt x="242" y="37"/>
                  </a:lnTo>
                  <a:lnTo>
                    <a:pt x="253" y="25"/>
                  </a:lnTo>
                  <a:lnTo>
                    <a:pt x="254" y="16"/>
                  </a:lnTo>
                  <a:lnTo>
                    <a:pt x="267" y="5"/>
                  </a:lnTo>
                  <a:lnTo>
                    <a:pt x="273" y="0"/>
                  </a:lnTo>
                  <a:lnTo>
                    <a:pt x="284" y="0"/>
                  </a:lnTo>
                  <a:lnTo>
                    <a:pt x="286" y="8"/>
                  </a:lnTo>
                  <a:lnTo>
                    <a:pt x="302" y="5"/>
                  </a:lnTo>
                  <a:lnTo>
                    <a:pt x="310" y="8"/>
                  </a:lnTo>
                  <a:lnTo>
                    <a:pt x="313" y="15"/>
                  </a:lnTo>
                  <a:lnTo>
                    <a:pt x="329" y="13"/>
                  </a:lnTo>
                  <a:lnTo>
                    <a:pt x="338" y="14"/>
                  </a:lnTo>
                  <a:lnTo>
                    <a:pt x="350" y="24"/>
                  </a:lnTo>
                  <a:lnTo>
                    <a:pt x="348" y="43"/>
                  </a:lnTo>
                  <a:lnTo>
                    <a:pt x="363" y="35"/>
                  </a:lnTo>
                  <a:lnTo>
                    <a:pt x="370" y="34"/>
                  </a:lnTo>
                  <a:lnTo>
                    <a:pt x="376" y="29"/>
                  </a:lnTo>
                  <a:lnTo>
                    <a:pt x="392" y="27"/>
                  </a:lnTo>
                  <a:lnTo>
                    <a:pt x="399" y="29"/>
                  </a:lnTo>
                  <a:lnTo>
                    <a:pt x="407" y="34"/>
                  </a:lnTo>
                  <a:lnTo>
                    <a:pt x="413" y="39"/>
                  </a:lnTo>
                  <a:lnTo>
                    <a:pt x="422" y="52"/>
                  </a:lnTo>
                  <a:lnTo>
                    <a:pt x="430" y="53"/>
                  </a:lnTo>
                  <a:lnTo>
                    <a:pt x="431" y="64"/>
                  </a:lnTo>
                  <a:lnTo>
                    <a:pt x="429" y="73"/>
                  </a:lnTo>
                  <a:lnTo>
                    <a:pt x="429" y="80"/>
                  </a:lnTo>
                  <a:lnTo>
                    <a:pt x="434" y="88"/>
                  </a:lnTo>
                  <a:lnTo>
                    <a:pt x="436" y="95"/>
                  </a:lnTo>
                  <a:lnTo>
                    <a:pt x="435" y="102"/>
                  </a:lnTo>
                  <a:lnTo>
                    <a:pt x="433" y="110"/>
                  </a:lnTo>
                  <a:lnTo>
                    <a:pt x="426" y="116"/>
                  </a:lnTo>
                  <a:lnTo>
                    <a:pt x="424" y="123"/>
                  </a:lnTo>
                  <a:lnTo>
                    <a:pt x="426" y="131"/>
                  </a:lnTo>
                  <a:lnTo>
                    <a:pt x="437" y="143"/>
                  </a:lnTo>
                  <a:lnTo>
                    <a:pt x="442" y="158"/>
                  </a:lnTo>
                  <a:lnTo>
                    <a:pt x="453" y="180"/>
                  </a:lnTo>
                  <a:lnTo>
                    <a:pt x="458" y="186"/>
                  </a:lnTo>
                  <a:lnTo>
                    <a:pt x="473" y="195"/>
                  </a:lnTo>
                  <a:lnTo>
                    <a:pt x="478" y="201"/>
                  </a:lnTo>
                  <a:lnTo>
                    <a:pt x="479" y="209"/>
                  </a:lnTo>
                  <a:lnTo>
                    <a:pt x="478" y="217"/>
                  </a:lnTo>
                  <a:lnTo>
                    <a:pt x="482" y="224"/>
                  </a:lnTo>
                  <a:lnTo>
                    <a:pt x="505" y="222"/>
                  </a:lnTo>
                  <a:lnTo>
                    <a:pt x="511" y="226"/>
                  </a:lnTo>
                  <a:lnTo>
                    <a:pt x="519" y="229"/>
                  </a:lnTo>
                  <a:lnTo>
                    <a:pt x="516" y="236"/>
                  </a:lnTo>
                  <a:lnTo>
                    <a:pt x="521" y="242"/>
                  </a:lnTo>
                  <a:lnTo>
                    <a:pt x="531" y="244"/>
                  </a:lnTo>
                  <a:lnTo>
                    <a:pt x="532" y="257"/>
                  </a:lnTo>
                  <a:lnTo>
                    <a:pt x="525" y="263"/>
                  </a:lnTo>
                  <a:lnTo>
                    <a:pt x="521" y="269"/>
                  </a:lnTo>
                  <a:lnTo>
                    <a:pt x="509" y="279"/>
                  </a:lnTo>
                  <a:lnTo>
                    <a:pt x="501" y="284"/>
                  </a:lnTo>
                  <a:lnTo>
                    <a:pt x="484" y="282"/>
                  </a:lnTo>
                  <a:lnTo>
                    <a:pt x="472" y="272"/>
                  </a:lnTo>
                  <a:lnTo>
                    <a:pt x="465" y="271"/>
                  </a:lnTo>
                  <a:lnTo>
                    <a:pt x="457" y="274"/>
                  </a:lnTo>
                  <a:lnTo>
                    <a:pt x="456" y="282"/>
                  </a:lnTo>
                  <a:lnTo>
                    <a:pt x="449" y="285"/>
                  </a:lnTo>
                  <a:lnTo>
                    <a:pt x="450" y="294"/>
                  </a:lnTo>
                  <a:lnTo>
                    <a:pt x="461" y="304"/>
                  </a:lnTo>
                  <a:lnTo>
                    <a:pt x="463" y="311"/>
                  </a:lnTo>
                  <a:lnTo>
                    <a:pt x="461" y="320"/>
                  </a:lnTo>
                  <a:lnTo>
                    <a:pt x="466" y="325"/>
                  </a:lnTo>
                  <a:lnTo>
                    <a:pt x="465" y="333"/>
                  </a:lnTo>
                  <a:lnTo>
                    <a:pt x="472" y="337"/>
                  </a:lnTo>
                  <a:lnTo>
                    <a:pt x="474" y="344"/>
                  </a:lnTo>
                  <a:lnTo>
                    <a:pt x="473" y="353"/>
                  </a:lnTo>
                  <a:lnTo>
                    <a:pt x="478" y="375"/>
                  </a:lnTo>
                  <a:lnTo>
                    <a:pt x="458" y="375"/>
                  </a:lnTo>
                  <a:lnTo>
                    <a:pt x="451" y="380"/>
                  </a:lnTo>
                  <a:lnTo>
                    <a:pt x="442" y="380"/>
                  </a:lnTo>
                  <a:lnTo>
                    <a:pt x="435" y="384"/>
                  </a:lnTo>
                  <a:lnTo>
                    <a:pt x="417" y="401"/>
                  </a:lnTo>
                  <a:lnTo>
                    <a:pt x="414" y="409"/>
                  </a:lnTo>
                  <a:lnTo>
                    <a:pt x="414" y="418"/>
                  </a:lnTo>
                  <a:lnTo>
                    <a:pt x="412" y="427"/>
                  </a:lnTo>
                  <a:lnTo>
                    <a:pt x="414" y="443"/>
                  </a:lnTo>
                  <a:lnTo>
                    <a:pt x="410" y="450"/>
                  </a:lnTo>
                  <a:lnTo>
                    <a:pt x="402" y="452"/>
                  </a:lnTo>
                  <a:lnTo>
                    <a:pt x="397" y="446"/>
                  </a:lnTo>
                  <a:lnTo>
                    <a:pt x="390" y="443"/>
                  </a:lnTo>
                  <a:lnTo>
                    <a:pt x="381" y="443"/>
                  </a:lnTo>
                  <a:lnTo>
                    <a:pt x="365" y="445"/>
                  </a:lnTo>
                  <a:lnTo>
                    <a:pt x="356" y="445"/>
                  </a:lnTo>
                  <a:lnTo>
                    <a:pt x="349" y="450"/>
                  </a:lnTo>
                  <a:lnTo>
                    <a:pt x="343" y="444"/>
                  </a:lnTo>
                  <a:lnTo>
                    <a:pt x="339" y="436"/>
                  </a:lnTo>
                  <a:lnTo>
                    <a:pt x="327" y="427"/>
                  </a:lnTo>
                  <a:lnTo>
                    <a:pt x="310" y="445"/>
                  </a:lnTo>
                  <a:lnTo>
                    <a:pt x="302" y="440"/>
                  </a:lnTo>
                  <a:lnTo>
                    <a:pt x="297" y="433"/>
                  </a:lnTo>
                  <a:lnTo>
                    <a:pt x="290" y="435"/>
                  </a:lnTo>
                  <a:lnTo>
                    <a:pt x="281" y="433"/>
                  </a:lnTo>
                  <a:lnTo>
                    <a:pt x="275" y="428"/>
                  </a:lnTo>
                  <a:lnTo>
                    <a:pt x="269" y="434"/>
                  </a:lnTo>
                  <a:lnTo>
                    <a:pt x="261" y="434"/>
                  </a:lnTo>
                  <a:lnTo>
                    <a:pt x="253" y="436"/>
                  </a:lnTo>
                  <a:lnTo>
                    <a:pt x="247" y="443"/>
                  </a:lnTo>
                  <a:lnTo>
                    <a:pt x="240" y="436"/>
                  </a:lnTo>
                  <a:lnTo>
                    <a:pt x="238" y="428"/>
                  </a:lnTo>
                  <a:lnTo>
                    <a:pt x="223" y="429"/>
                  </a:lnTo>
                  <a:lnTo>
                    <a:pt x="216" y="424"/>
                  </a:lnTo>
                  <a:lnTo>
                    <a:pt x="215" y="416"/>
                  </a:lnTo>
                  <a:lnTo>
                    <a:pt x="208" y="412"/>
                  </a:lnTo>
                  <a:lnTo>
                    <a:pt x="199" y="409"/>
                  </a:lnTo>
                  <a:lnTo>
                    <a:pt x="193" y="406"/>
                  </a:lnTo>
                  <a:lnTo>
                    <a:pt x="184" y="407"/>
                  </a:lnTo>
                  <a:lnTo>
                    <a:pt x="176" y="406"/>
                  </a:lnTo>
                  <a:lnTo>
                    <a:pt x="160" y="401"/>
                  </a:lnTo>
                  <a:lnTo>
                    <a:pt x="146" y="392"/>
                  </a:lnTo>
                  <a:lnTo>
                    <a:pt x="138" y="395"/>
                  </a:lnTo>
                  <a:lnTo>
                    <a:pt x="121" y="394"/>
                  </a:lnTo>
                  <a:lnTo>
                    <a:pt x="113" y="391"/>
                  </a:lnTo>
                  <a:lnTo>
                    <a:pt x="71" y="397"/>
                  </a:lnTo>
                  <a:lnTo>
                    <a:pt x="64" y="401"/>
                  </a:lnTo>
                  <a:lnTo>
                    <a:pt x="62" y="408"/>
                  </a:lnTo>
                  <a:lnTo>
                    <a:pt x="55" y="414"/>
                  </a:lnTo>
                  <a:lnTo>
                    <a:pt x="41" y="422"/>
                  </a:lnTo>
                  <a:lnTo>
                    <a:pt x="32" y="421"/>
                  </a:lnTo>
                  <a:lnTo>
                    <a:pt x="24" y="422"/>
                  </a:lnTo>
                  <a:lnTo>
                    <a:pt x="17" y="42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83" name="Freeform 195">
              <a:extLst>
                <a:ext uri="{FF2B5EF4-FFF2-40B4-BE49-F238E27FC236}">
                  <a16:creationId xmlns:a16="http://schemas.microsoft.com/office/drawing/2014/main" id="{03A02134-EB20-51DA-C0D4-215673CC393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230517" y="2759471"/>
              <a:ext cx="113679" cy="121911"/>
            </a:xfrm>
            <a:custGeom>
              <a:avLst/>
              <a:gdLst>
                <a:gd name="T0" fmla="*/ 0 w 215"/>
                <a:gd name="T1" fmla="*/ 0 h 216"/>
                <a:gd name="T2" fmla="*/ 0 w 215"/>
                <a:gd name="T3" fmla="*/ 0 h 216"/>
                <a:gd name="T4" fmla="*/ 0 w 215"/>
                <a:gd name="T5" fmla="*/ 0 h 216"/>
                <a:gd name="T6" fmla="*/ 0 w 215"/>
                <a:gd name="T7" fmla="*/ 0 h 216"/>
                <a:gd name="T8" fmla="*/ 0 w 215"/>
                <a:gd name="T9" fmla="*/ 0 h 216"/>
                <a:gd name="T10" fmla="*/ 0 w 215"/>
                <a:gd name="T11" fmla="*/ 0 h 216"/>
                <a:gd name="T12" fmla="*/ 0 w 215"/>
                <a:gd name="T13" fmla="*/ 0 h 216"/>
                <a:gd name="T14" fmla="*/ 0 w 215"/>
                <a:gd name="T15" fmla="*/ 0 h 216"/>
                <a:gd name="T16" fmla="*/ 0 w 215"/>
                <a:gd name="T17" fmla="*/ 0 h 216"/>
                <a:gd name="T18" fmla="*/ 0 w 215"/>
                <a:gd name="T19" fmla="*/ 0 h 216"/>
                <a:gd name="T20" fmla="*/ 0 w 215"/>
                <a:gd name="T21" fmla="*/ 0 h 216"/>
                <a:gd name="T22" fmla="*/ 0 w 215"/>
                <a:gd name="T23" fmla="*/ 0 h 216"/>
                <a:gd name="T24" fmla="*/ 0 w 215"/>
                <a:gd name="T25" fmla="*/ 0 h 216"/>
                <a:gd name="T26" fmla="*/ 0 w 215"/>
                <a:gd name="T27" fmla="*/ 0 h 216"/>
                <a:gd name="T28" fmla="*/ 0 w 215"/>
                <a:gd name="T29" fmla="*/ 0 h 216"/>
                <a:gd name="T30" fmla="*/ 0 w 215"/>
                <a:gd name="T31" fmla="*/ 0 h 216"/>
                <a:gd name="T32" fmla="*/ 0 w 215"/>
                <a:gd name="T33" fmla="*/ 0 h 216"/>
                <a:gd name="T34" fmla="*/ 0 w 215"/>
                <a:gd name="T35" fmla="*/ 0 h 216"/>
                <a:gd name="T36" fmla="*/ 0 w 215"/>
                <a:gd name="T37" fmla="*/ 0 h 216"/>
                <a:gd name="T38" fmla="*/ 0 w 215"/>
                <a:gd name="T39" fmla="*/ 0 h 216"/>
                <a:gd name="T40" fmla="*/ 0 w 215"/>
                <a:gd name="T41" fmla="*/ 0 h 216"/>
                <a:gd name="T42" fmla="*/ 0 w 215"/>
                <a:gd name="T43" fmla="*/ 0 h 216"/>
                <a:gd name="T44" fmla="*/ 0 w 215"/>
                <a:gd name="T45" fmla="*/ 0 h 216"/>
                <a:gd name="T46" fmla="*/ 0 w 215"/>
                <a:gd name="T47" fmla="*/ 0 h 216"/>
                <a:gd name="T48" fmla="*/ 0 w 215"/>
                <a:gd name="T49" fmla="*/ 0 h 216"/>
                <a:gd name="T50" fmla="*/ 0 w 215"/>
                <a:gd name="T51" fmla="*/ 0 h 216"/>
                <a:gd name="T52" fmla="*/ 0 w 215"/>
                <a:gd name="T53" fmla="*/ 0 h 216"/>
                <a:gd name="T54" fmla="*/ 0 w 215"/>
                <a:gd name="T55" fmla="*/ 0 h 216"/>
                <a:gd name="T56" fmla="*/ 0 w 215"/>
                <a:gd name="T57" fmla="*/ 0 h 216"/>
                <a:gd name="T58" fmla="*/ 0 w 215"/>
                <a:gd name="T59" fmla="*/ 0 h 216"/>
                <a:gd name="T60" fmla="*/ 0 w 215"/>
                <a:gd name="T61" fmla="*/ 0 h 216"/>
                <a:gd name="T62" fmla="*/ 0 w 215"/>
                <a:gd name="T63" fmla="*/ 0 h 216"/>
                <a:gd name="T64" fmla="*/ 0 w 215"/>
                <a:gd name="T65" fmla="*/ 0 h 216"/>
                <a:gd name="T66" fmla="*/ 0 w 215"/>
                <a:gd name="T67" fmla="*/ 0 h 216"/>
                <a:gd name="T68" fmla="*/ 0 w 215"/>
                <a:gd name="T69" fmla="*/ 0 h 216"/>
                <a:gd name="T70" fmla="*/ 0 w 215"/>
                <a:gd name="T71" fmla="*/ 0 h 216"/>
                <a:gd name="T72" fmla="*/ 0 w 215"/>
                <a:gd name="T73" fmla="*/ 0 h 216"/>
                <a:gd name="T74" fmla="*/ 0 w 215"/>
                <a:gd name="T75" fmla="*/ 0 h 216"/>
                <a:gd name="T76" fmla="*/ 0 w 215"/>
                <a:gd name="T77" fmla="*/ 0 h 216"/>
                <a:gd name="T78" fmla="*/ 0 w 215"/>
                <a:gd name="T79" fmla="*/ 0 h 216"/>
                <a:gd name="T80" fmla="*/ 0 w 215"/>
                <a:gd name="T81" fmla="*/ 0 h 216"/>
                <a:gd name="T82" fmla="*/ 0 w 215"/>
                <a:gd name="T83" fmla="*/ 0 h 216"/>
                <a:gd name="T84" fmla="*/ 0 w 215"/>
                <a:gd name="T85" fmla="*/ 0 h 216"/>
                <a:gd name="T86" fmla="*/ 0 w 215"/>
                <a:gd name="T87" fmla="*/ 0 h 216"/>
                <a:gd name="T88" fmla="*/ 0 w 215"/>
                <a:gd name="T89" fmla="*/ 0 h 216"/>
                <a:gd name="T90" fmla="*/ 0 w 215"/>
                <a:gd name="T91" fmla="*/ 0 h 21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15"/>
                <a:gd name="T139" fmla="*/ 0 h 216"/>
                <a:gd name="T140" fmla="*/ 215 w 215"/>
                <a:gd name="T141" fmla="*/ 216 h 21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15" h="216">
                  <a:moveTo>
                    <a:pt x="149" y="216"/>
                  </a:moveTo>
                  <a:lnTo>
                    <a:pt x="149" y="208"/>
                  </a:lnTo>
                  <a:lnTo>
                    <a:pt x="145" y="208"/>
                  </a:lnTo>
                  <a:lnTo>
                    <a:pt x="146" y="203"/>
                  </a:lnTo>
                  <a:lnTo>
                    <a:pt x="137" y="202"/>
                  </a:lnTo>
                  <a:lnTo>
                    <a:pt x="129" y="192"/>
                  </a:lnTo>
                  <a:lnTo>
                    <a:pt x="122" y="191"/>
                  </a:lnTo>
                  <a:lnTo>
                    <a:pt x="114" y="185"/>
                  </a:lnTo>
                  <a:lnTo>
                    <a:pt x="114" y="180"/>
                  </a:lnTo>
                  <a:lnTo>
                    <a:pt x="106" y="179"/>
                  </a:lnTo>
                  <a:lnTo>
                    <a:pt x="99" y="184"/>
                  </a:lnTo>
                  <a:lnTo>
                    <a:pt x="98" y="179"/>
                  </a:lnTo>
                  <a:lnTo>
                    <a:pt x="105" y="175"/>
                  </a:lnTo>
                  <a:lnTo>
                    <a:pt x="83" y="151"/>
                  </a:lnTo>
                  <a:lnTo>
                    <a:pt x="82" y="140"/>
                  </a:lnTo>
                  <a:lnTo>
                    <a:pt x="77" y="136"/>
                  </a:lnTo>
                  <a:lnTo>
                    <a:pt x="72" y="133"/>
                  </a:lnTo>
                  <a:lnTo>
                    <a:pt x="52" y="114"/>
                  </a:lnTo>
                  <a:lnTo>
                    <a:pt x="51" y="109"/>
                  </a:lnTo>
                  <a:lnTo>
                    <a:pt x="41" y="95"/>
                  </a:lnTo>
                  <a:lnTo>
                    <a:pt x="35" y="93"/>
                  </a:lnTo>
                  <a:lnTo>
                    <a:pt x="27" y="81"/>
                  </a:lnTo>
                  <a:lnTo>
                    <a:pt x="22" y="79"/>
                  </a:lnTo>
                  <a:lnTo>
                    <a:pt x="23" y="73"/>
                  </a:lnTo>
                  <a:lnTo>
                    <a:pt x="25" y="71"/>
                  </a:lnTo>
                  <a:lnTo>
                    <a:pt x="22" y="65"/>
                  </a:lnTo>
                  <a:lnTo>
                    <a:pt x="22" y="60"/>
                  </a:lnTo>
                  <a:lnTo>
                    <a:pt x="16" y="54"/>
                  </a:lnTo>
                  <a:lnTo>
                    <a:pt x="12" y="41"/>
                  </a:lnTo>
                  <a:lnTo>
                    <a:pt x="7" y="40"/>
                  </a:lnTo>
                  <a:lnTo>
                    <a:pt x="0" y="34"/>
                  </a:lnTo>
                  <a:lnTo>
                    <a:pt x="0" y="31"/>
                  </a:lnTo>
                  <a:lnTo>
                    <a:pt x="3" y="29"/>
                  </a:lnTo>
                  <a:lnTo>
                    <a:pt x="2" y="25"/>
                  </a:lnTo>
                  <a:lnTo>
                    <a:pt x="2" y="6"/>
                  </a:lnTo>
                  <a:lnTo>
                    <a:pt x="8" y="0"/>
                  </a:lnTo>
                  <a:lnTo>
                    <a:pt x="17" y="2"/>
                  </a:lnTo>
                  <a:lnTo>
                    <a:pt x="17" y="4"/>
                  </a:lnTo>
                  <a:lnTo>
                    <a:pt x="30" y="19"/>
                  </a:lnTo>
                  <a:lnTo>
                    <a:pt x="34" y="19"/>
                  </a:lnTo>
                  <a:lnTo>
                    <a:pt x="43" y="2"/>
                  </a:lnTo>
                  <a:lnTo>
                    <a:pt x="61" y="4"/>
                  </a:lnTo>
                  <a:lnTo>
                    <a:pt x="65" y="0"/>
                  </a:lnTo>
                  <a:lnTo>
                    <a:pt x="67" y="0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6" y="6"/>
                  </a:lnTo>
                  <a:lnTo>
                    <a:pt x="89" y="9"/>
                  </a:lnTo>
                  <a:lnTo>
                    <a:pt x="104" y="12"/>
                  </a:lnTo>
                  <a:lnTo>
                    <a:pt x="105" y="9"/>
                  </a:lnTo>
                  <a:lnTo>
                    <a:pt x="108" y="9"/>
                  </a:lnTo>
                  <a:lnTo>
                    <a:pt x="116" y="17"/>
                  </a:lnTo>
                  <a:lnTo>
                    <a:pt x="119" y="17"/>
                  </a:lnTo>
                  <a:lnTo>
                    <a:pt x="125" y="9"/>
                  </a:lnTo>
                  <a:lnTo>
                    <a:pt x="129" y="9"/>
                  </a:lnTo>
                  <a:lnTo>
                    <a:pt x="132" y="14"/>
                  </a:lnTo>
                  <a:lnTo>
                    <a:pt x="135" y="16"/>
                  </a:lnTo>
                  <a:lnTo>
                    <a:pt x="137" y="11"/>
                  </a:lnTo>
                  <a:lnTo>
                    <a:pt x="148" y="12"/>
                  </a:lnTo>
                  <a:lnTo>
                    <a:pt x="152" y="18"/>
                  </a:lnTo>
                  <a:lnTo>
                    <a:pt x="154" y="17"/>
                  </a:lnTo>
                  <a:lnTo>
                    <a:pt x="154" y="14"/>
                  </a:lnTo>
                  <a:lnTo>
                    <a:pt x="162" y="14"/>
                  </a:lnTo>
                  <a:lnTo>
                    <a:pt x="168" y="22"/>
                  </a:lnTo>
                  <a:lnTo>
                    <a:pt x="167" y="27"/>
                  </a:lnTo>
                  <a:lnTo>
                    <a:pt x="167" y="28"/>
                  </a:lnTo>
                  <a:lnTo>
                    <a:pt x="173" y="33"/>
                  </a:lnTo>
                  <a:lnTo>
                    <a:pt x="180" y="33"/>
                  </a:lnTo>
                  <a:lnTo>
                    <a:pt x="186" y="28"/>
                  </a:lnTo>
                  <a:lnTo>
                    <a:pt x="199" y="28"/>
                  </a:lnTo>
                  <a:lnTo>
                    <a:pt x="201" y="31"/>
                  </a:lnTo>
                  <a:lnTo>
                    <a:pt x="200" y="35"/>
                  </a:lnTo>
                  <a:lnTo>
                    <a:pt x="200" y="39"/>
                  </a:lnTo>
                  <a:lnTo>
                    <a:pt x="195" y="46"/>
                  </a:lnTo>
                  <a:lnTo>
                    <a:pt x="190" y="57"/>
                  </a:lnTo>
                  <a:lnTo>
                    <a:pt x="188" y="59"/>
                  </a:lnTo>
                  <a:lnTo>
                    <a:pt x="188" y="61"/>
                  </a:lnTo>
                  <a:lnTo>
                    <a:pt x="189" y="63"/>
                  </a:lnTo>
                  <a:lnTo>
                    <a:pt x="185" y="68"/>
                  </a:lnTo>
                  <a:lnTo>
                    <a:pt x="188" y="76"/>
                  </a:lnTo>
                  <a:lnTo>
                    <a:pt x="191" y="76"/>
                  </a:lnTo>
                  <a:lnTo>
                    <a:pt x="194" y="78"/>
                  </a:lnTo>
                  <a:lnTo>
                    <a:pt x="197" y="77"/>
                  </a:lnTo>
                  <a:lnTo>
                    <a:pt x="199" y="79"/>
                  </a:lnTo>
                  <a:lnTo>
                    <a:pt x="200" y="83"/>
                  </a:lnTo>
                  <a:lnTo>
                    <a:pt x="203" y="87"/>
                  </a:lnTo>
                  <a:lnTo>
                    <a:pt x="207" y="87"/>
                  </a:lnTo>
                  <a:lnTo>
                    <a:pt x="207" y="88"/>
                  </a:lnTo>
                  <a:lnTo>
                    <a:pt x="207" y="90"/>
                  </a:lnTo>
                  <a:lnTo>
                    <a:pt x="212" y="93"/>
                  </a:lnTo>
                  <a:lnTo>
                    <a:pt x="215" y="94"/>
                  </a:lnTo>
                  <a:lnTo>
                    <a:pt x="215" y="97"/>
                  </a:lnTo>
                  <a:lnTo>
                    <a:pt x="211" y="102"/>
                  </a:lnTo>
                  <a:lnTo>
                    <a:pt x="202" y="102"/>
                  </a:lnTo>
                  <a:lnTo>
                    <a:pt x="197" y="98"/>
                  </a:lnTo>
                  <a:lnTo>
                    <a:pt x="195" y="98"/>
                  </a:lnTo>
                  <a:lnTo>
                    <a:pt x="194" y="100"/>
                  </a:lnTo>
                  <a:lnTo>
                    <a:pt x="195" y="102"/>
                  </a:lnTo>
                  <a:lnTo>
                    <a:pt x="201" y="109"/>
                  </a:lnTo>
                  <a:lnTo>
                    <a:pt x="207" y="117"/>
                  </a:lnTo>
                  <a:lnTo>
                    <a:pt x="210" y="119"/>
                  </a:lnTo>
                  <a:lnTo>
                    <a:pt x="208" y="126"/>
                  </a:lnTo>
                  <a:lnTo>
                    <a:pt x="207" y="129"/>
                  </a:lnTo>
                  <a:lnTo>
                    <a:pt x="205" y="130"/>
                  </a:lnTo>
                  <a:lnTo>
                    <a:pt x="202" y="129"/>
                  </a:lnTo>
                  <a:lnTo>
                    <a:pt x="200" y="129"/>
                  </a:lnTo>
                  <a:lnTo>
                    <a:pt x="197" y="132"/>
                  </a:lnTo>
                  <a:lnTo>
                    <a:pt x="192" y="135"/>
                  </a:lnTo>
                  <a:lnTo>
                    <a:pt x="189" y="135"/>
                  </a:lnTo>
                  <a:lnTo>
                    <a:pt x="186" y="136"/>
                  </a:lnTo>
                  <a:lnTo>
                    <a:pt x="184" y="136"/>
                  </a:lnTo>
                  <a:lnTo>
                    <a:pt x="183" y="133"/>
                  </a:lnTo>
                  <a:lnTo>
                    <a:pt x="180" y="133"/>
                  </a:lnTo>
                  <a:lnTo>
                    <a:pt x="176" y="137"/>
                  </a:lnTo>
                  <a:lnTo>
                    <a:pt x="178" y="140"/>
                  </a:lnTo>
                  <a:lnTo>
                    <a:pt x="181" y="141"/>
                  </a:lnTo>
                  <a:lnTo>
                    <a:pt x="183" y="146"/>
                  </a:lnTo>
                  <a:lnTo>
                    <a:pt x="184" y="149"/>
                  </a:lnTo>
                  <a:lnTo>
                    <a:pt x="184" y="154"/>
                  </a:lnTo>
                  <a:lnTo>
                    <a:pt x="183" y="157"/>
                  </a:lnTo>
                  <a:lnTo>
                    <a:pt x="180" y="157"/>
                  </a:lnTo>
                  <a:lnTo>
                    <a:pt x="179" y="154"/>
                  </a:lnTo>
                  <a:lnTo>
                    <a:pt x="178" y="149"/>
                  </a:lnTo>
                  <a:lnTo>
                    <a:pt x="175" y="148"/>
                  </a:lnTo>
                  <a:lnTo>
                    <a:pt x="172" y="148"/>
                  </a:lnTo>
                  <a:lnTo>
                    <a:pt x="163" y="156"/>
                  </a:lnTo>
                  <a:lnTo>
                    <a:pt x="162" y="160"/>
                  </a:lnTo>
                  <a:lnTo>
                    <a:pt x="160" y="163"/>
                  </a:lnTo>
                  <a:lnTo>
                    <a:pt x="160" y="170"/>
                  </a:lnTo>
                  <a:lnTo>
                    <a:pt x="158" y="173"/>
                  </a:lnTo>
                  <a:lnTo>
                    <a:pt x="153" y="173"/>
                  </a:lnTo>
                  <a:lnTo>
                    <a:pt x="151" y="175"/>
                  </a:lnTo>
                  <a:lnTo>
                    <a:pt x="151" y="184"/>
                  </a:lnTo>
                  <a:lnTo>
                    <a:pt x="149" y="185"/>
                  </a:lnTo>
                  <a:lnTo>
                    <a:pt x="149" y="189"/>
                  </a:lnTo>
                  <a:lnTo>
                    <a:pt x="152" y="194"/>
                  </a:lnTo>
                  <a:lnTo>
                    <a:pt x="154" y="196"/>
                  </a:lnTo>
                  <a:lnTo>
                    <a:pt x="154" y="201"/>
                  </a:lnTo>
                  <a:lnTo>
                    <a:pt x="149" y="208"/>
                  </a:lnTo>
                  <a:lnTo>
                    <a:pt x="149" y="21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84" name="Freeform 196">
              <a:extLst>
                <a:ext uri="{FF2B5EF4-FFF2-40B4-BE49-F238E27FC236}">
                  <a16:creationId xmlns:a16="http://schemas.microsoft.com/office/drawing/2014/main" id="{359C8204-6B16-24FA-9C5C-7995545BBDD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270172" y="2858702"/>
              <a:ext cx="39655" cy="22681"/>
            </a:xfrm>
            <a:custGeom>
              <a:avLst/>
              <a:gdLst>
                <a:gd name="T0" fmla="*/ 0 w 75"/>
                <a:gd name="T1" fmla="*/ 0 h 42"/>
                <a:gd name="T2" fmla="*/ 0 w 75"/>
                <a:gd name="T3" fmla="*/ 0 h 42"/>
                <a:gd name="T4" fmla="*/ 0 w 75"/>
                <a:gd name="T5" fmla="*/ 0 h 42"/>
                <a:gd name="T6" fmla="*/ 0 w 75"/>
                <a:gd name="T7" fmla="*/ 0 h 42"/>
                <a:gd name="T8" fmla="*/ 0 w 75"/>
                <a:gd name="T9" fmla="*/ 0 h 42"/>
                <a:gd name="T10" fmla="*/ 0 w 75"/>
                <a:gd name="T11" fmla="*/ 0 h 42"/>
                <a:gd name="T12" fmla="*/ 0 w 75"/>
                <a:gd name="T13" fmla="*/ 0 h 42"/>
                <a:gd name="T14" fmla="*/ 0 w 75"/>
                <a:gd name="T15" fmla="*/ 0 h 42"/>
                <a:gd name="T16" fmla="*/ 0 w 75"/>
                <a:gd name="T17" fmla="*/ 0 h 42"/>
                <a:gd name="T18" fmla="*/ 0 w 75"/>
                <a:gd name="T19" fmla="*/ 0 h 42"/>
                <a:gd name="T20" fmla="*/ 0 w 75"/>
                <a:gd name="T21" fmla="*/ 0 h 42"/>
                <a:gd name="T22" fmla="*/ 0 w 75"/>
                <a:gd name="T23" fmla="*/ 0 h 42"/>
                <a:gd name="T24" fmla="*/ 0 w 75"/>
                <a:gd name="T25" fmla="*/ 0 h 42"/>
                <a:gd name="T26" fmla="*/ 0 w 75"/>
                <a:gd name="T27" fmla="*/ 0 h 42"/>
                <a:gd name="T28" fmla="*/ 0 w 75"/>
                <a:gd name="T29" fmla="*/ 0 h 42"/>
                <a:gd name="T30" fmla="*/ 0 w 75"/>
                <a:gd name="T31" fmla="*/ 0 h 42"/>
                <a:gd name="T32" fmla="*/ 0 w 75"/>
                <a:gd name="T33" fmla="*/ 0 h 42"/>
                <a:gd name="T34" fmla="*/ 0 w 75"/>
                <a:gd name="T35" fmla="*/ 0 h 42"/>
                <a:gd name="T36" fmla="*/ 0 w 75"/>
                <a:gd name="T37" fmla="*/ 0 h 4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75"/>
                <a:gd name="T58" fmla="*/ 0 h 42"/>
                <a:gd name="T59" fmla="*/ 75 w 75"/>
                <a:gd name="T60" fmla="*/ 42 h 4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75" h="42">
                  <a:moveTo>
                    <a:pt x="75" y="42"/>
                  </a:moveTo>
                  <a:lnTo>
                    <a:pt x="45" y="20"/>
                  </a:lnTo>
                  <a:lnTo>
                    <a:pt x="29" y="17"/>
                  </a:lnTo>
                  <a:lnTo>
                    <a:pt x="13" y="7"/>
                  </a:lnTo>
                  <a:lnTo>
                    <a:pt x="0" y="5"/>
                  </a:lnTo>
                  <a:lnTo>
                    <a:pt x="4" y="0"/>
                  </a:lnTo>
                  <a:lnTo>
                    <a:pt x="15" y="2"/>
                  </a:lnTo>
                  <a:lnTo>
                    <a:pt x="20" y="10"/>
                  </a:lnTo>
                  <a:lnTo>
                    <a:pt x="25" y="10"/>
                  </a:lnTo>
                  <a:lnTo>
                    <a:pt x="32" y="5"/>
                  </a:lnTo>
                  <a:lnTo>
                    <a:pt x="40" y="6"/>
                  </a:lnTo>
                  <a:lnTo>
                    <a:pt x="40" y="11"/>
                  </a:lnTo>
                  <a:lnTo>
                    <a:pt x="48" y="17"/>
                  </a:lnTo>
                  <a:lnTo>
                    <a:pt x="55" y="18"/>
                  </a:lnTo>
                  <a:lnTo>
                    <a:pt x="63" y="28"/>
                  </a:lnTo>
                  <a:lnTo>
                    <a:pt x="72" y="29"/>
                  </a:lnTo>
                  <a:lnTo>
                    <a:pt x="71" y="34"/>
                  </a:lnTo>
                  <a:lnTo>
                    <a:pt x="75" y="34"/>
                  </a:lnTo>
                  <a:lnTo>
                    <a:pt x="75" y="4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85" name="Freeform 197">
              <a:extLst>
                <a:ext uri="{FF2B5EF4-FFF2-40B4-BE49-F238E27FC236}">
                  <a16:creationId xmlns:a16="http://schemas.microsoft.com/office/drawing/2014/main" id="{FCEAB7B7-F508-E9B6-6176-FE0ED90E60B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9510" y="3056080"/>
              <a:ext cx="67156" cy="73163"/>
            </a:xfrm>
            <a:custGeom>
              <a:avLst/>
              <a:gdLst>
                <a:gd name="T0" fmla="*/ 0 w 128"/>
                <a:gd name="T1" fmla="*/ 0 h 131"/>
                <a:gd name="T2" fmla="*/ 0 w 128"/>
                <a:gd name="T3" fmla="*/ 0 h 131"/>
                <a:gd name="T4" fmla="*/ 0 w 128"/>
                <a:gd name="T5" fmla="*/ 0 h 131"/>
                <a:gd name="T6" fmla="*/ 0 w 128"/>
                <a:gd name="T7" fmla="*/ 0 h 131"/>
                <a:gd name="T8" fmla="*/ 0 w 128"/>
                <a:gd name="T9" fmla="*/ 0 h 131"/>
                <a:gd name="T10" fmla="*/ 0 w 128"/>
                <a:gd name="T11" fmla="*/ 0 h 131"/>
                <a:gd name="T12" fmla="*/ 0 w 128"/>
                <a:gd name="T13" fmla="*/ 0 h 131"/>
                <a:gd name="T14" fmla="*/ 0 w 128"/>
                <a:gd name="T15" fmla="*/ 0 h 131"/>
                <a:gd name="T16" fmla="*/ 0 w 128"/>
                <a:gd name="T17" fmla="*/ 0 h 131"/>
                <a:gd name="T18" fmla="*/ 0 w 128"/>
                <a:gd name="T19" fmla="*/ 0 h 131"/>
                <a:gd name="T20" fmla="*/ 0 w 128"/>
                <a:gd name="T21" fmla="*/ 0 h 131"/>
                <a:gd name="T22" fmla="*/ 0 w 128"/>
                <a:gd name="T23" fmla="*/ 0 h 131"/>
                <a:gd name="T24" fmla="*/ 0 w 128"/>
                <a:gd name="T25" fmla="*/ 0 h 131"/>
                <a:gd name="T26" fmla="*/ 0 w 128"/>
                <a:gd name="T27" fmla="*/ 0 h 131"/>
                <a:gd name="T28" fmla="*/ 0 w 128"/>
                <a:gd name="T29" fmla="*/ 0 h 131"/>
                <a:gd name="T30" fmla="*/ 0 w 128"/>
                <a:gd name="T31" fmla="*/ 0 h 131"/>
                <a:gd name="T32" fmla="*/ 0 w 128"/>
                <a:gd name="T33" fmla="*/ 0 h 131"/>
                <a:gd name="T34" fmla="*/ 0 w 128"/>
                <a:gd name="T35" fmla="*/ 0 h 131"/>
                <a:gd name="T36" fmla="*/ 0 w 128"/>
                <a:gd name="T37" fmla="*/ 0 h 131"/>
                <a:gd name="T38" fmla="*/ 0 w 128"/>
                <a:gd name="T39" fmla="*/ 0 h 131"/>
                <a:gd name="T40" fmla="*/ 0 w 128"/>
                <a:gd name="T41" fmla="*/ 0 h 131"/>
                <a:gd name="T42" fmla="*/ 0 w 128"/>
                <a:gd name="T43" fmla="*/ 0 h 131"/>
                <a:gd name="T44" fmla="*/ 0 w 128"/>
                <a:gd name="T45" fmla="*/ 0 h 131"/>
                <a:gd name="T46" fmla="*/ 0 w 128"/>
                <a:gd name="T47" fmla="*/ 0 h 131"/>
                <a:gd name="T48" fmla="*/ 0 w 128"/>
                <a:gd name="T49" fmla="*/ 0 h 131"/>
                <a:gd name="T50" fmla="*/ 0 w 128"/>
                <a:gd name="T51" fmla="*/ 0 h 131"/>
                <a:gd name="T52" fmla="*/ 0 w 128"/>
                <a:gd name="T53" fmla="*/ 0 h 131"/>
                <a:gd name="T54" fmla="*/ 0 w 128"/>
                <a:gd name="T55" fmla="*/ 0 h 131"/>
                <a:gd name="T56" fmla="*/ 0 w 128"/>
                <a:gd name="T57" fmla="*/ 0 h 131"/>
                <a:gd name="T58" fmla="*/ 0 w 128"/>
                <a:gd name="T59" fmla="*/ 0 h 131"/>
                <a:gd name="T60" fmla="*/ 0 w 128"/>
                <a:gd name="T61" fmla="*/ 0 h 131"/>
                <a:gd name="T62" fmla="*/ 0 w 128"/>
                <a:gd name="T63" fmla="*/ 0 h 131"/>
                <a:gd name="T64" fmla="*/ 0 w 128"/>
                <a:gd name="T65" fmla="*/ 0 h 131"/>
                <a:gd name="T66" fmla="*/ 0 w 128"/>
                <a:gd name="T67" fmla="*/ 0 h 131"/>
                <a:gd name="T68" fmla="*/ 0 w 128"/>
                <a:gd name="T69" fmla="*/ 0 h 131"/>
                <a:gd name="T70" fmla="*/ 0 w 128"/>
                <a:gd name="T71" fmla="*/ 0 h 131"/>
                <a:gd name="T72" fmla="*/ 0 w 128"/>
                <a:gd name="T73" fmla="*/ 0 h 131"/>
                <a:gd name="T74" fmla="*/ 0 w 128"/>
                <a:gd name="T75" fmla="*/ 0 h 131"/>
                <a:gd name="T76" fmla="*/ 0 w 128"/>
                <a:gd name="T77" fmla="*/ 0 h 131"/>
                <a:gd name="T78" fmla="*/ 0 w 128"/>
                <a:gd name="T79" fmla="*/ 0 h 131"/>
                <a:gd name="T80" fmla="*/ 0 w 128"/>
                <a:gd name="T81" fmla="*/ 0 h 131"/>
                <a:gd name="T82" fmla="*/ 0 w 128"/>
                <a:gd name="T83" fmla="*/ 0 h 131"/>
                <a:gd name="T84" fmla="*/ 0 w 128"/>
                <a:gd name="T85" fmla="*/ 0 h 13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28"/>
                <a:gd name="T130" fmla="*/ 0 h 131"/>
                <a:gd name="T131" fmla="*/ 128 w 128"/>
                <a:gd name="T132" fmla="*/ 131 h 13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28" h="131">
                  <a:moveTo>
                    <a:pt x="49" y="0"/>
                  </a:moveTo>
                  <a:lnTo>
                    <a:pt x="35" y="2"/>
                  </a:lnTo>
                  <a:lnTo>
                    <a:pt x="21" y="12"/>
                  </a:lnTo>
                  <a:lnTo>
                    <a:pt x="13" y="8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6" y="50"/>
                  </a:lnTo>
                  <a:lnTo>
                    <a:pt x="21" y="58"/>
                  </a:lnTo>
                  <a:lnTo>
                    <a:pt x="28" y="70"/>
                  </a:lnTo>
                  <a:lnTo>
                    <a:pt x="23" y="86"/>
                  </a:lnTo>
                  <a:lnTo>
                    <a:pt x="26" y="99"/>
                  </a:lnTo>
                  <a:lnTo>
                    <a:pt x="32" y="106"/>
                  </a:lnTo>
                  <a:lnTo>
                    <a:pt x="39" y="108"/>
                  </a:lnTo>
                  <a:lnTo>
                    <a:pt x="42" y="98"/>
                  </a:lnTo>
                  <a:lnTo>
                    <a:pt x="49" y="90"/>
                  </a:lnTo>
                  <a:lnTo>
                    <a:pt x="53" y="96"/>
                  </a:lnTo>
                  <a:lnTo>
                    <a:pt x="60" y="103"/>
                  </a:lnTo>
                  <a:lnTo>
                    <a:pt x="65" y="119"/>
                  </a:lnTo>
                  <a:lnTo>
                    <a:pt x="66" y="130"/>
                  </a:lnTo>
                  <a:lnTo>
                    <a:pt x="71" y="131"/>
                  </a:lnTo>
                  <a:lnTo>
                    <a:pt x="76" y="110"/>
                  </a:lnTo>
                  <a:lnTo>
                    <a:pt x="85" y="107"/>
                  </a:lnTo>
                  <a:lnTo>
                    <a:pt x="91" y="117"/>
                  </a:lnTo>
                  <a:lnTo>
                    <a:pt x="98" y="124"/>
                  </a:lnTo>
                  <a:lnTo>
                    <a:pt x="107" y="129"/>
                  </a:lnTo>
                  <a:lnTo>
                    <a:pt x="105" y="107"/>
                  </a:lnTo>
                  <a:lnTo>
                    <a:pt x="98" y="77"/>
                  </a:lnTo>
                  <a:lnTo>
                    <a:pt x="91" y="66"/>
                  </a:lnTo>
                  <a:lnTo>
                    <a:pt x="88" y="54"/>
                  </a:lnTo>
                  <a:lnTo>
                    <a:pt x="105" y="66"/>
                  </a:lnTo>
                  <a:lnTo>
                    <a:pt x="108" y="71"/>
                  </a:lnTo>
                  <a:lnTo>
                    <a:pt x="113" y="71"/>
                  </a:lnTo>
                  <a:lnTo>
                    <a:pt x="119" y="65"/>
                  </a:lnTo>
                  <a:lnTo>
                    <a:pt x="128" y="64"/>
                  </a:lnTo>
                  <a:lnTo>
                    <a:pt x="126" y="56"/>
                  </a:lnTo>
                  <a:lnTo>
                    <a:pt x="114" y="48"/>
                  </a:lnTo>
                  <a:lnTo>
                    <a:pt x="107" y="33"/>
                  </a:lnTo>
                  <a:lnTo>
                    <a:pt x="107" y="26"/>
                  </a:lnTo>
                  <a:lnTo>
                    <a:pt x="98" y="21"/>
                  </a:lnTo>
                  <a:lnTo>
                    <a:pt x="74" y="12"/>
                  </a:lnTo>
                  <a:lnTo>
                    <a:pt x="61" y="8"/>
                  </a:lnTo>
                  <a:lnTo>
                    <a:pt x="55" y="8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86" name="Freeform 198">
              <a:extLst>
                <a:ext uri="{FF2B5EF4-FFF2-40B4-BE49-F238E27FC236}">
                  <a16:creationId xmlns:a16="http://schemas.microsoft.com/office/drawing/2014/main" id="{95B284F3-E283-79A6-41B3-4637B044642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59663" y="2912804"/>
              <a:ext cx="188035" cy="167664"/>
            </a:xfrm>
            <a:custGeom>
              <a:avLst/>
              <a:gdLst>
                <a:gd name="T0" fmla="*/ 0 w 352"/>
                <a:gd name="T1" fmla="*/ 0 h 293"/>
                <a:gd name="T2" fmla="*/ 0 w 352"/>
                <a:gd name="T3" fmla="*/ 0 h 293"/>
                <a:gd name="T4" fmla="*/ 0 w 352"/>
                <a:gd name="T5" fmla="*/ 0 h 293"/>
                <a:gd name="T6" fmla="*/ 0 w 352"/>
                <a:gd name="T7" fmla="*/ 0 h 293"/>
                <a:gd name="T8" fmla="*/ 0 w 352"/>
                <a:gd name="T9" fmla="*/ 0 h 293"/>
                <a:gd name="T10" fmla="*/ 0 w 352"/>
                <a:gd name="T11" fmla="*/ 0 h 293"/>
                <a:gd name="T12" fmla="*/ 0 w 352"/>
                <a:gd name="T13" fmla="*/ 0 h 293"/>
                <a:gd name="T14" fmla="*/ 0 w 352"/>
                <a:gd name="T15" fmla="*/ 0 h 293"/>
                <a:gd name="T16" fmla="*/ 0 w 352"/>
                <a:gd name="T17" fmla="*/ 0 h 293"/>
                <a:gd name="T18" fmla="*/ 0 w 352"/>
                <a:gd name="T19" fmla="*/ 0 h 293"/>
                <a:gd name="T20" fmla="*/ 0 w 352"/>
                <a:gd name="T21" fmla="*/ 0 h 293"/>
                <a:gd name="T22" fmla="*/ 0 w 352"/>
                <a:gd name="T23" fmla="*/ 0 h 293"/>
                <a:gd name="T24" fmla="*/ 0 w 352"/>
                <a:gd name="T25" fmla="*/ 0 h 293"/>
                <a:gd name="T26" fmla="*/ 0 w 352"/>
                <a:gd name="T27" fmla="*/ 0 h 293"/>
                <a:gd name="T28" fmla="*/ 0 w 352"/>
                <a:gd name="T29" fmla="*/ 0 h 293"/>
                <a:gd name="T30" fmla="*/ 0 w 352"/>
                <a:gd name="T31" fmla="*/ 0 h 293"/>
                <a:gd name="T32" fmla="*/ 0 w 352"/>
                <a:gd name="T33" fmla="*/ 0 h 293"/>
                <a:gd name="T34" fmla="*/ 0 w 352"/>
                <a:gd name="T35" fmla="*/ 0 h 293"/>
                <a:gd name="T36" fmla="*/ 0 w 352"/>
                <a:gd name="T37" fmla="*/ 0 h 293"/>
                <a:gd name="T38" fmla="*/ 0 w 352"/>
                <a:gd name="T39" fmla="*/ 0 h 293"/>
                <a:gd name="T40" fmla="*/ 0 w 352"/>
                <a:gd name="T41" fmla="*/ 0 h 293"/>
                <a:gd name="T42" fmla="*/ 0 w 352"/>
                <a:gd name="T43" fmla="*/ 0 h 293"/>
                <a:gd name="T44" fmla="*/ 0 w 352"/>
                <a:gd name="T45" fmla="*/ 0 h 293"/>
                <a:gd name="T46" fmla="*/ 0 w 352"/>
                <a:gd name="T47" fmla="*/ 0 h 293"/>
                <a:gd name="T48" fmla="*/ 0 w 352"/>
                <a:gd name="T49" fmla="*/ 0 h 293"/>
                <a:gd name="T50" fmla="*/ 0 w 352"/>
                <a:gd name="T51" fmla="*/ 0 h 293"/>
                <a:gd name="T52" fmla="*/ 0 w 352"/>
                <a:gd name="T53" fmla="*/ 0 h 293"/>
                <a:gd name="T54" fmla="*/ 0 w 352"/>
                <a:gd name="T55" fmla="*/ 0 h 293"/>
                <a:gd name="T56" fmla="*/ 0 w 352"/>
                <a:gd name="T57" fmla="*/ 0 h 293"/>
                <a:gd name="T58" fmla="*/ 0 w 352"/>
                <a:gd name="T59" fmla="*/ 0 h 293"/>
                <a:gd name="T60" fmla="*/ 0 w 352"/>
                <a:gd name="T61" fmla="*/ 0 h 293"/>
                <a:gd name="T62" fmla="*/ 0 w 352"/>
                <a:gd name="T63" fmla="*/ 0 h 293"/>
                <a:gd name="T64" fmla="*/ 0 w 352"/>
                <a:gd name="T65" fmla="*/ 0 h 293"/>
                <a:gd name="T66" fmla="*/ 0 w 352"/>
                <a:gd name="T67" fmla="*/ 0 h 293"/>
                <a:gd name="T68" fmla="*/ 0 w 352"/>
                <a:gd name="T69" fmla="*/ 0 h 293"/>
                <a:gd name="T70" fmla="*/ 0 w 352"/>
                <a:gd name="T71" fmla="*/ 0 h 293"/>
                <a:gd name="T72" fmla="*/ 0 w 352"/>
                <a:gd name="T73" fmla="*/ 0 h 293"/>
                <a:gd name="T74" fmla="*/ 0 w 352"/>
                <a:gd name="T75" fmla="*/ 0 h 293"/>
                <a:gd name="T76" fmla="*/ 0 w 352"/>
                <a:gd name="T77" fmla="*/ 0 h 293"/>
                <a:gd name="T78" fmla="*/ 0 w 352"/>
                <a:gd name="T79" fmla="*/ 0 h 293"/>
                <a:gd name="T80" fmla="*/ 0 w 352"/>
                <a:gd name="T81" fmla="*/ 0 h 293"/>
                <a:gd name="T82" fmla="*/ 0 w 352"/>
                <a:gd name="T83" fmla="*/ 0 h 293"/>
                <a:gd name="T84" fmla="*/ 0 w 352"/>
                <a:gd name="T85" fmla="*/ 0 h 293"/>
                <a:gd name="T86" fmla="*/ 0 w 352"/>
                <a:gd name="T87" fmla="*/ 0 h 293"/>
                <a:gd name="T88" fmla="*/ 0 w 352"/>
                <a:gd name="T89" fmla="*/ 0 h 293"/>
                <a:gd name="T90" fmla="*/ 0 w 352"/>
                <a:gd name="T91" fmla="*/ 0 h 293"/>
                <a:gd name="T92" fmla="*/ 0 w 352"/>
                <a:gd name="T93" fmla="*/ 0 h 293"/>
                <a:gd name="T94" fmla="*/ 0 w 352"/>
                <a:gd name="T95" fmla="*/ 0 h 293"/>
                <a:gd name="T96" fmla="*/ 0 w 352"/>
                <a:gd name="T97" fmla="*/ 0 h 293"/>
                <a:gd name="T98" fmla="*/ 0 w 352"/>
                <a:gd name="T99" fmla="*/ 0 h 293"/>
                <a:gd name="T100" fmla="*/ 0 w 352"/>
                <a:gd name="T101" fmla="*/ 0 h 293"/>
                <a:gd name="T102" fmla="*/ 0 w 352"/>
                <a:gd name="T103" fmla="*/ 0 h 293"/>
                <a:gd name="T104" fmla="*/ 0 w 352"/>
                <a:gd name="T105" fmla="*/ 0 h 293"/>
                <a:gd name="T106" fmla="*/ 0 w 352"/>
                <a:gd name="T107" fmla="*/ 0 h 293"/>
                <a:gd name="T108" fmla="*/ 0 w 352"/>
                <a:gd name="T109" fmla="*/ 0 h 293"/>
                <a:gd name="T110" fmla="*/ 0 w 352"/>
                <a:gd name="T111" fmla="*/ 0 h 293"/>
                <a:gd name="T112" fmla="*/ 0 w 352"/>
                <a:gd name="T113" fmla="*/ 0 h 293"/>
                <a:gd name="T114" fmla="*/ 0 w 352"/>
                <a:gd name="T115" fmla="*/ 0 h 293"/>
                <a:gd name="T116" fmla="*/ 2147483647 w 352"/>
                <a:gd name="T117" fmla="*/ 0 h 293"/>
                <a:gd name="T118" fmla="*/ 2147483647 w 352"/>
                <a:gd name="T119" fmla="*/ 0 h 293"/>
                <a:gd name="T120" fmla="*/ 2147483647 w 352"/>
                <a:gd name="T121" fmla="*/ 0 h 293"/>
                <a:gd name="T122" fmla="*/ 2147483647 w 352"/>
                <a:gd name="T123" fmla="*/ 0 h 293"/>
                <a:gd name="T124" fmla="*/ 2147483647 w 352"/>
                <a:gd name="T125" fmla="*/ 0 h 29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52"/>
                <a:gd name="T190" fmla="*/ 0 h 293"/>
                <a:gd name="T191" fmla="*/ 352 w 352"/>
                <a:gd name="T192" fmla="*/ 293 h 29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52" h="293">
                  <a:moveTo>
                    <a:pt x="324" y="78"/>
                  </a:moveTo>
                  <a:lnTo>
                    <a:pt x="314" y="70"/>
                  </a:lnTo>
                  <a:lnTo>
                    <a:pt x="268" y="57"/>
                  </a:lnTo>
                  <a:lnTo>
                    <a:pt x="258" y="65"/>
                  </a:lnTo>
                  <a:lnTo>
                    <a:pt x="253" y="66"/>
                  </a:lnTo>
                  <a:lnTo>
                    <a:pt x="245" y="66"/>
                  </a:lnTo>
                  <a:lnTo>
                    <a:pt x="234" y="62"/>
                  </a:lnTo>
                  <a:lnTo>
                    <a:pt x="223" y="73"/>
                  </a:lnTo>
                  <a:lnTo>
                    <a:pt x="207" y="76"/>
                  </a:lnTo>
                  <a:lnTo>
                    <a:pt x="193" y="86"/>
                  </a:lnTo>
                  <a:lnTo>
                    <a:pt x="201" y="94"/>
                  </a:lnTo>
                  <a:lnTo>
                    <a:pt x="216" y="100"/>
                  </a:lnTo>
                  <a:lnTo>
                    <a:pt x="225" y="110"/>
                  </a:lnTo>
                  <a:lnTo>
                    <a:pt x="227" y="116"/>
                  </a:lnTo>
                  <a:lnTo>
                    <a:pt x="217" y="106"/>
                  </a:lnTo>
                  <a:lnTo>
                    <a:pt x="201" y="103"/>
                  </a:lnTo>
                  <a:lnTo>
                    <a:pt x="196" y="113"/>
                  </a:lnTo>
                  <a:lnTo>
                    <a:pt x="207" y="120"/>
                  </a:lnTo>
                  <a:lnTo>
                    <a:pt x="209" y="133"/>
                  </a:lnTo>
                  <a:lnTo>
                    <a:pt x="201" y="125"/>
                  </a:lnTo>
                  <a:lnTo>
                    <a:pt x="195" y="115"/>
                  </a:lnTo>
                  <a:lnTo>
                    <a:pt x="185" y="111"/>
                  </a:lnTo>
                  <a:lnTo>
                    <a:pt x="182" y="113"/>
                  </a:lnTo>
                  <a:lnTo>
                    <a:pt x="184" y="124"/>
                  </a:lnTo>
                  <a:lnTo>
                    <a:pt x="193" y="131"/>
                  </a:lnTo>
                  <a:lnTo>
                    <a:pt x="188" y="135"/>
                  </a:lnTo>
                  <a:lnTo>
                    <a:pt x="177" y="125"/>
                  </a:lnTo>
                  <a:lnTo>
                    <a:pt x="172" y="111"/>
                  </a:lnTo>
                  <a:lnTo>
                    <a:pt x="148" y="97"/>
                  </a:lnTo>
                  <a:lnTo>
                    <a:pt x="148" y="93"/>
                  </a:lnTo>
                  <a:lnTo>
                    <a:pt x="151" y="86"/>
                  </a:lnTo>
                  <a:lnTo>
                    <a:pt x="137" y="90"/>
                  </a:lnTo>
                  <a:lnTo>
                    <a:pt x="135" y="105"/>
                  </a:lnTo>
                  <a:lnTo>
                    <a:pt x="135" y="120"/>
                  </a:lnTo>
                  <a:lnTo>
                    <a:pt x="136" y="132"/>
                  </a:lnTo>
                  <a:lnTo>
                    <a:pt x="144" y="140"/>
                  </a:lnTo>
                  <a:lnTo>
                    <a:pt x="147" y="154"/>
                  </a:lnTo>
                  <a:lnTo>
                    <a:pt x="164" y="172"/>
                  </a:lnTo>
                  <a:lnTo>
                    <a:pt x="169" y="181"/>
                  </a:lnTo>
                  <a:lnTo>
                    <a:pt x="172" y="190"/>
                  </a:lnTo>
                  <a:lnTo>
                    <a:pt x="167" y="192"/>
                  </a:lnTo>
                  <a:lnTo>
                    <a:pt x="163" y="191"/>
                  </a:lnTo>
                  <a:lnTo>
                    <a:pt x="164" y="185"/>
                  </a:lnTo>
                  <a:lnTo>
                    <a:pt x="161" y="179"/>
                  </a:lnTo>
                  <a:lnTo>
                    <a:pt x="151" y="178"/>
                  </a:lnTo>
                  <a:lnTo>
                    <a:pt x="150" y="186"/>
                  </a:lnTo>
                  <a:lnTo>
                    <a:pt x="155" y="200"/>
                  </a:lnTo>
                  <a:lnTo>
                    <a:pt x="151" y="203"/>
                  </a:lnTo>
                  <a:lnTo>
                    <a:pt x="147" y="203"/>
                  </a:lnTo>
                  <a:lnTo>
                    <a:pt x="141" y="203"/>
                  </a:lnTo>
                  <a:lnTo>
                    <a:pt x="131" y="206"/>
                  </a:lnTo>
                  <a:lnTo>
                    <a:pt x="135" y="212"/>
                  </a:lnTo>
                  <a:lnTo>
                    <a:pt x="147" y="217"/>
                  </a:lnTo>
                  <a:lnTo>
                    <a:pt x="156" y="219"/>
                  </a:lnTo>
                  <a:lnTo>
                    <a:pt x="163" y="224"/>
                  </a:lnTo>
                  <a:lnTo>
                    <a:pt x="172" y="224"/>
                  </a:lnTo>
                  <a:lnTo>
                    <a:pt x="177" y="237"/>
                  </a:lnTo>
                  <a:lnTo>
                    <a:pt x="184" y="237"/>
                  </a:lnTo>
                  <a:lnTo>
                    <a:pt x="190" y="244"/>
                  </a:lnTo>
                  <a:lnTo>
                    <a:pt x="199" y="250"/>
                  </a:lnTo>
                  <a:lnTo>
                    <a:pt x="204" y="250"/>
                  </a:lnTo>
                  <a:lnTo>
                    <a:pt x="211" y="255"/>
                  </a:lnTo>
                  <a:lnTo>
                    <a:pt x="212" y="293"/>
                  </a:lnTo>
                  <a:lnTo>
                    <a:pt x="199" y="285"/>
                  </a:lnTo>
                  <a:lnTo>
                    <a:pt x="189" y="272"/>
                  </a:lnTo>
                  <a:lnTo>
                    <a:pt x="175" y="275"/>
                  </a:lnTo>
                  <a:lnTo>
                    <a:pt x="161" y="275"/>
                  </a:lnTo>
                  <a:lnTo>
                    <a:pt x="152" y="270"/>
                  </a:lnTo>
                  <a:lnTo>
                    <a:pt x="162" y="266"/>
                  </a:lnTo>
                  <a:lnTo>
                    <a:pt x="164" y="259"/>
                  </a:lnTo>
                  <a:lnTo>
                    <a:pt x="152" y="256"/>
                  </a:lnTo>
                  <a:lnTo>
                    <a:pt x="139" y="243"/>
                  </a:lnTo>
                  <a:lnTo>
                    <a:pt x="132" y="249"/>
                  </a:lnTo>
                  <a:lnTo>
                    <a:pt x="123" y="245"/>
                  </a:lnTo>
                  <a:lnTo>
                    <a:pt x="110" y="248"/>
                  </a:lnTo>
                  <a:lnTo>
                    <a:pt x="98" y="245"/>
                  </a:lnTo>
                  <a:lnTo>
                    <a:pt x="81" y="248"/>
                  </a:lnTo>
                  <a:lnTo>
                    <a:pt x="67" y="242"/>
                  </a:lnTo>
                  <a:lnTo>
                    <a:pt x="64" y="242"/>
                  </a:lnTo>
                  <a:lnTo>
                    <a:pt x="61" y="245"/>
                  </a:lnTo>
                  <a:lnTo>
                    <a:pt x="55" y="248"/>
                  </a:lnTo>
                  <a:lnTo>
                    <a:pt x="51" y="240"/>
                  </a:lnTo>
                  <a:lnTo>
                    <a:pt x="45" y="228"/>
                  </a:lnTo>
                  <a:lnTo>
                    <a:pt x="33" y="208"/>
                  </a:lnTo>
                  <a:lnTo>
                    <a:pt x="43" y="210"/>
                  </a:lnTo>
                  <a:lnTo>
                    <a:pt x="53" y="208"/>
                  </a:lnTo>
                  <a:lnTo>
                    <a:pt x="49" y="200"/>
                  </a:lnTo>
                  <a:lnTo>
                    <a:pt x="35" y="194"/>
                  </a:lnTo>
                  <a:lnTo>
                    <a:pt x="33" y="203"/>
                  </a:lnTo>
                  <a:lnTo>
                    <a:pt x="17" y="178"/>
                  </a:lnTo>
                  <a:lnTo>
                    <a:pt x="7" y="170"/>
                  </a:lnTo>
                  <a:lnTo>
                    <a:pt x="3" y="154"/>
                  </a:lnTo>
                  <a:lnTo>
                    <a:pt x="1" y="152"/>
                  </a:lnTo>
                  <a:lnTo>
                    <a:pt x="0" y="152"/>
                  </a:lnTo>
                  <a:lnTo>
                    <a:pt x="1" y="152"/>
                  </a:lnTo>
                  <a:lnTo>
                    <a:pt x="10" y="146"/>
                  </a:lnTo>
                  <a:lnTo>
                    <a:pt x="15" y="140"/>
                  </a:lnTo>
                  <a:lnTo>
                    <a:pt x="17" y="127"/>
                  </a:lnTo>
                  <a:lnTo>
                    <a:pt x="27" y="120"/>
                  </a:lnTo>
                  <a:lnTo>
                    <a:pt x="35" y="103"/>
                  </a:lnTo>
                  <a:lnTo>
                    <a:pt x="49" y="92"/>
                  </a:lnTo>
                  <a:lnTo>
                    <a:pt x="49" y="77"/>
                  </a:lnTo>
                  <a:lnTo>
                    <a:pt x="46" y="67"/>
                  </a:lnTo>
                  <a:lnTo>
                    <a:pt x="82" y="62"/>
                  </a:lnTo>
                  <a:lnTo>
                    <a:pt x="93" y="52"/>
                  </a:lnTo>
                  <a:lnTo>
                    <a:pt x="112" y="45"/>
                  </a:lnTo>
                  <a:lnTo>
                    <a:pt x="132" y="45"/>
                  </a:lnTo>
                  <a:lnTo>
                    <a:pt x="147" y="31"/>
                  </a:lnTo>
                  <a:lnTo>
                    <a:pt x="153" y="29"/>
                  </a:lnTo>
                  <a:lnTo>
                    <a:pt x="166" y="29"/>
                  </a:lnTo>
                  <a:lnTo>
                    <a:pt x="183" y="25"/>
                  </a:lnTo>
                  <a:lnTo>
                    <a:pt x="205" y="25"/>
                  </a:lnTo>
                  <a:lnTo>
                    <a:pt x="236" y="16"/>
                  </a:lnTo>
                  <a:lnTo>
                    <a:pt x="248" y="16"/>
                  </a:lnTo>
                  <a:lnTo>
                    <a:pt x="258" y="24"/>
                  </a:lnTo>
                  <a:lnTo>
                    <a:pt x="293" y="36"/>
                  </a:lnTo>
                  <a:lnTo>
                    <a:pt x="313" y="33"/>
                  </a:lnTo>
                  <a:lnTo>
                    <a:pt x="327" y="20"/>
                  </a:lnTo>
                  <a:lnTo>
                    <a:pt x="329" y="1"/>
                  </a:lnTo>
                  <a:lnTo>
                    <a:pt x="340" y="0"/>
                  </a:lnTo>
                  <a:lnTo>
                    <a:pt x="343" y="6"/>
                  </a:lnTo>
                  <a:lnTo>
                    <a:pt x="352" y="13"/>
                  </a:lnTo>
                  <a:lnTo>
                    <a:pt x="351" y="24"/>
                  </a:lnTo>
                  <a:lnTo>
                    <a:pt x="340" y="33"/>
                  </a:lnTo>
                  <a:lnTo>
                    <a:pt x="338" y="49"/>
                  </a:lnTo>
                  <a:lnTo>
                    <a:pt x="334" y="63"/>
                  </a:lnTo>
                  <a:lnTo>
                    <a:pt x="324" y="7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87" name="Freeform 199">
              <a:extLst>
                <a:ext uri="{FF2B5EF4-FFF2-40B4-BE49-F238E27FC236}">
                  <a16:creationId xmlns:a16="http://schemas.microsoft.com/office/drawing/2014/main" id="{1BA1FDB6-6FC8-8958-1E50-494197233AE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240275" y="2614057"/>
              <a:ext cx="198482" cy="126510"/>
            </a:xfrm>
            <a:custGeom>
              <a:avLst/>
              <a:gdLst>
                <a:gd name="T0" fmla="*/ 0 w 369"/>
                <a:gd name="T1" fmla="*/ 0 h 223"/>
                <a:gd name="T2" fmla="*/ 0 w 369"/>
                <a:gd name="T3" fmla="*/ 0 h 223"/>
                <a:gd name="T4" fmla="*/ 0 w 369"/>
                <a:gd name="T5" fmla="*/ 0 h 223"/>
                <a:gd name="T6" fmla="*/ 0 w 369"/>
                <a:gd name="T7" fmla="*/ 0 h 223"/>
                <a:gd name="T8" fmla="*/ 0 w 369"/>
                <a:gd name="T9" fmla="*/ 0 h 223"/>
                <a:gd name="T10" fmla="*/ 0 w 369"/>
                <a:gd name="T11" fmla="*/ 0 h 223"/>
                <a:gd name="T12" fmla="*/ 0 w 369"/>
                <a:gd name="T13" fmla="*/ 0 h 223"/>
                <a:gd name="T14" fmla="*/ 0 w 369"/>
                <a:gd name="T15" fmla="*/ 0 h 223"/>
                <a:gd name="T16" fmla="*/ 2147483647 w 369"/>
                <a:gd name="T17" fmla="*/ 0 h 223"/>
                <a:gd name="T18" fmla="*/ 2147483647 w 369"/>
                <a:gd name="T19" fmla="*/ 0 h 223"/>
                <a:gd name="T20" fmla="*/ 2147483647 w 369"/>
                <a:gd name="T21" fmla="*/ 0 h 223"/>
                <a:gd name="T22" fmla="*/ 2147483647 w 369"/>
                <a:gd name="T23" fmla="*/ 0 h 223"/>
                <a:gd name="T24" fmla="*/ 2147483647 w 369"/>
                <a:gd name="T25" fmla="*/ 0 h 223"/>
                <a:gd name="T26" fmla="*/ 2147483647 w 369"/>
                <a:gd name="T27" fmla="*/ 0 h 223"/>
                <a:gd name="T28" fmla="*/ 2147483647 w 369"/>
                <a:gd name="T29" fmla="*/ 0 h 223"/>
                <a:gd name="T30" fmla="*/ 0 w 369"/>
                <a:gd name="T31" fmla="*/ 0 h 223"/>
                <a:gd name="T32" fmla="*/ 0 w 369"/>
                <a:gd name="T33" fmla="*/ 0 h 223"/>
                <a:gd name="T34" fmla="*/ 0 w 369"/>
                <a:gd name="T35" fmla="*/ 0 h 223"/>
                <a:gd name="T36" fmla="*/ 0 w 369"/>
                <a:gd name="T37" fmla="*/ 0 h 223"/>
                <a:gd name="T38" fmla="*/ 0 w 369"/>
                <a:gd name="T39" fmla="*/ 0 h 223"/>
                <a:gd name="T40" fmla="*/ 0 w 369"/>
                <a:gd name="T41" fmla="*/ 0 h 223"/>
                <a:gd name="T42" fmla="*/ 0 w 369"/>
                <a:gd name="T43" fmla="*/ 0 h 223"/>
                <a:gd name="T44" fmla="*/ 0 w 369"/>
                <a:gd name="T45" fmla="*/ 0 h 223"/>
                <a:gd name="T46" fmla="*/ 0 w 369"/>
                <a:gd name="T47" fmla="*/ 0 h 223"/>
                <a:gd name="T48" fmla="*/ 0 w 369"/>
                <a:gd name="T49" fmla="*/ 0 h 223"/>
                <a:gd name="T50" fmla="*/ 0 w 369"/>
                <a:gd name="T51" fmla="*/ 0 h 223"/>
                <a:gd name="T52" fmla="*/ 0 w 369"/>
                <a:gd name="T53" fmla="*/ 0 h 223"/>
                <a:gd name="T54" fmla="*/ 0 w 369"/>
                <a:gd name="T55" fmla="*/ 0 h 223"/>
                <a:gd name="T56" fmla="*/ 0 w 369"/>
                <a:gd name="T57" fmla="*/ 0 h 223"/>
                <a:gd name="T58" fmla="*/ 0 w 369"/>
                <a:gd name="T59" fmla="*/ 0 h 223"/>
                <a:gd name="T60" fmla="*/ 0 w 369"/>
                <a:gd name="T61" fmla="*/ 0 h 223"/>
                <a:gd name="T62" fmla="*/ 0 w 369"/>
                <a:gd name="T63" fmla="*/ 0 h 223"/>
                <a:gd name="T64" fmla="*/ 0 w 369"/>
                <a:gd name="T65" fmla="*/ 0 h 223"/>
                <a:gd name="T66" fmla="*/ 0 w 369"/>
                <a:gd name="T67" fmla="*/ 0 h 22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69"/>
                <a:gd name="T103" fmla="*/ 0 h 223"/>
                <a:gd name="T104" fmla="*/ 369 w 369"/>
                <a:gd name="T105" fmla="*/ 223 h 22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69" h="223">
                  <a:moveTo>
                    <a:pt x="58" y="39"/>
                  </a:moveTo>
                  <a:lnTo>
                    <a:pt x="71" y="47"/>
                  </a:lnTo>
                  <a:lnTo>
                    <a:pt x="95" y="65"/>
                  </a:lnTo>
                  <a:lnTo>
                    <a:pt x="128" y="64"/>
                  </a:lnTo>
                  <a:lnTo>
                    <a:pt x="134" y="64"/>
                  </a:lnTo>
                  <a:lnTo>
                    <a:pt x="147" y="44"/>
                  </a:lnTo>
                  <a:lnTo>
                    <a:pt x="178" y="35"/>
                  </a:lnTo>
                  <a:lnTo>
                    <a:pt x="194" y="26"/>
                  </a:lnTo>
                  <a:lnTo>
                    <a:pt x="211" y="32"/>
                  </a:lnTo>
                  <a:lnTo>
                    <a:pt x="225" y="24"/>
                  </a:lnTo>
                  <a:lnTo>
                    <a:pt x="235" y="22"/>
                  </a:lnTo>
                  <a:lnTo>
                    <a:pt x="240" y="10"/>
                  </a:lnTo>
                  <a:lnTo>
                    <a:pt x="255" y="1"/>
                  </a:lnTo>
                  <a:lnTo>
                    <a:pt x="273" y="2"/>
                  </a:lnTo>
                  <a:lnTo>
                    <a:pt x="285" y="0"/>
                  </a:lnTo>
                  <a:lnTo>
                    <a:pt x="300" y="5"/>
                  </a:lnTo>
                  <a:lnTo>
                    <a:pt x="317" y="15"/>
                  </a:lnTo>
                  <a:lnTo>
                    <a:pt x="329" y="12"/>
                  </a:lnTo>
                  <a:lnTo>
                    <a:pt x="344" y="19"/>
                  </a:lnTo>
                  <a:lnTo>
                    <a:pt x="356" y="29"/>
                  </a:lnTo>
                  <a:lnTo>
                    <a:pt x="365" y="38"/>
                  </a:lnTo>
                  <a:lnTo>
                    <a:pt x="369" y="48"/>
                  </a:lnTo>
                  <a:lnTo>
                    <a:pt x="365" y="55"/>
                  </a:lnTo>
                  <a:lnTo>
                    <a:pt x="357" y="62"/>
                  </a:lnTo>
                  <a:lnTo>
                    <a:pt x="350" y="62"/>
                  </a:lnTo>
                  <a:lnTo>
                    <a:pt x="335" y="69"/>
                  </a:lnTo>
                  <a:lnTo>
                    <a:pt x="326" y="78"/>
                  </a:lnTo>
                  <a:lnTo>
                    <a:pt x="324" y="86"/>
                  </a:lnTo>
                  <a:lnTo>
                    <a:pt x="318" y="97"/>
                  </a:lnTo>
                  <a:lnTo>
                    <a:pt x="316" y="108"/>
                  </a:lnTo>
                  <a:lnTo>
                    <a:pt x="303" y="121"/>
                  </a:lnTo>
                  <a:lnTo>
                    <a:pt x="298" y="135"/>
                  </a:lnTo>
                  <a:lnTo>
                    <a:pt x="291" y="151"/>
                  </a:lnTo>
                  <a:lnTo>
                    <a:pt x="284" y="161"/>
                  </a:lnTo>
                  <a:lnTo>
                    <a:pt x="276" y="178"/>
                  </a:lnTo>
                  <a:lnTo>
                    <a:pt x="260" y="185"/>
                  </a:lnTo>
                  <a:lnTo>
                    <a:pt x="228" y="195"/>
                  </a:lnTo>
                  <a:lnTo>
                    <a:pt x="225" y="195"/>
                  </a:lnTo>
                  <a:lnTo>
                    <a:pt x="221" y="188"/>
                  </a:lnTo>
                  <a:lnTo>
                    <a:pt x="209" y="193"/>
                  </a:lnTo>
                  <a:lnTo>
                    <a:pt x="197" y="193"/>
                  </a:lnTo>
                  <a:lnTo>
                    <a:pt x="181" y="204"/>
                  </a:lnTo>
                  <a:lnTo>
                    <a:pt x="166" y="204"/>
                  </a:lnTo>
                  <a:lnTo>
                    <a:pt x="160" y="209"/>
                  </a:lnTo>
                  <a:lnTo>
                    <a:pt x="145" y="210"/>
                  </a:lnTo>
                  <a:lnTo>
                    <a:pt x="133" y="218"/>
                  </a:lnTo>
                  <a:lnTo>
                    <a:pt x="119" y="222"/>
                  </a:lnTo>
                  <a:lnTo>
                    <a:pt x="102" y="223"/>
                  </a:lnTo>
                  <a:lnTo>
                    <a:pt x="87" y="214"/>
                  </a:lnTo>
                  <a:lnTo>
                    <a:pt x="76" y="210"/>
                  </a:lnTo>
                  <a:lnTo>
                    <a:pt x="65" y="195"/>
                  </a:lnTo>
                  <a:lnTo>
                    <a:pt x="50" y="188"/>
                  </a:lnTo>
                  <a:lnTo>
                    <a:pt x="41" y="172"/>
                  </a:lnTo>
                  <a:lnTo>
                    <a:pt x="28" y="167"/>
                  </a:lnTo>
                  <a:lnTo>
                    <a:pt x="20" y="153"/>
                  </a:lnTo>
                  <a:lnTo>
                    <a:pt x="15" y="140"/>
                  </a:lnTo>
                  <a:lnTo>
                    <a:pt x="7" y="136"/>
                  </a:lnTo>
                  <a:lnTo>
                    <a:pt x="0" y="136"/>
                  </a:lnTo>
                  <a:lnTo>
                    <a:pt x="10" y="125"/>
                  </a:lnTo>
                  <a:lnTo>
                    <a:pt x="21" y="123"/>
                  </a:lnTo>
                  <a:lnTo>
                    <a:pt x="20" y="112"/>
                  </a:lnTo>
                  <a:lnTo>
                    <a:pt x="20" y="102"/>
                  </a:lnTo>
                  <a:lnTo>
                    <a:pt x="28" y="83"/>
                  </a:lnTo>
                  <a:lnTo>
                    <a:pt x="22" y="75"/>
                  </a:lnTo>
                  <a:lnTo>
                    <a:pt x="26" y="67"/>
                  </a:lnTo>
                  <a:lnTo>
                    <a:pt x="53" y="67"/>
                  </a:lnTo>
                  <a:lnTo>
                    <a:pt x="58" y="59"/>
                  </a:lnTo>
                  <a:lnTo>
                    <a:pt x="58" y="3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88" name="Freeform 200">
              <a:extLst>
                <a:ext uri="{FF2B5EF4-FFF2-40B4-BE49-F238E27FC236}">
                  <a16:creationId xmlns:a16="http://schemas.microsoft.com/office/drawing/2014/main" id="{EEC8D1E6-BBA9-8846-C0E8-D6F5B8CFD08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182075" y="2295496"/>
              <a:ext cx="291006" cy="294173"/>
            </a:xfrm>
            <a:custGeom>
              <a:avLst/>
              <a:gdLst>
                <a:gd name="T0" fmla="*/ 2147483647 w 545"/>
                <a:gd name="T1" fmla="*/ 2147483647 h 511"/>
                <a:gd name="T2" fmla="*/ 2147483647 w 545"/>
                <a:gd name="T3" fmla="*/ 2147483647 h 511"/>
                <a:gd name="T4" fmla="*/ 2147483647 w 545"/>
                <a:gd name="T5" fmla="*/ 2147483647 h 511"/>
                <a:gd name="T6" fmla="*/ 2147483647 w 545"/>
                <a:gd name="T7" fmla="*/ 2147483647 h 511"/>
                <a:gd name="T8" fmla="*/ 2147483647 w 545"/>
                <a:gd name="T9" fmla="*/ 2147483647 h 511"/>
                <a:gd name="T10" fmla="*/ 2147483647 w 545"/>
                <a:gd name="T11" fmla="*/ 2147483647 h 511"/>
                <a:gd name="T12" fmla="*/ 2147483647 w 545"/>
                <a:gd name="T13" fmla="*/ 2147483647 h 511"/>
                <a:gd name="T14" fmla="*/ 2147483647 w 545"/>
                <a:gd name="T15" fmla="*/ 2147483647 h 511"/>
                <a:gd name="T16" fmla="*/ 2147483647 w 545"/>
                <a:gd name="T17" fmla="*/ 2147483647 h 511"/>
                <a:gd name="T18" fmla="*/ 2147483647 w 545"/>
                <a:gd name="T19" fmla="*/ 2147483647 h 511"/>
                <a:gd name="T20" fmla="*/ 0 w 545"/>
                <a:gd name="T21" fmla="*/ 2147483647 h 511"/>
                <a:gd name="T22" fmla="*/ 0 w 545"/>
                <a:gd name="T23" fmla="*/ 2147483647 h 511"/>
                <a:gd name="T24" fmla="*/ 0 w 545"/>
                <a:gd name="T25" fmla="*/ 2147483647 h 511"/>
                <a:gd name="T26" fmla="*/ 0 w 545"/>
                <a:gd name="T27" fmla="*/ 2147483647 h 511"/>
                <a:gd name="T28" fmla="*/ 0 w 545"/>
                <a:gd name="T29" fmla="*/ 2147483647 h 511"/>
                <a:gd name="T30" fmla="*/ 0 w 545"/>
                <a:gd name="T31" fmla="*/ 2147483647 h 511"/>
                <a:gd name="T32" fmla="*/ 0 w 545"/>
                <a:gd name="T33" fmla="*/ 2147483647 h 511"/>
                <a:gd name="T34" fmla="*/ 0 w 545"/>
                <a:gd name="T35" fmla="*/ 2147483647 h 511"/>
                <a:gd name="T36" fmla="*/ 0 w 545"/>
                <a:gd name="T37" fmla="*/ 2147483647 h 511"/>
                <a:gd name="T38" fmla="*/ 0 w 545"/>
                <a:gd name="T39" fmla="*/ 2147483647 h 511"/>
                <a:gd name="T40" fmla="*/ 0 w 545"/>
                <a:gd name="T41" fmla="*/ 2147483647 h 511"/>
                <a:gd name="T42" fmla="*/ 0 w 545"/>
                <a:gd name="T43" fmla="*/ 0 h 511"/>
                <a:gd name="T44" fmla="*/ 0 w 545"/>
                <a:gd name="T45" fmla="*/ 0 h 511"/>
                <a:gd name="T46" fmla="*/ 0 w 545"/>
                <a:gd name="T47" fmla="*/ 0 h 511"/>
                <a:gd name="T48" fmla="*/ 0 w 545"/>
                <a:gd name="T49" fmla="*/ 0 h 511"/>
                <a:gd name="T50" fmla="*/ 0 w 545"/>
                <a:gd name="T51" fmla="*/ 0 h 511"/>
                <a:gd name="T52" fmla="*/ 0 w 545"/>
                <a:gd name="T53" fmla="*/ 0 h 511"/>
                <a:gd name="T54" fmla="*/ 0 w 545"/>
                <a:gd name="T55" fmla="*/ 0 h 511"/>
                <a:gd name="T56" fmla="*/ 0 w 545"/>
                <a:gd name="T57" fmla="*/ 0 h 511"/>
                <a:gd name="T58" fmla="*/ 0 w 545"/>
                <a:gd name="T59" fmla="*/ 0 h 511"/>
                <a:gd name="T60" fmla="*/ 0 w 545"/>
                <a:gd name="T61" fmla="*/ 0 h 511"/>
                <a:gd name="T62" fmla="*/ 0 w 545"/>
                <a:gd name="T63" fmla="*/ 0 h 511"/>
                <a:gd name="T64" fmla="*/ 0 w 545"/>
                <a:gd name="T65" fmla="*/ 0 h 511"/>
                <a:gd name="T66" fmla="*/ 0 w 545"/>
                <a:gd name="T67" fmla="*/ 0 h 511"/>
                <a:gd name="T68" fmla="*/ 0 w 545"/>
                <a:gd name="T69" fmla="*/ 0 h 511"/>
                <a:gd name="T70" fmla="*/ 0 w 545"/>
                <a:gd name="T71" fmla="*/ 0 h 511"/>
                <a:gd name="T72" fmla="*/ 2147483647 w 545"/>
                <a:gd name="T73" fmla="*/ 0 h 511"/>
                <a:gd name="T74" fmla="*/ 2147483647 w 545"/>
                <a:gd name="T75" fmla="*/ 0 h 511"/>
                <a:gd name="T76" fmla="*/ 2147483647 w 545"/>
                <a:gd name="T77" fmla="*/ 0 h 511"/>
                <a:gd name="T78" fmla="*/ 2147483647 w 545"/>
                <a:gd name="T79" fmla="*/ 0 h 511"/>
                <a:gd name="T80" fmla="*/ 2147483647 w 545"/>
                <a:gd name="T81" fmla="*/ 0 h 511"/>
                <a:gd name="T82" fmla="*/ 2147483647 w 545"/>
                <a:gd name="T83" fmla="*/ 0 h 511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45"/>
                <a:gd name="T127" fmla="*/ 0 h 511"/>
                <a:gd name="T128" fmla="*/ 545 w 545"/>
                <a:gd name="T129" fmla="*/ 511 h 511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45" h="511">
                  <a:moveTo>
                    <a:pt x="513" y="298"/>
                  </a:moveTo>
                  <a:lnTo>
                    <a:pt x="520" y="311"/>
                  </a:lnTo>
                  <a:lnTo>
                    <a:pt x="521" y="323"/>
                  </a:lnTo>
                  <a:lnTo>
                    <a:pt x="528" y="342"/>
                  </a:lnTo>
                  <a:lnTo>
                    <a:pt x="529" y="346"/>
                  </a:lnTo>
                  <a:lnTo>
                    <a:pt x="540" y="357"/>
                  </a:lnTo>
                  <a:lnTo>
                    <a:pt x="539" y="368"/>
                  </a:lnTo>
                  <a:lnTo>
                    <a:pt x="545" y="382"/>
                  </a:lnTo>
                  <a:lnTo>
                    <a:pt x="540" y="397"/>
                  </a:lnTo>
                  <a:lnTo>
                    <a:pt x="522" y="412"/>
                  </a:lnTo>
                  <a:lnTo>
                    <a:pt x="502" y="425"/>
                  </a:lnTo>
                  <a:lnTo>
                    <a:pt x="488" y="444"/>
                  </a:lnTo>
                  <a:lnTo>
                    <a:pt x="470" y="482"/>
                  </a:lnTo>
                  <a:lnTo>
                    <a:pt x="468" y="497"/>
                  </a:lnTo>
                  <a:lnTo>
                    <a:pt x="470" y="509"/>
                  </a:lnTo>
                  <a:lnTo>
                    <a:pt x="461" y="511"/>
                  </a:lnTo>
                  <a:lnTo>
                    <a:pt x="456" y="510"/>
                  </a:lnTo>
                  <a:lnTo>
                    <a:pt x="446" y="506"/>
                  </a:lnTo>
                  <a:lnTo>
                    <a:pt x="435" y="498"/>
                  </a:lnTo>
                  <a:lnTo>
                    <a:pt x="426" y="491"/>
                  </a:lnTo>
                  <a:lnTo>
                    <a:pt x="416" y="483"/>
                  </a:lnTo>
                  <a:lnTo>
                    <a:pt x="403" y="482"/>
                  </a:lnTo>
                  <a:lnTo>
                    <a:pt x="391" y="483"/>
                  </a:lnTo>
                  <a:lnTo>
                    <a:pt x="379" y="488"/>
                  </a:lnTo>
                  <a:lnTo>
                    <a:pt x="372" y="494"/>
                  </a:lnTo>
                  <a:lnTo>
                    <a:pt x="362" y="487"/>
                  </a:lnTo>
                  <a:lnTo>
                    <a:pt x="343" y="487"/>
                  </a:lnTo>
                  <a:lnTo>
                    <a:pt x="334" y="495"/>
                  </a:lnTo>
                  <a:lnTo>
                    <a:pt x="324" y="500"/>
                  </a:lnTo>
                  <a:lnTo>
                    <a:pt x="317" y="498"/>
                  </a:lnTo>
                  <a:lnTo>
                    <a:pt x="309" y="489"/>
                  </a:lnTo>
                  <a:lnTo>
                    <a:pt x="300" y="479"/>
                  </a:lnTo>
                  <a:lnTo>
                    <a:pt x="291" y="473"/>
                  </a:lnTo>
                  <a:lnTo>
                    <a:pt x="281" y="478"/>
                  </a:lnTo>
                  <a:lnTo>
                    <a:pt x="270" y="481"/>
                  </a:lnTo>
                  <a:lnTo>
                    <a:pt x="259" y="475"/>
                  </a:lnTo>
                  <a:lnTo>
                    <a:pt x="241" y="466"/>
                  </a:lnTo>
                  <a:lnTo>
                    <a:pt x="221" y="438"/>
                  </a:lnTo>
                  <a:lnTo>
                    <a:pt x="212" y="433"/>
                  </a:lnTo>
                  <a:lnTo>
                    <a:pt x="207" y="435"/>
                  </a:lnTo>
                  <a:lnTo>
                    <a:pt x="198" y="428"/>
                  </a:lnTo>
                  <a:lnTo>
                    <a:pt x="198" y="412"/>
                  </a:lnTo>
                  <a:lnTo>
                    <a:pt x="178" y="409"/>
                  </a:lnTo>
                  <a:lnTo>
                    <a:pt x="153" y="401"/>
                  </a:lnTo>
                  <a:lnTo>
                    <a:pt x="152" y="407"/>
                  </a:lnTo>
                  <a:lnTo>
                    <a:pt x="155" y="413"/>
                  </a:lnTo>
                  <a:lnTo>
                    <a:pt x="144" y="421"/>
                  </a:lnTo>
                  <a:lnTo>
                    <a:pt x="136" y="418"/>
                  </a:lnTo>
                  <a:lnTo>
                    <a:pt x="117" y="400"/>
                  </a:lnTo>
                  <a:lnTo>
                    <a:pt x="121" y="389"/>
                  </a:lnTo>
                  <a:lnTo>
                    <a:pt x="121" y="386"/>
                  </a:lnTo>
                  <a:lnTo>
                    <a:pt x="120" y="384"/>
                  </a:lnTo>
                  <a:lnTo>
                    <a:pt x="109" y="382"/>
                  </a:lnTo>
                  <a:lnTo>
                    <a:pt x="99" y="370"/>
                  </a:lnTo>
                  <a:lnTo>
                    <a:pt x="79" y="365"/>
                  </a:lnTo>
                  <a:lnTo>
                    <a:pt x="71" y="366"/>
                  </a:lnTo>
                  <a:lnTo>
                    <a:pt x="65" y="357"/>
                  </a:lnTo>
                  <a:lnTo>
                    <a:pt x="55" y="352"/>
                  </a:lnTo>
                  <a:lnTo>
                    <a:pt x="40" y="366"/>
                  </a:lnTo>
                  <a:lnTo>
                    <a:pt x="34" y="363"/>
                  </a:lnTo>
                  <a:lnTo>
                    <a:pt x="38" y="354"/>
                  </a:lnTo>
                  <a:lnTo>
                    <a:pt x="42" y="337"/>
                  </a:lnTo>
                  <a:lnTo>
                    <a:pt x="43" y="316"/>
                  </a:lnTo>
                  <a:lnTo>
                    <a:pt x="42" y="312"/>
                  </a:lnTo>
                  <a:lnTo>
                    <a:pt x="26" y="293"/>
                  </a:lnTo>
                  <a:lnTo>
                    <a:pt x="23" y="269"/>
                  </a:lnTo>
                  <a:lnTo>
                    <a:pt x="23" y="258"/>
                  </a:lnTo>
                  <a:lnTo>
                    <a:pt x="22" y="242"/>
                  </a:lnTo>
                  <a:lnTo>
                    <a:pt x="20" y="233"/>
                  </a:lnTo>
                  <a:lnTo>
                    <a:pt x="17" y="209"/>
                  </a:lnTo>
                  <a:lnTo>
                    <a:pt x="16" y="201"/>
                  </a:lnTo>
                  <a:lnTo>
                    <a:pt x="1" y="190"/>
                  </a:lnTo>
                  <a:lnTo>
                    <a:pt x="0" y="182"/>
                  </a:lnTo>
                  <a:lnTo>
                    <a:pt x="5" y="170"/>
                  </a:lnTo>
                  <a:lnTo>
                    <a:pt x="11" y="158"/>
                  </a:lnTo>
                  <a:lnTo>
                    <a:pt x="12" y="145"/>
                  </a:lnTo>
                  <a:lnTo>
                    <a:pt x="12" y="128"/>
                  </a:lnTo>
                  <a:lnTo>
                    <a:pt x="4" y="111"/>
                  </a:lnTo>
                  <a:lnTo>
                    <a:pt x="1" y="102"/>
                  </a:lnTo>
                  <a:lnTo>
                    <a:pt x="18" y="110"/>
                  </a:lnTo>
                  <a:lnTo>
                    <a:pt x="21" y="105"/>
                  </a:lnTo>
                  <a:lnTo>
                    <a:pt x="21" y="96"/>
                  </a:lnTo>
                  <a:lnTo>
                    <a:pt x="7" y="93"/>
                  </a:lnTo>
                  <a:lnTo>
                    <a:pt x="16" y="86"/>
                  </a:lnTo>
                  <a:lnTo>
                    <a:pt x="26" y="83"/>
                  </a:lnTo>
                  <a:lnTo>
                    <a:pt x="27" y="86"/>
                  </a:lnTo>
                  <a:lnTo>
                    <a:pt x="38" y="74"/>
                  </a:lnTo>
                  <a:lnTo>
                    <a:pt x="51" y="67"/>
                  </a:lnTo>
                  <a:lnTo>
                    <a:pt x="70" y="63"/>
                  </a:lnTo>
                  <a:lnTo>
                    <a:pt x="102" y="53"/>
                  </a:lnTo>
                  <a:lnTo>
                    <a:pt x="134" y="26"/>
                  </a:lnTo>
                  <a:lnTo>
                    <a:pt x="149" y="21"/>
                  </a:lnTo>
                  <a:lnTo>
                    <a:pt x="172" y="9"/>
                  </a:lnTo>
                  <a:lnTo>
                    <a:pt x="215" y="0"/>
                  </a:lnTo>
                  <a:lnTo>
                    <a:pt x="228" y="0"/>
                  </a:lnTo>
                  <a:lnTo>
                    <a:pt x="239" y="3"/>
                  </a:lnTo>
                  <a:lnTo>
                    <a:pt x="248" y="7"/>
                  </a:lnTo>
                  <a:lnTo>
                    <a:pt x="255" y="15"/>
                  </a:lnTo>
                  <a:lnTo>
                    <a:pt x="254" y="21"/>
                  </a:lnTo>
                  <a:lnTo>
                    <a:pt x="236" y="10"/>
                  </a:lnTo>
                  <a:lnTo>
                    <a:pt x="237" y="16"/>
                  </a:lnTo>
                  <a:lnTo>
                    <a:pt x="250" y="50"/>
                  </a:lnTo>
                  <a:lnTo>
                    <a:pt x="257" y="52"/>
                  </a:lnTo>
                  <a:lnTo>
                    <a:pt x="258" y="48"/>
                  </a:lnTo>
                  <a:lnTo>
                    <a:pt x="262" y="45"/>
                  </a:lnTo>
                  <a:lnTo>
                    <a:pt x="266" y="48"/>
                  </a:lnTo>
                  <a:lnTo>
                    <a:pt x="276" y="45"/>
                  </a:lnTo>
                  <a:lnTo>
                    <a:pt x="290" y="42"/>
                  </a:lnTo>
                  <a:lnTo>
                    <a:pt x="300" y="36"/>
                  </a:lnTo>
                  <a:lnTo>
                    <a:pt x="314" y="41"/>
                  </a:lnTo>
                  <a:lnTo>
                    <a:pt x="378" y="52"/>
                  </a:lnTo>
                  <a:lnTo>
                    <a:pt x="426" y="51"/>
                  </a:lnTo>
                  <a:lnTo>
                    <a:pt x="453" y="45"/>
                  </a:lnTo>
                  <a:lnTo>
                    <a:pt x="477" y="42"/>
                  </a:lnTo>
                  <a:lnTo>
                    <a:pt x="491" y="50"/>
                  </a:lnTo>
                  <a:lnTo>
                    <a:pt x="510" y="63"/>
                  </a:lnTo>
                  <a:lnTo>
                    <a:pt x="515" y="74"/>
                  </a:lnTo>
                  <a:lnTo>
                    <a:pt x="515" y="81"/>
                  </a:lnTo>
                  <a:lnTo>
                    <a:pt x="516" y="91"/>
                  </a:lnTo>
                  <a:lnTo>
                    <a:pt x="534" y="163"/>
                  </a:lnTo>
                  <a:lnTo>
                    <a:pt x="534" y="179"/>
                  </a:lnTo>
                  <a:lnTo>
                    <a:pt x="533" y="196"/>
                  </a:lnTo>
                  <a:lnTo>
                    <a:pt x="522" y="212"/>
                  </a:lnTo>
                  <a:lnTo>
                    <a:pt x="507" y="220"/>
                  </a:lnTo>
                  <a:lnTo>
                    <a:pt x="496" y="234"/>
                  </a:lnTo>
                  <a:lnTo>
                    <a:pt x="502" y="245"/>
                  </a:lnTo>
                  <a:lnTo>
                    <a:pt x="517" y="257"/>
                  </a:lnTo>
                  <a:lnTo>
                    <a:pt x="513" y="29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89" name="Freeform 201">
              <a:extLst>
                <a:ext uri="{FF2B5EF4-FFF2-40B4-BE49-F238E27FC236}">
                  <a16:creationId xmlns:a16="http://schemas.microsoft.com/office/drawing/2014/main" id="{9948F56E-DFBE-65E9-AA8C-54AB56A89EE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2048" y="2117162"/>
              <a:ext cx="216389" cy="135656"/>
            </a:xfrm>
            <a:custGeom>
              <a:avLst/>
              <a:gdLst>
                <a:gd name="T0" fmla="*/ 0 w 406"/>
                <a:gd name="T1" fmla="*/ 0 h 240"/>
                <a:gd name="T2" fmla="*/ 0 w 406"/>
                <a:gd name="T3" fmla="*/ 0 h 240"/>
                <a:gd name="T4" fmla="*/ 0 w 406"/>
                <a:gd name="T5" fmla="*/ 0 h 240"/>
                <a:gd name="T6" fmla="*/ 0 w 406"/>
                <a:gd name="T7" fmla="*/ 0 h 240"/>
                <a:gd name="T8" fmla="*/ 0 w 406"/>
                <a:gd name="T9" fmla="*/ 0 h 240"/>
                <a:gd name="T10" fmla="*/ 0 w 406"/>
                <a:gd name="T11" fmla="*/ 0 h 240"/>
                <a:gd name="T12" fmla="*/ 0 w 406"/>
                <a:gd name="T13" fmla="*/ 0 h 240"/>
                <a:gd name="T14" fmla="*/ 0 w 406"/>
                <a:gd name="T15" fmla="*/ 0 h 240"/>
                <a:gd name="T16" fmla="*/ 0 w 406"/>
                <a:gd name="T17" fmla="*/ 0 h 240"/>
                <a:gd name="T18" fmla="*/ 0 w 406"/>
                <a:gd name="T19" fmla="*/ 0 h 240"/>
                <a:gd name="T20" fmla="*/ 0 w 406"/>
                <a:gd name="T21" fmla="*/ 0 h 240"/>
                <a:gd name="T22" fmla="*/ 0 w 406"/>
                <a:gd name="T23" fmla="*/ 0 h 240"/>
                <a:gd name="T24" fmla="*/ 0 w 406"/>
                <a:gd name="T25" fmla="*/ 0 h 240"/>
                <a:gd name="T26" fmla="*/ 0 w 406"/>
                <a:gd name="T27" fmla="*/ 0 h 240"/>
                <a:gd name="T28" fmla="*/ 0 w 406"/>
                <a:gd name="T29" fmla="*/ 0 h 240"/>
                <a:gd name="T30" fmla="*/ 0 w 406"/>
                <a:gd name="T31" fmla="*/ 0 h 240"/>
                <a:gd name="T32" fmla="*/ 0 w 406"/>
                <a:gd name="T33" fmla="*/ 0 h 240"/>
                <a:gd name="T34" fmla="*/ 0 w 406"/>
                <a:gd name="T35" fmla="*/ 0 h 240"/>
                <a:gd name="T36" fmla="*/ 2147483647 w 406"/>
                <a:gd name="T37" fmla="*/ 0 h 240"/>
                <a:gd name="T38" fmla="*/ 2147483647 w 406"/>
                <a:gd name="T39" fmla="*/ 0 h 240"/>
                <a:gd name="T40" fmla="*/ 2147483647 w 406"/>
                <a:gd name="T41" fmla="*/ 0 h 240"/>
                <a:gd name="T42" fmla="*/ 2147483647 w 406"/>
                <a:gd name="T43" fmla="*/ 0 h 240"/>
                <a:gd name="T44" fmla="*/ 2147483647 w 406"/>
                <a:gd name="T45" fmla="*/ 0 h 240"/>
                <a:gd name="T46" fmla="*/ 2147483647 w 406"/>
                <a:gd name="T47" fmla="*/ 0 h 240"/>
                <a:gd name="T48" fmla="*/ 2147483647 w 406"/>
                <a:gd name="T49" fmla="*/ 0 h 240"/>
                <a:gd name="T50" fmla="*/ 2147483647 w 406"/>
                <a:gd name="T51" fmla="*/ 0 h 240"/>
                <a:gd name="T52" fmla="*/ 2147483647 w 406"/>
                <a:gd name="T53" fmla="*/ 0 h 240"/>
                <a:gd name="T54" fmla="*/ 2147483647 w 406"/>
                <a:gd name="T55" fmla="*/ 0 h 240"/>
                <a:gd name="T56" fmla="*/ 2147483647 w 406"/>
                <a:gd name="T57" fmla="*/ 0 h 240"/>
                <a:gd name="T58" fmla="*/ 2147483647 w 406"/>
                <a:gd name="T59" fmla="*/ 0 h 240"/>
                <a:gd name="T60" fmla="*/ 2147483647 w 406"/>
                <a:gd name="T61" fmla="*/ 0 h 240"/>
                <a:gd name="T62" fmla="*/ 2147483647 w 406"/>
                <a:gd name="T63" fmla="*/ 0 h 240"/>
                <a:gd name="T64" fmla="*/ 2147483647 w 406"/>
                <a:gd name="T65" fmla="*/ 0 h 240"/>
                <a:gd name="T66" fmla="*/ 2147483647 w 406"/>
                <a:gd name="T67" fmla="*/ 0 h 240"/>
                <a:gd name="T68" fmla="*/ 0 w 406"/>
                <a:gd name="T69" fmla="*/ 0 h 240"/>
                <a:gd name="T70" fmla="*/ 0 w 406"/>
                <a:gd name="T71" fmla="*/ 0 h 240"/>
                <a:gd name="T72" fmla="*/ 0 w 406"/>
                <a:gd name="T73" fmla="*/ 0 h 240"/>
                <a:gd name="T74" fmla="*/ 0 w 406"/>
                <a:gd name="T75" fmla="*/ 0 h 240"/>
                <a:gd name="T76" fmla="*/ 0 w 406"/>
                <a:gd name="T77" fmla="*/ 0 h 240"/>
                <a:gd name="T78" fmla="*/ 0 w 406"/>
                <a:gd name="T79" fmla="*/ 0 h 240"/>
                <a:gd name="T80" fmla="*/ 0 w 406"/>
                <a:gd name="T81" fmla="*/ 0 h 240"/>
                <a:gd name="T82" fmla="*/ 0 w 406"/>
                <a:gd name="T83" fmla="*/ 0 h 240"/>
                <a:gd name="T84" fmla="*/ 0 w 406"/>
                <a:gd name="T85" fmla="*/ 0 h 240"/>
                <a:gd name="T86" fmla="*/ 0 w 406"/>
                <a:gd name="T87" fmla="*/ 0 h 240"/>
                <a:gd name="T88" fmla="*/ 0 w 406"/>
                <a:gd name="T89" fmla="*/ 0 h 240"/>
                <a:gd name="T90" fmla="*/ 0 w 406"/>
                <a:gd name="T91" fmla="*/ 0 h 240"/>
                <a:gd name="T92" fmla="*/ 0 w 406"/>
                <a:gd name="T93" fmla="*/ 0 h 24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06"/>
                <a:gd name="T142" fmla="*/ 0 h 240"/>
                <a:gd name="T143" fmla="*/ 406 w 406"/>
                <a:gd name="T144" fmla="*/ 240 h 24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06" h="240">
                  <a:moveTo>
                    <a:pt x="3" y="195"/>
                  </a:moveTo>
                  <a:lnTo>
                    <a:pt x="0" y="184"/>
                  </a:lnTo>
                  <a:lnTo>
                    <a:pt x="4" y="134"/>
                  </a:lnTo>
                  <a:lnTo>
                    <a:pt x="12" y="118"/>
                  </a:lnTo>
                  <a:lnTo>
                    <a:pt x="20" y="107"/>
                  </a:lnTo>
                  <a:lnTo>
                    <a:pt x="24" y="93"/>
                  </a:lnTo>
                  <a:lnTo>
                    <a:pt x="27" y="77"/>
                  </a:lnTo>
                  <a:lnTo>
                    <a:pt x="33" y="64"/>
                  </a:lnTo>
                  <a:lnTo>
                    <a:pt x="43" y="52"/>
                  </a:lnTo>
                  <a:lnTo>
                    <a:pt x="51" y="44"/>
                  </a:lnTo>
                  <a:lnTo>
                    <a:pt x="63" y="42"/>
                  </a:lnTo>
                  <a:lnTo>
                    <a:pt x="86" y="33"/>
                  </a:lnTo>
                  <a:lnTo>
                    <a:pt x="94" y="47"/>
                  </a:lnTo>
                  <a:lnTo>
                    <a:pt x="113" y="68"/>
                  </a:lnTo>
                  <a:lnTo>
                    <a:pt x="115" y="79"/>
                  </a:lnTo>
                  <a:lnTo>
                    <a:pt x="119" y="86"/>
                  </a:lnTo>
                  <a:lnTo>
                    <a:pt x="120" y="75"/>
                  </a:lnTo>
                  <a:lnTo>
                    <a:pt x="125" y="92"/>
                  </a:lnTo>
                  <a:lnTo>
                    <a:pt x="131" y="100"/>
                  </a:lnTo>
                  <a:lnTo>
                    <a:pt x="147" y="108"/>
                  </a:lnTo>
                  <a:lnTo>
                    <a:pt x="153" y="108"/>
                  </a:lnTo>
                  <a:lnTo>
                    <a:pt x="169" y="102"/>
                  </a:lnTo>
                  <a:lnTo>
                    <a:pt x="169" y="107"/>
                  </a:lnTo>
                  <a:lnTo>
                    <a:pt x="174" y="113"/>
                  </a:lnTo>
                  <a:lnTo>
                    <a:pt x="175" y="98"/>
                  </a:lnTo>
                  <a:lnTo>
                    <a:pt x="181" y="92"/>
                  </a:lnTo>
                  <a:lnTo>
                    <a:pt x="185" y="85"/>
                  </a:lnTo>
                  <a:lnTo>
                    <a:pt x="185" y="21"/>
                  </a:lnTo>
                  <a:lnTo>
                    <a:pt x="191" y="15"/>
                  </a:lnTo>
                  <a:lnTo>
                    <a:pt x="200" y="14"/>
                  </a:lnTo>
                  <a:lnTo>
                    <a:pt x="213" y="4"/>
                  </a:lnTo>
                  <a:lnTo>
                    <a:pt x="239" y="0"/>
                  </a:lnTo>
                  <a:lnTo>
                    <a:pt x="255" y="4"/>
                  </a:lnTo>
                  <a:lnTo>
                    <a:pt x="269" y="15"/>
                  </a:lnTo>
                  <a:lnTo>
                    <a:pt x="283" y="20"/>
                  </a:lnTo>
                  <a:lnTo>
                    <a:pt x="288" y="30"/>
                  </a:lnTo>
                  <a:lnTo>
                    <a:pt x="310" y="49"/>
                  </a:lnTo>
                  <a:lnTo>
                    <a:pt x="318" y="49"/>
                  </a:lnTo>
                  <a:lnTo>
                    <a:pt x="326" y="46"/>
                  </a:lnTo>
                  <a:lnTo>
                    <a:pt x="341" y="44"/>
                  </a:lnTo>
                  <a:lnTo>
                    <a:pt x="358" y="48"/>
                  </a:lnTo>
                  <a:lnTo>
                    <a:pt x="359" y="49"/>
                  </a:lnTo>
                  <a:lnTo>
                    <a:pt x="364" y="55"/>
                  </a:lnTo>
                  <a:lnTo>
                    <a:pt x="368" y="63"/>
                  </a:lnTo>
                  <a:lnTo>
                    <a:pt x="375" y="66"/>
                  </a:lnTo>
                  <a:lnTo>
                    <a:pt x="379" y="74"/>
                  </a:lnTo>
                  <a:lnTo>
                    <a:pt x="380" y="82"/>
                  </a:lnTo>
                  <a:lnTo>
                    <a:pt x="375" y="106"/>
                  </a:lnTo>
                  <a:lnTo>
                    <a:pt x="372" y="113"/>
                  </a:lnTo>
                  <a:lnTo>
                    <a:pt x="380" y="116"/>
                  </a:lnTo>
                  <a:lnTo>
                    <a:pt x="387" y="120"/>
                  </a:lnTo>
                  <a:lnTo>
                    <a:pt x="387" y="128"/>
                  </a:lnTo>
                  <a:lnTo>
                    <a:pt x="400" y="150"/>
                  </a:lnTo>
                  <a:lnTo>
                    <a:pt x="402" y="159"/>
                  </a:lnTo>
                  <a:lnTo>
                    <a:pt x="406" y="166"/>
                  </a:lnTo>
                  <a:lnTo>
                    <a:pt x="406" y="182"/>
                  </a:lnTo>
                  <a:lnTo>
                    <a:pt x="405" y="189"/>
                  </a:lnTo>
                  <a:lnTo>
                    <a:pt x="395" y="190"/>
                  </a:lnTo>
                  <a:lnTo>
                    <a:pt x="388" y="194"/>
                  </a:lnTo>
                  <a:lnTo>
                    <a:pt x="375" y="206"/>
                  </a:lnTo>
                  <a:lnTo>
                    <a:pt x="374" y="214"/>
                  </a:lnTo>
                  <a:lnTo>
                    <a:pt x="363" y="227"/>
                  </a:lnTo>
                  <a:lnTo>
                    <a:pt x="356" y="229"/>
                  </a:lnTo>
                  <a:lnTo>
                    <a:pt x="340" y="222"/>
                  </a:lnTo>
                  <a:lnTo>
                    <a:pt x="334" y="227"/>
                  </a:lnTo>
                  <a:lnTo>
                    <a:pt x="331" y="236"/>
                  </a:lnTo>
                  <a:lnTo>
                    <a:pt x="325" y="240"/>
                  </a:lnTo>
                  <a:lnTo>
                    <a:pt x="316" y="238"/>
                  </a:lnTo>
                  <a:lnTo>
                    <a:pt x="310" y="233"/>
                  </a:lnTo>
                  <a:lnTo>
                    <a:pt x="303" y="231"/>
                  </a:lnTo>
                  <a:lnTo>
                    <a:pt x="285" y="208"/>
                  </a:lnTo>
                  <a:lnTo>
                    <a:pt x="258" y="189"/>
                  </a:lnTo>
                  <a:lnTo>
                    <a:pt x="242" y="190"/>
                  </a:lnTo>
                  <a:lnTo>
                    <a:pt x="234" y="188"/>
                  </a:lnTo>
                  <a:lnTo>
                    <a:pt x="224" y="165"/>
                  </a:lnTo>
                  <a:lnTo>
                    <a:pt x="218" y="160"/>
                  </a:lnTo>
                  <a:lnTo>
                    <a:pt x="211" y="162"/>
                  </a:lnTo>
                  <a:lnTo>
                    <a:pt x="200" y="173"/>
                  </a:lnTo>
                  <a:lnTo>
                    <a:pt x="184" y="177"/>
                  </a:lnTo>
                  <a:lnTo>
                    <a:pt x="153" y="166"/>
                  </a:lnTo>
                  <a:lnTo>
                    <a:pt x="146" y="166"/>
                  </a:lnTo>
                  <a:lnTo>
                    <a:pt x="129" y="163"/>
                  </a:lnTo>
                  <a:lnTo>
                    <a:pt x="121" y="166"/>
                  </a:lnTo>
                  <a:lnTo>
                    <a:pt x="114" y="163"/>
                  </a:lnTo>
                  <a:lnTo>
                    <a:pt x="106" y="167"/>
                  </a:lnTo>
                  <a:lnTo>
                    <a:pt x="98" y="167"/>
                  </a:lnTo>
                  <a:lnTo>
                    <a:pt x="92" y="163"/>
                  </a:lnTo>
                  <a:lnTo>
                    <a:pt x="83" y="162"/>
                  </a:lnTo>
                  <a:lnTo>
                    <a:pt x="67" y="163"/>
                  </a:lnTo>
                  <a:lnTo>
                    <a:pt x="44" y="171"/>
                  </a:lnTo>
                  <a:lnTo>
                    <a:pt x="29" y="179"/>
                  </a:lnTo>
                  <a:lnTo>
                    <a:pt x="20" y="193"/>
                  </a:lnTo>
                  <a:lnTo>
                    <a:pt x="13" y="198"/>
                  </a:lnTo>
                  <a:lnTo>
                    <a:pt x="3" y="19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90" name="Freeform 202">
              <a:extLst>
                <a:ext uri="{FF2B5EF4-FFF2-40B4-BE49-F238E27FC236}">
                  <a16:creationId xmlns:a16="http://schemas.microsoft.com/office/drawing/2014/main" id="{493F6C7E-F2BB-D24B-E8E9-183A0A27C7B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117903" y="2489072"/>
              <a:ext cx="202958" cy="126510"/>
            </a:xfrm>
            <a:custGeom>
              <a:avLst/>
              <a:gdLst>
                <a:gd name="T0" fmla="*/ 2147483647 w 378"/>
                <a:gd name="T1" fmla="*/ 0 h 222"/>
                <a:gd name="T2" fmla="*/ 2147483647 w 378"/>
                <a:gd name="T3" fmla="*/ 0 h 222"/>
                <a:gd name="T4" fmla="*/ 2147483647 w 378"/>
                <a:gd name="T5" fmla="*/ 0 h 222"/>
                <a:gd name="T6" fmla="*/ 2147483647 w 378"/>
                <a:gd name="T7" fmla="*/ 0 h 222"/>
                <a:gd name="T8" fmla="*/ 2147483647 w 378"/>
                <a:gd name="T9" fmla="*/ 0 h 222"/>
                <a:gd name="T10" fmla="*/ 2147483647 w 378"/>
                <a:gd name="T11" fmla="*/ 0 h 222"/>
                <a:gd name="T12" fmla="*/ 0 w 378"/>
                <a:gd name="T13" fmla="*/ 0 h 222"/>
                <a:gd name="T14" fmla="*/ 0 w 378"/>
                <a:gd name="T15" fmla="*/ 0 h 222"/>
                <a:gd name="T16" fmla="*/ 0 w 378"/>
                <a:gd name="T17" fmla="*/ 0 h 222"/>
                <a:gd name="T18" fmla="*/ 0 w 378"/>
                <a:gd name="T19" fmla="*/ 0 h 222"/>
                <a:gd name="T20" fmla="*/ 0 w 378"/>
                <a:gd name="T21" fmla="*/ 0 h 222"/>
                <a:gd name="T22" fmla="*/ 0 w 378"/>
                <a:gd name="T23" fmla="*/ 0 h 222"/>
                <a:gd name="T24" fmla="*/ 0 w 378"/>
                <a:gd name="T25" fmla="*/ 0 h 222"/>
                <a:gd name="T26" fmla="*/ 0 w 378"/>
                <a:gd name="T27" fmla="*/ 0 h 222"/>
                <a:gd name="T28" fmla="*/ 0 w 378"/>
                <a:gd name="T29" fmla="*/ 0 h 222"/>
                <a:gd name="T30" fmla="*/ 0 w 378"/>
                <a:gd name="T31" fmla="*/ 0 h 222"/>
                <a:gd name="T32" fmla="*/ 0 w 378"/>
                <a:gd name="T33" fmla="*/ 0 h 222"/>
                <a:gd name="T34" fmla="*/ 0 w 378"/>
                <a:gd name="T35" fmla="*/ 0 h 222"/>
                <a:gd name="T36" fmla="*/ 0 w 378"/>
                <a:gd name="T37" fmla="*/ 0 h 222"/>
                <a:gd name="T38" fmla="*/ 0 w 378"/>
                <a:gd name="T39" fmla="*/ 0 h 222"/>
                <a:gd name="T40" fmla="*/ 0 w 378"/>
                <a:gd name="T41" fmla="*/ 0 h 222"/>
                <a:gd name="T42" fmla="*/ 0 w 378"/>
                <a:gd name="T43" fmla="*/ 0 h 222"/>
                <a:gd name="T44" fmla="*/ 0 w 378"/>
                <a:gd name="T45" fmla="*/ 0 h 222"/>
                <a:gd name="T46" fmla="*/ 0 w 378"/>
                <a:gd name="T47" fmla="*/ 0 h 222"/>
                <a:gd name="T48" fmla="*/ 0 w 378"/>
                <a:gd name="T49" fmla="*/ 0 h 222"/>
                <a:gd name="T50" fmla="*/ 0 w 378"/>
                <a:gd name="T51" fmla="*/ 0 h 222"/>
                <a:gd name="T52" fmla="*/ 0 w 378"/>
                <a:gd name="T53" fmla="*/ 0 h 222"/>
                <a:gd name="T54" fmla="*/ 0 w 378"/>
                <a:gd name="T55" fmla="*/ 0 h 222"/>
                <a:gd name="T56" fmla="*/ 0 w 378"/>
                <a:gd name="T57" fmla="*/ 0 h 222"/>
                <a:gd name="T58" fmla="*/ 0 w 378"/>
                <a:gd name="T59" fmla="*/ 0 h 222"/>
                <a:gd name="T60" fmla="*/ 0 w 378"/>
                <a:gd name="T61" fmla="*/ 0 h 222"/>
                <a:gd name="T62" fmla="*/ 0 w 378"/>
                <a:gd name="T63" fmla="*/ 0 h 222"/>
                <a:gd name="T64" fmla="*/ 0 w 378"/>
                <a:gd name="T65" fmla="*/ 0 h 222"/>
                <a:gd name="T66" fmla="*/ 0 w 378"/>
                <a:gd name="T67" fmla="*/ 0 h 222"/>
                <a:gd name="T68" fmla="*/ 0 w 378"/>
                <a:gd name="T69" fmla="*/ 0 h 222"/>
                <a:gd name="T70" fmla="*/ 0 w 378"/>
                <a:gd name="T71" fmla="*/ 0 h 222"/>
                <a:gd name="T72" fmla="*/ 2147483647 w 378"/>
                <a:gd name="T73" fmla="*/ 0 h 222"/>
                <a:gd name="T74" fmla="*/ 2147483647 w 378"/>
                <a:gd name="T75" fmla="*/ 0 h 222"/>
                <a:gd name="T76" fmla="*/ 2147483647 w 378"/>
                <a:gd name="T77" fmla="*/ 0 h 22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78"/>
                <a:gd name="T118" fmla="*/ 0 h 222"/>
                <a:gd name="T119" fmla="*/ 378 w 378"/>
                <a:gd name="T120" fmla="*/ 222 h 22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78" h="222">
                  <a:moveTo>
                    <a:pt x="378" y="136"/>
                  </a:moveTo>
                  <a:lnTo>
                    <a:pt x="371" y="143"/>
                  </a:lnTo>
                  <a:lnTo>
                    <a:pt x="360" y="142"/>
                  </a:lnTo>
                  <a:lnTo>
                    <a:pt x="355" y="149"/>
                  </a:lnTo>
                  <a:lnTo>
                    <a:pt x="350" y="156"/>
                  </a:lnTo>
                  <a:lnTo>
                    <a:pt x="341" y="159"/>
                  </a:lnTo>
                  <a:lnTo>
                    <a:pt x="339" y="164"/>
                  </a:lnTo>
                  <a:lnTo>
                    <a:pt x="338" y="176"/>
                  </a:lnTo>
                  <a:lnTo>
                    <a:pt x="333" y="185"/>
                  </a:lnTo>
                  <a:lnTo>
                    <a:pt x="324" y="187"/>
                  </a:lnTo>
                  <a:lnTo>
                    <a:pt x="324" y="193"/>
                  </a:lnTo>
                  <a:lnTo>
                    <a:pt x="311" y="203"/>
                  </a:lnTo>
                  <a:lnTo>
                    <a:pt x="296" y="206"/>
                  </a:lnTo>
                  <a:lnTo>
                    <a:pt x="291" y="201"/>
                  </a:lnTo>
                  <a:lnTo>
                    <a:pt x="283" y="201"/>
                  </a:lnTo>
                  <a:lnTo>
                    <a:pt x="276" y="210"/>
                  </a:lnTo>
                  <a:lnTo>
                    <a:pt x="271" y="222"/>
                  </a:lnTo>
                  <a:lnTo>
                    <a:pt x="271" y="208"/>
                  </a:lnTo>
                  <a:lnTo>
                    <a:pt x="263" y="197"/>
                  </a:lnTo>
                  <a:lnTo>
                    <a:pt x="227" y="201"/>
                  </a:lnTo>
                  <a:lnTo>
                    <a:pt x="213" y="188"/>
                  </a:lnTo>
                  <a:lnTo>
                    <a:pt x="205" y="183"/>
                  </a:lnTo>
                  <a:lnTo>
                    <a:pt x="172" y="182"/>
                  </a:lnTo>
                  <a:lnTo>
                    <a:pt x="166" y="192"/>
                  </a:lnTo>
                  <a:lnTo>
                    <a:pt x="162" y="201"/>
                  </a:lnTo>
                  <a:lnTo>
                    <a:pt x="152" y="209"/>
                  </a:lnTo>
                  <a:lnTo>
                    <a:pt x="143" y="213"/>
                  </a:lnTo>
                  <a:lnTo>
                    <a:pt x="132" y="214"/>
                  </a:lnTo>
                  <a:lnTo>
                    <a:pt x="121" y="213"/>
                  </a:lnTo>
                  <a:lnTo>
                    <a:pt x="114" y="207"/>
                  </a:lnTo>
                  <a:lnTo>
                    <a:pt x="100" y="202"/>
                  </a:lnTo>
                  <a:lnTo>
                    <a:pt x="97" y="196"/>
                  </a:lnTo>
                  <a:lnTo>
                    <a:pt x="71" y="176"/>
                  </a:lnTo>
                  <a:lnTo>
                    <a:pt x="61" y="164"/>
                  </a:lnTo>
                  <a:lnTo>
                    <a:pt x="33" y="140"/>
                  </a:lnTo>
                  <a:lnTo>
                    <a:pt x="23" y="127"/>
                  </a:lnTo>
                  <a:lnTo>
                    <a:pt x="23" y="110"/>
                  </a:lnTo>
                  <a:lnTo>
                    <a:pt x="21" y="97"/>
                  </a:lnTo>
                  <a:lnTo>
                    <a:pt x="8" y="91"/>
                  </a:lnTo>
                  <a:lnTo>
                    <a:pt x="0" y="82"/>
                  </a:lnTo>
                  <a:lnTo>
                    <a:pt x="0" y="73"/>
                  </a:lnTo>
                  <a:lnTo>
                    <a:pt x="1" y="68"/>
                  </a:lnTo>
                  <a:lnTo>
                    <a:pt x="17" y="83"/>
                  </a:lnTo>
                  <a:lnTo>
                    <a:pt x="19" y="83"/>
                  </a:lnTo>
                  <a:lnTo>
                    <a:pt x="24" y="69"/>
                  </a:lnTo>
                  <a:lnTo>
                    <a:pt x="40" y="62"/>
                  </a:lnTo>
                  <a:lnTo>
                    <a:pt x="57" y="57"/>
                  </a:lnTo>
                  <a:lnTo>
                    <a:pt x="75" y="48"/>
                  </a:lnTo>
                  <a:lnTo>
                    <a:pt x="81" y="36"/>
                  </a:lnTo>
                  <a:lnTo>
                    <a:pt x="119" y="23"/>
                  </a:lnTo>
                  <a:lnTo>
                    <a:pt x="123" y="0"/>
                  </a:lnTo>
                  <a:lnTo>
                    <a:pt x="132" y="3"/>
                  </a:lnTo>
                  <a:lnTo>
                    <a:pt x="140" y="15"/>
                  </a:lnTo>
                  <a:lnTo>
                    <a:pt x="146" y="24"/>
                  </a:lnTo>
                  <a:lnTo>
                    <a:pt x="153" y="24"/>
                  </a:lnTo>
                  <a:lnTo>
                    <a:pt x="159" y="27"/>
                  </a:lnTo>
                  <a:lnTo>
                    <a:pt x="174" y="13"/>
                  </a:lnTo>
                  <a:lnTo>
                    <a:pt x="184" y="18"/>
                  </a:lnTo>
                  <a:lnTo>
                    <a:pt x="190" y="27"/>
                  </a:lnTo>
                  <a:lnTo>
                    <a:pt x="198" y="27"/>
                  </a:lnTo>
                  <a:lnTo>
                    <a:pt x="218" y="31"/>
                  </a:lnTo>
                  <a:lnTo>
                    <a:pt x="228" y="43"/>
                  </a:lnTo>
                  <a:lnTo>
                    <a:pt x="239" y="45"/>
                  </a:lnTo>
                  <a:lnTo>
                    <a:pt x="240" y="47"/>
                  </a:lnTo>
                  <a:lnTo>
                    <a:pt x="240" y="50"/>
                  </a:lnTo>
                  <a:lnTo>
                    <a:pt x="236" y="61"/>
                  </a:lnTo>
                  <a:lnTo>
                    <a:pt x="255" y="79"/>
                  </a:lnTo>
                  <a:lnTo>
                    <a:pt x="263" y="82"/>
                  </a:lnTo>
                  <a:lnTo>
                    <a:pt x="274" y="74"/>
                  </a:lnTo>
                  <a:lnTo>
                    <a:pt x="271" y="68"/>
                  </a:lnTo>
                  <a:lnTo>
                    <a:pt x="272" y="62"/>
                  </a:lnTo>
                  <a:lnTo>
                    <a:pt x="297" y="70"/>
                  </a:lnTo>
                  <a:lnTo>
                    <a:pt x="317" y="73"/>
                  </a:lnTo>
                  <a:lnTo>
                    <a:pt x="317" y="89"/>
                  </a:lnTo>
                  <a:lnTo>
                    <a:pt x="326" y="96"/>
                  </a:lnTo>
                  <a:lnTo>
                    <a:pt x="331" y="94"/>
                  </a:lnTo>
                  <a:lnTo>
                    <a:pt x="340" y="99"/>
                  </a:lnTo>
                  <a:lnTo>
                    <a:pt x="360" y="127"/>
                  </a:lnTo>
                  <a:lnTo>
                    <a:pt x="378" y="13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91" name="Freeform 203">
              <a:extLst>
                <a:ext uri="{FF2B5EF4-FFF2-40B4-BE49-F238E27FC236}">
                  <a16:creationId xmlns:a16="http://schemas.microsoft.com/office/drawing/2014/main" id="{07CBA598-8CCB-DAA2-48C6-DE5E456F001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425326" y="2809157"/>
              <a:ext cx="183559" cy="124985"/>
            </a:xfrm>
            <a:custGeom>
              <a:avLst/>
              <a:gdLst>
                <a:gd name="T0" fmla="*/ 0 w 346"/>
                <a:gd name="T1" fmla="*/ 0 h 215"/>
                <a:gd name="T2" fmla="*/ 0 w 346"/>
                <a:gd name="T3" fmla="*/ 0 h 215"/>
                <a:gd name="T4" fmla="*/ 0 w 346"/>
                <a:gd name="T5" fmla="*/ 0 h 215"/>
                <a:gd name="T6" fmla="*/ 0 w 346"/>
                <a:gd name="T7" fmla="*/ 0 h 215"/>
                <a:gd name="T8" fmla="*/ 0 w 346"/>
                <a:gd name="T9" fmla="*/ 0 h 215"/>
                <a:gd name="T10" fmla="*/ 0 w 346"/>
                <a:gd name="T11" fmla="*/ 0 h 215"/>
                <a:gd name="T12" fmla="*/ 0 w 346"/>
                <a:gd name="T13" fmla="*/ 0 h 215"/>
                <a:gd name="T14" fmla="*/ 0 w 346"/>
                <a:gd name="T15" fmla="*/ 0 h 215"/>
                <a:gd name="T16" fmla="*/ 0 w 346"/>
                <a:gd name="T17" fmla="*/ 0 h 215"/>
                <a:gd name="T18" fmla="*/ 0 w 346"/>
                <a:gd name="T19" fmla="*/ 0 h 215"/>
                <a:gd name="T20" fmla="*/ 0 w 346"/>
                <a:gd name="T21" fmla="*/ 0 h 215"/>
                <a:gd name="T22" fmla="*/ 0 w 346"/>
                <a:gd name="T23" fmla="*/ 0 h 215"/>
                <a:gd name="T24" fmla="*/ 0 w 346"/>
                <a:gd name="T25" fmla="*/ 0 h 215"/>
                <a:gd name="T26" fmla="*/ 0 w 346"/>
                <a:gd name="T27" fmla="*/ 0 h 215"/>
                <a:gd name="T28" fmla="*/ 0 w 346"/>
                <a:gd name="T29" fmla="*/ 0 h 215"/>
                <a:gd name="T30" fmla="*/ 0 w 346"/>
                <a:gd name="T31" fmla="*/ 0 h 215"/>
                <a:gd name="T32" fmla="*/ 0 w 346"/>
                <a:gd name="T33" fmla="*/ 0 h 215"/>
                <a:gd name="T34" fmla="*/ 0 w 346"/>
                <a:gd name="T35" fmla="*/ 0 h 215"/>
                <a:gd name="T36" fmla="*/ 0 w 346"/>
                <a:gd name="T37" fmla="*/ 0 h 215"/>
                <a:gd name="T38" fmla="*/ 0 w 346"/>
                <a:gd name="T39" fmla="*/ 0 h 215"/>
                <a:gd name="T40" fmla="*/ 0 w 346"/>
                <a:gd name="T41" fmla="*/ 0 h 215"/>
                <a:gd name="T42" fmla="*/ 0 w 346"/>
                <a:gd name="T43" fmla="*/ 0 h 215"/>
                <a:gd name="T44" fmla="*/ 0 w 346"/>
                <a:gd name="T45" fmla="*/ 0 h 215"/>
                <a:gd name="T46" fmla="*/ 0 w 346"/>
                <a:gd name="T47" fmla="*/ 0 h 215"/>
                <a:gd name="T48" fmla="*/ 0 w 346"/>
                <a:gd name="T49" fmla="*/ 0 h 215"/>
                <a:gd name="T50" fmla="*/ 0 w 346"/>
                <a:gd name="T51" fmla="*/ 0 h 215"/>
                <a:gd name="T52" fmla="*/ 2147483647 w 346"/>
                <a:gd name="T53" fmla="*/ 0 h 215"/>
                <a:gd name="T54" fmla="*/ 2147483647 w 346"/>
                <a:gd name="T55" fmla="*/ 0 h 215"/>
                <a:gd name="T56" fmla="*/ 2147483647 w 346"/>
                <a:gd name="T57" fmla="*/ 0 h 215"/>
                <a:gd name="T58" fmla="*/ 2147483647 w 346"/>
                <a:gd name="T59" fmla="*/ 0 h 215"/>
                <a:gd name="T60" fmla="*/ 2147483647 w 346"/>
                <a:gd name="T61" fmla="*/ 0 h 215"/>
                <a:gd name="T62" fmla="*/ 0 w 346"/>
                <a:gd name="T63" fmla="*/ 0 h 215"/>
                <a:gd name="T64" fmla="*/ 0 w 346"/>
                <a:gd name="T65" fmla="*/ 0 h 215"/>
                <a:gd name="T66" fmla="*/ 0 w 346"/>
                <a:gd name="T67" fmla="*/ 0 h 215"/>
                <a:gd name="T68" fmla="*/ 0 w 346"/>
                <a:gd name="T69" fmla="*/ 0 h 215"/>
                <a:gd name="T70" fmla="*/ 0 w 346"/>
                <a:gd name="T71" fmla="*/ 0 h 215"/>
                <a:gd name="T72" fmla="*/ 0 w 346"/>
                <a:gd name="T73" fmla="*/ 0 h 215"/>
                <a:gd name="T74" fmla="*/ 0 w 346"/>
                <a:gd name="T75" fmla="*/ 0 h 215"/>
                <a:gd name="T76" fmla="*/ 0 w 346"/>
                <a:gd name="T77" fmla="*/ 0 h 215"/>
                <a:gd name="T78" fmla="*/ 0 w 346"/>
                <a:gd name="T79" fmla="*/ 0 h 215"/>
                <a:gd name="T80" fmla="*/ 0 w 346"/>
                <a:gd name="T81" fmla="*/ 0 h 215"/>
                <a:gd name="T82" fmla="*/ 0 w 346"/>
                <a:gd name="T83" fmla="*/ 0 h 215"/>
                <a:gd name="T84" fmla="*/ 0 w 346"/>
                <a:gd name="T85" fmla="*/ 0 h 215"/>
                <a:gd name="T86" fmla="*/ 0 w 346"/>
                <a:gd name="T87" fmla="*/ 0 h 215"/>
                <a:gd name="T88" fmla="*/ 0 w 346"/>
                <a:gd name="T89" fmla="*/ 0 h 215"/>
                <a:gd name="T90" fmla="*/ 0 w 346"/>
                <a:gd name="T91" fmla="*/ 0 h 215"/>
                <a:gd name="T92" fmla="*/ 0 w 346"/>
                <a:gd name="T93" fmla="*/ 0 h 215"/>
                <a:gd name="T94" fmla="*/ 0 w 346"/>
                <a:gd name="T95" fmla="*/ 0 h 215"/>
                <a:gd name="T96" fmla="*/ 0 w 346"/>
                <a:gd name="T97" fmla="*/ 0 h 215"/>
                <a:gd name="T98" fmla="*/ 0 w 346"/>
                <a:gd name="T99" fmla="*/ 0 h 215"/>
                <a:gd name="T100" fmla="*/ 0 w 346"/>
                <a:gd name="T101" fmla="*/ 0 h 215"/>
                <a:gd name="T102" fmla="*/ 0 w 346"/>
                <a:gd name="T103" fmla="*/ 0 h 215"/>
                <a:gd name="T104" fmla="*/ 0 w 346"/>
                <a:gd name="T105" fmla="*/ 0 h 215"/>
                <a:gd name="T106" fmla="*/ 0 w 346"/>
                <a:gd name="T107" fmla="*/ 0 h 215"/>
                <a:gd name="T108" fmla="*/ 0 w 346"/>
                <a:gd name="T109" fmla="*/ 0 h 215"/>
                <a:gd name="T110" fmla="*/ 0 w 346"/>
                <a:gd name="T111" fmla="*/ 0 h 215"/>
                <a:gd name="T112" fmla="*/ 0 w 346"/>
                <a:gd name="T113" fmla="*/ 0 h 215"/>
                <a:gd name="T114" fmla="*/ 0 w 346"/>
                <a:gd name="T115" fmla="*/ 0 h 215"/>
                <a:gd name="T116" fmla="*/ 0 w 346"/>
                <a:gd name="T117" fmla="*/ 0 h 215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46"/>
                <a:gd name="T178" fmla="*/ 0 h 215"/>
                <a:gd name="T179" fmla="*/ 346 w 346"/>
                <a:gd name="T180" fmla="*/ 215 h 215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46" h="215">
                  <a:moveTo>
                    <a:pt x="32" y="208"/>
                  </a:moveTo>
                  <a:lnTo>
                    <a:pt x="31" y="192"/>
                  </a:lnTo>
                  <a:lnTo>
                    <a:pt x="26" y="163"/>
                  </a:lnTo>
                  <a:lnTo>
                    <a:pt x="3" y="143"/>
                  </a:lnTo>
                  <a:lnTo>
                    <a:pt x="3" y="118"/>
                  </a:lnTo>
                  <a:lnTo>
                    <a:pt x="15" y="94"/>
                  </a:lnTo>
                  <a:lnTo>
                    <a:pt x="26" y="82"/>
                  </a:lnTo>
                  <a:lnTo>
                    <a:pt x="11" y="66"/>
                  </a:lnTo>
                  <a:lnTo>
                    <a:pt x="3" y="51"/>
                  </a:lnTo>
                  <a:lnTo>
                    <a:pt x="0" y="29"/>
                  </a:lnTo>
                  <a:lnTo>
                    <a:pt x="3" y="8"/>
                  </a:lnTo>
                  <a:lnTo>
                    <a:pt x="20" y="0"/>
                  </a:lnTo>
                  <a:lnTo>
                    <a:pt x="32" y="4"/>
                  </a:lnTo>
                  <a:lnTo>
                    <a:pt x="26" y="19"/>
                  </a:lnTo>
                  <a:lnTo>
                    <a:pt x="37" y="27"/>
                  </a:lnTo>
                  <a:lnTo>
                    <a:pt x="51" y="27"/>
                  </a:lnTo>
                  <a:lnTo>
                    <a:pt x="85" y="31"/>
                  </a:lnTo>
                  <a:lnTo>
                    <a:pt x="126" y="32"/>
                  </a:lnTo>
                  <a:lnTo>
                    <a:pt x="170" y="40"/>
                  </a:lnTo>
                  <a:lnTo>
                    <a:pt x="187" y="35"/>
                  </a:lnTo>
                  <a:lnTo>
                    <a:pt x="206" y="23"/>
                  </a:lnTo>
                  <a:lnTo>
                    <a:pt x="226" y="13"/>
                  </a:lnTo>
                  <a:lnTo>
                    <a:pt x="252" y="4"/>
                  </a:lnTo>
                  <a:lnTo>
                    <a:pt x="272" y="5"/>
                  </a:lnTo>
                  <a:lnTo>
                    <a:pt x="278" y="10"/>
                  </a:lnTo>
                  <a:lnTo>
                    <a:pt x="308" y="19"/>
                  </a:lnTo>
                  <a:lnTo>
                    <a:pt x="328" y="32"/>
                  </a:lnTo>
                  <a:lnTo>
                    <a:pt x="346" y="31"/>
                  </a:lnTo>
                  <a:lnTo>
                    <a:pt x="343" y="47"/>
                  </a:lnTo>
                  <a:lnTo>
                    <a:pt x="338" y="58"/>
                  </a:lnTo>
                  <a:lnTo>
                    <a:pt x="319" y="63"/>
                  </a:lnTo>
                  <a:lnTo>
                    <a:pt x="306" y="78"/>
                  </a:lnTo>
                  <a:lnTo>
                    <a:pt x="306" y="107"/>
                  </a:lnTo>
                  <a:lnTo>
                    <a:pt x="298" y="110"/>
                  </a:lnTo>
                  <a:lnTo>
                    <a:pt x="295" y="116"/>
                  </a:lnTo>
                  <a:lnTo>
                    <a:pt x="284" y="126"/>
                  </a:lnTo>
                  <a:lnTo>
                    <a:pt x="287" y="129"/>
                  </a:lnTo>
                  <a:lnTo>
                    <a:pt x="292" y="131"/>
                  </a:lnTo>
                  <a:lnTo>
                    <a:pt x="296" y="138"/>
                  </a:lnTo>
                  <a:lnTo>
                    <a:pt x="299" y="148"/>
                  </a:lnTo>
                  <a:lnTo>
                    <a:pt x="310" y="163"/>
                  </a:lnTo>
                  <a:lnTo>
                    <a:pt x="311" y="169"/>
                  </a:lnTo>
                  <a:lnTo>
                    <a:pt x="303" y="167"/>
                  </a:lnTo>
                  <a:lnTo>
                    <a:pt x="280" y="171"/>
                  </a:lnTo>
                  <a:lnTo>
                    <a:pt x="262" y="161"/>
                  </a:lnTo>
                  <a:lnTo>
                    <a:pt x="242" y="169"/>
                  </a:lnTo>
                  <a:lnTo>
                    <a:pt x="228" y="171"/>
                  </a:lnTo>
                  <a:lnTo>
                    <a:pt x="219" y="179"/>
                  </a:lnTo>
                  <a:lnTo>
                    <a:pt x="208" y="180"/>
                  </a:lnTo>
                  <a:lnTo>
                    <a:pt x="206" y="199"/>
                  </a:lnTo>
                  <a:lnTo>
                    <a:pt x="192" y="212"/>
                  </a:lnTo>
                  <a:lnTo>
                    <a:pt x="172" y="215"/>
                  </a:lnTo>
                  <a:lnTo>
                    <a:pt x="137" y="203"/>
                  </a:lnTo>
                  <a:lnTo>
                    <a:pt x="127" y="195"/>
                  </a:lnTo>
                  <a:lnTo>
                    <a:pt x="115" y="195"/>
                  </a:lnTo>
                  <a:lnTo>
                    <a:pt x="84" y="204"/>
                  </a:lnTo>
                  <a:lnTo>
                    <a:pt x="62" y="204"/>
                  </a:lnTo>
                  <a:lnTo>
                    <a:pt x="45" y="208"/>
                  </a:lnTo>
                  <a:lnTo>
                    <a:pt x="32" y="20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92" name="Freeform 204">
              <a:extLst>
                <a:ext uri="{FF2B5EF4-FFF2-40B4-BE49-F238E27FC236}">
                  <a16:creationId xmlns:a16="http://schemas.microsoft.com/office/drawing/2014/main" id="{92620554-D96B-BA14-5A01-B124F62673E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165658" y="2705510"/>
              <a:ext cx="171620" cy="156995"/>
            </a:xfrm>
            <a:custGeom>
              <a:avLst/>
              <a:gdLst>
                <a:gd name="T0" fmla="*/ 0 w 322"/>
                <a:gd name="T1" fmla="*/ 0 h 276"/>
                <a:gd name="T2" fmla="*/ 0 w 322"/>
                <a:gd name="T3" fmla="*/ 0 h 276"/>
                <a:gd name="T4" fmla="*/ 0 w 322"/>
                <a:gd name="T5" fmla="*/ 0 h 276"/>
                <a:gd name="T6" fmla="*/ 0 w 322"/>
                <a:gd name="T7" fmla="*/ 0 h 276"/>
                <a:gd name="T8" fmla="*/ 0 w 322"/>
                <a:gd name="T9" fmla="*/ 0 h 276"/>
                <a:gd name="T10" fmla="*/ 0 w 322"/>
                <a:gd name="T11" fmla="*/ 0 h 276"/>
                <a:gd name="T12" fmla="*/ 0 w 322"/>
                <a:gd name="T13" fmla="*/ 0 h 276"/>
                <a:gd name="T14" fmla="*/ 0 w 322"/>
                <a:gd name="T15" fmla="*/ 0 h 276"/>
                <a:gd name="T16" fmla="*/ 0 w 322"/>
                <a:gd name="T17" fmla="*/ 0 h 276"/>
                <a:gd name="T18" fmla="*/ 0 w 322"/>
                <a:gd name="T19" fmla="*/ 0 h 276"/>
                <a:gd name="T20" fmla="*/ 0 w 322"/>
                <a:gd name="T21" fmla="*/ 0 h 276"/>
                <a:gd name="T22" fmla="*/ 0 w 322"/>
                <a:gd name="T23" fmla="*/ 0 h 276"/>
                <a:gd name="T24" fmla="*/ 0 w 322"/>
                <a:gd name="T25" fmla="*/ 0 h 276"/>
                <a:gd name="T26" fmla="*/ 0 w 322"/>
                <a:gd name="T27" fmla="*/ 0 h 276"/>
                <a:gd name="T28" fmla="*/ 0 w 322"/>
                <a:gd name="T29" fmla="*/ 0 h 276"/>
                <a:gd name="T30" fmla="*/ 0 w 322"/>
                <a:gd name="T31" fmla="*/ 0 h 276"/>
                <a:gd name="T32" fmla="*/ 0 w 322"/>
                <a:gd name="T33" fmla="*/ 0 h 276"/>
                <a:gd name="T34" fmla="*/ 0 w 322"/>
                <a:gd name="T35" fmla="*/ 0 h 276"/>
                <a:gd name="T36" fmla="*/ 0 w 322"/>
                <a:gd name="T37" fmla="*/ 0 h 276"/>
                <a:gd name="T38" fmla="*/ 0 w 322"/>
                <a:gd name="T39" fmla="*/ 0 h 276"/>
                <a:gd name="T40" fmla="*/ 0 w 322"/>
                <a:gd name="T41" fmla="*/ 0 h 276"/>
                <a:gd name="T42" fmla="*/ 0 w 322"/>
                <a:gd name="T43" fmla="*/ 0 h 276"/>
                <a:gd name="T44" fmla="*/ 0 w 322"/>
                <a:gd name="T45" fmla="*/ 0 h 276"/>
                <a:gd name="T46" fmla="*/ 0 w 322"/>
                <a:gd name="T47" fmla="*/ 0 h 276"/>
                <a:gd name="T48" fmla="*/ 0 w 322"/>
                <a:gd name="T49" fmla="*/ 0 h 276"/>
                <a:gd name="T50" fmla="*/ 0 w 322"/>
                <a:gd name="T51" fmla="*/ 0 h 276"/>
                <a:gd name="T52" fmla="*/ 0 w 322"/>
                <a:gd name="T53" fmla="*/ 0 h 276"/>
                <a:gd name="T54" fmla="*/ 0 w 322"/>
                <a:gd name="T55" fmla="*/ 0 h 276"/>
                <a:gd name="T56" fmla="*/ 0 w 322"/>
                <a:gd name="T57" fmla="*/ 0 h 276"/>
                <a:gd name="T58" fmla="*/ 0 w 322"/>
                <a:gd name="T59" fmla="*/ 0 h 276"/>
                <a:gd name="T60" fmla="*/ 0 w 322"/>
                <a:gd name="T61" fmla="*/ 0 h 276"/>
                <a:gd name="T62" fmla="*/ 0 w 322"/>
                <a:gd name="T63" fmla="*/ 0 h 276"/>
                <a:gd name="T64" fmla="*/ 0 w 322"/>
                <a:gd name="T65" fmla="*/ 0 h 276"/>
                <a:gd name="T66" fmla="*/ 0 w 322"/>
                <a:gd name="T67" fmla="*/ 0 h 276"/>
                <a:gd name="T68" fmla="*/ 0 w 322"/>
                <a:gd name="T69" fmla="*/ 0 h 276"/>
                <a:gd name="T70" fmla="*/ 0 w 322"/>
                <a:gd name="T71" fmla="*/ 0 h 276"/>
                <a:gd name="T72" fmla="*/ 0 w 322"/>
                <a:gd name="T73" fmla="*/ 0 h 276"/>
                <a:gd name="T74" fmla="*/ 0 w 322"/>
                <a:gd name="T75" fmla="*/ 0 h 276"/>
                <a:gd name="T76" fmla="*/ 0 w 322"/>
                <a:gd name="T77" fmla="*/ 0 h 276"/>
                <a:gd name="T78" fmla="*/ 0 w 322"/>
                <a:gd name="T79" fmla="*/ 0 h 276"/>
                <a:gd name="T80" fmla="*/ 0 w 322"/>
                <a:gd name="T81" fmla="*/ 0 h 276"/>
                <a:gd name="T82" fmla="*/ 0 w 322"/>
                <a:gd name="T83" fmla="*/ 0 h 276"/>
                <a:gd name="T84" fmla="*/ 0 w 322"/>
                <a:gd name="T85" fmla="*/ 0 h 276"/>
                <a:gd name="T86" fmla="*/ 0 w 322"/>
                <a:gd name="T87" fmla="*/ 0 h 276"/>
                <a:gd name="T88" fmla="*/ 0 w 322"/>
                <a:gd name="T89" fmla="*/ 0 h 276"/>
                <a:gd name="T90" fmla="*/ 0 w 322"/>
                <a:gd name="T91" fmla="*/ 0 h 276"/>
                <a:gd name="T92" fmla="*/ 0 w 322"/>
                <a:gd name="T93" fmla="*/ 0 h 276"/>
                <a:gd name="T94" fmla="*/ 2147483647 w 322"/>
                <a:gd name="T95" fmla="*/ 0 h 276"/>
                <a:gd name="T96" fmla="*/ 2147483647 w 322"/>
                <a:gd name="T97" fmla="*/ 0 h 276"/>
                <a:gd name="T98" fmla="*/ 0 w 322"/>
                <a:gd name="T99" fmla="*/ 0 h 276"/>
                <a:gd name="T100" fmla="*/ 0 w 322"/>
                <a:gd name="T101" fmla="*/ 0 h 276"/>
                <a:gd name="T102" fmla="*/ 0 w 322"/>
                <a:gd name="T103" fmla="*/ 0 h 276"/>
                <a:gd name="T104" fmla="*/ 0 w 322"/>
                <a:gd name="T105" fmla="*/ 0 h 276"/>
                <a:gd name="T106" fmla="*/ 0 w 322"/>
                <a:gd name="T107" fmla="*/ 0 h 276"/>
                <a:gd name="T108" fmla="*/ 0 w 322"/>
                <a:gd name="T109" fmla="*/ 0 h 276"/>
                <a:gd name="T110" fmla="*/ 0 w 322"/>
                <a:gd name="T111" fmla="*/ 0 h 276"/>
                <a:gd name="T112" fmla="*/ 0 w 322"/>
                <a:gd name="T113" fmla="*/ 0 h 27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22"/>
                <a:gd name="T172" fmla="*/ 0 h 276"/>
                <a:gd name="T173" fmla="*/ 322 w 322"/>
                <a:gd name="T174" fmla="*/ 276 h 27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22" h="276">
                  <a:moveTo>
                    <a:pt x="284" y="50"/>
                  </a:moveTo>
                  <a:lnTo>
                    <a:pt x="272" y="58"/>
                  </a:lnTo>
                  <a:lnTo>
                    <a:pt x="258" y="62"/>
                  </a:lnTo>
                  <a:lnTo>
                    <a:pt x="241" y="63"/>
                  </a:lnTo>
                  <a:lnTo>
                    <a:pt x="226" y="54"/>
                  </a:lnTo>
                  <a:lnTo>
                    <a:pt x="215" y="50"/>
                  </a:lnTo>
                  <a:lnTo>
                    <a:pt x="204" y="35"/>
                  </a:lnTo>
                  <a:lnTo>
                    <a:pt x="189" y="28"/>
                  </a:lnTo>
                  <a:lnTo>
                    <a:pt x="180" y="12"/>
                  </a:lnTo>
                  <a:lnTo>
                    <a:pt x="167" y="7"/>
                  </a:lnTo>
                  <a:lnTo>
                    <a:pt x="167" y="4"/>
                  </a:lnTo>
                  <a:lnTo>
                    <a:pt x="164" y="7"/>
                  </a:lnTo>
                  <a:lnTo>
                    <a:pt x="155" y="1"/>
                  </a:lnTo>
                  <a:lnTo>
                    <a:pt x="151" y="0"/>
                  </a:lnTo>
                  <a:lnTo>
                    <a:pt x="148" y="3"/>
                  </a:lnTo>
                  <a:lnTo>
                    <a:pt x="148" y="8"/>
                  </a:lnTo>
                  <a:lnTo>
                    <a:pt x="149" y="14"/>
                  </a:lnTo>
                  <a:lnTo>
                    <a:pt x="149" y="15"/>
                  </a:lnTo>
                  <a:lnTo>
                    <a:pt x="145" y="14"/>
                  </a:lnTo>
                  <a:lnTo>
                    <a:pt x="138" y="14"/>
                  </a:lnTo>
                  <a:lnTo>
                    <a:pt x="138" y="19"/>
                  </a:lnTo>
                  <a:lnTo>
                    <a:pt x="134" y="22"/>
                  </a:lnTo>
                  <a:lnTo>
                    <a:pt x="114" y="29"/>
                  </a:lnTo>
                  <a:lnTo>
                    <a:pt x="111" y="34"/>
                  </a:lnTo>
                  <a:lnTo>
                    <a:pt x="112" y="38"/>
                  </a:lnTo>
                  <a:lnTo>
                    <a:pt x="118" y="45"/>
                  </a:lnTo>
                  <a:lnTo>
                    <a:pt x="118" y="56"/>
                  </a:lnTo>
                  <a:lnTo>
                    <a:pt x="113" y="63"/>
                  </a:lnTo>
                  <a:lnTo>
                    <a:pt x="105" y="65"/>
                  </a:lnTo>
                  <a:lnTo>
                    <a:pt x="94" y="73"/>
                  </a:lnTo>
                  <a:lnTo>
                    <a:pt x="97" y="78"/>
                  </a:lnTo>
                  <a:lnTo>
                    <a:pt x="94" y="83"/>
                  </a:lnTo>
                  <a:lnTo>
                    <a:pt x="95" y="95"/>
                  </a:lnTo>
                  <a:lnTo>
                    <a:pt x="90" y="99"/>
                  </a:lnTo>
                  <a:lnTo>
                    <a:pt x="86" y="99"/>
                  </a:lnTo>
                  <a:lnTo>
                    <a:pt x="81" y="93"/>
                  </a:lnTo>
                  <a:lnTo>
                    <a:pt x="78" y="93"/>
                  </a:lnTo>
                  <a:lnTo>
                    <a:pt x="75" y="90"/>
                  </a:lnTo>
                  <a:lnTo>
                    <a:pt x="73" y="90"/>
                  </a:lnTo>
                  <a:lnTo>
                    <a:pt x="73" y="94"/>
                  </a:lnTo>
                  <a:lnTo>
                    <a:pt x="68" y="95"/>
                  </a:lnTo>
                  <a:lnTo>
                    <a:pt x="57" y="76"/>
                  </a:lnTo>
                  <a:lnTo>
                    <a:pt x="54" y="76"/>
                  </a:lnTo>
                  <a:lnTo>
                    <a:pt x="47" y="92"/>
                  </a:lnTo>
                  <a:lnTo>
                    <a:pt x="30" y="92"/>
                  </a:lnTo>
                  <a:lnTo>
                    <a:pt x="24" y="87"/>
                  </a:lnTo>
                  <a:lnTo>
                    <a:pt x="21" y="92"/>
                  </a:lnTo>
                  <a:lnTo>
                    <a:pt x="8" y="93"/>
                  </a:lnTo>
                  <a:lnTo>
                    <a:pt x="0" y="87"/>
                  </a:lnTo>
                  <a:lnTo>
                    <a:pt x="4" y="108"/>
                  </a:lnTo>
                  <a:lnTo>
                    <a:pt x="16" y="135"/>
                  </a:lnTo>
                  <a:lnTo>
                    <a:pt x="21" y="138"/>
                  </a:lnTo>
                  <a:lnTo>
                    <a:pt x="27" y="137"/>
                  </a:lnTo>
                  <a:lnTo>
                    <a:pt x="38" y="116"/>
                  </a:lnTo>
                  <a:lnTo>
                    <a:pt x="44" y="99"/>
                  </a:lnTo>
                  <a:lnTo>
                    <a:pt x="57" y="103"/>
                  </a:lnTo>
                  <a:lnTo>
                    <a:pt x="65" y="113"/>
                  </a:lnTo>
                  <a:lnTo>
                    <a:pt x="68" y="113"/>
                  </a:lnTo>
                  <a:lnTo>
                    <a:pt x="73" y="119"/>
                  </a:lnTo>
                  <a:lnTo>
                    <a:pt x="75" y="128"/>
                  </a:lnTo>
                  <a:lnTo>
                    <a:pt x="75" y="143"/>
                  </a:lnTo>
                  <a:lnTo>
                    <a:pt x="84" y="159"/>
                  </a:lnTo>
                  <a:lnTo>
                    <a:pt x="103" y="175"/>
                  </a:lnTo>
                  <a:lnTo>
                    <a:pt x="94" y="178"/>
                  </a:lnTo>
                  <a:lnTo>
                    <a:pt x="90" y="183"/>
                  </a:lnTo>
                  <a:lnTo>
                    <a:pt x="91" y="187"/>
                  </a:lnTo>
                  <a:lnTo>
                    <a:pt x="102" y="202"/>
                  </a:lnTo>
                  <a:lnTo>
                    <a:pt x="112" y="210"/>
                  </a:lnTo>
                  <a:lnTo>
                    <a:pt x="119" y="216"/>
                  </a:lnTo>
                  <a:lnTo>
                    <a:pt x="129" y="221"/>
                  </a:lnTo>
                  <a:lnTo>
                    <a:pt x="134" y="230"/>
                  </a:lnTo>
                  <a:lnTo>
                    <a:pt x="135" y="238"/>
                  </a:lnTo>
                  <a:lnTo>
                    <a:pt x="154" y="237"/>
                  </a:lnTo>
                  <a:lnTo>
                    <a:pt x="166" y="238"/>
                  </a:lnTo>
                  <a:lnTo>
                    <a:pt x="183" y="245"/>
                  </a:lnTo>
                  <a:lnTo>
                    <a:pt x="198" y="256"/>
                  </a:lnTo>
                  <a:lnTo>
                    <a:pt x="211" y="270"/>
                  </a:lnTo>
                  <a:lnTo>
                    <a:pt x="219" y="276"/>
                  </a:lnTo>
                  <a:lnTo>
                    <a:pt x="226" y="272"/>
                  </a:lnTo>
                  <a:lnTo>
                    <a:pt x="204" y="248"/>
                  </a:lnTo>
                  <a:lnTo>
                    <a:pt x="203" y="237"/>
                  </a:lnTo>
                  <a:lnTo>
                    <a:pt x="198" y="233"/>
                  </a:lnTo>
                  <a:lnTo>
                    <a:pt x="193" y="230"/>
                  </a:lnTo>
                  <a:lnTo>
                    <a:pt x="173" y="211"/>
                  </a:lnTo>
                  <a:lnTo>
                    <a:pt x="172" y="206"/>
                  </a:lnTo>
                  <a:lnTo>
                    <a:pt x="162" y="192"/>
                  </a:lnTo>
                  <a:lnTo>
                    <a:pt x="156" y="190"/>
                  </a:lnTo>
                  <a:lnTo>
                    <a:pt x="148" y="178"/>
                  </a:lnTo>
                  <a:lnTo>
                    <a:pt x="143" y="176"/>
                  </a:lnTo>
                  <a:lnTo>
                    <a:pt x="144" y="170"/>
                  </a:lnTo>
                  <a:lnTo>
                    <a:pt x="146" y="168"/>
                  </a:lnTo>
                  <a:lnTo>
                    <a:pt x="143" y="162"/>
                  </a:lnTo>
                  <a:lnTo>
                    <a:pt x="143" y="157"/>
                  </a:lnTo>
                  <a:lnTo>
                    <a:pt x="137" y="151"/>
                  </a:lnTo>
                  <a:lnTo>
                    <a:pt x="133" y="138"/>
                  </a:lnTo>
                  <a:lnTo>
                    <a:pt x="128" y="137"/>
                  </a:lnTo>
                  <a:lnTo>
                    <a:pt x="121" y="131"/>
                  </a:lnTo>
                  <a:lnTo>
                    <a:pt x="121" y="128"/>
                  </a:lnTo>
                  <a:lnTo>
                    <a:pt x="124" y="126"/>
                  </a:lnTo>
                  <a:lnTo>
                    <a:pt x="123" y="122"/>
                  </a:lnTo>
                  <a:lnTo>
                    <a:pt x="123" y="103"/>
                  </a:lnTo>
                  <a:lnTo>
                    <a:pt x="129" y="97"/>
                  </a:lnTo>
                  <a:lnTo>
                    <a:pt x="138" y="99"/>
                  </a:lnTo>
                  <a:lnTo>
                    <a:pt x="138" y="101"/>
                  </a:lnTo>
                  <a:lnTo>
                    <a:pt x="151" y="116"/>
                  </a:lnTo>
                  <a:lnTo>
                    <a:pt x="155" y="116"/>
                  </a:lnTo>
                  <a:lnTo>
                    <a:pt x="164" y="99"/>
                  </a:lnTo>
                  <a:lnTo>
                    <a:pt x="182" y="101"/>
                  </a:lnTo>
                  <a:lnTo>
                    <a:pt x="186" y="97"/>
                  </a:lnTo>
                  <a:lnTo>
                    <a:pt x="188" y="97"/>
                  </a:lnTo>
                  <a:lnTo>
                    <a:pt x="200" y="105"/>
                  </a:lnTo>
                  <a:lnTo>
                    <a:pt x="204" y="105"/>
                  </a:lnTo>
                  <a:lnTo>
                    <a:pt x="207" y="103"/>
                  </a:lnTo>
                  <a:lnTo>
                    <a:pt x="210" y="106"/>
                  </a:lnTo>
                  <a:lnTo>
                    <a:pt x="225" y="109"/>
                  </a:lnTo>
                  <a:lnTo>
                    <a:pt x="226" y="106"/>
                  </a:lnTo>
                  <a:lnTo>
                    <a:pt x="229" y="106"/>
                  </a:lnTo>
                  <a:lnTo>
                    <a:pt x="237" y="114"/>
                  </a:lnTo>
                  <a:lnTo>
                    <a:pt x="240" y="114"/>
                  </a:lnTo>
                  <a:lnTo>
                    <a:pt x="246" y="106"/>
                  </a:lnTo>
                  <a:lnTo>
                    <a:pt x="250" y="106"/>
                  </a:lnTo>
                  <a:lnTo>
                    <a:pt x="253" y="111"/>
                  </a:lnTo>
                  <a:lnTo>
                    <a:pt x="256" y="113"/>
                  </a:lnTo>
                  <a:lnTo>
                    <a:pt x="258" y="108"/>
                  </a:lnTo>
                  <a:lnTo>
                    <a:pt x="269" y="109"/>
                  </a:lnTo>
                  <a:lnTo>
                    <a:pt x="273" y="115"/>
                  </a:lnTo>
                  <a:lnTo>
                    <a:pt x="275" y="114"/>
                  </a:lnTo>
                  <a:lnTo>
                    <a:pt x="275" y="111"/>
                  </a:lnTo>
                  <a:lnTo>
                    <a:pt x="283" y="111"/>
                  </a:lnTo>
                  <a:lnTo>
                    <a:pt x="289" y="119"/>
                  </a:lnTo>
                  <a:lnTo>
                    <a:pt x="288" y="124"/>
                  </a:lnTo>
                  <a:lnTo>
                    <a:pt x="288" y="125"/>
                  </a:lnTo>
                  <a:lnTo>
                    <a:pt x="294" y="130"/>
                  </a:lnTo>
                  <a:lnTo>
                    <a:pt x="301" y="130"/>
                  </a:lnTo>
                  <a:lnTo>
                    <a:pt x="307" y="125"/>
                  </a:lnTo>
                  <a:lnTo>
                    <a:pt x="309" y="120"/>
                  </a:lnTo>
                  <a:lnTo>
                    <a:pt x="307" y="119"/>
                  </a:lnTo>
                  <a:lnTo>
                    <a:pt x="305" y="109"/>
                  </a:lnTo>
                  <a:lnTo>
                    <a:pt x="307" y="106"/>
                  </a:lnTo>
                  <a:lnTo>
                    <a:pt x="309" y="101"/>
                  </a:lnTo>
                  <a:lnTo>
                    <a:pt x="311" y="100"/>
                  </a:lnTo>
                  <a:lnTo>
                    <a:pt x="315" y="101"/>
                  </a:lnTo>
                  <a:lnTo>
                    <a:pt x="318" y="103"/>
                  </a:lnTo>
                  <a:lnTo>
                    <a:pt x="322" y="100"/>
                  </a:lnTo>
                  <a:lnTo>
                    <a:pt x="322" y="98"/>
                  </a:lnTo>
                  <a:lnTo>
                    <a:pt x="320" y="97"/>
                  </a:lnTo>
                  <a:lnTo>
                    <a:pt x="316" y="98"/>
                  </a:lnTo>
                  <a:lnTo>
                    <a:pt x="312" y="95"/>
                  </a:lnTo>
                  <a:lnTo>
                    <a:pt x="307" y="95"/>
                  </a:lnTo>
                  <a:lnTo>
                    <a:pt x="304" y="93"/>
                  </a:lnTo>
                  <a:lnTo>
                    <a:pt x="302" y="92"/>
                  </a:lnTo>
                  <a:lnTo>
                    <a:pt x="299" y="92"/>
                  </a:lnTo>
                  <a:lnTo>
                    <a:pt x="297" y="89"/>
                  </a:lnTo>
                  <a:lnTo>
                    <a:pt x="297" y="88"/>
                  </a:lnTo>
                  <a:lnTo>
                    <a:pt x="299" y="84"/>
                  </a:lnTo>
                  <a:lnTo>
                    <a:pt x="297" y="83"/>
                  </a:lnTo>
                  <a:lnTo>
                    <a:pt x="299" y="81"/>
                  </a:lnTo>
                  <a:lnTo>
                    <a:pt x="300" y="81"/>
                  </a:lnTo>
                  <a:lnTo>
                    <a:pt x="302" y="79"/>
                  </a:lnTo>
                  <a:lnTo>
                    <a:pt x="302" y="77"/>
                  </a:lnTo>
                  <a:lnTo>
                    <a:pt x="299" y="74"/>
                  </a:lnTo>
                  <a:lnTo>
                    <a:pt x="297" y="74"/>
                  </a:lnTo>
                  <a:lnTo>
                    <a:pt x="295" y="77"/>
                  </a:lnTo>
                  <a:lnTo>
                    <a:pt x="291" y="76"/>
                  </a:lnTo>
                  <a:lnTo>
                    <a:pt x="291" y="73"/>
                  </a:lnTo>
                  <a:lnTo>
                    <a:pt x="294" y="70"/>
                  </a:lnTo>
                  <a:lnTo>
                    <a:pt x="294" y="66"/>
                  </a:lnTo>
                  <a:lnTo>
                    <a:pt x="291" y="63"/>
                  </a:lnTo>
                  <a:lnTo>
                    <a:pt x="293" y="61"/>
                  </a:lnTo>
                  <a:lnTo>
                    <a:pt x="293" y="57"/>
                  </a:lnTo>
                  <a:lnTo>
                    <a:pt x="284" y="5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93" name="Freeform 205">
              <a:extLst>
                <a:ext uri="{FF2B5EF4-FFF2-40B4-BE49-F238E27FC236}">
                  <a16:creationId xmlns:a16="http://schemas.microsoft.com/office/drawing/2014/main" id="{46ADF0E5-48EF-7657-EC42-932C2EEA8B4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34293" y="2876222"/>
              <a:ext cx="53724" cy="121938"/>
            </a:xfrm>
            <a:custGeom>
              <a:avLst/>
              <a:gdLst>
                <a:gd name="T0" fmla="*/ 0 w 97"/>
                <a:gd name="T1" fmla="*/ 0 h 215"/>
                <a:gd name="T2" fmla="*/ 0 w 97"/>
                <a:gd name="T3" fmla="*/ 0 h 215"/>
                <a:gd name="T4" fmla="*/ 0 w 97"/>
                <a:gd name="T5" fmla="*/ 0 h 215"/>
                <a:gd name="T6" fmla="*/ 0 w 97"/>
                <a:gd name="T7" fmla="*/ 0 h 215"/>
                <a:gd name="T8" fmla="*/ 0 w 97"/>
                <a:gd name="T9" fmla="*/ 0 h 215"/>
                <a:gd name="T10" fmla="*/ 0 w 97"/>
                <a:gd name="T11" fmla="*/ 0 h 215"/>
                <a:gd name="T12" fmla="*/ 0 w 97"/>
                <a:gd name="T13" fmla="*/ 0 h 215"/>
                <a:gd name="T14" fmla="*/ 0 w 97"/>
                <a:gd name="T15" fmla="*/ 0 h 215"/>
                <a:gd name="T16" fmla="*/ 0 w 97"/>
                <a:gd name="T17" fmla="*/ 0 h 215"/>
                <a:gd name="T18" fmla="*/ 0 w 97"/>
                <a:gd name="T19" fmla="*/ 0 h 215"/>
                <a:gd name="T20" fmla="*/ 0 w 97"/>
                <a:gd name="T21" fmla="*/ 0 h 215"/>
                <a:gd name="T22" fmla="*/ 0 w 97"/>
                <a:gd name="T23" fmla="*/ 0 h 215"/>
                <a:gd name="T24" fmla="*/ 0 w 97"/>
                <a:gd name="T25" fmla="*/ 0 h 215"/>
                <a:gd name="T26" fmla="*/ 0 w 97"/>
                <a:gd name="T27" fmla="*/ 0 h 215"/>
                <a:gd name="T28" fmla="*/ 0 w 97"/>
                <a:gd name="T29" fmla="*/ 0 h 215"/>
                <a:gd name="T30" fmla="*/ 0 w 97"/>
                <a:gd name="T31" fmla="*/ 0 h 215"/>
                <a:gd name="T32" fmla="*/ 0 w 97"/>
                <a:gd name="T33" fmla="*/ 0 h 215"/>
                <a:gd name="T34" fmla="*/ 0 w 97"/>
                <a:gd name="T35" fmla="*/ 0 h 215"/>
                <a:gd name="T36" fmla="*/ 0 w 97"/>
                <a:gd name="T37" fmla="*/ 0 h 215"/>
                <a:gd name="T38" fmla="*/ 0 w 97"/>
                <a:gd name="T39" fmla="*/ 0 h 215"/>
                <a:gd name="T40" fmla="*/ 0 w 97"/>
                <a:gd name="T41" fmla="*/ 0 h 215"/>
                <a:gd name="T42" fmla="*/ 0 w 97"/>
                <a:gd name="T43" fmla="*/ 0 h 215"/>
                <a:gd name="T44" fmla="*/ 0 w 97"/>
                <a:gd name="T45" fmla="*/ 0 h 215"/>
                <a:gd name="T46" fmla="*/ 0 w 97"/>
                <a:gd name="T47" fmla="*/ 0 h 215"/>
                <a:gd name="T48" fmla="*/ 0 w 97"/>
                <a:gd name="T49" fmla="*/ 0 h 215"/>
                <a:gd name="T50" fmla="*/ 0 w 97"/>
                <a:gd name="T51" fmla="*/ 0 h 215"/>
                <a:gd name="T52" fmla="*/ 0 w 97"/>
                <a:gd name="T53" fmla="*/ 0 h 215"/>
                <a:gd name="T54" fmla="*/ 0 w 97"/>
                <a:gd name="T55" fmla="*/ 0 h 215"/>
                <a:gd name="T56" fmla="*/ 0 w 97"/>
                <a:gd name="T57" fmla="*/ 0 h 215"/>
                <a:gd name="T58" fmla="*/ 0 w 97"/>
                <a:gd name="T59" fmla="*/ 0 h 215"/>
                <a:gd name="T60" fmla="*/ 0 w 97"/>
                <a:gd name="T61" fmla="*/ 0 h 215"/>
                <a:gd name="T62" fmla="*/ 0 w 97"/>
                <a:gd name="T63" fmla="*/ 0 h 215"/>
                <a:gd name="T64" fmla="*/ 0 w 97"/>
                <a:gd name="T65" fmla="*/ 0 h 215"/>
                <a:gd name="T66" fmla="*/ 0 w 97"/>
                <a:gd name="T67" fmla="*/ 0 h 215"/>
                <a:gd name="T68" fmla="*/ 0 w 97"/>
                <a:gd name="T69" fmla="*/ 0 h 215"/>
                <a:gd name="T70" fmla="*/ 0 w 97"/>
                <a:gd name="T71" fmla="*/ 0 h 215"/>
                <a:gd name="T72" fmla="*/ 0 w 97"/>
                <a:gd name="T73" fmla="*/ 0 h 215"/>
                <a:gd name="T74" fmla="*/ 0 w 97"/>
                <a:gd name="T75" fmla="*/ 0 h 215"/>
                <a:gd name="T76" fmla="*/ 0 w 97"/>
                <a:gd name="T77" fmla="*/ 0 h 215"/>
                <a:gd name="T78" fmla="*/ 0 w 97"/>
                <a:gd name="T79" fmla="*/ 0 h 215"/>
                <a:gd name="T80" fmla="*/ 0 w 97"/>
                <a:gd name="T81" fmla="*/ 0 h 21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97"/>
                <a:gd name="T124" fmla="*/ 0 h 215"/>
                <a:gd name="T125" fmla="*/ 97 w 97"/>
                <a:gd name="T126" fmla="*/ 215 h 21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97" h="215">
                  <a:moveTo>
                    <a:pt x="48" y="215"/>
                  </a:moveTo>
                  <a:lnTo>
                    <a:pt x="39" y="210"/>
                  </a:lnTo>
                  <a:lnTo>
                    <a:pt x="38" y="200"/>
                  </a:lnTo>
                  <a:lnTo>
                    <a:pt x="31" y="190"/>
                  </a:lnTo>
                  <a:lnTo>
                    <a:pt x="13" y="183"/>
                  </a:lnTo>
                  <a:lnTo>
                    <a:pt x="4" y="168"/>
                  </a:lnTo>
                  <a:lnTo>
                    <a:pt x="0" y="160"/>
                  </a:lnTo>
                  <a:lnTo>
                    <a:pt x="7" y="161"/>
                  </a:lnTo>
                  <a:lnTo>
                    <a:pt x="7" y="152"/>
                  </a:lnTo>
                  <a:lnTo>
                    <a:pt x="4" y="139"/>
                  </a:lnTo>
                  <a:lnTo>
                    <a:pt x="7" y="125"/>
                  </a:lnTo>
                  <a:lnTo>
                    <a:pt x="8" y="123"/>
                  </a:lnTo>
                  <a:lnTo>
                    <a:pt x="8" y="114"/>
                  </a:lnTo>
                  <a:lnTo>
                    <a:pt x="10" y="106"/>
                  </a:lnTo>
                  <a:lnTo>
                    <a:pt x="6" y="94"/>
                  </a:lnTo>
                  <a:lnTo>
                    <a:pt x="15" y="64"/>
                  </a:lnTo>
                  <a:lnTo>
                    <a:pt x="10" y="58"/>
                  </a:lnTo>
                  <a:lnTo>
                    <a:pt x="2" y="56"/>
                  </a:lnTo>
                  <a:lnTo>
                    <a:pt x="7" y="40"/>
                  </a:lnTo>
                  <a:lnTo>
                    <a:pt x="5" y="29"/>
                  </a:lnTo>
                  <a:lnTo>
                    <a:pt x="10" y="15"/>
                  </a:lnTo>
                  <a:lnTo>
                    <a:pt x="17" y="10"/>
                  </a:lnTo>
                  <a:lnTo>
                    <a:pt x="23" y="0"/>
                  </a:lnTo>
                  <a:lnTo>
                    <a:pt x="31" y="7"/>
                  </a:lnTo>
                  <a:lnTo>
                    <a:pt x="45" y="9"/>
                  </a:lnTo>
                  <a:lnTo>
                    <a:pt x="51" y="20"/>
                  </a:lnTo>
                  <a:lnTo>
                    <a:pt x="61" y="24"/>
                  </a:lnTo>
                  <a:lnTo>
                    <a:pt x="74" y="40"/>
                  </a:lnTo>
                  <a:lnTo>
                    <a:pt x="69" y="76"/>
                  </a:lnTo>
                  <a:lnTo>
                    <a:pt x="69" y="93"/>
                  </a:lnTo>
                  <a:lnTo>
                    <a:pt x="77" y="113"/>
                  </a:lnTo>
                  <a:lnTo>
                    <a:pt x="94" y="130"/>
                  </a:lnTo>
                  <a:lnTo>
                    <a:pt x="97" y="140"/>
                  </a:lnTo>
                  <a:lnTo>
                    <a:pt x="97" y="155"/>
                  </a:lnTo>
                  <a:lnTo>
                    <a:pt x="83" y="166"/>
                  </a:lnTo>
                  <a:lnTo>
                    <a:pt x="75" y="183"/>
                  </a:lnTo>
                  <a:lnTo>
                    <a:pt x="65" y="190"/>
                  </a:lnTo>
                  <a:lnTo>
                    <a:pt x="63" y="203"/>
                  </a:lnTo>
                  <a:lnTo>
                    <a:pt x="58" y="209"/>
                  </a:lnTo>
                  <a:lnTo>
                    <a:pt x="49" y="215"/>
                  </a:lnTo>
                  <a:lnTo>
                    <a:pt x="48" y="21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94" name="Freeform 206">
              <a:extLst>
                <a:ext uri="{FF2B5EF4-FFF2-40B4-BE49-F238E27FC236}">
                  <a16:creationId xmlns:a16="http://schemas.microsoft.com/office/drawing/2014/main" id="{B413B9EB-DB9B-21B6-D924-09927D596432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5033" y="2208615"/>
              <a:ext cx="167142" cy="134131"/>
            </a:xfrm>
            <a:custGeom>
              <a:avLst/>
              <a:gdLst>
                <a:gd name="T0" fmla="*/ 0 w 317"/>
                <a:gd name="T1" fmla="*/ 0 h 244"/>
                <a:gd name="T2" fmla="*/ 0 w 317"/>
                <a:gd name="T3" fmla="*/ 0 h 244"/>
                <a:gd name="T4" fmla="*/ 0 w 317"/>
                <a:gd name="T5" fmla="*/ 0 h 244"/>
                <a:gd name="T6" fmla="*/ 0 w 317"/>
                <a:gd name="T7" fmla="*/ 0 h 244"/>
                <a:gd name="T8" fmla="*/ 0 w 317"/>
                <a:gd name="T9" fmla="*/ 0 h 244"/>
                <a:gd name="T10" fmla="*/ 0 w 317"/>
                <a:gd name="T11" fmla="*/ 0 h 244"/>
                <a:gd name="T12" fmla="*/ 0 w 317"/>
                <a:gd name="T13" fmla="*/ 0 h 244"/>
                <a:gd name="T14" fmla="*/ 0 w 317"/>
                <a:gd name="T15" fmla="*/ 0 h 244"/>
                <a:gd name="T16" fmla="*/ 0 w 317"/>
                <a:gd name="T17" fmla="*/ 0 h 244"/>
                <a:gd name="T18" fmla="*/ 0 w 317"/>
                <a:gd name="T19" fmla="*/ 0 h 244"/>
                <a:gd name="T20" fmla="*/ 0 w 317"/>
                <a:gd name="T21" fmla="*/ 0 h 244"/>
                <a:gd name="T22" fmla="*/ 0 w 317"/>
                <a:gd name="T23" fmla="*/ 0 h 244"/>
                <a:gd name="T24" fmla="*/ 0 w 317"/>
                <a:gd name="T25" fmla="*/ 0 h 244"/>
                <a:gd name="T26" fmla="*/ 0 w 317"/>
                <a:gd name="T27" fmla="*/ 0 h 244"/>
                <a:gd name="T28" fmla="*/ 0 w 317"/>
                <a:gd name="T29" fmla="*/ 0 h 244"/>
                <a:gd name="T30" fmla="*/ 0 w 317"/>
                <a:gd name="T31" fmla="*/ 0 h 244"/>
                <a:gd name="T32" fmla="*/ 0 w 317"/>
                <a:gd name="T33" fmla="*/ 0 h 244"/>
                <a:gd name="T34" fmla="*/ 0 w 317"/>
                <a:gd name="T35" fmla="*/ 0 h 244"/>
                <a:gd name="T36" fmla="*/ 0 w 317"/>
                <a:gd name="T37" fmla="*/ 0 h 244"/>
                <a:gd name="T38" fmla="*/ 0 w 317"/>
                <a:gd name="T39" fmla="*/ 0 h 244"/>
                <a:gd name="T40" fmla="*/ 0 w 317"/>
                <a:gd name="T41" fmla="*/ 0 h 244"/>
                <a:gd name="T42" fmla="*/ 0 w 317"/>
                <a:gd name="T43" fmla="*/ 0 h 244"/>
                <a:gd name="T44" fmla="*/ 0 w 317"/>
                <a:gd name="T45" fmla="*/ 0 h 244"/>
                <a:gd name="T46" fmla="*/ 0 w 317"/>
                <a:gd name="T47" fmla="*/ 0 h 244"/>
                <a:gd name="T48" fmla="*/ 0 w 317"/>
                <a:gd name="T49" fmla="*/ 0 h 244"/>
                <a:gd name="T50" fmla="*/ 0 w 317"/>
                <a:gd name="T51" fmla="*/ 0 h 244"/>
                <a:gd name="T52" fmla="*/ 0 w 317"/>
                <a:gd name="T53" fmla="*/ 0 h 244"/>
                <a:gd name="T54" fmla="*/ 0 w 317"/>
                <a:gd name="T55" fmla="*/ 0 h 244"/>
                <a:gd name="T56" fmla="*/ 0 w 317"/>
                <a:gd name="T57" fmla="*/ 0 h 244"/>
                <a:gd name="T58" fmla="*/ 0 w 317"/>
                <a:gd name="T59" fmla="*/ 0 h 244"/>
                <a:gd name="T60" fmla="*/ 0 w 317"/>
                <a:gd name="T61" fmla="*/ 0 h 244"/>
                <a:gd name="T62" fmla="*/ 0 w 317"/>
                <a:gd name="T63" fmla="*/ 0 h 244"/>
                <a:gd name="T64" fmla="*/ 0 w 317"/>
                <a:gd name="T65" fmla="*/ 0 h 244"/>
                <a:gd name="T66" fmla="*/ 0 w 317"/>
                <a:gd name="T67" fmla="*/ 0 h 244"/>
                <a:gd name="T68" fmla="*/ 0 w 317"/>
                <a:gd name="T69" fmla="*/ 0 h 244"/>
                <a:gd name="T70" fmla="*/ 0 w 317"/>
                <a:gd name="T71" fmla="*/ 0 h 244"/>
                <a:gd name="T72" fmla="*/ 0 w 317"/>
                <a:gd name="T73" fmla="*/ 0 h 244"/>
                <a:gd name="T74" fmla="*/ 0 w 317"/>
                <a:gd name="T75" fmla="*/ 0 h 244"/>
                <a:gd name="T76" fmla="*/ 0 w 317"/>
                <a:gd name="T77" fmla="*/ 0 h 244"/>
                <a:gd name="T78" fmla="*/ 0 w 317"/>
                <a:gd name="T79" fmla="*/ 0 h 244"/>
                <a:gd name="T80" fmla="*/ 0 w 317"/>
                <a:gd name="T81" fmla="*/ 0 h 244"/>
                <a:gd name="T82" fmla="*/ 0 w 317"/>
                <a:gd name="T83" fmla="*/ 0 h 244"/>
                <a:gd name="T84" fmla="*/ 0 w 317"/>
                <a:gd name="T85" fmla="*/ 0 h 244"/>
                <a:gd name="T86" fmla="*/ 0 w 317"/>
                <a:gd name="T87" fmla="*/ 0 h 244"/>
                <a:gd name="T88" fmla="*/ 0 w 317"/>
                <a:gd name="T89" fmla="*/ 0 h 244"/>
                <a:gd name="T90" fmla="*/ 0 w 317"/>
                <a:gd name="T91" fmla="*/ 0 h 24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17"/>
                <a:gd name="T139" fmla="*/ 0 h 244"/>
                <a:gd name="T140" fmla="*/ 317 w 317"/>
                <a:gd name="T141" fmla="*/ 244 h 24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17" h="244">
                  <a:moveTo>
                    <a:pt x="0" y="35"/>
                  </a:moveTo>
                  <a:lnTo>
                    <a:pt x="3" y="57"/>
                  </a:lnTo>
                  <a:lnTo>
                    <a:pt x="3" y="71"/>
                  </a:lnTo>
                  <a:lnTo>
                    <a:pt x="5" y="78"/>
                  </a:lnTo>
                  <a:lnTo>
                    <a:pt x="3" y="54"/>
                  </a:lnTo>
                  <a:lnTo>
                    <a:pt x="4" y="64"/>
                  </a:lnTo>
                  <a:lnTo>
                    <a:pt x="6" y="72"/>
                  </a:lnTo>
                  <a:lnTo>
                    <a:pt x="11" y="94"/>
                  </a:lnTo>
                  <a:lnTo>
                    <a:pt x="13" y="102"/>
                  </a:lnTo>
                  <a:lnTo>
                    <a:pt x="11" y="110"/>
                  </a:lnTo>
                  <a:lnTo>
                    <a:pt x="14" y="110"/>
                  </a:lnTo>
                  <a:lnTo>
                    <a:pt x="15" y="118"/>
                  </a:lnTo>
                  <a:lnTo>
                    <a:pt x="25" y="115"/>
                  </a:lnTo>
                  <a:lnTo>
                    <a:pt x="31" y="120"/>
                  </a:lnTo>
                  <a:lnTo>
                    <a:pt x="38" y="123"/>
                  </a:lnTo>
                  <a:lnTo>
                    <a:pt x="44" y="127"/>
                  </a:lnTo>
                  <a:lnTo>
                    <a:pt x="52" y="131"/>
                  </a:lnTo>
                  <a:lnTo>
                    <a:pt x="69" y="134"/>
                  </a:lnTo>
                  <a:lnTo>
                    <a:pt x="85" y="132"/>
                  </a:lnTo>
                  <a:lnTo>
                    <a:pt x="91" y="136"/>
                  </a:lnTo>
                  <a:lnTo>
                    <a:pt x="102" y="159"/>
                  </a:lnTo>
                  <a:lnTo>
                    <a:pt x="96" y="174"/>
                  </a:lnTo>
                  <a:lnTo>
                    <a:pt x="96" y="191"/>
                  </a:lnTo>
                  <a:lnTo>
                    <a:pt x="99" y="201"/>
                  </a:lnTo>
                  <a:lnTo>
                    <a:pt x="113" y="209"/>
                  </a:lnTo>
                  <a:lnTo>
                    <a:pt x="132" y="222"/>
                  </a:lnTo>
                  <a:lnTo>
                    <a:pt x="137" y="233"/>
                  </a:lnTo>
                  <a:lnTo>
                    <a:pt x="137" y="240"/>
                  </a:lnTo>
                  <a:lnTo>
                    <a:pt x="151" y="244"/>
                  </a:lnTo>
                  <a:lnTo>
                    <a:pt x="167" y="240"/>
                  </a:lnTo>
                  <a:lnTo>
                    <a:pt x="183" y="243"/>
                  </a:lnTo>
                  <a:lnTo>
                    <a:pt x="191" y="239"/>
                  </a:lnTo>
                  <a:lnTo>
                    <a:pt x="197" y="234"/>
                  </a:lnTo>
                  <a:lnTo>
                    <a:pt x="204" y="238"/>
                  </a:lnTo>
                  <a:lnTo>
                    <a:pt x="212" y="237"/>
                  </a:lnTo>
                  <a:lnTo>
                    <a:pt x="209" y="222"/>
                  </a:lnTo>
                  <a:lnTo>
                    <a:pt x="215" y="220"/>
                  </a:lnTo>
                  <a:lnTo>
                    <a:pt x="224" y="220"/>
                  </a:lnTo>
                  <a:lnTo>
                    <a:pt x="229" y="213"/>
                  </a:lnTo>
                  <a:lnTo>
                    <a:pt x="236" y="209"/>
                  </a:lnTo>
                  <a:lnTo>
                    <a:pt x="245" y="211"/>
                  </a:lnTo>
                  <a:lnTo>
                    <a:pt x="248" y="218"/>
                  </a:lnTo>
                  <a:lnTo>
                    <a:pt x="256" y="222"/>
                  </a:lnTo>
                  <a:lnTo>
                    <a:pt x="263" y="220"/>
                  </a:lnTo>
                  <a:lnTo>
                    <a:pt x="262" y="211"/>
                  </a:lnTo>
                  <a:lnTo>
                    <a:pt x="257" y="205"/>
                  </a:lnTo>
                  <a:lnTo>
                    <a:pt x="253" y="197"/>
                  </a:lnTo>
                  <a:lnTo>
                    <a:pt x="255" y="190"/>
                  </a:lnTo>
                  <a:lnTo>
                    <a:pt x="263" y="175"/>
                  </a:lnTo>
                  <a:lnTo>
                    <a:pt x="263" y="168"/>
                  </a:lnTo>
                  <a:lnTo>
                    <a:pt x="266" y="159"/>
                  </a:lnTo>
                  <a:lnTo>
                    <a:pt x="266" y="151"/>
                  </a:lnTo>
                  <a:lnTo>
                    <a:pt x="267" y="143"/>
                  </a:lnTo>
                  <a:lnTo>
                    <a:pt x="274" y="140"/>
                  </a:lnTo>
                  <a:lnTo>
                    <a:pt x="283" y="137"/>
                  </a:lnTo>
                  <a:lnTo>
                    <a:pt x="288" y="132"/>
                  </a:lnTo>
                  <a:lnTo>
                    <a:pt x="295" y="129"/>
                  </a:lnTo>
                  <a:lnTo>
                    <a:pt x="309" y="129"/>
                  </a:lnTo>
                  <a:lnTo>
                    <a:pt x="317" y="110"/>
                  </a:lnTo>
                  <a:lnTo>
                    <a:pt x="310" y="107"/>
                  </a:lnTo>
                  <a:lnTo>
                    <a:pt x="301" y="107"/>
                  </a:lnTo>
                  <a:lnTo>
                    <a:pt x="301" y="99"/>
                  </a:lnTo>
                  <a:lnTo>
                    <a:pt x="301" y="91"/>
                  </a:lnTo>
                  <a:lnTo>
                    <a:pt x="309" y="87"/>
                  </a:lnTo>
                  <a:lnTo>
                    <a:pt x="315" y="81"/>
                  </a:lnTo>
                  <a:lnTo>
                    <a:pt x="313" y="80"/>
                  </a:lnTo>
                  <a:lnTo>
                    <a:pt x="313" y="78"/>
                  </a:lnTo>
                  <a:lnTo>
                    <a:pt x="307" y="73"/>
                  </a:lnTo>
                  <a:lnTo>
                    <a:pt x="300" y="71"/>
                  </a:lnTo>
                  <a:lnTo>
                    <a:pt x="282" y="48"/>
                  </a:lnTo>
                  <a:lnTo>
                    <a:pt x="255" y="29"/>
                  </a:lnTo>
                  <a:lnTo>
                    <a:pt x="239" y="30"/>
                  </a:lnTo>
                  <a:lnTo>
                    <a:pt x="231" y="28"/>
                  </a:lnTo>
                  <a:lnTo>
                    <a:pt x="221" y="5"/>
                  </a:lnTo>
                  <a:lnTo>
                    <a:pt x="215" y="0"/>
                  </a:lnTo>
                  <a:lnTo>
                    <a:pt x="208" y="2"/>
                  </a:lnTo>
                  <a:lnTo>
                    <a:pt x="197" y="13"/>
                  </a:lnTo>
                  <a:lnTo>
                    <a:pt x="181" y="17"/>
                  </a:lnTo>
                  <a:lnTo>
                    <a:pt x="150" y="6"/>
                  </a:lnTo>
                  <a:lnTo>
                    <a:pt x="143" y="6"/>
                  </a:lnTo>
                  <a:lnTo>
                    <a:pt x="126" y="3"/>
                  </a:lnTo>
                  <a:lnTo>
                    <a:pt x="118" y="6"/>
                  </a:lnTo>
                  <a:lnTo>
                    <a:pt x="111" y="3"/>
                  </a:lnTo>
                  <a:lnTo>
                    <a:pt x="103" y="7"/>
                  </a:lnTo>
                  <a:lnTo>
                    <a:pt x="95" y="7"/>
                  </a:lnTo>
                  <a:lnTo>
                    <a:pt x="89" y="3"/>
                  </a:lnTo>
                  <a:lnTo>
                    <a:pt x="80" y="2"/>
                  </a:lnTo>
                  <a:lnTo>
                    <a:pt x="64" y="3"/>
                  </a:lnTo>
                  <a:lnTo>
                    <a:pt x="41" y="11"/>
                  </a:lnTo>
                  <a:lnTo>
                    <a:pt x="26" y="19"/>
                  </a:lnTo>
                  <a:lnTo>
                    <a:pt x="17" y="33"/>
                  </a:lnTo>
                  <a:lnTo>
                    <a:pt x="10" y="38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95" name="Freeform 207">
              <a:extLst>
                <a:ext uri="{FF2B5EF4-FFF2-40B4-BE49-F238E27FC236}">
                  <a16:creationId xmlns:a16="http://schemas.microsoft.com/office/drawing/2014/main" id="{00EFD95F-B0AA-C62D-7A03-BB78246157E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08923" y="2719229"/>
              <a:ext cx="129834" cy="190527"/>
            </a:xfrm>
            <a:custGeom>
              <a:avLst/>
              <a:gdLst>
                <a:gd name="T0" fmla="*/ 0 w 241"/>
                <a:gd name="T1" fmla="*/ 0 h 331"/>
                <a:gd name="T2" fmla="*/ 0 w 241"/>
                <a:gd name="T3" fmla="*/ 0 h 331"/>
                <a:gd name="T4" fmla="*/ 0 w 241"/>
                <a:gd name="T5" fmla="*/ 0 h 331"/>
                <a:gd name="T6" fmla="*/ 0 w 241"/>
                <a:gd name="T7" fmla="*/ 0 h 331"/>
                <a:gd name="T8" fmla="*/ 0 w 241"/>
                <a:gd name="T9" fmla="*/ 0 h 331"/>
                <a:gd name="T10" fmla="*/ 0 w 241"/>
                <a:gd name="T11" fmla="*/ 0 h 331"/>
                <a:gd name="T12" fmla="*/ 0 w 241"/>
                <a:gd name="T13" fmla="*/ 0 h 331"/>
                <a:gd name="T14" fmla="*/ 0 w 241"/>
                <a:gd name="T15" fmla="*/ 0 h 331"/>
                <a:gd name="T16" fmla="*/ 0 w 241"/>
                <a:gd name="T17" fmla="*/ 0 h 331"/>
                <a:gd name="T18" fmla="*/ 0 w 241"/>
                <a:gd name="T19" fmla="*/ 0 h 331"/>
                <a:gd name="T20" fmla="*/ 0 w 241"/>
                <a:gd name="T21" fmla="*/ 0 h 331"/>
                <a:gd name="T22" fmla="*/ 0 w 241"/>
                <a:gd name="T23" fmla="*/ 0 h 331"/>
                <a:gd name="T24" fmla="*/ 0 w 241"/>
                <a:gd name="T25" fmla="*/ 0 h 331"/>
                <a:gd name="T26" fmla="*/ 0 w 241"/>
                <a:gd name="T27" fmla="*/ 0 h 331"/>
                <a:gd name="T28" fmla="*/ 0 w 241"/>
                <a:gd name="T29" fmla="*/ 0 h 331"/>
                <a:gd name="T30" fmla="*/ 0 w 241"/>
                <a:gd name="T31" fmla="*/ 0 h 331"/>
                <a:gd name="T32" fmla="*/ 0 w 241"/>
                <a:gd name="T33" fmla="*/ 0 h 331"/>
                <a:gd name="T34" fmla="*/ 0 w 241"/>
                <a:gd name="T35" fmla="*/ 0 h 331"/>
                <a:gd name="T36" fmla="*/ 0 w 241"/>
                <a:gd name="T37" fmla="*/ 0 h 331"/>
                <a:gd name="T38" fmla="*/ 0 w 241"/>
                <a:gd name="T39" fmla="*/ 0 h 331"/>
                <a:gd name="T40" fmla="*/ 0 w 241"/>
                <a:gd name="T41" fmla="*/ 0 h 331"/>
                <a:gd name="T42" fmla="*/ 0 w 241"/>
                <a:gd name="T43" fmla="*/ 0 h 331"/>
                <a:gd name="T44" fmla="*/ 0 w 241"/>
                <a:gd name="T45" fmla="*/ 0 h 331"/>
                <a:gd name="T46" fmla="*/ 0 w 241"/>
                <a:gd name="T47" fmla="*/ 0 h 331"/>
                <a:gd name="T48" fmla="*/ 0 w 241"/>
                <a:gd name="T49" fmla="*/ 0 h 331"/>
                <a:gd name="T50" fmla="*/ 0 w 241"/>
                <a:gd name="T51" fmla="*/ 0 h 331"/>
                <a:gd name="T52" fmla="*/ 0 w 241"/>
                <a:gd name="T53" fmla="*/ 0 h 331"/>
                <a:gd name="T54" fmla="*/ 0 w 241"/>
                <a:gd name="T55" fmla="*/ 0 h 331"/>
                <a:gd name="T56" fmla="*/ 0 w 241"/>
                <a:gd name="T57" fmla="*/ 0 h 331"/>
                <a:gd name="T58" fmla="*/ 0 w 241"/>
                <a:gd name="T59" fmla="*/ 0 h 331"/>
                <a:gd name="T60" fmla="*/ 0 w 241"/>
                <a:gd name="T61" fmla="*/ 0 h 331"/>
                <a:gd name="T62" fmla="*/ 0 w 241"/>
                <a:gd name="T63" fmla="*/ 0 h 331"/>
                <a:gd name="T64" fmla="*/ 0 w 241"/>
                <a:gd name="T65" fmla="*/ 0 h 331"/>
                <a:gd name="T66" fmla="*/ 0 w 241"/>
                <a:gd name="T67" fmla="*/ 0 h 331"/>
                <a:gd name="T68" fmla="*/ 0 w 241"/>
                <a:gd name="T69" fmla="*/ 0 h 331"/>
                <a:gd name="T70" fmla="*/ 0 w 241"/>
                <a:gd name="T71" fmla="*/ 0 h 331"/>
                <a:gd name="T72" fmla="*/ 0 w 241"/>
                <a:gd name="T73" fmla="*/ 2147483647 h 331"/>
                <a:gd name="T74" fmla="*/ 0 w 241"/>
                <a:gd name="T75" fmla="*/ 2147483647 h 331"/>
                <a:gd name="T76" fmla="*/ 0 w 241"/>
                <a:gd name="T77" fmla="*/ 0 h 331"/>
                <a:gd name="T78" fmla="*/ 0 w 241"/>
                <a:gd name="T79" fmla="*/ 0 h 331"/>
                <a:gd name="T80" fmla="*/ 0 w 241"/>
                <a:gd name="T81" fmla="*/ 2147483647 h 331"/>
                <a:gd name="T82" fmla="*/ 0 w 241"/>
                <a:gd name="T83" fmla="*/ 2147483647 h 331"/>
                <a:gd name="T84" fmla="*/ 0 w 241"/>
                <a:gd name="T85" fmla="*/ 0 h 331"/>
                <a:gd name="T86" fmla="*/ 0 w 241"/>
                <a:gd name="T87" fmla="*/ 0 h 331"/>
                <a:gd name="T88" fmla="*/ 0 w 241"/>
                <a:gd name="T89" fmla="*/ 0 h 331"/>
                <a:gd name="T90" fmla="*/ 0 w 241"/>
                <a:gd name="T91" fmla="*/ 0 h 331"/>
                <a:gd name="T92" fmla="*/ 0 w 241"/>
                <a:gd name="T93" fmla="*/ 0 h 331"/>
                <a:gd name="T94" fmla="*/ 0 w 241"/>
                <a:gd name="T95" fmla="*/ 0 h 331"/>
                <a:gd name="T96" fmla="*/ 0 w 241"/>
                <a:gd name="T97" fmla="*/ 0 h 331"/>
                <a:gd name="T98" fmla="*/ 0 w 241"/>
                <a:gd name="T99" fmla="*/ 0 h 331"/>
                <a:gd name="T100" fmla="*/ 0 w 241"/>
                <a:gd name="T101" fmla="*/ 0 h 331"/>
                <a:gd name="T102" fmla="*/ 0 w 241"/>
                <a:gd name="T103" fmla="*/ 0 h 331"/>
                <a:gd name="T104" fmla="*/ 0 w 241"/>
                <a:gd name="T105" fmla="*/ 0 h 331"/>
                <a:gd name="T106" fmla="*/ 0 w 241"/>
                <a:gd name="T107" fmla="*/ 0 h 331"/>
                <a:gd name="T108" fmla="*/ 0 w 241"/>
                <a:gd name="T109" fmla="*/ 0 h 331"/>
                <a:gd name="T110" fmla="*/ 0 w 241"/>
                <a:gd name="T111" fmla="*/ 0 h 33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41"/>
                <a:gd name="T169" fmla="*/ 0 h 331"/>
                <a:gd name="T170" fmla="*/ 241 w 241"/>
                <a:gd name="T171" fmla="*/ 331 h 33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41" h="331">
                  <a:moveTo>
                    <a:pt x="14" y="22"/>
                  </a:moveTo>
                  <a:lnTo>
                    <a:pt x="23" y="29"/>
                  </a:lnTo>
                  <a:lnTo>
                    <a:pt x="23" y="33"/>
                  </a:lnTo>
                  <a:lnTo>
                    <a:pt x="21" y="35"/>
                  </a:lnTo>
                  <a:lnTo>
                    <a:pt x="24" y="38"/>
                  </a:lnTo>
                  <a:lnTo>
                    <a:pt x="24" y="42"/>
                  </a:lnTo>
                  <a:lnTo>
                    <a:pt x="21" y="45"/>
                  </a:lnTo>
                  <a:lnTo>
                    <a:pt x="21" y="48"/>
                  </a:lnTo>
                  <a:lnTo>
                    <a:pt x="25" y="49"/>
                  </a:lnTo>
                  <a:lnTo>
                    <a:pt x="27" y="46"/>
                  </a:lnTo>
                  <a:lnTo>
                    <a:pt x="29" y="46"/>
                  </a:lnTo>
                  <a:lnTo>
                    <a:pt x="32" y="49"/>
                  </a:lnTo>
                  <a:lnTo>
                    <a:pt x="32" y="51"/>
                  </a:lnTo>
                  <a:lnTo>
                    <a:pt x="30" y="53"/>
                  </a:lnTo>
                  <a:lnTo>
                    <a:pt x="29" y="53"/>
                  </a:lnTo>
                  <a:lnTo>
                    <a:pt x="27" y="55"/>
                  </a:lnTo>
                  <a:lnTo>
                    <a:pt x="29" y="56"/>
                  </a:lnTo>
                  <a:lnTo>
                    <a:pt x="27" y="60"/>
                  </a:lnTo>
                  <a:lnTo>
                    <a:pt x="27" y="61"/>
                  </a:lnTo>
                  <a:lnTo>
                    <a:pt x="29" y="64"/>
                  </a:lnTo>
                  <a:lnTo>
                    <a:pt x="32" y="64"/>
                  </a:lnTo>
                  <a:lnTo>
                    <a:pt x="34" y="65"/>
                  </a:lnTo>
                  <a:lnTo>
                    <a:pt x="37" y="67"/>
                  </a:lnTo>
                  <a:lnTo>
                    <a:pt x="42" y="67"/>
                  </a:lnTo>
                  <a:lnTo>
                    <a:pt x="46" y="70"/>
                  </a:lnTo>
                  <a:lnTo>
                    <a:pt x="50" y="69"/>
                  </a:lnTo>
                  <a:lnTo>
                    <a:pt x="52" y="70"/>
                  </a:lnTo>
                  <a:lnTo>
                    <a:pt x="52" y="72"/>
                  </a:lnTo>
                  <a:lnTo>
                    <a:pt x="48" y="75"/>
                  </a:lnTo>
                  <a:lnTo>
                    <a:pt x="45" y="73"/>
                  </a:lnTo>
                  <a:lnTo>
                    <a:pt x="41" y="72"/>
                  </a:lnTo>
                  <a:lnTo>
                    <a:pt x="39" y="73"/>
                  </a:lnTo>
                  <a:lnTo>
                    <a:pt x="37" y="78"/>
                  </a:lnTo>
                  <a:lnTo>
                    <a:pt x="35" y="81"/>
                  </a:lnTo>
                  <a:lnTo>
                    <a:pt x="37" y="91"/>
                  </a:lnTo>
                  <a:lnTo>
                    <a:pt x="39" y="92"/>
                  </a:lnTo>
                  <a:lnTo>
                    <a:pt x="37" y="97"/>
                  </a:lnTo>
                  <a:lnTo>
                    <a:pt x="50" y="97"/>
                  </a:lnTo>
                  <a:lnTo>
                    <a:pt x="52" y="100"/>
                  </a:lnTo>
                  <a:lnTo>
                    <a:pt x="51" y="104"/>
                  </a:lnTo>
                  <a:lnTo>
                    <a:pt x="51" y="108"/>
                  </a:lnTo>
                  <a:lnTo>
                    <a:pt x="46" y="115"/>
                  </a:lnTo>
                  <a:lnTo>
                    <a:pt x="41" y="126"/>
                  </a:lnTo>
                  <a:lnTo>
                    <a:pt x="39" y="128"/>
                  </a:lnTo>
                  <a:lnTo>
                    <a:pt x="39" y="130"/>
                  </a:lnTo>
                  <a:lnTo>
                    <a:pt x="40" y="132"/>
                  </a:lnTo>
                  <a:lnTo>
                    <a:pt x="36" y="137"/>
                  </a:lnTo>
                  <a:lnTo>
                    <a:pt x="39" y="145"/>
                  </a:lnTo>
                  <a:lnTo>
                    <a:pt x="42" y="145"/>
                  </a:lnTo>
                  <a:lnTo>
                    <a:pt x="45" y="147"/>
                  </a:lnTo>
                  <a:lnTo>
                    <a:pt x="48" y="146"/>
                  </a:lnTo>
                  <a:lnTo>
                    <a:pt x="50" y="148"/>
                  </a:lnTo>
                  <a:lnTo>
                    <a:pt x="51" y="152"/>
                  </a:lnTo>
                  <a:lnTo>
                    <a:pt x="54" y="156"/>
                  </a:lnTo>
                  <a:lnTo>
                    <a:pt x="58" y="156"/>
                  </a:lnTo>
                  <a:lnTo>
                    <a:pt x="58" y="157"/>
                  </a:lnTo>
                  <a:lnTo>
                    <a:pt x="58" y="159"/>
                  </a:lnTo>
                  <a:lnTo>
                    <a:pt x="63" y="162"/>
                  </a:lnTo>
                  <a:lnTo>
                    <a:pt x="66" y="163"/>
                  </a:lnTo>
                  <a:lnTo>
                    <a:pt x="66" y="166"/>
                  </a:lnTo>
                  <a:lnTo>
                    <a:pt x="62" y="171"/>
                  </a:lnTo>
                  <a:lnTo>
                    <a:pt x="53" y="171"/>
                  </a:lnTo>
                  <a:lnTo>
                    <a:pt x="48" y="167"/>
                  </a:lnTo>
                  <a:lnTo>
                    <a:pt x="46" y="167"/>
                  </a:lnTo>
                  <a:lnTo>
                    <a:pt x="45" y="169"/>
                  </a:lnTo>
                  <a:lnTo>
                    <a:pt x="46" y="171"/>
                  </a:lnTo>
                  <a:lnTo>
                    <a:pt x="52" y="178"/>
                  </a:lnTo>
                  <a:lnTo>
                    <a:pt x="58" y="186"/>
                  </a:lnTo>
                  <a:lnTo>
                    <a:pt x="61" y="188"/>
                  </a:lnTo>
                  <a:lnTo>
                    <a:pt x="59" y="195"/>
                  </a:lnTo>
                  <a:lnTo>
                    <a:pt x="58" y="198"/>
                  </a:lnTo>
                  <a:lnTo>
                    <a:pt x="56" y="199"/>
                  </a:lnTo>
                  <a:lnTo>
                    <a:pt x="53" y="198"/>
                  </a:lnTo>
                  <a:lnTo>
                    <a:pt x="51" y="198"/>
                  </a:lnTo>
                  <a:lnTo>
                    <a:pt x="48" y="201"/>
                  </a:lnTo>
                  <a:lnTo>
                    <a:pt x="43" y="204"/>
                  </a:lnTo>
                  <a:lnTo>
                    <a:pt x="40" y="204"/>
                  </a:lnTo>
                  <a:lnTo>
                    <a:pt x="37" y="205"/>
                  </a:lnTo>
                  <a:lnTo>
                    <a:pt x="35" y="205"/>
                  </a:lnTo>
                  <a:lnTo>
                    <a:pt x="34" y="202"/>
                  </a:lnTo>
                  <a:lnTo>
                    <a:pt x="31" y="202"/>
                  </a:lnTo>
                  <a:lnTo>
                    <a:pt x="27" y="206"/>
                  </a:lnTo>
                  <a:lnTo>
                    <a:pt x="29" y="209"/>
                  </a:lnTo>
                  <a:lnTo>
                    <a:pt x="32" y="210"/>
                  </a:lnTo>
                  <a:lnTo>
                    <a:pt x="34" y="215"/>
                  </a:lnTo>
                  <a:lnTo>
                    <a:pt x="35" y="218"/>
                  </a:lnTo>
                  <a:lnTo>
                    <a:pt x="35" y="223"/>
                  </a:lnTo>
                  <a:lnTo>
                    <a:pt x="34" y="226"/>
                  </a:lnTo>
                  <a:lnTo>
                    <a:pt x="31" y="226"/>
                  </a:lnTo>
                  <a:lnTo>
                    <a:pt x="30" y="223"/>
                  </a:lnTo>
                  <a:lnTo>
                    <a:pt x="29" y="218"/>
                  </a:lnTo>
                  <a:lnTo>
                    <a:pt x="26" y="217"/>
                  </a:lnTo>
                  <a:lnTo>
                    <a:pt x="23" y="217"/>
                  </a:lnTo>
                  <a:lnTo>
                    <a:pt x="14" y="225"/>
                  </a:lnTo>
                  <a:lnTo>
                    <a:pt x="13" y="229"/>
                  </a:lnTo>
                  <a:lnTo>
                    <a:pt x="11" y="232"/>
                  </a:lnTo>
                  <a:lnTo>
                    <a:pt x="11" y="239"/>
                  </a:lnTo>
                  <a:lnTo>
                    <a:pt x="9" y="242"/>
                  </a:lnTo>
                  <a:lnTo>
                    <a:pt x="4" y="242"/>
                  </a:lnTo>
                  <a:lnTo>
                    <a:pt x="2" y="244"/>
                  </a:lnTo>
                  <a:lnTo>
                    <a:pt x="2" y="253"/>
                  </a:lnTo>
                  <a:lnTo>
                    <a:pt x="0" y="254"/>
                  </a:lnTo>
                  <a:lnTo>
                    <a:pt x="0" y="258"/>
                  </a:lnTo>
                  <a:lnTo>
                    <a:pt x="3" y="263"/>
                  </a:lnTo>
                  <a:lnTo>
                    <a:pt x="5" y="265"/>
                  </a:lnTo>
                  <a:lnTo>
                    <a:pt x="5" y="270"/>
                  </a:lnTo>
                  <a:lnTo>
                    <a:pt x="0" y="277"/>
                  </a:lnTo>
                  <a:lnTo>
                    <a:pt x="0" y="285"/>
                  </a:lnTo>
                  <a:lnTo>
                    <a:pt x="16" y="297"/>
                  </a:lnTo>
                  <a:lnTo>
                    <a:pt x="27" y="308"/>
                  </a:lnTo>
                  <a:lnTo>
                    <a:pt x="36" y="314"/>
                  </a:lnTo>
                  <a:lnTo>
                    <a:pt x="42" y="326"/>
                  </a:lnTo>
                  <a:lnTo>
                    <a:pt x="48" y="331"/>
                  </a:lnTo>
                  <a:lnTo>
                    <a:pt x="53" y="315"/>
                  </a:lnTo>
                  <a:lnTo>
                    <a:pt x="51" y="304"/>
                  </a:lnTo>
                  <a:lnTo>
                    <a:pt x="56" y="290"/>
                  </a:lnTo>
                  <a:lnTo>
                    <a:pt x="63" y="285"/>
                  </a:lnTo>
                  <a:lnTo>
                    <a:pt x="69" y="275"/>
                  </a:lnTo>
                  <a:lnTo>
                    <a:pt x="77" y="282"/>
                  </a:lnTo>
                  <a:lnTo>
                    <a:pt x="91" y="284"/>
                  </a:lnTo>
                  <a:lnTo>
                    <a:pt x="97" y="295"/>
                  </a:lnTo>
                  <a:lnTo>
                    <a:pt x="107" y="299"/>
                  </a:lnTo>
                  <a:lnTo>
                    <a:pt x="120" y="315"/>
                  </a:lnTo>
                  <a:lnTo>
                    <a:pt x="121" y="317"/>
                  </a:lnTo>
                  <a:lnTo>
                    <a:pt x="126" y="317"/>
                  </a:lnTo>
                  <a:lnTo>
                    <a:pt x="129" y="314"/>
                  </a:lnTo>
                  <a:lnTo>
                    <a:pt x="129" y="306"/>
                  </a:lnTo>
                  <a:lnTo>
                    <a:pt x="147" y="299"/>
                  </a:lnTo>
                  <a:lnTo>
                    <a:pt x="150" y="301"/>
                  </a:lnTo>
                  <a:lnTo>
                    <a:pt x="156" y="308"/>
                  </a:lnTo>
                  <a:lnTo>
                    <a:pt x="159" y="308"/>
                  </a:lnTo>
                  <a:lnTo>
                    <a:pt x="159" y="303"/>
                  </a:lnTo>
                  <a:lnTo>
                    <a:pt x="166" y="298"/>
                  </a:lnTo>
                  <a:lnTo>
                    <a:pt x="182" y="302"/>
                  </a:lnTo>
                  <a:lnTo>
                    <a:pt x="186" y="298"/>
                  </a:lnTo>
                  <a:lnTo>
                    <a:pt x="201" y="301"/>
                  </a:lnTo>
                  <a:lnTo>
                    <a:pt x="212" y="299"/>
                  </a:lnTo>
                  <a:lnTo>
                    <a:pt x="218" y="302"/>
                  </a:lnTo>
                  <a:lnTo>
                    <a:pt x="218" y="277"/>
                  </a:lnTo>
                  <a:lnTo>
                    <a:pt x="230" y="253"/>
                  </a:lnTo>
                  <a:lnTo>
                    <a:pt x="241" y="241"/>
                  </a:lnTo>
                  <a:lnTo>
                    <a:pt x="226" y="225"/>
                  </a:lnTo>
                  <a:lnTo>
                    <a:pt x="218" y="210"/>
                  </a:lnTo>
                  <a:lnTo>
                    <a:pt x="215" y="188"/>
                  </a:lnTo>
                  <a:lnTo>
                    <a:pt x="218" y="167"/>
                  </a:lnTo>
                  <a:lnTo>
                    <a:pt x="235" y="159"/>
                  </a:lnTo>
                  <a:lnTo>
                    <a:pt x="225" y="157"/>
                  </a:lnTo>
                  <a:lnTo>
                    <a:pt x="218" y="141"/>
                  </a:lnTo>
                  <a:lnTo>
                    <a:pt x="228" y="130"/>
                  </a:lnTo>
                  <a:lnTo>
                    <a:pt x="220" y="119"/>
                  </a:lnTo>
                  <a:lnTo>
                    <a:pt x="209" y="128"/>
                  </a:lnTo>
                  <a:lnTo>
                    <a:pt x="181" y="118"/>
                  </a:lnTo>
                  <a:lnTo>
                    <a:pt x="166" y="105"/>
                  </a:lnTo>
                  <a:lnTo>
                    <a:pt x="165" y="91"/>
                  </a:lnTo>
                  <a:lnTo>
                    <a:pt x="163" y="81"/>
                  </a:lnTo>
                  <a:lnTo>
                    <a:pt x="154" y="76"/>
                  </a:lnTo>
                  <a:lnTo>
                    <a:pt x="143" y="73"/>
                  </a:lnTo>
                  <a:lnTo>
                    <a:pt x="134" y="60"/>
                  </a:lnTo>
                  <a:lnTo>
                    <a:pt x="129" y="42"/>
                  </a:lnTo>
                  <a:lnTo>
                    <a:pt x="124" y="29"/>
                  </a:lnTo>
                  <a:lnTo>
                    <a:pt x="113" y="17"/>
                  </a:lnTo>
                  <a:lnTo>
                    <a:pt x="99" y="11"/>
                  </a:lnTo>
                  <a:lnTo>
                    <a:pt x="94" y="7"/>
                  </a:lnTo>
                  <a:lnTo>
                    <a:pt x="90" y="0"/>
                  </a:lnTo>
                  <a:lnTo>
                    <a:pt x="78" y="5"/>
                  </a:lnTo>
                  <a:lnTo>
                    <a:pt x="66" y="5"/>
                  </a:lnTo>
                  <a:lnTo>
                    <a:pt x="50" y="16"/>
                  </a:lnTo>
                  <a:lnTo>
                    <a:pt x="35" y="16"/>
                  </a:lnTo>
                  <a:lnTo>
                    <a:pt x="29" y="21"/>
                  </a:lnTo>
                  <a:lnTo>
                    <a:pt x="14" y="2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96" name="Freeform 208">
              <a:extLst>
                <a:ext uri="{FF2B5EF4-FFF2-40B4-BE49-F238E27FC236}">
                  <a16:creationId xmlns:a16="http://schemas.microsoft.com/office/drawing/2014/main" id="{463BD7AF-7A56-EB53-C320-7CA4026CA032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265646" y="2565282"/>
              <a:ext cx="159680" cy="85356"/>
            </a:xfrm>
            <a:custGeom>
              <a:avLst/>
              <a:gdLst>
                <a:gd name="T0" fmla="*/ 0 w 304"/>
                <a:gd name="T1" fmla="*/ 0 h 149"/>
                <a:gd name="T2" fmla="*/ 0 w 304"/>
                <a:gd name="T3" fmla="*/ 0 h 149"/>
                <a:gd name="T4" fmla="*/ 0 w 304"/>
                <a:gd name="T5" fmla="*/ 0 h 149"/>
                <a:gd name="T6" fmla="*/ 0 w 304"/>
                <a:gd name="T7" fmla="*/ 0 h 149"/>
                <a:gd name="T8" fmla="*/ 0 w 304"/>
                <a:gd name="T9" fmla="*/ 0 h 149"/>
                <a:gd name="T10" fmla="*/ 0 w 304"/>
                <a:gd name="T11" fmla="*/ 0 h 149"/>
                <a:gd name="T12" fmla="*/ 0 w 304"/>
                <a:gd name="T13" fmla="*/ 0 h 149"/>
                <a:gd name="T14" fmla="*/ 0 w 304"/>
                <a:gd name="T15" fmla="*/ 0 h 149"/>
                <a:gd name="T16" fmla="*/ 0 w 304"/>
                <a:gd name="T17" fmla="*/ 0 h 149"/>
                <a:gd name="T18" fmla="*/ 0 w 304"/>
                <a:gd name="T19" fmla="*/ 0 h 149"/>
                <a:gd name="T20" fmla="*/ 0 w 304"/>
                <a:gd name="T21" fmla="*/ 0 h 149"/>
                <a:gd name="T22" fmla="*/ 0 w 304"/>
                <a:gd name="T23" fmla="*/ 0 h 149"/>
                <a:gd name="T24" fmla="*/ 0 w 304"/>
                <a:gd name="T25" fmla="*/ 0 h 149"/>
                <a:gd name="T26" fmla="*/ 0 w 304"/>
                <a:gd name="T27" fmla="*/ 0 h 149"/>
                <a:gd name="T28" fmla="*/ 0 w 304"/>
                <a:gd name="T29" fmla="*/ 0 h 149"/>
                <a:gd name="T30" fmla="*/ 0 w 304"/>
                <a:gd name="T31" fmla="*/ 0 h 149"/>
                <a:gd name="T32" fmla="*/ 0 w 304"/>
                <a:gd name="T33" fmla="*/ 0 h 149"/>
                <a:gd name="T34" fmla="*/ 0 w 304"/>
                <a:gd name="T35" fmla="*/ 0 h 149"/>
                <a:gd name="T36" fmla="*/ 0 w 304"/>
                <a:gd name="T37" fmla="*/ 0 h 149"/>
                <a:gd name="T38" fmla="*/ 0 w 304"/>
                <a:gd name="T39" fmla="*/ 0 h 149"/>
                <a:gd name="T40" fmla="*/ 0 w 304"/>
                <a:gd name="T41" fmla="*/ 0 h 149"/>
                <a:gd name="T42" fmla="*/ 0 w 304"/>
                <a:gd name="T43" fmla="*/ 0 h 149"/>
                <a:gd name="T44" fmla="*/ 0 w 304"/>
                <a:gd name="T45" fmla="*/ 0 h 149"/>
                <a:gd name="T46" fmla="*/ 0 w 304"/>
                <a:gd name="T47" fmla="*/ 0 h 149"/>
                <a:gd name="T48" fmla="*/ 0 w 304"/>
                <a:gd name="T49" fmla="*/ 0 h 149"/>
                <a:gd name="T50" fmla="*/ 0 w 304"/>
                <a:gd name="T51" fmla="*/ 0 h 149"/>
                <a:gd name="T52" fmla="*/ 0 w 304"/>
                <a:gd name="T53" fmla="*/ 0 h 149"/>
                <a:gd name="T54" fmla="*/ 0 w 304"/>
                <a:gd name="T55" fmla="*/ 0 h 149"/>
                <a:gd name="T56" fmla="*/ 0 w 304"/>
                <a:gd name="T57" fmla="*/ 0 h 149"/>
                <a:gd name="T58" fmla="*/ 0 w 304"/>
                <a:gd name="T59" fmla="*/ 0 h 149"/>
                <a:gd name="T60" fmla="*/ 0 w 304"/>
                <a:gd name="T61" fmla="*/ 0 h 149"/>
                <a:gd name="T62" fmla="*/ 0 w 304"/>
                <a:gd name="T63" fmla="*/ 0 h 149"/>
                <a:gd name="T64" fmla="*/ 0 w 304"/>
                <a:gd name="T65" fmla="*/ 0 h 149"/>
                <a:gd name="T66" fmla="*/ 0 w 304"/>
                <a:gd name="T67" fmla="*/ 0 h 149"/>
                <a:gd name="T68" fmla="*/ 0 w 304"/>
                <a:gd name="T69" fmla="*/ 0 h 149"/>
                <a:gd name="T70" fmla="*/ 0 w 304"/>
                <a:gd name="T71" fmla="*/ 0 h 149"/>
                <a:gd name="T72" fmla="*/ 0 w 304"/>
                <a:gd name="T73" fmla="*/ 0 h 149"/>
                <a:gd name="T74" fmla="*/ 0 w 304"/>
                <a:gd name="T75" fmla="*/ 0 h 149"/>
                <a:gd name="T76" fmla="*/ 0 w 304"/>
                <a:gd name="T77" fmla="*/ 0 h 149"/>
                <a:gd name="T78" fmla="*/ 0 w 304"/>
                <a:gd name="T79" fmla="*/ 0 h 149"/>
                <a:gd name="T80" fmla="*/ 0 w 304"/>
                <a:gd name="T81" fmla="*/ 0 h 149"/>
                <a:gd name="T82" fmla="*/ 0 w 304"/>
                <a:gd name="T83" fmla="*/ 0 h 149"/>
                <a:gd name="T84" fmla="*/ 0 w 304"/>
                <a:gd name="T85" fmla="*/ 0 h 149"/>
                <a:gd name="T86" fmla="*/ 0 w 304"/>
                <a:gd name="T87" fmla="*/ 0 h 149"/>
                <a:gd name="T88" fmla="*/ 0 w 304"/>
                <a:gd name="T89" fmla="*/ 0 h 149"/>
                <a:gd name="T90" fmla="*/ 0 w 304"/>
                <a:gd name="T91" fmla="*/ 0 h 149"/>
                <a:gd name="T92" fmla="*/ 0 w 304"/>
                <a:gd name="T93" fmla="*/ 0 h 149"/>
                <a:gd name="T94" fmla="*/ 0 w 304"/>
                <a:gd name="T95" fmla="*/ 0 h 149"/>
                <a:gd name="T96" fmla="*/ 0 w 304"/>
                <a:gd name="T97" fmla="*/ 0 h 149"/>
                <a:gd name="T98" fmla="*/ 0 w 304"/>
                <a:gd name="T99" fmla="*/ 0 h 149"/>
                <a:gd name="T100" fmla="*/ 0 w 304"/>
                <a:gd name="T101" fmla="*/ 0 h 149"/>
                <a:gd name="T102" fmla="*/ 0 w 304"/>
                <a:gd name="T103" fmla="*/ 0 h 149"/>
                <a:gd name="T104" fmla="*/ 0 w 304"/>
                <a:gd name="T105" fmla="*/ 0 h 149"/>
                <a:gd name="T106" fmla="*/ 0 w 304"/>
                <a:gd name="T107" fmla="*/ 0 h 149"/>
                <a:gd name="T108" fmla="*/ 0 w 304"/>
                <a:gd name="T109" fmla="*/ 0 h 149"/>
                <a:gd name="T110" fmla="*/ 0 w 304"/>
                <a:gd name="T111" fmla="*/ 0 h 149"/>
                <a:gd name="T112" fmla="*/ 0 w 304"/>
                <a:gd name="T113" fmla="*/ 0 h 149"/>
                <a:gd name="T114" fmla="*/ 0 w 304"/>
                <a:gd name="T115" fmla="*/ 0 h 14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4"/>
                <a:gd name="T175" fmla="*/ 0 h 149"/>
                <a:gd name="T176" fmla="*/ 304 w 304"/>
                <a:gd name="T177" fmla="*/ 149 h 14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4" h="149">
                  <a:moveTo>
                    <a:pt x="285" y="96"/>
                  </a:moveTo>
                  <a:lnTo>
                    <a:pt x="273" y="100"/>
                  </a:lnTo>
                  <a:lnTo>
                    <a:pt x="256" y="89"/>
                  </a:lnTo>
                  <a:lnTo>
                    <a:pt x="241" y="84"/>
                  </a:lnTo>
                  <a:lnTo>
                    <a:pt x="229" y="88"/>
                  </a:lnTo>
                  <a:lnTo>
                    <a:pt x="211" y="85"/>
                  </a:lnTo>
                  <a:lnTo>
                    <a:pt x="196" y="94"/>
                  </a:lnTo>
                  <a:lnTo>
                    <a:pt x="191" y="106"/>
                  </a:lnTo>
                  <a:lnTo>
                    <a:pt x="181" y="108"/>
                  </a:lnTo>
                  <a:lnTo>
                    <a:pt x="167" y="116"/>
                  </a:lnTo>
                  <a:lnTo>
                    <a:pt x="150" y="110"/>
                  </a:lnTo>
                  <a:lnTo>
                    <a:pt x="134" y="119"/>
                  </a:lnTo>
                  <a:lnTo>
                    <a:pt x="103" y="128"/>
                  </a:lnTo>
                  <a:lnTo>
                    <a:pt x="90" y="148"/>
                  </a:lnTo>
                  <a:lnTo>
                    <a:pt x="84" y="148"/>
                  </a:lnTo>
                  <a:lnTo>
                    <a:pt x="51" y="149"/>
                  </a:lnTo>
                  <a:lnTo>
                    <a:pt x="27" y="131"/>
                  </a:lnTo>
                  <a:lnTo>
                    <a:pt x="12" y="123"/>
                  </a:lnTo>
                  <a:lnTo>
                    <a:pt x="6" y="110"/>
                  </a:lnTo>
                  <a:lnTo>
                    <a:pt x="0" y="88"/>
                  </a:lnTo>
                  <a:lnTo>
                    <a:pt x="5" y="76"/>
                  </a:lnTo>
                  <a:lnTo>
                    <a:pt x="12" y="67"/>
                  </a:lnTo>
                  <a:lnTo>
                    <a:pt x="20" y="67"/>
                  </a:lnTo>
                  <a:lnTo>
                    <a:pt x="25" y="72"/>
                  </a:lnTo>
                  <a:lnTo>
                    <a:pt x="40" y="69"/>
                  </a:lnTo>
                  <a:lnTo>
                    <a:pt x="53" y="59"/>
                  </a:lnTo>
                  <a:lnTo>
                    <a:pt x="53" y="53"/>
                  </a:lnTo>
                  <a:lnTo>
                    <a:pt x="62" y="51"/>
                  </a:lnTo>
                  <a:lnTo>
                    <a:pt x="67" y="42"/>
                  </a:lnTo>
                  <a:lnTo>
                    <a:pt x="68" y="30"/>
                  </a:lnTo>
                  <a:lnTo>
                    <a:pt x="70" y="25"/>
                  </a:lnTo>
                  <a:lnTo>
                    <a:pt x="79" y="22"/>
                  </a:lnTo>
                  <a:lnTo>
                    <a:pt x="84" y="15"/>
                  </a:lnTo>
                  <a:lnTo>
                    <a:pt x="89" y="8"/>
                  </a:lnTo>
                  <a:lnTo>
                    <a:pt x="100" y="9"/>
                  </a:lnTo>
                  <a:lnTo>
                    <a:pt x="107" y="2"/>
                  </a:lnTo>
                  <a:lnTo>
                    <a:pt x="118" y="8"/>
                  </a:lnTo>
                  <a:lnTo>
                    <a:pt x="129" y="5"/>
                  </a:lnTo>
                  <a:lnTo>
                    <a:pt x="139" y="0"/>
                  </a:lnTo>
                  <a:lnTo>
                    <a:pt x="148" y="6"/>
                  </a:lnTo>
                  <a:lnTo>
                    <a:pt x="157" y="16"/>
                  </a:lnTo>
                  <a:lnTo>
                    <a:pt x="165" y="25"/>
                  </a:lnTo>
                  <a:lnTo>
                    <a:pt x="172" y="27"/>
                  </a:lnTo>
                  <a:lnTo>
                    <a:pt x="182" y="22"/>
                  </a:lnTo>
                  <a:lnTo>
                    <a:pt x="191" y="14"/>
                  </a:lnTo>
                  <a:lnTo>
                    <a:pt x="210" y="14"/>
                  </a:lnTo>
                  <a:lnTo>
                    <a:pt x="220" y="21"/>
                  </a:lnTo>
                  <a:lnTo>
                    <a:pt x="227" y="15"/>
                  </a:lnTo>
                  <a:lnTo>
                    <a:pt x="239" y="10"/>
                  </a:lnTo>
                  <a:lnTo>
                    <a:pt x="251" y="9"/>
                  </a:lnTo>
                  <a:lnTo>
                    <a:pt x="264" y="10"/>
                  </a:lnTo>
                  <a:lnTo>
                    <a:pt x="274" y="18"/>
                  </a:lnTo>
                  <a:lnTo>
                    <a:pt x="283" y="25"/>
                  </a:lnTo>
                  <a:lnTo>
                    <a:pt x="294" y="33"/>
                  </a:lnTo>
                  <a:lnTo>
                    <a:pt x="304" y="37"/>
                  </a:lnTo>
                  <a:lnTo>
                    <a:pt x="302" y="43"/>
                  </a:lnTo>
                  <a:lnTo>
                    <a:pt x="291" y="73"/>
                  </a:lnTo>
                  <a:lnTo>
                    <a:pt x="285" y="9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97" name="Freeform 209">
              <a:extLst>
                <a:ext uri="{FF2B5EF4-FFF2-40B4-BE49-F238E27FC236}">
                  <a16:creationId xmlns:a16="http://schemas.microsoft.com/office/drawing/2014/main" id="{509C3577-EF0F-0FCD-EF7E-2438189A054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164166" y="2691792"/>
              <a:ext cx="89541" cy="70114"/>
            </a:xfrm>
            <a:custGeom>
              <a:avLst/>
              <a:gdLst>
                <a:gd name="T0" fmla="*/ 0 w 173"/>
                <a:gd name="T1" fmla="*/ 0 h 123"/>
                <a:gd name="T2" fmla="*/ 0 w 173"/>
                <a:gd name="T3" fmla="*/ 0 h 123"/>
                <a:gd name="T4" fmla="*/ 0 w 173"/>
                <a:gd name="T5" fmla="*/ 0 h 123"/>
                <a:gd name="T6" fmla="*/ 0 w 173"/>
                <a:gd name="T7" fmla="*/ 0 h 123"/>
                <a:gd name="T8" fmla="*/ 0 w 173"/>
                <a:gd name="T9" fmla="*/ 0 h 123"/>
                <a:gd name="T10" fmla="*/ 0 w 173"/>
                <a:gd name="T11" fmla="*/ 0 h 123"/>
                <a:gd name="T12" fmla="*/ 0 w 173"/>
                <a:gd name="T13" fmla="*/ 0 h 123"/>
                <a:gd name="T14" fmla="*/ 0 w 173"/>
                <a:gd name="T15" fmla="*/ 0 h 123"/>
                <a:gd name="T16" fmla="*/ 0 w 173"/>
                <a:gd name="T17" fmla="*/ 0 h 123"/>
                <a:gd name="T18" fmla="*/ 0 w 173"/>
                <a:gd name="T19" fmla="*/ 0 h 123"/>
                <a:gd name="T20" fmla="*/ 0 w 173"/>
                <a:gd name="T21" fmla="*/ 0 h 123"/>
                <a:gd name="T22" fmla="*/ 0 w 173"/>
                <a:gd name="T23" fmla="*/ 0 h 123"/>
                <a:gd name="T24" fmla="*/ 0 w 173"/>
                <a:gd name="T25" fmla="*/ 0 h 123"/>
                <a:gd name="T26" fmla="*/ 0 w 173"/>
                <a:gd name="T27" fmla="*/ 0 h 123"/>
                <a:gd name="T28" fmla="*/ 0 w 173"/>
                <a:gd name="T29" fmla="*/ 0 h 123"/>
                <a:gd name="T30" fmla="*/ 0 w 173"/>
                <a:gd name="T31" fmla="*/ 0 h 123"/>
                <a:gd name="T32" fmla="*/ 0 w 173"/>
                <a:gd name="T33" fmla="*/ 0 h 123"/>
                <a:gd name="T34" fmla="*/ 0 w 173"/>
                <a:gd name="T35" fmla="*/ 0 h 123"/>
                <a:gd name="T36" fmla="*/ 0 w 173"/>
                <a:gd name="T37" fmla="*/ 0 h 123"/>
                <a:gd name="T38" fmla="*/ 0 w 173"/>
                <a:gd name="T39" fmla="*/ 0 h 123"/>
                <a:gd name="T40" fmla="*/ 0 w 173"/>
                <a:gd name="T41" fmla="*/ 0 h 123"/>
                <a:gd name="T42" fmla="*/ 0 w 173"/>
                <a:gd name="T43" fmla="*/ 0 h 123"/>
                <a:gd name="T44" fmla="*/ 0 w 173"/>
                <a:gd name="T45" fmla="*/ 0 h 123"/>
                <a:gd name="T46" fmla="*/ 0 w 173"/>
                <a:gd name="T47" fmla="*/ 0 h 123"/>
                <a:gd name="T48" fmla="*/ 0 w 173"/>
                <a:gd name="T49" fmla="*/ 0 h 123"/>
                <a:gd name="T50" fmla="*/ 0 w 173"/>
                <a:gd name="T51" fmla="*/ 0 h 123"/>
                <a:gd name="T52" fmla="*/ 0 w 173"/>
                <a:gd name="T53" fmla="*/ 0 h 123"/>
                <a:gd name="T54" fmla="*/ 0 w 173"/>
                <a:gd name="T55" fmla="*/ 0 h 123"/>
                <a:gd name="T56" fmla="*/ 0 w 173"/>
                <a:gd name="T57" fmla="*/ 0 h 123"/>
                <a:gd name="T58" fmla="*/ 0 w 173"/>
                <a:gd name="T59" fmla="*/ 0 h 123"/>
                <a:gd name="T60" fmla="*/ 0 w 173"/>
                <a:gd name="T61" fmla="*/ 0 h 123"/>
                <a:gd name="T62" fmla="*/ 0 w 173"/>
                <a:gd name="T63" fmla="*/ 0 h 123"/>
                <a:gd name="T64" fmla="*/ 0 w 173"/>
                <a:gd name="T65" fmla="*/ 0 h 123"/>
                <a:gd name="T66" fmla="*/ 0 w 173"/>
                <a:gd name="T67" fmla="*/ 0 h 123"/>
                <a:gd name="T68" fmla="*/ 0 w 173"/>
                <a:gd name="T69" fmla="*/ 0 h 123"/>
                <a:gd name="T70" fmla="*/ 0 w 173"/>
                <a:gd name="T71" fmla="*/ 0 h 123"/>
                <a:gd name="T72" fmla="*/ 0 w 173"/>
                <a:gd name="T73" fmla="*/ 0 h 12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73"/>
                <a:gd name="T112" fmla="*/ 0 h 123"/>
                <a:gd name="T113" fmla="*/ 173 w 173"/>
                <a:gd name="T114" fmla="*/ 123 h 12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73" h="123">
                  <a:moveTo>
                    <a:pt x="145" y="0"/>
                  </a:moveTo>
                  <a:lnTo>
                    <a:pt x="136" y="4"/>
                  </a:lnTo>
                  <a:lnTo>
                    <a:pt x="134" y="12"/>
                  </a:lnTo>
                  <a:lnTo>
                    <a:pt x="117" y="10"/>
                  </a:lnTo>
                  <a:lnTo>
                    <a:pt x="113" y="10"/>
                  </a:lnTo>
                  <a:lnTo>
                    <a:pt x="108" y="19"/>
                  </a:lnTo>
                  <a:lnTo>
                    <a:pt x="88" y="15"/>
                  </a:lnTo>
                  <a:lnTo>
                    <a:pt x="75" y="17"/>
                  </a:lnTo>
                  <a:lnTo>
                    <a:pt x="66" y="28"/>
                  </a:lnTo>
                  <a:lnTo>
                    <a:pt x="58" y="33"/>
                  </a:lnTo>
                  <a:lnTo>
                    <a:pt x="30" y="31"/>
                  </a:lnTo>
                  <a:lnTo>
                    <a:pt x="14" y="31"/>
                  </a:lnTo>
                  <a:lnTo>
                    <a:pt x="2" y="41"/>
                  </a:lnTo>
                  <a:lnTo>
                    <a:pt x="0" y="48"/>
                  </a:lnTo>
                  <a:lnTo>
                    <a:pt x="0" y="53"/>
                  </a:lnTo>
                  <a:lnTo>
                    <a:pt x="2" y="54"/>
                  </a:lnTo>
                  <a:lnTo>
                    <a:pt x="7" y="53"/>
                  </a:lnTo>
                  <a:lnTo>
                    <a:pt x="5" y="60"/>
                  </a:lnTo>
                  <a:lnTo>
                    <a:pt x="4" y="68"/>
                  </a:lnTo>
                  <a:lnTo>
                    <a:pt x="9" y="74"/>
                  </a:lnTo>
                  <a:lnTo>
                    <a:pt x="9" y="82"/>
                  </a:lnTo>
                  <a:lnTo>
                    <a:pt x="11" y="85"/>
                  </a:lnTo>
                  <a:lnTo>
                    <a:pt x="18" y="89"/>
                  </a:lnTo>
                  <a:lnTo>
                    <a:pt x="21" y="94"/>
                  </a:lnTo>
                  <a:lnTo>
                    <a:pt x="25" y="95"/>
                  </a:lnTo>
                  <a:lnTo>
                    <a:pt x="27" y="98"/>
                  </a:lnTo>
                  <a:lnTo>
                    <a:pt x="26" y="103"/>
                  </a:lnTo>
                  <a:lnTo>
                    <a:pt x="22" y="106"/>
                  </a:lnTo>
                  <a:lnTo>
                    <a:pt x="17" y="107"/>
                  </a:lnTo>
                  <a:lnTo>
                    <a:pt x="12" y="106"/>
                  </a:lnTo>
                  <a:lnTo>
                    <a:pt x="6" y="111"/>
                  </a:lnTo>
                  <a:lnTo>
                    <a:pt x="14" y="117"/>
                  </a:lnTo>
                  <a:lnTo>
                    <a:pt x="27" y="116"/>
                  </a:lnTo>
                  <a:lnTo>
                    <a:pt x="30" y="111"/>
                  </a:lnTo>
                  <a:lnTo>
                    <a:pt x="36" y="116"/>
                  </a:lnTo>
                  <a:lnTo>
                    <a:pt x="53" y="116"/>
                  </a:lnTo>
                  <a:lnTo>
                    <a:pt x="60" y="100"/>
                  </a:lnTo>
                  <a:lnTo>
                    <a:pt x="63" y="100"/>
                  </a:lnTo>
                  <a:lnTo>
                    <a:pt x="74" y="119"/>
                  </a:lnTo>
                  <a:lnTo>
                    <a:pt x="79" y="118"/>
                  </a:lnTo>
                  <a:lnTo>
                    <a:pt x="79" y="114"/>
                  </a:lnTo>
                  <a:lnTo>
                    <a:pt x="81" y="114"/>
                  </a:lnTo>
                  <a:lnTo>
                    <a:pt x="84" y="117"/>
                  </a:lnTo>
                  <a:lnTo>
                    <a:pt x="87" y="117"/>
                  </a:lnTo>
                  <a:lnTo>
                    <a:pt x="92" y="123"/>
                  </a:lnTo>
                  <a:lnTo>
                    <a:pt x="96" y="123"/>
                  </a:lnTo>
                  <a:lnTo>
                    <a:pt x="101" y="119"/>
                  </a:lnTo>
                  <a:lnTo>
                    <a:pt x="100" y="107"/>
                  </a:lnTo>
                  <a:lnTo>
                    <a:pt x="103" y="102"/>
                  </a:lnTo>
                  <a:lnTo>
                    <a:pt x="100" y="97"/>
                  </a:lnTo>
                  <a:lnTo>
                    <a:pt x="111" y="89"/>
                  </a:lnTo>
                  <a:lnTo>
                    <a:pt x="119" y="87"/>
                  </a:lnTo>
                  <a:lnTo>
                    <a:pt x="124" y="80"/>
                  </a:lnTo>
                  <a:lnTo>
                    <a:pt x="124" y="69"/>
                  </a:lnTo>
                  <a:lnTo>
                    <a:pt x="118" y="62"/>
                  </a:lnTo>
                  <a:lnTo>
                    <a:pt x="117" y="58"/>
                  </a:lnTo>
                  <a:lnTo>
                    <a:pt x="120" y="53"/>
                  </a:lnTo>
                  <a:lnTo>
                    <a:pt x="140" y="46"/>
                  </a:lnTo>
                  <a:lnTo>
                    <a:pt x="144" y="43"/>
                  </a:lnTo>
                  <a:lnTo>
                    <a:pt x="144" y="38"/>
                  </a:lnTo>
                  <a:lnTo>
                    <a:pt x="151" y="38"/>
                  </a:lnTo>
                  <a:lnTo>
                    <a:pt x="155" y="39"/>
                  </a:lnTo>
                  <a:lnTo>
                    <a:pt x="155" y="38"/>
                  </a:lnTo>
                  <a:lnTo>
                    <a:pt x="154" y="32"/>
                  </a:lnTo>
                  <a:lnTo>
                    <a:pt x="154" y="27"/>
                  </a:lnTo>
                  <a:lnTo>
                    <a:pt x="157" y="24"/>
                  </a:lnTo>
                  <a:lnTo>
                    <a:pt x="161" y="25"/>
                  </a:lnTo>
                  <a:lnTo>
                    <a:pt x="170" y="31"/>
                  </a:lnTo>
                  <a:lnTo>
                    <a:pt x="173" y="28"/>
                  </a:lnTo>
                  <a:lnTo>
                    <a:pt x="173" y="31"/>
                  </a:lnTo>
                  <a:lnTo>
                    <a:pt x="165" y="17"/>
                  </a:lnTo>
                  <a:lnTo>
                    <a:pt x="160" y="4"/>
                  </a:lnTo>
                  <a:lnTo>
                    <a:pt x="152" y="0"/>
                  </a:lnTo>
                  <a:lnTo>
                    <a:pt x="145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98" name="Freeform 210">
              <a:extLst>
                <a:ext uri="{FF2B5EF4-FFF2-40B4-BE49-F238E27FC236}">
                  <a16:creationId xmlns:a16="http://schemas.microsoft.com/office/drawing/2014/main" id="{030D21D6-3A7F-34B5-ADD1-AD9BF3FC487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71601" y="2891464"/>
              <a:ext cx="68648" cy="57921"/>
            </a:xfrm>
            <a:custGeom>
              <a:avLst/>
              <a:gdLst>
                <a:gd name="T0" fmla="*/ 0 w 132"/>
                <a:gd name="T1" fmla="*/ 0 h 107"/>
                <a:gd name="T2" fmla="*/ 0 w 132"/>
                <a:gd name="T3" fmla="*/ 0 h 107"/>
                <a:gd name="T4" fmla="*/ 0 w 132"/>
                <a:gd name="T5" fmla="*/ 0 h 107"/>
                <a:gd name="T6" fmla="*/ 0 w 132"/>
                <a:gd name="T7" fmla="*/ 0 h 107"/>
                <a:gd name="T8" fmla="*/ 0 w 132"/>
                <a:gd name="T9" fmla="*/ 0 h 107"/>
                <a:gd name="T10" fmla="*/ 0 w 132"/>
                <a:gd name="T11" fmla="*/ 0 h 107"/>
                <a:gd name="T12" fmla="*/ 0 w 132"/>
                <a:gd name="T13" fmla="*/ 0 h 107"/>
                <a:gd name="T14" fmla="*/ 0 w 132"/>
                <a:gd name="T15" fmla="*/ 0 h 107"/>
                <a:gd name="T16" fmla="*/ 0 w 132"/>
                <a:gd name="T17" fmla="*/ 0 h 107"/>
                <a:gd name="T18" fmla="*/ 0 w 132"/>
                <a:gd name="T19" fmla="*/ 0 h 107"/>
                <a:gd name="T20" fmla="*/ 0 w 132"/>
                <a:gd name="T21" fmla="*/ 0 h 107"/>
                <a:gd name="T22" fmla="*/ 0 w 132"/>
                <a:gd name="T23" fmla="*/ 0 h 107"/>
                <a:gd name="T24" fmla="*/ 0 w 132"/>
                <a:gd name="T25" fmla="*/ 0 h 107"/>
                <a:gd name="T26" fmla="*/ 0 w 132"/>
                <a:gd name="T27" fmla="*/ 0 h 107"/>
                <a:gd name="T28" fmla="*/ 0 w 132"/>
                <a:gd name="T29" fmla="*/ 0 h 107"/>
                <a:gd name="T30" fmla="*/ 0 w 132"/>
                <a:gd name="T31" fmla="*/ 0 h 107"/>
                <a:gd name="T32" fmla="*/ 0 w 132"/>
                <a:gd name="T33" fmla="*/ 0 h 107"/>
                <a:gd name="T34" fmla="*/ 0 w 132"/>
                <a:gd name="T35" fmla="*/ 0 h 107"/>
                <a:gd name="T36" fmla="*/ 0 w 132"/>
                <a:gd name="T37" fmla="*/ 0 h 107"/>
                <a:gd name="T38" fmla="*/ 0 w 132"/>
                <a:gd name="T39" fmla="*/ 0 h 107"/>
                <a:gd name="T40" fmla="*/ 0 w 132"/>
                <a:gd name="T41" fmla="*/ 0 h 107"/>
                <a:gd name="T42" fmla="*/ 0 w 132"/>
                <a:gd name="T43" fmla="*/ 0 h 107"/>
                <a:gd name="T44" fmla="*/ 0 w 132"/>
                <a:gd name="T45" fmla="*/ 0 h 107"/>
                <a:gd name="T46" fmla="*/ 0 w 132"/>
                <a:gd name="T47" fmla="*/ 0 h 107"/>
                <a:gd name="T48" fmla="*/ 0 w 132"/>
                <a:gd name="T49" fmla="*/ 0 h 107"/>
                <a:gd name="T50" fmla="*/ 0 w 132"/>
                <a:gd name="T51" fmla="*/ 0 h 107"/>
                <a:gd name="T52" fmla="*/ 0 w 132"/>
                <a:gd name="T53" fmla="*/ 0 h 107"/>
                <a:gd name="T54" fmla="*/ 0 w 132"/>
                <a:gd name="T55" fmla="*/ 0 h 107"/>
                <a:gd name="T56" fmla="*/ 0 w 132"/>
                <a:gd name="T57" fmla="*/ 0 h 10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32"/>
                <a:gd name="T88" fmla="*/ 0 h 107"/>
                <a:gd name="T89" fmla="*/ 132 w 132"/>
                <a:gd name="T90" fmla="*/ 107 h 10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32" h="107">
                  <a:moveTo>
                    <a:pt x="25" y="107"/>
                  </a:moveTo>
                  <a:lnTo>
                    <a:pt x="8" y="90"/>
                  </a:lnTo>
                  <a:lnTo>
                    <a:pt x="0" y="70"/>
                  </a:lnTo>
                  <a:lnTo>
                    <a:pt x="0" y="53"/>
                  </a:lnTo>
                  <a:lnTo>
                    <a:pt x="5" y="17"/>
                  </a:lnTo>
                  <a:lnTo>
                    <a:pt x="6" y="19"/>
                  </a:lnTo>
                  <a:lnTo>
                    <a:pt x="11" y="19"/>
                  </a:lnTo>
                  <a:lnTo>
                    <a:pt x="14" y="16"/>
                  </a:lnTo>
                  <a:lnTo>
                    <a:pt x="14" y="8"/>
                  </a:lnTo>
                  <a:lnTo>
                    <a:pt x="32" y="1"/>
                  </a:lnTo>
                  <a:lnTo>
                    <a:pt x="35" y="3"/>
                  </a:lnTo>
                  <a:lnTo>
                    <a:pt x="41" y="10"/>
                  </a:lnTo>
                  <a:lnTo>
                    <a:pt x="44" y="10"/>
                  </a:lnTo>
                  <a:lnTo>
                    <a:pt x="44" y="5"/>
                  </a:lnTo>
                  <a:lnTo>
                    <a:pt x="51" y="0"/>
                  </a:lnTo>
                  <a:lnTo>
                    <a:pt x="67" y="4"/>
                  </a:lnTo>
                  <a:lnTo>
                    <a:pt x="71" y="0"/>
                  </a:lnTo>
                  <a:lnTo>
                    <a:pt x="86" y="3"/>
                  </a:lnTo>
                  <a:lnTo>
                    <a:pt x="97" y="1"/>
                  </a:lnTo>
                  <a:lnTo>
                    <a:pt x="103" y="4"/>
                  </a:lnTo>
                  <a:lnTo>
                    <a:pt x="126" y="24"/>
                  </a:lnTo>
                  <a:lnTo>
                    <a:pt x="131" y="53"/>
                  </a:lnTo>
                  <a:lnTo>
                    <a:pt x="132" y="69"/>
                  </a:lnTo>
                  <a:lnTo>
                    <a:pt x="126" y="71"/>
                  </a:lnTo>
                  <a:lnTo>
                    <a:pt x="111" y="85"/>
                  </a:lnTo>
                  <a:lnTo>
                    <a:pt x="91" y="85"/>
                  </a:lnTo>
                  <a:lnTo>
                    <a:pt x="72" y="92"/>
                  </a:lnTo>
                  <a:lnTo>
                    <a:pt x="61" y="102"/>
                  </a:lnTo>
                  <a:lnTo>
                    <a:pt x="25" y="10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99" name="Freeform 211">
              <a:extLst>
                <a:ext uri="{FF2B5EF4-FFF2-40B4-BE49-F238E27FC236}">
                  <a16:creationId xmlns:a16="http://schemas.microsoft.com/office/drawing/2014/main" id="{3F44EA9E-5345-351E-606C-A60CD506E932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59663" y="2626251"/>
              <a:ext cx="279068" cy="207294"/>
            </a:xfrm>
            <a:custGeom>
              <a:avLst/>
              <a:gdLst>
                <a:gd name="T0" fmla="*/ 2147483647 w 523"/>
                <a:gd name="T1" fmla="*/ 2147483647 h 364"/>
                <a:gd name="T2" fmla="*/ 2147483647 w 523"/>
                <a:gd name="T3" fmla="*/ 2147483647 h 364"/>
                <a:gd name="T4" fmla="*/ 2147483647 w 523"/>
                <a:gd name="T5" fmla="*/ 2147483647 h 364"/>
                <a:gd name="T6" fmla="*/ 2147483647 w 523"/>
                <a:gd name="T7" fmla="*/ 2147483647 h 364"/>
                <a:gd name="T8" fmla="*/ 0 w 523"/>
                <a:gd name="T9" fmla="*/ 2147483647 h 364"/>
                <a:gd name="T10" fmla="*/ 0 w 523"/>
                <a:gd name="T11" fmla="*/ 2147483647 h 364"/>
                <a:gd name="T12" fmla="*/ 0 w 523"/>
                <a:gd name="T13" fmla="*/ 2147483647 h 364"/>
                <a:gd name="T14" fmla="*/ 0 w 523"/>
                <a:gd name="T15" fmla="*/ 2147483647 h 364"/>
                <a:gd name="T16" fmla="*/ 0 w 523"/>
                <a:gd name="T17" fmla="*/ 2147483647 h 364"/>
                <a:gd name="T18" fmla="*/ 0 w 523"/>
                <a:gd name="T19" fmla="*/ 0 h 364"/>
                <a:gd name="T20" fmla="*/ 0 w 523"/>
                <a:gd name="T21" fmla="*/ 0 h 364"/>
                <a:gd name="T22" fmla="*/ 0 w 523"/>
                <a:gd name="T23" fmla="*/ 0 h 364"/>
                <a:gd name="T24" fmla="*/ 0 w 523"/>
                <a:gd name="T25" fmla="*/ 0 h 364"/>
                <a:gd name="T26" fmla="*/ 0 w 523"/>
                <a:gd name="T27" fmla="*/ 0 h 364"/>
                <a:gd name="T28" fmla="*/ 0 w 523"/>
                <a:gd name="T29" fmla="*/ 0 h 364"/>
                <a:gd name="T30" fmla="*/ 0 w 523"/>
                <a:gd name="T31" fmla="*/ 0 h 364"/>
                <a:gd name="T32" fmla="*/ 0 w 523"/>
                <a:gd name="T33" fmla="*/ 0 h 364"/>
                <a:gd name="T34" fmla="*/ 0 w 523"/>
                <a:gd name="T35" fmla="*/ 0 h 364"/>
                <a:gd name="T36" fmla="*/ 0 w 523"/>
                <a:gd name="T37" fmla="*/ 0 h 364"/>
                <a:gd name="T38" fmla="*/ 0 w 523"/>
                <a:gd name="T39" fmla="*/ 0 h 364"/>
                <a:gd name="T40" fmla="*/ 0 w 523"/>
                <a:gd name="T41" fmla="*/ 0 h 364"/>
                <a:gd name="T42" fmla="*/ 0 w 523"/>
                <a:gd name="T43" fmla="*/ 0 h 364"/>
                <a:gd name="T44" fmla="*/ 0 w 523"/>
                <a:gd name="T45" fmla="*/ 0 h 364"/>
                <a:gd name="T46" fmla="*/ 0 w 523"/>
                <a:gd name="T47" fmla="*/ 0 h 364"/>
                <a:gd name="T48" fmla="*/ 0 w 523"/>
                <a:gd name="T49" fmla="*/ 0 h 364"/>
                <a:gd name="T50" fmla="*/ 0 w 523"/>
                <a:gd name="T51" fmla="*/ 0 h 364"/>
                <a:gd name="T52" fmla="*/ 0 w 523"/>
                <a:gd name="T53" fmla="*/ 0 h 364"/>
                <a:gd name="T54" fmla="*/ 0 w 523"/>
                <a:gd name="T55" fmla="*/ 0 h 364"/>
                <a:gd name="T56" fmla="*/ 0 w 523"/>
                <a:gd name="T57" fmla="*/ 0 h 364"/>
                <a:gd name="T58" fmla="*/ 0 w 523"/>
                <a:gd name="T59" fmla="*/ 0 h 364"/>
                <a:gd name="T60" fmla="*/ 2147483647 w 523"/>
                <a:gd name="T61" fmla="*/ 0 h 364"/>
                <a:gd name="T62" fmla="*/ 2147483647 w 523"/>
                <a:gd name="T63" fmla="*/ 0 h 364"/>
                <a:gd name="T64" fmla="*/ 2147483647 w 523"/>
                <a:gd name="T65" fmla="*/ 0 h 364"/>
                <a:gd name="T66" fmla="*/ 2147483647 w 523"/>
                <a:gd name="T67" fmla="*/ 0 h 364"/>
                <a:gd name="T68" fmla="*/ 2147483647 w 523"/>
                <a:gd name="T69" fmla="*/ 0 h 364"/>
                <a:gd name="T70" fmla="*/ 2147483647 w 523"/>
                <a:gd name="T71" fmla="*/ 0 h 364"/>
                <a:gd name="T72" fmla="*/ 2147483647 w 523"/>
                <a:gd name="T73" fmla="*/ 0 h 364"/>
                <a:gd name="T74" fmla="*/ 2147483647 w 523"/>
                <a:gd name="T75" fmla="*/ 0 h 364"/>
                <a:gd name="T76" fmla="*/ 2147483647 w 523"/>
                <a:gd name="T77" fmla="*/ 0 h 364"/>
                <a:gd name="T78" fmla="*/ 2147483647 w 523"/>
                <a:gd name="T79" fmla="*/ 0 h 364"/>
                <a:gd name="T80" fmla="*/ 2147483647 w 523"/>
                <a:gd name="T81" fmla="*/ 0 h 364"/>
                <a:gd name="T82" fmla="*/ 2147483647 w 523"/>
                <a:gd name="T83" fmla="*/ 0 h 364"/>
                <a:gd name="T84" fmla="*/ 2147483647 w 523"/>
                <a:gd name="T85" fmla="*/ 0 h 364"/>
                <a:gd name="T86" fmla="*/ 2147483647 w 523"/>
                <a:gd name="T87" fmla="*/ 0 h 364"/>
                <a:gd name="T88" fmla="*/ 2147483647 w 523"/>
                <a:gd name="T89" fmla="*/ 0 h 364"/>
                <a:gd name="T90" fmla="*/ 2147483647 w 523"/>
                <a:gd name="T91" fmla="*/ 0 h 364"/>
                <a:gd name="T92" fmla="*/ 2147483647 w 523"/>
                <a:gd name="T93" fmla="*/ 0 h 364"/>
                <a:gd name="T94" fmla="*/ 2147483647 w 523"/>
                <a:gd name="T95" fmla="*/ 0 h 364"/>
                <a:gd name="T96" fmla="*/ 2147483647 w 523"/>
                <a:gd name="T97" fmla="*/ 0 h 364"/>
                <a:gd name="T98" fmla="*/ 2147483647 w 523"/>
                <a:gd name="T99" fmla="*/ 0 h 364"/>
                <a:gd name="T100" fmla="*/ 2147483647 w 523"/>
                <a:gd name="T101" fmla="*/ 0 h 364"/>
                <a:gd name="T102" fmla="*/ 2147483647 w 523"/>
                <a:gd name="T103" fmla="*/ 2147483647 h 364"/>
                <a:gd name="T104" fmla="*/ 2147483647 w 523"/>
                <a:gd name="T105" fmla="*/ 2147483647 h 3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23"/>
                <a:gd name="T160" fmla="*/ 0 h 364"/>
                <a:gd name="T161" fmla="*/ 523 w 523"/>
                <a:gd name="T162" fmla="*/ 364 h 3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23" h="364">
                  <a:moveTo>
                    <a:pt x="467" y="355"/>
                  </a:moveTo>
                  <a:lnTo>
                    <a:pt x="449" y="356"/>
                  </a:lnTo>
                  <a:lnTo>
                    <a:pt x="429" y="343"/>
                  </a:lnTo>
                  <a:lnTo>
                    <a:pt x="399" y="334"/>
                  </a:lnTo>
                  <a:lnTo>
                    <a:pt x="393" y="329"/>
                  </a:lnTo>
                  <a:lnTo>
                    <a:pt x="373" y="328"/>
                  </a:lnTo>
                  <a:lnTo>
                    <a:pt x="347" y="337"/>
                  </a:lnTo>
                  <a:lnTo>
                    <a:pt x="327" y="347"/>
                  </a:lnTo>
                  <a:lnTo>
                    <a:pt x="308" y="359"/>
                  </a:lnTo>
                  <a:lnTo>
                    <a:pt x="291" y="364"/>
                  </a:lnTo>
                  <a:lnTo>
                    <a:pt x="247" y="356"/>
                  </a:lnTo>
                  <a:lnTo>
                    <a:pt x="206" y="355"/>
                  </a:lnTo>
                  <a:lnTo>
                    <a:pt x="172" y="351"/>
                  </a:lnTo>
                  <a:lnTo>
                    <a:pt x="158" y="351"/>
                  </a:lnTo>
                  <a:lnTo>
                    <a:pt x="147" y="343"/>
                  </a:lnTo>
                  <a:lnTo>
                    <a:pt x="153" y="328"/>
                  </a:lnTo>
                  <a:lnTo>
                    <a:pt x="141" y="324"/>
                  </a:lnTo>
                  <a:lnTo>
                    <a:pt x="131" y="322"/>
                  </a:lnTo>
                  <a:lnTo>
                    <a:pt x="124" y="306"/>
                  </a:lnTo>
                  <a:lnTo>
                    <a:pt x="134" y="295"/>
                  </a:lnTo>
                  <a:lnTo>
                    <a:pt x="126" y="284"/>
                  </a:lnTo>
                  <a:lnTo>
                    <a:pt x="115" y="293"/>
                  </a:lnTo>
                  <a:lnTo>
                    <a:pt x="87" y="283"/>
                  </a:lnTo>
                  <a:lnTo>
                    <a:pt x="72" y="270"/>
                  </a:lnTo>
                  <a:lnTo>
                    <a:pt x="71" y="256"/>
                  </a:lnTo>
                  <a:lnTo>
                    <a:pt x="69" y="246"/>
                  </a:lnTo>
                  <a:lnTo>
                    <a:pt x="60" y="241"/>
                  </a:lnTo>
                  <a:lnTo>
                    <a:pt x="49" y="238"/>
                  </a:lnTo>
                  <a:lnTo>
                    <a:pt x="40" y="225"/>
                  </a:lnTo>
                  <a:lnTo>
                    <a:pt x="35" y="207"/>
                  </a:lnTo>
                  <a:lnTo>
                    <a:pt x="30" y="194"/>
                  </a:lnTo>
                  <a:lnTo>
                    <a:pt x="19" y="182"/>
                  </a:lnTo>
                  <a:lnTo>
                    <a:pt x="5" y="176"/>
                  </a:lnTo>
                  <a:lnTo>
                    <a:pt x="0" y="172"/>
                  </a:lnTo>
                  <a:lnTo>
                    <a:pt x="3" y="172"/>
                  </a:lnTo>
                  <a:lnTo>
                    <a:pt x="35" y="162"/>
                  </a:lnTo>
                  <a:lnTo>
                    <a:pt x="51" y="155"/>
                  </a:lnTo>
                  <a:lnTo>
                    <a:pt x="59" y="138"/>
                  </a:lnTo>
                  <a:lnTo>
                    <a:pt x="66" y="128"/>
                  </a:lnTo>
                  <a:lnTo>
                    <a:pt x="73" y="112"/>
                  </a:lnTo>
                  <a:lnTo>
                    <a:pt x="78" y="98"/>
                  </a:lnTo>
                  <a:lnTo>
                    <a:pt x="91" y="85"/>
                  </a:lnTo>
                  <a:lnTo>
                    <a:pt x="93" y="74"/>
                  </a:lnTo>
                  <a:lnTo>
                    <a:pt x="99" y="63"/>
                  </a:lnTo>
                  <a:lnTo>
                    <a:pt x="101" y="55"/>
                  </a:lnTo>
                  <a:lnTo>
                    <a:pt x="110" y="46"/>
                  </a:lnTo>
                  <a:lnTo>
                    <a:pt x="125" y="39"/>
                  </a:lnTo>
                  <a:lnTo>
                    <a:pt x="132" y="39"/>
                  </a:lnTo>
                  <a:lnTo>
                    <a:pt x="140" y="32"/>
                  </a:lnTo>
                  <a:lnTo>
                    <a:pt x="144" y="25"/>
                  </a:lnTo>
                  <a:lnTo>
                    <a:pt x="151" y="22"/>
                  </a:lnTo>
                  <a:lnTo>
                    <a:pt x="168" y="22"/>
                  </a:lnTo>
                  <a:lnTo>
                    <a:pt x="187" y="25"/>
                  </a:lnTo>
                  <a:lnTo>
                    <a:pt x="210" y="27"/>
                  </a:lnTo>
                  <a:lnTo>
                    <a:pt x="225" y="24"/>
                  </a:lnTo>
                  <a:lnTo>
                    <a:pt x="241" y="22"/>
                  </a:lnTo>
                  <a:lnTo>
                    <a:pt x="252" y="32"/>
                  </a:lnTo>
                  <a:lnTo>
                    <a:pt x="261" y="37"/>
                  </a:lnTo>
                  <a:lnTo>
                    <a:pt x="277" y="26"/>
                  </a:lnTo>
                  <a:lnTo>
                    <a:pt x="295" y="21"/>
                  </a:lnTo>
                  <a:lnTo>
                    <a:pt x="312" y="21"/>
                  </a:lnTo>
                  <a:lnTo>
                    <a:pt x="346" y="0"/>
                  </a:lnTo>
                  <a:lnTo>
                    <a:pt x="352" y="1"/>
                  </a:lnTo>
                  <a:lnTo>
                    <a:pt x="360" y="1"/>
                  </a:lnTo>
                  <a:lnTo>
                    <a:pt x="372" y="11"/>
                  </a:lnTo>
                  <a:lnTo>
                    <a:pt x="386" y="25"/>
                  </a:lnTo>
                  <a:lnTo>
                    <a:pt x="394" y="38"/>
                  </a:lnTo>
                  <a:lnTo>
                    <a:pt x="397" y="55"/>
                  </a:lnTo>
                  <a:lnTo>
                    <a:pt x="409" y="76"/>
                  </a:lnTo>
                  <a:lnTo>
                    <a:pt x="422" y="97"/>
                  </a:lnTo>
                  <a:lnTo>
                    <a:pt x="433" y="117"/>
                  </a:lnTo>
                  <a:lnTo>
                    <a:pt x="438" y="146"/>
                  </a:lnTo>
                  <a:lnTo>
                    <a:pt x="438" y="166"/>
                  </a:lnTo>
                  <a:lnTo>
                    <a:pt x="436" y="182"/>
                  </a:lnTo>
                  <a:lnTo>
                    <a:pt x="438" y="194"/>
                  </a:lnTo>
                  <a:lnTo>
                    <a:pt x="440" y="207"/>
                  </a:lnTo>
                  <a:lnTo>
                    <a:pt x="440" y="221"/>
                  </a:lnTo>
                  <a:lnTo>
                    <a:pt x="440" y="225"/>
                  </a:lnTo>
                  <a:lnTo>
                    <a:pt x="448" y="224"/>
                  </a:lnTo>
                  <a:lnTo>
                    <a:pt x="462" y="241"/>
                  </a:lnTo>
                  <a:lnTo>
                    <a:pt x="472" y="240"/>
                  </a:lnTo>
                  <a:lnTo>
                    <a:pt x="483" y="232"/>
                  </a:lnTo>
                  <a:lnTo>
                    <a:pt x="497" y="230"/>
                  </a:lnTo>
                  <a:lnTo>
                    <a:pt x="506" y="226"/>
                  </a:lnTo>
                  <a:lnTo>
                    <a:pt x="515" y="226"/>
                  </a:lnTo>
                  <a:lnTo>
                    <a:pt x="521" y="230"/>
                  </a:lnTo>
                  <a:lnTo>
                    <a:pt x="523" y="237"/>
                  </a:lnTo>
                  <a:lnTo>
                    <a:pt x="523" y="254"/>
                  </a:lnTo>
                  <a:lnTo>
                    <a:pt x="521" y="265"/>
                  </a:lnTo>
                  <a:lnTo>
                    <a:pt x="518" y="270"/>
                  </a:lnTo>
                  <a:lnTo>
                    <a:pt x="513" y="277"/>
                  </a:lnTo>
                  <a:lnTo>
                    <a:pt x="502" y="279"/>
                  </a:lnTo>
                  <a:lnTo>
                    <a:pt x="492" y="286"/>
                  </a:lnTo>
                  <a:lnTo>
                    <a:pt x="485" y="296"/>
                  </a:lnTo>
                  <a:lnTo>
                    <a:pt x="478" y="302"/>
                  </a:lnTo>
                  <a:lnTo>
                    <a:pt x="475" y="296"/>
                  </a:lnTo>
                  <a:lnTo>
                    <a:pt x="481" y="289"/>
                  </a:lnTo>
                  <a:lnTo>
                    <a:pt x="487" y="277"/>
                  </a:lnTo>
                  <a:lnTo>
                    <a:pt x="487" y="263"/>
                  </a:lnTo>
                  <a:lnTo>
                    <a:pt x="480" y="263"/>
                  </a:lnTo>
                  <a:lnTo>
                    <a:pt x="476" y="286"/>
                  </a:lnTo>
                  <a:lnTo>
                    <a:pt x="472" y="299"/>
                  </a:lnTo>
                  <a:lnTo>
                    <a:pt x="469" y="310"/>
                  </a:lnTo>
                  <a:lnTo>
                    <a:pt x="467" y="317"/>
                  </a:lnTo>
                  <a:lnTo>
                    <a:pt x="467" y="336"/>
                  </a:lnTo>
                  <a:lnTo>
                    <a:pt x="465" y="344"/>
                  </a:lnTo>
                  <a:lnTo>
                    <a:pt x="467" y="35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00" name="Freeform 212">
              <a:extLst>
                <a:ext uri="{FF2B5EF4-FFF2-40B4-BE49-F238E27FC236}">
                  <a16:creationId xmlns:a16="http://schemas.microsoft.com/office/drawing/2014/main" id="{6B75D195-A6EC-03E6-FE1B-56D19C6246B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453681" y="2022661"/>
              <a:ext cx="144757" cy="124985"/>
            </a:xfrm>
            <a:custGeom>
              <a:avLst/>
              <a:gdLst>
                <a:gd name="T0" fmla="*/ 0 w 267"/>
                <a:gd name="T1" fmla="*/ 0 h 220"/>
                <a:gd name="T2" fmla="*/ 0 w 267"/>
                <a:gd name="T3" fmla="*/ 0 h 220"/>
                <a:gd name="T4" fmla="*/ 0 w 267"/>
                <a:gd name="T5" fmla="*/ 0 h 220"/>
                <a:gd name="T6" fmla="*/ 0 w 267"/>
                <a:gd name="T7" fmla="*/ 0 h 220"/>
                <a:gd name="T8" fmla="*/ 0 w 267"/>
                <a:gd name="T9" fmla="*/ 0 h 220"/>
                <a:gd name="T10" fmla="*/ 0 w 267"/>
                <a:gd name="T11" fmla="*/ 0 h 220"/>
                <a:gd name="T12" fmla="*/ 0 w 267"/>
                <a:gd name="T13" fmla="*/ 0 h 220"/>
                <a:gd name="T14" fmla="*/ 0 w 267"/>
                <a:gd name="T15" fmla="*/ 0 h 220"/>
                <a:gd name="T16" fmla="*/ 0 w 267"/>
                <a:gd name="T17" fmla="*/ 0 h 220"/>
                <a:gd name="T18" fmla="*/ 0 w 267"/>
                <a:gd name="T19" fmla="*/ 0 h 220"/>
                <a:gd name="T20" fmla="*/ 0 w 267"/>
                <a:gd name="T21" fmla="*/ 0 h 220"/>
                <a:gd name="T22" fmla="*/ 0 w 267"/>
                <a:gd name="T23" fmla="*/ 0 h 220"/>
                <a:gd name="T24" fmla="*/ 0 w 267"/>
                <a:gd name="T25" fmla="*/ 0 h 220"/>
                <a:gd name="T26" fmla="*/ 0 w 267"/>
                <a:gd name="T27" fmla="*/ 0 h 220"/>
                <a:gd name="T28" fmla="*/ 0 w 267"/>
                <a:gd name="T29" fmla="*/ 0 h 220"/>
                <a:gd name="T30" fmla="*/ 0 w 267"/>
                <a:gd name="T31" fmla="*/ 0 h 220"/>
                <a:gd name="T32" fmla="*/ 0 w 267"/>
                <a:gd name="T33" fmla="*/ 0 h 220"/>
                <a:gd name="T34" fmla="*/ 0 w 267"/>
                <a:gd name="T35" fmla="*/ 0 h 220"/>
                <a:gd name="T36" fmla="*/ 0 w 267"/>
                <a:gd name="T37" fmla="*/ 0 h 220"/>
                <a:gd name="T38" fmla="*/ 0 w 267"/>
                <a:gd name="T39" fmla="*/ 0 h 220"/>
                <a:gd name="T40" fmla="*/ 0 w 267"/>
                <a:gd name="T41" fmla="*/ 0 h 220"/>
                <a:gd name="T42" fmla="*/ 0 w 267"/>
                <a:gd name="T43" fmla="*/ 0 h 220"/>
                <a:gd name="T44" fmla="*/ 0 w 267"/>
                <a:gd name="T45" fmla="*/ 0 h 220"/>
                <a:gd name="T46" fmla="*/ 0 w 267"/>
                <a:gd name="T47" fmla="*/ 0 h 220"/>
                <a:gd name="T48" fmla="*/ 0 w 267"/>
                <a:gd name="T49" fmla="*/ 0 h 220"/>
                <a:gd name="T50" fmla="*/ 0 w 267"/>
                <a:gd name="T51" fmla="*/ 0 h 220"/>
                <a:gd name="T52" fmla="*/ 0 w 267"/>
                <a:gd name="T53" fmla="*/ 0 h 220"/>
                <a:gd name="T54" fmla="*/ 0 w 267"/>
                <a:gd name="T55" fmla="*/ 0 h 220"/>
                <a:gd name="T56" fmla="*/ 0 w 267"/>
                <a:gd name="T57" fmla="*/ 0 h 220"/>
                <a:gd name="T58" fmla="*/ 0 w 267"/>
                <a:gd name="T59" fmla="*/ 0 h 220"/>
                <a:gd name="T60" fmla="*/ 0 w 267"/>
                <a:gd name="T61" fmla="*/ 0 h 220"/>
                <a:gd name="T62" fmla="*/ 0 w 267"/>
                <a:gd name="T63" fmla="*/ 0 h 220"/>
                <a:gd name="T64" fmla="*/ 0 w 267"/>
                <a:gd name="T65" fmla="*/ 0 h 220"/>
                <a:gd name="T66" fmla="*/ 0 w 267"/>
                <a:gd name="T67" fmla="*/ 0 h 220"/>
                <a:gd name="T68" fmla="*/ 0 w 267"/>
                <a:gd name="T69" fmla="*/ 0 h 220"/>
                <a:gd name="T70" fmla="*/ 0 w 267"/>
                <a:gd name="T71" fmla="*/ 0 h 220"/>
                <a:gd name="T72" fmla="*/ 0 w 267"/>
                <a:gd name="T73" fmla="*/ 0 h 220"/>
                <a:gd name="T74" fmla="*/ 0 w 267"/>
                <a:gd name="T75" fmla="*/ 0 h 220"/>
                <a:gd name="T76" fmla="*/ 0 w 267"/>
                <a:gd name="T77" fmla="*/ 0 h 220"/>
                <a:gd name="T78" fmla="*/ 0 w 267"/>
                <a:gd name="T79" fmla="*/ 0 h 220"/>
                <a:gd name="T80" fmla="*/ 0 w 267"/>
                <a:gd name="T81" fmla="*/ 0 h 220"/>
                <a:gd name="T82" fmla="*/ 0 w 267"/>
                <a:gd name="T83" fmla="*/ 0 h 220"/>
                <a:gd name="T84" fmla="*/ 0 w 267"/>
                <a:gd name="T85" fmla="*/ 0 h 220"/>
                <a:gd name="T86" fmla="*/ 0 w 267"/>
                <a:gd name="T87" fmla="*/ 0 h 2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67"/>
                <a:gd name="T133" fmla="*/ 0 h 220"/>
                <a:gd name="T134" fmla="*/ 267 w 267"/>
                <a:gd name="T135" fmla="*/ 220 h 2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67" h="220">
                  <a:moveTo>
                    <a:pt x="121" y="5"/>
                  </a:moveTo>
                  <a:lnTo>
                    <a:pt x="124" y="0"/>
                  </a:lnTo>
                  <a:lnTo>
                    <a:pt x="131" y="9"/>
                  </a:lnTo>
                  <a:lnTo>
                    <a:pt x="140" y="5"/>
                  </a:lnTo>
                  <a:lnTo>
                    <a:pt x="147" y="6"/>
                  </a:lnTo>
                  <a:lnTo>
                    <a:pt x="159" y="13"/>
                  </a:lnTo>
                  <a:lnTo>
                    <a:pt x="179" y="15"/>
                  </a:lnTo>
                  <a:lnTo>
                    <a:pt x="184" y="21"/>
                  </a:lnTo>
                  <a:lnTo>
                    <a:pt x="196" y="25"/>
                  </a:lnTo>
                  <a:lnTo>
                    <a:pt x="239" y="26"/>
                  </a:lnTo>
                  <a:lnTo>
                    <a:pt x="250" y="22"/>
                  </a:lnTo>
                  <a:lnTo>
                    <a:pt x="253" y="15"/>
                  </a:lnTo>
                  <a:lnTo>
                    <a:pt x="260" y="16"/>
                  </a:lnTo>
                  <a:lnTo>
                    <a:pt x="265" y="22"/>
                  </a:lnTo>
                  <a:lnTo>
                    <a:pt x="267" y="30"/>
                  </a:lnTo>
                  <a:lnTo>
                    <a:pt x="264" y="38"/>
                  </a:lnTo>
                  <a:lnTo>
                    <a:pt x="253" y="49"/>
                  </a:lnTo>
                  <a:lnTo>
                    <a:pt x="244" y="64"/>
                  </a:lnTo>
                  <a:lnTo>
                    <a:pt x="238" y="78"/>
                  </a:lnTo>
                  <a:lnTo>
                    <a:pt x="242" y="91"/>
                  </a:lnTo>
                  <a:lnTo>
                    <a:pt x="239" y="110"/>
                  </a:lnTo>
                  <a:lnTo>
                    <a:pt x="240" y="116"/>
                  </a:lnTo>
                  <a:lnTo>
                    <a:pt x="243" y="121"/>
                  </a:lnTo>
                  <a:lnTo>
                    <a:pt x="243" y="127"/>
                  </a:lnTo>
                  <a:lnTo>
                    <a:pt x="240" y="134"/>
                  </a:lnTo>
                  <a:lnTo>
                    <a:pt x="232" y="143"/>
                  </a:lnTo>
                  <a:lnTo>
                    <a:pt x="227" y="146"/>
                  </a:lnTo>
                  <a:lnTo>
                    <a:pt x="224" y="154"/>
                  </a:lnTo>
                  <a:lnTo>
                    <a:pt x="228" y="161"/>
                  </a:lnTo>
                  <a:lnTo>
                    <a:pt x="237" y="162"/>
                  </a:lnTo>
                  <a:lnTo>
                    <a:pt x="250" y="161"/>
                  </a:lnTo>
                  <a:lnTo>
                    <a:pt x="261" y="178"/>
                  </a:lnTo>
                  <a:lnTo>
                    <a:pt x="260" y="194"/>
                  </a:lnTo>
                  <a:lnTo>
                    <a:pt x="250" y="194"/>
                  </a:lnTo>
                  <a:lnTo>
                    <a:pt x="242" y="183"/>
                  </a:lnTo>
                  <a:lnTo>
                    <a:pt x="233" y="176"/>
                  </a:lnTo>
                  <a:lnTo>
                    <a:pt x="233" y="191"/>
                  </a:lnTo>
                  <a:lnTo>
                    <a:pt x="229" y="198"/>
                  </a:lnTo>
                  <a:lnTo>
                    <a:pt x="223" y="213"/>
                  </a:lnTo>
                  <a:lnTo>
                    <a:pt x="224" y="220"/>
                  </a:lnTo>
                  <a:lnTo>
                    <a:pt x="223" y="219"/>
                  </a:lnTo>
                  <a:lnTo>
                    <a:pt x="206" y="215"/>
                  </a:lnTo>
                  <a:lnTo>
                    <a:pt x="191" y="217"/>
                  </a:lnTo>
                  <a:lnTo>
                    <a:pt x="183" y="220"/>
                  </a:lnTo>
                  <a:lnTo>
                    <a:pt x="175" y="220"/>
                  </a:lnTo>
                  <a:lnTo>
                    <a:pt x="153" y="201"/>
                  </a:lnTo>
                  <a:lnTo>
                    <a:pt x="148" y="191"/>
                  </a:lnTo>
                  <a:lnTo>
                    <a:pt x="134" y="186"/>
                  </a:lnTo>
                  <a:lnTo>
                    <a:pt x="120" y="175"/>
                  </a:lnTo>
                  <a:lnTo>
                    <a:pt x="104" y="171"/>
                  </a:lnTo>
                  <a:lnTo>
                    <a:pt x="78" y="175"/>
                  </a:lnTo>
                  <a:lnTo>
                    <a:pt x="65" y="185"/>
                  </a:lnTo>
                  <a:lnTo>
                    <a:pt x="56" y="186"/>
                  </a:lnTo>
                  <a:lnTo>
                    <a:pt x="50" y="192"/>
                  </a:lnTo>
                  <a:lnTo>
                    <a:pt x="54" y="180"/>
                  </a:lnTo>
                  <a:lnTo>
                    <a:pt x="56" y="155"/>
                  </a:lnTo>
                  <a:lnTo>
                    <a:pt x="60" y="144"/>
                  </a:lnTo>
                  <a:lnTo>
                    <a:pt x="60" y="139"/>
                  </a:lnTo>
                  <a:lnTo>
                    <a:pt x="45" y="137"/>
                  </a:lnTo>
                  <a:lnTo>
                    <a:pt x="43" y="144"/>
                  </a:lnTo>
                  <a:lnTo>
                    <a:pt x="34" y="149"/>
                  </a:lnTo>
                  <a:lnTo>
                    <a:pt x="28" y="140"/>
                  </a:lnTo>
                  <a:lnTo>
                    <a:pt x="22" y="142"/>
                  </a:lnTo>
                  <a:lnTo>
                    <a:pt x="14" y="139"/>
                  </a:lnTo>
                  <a:lnTo>
                    <a:pt x="11" y="128"/>
                  </a:lnTo>
                  <a:lnTo>
                    <a:pt x="5" y="119"/>
                  </a:lnTo>
                  <a:lnTo>
                    <a:pt x="3" y="110"/>
                  </a:lnTo>
                  <a:lnTo>
                    <a:pt x="7" y="100"/>
                  </a:lnTo>
                  <a:lnTo>
                    <a:pt x="18" y="97"/>
                  </a:lnTo>
                  <a:lnTo>
                    <a:pt x="16" y="94"/>
                  </a:lnTo>
                  <a:lnTo>
                    <a:pt x="2" y="92"/>
                  </a:lnTo>
                  <a:lnTo>
                    <a:pt x="3" y="79"/>
                  </a:lnTo>
                  <a:lnTo>
                    <a:pt x="6" y="75"/>
                  </a:lnTo>
                  <a:lnTo>
                    <a:pt x="5" y="72"/>
                  </a:lnTo>
                  <a:lnTo>
                    <a:pt x="0" y="70"/>
                  </a:lnTo>
                  <a:lnTo>
                    <a:pt x="3" y="49"/>
                  </a:lnTo>
                  <a:lnTo>
                    <a:pt x="8" y="46"/>
                  </a:lnTo>
                  <a:lnTo>
                    <a:pt x="35" y="38"/>
                  </a:lnTo>
                  <a:lnTo>
                    <a:pt x="35" y="33"/>
                  </a:lnTo>
                  <a:lnTo>
                    <a:pt x="39" y="30"/>
                  </a:lnTo>
                  <a:lnTo>
                    <a:pt x="48" y="27"/>
                  </a:lnTo>
                  <a:lnTo>
                    <a:pt x="54" y="21"/>
                  </a:lnTo>
                  <a:lnTo>
                    <a:pt x="75" y="22"/>
                  </a:lnTo>
                  <a:lnTo>
                    <a:pt x="77" y="13"/>
                  </a:lnTo>
                  <a:lnTo>
                    <a:pt x="87" y="19"/>
                  </a:lnTo>
                  <a:lnTo>
                    <a:pt x="108" y="16"/>
                  </a:lnTo>
                  <a:lnTo>
                    <a:pt x="113" y="13"/>
                  </a:lnTo>
                  <a:lnTo>
                    <a:pt x="111" y="5"/>
                  </a:lnTo>
                  <a:lnTo>
                    <a:pt x="121" y="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01" name="Freeform 213">
              <a:extLst>
                <a:ext uri="{FF2B5EF4-FFF2-40B4-BE49-F238E27FC236}">
                  <a16:creationId xmlns:a16="http://schemas.microsoft.com/office/drawing/2014/main" id="{3CB0D17A-59D9-3E31-3EBC-D188A467755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71601" y="1246834"/>
              <a:ext cx="317869" cy="762109"/>
            </a:xfrm>
            <a:custGeom>
              <a:avLst/>
              <a:gdLst>
                <a:gd name="T0" fmla="*/ 0 w 593"/>
                <a:gd name="T1" fmla="*/ 0 h 1339"/>
                <a:gd name="T2" fmla="*/ 0 w 593"/>
                <a:gd name="T3" fmla="*/ 2147483647 h 1339"/>
                <a:gd name="T4" fmla="*/ 0 w 593"/>
                <a:gd name="T5" fmla="*/ 2147483647 h 1339"/>
                <a:gd name="T6" fmla="*/ 0 w 593"/>
                <a:gd name="T7" fmla="*/ 2147483647 h 1339"/>
                <a:gd name="T8" fmla="*/ 0 w 593"/>
                <a:gd name="T9" fmla="*/ 2147483647 h 1339"/>
                <a:gd name="T10" fmla="*/ 0 w 593"/>
                <a:gd name="T11" fmla="*/ 2147483647 h 1339"/>
                <a:gd name="T12" fmla="*/ 0 w 593"/>
                <a:gd name="T13" fmla="*/ 2147483647 h 1339"/>
                <a:gd name="T14" fmla="*/ 0 w 593"/>
                <a:gd name="T15" fmla="*/ 2147483647 h 1339"/>
                <a:gd name="T16" fmla="*/ 0 w 593"/>
                <a:gd name="T17" fmla="*/ 2147483647 h 1339"/>
                <a:gd name="T18" fmla="*/ 0 w 593"/>
                <a:gd name="T19" fmla="*/ 2147483647 h 1339"/>
                <a:gd name="T20" fmla="*/ 0 w 593"/>
                <a:gd name="T21" fmla="*/ 2147483647 h 1339"/>
                <a:gd name="T22" fmla="*/ 0 w 593"/>
                <a:gd name="T23" fmla="*/ 2147483647 h 1339"/>
                <a:gd name="T24" fmla="*/ 0 w 593"/>
                <a:gd name="T25" fmla="*/ 2147483647 h 1339"/>
                <a:gd name="T26" fmla="*/ 0 w 593"/>
                <a:gd name="T27" fmla="*/ 2147483647 h 1339"/>
                <a:gd name="T28" fmla="*/ 0 w 593"/>
                <a:gd name="T29" fmla="*/ 2147483647 h 1339"/>
                <a:gd name="T30" fmla="*/ 0 w 593"/>
                <a:gd name="T31" fmla="*/ 2147483647 h 1339"/>
                <a:gd name="T32" fmla="*/ 0 w 593"/>
                <a:gd name="T33" fmla="*/ 2147483647 h 1339"/>
                <a:gd name="T34" fmla="*/ 0 w 593"/>
                <a:gd name="T35" fmla="*/ 2147483647 h 1339"/>
                <a:gd name="T36" fmla="*/ 0 w 593"/>
                <a:gd name="T37" fmla="*/ 2147483647 h 1339"/>
                <a:gd name="T38" fmla="*/ 0 w 593"/>
                <a:gd name="T39" fmla="*/ 2147483647 h 1339"/>
                <a:gd name="T40" fmla="*/ 0 w 593"/>
                <a:gd name="T41" fmla="*/ 2147483647 h 1339"/>
                <a:gd name="T42" fmla="*/ 0 w 593"/>
                <a:gd name="T43" fmla="*/ 2147483647 h 1339"/>
                <a:gd name="T44" fmla="*/ 0 w 593"/>
                <a:gd name="T45" fmla="*/ 2147483647 h 1339"/>
                <a:gd name="T46" fmla="*/ 0 w 593"/>
                <a:gd name="T47" fmla="*/ 2147483647 h 1339"/>
                <a:gd name="T48" fmla="*/ 0 w 593"/>
                <a:gd name="T49" fmla="*/ 2147483647 h 1339"/>
                <a:gd name="T50" fmla="*/ 0 w 593"/>
                <a:gd name="T51" fmla="*/ 2147483647 h 1339"/>
                <a:gd name="T52" fmla="*/ 0 w 593"/>
                <a:gd name="T53" fmla="*/ 2147483647 h 1339"/>
                <a:gd name="T54" fmla="*/ 0 w 593"/>
                <a:gd name="T55" fmla="*/ 2147483647 h 1339"/>
                <a:gd name="T56" fmla="*/ 0 w 593"/>
                <a:gd name="T57" fmla="*/ 2147483647 h 1339"/>
                <a:gd name="T58" fmla="*/ 0 w 593"/>
                <a:gd name="T59" fmla="*/ 2147483647 h 1339"/>
                <a:gd name="T60" fmla="*/ 0 w 593"/>
                <a:gd name="T61" fmla="*/ 2147483647 h 1339"/>
                <a:gd name="T62" fmla="*/ 0 w 593"/>
                <a:gd name="T63" fmla="*/ 2147483647 h 1339"/>
                <a:gd name="T64" fmla="*/ 0 w 593"/>
                <a:gd name="T65" fmla="*/ 2147483647 h 1339"/>
                <a:gd name="T66" fmla="*/ 2147483647 w 593"/>
                <a:gd name="T67" fmla="*/ 2147483647 h 1339"/>
                <a:gd name="T68" fmla="*/ 2147483647 w 593"/>
                <a:gd name="T69" fmla="*/ 2147483647 h 1339"/>
                <a:gd name="T70" fmla="*/ 2147483647 w 593"/>
                <a:gd name="T71" fmla="*/ 2147483647 h 1339"/>
                <a:gd name="T72" fmla="*/ 2147483647 w 593"/>
                <a:gd name="T73" fmla="*/ 2147483647 h 1339"/>
                <a:gd name="T74" fmla="*/ 2147483647 w 593"/>
                <a:gd name="T75" fmla="*/ 2147483647 h 1339"/>
                <a:gd name="T76" fmla="*/ 2147483647 w 593"/>
                <a:gd name="T77" fmla="*/ 2147483647 h 1339"/>
                <a:gd name="T78" fmla="*/ 2147483647 w 593"/>
                <a:gd name="T79" fmla="*/ 2147483647 h 1339"/>
                <a:gd name="T80" fmla="*/ 2147483647 w 593"/>
                <a:gd name="T81" fmla="*/ 2147483647 h 1339"/>
                <a:gd name="T82" fmla="*/ 2147483647 w 593"/>
                <a:gd name="T83" fmla="*/ 2147483647 h 1339"/>
                <a:gd name="T84" fmla="*/ 2147483647 w 593"/>
                <a:gd name="T85" fmla="*/ 2147483647 h 1339"/>
                <a:gd name="T86" fmla="*/ 2147483647 w 593"/>
                <a:gd name="T87" fmla="*/ 2147483647 h 1339"/>
                <a:gd name="T88" fmla="*/ 2147483647 w 593"/>
                <a:gd name="T89" fmla="*/ 2147483647 h 1339"/>
                <a:gd name="T90" fmla="*/ 2147483647 w 593"/>
                <a:gd name="T91" fmla="*/ 2147483647 h 1339"/>
                <a:gd name="T92" fmla="*/ 2147483647 w 593"/>
                <a:gd name="T93" fmla="*/ 0 h 1339"/>
                <a:gd name="T94" fmla="*/ 2147483647 w 593"/>
                <a:gd name="T95" fmla="*/ 0 h 1339"/>
                <a:gd name="T96" fmla="*/ 2147483647 w 593"/>
                <a:gd name="T97" fmla="*/ 0 h 1339"/>
                <a:gd name="T98" fmla="*/ 2147483647 w 593"/>
                <a:gd name="T99" fmla="*/ 0 h 1339"/>
                <a:gd name="T100" fmla="*/ 2147483647 w 593"/>
                <a:gd name="T101" fmla="*/ 0 h 1339"/>
                <a:gd name="T102" fmla="*/ 2147483647 w 593"/>
                <a:gd name="T103" fmla="*/ 0 h 1339"/>
                <a:gd name="T104" fmla="*/ 0 w 593"/>
                <a:gd name="T105" fmla="*/ 0 h 1339"/>
                <a:gd name="T106" fmla="*/ 0 w 593"/>
                <a:gd name="T107" fmla="*/ 0 h 1339"/>
                <a:gd name="T108" fmla="*/ 0 w 593"/>
                <a:gd name="T109" fmla="*/ 0 h 1339"/>
                <a:gd name="T110" fmla="*/ 0 w 593"/>
                <a:gd name="T111" fmla="*/ 0 h 1339"/>
                <a:gd name="T112" fmla="*/ 0 w 593"/>
                <a:gd name="T113" fmla="*/ 0 h 1339"/>
                <a:gd name="T114" fmla="*/ 0 w 593"/>
                <a:gd name="T115" fmla="*/ 0 h 1339"/>
                <a:gd name="T116" fmla="*/ 0 w 593"/>
                <a:gd name="T117" fmla="*/ 0 h 1339"/>
                <a:gd name="T118" fmla="*/ 0 w 593"/>
                <a:gd name="T119" fmla="*/ 0 h 133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93"/>
                <a:gd name="T181" fmla="*/ 0 h 1339"/>
                <a:gd name="T182" fmla="*/ 593 w 593"/>
                <a:gd name="T183" fmla="*/ 1339 h 133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93" h="1339">
                  <a:moveTo>
                    <a:pt x="0" y="156"/>
                  </a:moveTo>
                  <a:lnTo>
                    <a:pt x="3" y="156"/>
                  </a:lnTo>
                  <a:lnTo>
                    <a:pt x="5" y="161"/>
                  </a:lnTo>
                  <a:lnTo>
                    <a:pt x="46" y="207"/>
                  </a:lnTo>
                  <a:lnTo>
                    <a:pt x="76" y="237"/>
                  </a:lnTo>
                  <a:lnTo>
                    <a:pt x="112" y="248"/>
                  </a:lnTo>
                  <a:lnTo>
                    <a:pt x="130" y="266"/>
                  </a:lnTo>
                  <a:lnTo>
                    <a:pt x="162" y="322"/>
                  </a:lnTo>
                  <a:lnTo>
                    <a:pt x="165" y="329"/>
                  </a:lnTo>
                  <a:lnTo>
                    <a:pt x="160" y="342"/>
                  </a:lnTo>
                  <a:lnTo>
                    <a:pt x="159" y="358"/>
                  </a:lnTo>
                  <a:lnTo>
                    <a:pt x="159" y="379"/>
                  </a:lnTo>
                  <a:lnTo>
                    <a:pt x="160" y="393"/>
                  </a:lnTo>
                  <a:lnTo>
                    <a:pt x="165" y="399"/>
                  </a:lnTo>
                  <a:lnTo>
                    <a:pt x="167" y="414"/>
                  </a:lnTo>
                  <a:lnTo>
                    <a:pt x="161" y="435"/>
                  </a:lnTo>
                  <a:lnTo>
                    <a:pt x="164" y="452"/>
                  </a:lnTo>
                  <a:lnTo>
                    <a:pt x="184" y="498"/>
                  </a:lnTo>
                  <a:lnTo>
                    <a:pt x="184" y="510"/>
                  </a:lnTo>
                  <a:lnTo>
                    <a:pt x="183" y="520"/>
                  </a:lnTo>
                  <a:lnTo>
                    <a:pt x="175" y="533"/>
                  </a:lnTo>
                  <a:lnTo>
                    <a:pt x="171" y="551"/>
                  </a:lnTo>
                  <a:lnTo>
                    <a:pt x="175" y="571"/>
                  </a:lnTo>
                  <a:lnTo>
                    <a:pt x="189" y="605"/>
                  </a:lnTo>
                  <a:lnTo>
                    <a:pt x="197" y="613"/>
                  </a:lnTo>
                  <a:lnTo>
                    <a:pt x="202" y="614"/>
                  </a:lnTo>
                  <a:lnTo>
                    <a:pt x="205" y="622"/>
                  </a:lnTo>
                  <a:lnTo>
                    <a:pt x="211" y="625"/>
                  </a:lnTo>
                  <a:lnTo>
                    <a:pt x="216" y="619"/>
                  </a:lnTo>
                  <a:lnTo>
                    <a:pt x="220" y="623"/>
                  </a:lnTo>
                  <a:lnTo>
                    <a:pt x="224" y="637"/>
                  </a:lnTo>
                  <a:lnTo>
                    <a:pt x="240" y="648"/>
                  </a:lnTo>
                  <a:lnTo>
                    <a:pt x="257" y="671"/>
                  </a:lnTo>
                  <a:lnTo>
                    <a:pt x="262" y="684"/>
                  </a:lnTo>
                  <a:lnTo>
                    <a:pt x="259" y="714"/>
                  </a:lnTo>
                  <a:lnTo>
                    <a:pt x="270" y="734"/>
                  </a:lnTo>
                  <a:lnTo>
                    <a:pt x="262" y="732"/>
                  </a:lnTo>
                  <a:lnTo>
                    <a:pt x="258" y="740"/>
                  </a:lnTo>
                  <a:lnTo>
                    <a:pt x="262" y="750"/>
                  </a:lnTo>
                  <a:lnTo>
                    <a:pt x="251" y="743"/>
                  </a:lnTo>
                  <a:lnTo>
                    <a:pt x="241" y="745"/>
                  </a:lnTo>
                  <a:lnTo>
                    <a:pt x="222" y="752"/>
                  </a:lnTo>
                  <a:lnTo>
                    <a:pt x="214" y="788"/>
                  </a:lnTo>
                  <a:lnTo>
                    <a:pt x="200" y="801"/>
                  </a:lnTo>
                  <a:lnTo>
                    <a:pt x="181" y="828"/>
                  </a:lnTo>
                  <a:lnTo>
                    <a:pt x="156" y="855"/>
                  </a:lnTo>
                  <a:lnTo>
                    <a:pt x="140" y="879"/>
                  </a:lnTo>
                  <a:lnTo>
                    <a:pt x="118" y="918"/>
                  </a:lnTo>
                  <a:lnTo>
                    <a:pt x="108" y="925"/>
                  </a:lnTo>
                  <a:lnTo>
                    <a:pt x="102" y="935"/>
                  </a:lnTo>
                  <a:lnTo>
                    <a:pt x="97" y="940"/>
                  </a:lnTo>
                  <a:lnTo>
                    <a:pt x="90" y="949"/>
                  </a:lnTo>
                  <a:lnTo>
                    <a:pt x="70" y="952"/>
                  </a:lnTo>
                  <a:lnTo>
                    <a:pt x="62" y="949"/>
                  </a:lnTo>
                  <a:lnTo>
                    <a:pt x="55" y="962"/>
                  </a:lnTo>
                  <a:lnTo>
                    <a:pt x="63" y="972"/>
                  </a:lnTo>
                  <a:lnTo>
                    <a:pt x="59" y="974"/>
                  </a:lnTo>
                  <a:lnTo>
                    <a:pt x="42" y="976"/>
                  </a:lnTo>
                  <a:lnTo>
                    <a:pt x="43" y="982"/>
                  </a:lnTo>
                  <a:lnTo>
                    <a:pt x="39" y="990"/>
                  </a:lnTo>
                  <a:lnTo>
                    <a:pt x="33" y="990"/>
                  </a:lnTo>
                  <a:lnTo>
                    <a:pt x="30" y="993"/>
                  </a:lnTo>
                  <a:lnTo>
                    <a:pt x="26" y="1000"/>
                  </a:lnTo>
                  <a:lnTo>
                    <a:pt x="21" y="1019"/>
                  </a:lnTo>
                  <a:lnTo>
                    <a:pt x="23" y="1039"/>
                  </a:lnTo>
                  <a:lnTo>
                    <a:pt x="26" y="1047"/>
                  </a:lnTo>
                  <a:lnTo>
                    <a:pt x="30" y="1053"/>
                  </a:lnTo>
                  <a:lnTo>
                    <a:pt x="33" y="1065"/>
                  </a:lnTo>
                  <a:lnTo>
                    <a:pt x="30" y="1091"/>
                  </a:lnTo>
                  <a:lnTo>
                    <a:pt x="35" y="1101"/>
                  </a:lnTo>
                  <a:lnTo>
                    <a:pt x="42" y="1109"/>
                  </a:lnTo>
                  <a:lnTo>
                    <a:pt x="43" y="1120"/>
                  </a:lnTo>
                  <a:lnTo>
                    <a:pt x="47" y="1135"/>
                  </a:lnTo>
                  <a:lnTo>
                    <a:pt x="50" y="1144"/>
                  </a:lnTo>
                  <a:lnTo>
                    <a:pt x="55" y="1150"/>
                  </a:lnTo>
                  <a:lnTo>
                    <a:pt x="57" y="1152"/>
                  </a:lnTo>
                  <a:lnTo>
                    <a:pt x="52" y="1148"/>
                  </a:lnTo>
                  <a:lnTo>
                    <a:pt x="47" y="1148"/>
                  </a:lnTo>
                  <a:lnTo>
                    <a:pt x="43" y="1152"/>
                  </a:lnTo>
                  <a:lnTo>
                    <a:pt x="44" y="1159"/>
                  </a:lnTo>
                  <a:lnTo>
                    <a:pt x="43" y="1165"/>
                  </a:lnTo>
                  <a:lnTo>
                    <a:pt x="44" y="1173"/>
                  </a:lnTo>
                  <a:lnTo>
                    <a:pt x="44" y="1188"/>
                  </a:lnTo>
                  <a:lnTo>
                    <a:pt x="39" y="1202"/>
                  </a:lnTo>
                  <a:lnTo>
                    <a:pt x="36" y="1202"/>
                  </a:lnTo>
                  <a:lnTo>
                    <a:pt x="33" y="1211"/>
                  </a:lnTo>
                  <a:lnTo>
                    <a:pt x="37" y="1218"/>
                  </a:lnTo>
                  <a:lnTo>
                    <a:pt x="37" y="1224"/>
                  </a:lnTo>
                  <a:lnTo>
                    <a:pt x="36" y="1229"/>
                  </a:lnTo>
                  <a:lnTo>
                    <a:pt x="37" y="1234"/>
                  </a:lnTo>
                  <a:lnTo>
                    <a:pt x="44" y="1237"/>
                  </a:lnTo>
                  <a:lnTo>
                    <a:pt x="43" y="1241"/>
                  </a:lnTo>
                  <a:lnTo>
                    <a:pt x="38" y="1242"/>
                  </a:lnTo>
                  <a:lnTo>
                    <a:pt x="39" y="1249"/>
                  </a:lnTo>
                  <a:lnTo>
                    <a:pt x="53" y="1249"/>
                  </a:lnTo>
                  <a:lnTo>
                    <a:pt x="64" y="1257"/>
                  </a:lnTo>
                  <a:lnTo>
                    <a:pt x="69" y="1264"/>
                  </a:lnTo>
                  <a:lnTo>
                    <a:pt x="80" y="1269"/>
                  </a:lnTo>
                  <a:lnTo>
                    <a:pt x="97" y="1274"/>
                  </a:lnTo>
                  <a:lnTo>
                    <a:pt x="100" y="1278"/>
                  </a:lnTo>
                  <a:lnTo>
                    <a:pt x="97" y="1285"/>
                  </a:lnTo>
                  <a:lnTo>
                    <a:pt x="106" y="1291"/>
                  </a:lnTo>
                  <a:lnTo>
                    <a:pt x="121" y="1283"/>
                  </a:lnTo>
                  <a:lnTo>
                    <a:pt x="122" y="1288"/>
                  </a:lnTo>
                  <a:lnTo>
                    <a:pt x="122" y="1300"/>
                  </a:lnTo>
                  <a:lnTo>
                    <a:pt x="130" y="1313"/>
                  </a:lnTo>
                  <a:lnTo>
                    <a:pt x="129" y="1321"/>
                  </a:lnTo>
                  <a:lnTo>
                    <a:pt x="136" y="1324"/>
                  </a:lnTo>
                  <a:lnTo>
                    <a:pt x="134" y="1331"/>
                  </a:lnTo>
                  <a:lnTo>
                    <a:pt x="124" y="1338"/>
                  </a:lnTo>
                  <a:lnTo>
                    <a:pt x="129" y="1339"/>
                  </a:lnTo>
                  <a:lnTo>
                    <a:pt x="139" y="1333"/>
                  </a:lnTo>
                  <a:lnTo>
                    <a:pt x="150" y="1313"/>
                  </a:lnTo>
                  <a:lnTo>
                    <a:pt x="152" y="1316"/>
                  </a:lnTo>
                  <a:lnTo>
                    <a:pt x="152" y="1326"/>
                  </a:lnTo>
                  <a:lnTo>
                    <a:pt x="157" y="1327"/>
                  </a:lnTo>
                  <a:lnTo>
                    <a:pt x="181" y="1315"/>
                  </a:lnTo>
                  <a:lnTo>
                    <a:pt x="189" y="1315"/>
                  </a:lnTo>
                  <a:lnTo>
                    <a:pt x="197" y="1311"/>
                  </a:lnTo>
                  <a:lnTo>
                    <a:pt x="200" y="1316"/>
                  </a:lnTo>
                  <a:lnTo>
                    <a:pt x="203" y="1316"/>
                  </a:lnTo>
                  <a:lnTo>
                    <a:pt x="213" y="1306"/>
                  </a:lnTo>
                  <a:lnTo>
                    <a:pt x="221" y="1300"/>
                  </a:lnTo>
                  <a:lnTo>
                    <a:pt x="229" y="1299"/>
                  </a:lnTo>
                  <a:lnTo>
                    <a:pt x="235" y="1301"/>
                  </a:lnTo>
                  <a:lnTo>
                    <a:pt x="251" y="1291"/>
                  </a:lnTo>
                  <a:lnTo>
                    <a:pt x="261" y="1290"/>
                  </a:lnTo>
                  <a:lnTo>
                    <a:pt x="268" y="1276"/>
                  </a:lnTo>
                  <a:lnTo>
                    <a:pt x="273" y="1286"/>
                  </a:lnTo>
                  <a:lnTo>
                    <a:pt x="291" y="1279"/>
                  </a:lnTo>
                  <a:lnTo>
                    <a:pt x="289" y="1269"/>
                  </a:lnTo>
                  <a:lnTo>
                    <a:pt x="290" y="1272"/>
                  </a:lnTo>
                  <a:lnTo>
                    <a:pt x="299" y="1275"/>
                  </a:lnTo>
                  <a:lnTo>
                    <a:pt x="305" y="1275"/>
                  </a:lnTo>
                  <a:lnTo>
                    <a:pt x="311" y="1269"/>
                  </a:lnTo>
                  <a:lnTo>
                    <a:pt x="329" y="1268"/>
                  </a:lnTo>
                  <a:lnTo>
                    <a:pt x="342" y="1263"/>
                  </a:lnTo>
                  <a:lnTo>
                    <a:pt x="351" y="1258"/>
                  </a:lnTo>
                  <a:lnTo>
                    <a:pt x="359" y="1263"/>
                  </a:lnTo>
                  <a:lnTo>
                    <a:pt x="377" y="1265"/>
                  </a:lnTo>
                  <a:lnTo>
                    <a:pt x="382" y="1262"/>
                  </a:lnTo>
                  <a:lnTo>
                    <a:pt x="386" y="1257"/>
                  </a:lnTo>
                  <a:lnTo>
                    <a:pt x="387" y="1258"/>
                  </a:lnTo>
                  <a:lnTo>
                    <a:pt x="423" y="1231"/>
                  </a:lnTo>
                  <a:lnTo>
                    <a:pt x="473" y="1182"/>
                  </a:lnTo>
                  <a:lnTo>
                    <a:pt x="511" y="1139"/>
                  </a:lnTo>
                  <a:lnTo>
                    <a:pt x="563" y="1070"/>
                  </a:lnTo>
                  <a:lnTo>
                    <a:pt x="576" y="1050"/>
                  </a:lnTo>
                  <a:lnTo>
                    <a:pt x="592" y="1012"/>
                  </a:lnTo>
                  <a:lnTo>
                    <a:pt x="593" y="973"/>
                  </a:lnTo>
                  <a:lnTo>
                    <a:pt x="589" y="979"/>
                  </a:lnTo>
                  <a:lnTo>
                    <a:pt x="579" y="962"/>
                  </a:lnTo>
                  <a:lnTo>
                    <a:pt x="574" y="945"/>
                  </a:lnTo>
                  <a:lnTo>
                    <a:pt x="544" y="922"/>
                  </a:lnTo>
                  <a:lnTo>
                    <a:pt x="536" y="909"/>
                  </a:lnTo>
                  <a:lnTo>
                    <a:pt x="530" y="891"/>
                  </a:lnTo>
                  <a:lnTo>
                    <a:pt x="534" y="875"/>
                  </a:lnTo>
                  <a:lnTo>
                    <a:pt x="544" y="860"/>
                  </a:lnTo>
                  <a:lnTo>
                    <a:pt x="550" y="842"/>
                  </a:lnTo>
                  <a:lnTo>
                    <a:pt x="549" y="822"/>
                  </a:lnTo>
                  <a:lnTo>
                    <a:pt x="533" y="807"/>
                  </a:lnTo>
                  <a:lnTo>
                    <a:pt x="526" y="791"/>
                  </a:lnTo>
                  <a:lnTo>
                    <a:pt x="528" y="770"/>
                  </a:lnTo>
                  <a:lnTo>
                    <a:pt x="520" y="753"/>
                  </a:lnTo>
                  <a:lnTo>
                    <a:pt x="504" y="750"/>
                  </a:lnTo>
                  <a:lnTo>
                    <a:pt x="503" y="729"/>
                  </a:lnTo>
                  <a:lnTo>
                    <a:pt x="509" y="718"/>
                  </a:lnTo>
                  <a:lnTo>
                    <a:pt x="507" y="699"/>
                  </a:lnTo>
                  <a:lnTo>
                    <a:pt x="504" y="689"/>
                  </a:lnTo>
                  <a:lnTo>
                    <a:pt x="509" y="673"/>
                  </a:lnTo>
                  <a:lnTo>
                    <a:pt x="511" y="651"/>
                  </a:lnTo>
                  <a:lnTo>
                    <a:pt x="525" y="639"/>
                  </a:lnTo>
                  <a:lnTo>
                    <a:pt x="523" y="624"/>
                  </a:lnTo>
                  <a:lnTo>
                    <a:pt x="521" y="607"/>
                  </a:lnTo>
                  <a:lnTo>
                    <a:pt x="510" y="573"/>
                  </a:lnTo>
                  <a:lnTo>
                    <a:pt x="495" y="546"/>
                  </a:lnTo>
                  <a:lnTo>
                    <a:pt x="493" y="527"/>
                  </a:lnTo>
                  <a:lnTo>
                    <a:pt x="485" y="510"/>
                  </a:lnTo>
                  <a:lnTo>
                    <a:pt x="476" y="490"/>
                  </a:lnTo>
                  <a:lnTo>
                    <a:pt x="474" y="469"/>
                  </a:lnTo>
                  <a:lnTo>
                    <a:pt x="480" y="456"/>
                  </a:lnTo>
                  <a:lnTo>
                    <a:pt x="499" y="413"/>
                  </a:lnTo>
                  <a:lnTo>
                    <a:pt x="517" y="376"/>
                  </a:lnTo>
                  <a:lnTo>
                    <a:pt x="514" y="354"/>
                  </a:lnTo>
                  <a:lnTo>
                    <a:pt x="504" y="339"/>
                  </a:lnTo>
                  <a:lnTo>
                    <a:pt x="484" y="301"/>
                  </a:lnTo>
                  <a:lnTo>
                    <a:pt x="469" y="294"/>
                  </a:lnTo>
                  <a:lnTo>
                    <a:pt x="456" y="291"/>
                  </a:lnTo>
                  <a:lnTo>
                    <a:pt x="446" y="285"/>
                  </a:lnTo>
                  <a:lnTo>
                    <a:pt x="441" y="278"/>
                  </a:lnTo>
                  <a:lnTo>
                    <a:pt x="436" y="258"/>
                  </a:lnTo>
                  <a:lnTo>
                    <a:pt x="434" y="232"/>
                  </a:lnTo>
                  <a:lnTo>
                    <a:pt x="435" y="223"/>
                  </a:lnTo>
                  <a:lnTo>
                    <a:pt x="446" y="194"/>
                  </a:lnTo>
                  <a:lnTo>
                    <a:pt x="446" y="189"/>
                  </a:lnTo>
                  <a:lnTo>
                    <a:pt x="436" y="185"/>
                  </a:lnTo>
                  <a:lnTo>
                    <a:pt x="467" y="158"/>
                  </a:lnTo>
                  <a:lnTo>
                    <a:pt x="457" y="150"/>
                  </a:lnTo>
                  <a:lnTo>
                    <a:pt x="456" y="139"/>
                  </a:lnTo>
                  <a:lnTo>
                    <a:pt x="460" y="126"/>
                  </a:lnTo>
                  <a:lnTo>
                    <a:pt x="479" y="102"/>
                  </a:lnTo>
                  <a:lnTo>
                    <a:pt x="478" y="86"/>
                  </a:lnTo>
                  <a:lnTo>
                    <a:pt x="471" y="58"/>
                  </a:lnTo>
                  <a:lnTo>
                    <a:pt x="453" y="41"/>
                  </a:lnTo>
                  <a:lnTo>
                    <a:pt x="435" y="35"/>
                  </a:lnTo>
                  <a:lnTo>
                    <a:pt x="425" y="26"/>
                  </a:lnTo>
                  <a:lnTo>
                    <a:pt x="415" y="5"/>
                  </a:lnTo>
                  <a:lnTo>
                    <a:pt x="409" y="0"/>
                  </a:lnTo>
                  <a:lnTo>
                    <a:pt x="386" y="5"/>
                  </a:lnTo>
                  <a:lnTo>
                    <a:pt x="348" y="22"/>
                  </a:lnTo>
                  <a:lnTo>
                    <a:pt x="323" y="25"/>
                  </a:lnTo>
                  <a:lnTo>
                    <a:pt x="310" y="32"/>
                  </a:lnTo>
                  <a:lnTo>
                    <a:pt x="300" y="45"/>
                  </a:lnTo>
                  <a:lnTo>
                    <a:pt x="286" y="76"/>
                  </a:lnTo>
                  <a:lnTo>
                    <a:pt x="283" y="118"/>
                  </a:lnTo>
                  <a:lnTo>
                    <a:pt x="283" y="132"/>
                  </a:lnTo>
                  <a:lnTo>
                    <a:pt x="285" y="155"/>
                  </a:lnTo>
                  <a:lnTo>
                    <a:pt x="283" y="167"/>
                  </a:lnTo>
                  <a:lnTo>
                    <a:pt x="257" y="187"/>
                  </a:lnTo>
                  <a:lnTo>
                    <a:pt x="248" y="201"/>
                  </a:lnTo>
                  <a:lnTo>
                    <a:pt x="236" y="210"/>
                  </a:lnTo>
                  <a:lnTo>
                    <a:pt x="220" y="218"/>
                  </a:lnTo>
                  <a:lnTo>
                    <a:pt x="210" y="214"/>
                  </a:lnTo>
                  <a:lnTo>
                    <a:pt x="207" y="205"/>
                  </a:lnTo>
                  <a:lnTo>
                    <a:pt x="198" y="193"/>
                  </a:lnTo>
                  <a:lnTo>
                    <a:pt x="188" y="186"/>
                  </a:lnTo>
                  <a:lnTo>
                    <a:pt x="171" y="205"/>
                  </a:lnTo>
                  <a:lnTo>
                    <a:pt x="156" y="214"/>
                  </a:lnTo>
                  <a:lnTo>
                    <a:pt x="144" y="215"/>
                  </a:lnTo>
                  <a:lnTo>
                    <a:pt x="129" y="208"/>
                  </a:lnTo>
                  <a:lnTo>
                    <a:pt x="103" y="204"/>
                  </a:lnTo>
                  <a:lnTo>
                    <a:pt x="98" y="196"/>
                  </a:lnTo>
                  <a:lnTo>
                    <a:pt x="93" y="177"/>
                  </a:lnTo>
                  <a:lnTo>
                    <a:pt x="63" y="133"/>
                  </a:lnTo>
                  <a:lnTo>
                    <a:pt x="52" y="122"/>
                  </a:lnTo>
                  <a:lnTo>
                    <a:pt x="37" y="116"/>
                  </a:lnTo>
                  <a:lnTo>
                    <a:pt x="25" y="122"/>
                  </a:lnTo>
                  <a:lnTo>
                    <a:pt x="26" y="134"/>
                  </a:lnTo>
                  <a:lnTo>
                    <a:pt x="28" y="146"/>
                  </a:lnTo>
                  <a:lnTo>
                    <a:pt x="20" y="150"/>
                  </a:lnTo>
                  <a:lnTo>
                    <a:pt x="11" y="145"/>
                  </a:lnTo>
                  <a:lnTo>
                    <a:pt x="3" y="149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02" name="Freeform 214">
              <a:extLst>
                <a:ext uri="{FF2B5EF4-FFF2-40B4-BE49-F238E27FC236}">
                  <a16:creationId xmlns:a16="http://schemas.microsoft.com/office/drawing/2014/main" id="{BF6A2995-F176-B6A9-8964-1925ECD750C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005978" y="2136978"/>
              <a:ext cx="83571" cy="161567"/>
            </a:xfrm>
            <a:custGeom>
              <a:avLst/>
              <a:gdLst>
                <a:gd name="T0" fmla="*/ 0 w 154"/>
                <a:gd name="T1" fmla="*/ 0 h 284"/>
                <a:gd name="T2" fmla="*/ 0 w 154"/>
                <a:gd name="T3" fmla="*/ 0 h 284"/>
                <a:gd name="T4" fmla="*/ 0 w 154"/>
                <a:gd name="T5" fmla="*/ 0 h 284"/>
                <a:gd name="T6" fmla="*/ 0 w 154"/>
                <a:gd name="T7" fmla="*/ 0 h 284"/>
                <a:gd name="T8" fmla="*/ 0 w 154"/>
                <a:gd name="T9" fmla="*/ 0 h 284"/>
                <a:gd name="T10" fmla="*/ 0 w 154"/>
                <a:gd name="T11" fmla="*/ 0 h 284"/>
                <a:gd name="T12" fmla="*/ 0 w 154"/>
                <a:gd name="T13" fmla="*/ 0 h 284"/>
                <a:gd name="T14" fmla="*/ 0 w 154"/>
                <a:gd name="T15" fmla="*/ 0 h 284"/>
                <a:gd name="T16" fmla="*/ 0 w 154"/>
                <a:gd name="T17" fmla="*/ 0 h 284"/>
                <a:gd name="T18" fmla="*/ 0 w 154"/>
                <a:gd name="T19" fmla="*/ 0 h 284"/>
                <a:gd name="T20" fmla="*/ 0 w 154"/>
                <a:gd name="T21" fmla="*/ 0 h 284"/>
                <a:gd name="T22" fmla="*/ 0 w 154"/>
                <a:gd name="T23" fmla="*/ 0 h 284"/>
                <a:gd name="T24" fmla="*/ 0 w 154"/>
                <a:gd name="T25" fmla="*/ 0 h 284"/>
                <a:gd name="T26" fmla="*/ 0 w 154"/>
                <a:gd name="T27" fmla="*/ 0 h 284"/>
                <a:gd name="T28" fmla="*/ 0 w 154"/>
                <a:gd name="T29" fmla="*/ 0 h 284"/>
                <a:gd name="T30" fmla="*/ 0 w 154"/>
                <a:gd name="T31" fmla="*/ 0 h 284"/>
                <a:gd name="T32" fmla="*/ 0 w 154"/>
                <a:gd name="T33" fmla="*/ 0 h 284"/>
                <a:gd name="T34" fmla="*/ 0 w 154"/>
                <a:gd name="T35" fmla="*/ 0 h 284"/>
                <a:gd name="T36" fmla="*/ 0 w 154"/>
                <a:gd name="T37" fmla="*/ 0 h 284"/>
                <a:gd name="T38" fmla="*/ 0 w 154"/>
                <a:gd name="T39" fmla="*/ 0 h 284"/>
                <a:gd name="T40" fmla="*/ 0 w 154"/>
                <a:gd name="T41" fmla="*/ 0 h 284"/>
                <a:gd name="T42" fmla="*/ 0 w 154"/>
                <a:gd name="T43" fmla="*/ 0 h 284"/>
                <a:gd name="T44" fmla="*/ 0 w 154"/>
                <a:gd name="T45" fmla="*/ 0 h 284"/>
                <a:gd name="T46" fmla="*/ 0 w 154"/>
                <a:gd name="T47" fmla="*/ 0 h 284"/>
                <a:gd name="T48" fmla="*/ 0 w 154"/>
                <a:gd name="T49" fmla="*/ 0 h 284"/>
                <a:gd name="T50" fmla="*/ 0 w 154"/>
                <a:gd name="T51" fmla="*/ 0 h 284"/>
                <a:gd name="T52" fmla="*/ 0 w 154"/>
                <a:gd name="T53" fmla="*/ 0 h 284"/>
                <a:gd name="T54" fmla="*/ 0 w 154"/>
                <a:gd name="T55" fmla="*/ 0 h 284"/>
                <a:gd name="T56" fmla="*/ 0 w 154"/>
                <a:gd name="T57" fmla="*/ 0 h 284"/>
                <a:gd name="T58" fmla="*/ 0 w 154"/>
                <a:gd name="T59" fmla="*/ 0 h 284"/>
                <a:gd name="T60" fmla="*/ 0 w 154"/>
                <a:gd name="T61" fmla="*/ 0 h 284"/>
                <a:gd name="T62" fmla="*/ 0 w 154"/>
                <a:gd name="T63" fmla="*/ 0 h 284"/>
                <a:gd name="T64" fmla="*/ 0 w 154"/>
                <a:gd name="T65" fmla="*/ 0 h 284"/>
                <a:gd name="T66" fmla="*/ 0 w 154"/>
                <a:gd name="T67" fmla="*/ 0 h 284"/>
                <a:gd name="T68" fmla="*/ 0 w 154"/>
                <a:gd name="T69" fmla="*/ 0 h 284"/>
                <a:gd name="T70" fmla="*/ 0 w 154"/>
                <a:gd name="T71" fmla="*/ 0 h 284"/>
                <a:gd name="T72" fmla="*/ 0 w 154"/>
                <a:gd name="T73" fmla="*/ 0 h 284"/>
                <a:gd name="T74" fmla="*/ 0 w 154"/>
                <a:gd name="T75" fmla="*/ 0 h 284"/>
                <a:gd name="T76" fmla="*/ 0 w 154"/>
                <a:gd name="T77" fmla="*/ 0 h 284"/>
                <a:gd name="T78" fmla="*/ 0 w 154"/>
                <a:gd name="T79" fmla="*/ 0 h 284"/>
                <a:gd name="T80" fmla="*/ 0 w 154"/>
                <a:gd name="T81" fmla="*/ 0 h 284"/>
                <a:gd name="T82" fmla="*/ 0 w 154"/>
                <a:gd name="T83" fmla="*/ 0 h 284"/>
                <a:gd name="T84" fmla="*/ 0 w 154"/>
                <a:gd name="T85" fmla="*/ 0 h 28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54"/>
                <a:gd name="T130" fmla="*/ 0 h 284"/>
                <a:gd name="T131" fmla="*/ 154 w 154"/>
                <a:gd name="T132" fmla="*/ 284 h 28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54" h="284">
                  <a:moveTo>
                    <a:pt x="35" y="279"/>
                  </a:moveTo>
                  <a:lnTo>
                    <a:pt x="43" y="278"/>
                  </a:lnTo>
                  <a:lnTo>
                    <a:pt x="67" y="284"/>
                  </a:lnTo>
                  <a:lnTo>
                    <a:pt x="75" y="280"/>
                  </a:lnTo>
                  <a:lnTo>
                    <a:pt x="79" y="279"/>
                  </a:lnTo>
                  <a:lnTo>
                    <a:pt x="80" y="276"/>
                  </a:lnTo>
                  <a:lnTo>
                    <a:pt x="83" y="276"/>
                  </a:lnTo>
                  <a:lnTo>
                    <a:pt x="84" y="279"/>
                  </a:lnTo>
                  <a:lnTo>
                    <a:pt x="89" y="279"/>
                  </a:lnTo>
                  <a:lnTo>
                    <a:pt x="89" y="275"/>
                  </a:lnTo>
                  <a:lnTo>
                    <a:pt x="86" y="270"/>
                  </a:lnTo>
                  <a:lnTo>
                    <a:pt x="83" y="266"/>
                  </a:lnTo>
                  <a:lnTo>
                    <a:pt x="75" y="266"/>
                  </a:lnTo>
                  <a:lnTo>
                    <a:pt x="75" y="262"/>
                  </a:lnTo>
                  <a:lnTo>
                    <a:pt x="75" y="253"/>
                  </a:lnTo>
                  <a:lnTo>
                    <a:pt x="85" y="247"/>
                  </a:lnTo>
                  <a:lnTo>
                    <a:pt x="85" y="243"/>
                  </a:lnTo>
                  <a:lnTo>
                    <a:pt x="83" y="243"/>
                  </a:lnTo>
                  <a:lnTo>
                    <a:pt x="81" y="235"/>
                  </a:lnTo>
                  <a:lnTo>
                    <a:pt x="84" y="223"/>
                  </a:lnTo>
                  <a:lnTo>
                    <a:pt x="81" y="220"/>
                  </a:lnTo>
                  <a:lnTo>
                    <a:pt x="91" y="210"/>
                  </a:lnTo>
                  <a:lnTo>
                    <a:pt x="90" y="206"/>
                  </a:lnTo>
                  <a:lnTo>
                    <a:pt x="84" y="200"/>
                  </a:lnTo>
                  <a:lnTo>
                    <a:pt x="90" y="198"/>
                  </a:lnTo>
                  <a:lnTo>
                    <a:pt x="102" y="199"/>
                  </a:lnTo>
                  <a:lnTo>
                    <a:pt x="103" y="193"/>
                  </a:lnTo>
                  <a:lnTo>
                    <a:pt x="98" y="185"/>
                  </a:lnTo>
                  <a:lnTo>
                    <a:pt x="102" y="180"/>
                  </a:lnTo>
                  <a:lnTo>
                    <a:pt x="116" y="182"/>
                  </a:lnTo>
                  <a:lnTo>
                    <a:pt x="121" y="176"/>
                  </a:lnTo>
                  <a:lnTo>
                    <a:pt x="118" y="163"/>
                  </a:lnTo>
                  <a:lnTo>
                    <a:pt x="122" y="151"/>
                  </a:lnTo>
                  <a:lnTo>
                    <a:pt x="127" y="149"/>
                  </a:lnTo>
                  <a:lnTo>
                    <a:pt x="127" y="153"/>
                  </a:lnTo>
                  <a:lnTo>
                    <a:pt x="130" y="161"/>
                  </a:lnTo>
                  <a:lnTo>
                    <a:pt x="137" y="152"/>
                  </a:lnTo>
                  <a:lnTo>
                    <a:pt x="138" y="156"/>
                  </a:lnTo>
                  <a:lnTo>
                    <a:pt x="153" y="144"/>
                  </a:lnTo>
                  <a:lnTo>
                    <a:pt x="154" y="133"/>
                  </a:lnTo>
                  <a:lnTo>
                    <a:pt x="151" y="125"/>
                  </a:lnTo>
                  <a:lnTo>
                    <a:pt x="146" y="123"/>
                  </a:lnTo>
                  <a:lnTo>
                    <a:pt x="137" y="124"/>
                  </a:lnTo>
                  <a:lnTo>
                    <a:pt x="129" y="126"/>
                  </a:lnTo>
                  <a:lnTo>
                    <a:pt x="126" y="120"/>
                  </a:lnTo>
                  <a:lnTo>
                    <a:pt x="119" y="120"/>
                  </a:lnTo>
                  <a:lnTo>
                    <a:pt x="114" y="128"/>
                  </a:lnTo>
                  <a:lnTo>
                    <a:pt x="112" y="123"/>
                  </a:lnTo>
                  <a:lnTo>
                    <a:pt x="113" y="117"/>
                  </a:lnTo>
                  <a:lnTo>
                    <a:pt x="119" y="109"/>
                  </a:lnTo>
                  <a:lnTo>
                    <a:pt x="118" y="107"/>
                  </a:lnTo>
                  <a:lnTo>
                    <a:pt x="108" y="109"/>
                  </a:lnTo>
                  <a:lnTo>
                    <a:pt x="108" y="106"/>
                  </a:lnTo>
                  <a:lnTo>
                    <a:pt x="117" y="102"/>
                  </a:lnTo>
                  <a:lnTo>
                    <a:pt x="117" y="93"/>
                  </a:lnTo>
                  <a:lnTo>
                    <a:pt x="118" y="92"/>
                  </a:lnTo>
                  <a:lnTo>
                    <a:pt x="118" y="80"/>
                  </a:lnTo>
                  <a:lnTo>
                    <a:pt x="122" y="66"/>
                  </a:lnTo>
                  <a:lnTo>
                    <a:pt x="132" y="48"/>
                  </a:lnTo>
                  <a:lnTo>
                    <a:pt x="132" y="39"/>
                  </a:lnTo>
                  <a:lnTo>
                    <a:pt x="126" y="20"/>
                  </a:lnTo>
                  <a:lnTo>
                    <a:pt x="128" y="10"/>
                  </a:lnTo>
                  <a:lnTo>
                    <a:pt x="130" y="2"/>
                  </a:lnTo>
                  <a:lnTo>
                    <a:pt x="129" y="0"/>
                  </a:lnTo>
                  <a:lnTo>
                    <a:pt x="123" y="6"/>
                  </a:lnTo>
                  <a:lnTo>
                    <a:pt x="101" y="17"/>
                  </a:lnTo>
                  <a:lnTo>
                    <a:pt x="85" y="34"/>
                  </a:lnTo>
                  <a:lnTo>
                    <a:pt x="83" y="45"/>
                  </a:lnTo>
                  <a:lnTo>
                    <a:pt x="71" y="54"/>
                  </a:lnTo>
                  <a:lnTo>
                    <a:pt x="28" y="63"/>
                  </a:lnTo>
                  <a:lnTo>
                    <a:pt x="20" y="71"/>
                  </a:lnTo>
                  <a:lnTo>
                    <a:pt x="15" y="82"/>
                  </a:lnTo>
                  <a:lnTo>
                    <a:pt x="8" y="107"/>
                  </a:lnTo>
                  <a:lnTo>
                    <a:pt x="6" y="119"/>
                  </a:lnTo>
                  <a:lnTo>
                    <a:pt x="0" y="134"/>
                  </a:lnTo>
                  <a:lnTo>
                    <a:pt x="0" y="146"/>
                  </a:lnTo>
                  <a:lnTo>
                    <a:pt x="3" y="174"/>
                  </a:lnTo>
                  <a:lnTo>
                    <a:pt x="6" y="185"/>
                  </a:lnTo>
                  <a:lnTo>
                    <a:pt x="6" y="199"/>
                  </a:lnTo>
                  <a:lnTo>
                    <a:pt x="4" y="216"/>
                  </a:lnTo>
                  <a:lnTo>
                    <a:pt x="9" y="216"/>
                  </a:lnTo>
                  <a:lnTo>
                    <a:pt x="12" y="214"/>
                  </a:lnTo>
                  <a:lnTo>
                    <a:pt x="21" y="219"/>
                  </a:lnTo>
                  <a:lnTo>
                    <a:pt x="28" y="226"/>
                  </a:lnTo>
                  <a:lnTo>
                    <a:pt x="33" y="236"/>
                  </a:lnTo>
                  <a:lnTo>
                    <a:pt x="33" y="269"/>
                  </a:lnTo>
                  <a:lnTo>
                    <a:pt x="35" y="27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03" name="Freeform 215">
              <a:extLst>
                <a:ext uri="{FF2B5EF4-FFF2-40B4-BE49-F238E27FC236}">
                  <a16:creationId xmlns:a16="http://schemas.microsoft.com/office/drawing/2014/main" id="{E84C0845-D41C-2998-0DA6-6D93E92AD5D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917930" y="1150808"/>
              <a:ext cx="759602" cy="967879"/>
            </a:xfrm>
            <a:custGeom>
              <a:avLst/>
              <a:gdLst>
                <a:gd name="T0" fmla="*/ 2147483647 w 1427"/>
                <a:gd name="T1" fmla="*/ 0 h 1701"/>
                <a:gd name="T2" fmla="*/ 2147483647 w 1427"/>
                <a:gd name="T3" fmla="*/ 0 h 1701"/>
                <a:gd name="T4" fmla="*/ 2147483647 w 1427"/>
                <a:gd name="T5" fmla="*/ 0 h 1701"/>
                <a:gd name="T6" fmla="*/ 2147483647 w 1427"/>
                <a:gd name="T7" fmla="*/ 0 h 1701"/>
                <a:gd name="T8" fmla="*/ 2147483647 w 1427"/>
                <a:gd name="T9" fmla="*/ 0 h 1701"/>
                <a:gd name="T10" fmla="*/ 2147483647 w 1427"/>
                <a:gd name="T11" fmla="*/ 0 h 1701"/>
                <a:gd name="T12" fmla="*/ 2147483647 w 1427"/>
                <a:gd name="T13" fmla="*/ 0 h 1701"/>
                <a:gd name="T14" fmla="*/ 2147483647 w 1427"/>
                <a:gd name="T15" fmla="*/ 0 h 1701"/>
                <a:gd name="T16" fmla="*/ 2147483647 w 1427"/>
                <a:gd name="T17" fmla="*/ 0 h 1701"/>
                <a:gd name="T18" fmla="*/ 2147483647 w 1427"/>
                <a:gd name="T19" fmla="*/ 0 h 1701"/>
                <a:gd name="T20" fmla="*/ 2147483647 w 1427"/>
                <a:gd name="T21" fmla="*/ 0 h 1701"/>
                <a:gd name="T22" fmla="*/ 2147483647 w 1427"/>
                <a:gd name="T23" fmla="*/ 0 h 1701"/>
                <a:gd name="T24" fmla="*/ 2147483647 w 1427"/>
                <a:gd name="T25" fmla="*/ 0 h 1701"/>
                <a:gd name="T26" fmla="*/ 2147483647 w 1427"/>
                <a:gd name="T27" fmla="*/ 0 h 1701"/>
                <a:gd name="T28" fmla="*/ 2147483647 w 1427"/>
                <a:gd name="T29" fmla="*/ 0 h 1701"/>
                <a:gd name="T30" fmla="*/ 2147483647 w 1427"/>
                <a:gd name="T31" fmla="*/ 0 h 1701"/>
                <a:gd name="T32" fmla="*/ 2147483647 w 1427"/>
                <a:gd name="T33" fmla="*/ 2147483647 h 1701"/>
                <a:gd name="T34" fmla="*/ 2147483647 w 1427"/>
                <a:gd name="T35" fmla="*/ 2147483647 h 1701"/>
                <a:gd name="T36" fmla="*/ 2147483647 w 1427"/>
                <a:gd name="T37" fmla="*/ 2147483647 h 1701"/>
                <a:gd name="T38" fmla="*/ 2147483647 w 1427"/>
                <a:gd name="T39" fmla="*/ 2147483647 h 1701"/>
                <a:gd name="T40" fmla="*/ 2147483647 w 1427"/>
                <a:gd name="T41" fmla="*/ 2147483647 h 1701"/>
                <a:gd name="T42" fmla="*/ 2147483647 w 1427"/>
                <a:gd name="T43" fmla="*/ 2147483647 h 1701"/>
                <a:gd name="T44" fmla="*/ 2147483647 w 1427"/>
                <a:gd name="T45" fmla="*/ 2147483647 h 1701"/>
                <a:gd name="T46" fmla="*/ 2147483647 w 1427"/>
                <a:gd name="T47" fmla="*/ 2147483647 h 1701"/>
                <a:gd name="T48" fmla="*/ 2147483647 w 1427"/>
                <a:gd name="T49" fmla="*/ 2147483647 h 1701"/>
                <a:gd name="T50" fmla="*/ 2147483647 w 1427"/>
                <a:gd name="T51" fmla="*/ 2147483647 h 1701"/>
                <a:gd name="T52" fmla="*/ 2147483647 w 1427"/>
                <a:gd name="T53" fmla="*/ 2147483647 h 1701"/>
                <a:gd name="T54" fmla="*/ 0 w 1427"/>
                <a:gd name="T55" fmla="*/ 2147483647 h 1701"/>
                <a:gd name="T56" fmla="*/ 2147483647 w 1427"/>
                <a:gd name="T57" fmla="*/ 2147483647 h 1701"/>
                <a:gd name="T58" fmla="*/ 0 w 1427"/>
                <a:gd name="T59" fmla="*/ 2147483647 h 1701"/>
                <a:gd name="T60" fmla="*/ 0 w 1427"/>
                <a:gd name="T61" fmla="*/ 2147483647 h 1701"/>
                <a:gd name="T62" fmla="*/ 0 w 1427"/>
                <a:gd name="T63" fmla="*/ 2147483647 h 1701"/>
                <a:gd name="T64" fmla="*/ 0 w 1427"/>
                <a:gd name="T65" fmla="*/ 2147483647 h 1701"/>
                <a:gd name="T66" fmla="*/ 0 w 1427"/>
                <a:gd name="T67" fmla="*/ 2147483647 h 1701"/>
                <a:gd name="T68" fmla="*/ 0 w 1427"/>
                <a:gd name="T69" fmla="*/ 2147483647 h 1701"/>
                <a:gd name="T70" fmla="*/ 0 w 1427"/>
                <a:gd name="T71" fmla="*/ 2147483647 h 1701"/>
                <a:gd name="T72" fmla="*/ 0 w 1427"/>
                <a:gd name="T73" fmla="*/ 2147483647 h 1701"/>
                <a:gd name="T74" fmla="*/ 0 w 1427"/>
                <a:gd name="T75" fmla="*/ 2147483647 h 1701"/>
                <a:gd name="T76" fmla="*/ 0 w 1427"/>
                <a:gd name="T77" fmla="*/ 2147483647 h 1701"/>
                <a:gd name="T78" fmla="*/ 0 w 1427"/>
                <a:gd name="T79" fmla="*/ 2147483647 h 1701"/>
                <a:gd name="T80" fmla="*/ 0 w 1427"/>
                <a:gd name="T81" fmla="*/ 2147483647 h 1701"/>
                <a:gd name="T82" fmla="*/ 0 w 1427"/>
                <a:gd name="T83" fmla="*/ 2147483647 h 1701"/>
                <a:gd name="T84" fmla="*/ 0 w 1427"/>
                <a:gd name="T85" fmla="*/ 2147483647 h 1701"/>
                <a:gd name="T86" fmla="*/ 0 w 1427"/>
                <a:gd name="T87" fmla="*/ 2147483647 h 1701"/>
                <a:gd name="T88" fmla="*/ 0 w 1427"/>
                <a:gd name="T89" fmla="*/ 2147483647 h 1701"/>
                <a:gd name="T90" fmla="*/ 0 w 1427"/>
                <a:gd name="T91" fmla="*/ 2147483647 h 1701"/>
                <a:gd name="T92" fmla="*/ 0 w 1427"/>
                <a:gd name="T93" fmla="*/ 2147483647 h 1701"/>
                <a:gd name="T94" fmla="*/ 0 w 1427"/>
                <a:gd name="T95" fmla="*/ 2147483647 h 1701"/>
                <a:gd name="T96" fmla="*/ 0 w 1427"/>
                <a:gd name="T97" fmla="*/ 2147483647 h 1701"/>
                <a:gd name="T98" fmla="*/ 0 w 1427"/>
                <a:gd name="T99" fmla="*/ 2147483647 h 1701"/>
                <a:gd name="T100" fmla="*/ 2147483647 w 1427"/>
                <a:gd name="T101" fmla="*/ 2147483647 h 1701"/>
                <a:gd name="T102" fmla="*/ 2147483647 w 1427"/>
                <a:gd name="T103" fmla="*/ 2147483647 h 1701"/>
                <a:gd name="T104" fmla="*/ 2147483647 w 1427"/>
                <a:gd name="T105" fmla="*/ 2147483647 h 1701"/>
                <a:gd name="T106" fmla="*/ 2147483647 w 1427"/>
                <a:gd name="T107" fmla="*/ 2147483647 h 1701"/>
                <a:gd name="T108" fmla="*/ 2147483647 w 1427"/>
                <a:gd name="T109" fmla="*/ 2147483647 h 1701"/>
                <a:gd name="T110" fmla="*/ 2147483647 w 1427"/>
                <a:gd name="T111" fmla="*/ 2147483647 h 1701"/>
                <a:gd name="T112" fmla="*/ 2147483647 w 1427"/>
                <a:gd name="T113" fmla="*/ 2147483647 h 1701"/>
                <a:gd name="T114" fmla="*/ 2147483647 w 1427"/>
                <a:gd name="T115" fmla="*/ 2147483647 h 1701"/>
                <a:gd name="T116" fmla="*/ 2147483647 w 1427"/>
                <a:gd name="T117" fmla="*/ 2147483647 h 1701"/>
                <a:gd name="T118" fmla="*/ 2147483647 w 1427"/>
                <a:gd name="T119" fmla="*/ 2147483647 h 1701"/>
                <a:gd name="T120" fmla="*/ 2147483647 w 1427"/>
                <a:gd name="T121" fmla="*/ 0 h 1701"/>
                <a:gd name="T122" fmla="*/ 2147483647 w 1427"/>
                <a:gd name="T123" fmla="*/ 0 h 170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27"/>
                <a:gd name="T187" fmla="*/ 0 h 1701"/>
                <a:gd name="T188" fmla="*/ 1427 w 1427"/>
                <a:gd name="T189" fmla="*/ 1701 h 1701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27" h="1701">
                  <a:moveTo>
                    <a:pt x="1419" y="216"/>
                  </a:moveTo>
                  <a:lnTo>
                    <a:pt x="1397" y="212"/>
                  </a:lnTo>
                  <a:lnTo>
                    <a:pt x="1395" y="232"/>
                  </a:lnTo>
                  <a:lnTo>
                    <a:pt x="1388" y="232"/>
                  </a:lnTo>
                  <a:lnTo>
                    <a:pt x="1390" y="229"/>
                  </a:lnTo>
                  <a:lnTo>
                    <a:pt x="1380" y="225"/>
                  </a:lnTo>
                  <a:lnTo>
                    <a:pt x="1376" y="219"/>
                  </a:lnTo>
                  <a:lnTo>
                    <a:pt x="1376" y="231"/>
                  </a:lnTo>
                  <a:lnTo>
                    <a:pt x="1375" y="234"/>
                  </a:lnTo>
                  <a:lnTo>
                    <a:pt x="1370" y="224"/>
                  </a:lnTo>
                  <a:lnTo>
                    <a:pt x="1357" y="226"/>
                  </a:lnTo>
                  <a:lnTo>
                    <a:pt x="1347" y="232"/>
                  </a:lnTo>
                  <a:lnTo>
                    <a:pt x="1350" y="220"/>
                  </a:lnTo>
                  <a:lnTo>
                    <a:pt x="1358" y="214"/>
                  </a:lnTo>
                  <a:lnTo>
                    <a:pt x="1365" y="212"/>
                  </a:lnTo>
                  <a:lnTo>
                    <a:pt x="1368" y="205"/>
                  </a:lnTo>
                  <a:lnTo>
                    <a:pt x="1366" y="200"/>
                  </a:lnTo>
                  <a:lnTo>
                    <a:pt x="1361" y="193"/>
                  </a:lnTo>
                  <a:lnTo>
                    <a:pt x="1341" y="196"/>
                  </a:lnTo>
                  <a:lnTo>
                    <a:pt x="1344" y="189"/>
                  </a:lnTo>
                  <a:lnTo>
                    <a:pt x="1338" y="183"/>
                  </a:lnTo>
                  <a:lnTo>
                    <a:pt x="1326" y="177"/>
                  </a:lnTo>
                  <a:lnTo>
                    <a:pt x="1315" y="166"/>
                  </a:lnTo>
                  <a:lnTo>
                    <a:pt x="1301" y="162"/>
                  </a:lnTo>
                  <a:lnTo>
                    <a:pt x="1296" y="156"/>
                  </a:lnTo>
                  <a:lnTo>
                    <a:pt x="1299" y="153"/>
                  </a:lnTo>
                  <a:lnTo>
                    <a:pt x="1299" y="149"/>
                  </a:lnTo>
                  <a:lnTo>
                    <a:pt x="1321" y="157"/>
                  </a:lnTo>
                  <a:lnTo>
                    <a:pt x="1371" y="166"/>
                  </a:lnTo>
                  <a:lnTo>
                    <a:pt x="1407" y="137"/>
                  </a:lnTo>
                  <a:lnTo>
                    <a:pt x="1419" y="132"/>
                  </a:lnTo>
                  <a:lnTo>
                    <a:pt x="1427" y="126"/>
                  </a:lnTo>
                  <a:lnTo>
                    <a:pt x="1424" y="112"/>
                  </a:lnTo>
                  <a:lnTo>
                    <a:pt x="1412" y="106"/>
                  </a:lnTo>
                  <a:lnTo>
                    <a:pt x="1404" y="92"/>
                  </a:lnTo>
                  <a:lnTo>
                    <a:pt x="1388" y="91"/>
                  </a:lnTo>
                  <a:lnTo>
                    <a:pt x="1380" y="87"/>
                  </a:lnTo>
                  <a:lnTo>
                    <a:pt x="1388" y="80"/>
                  </a:lnTo>
                  <a:lnTo>
                    <a:pt x="1374" y="73"/>
                  </a:lnTo>
                  <a:lnTo>
                    <a:pt x="1369" y="63"/>
                  </a:lnTo>
                  <a:lnTo>
                    <a:pt x="1361" y="71"/>
                  </a:lnTo>
                  <a:lnTo>
                    <a:pt x="1355" y="75"/>
                  </a:lnTo>
                  <a:lnTo>
                    <a:pt x="1355" y="68"/>
                  </a:lnTo>
                  <a:lnTo>
                    <a:pt x="1353" y="63"/>
                  </a:lnTo>
                  <a:lnTo>
                    <a:pt x="1333" y="70"/>
                  </a:lnTo>
                  <a:lnTo>
                    <a:pt x="1332" y="68"/>
                  </a:lnTo>
                  <a:lnTo>
                    <a:pt x="1331" y="63"/>
                  </a:lnTo>
                  <a:lnTo>
                    <a:pt x="1332" y="59"/>
                  </a:lnTo>
                  <a:lnTo>
                    <a:pt x="1332" y="49"/>
                  </a:lnTo>
                  <a:lnTo>
                    <a:pt x="1327" y="46"/>
                  </a:lnTo>
                  <a:lnTo>
                    <a:pt x="1325" y="38"/>
                  </a:lnTo>
                  <a:lnTo>
                    <a:pt x="1316" y="42"/>
                  </a:lnTo>
                  <a:lnTo>
                    <a:pt x="1310" y="38"/>
                  </a:lnTo>
                  <a:lnTo>
                    <a:pt x="1301" y="41"/>
                  </a:lnTo>
                  <a:lnTo>
                    <a:pt x="1293" y="56"/>
                  </a:lnTo>
                  <a:lnTo>
                    <a:pt x="1290" y="70"/>
                  </a:lnTo>
                  <a:lnTo>
                    <a:pt x="1290" y="89"/>
                  </a:lnTo>
                  <a:lnTo>
                    <a:pt x="1293" y="103"/>
                  </a:lnTo>
                  <a:lnTo>
                    <a:pt x="1280" y="110"/>
                  </a:lnTo>
                  <a:lnTo>
                    <a:pt x="1271" y="102"/>
                  </a:lnTo>
                  <a:lnTo>
                    <a:pt x="1260" y="105"/>
                  </a:lnTo>
                  <a:lnTo>
                    <a:pt x="1257" y="101"/>
                  </a:lnTo>
                  <a:lnTo>
                    <a:pt x="1267" y="91"/>
                  </a:lnTo>
                  <a:lnTo>
                    <a:pt x="1277" y="76"/>
                  </a:lnTo>
                  <a:lnTo>
                    <a:pt x="1272" y="67"/>
                  </a:lnTo>
                  <a:lnTo>
                    <a:pt x="1257" y="78"/>
                  </a:lnTo>
                  <a:lnTo>
                    <a:pt x="1247" y="78"/>
                  </a:lnTo>
                  <a:lnTo>
                    <a:pt x="1262" y="67"/>
                  </a:lnTo>
                  <a:lnTo>
                    <a:pt x="1253" y="56"/>
                  </a:lnTo>
                  <a:lnTo>
                    <a:pt x="1260" y="47"/>
                  </a:lnTo>
                  <a:lnTo>
                    <a:pt x="1277" y="49"/>
                  </a:lnTo>
                  <a:lnTo>
                    <a:pt x="1284" y="35"/>
                  </a:lnTo>
                  <a:lnTo>
                    <a:pt x="1285" y="19"/>
                  </a:lnTo>
                  <a:lnTo>
                    <a:pt x="1273" y="19"/>
                  </a:lnTo>
                  <a:lnTo>
                    <a:pt x="1275" y="9"/>
                  </a:lnTo>
                  <a:lnTo>
                    <a:pt x="1268" y="3"/>
                  </a:lnTo>
                  <a:lnTo>
                    <a:pt x="1262" y="3"/>
                  </a:lnTo>
                  <a:lnTo>
                    <a:pt x="1250" y="13"/>
                  </a:lnTo>
                  <a:lnTo>
                    <a:pt x="1239" y="0"/>
                  </a:lnTo>
                  <a:lnTo>
                    <a:pt x="1236" y="17"/>
                  </a:lnTo>
                  <a:lnTo>
                    <a:pt x="1231" y="37"/>
                  </a:lnTo>
                  <a:lnTo>
                    <a:pt x="1226" y="49"/>
                  </a:lnTo>
                  <a:lnTo>
                    <a:pt x="1220" y="59"/>
                  </a:lnTo>
                  <a:lnTo>
                    <a:pt x="1218" y="67"/>
                  </a:lnTo>
                  <a:lnTo>
                    <a:pt x="1219" y="78"/>
                  </a:lnTo>
                  <a:lnTo>
                    <a:pt x="1212" y="79"/>
                  </a:lnTo>
                  <a:lnTo>
                    <a:pt x="1208" y="89"/>
                  </a:lnTo>
                  <a:lnTo>
                    <a:pt x="1208" y="103"/>
                  </a:lnTo>
                  <a:lnTo>
                    <a:pt x="1197" y="103"/>
                  </a:lnTo>
                  <a:lnTo>
                    <a:pt x="1182" y="118"/>
                  </a:lnTo>
                  <a:lnTo>
                    <a:pt x="1183" y="102"/>
                  </a:lnTo>
                  <a:lnTo>
                    <a:pt x="1188" y="85"/>
                  </a:lnTo>
                  <a:lnTo>
                    <a:pt x="1178" y="70"/>
                  </a:lnTo>
                  <a:lnTo>
                    <a:pt x="1188" y="62"/>
                  </a:lnTo>
                  <a:lnTo>
                    <a:pt x="1188" y="41"/>
                  </a:lnTo>
                  <a:lnTo>
                    <a:pt x="1187" y="28"/>
                  </a:lnTo>
                  <a:lnTo>
                    <a:pt x="1182" y="27"/>
                  </a:lnTo>
                  <a:lnTo>
                    <a:pt x="1176" y="31"/>
                  </a:lnTo>
                  <a:lnTo>
                    <a:pt x="1142" y="90"/>
                  </a:lnTo>
                  <a:lnTo>
                    <a:pt x="1135" y="96"/>
                  </a:lnTo>
                  <a:lnTo>
                    <a:pt x="1129" y="111"/>
                  </a:lnTo>
                  <a:lnTo>
                    <a:pt x="1121" y="122"/>
                  </a:lnTo>
                  <a:lnTo>
                    <a:pt x="1115" y="140"/>
                  </a:lnTo>
                  <a:lnTo>
                    <a:pt x="1123" y="132"/>
                  </a:lnTo>
                  <a:lnTo>
                    <a:pt x="1101" y="167"/>
                  </a:lnTo>
                  <a:lnTo>
                    <a:pt x="1092" y="172"/>
                  </a:lnTo>
                  <a:lnTo>
                    <a:pt x="1091" y="160"/>
                  </a:lnTo>
                  <a:lnTo>
                    <a:pt x="1092" y="148"/>
                  </a:lnTo>
                  <a:lnTo>
                    <a:pt x="1099" y="139"/>
                  </a:lnTo>
                  <a:lnTo>
                    <a:pt x="1104" y="137"/>
                  </a:lnTo>
                  <a:lnTo>
                    <a:pt x="1104" y="129"/>
                  </a:lnTo>
                  <a:lnTo>
                    <a:pt x="1106" y="112"/>
                  </a:lnTo>
                  <a:lnTo>
                    <a:pt x="1105" y="105"/>
                  </a:lnTo>
                  <a:lnTo>
                    <a:pt x="1111" y="87"/>
                  </a:lnTo>
                  <a:lnTo>
                    <a:pt x="1133" y="58"/>
                  </a:lnTo>
                  <a:lnTo>
                    <a:pt x="1140" y="42"/>
                  </a:lnTo>
                  <a:lnTo>
                    <a:pt x="1131" y="37"/>
                  </a:lnTo>
                  <a:lnTo>
                    <a:pt x="1116" y="48"/>
                  </a:lnTo>
                  <a:lnTo>
                    <a:pt x="1107" y="51"/>
                  </a:lnTo>
                  <a:lnTo>
                    <a:pt x="1106" y="37"/>
                  </a:lnTo>
                  <a:lnTo>
                    <a:pt x="1100" y="33"/>
                  </a:lnTo>
                  <a:lnTo>
                    <a:pt x="1096" y="27"/>
                  </a:lnTo>
                  <a:lnTo>
                    <a:pt x="1095" y="20"/>
                  </a:lnTo>
                  <a:lnTo>
                    <a:pt x="1085" y="32"/>
                  </a:lnTo>
                  <a:lnTo>
                    <a:pt x="1081" y="26"/>
                  </a:lnTo>
                  <a:lnTo>
                    <a:pt x="1074" y="26"/>
                  </a:lnTo>
                  <a:lnTo>
                    <a:pt x="1073" y="51"/>
                  </a:lnTo>
                  <a:lnTo>
                    <a:pt x="1059" y="46"/>
                  </a:lnTo>
                  <a:lnTo>
                    <a:pt x="1065" y="59"/>
                  </a:lnTo>
                  <a:lnTo>
                    <a:pt x="1073" y="67"/>
                  </a:lnTo>
                  <a:lnTo>
                    <a:pt x="1074" y="71"/>
                  </a:lnTo>
                  <a:lnTo>
                    <a:pt x="1061" y="79"/>
                  </a:lnTo>
                  <a:lnTo>
                    <a:pt x="1053" y="91"/>
                  </a:lnTo>
                  <a:lnTo>
                    <a:pt x="1057" y="105"/>
                  </a:lnTo>
                  <a:lnTo>
                    <a:pt x="1032" y="105"/>
                  </a:lnTo>
                  <a:lnTo>
                    <a:pt x="1020" y="118"/>
                  </a:lnTo>
                  <a:lnTo>
                    <a:pt x="1015" y="129"/>
                  </a:lnTo>
                  <a:lnTo>
                    <a:pt x="1002" y="144"/>
                  </a:lnTo>
                  <a:lnTo>
                    <a:pt x="1000" y="150"/>
                  </a:lnTo>
                  <a:lnTo>
                    <a:pt x="1003" y="159"/>
                  </a:lnTo>
                  <a:lnTo>
                    <a:pt x="1000" y="169"/>
                  </a:lnTo>
                  <a:lnTo>
                    <a:pt x="1000" y="183"/>
                  </a:lnTo>
                  <a:lnTo>
                    <a:pt x="992" y="184"/>
                  </a:lnTo>
                  <a:lnTo>
                    <a:pt x="987" y="178"/>
                  </a:lnTo>
                  <a:lnTo>
                    <a:pt x="987" y="170"/>
                  </a:lnTo>
                  <a:lnTo>
                    <a:pt x="992" y="166"/>
                  </a:lnTo>
                  <a:lnTo>
                    <a:pt x="978" y="162"/>
                  </a:lnTo>
                  <a:lnTo>
                    <a:pt x="986" y="151"/>
                  </a:lnTo>
                  <a:lnTo>
                    <a:pt x="984" y="150"/>
                  </a:lnTo>
                  <a:lnTo>
                    <a:pt x="954" y="145"/>
                  </a:lnTo>
                  <a:lnTo>
                    <a:pt x="956" y="159"/>
                  </a:lnTo>
                  <a:lnTo>
                    <a:pt x="952" y="160"/>
                  </a:lnTo>
                  <a:lnTo>
                    <a:pt x="944" y="156"/>
                  </a:lnTo>
                  <a:lnTo>
                    <a:pt x="944" y="150"/>
                  </a:lnTo>
                  <a:lnTo>
                    <a:pt x="941" y="140"/>
                  </a:lnTo>
                  <a:lnTo>
                    <a:pt x="938" y="143"/>
                  </a:lnTo>
                  <a:lnTo>
                    <a:pt x="935" y="133"/>
                  </a:lnTo>
                  <a:lnTo>
                    <a:pt x="929" y="138"/>
                  </a:lnTo>
                  <a:lnTo>
                    <a:pt x="927" y="133"/>
                  </a:lnTo>
                  <a:lnTo>
                    <a:pt x="922" y="138"/>
                  </a:lnTo>
                  <a:lnTo>
                    <a:pt x="920" y="155"/>
                  </a:lnTo>
                  <a:lnTo>
                    <a:pt x="916" y="146"/>
                  </a:lnTo>
                  <a:lnTo>
                    <a:pt x="911" y="135"/>
                  </a:lnTo>
                  <a:lnTo>
                    <a:pt x="907" y="132"/>
                  </a:lnTo>
                  <a:lnTo>
                    <a:pt x="907" y="157"/>
                  </a:lnTo>
                  <a:lnTo>
                    <a:pt x="924" y="167"/>
                  </a:lnTo>
                  <a:lnTo>
                    <a:pt x="930" y="167"/>
                  </a:lnTo>
                  <a:lnTo>
                    <a:pt x="930" y="178"/>
                  </a:lnTo>
                  <a:lnTo>
                    <a:pt x="928" y="188"/>
                  </a:lnTo>
                  <a:lnTo>
                    <a:pt x="928" y="199"/>
                  </a:lnTo>
                  <a:lnTo>
                    <a:pt x="933" y="210"/>
                  </a:lnTo>
                  <a:lnTo>
                    <a:pt x="933" y="225"/>
                  </a:lnTo>
                  <a:lnTo>
                    <a:pt x="925" y="219"/>
                  </a:lnTo>
                  <a:lnTo>
                    <a:pt x="907" y="191"/>
                  </a:lnTo>
                  <a:lnTo>
                    <a:pt x="891" y="175"/>
                  </a:lnTo>
                  <a:lnTo>
                    <a:pt x="895" y="194"/>
                  </a:lnTo>
                  <a:lnTo>
                    <a:pt x="890" y="194"/>
                  </a:lnTo>
                  <a:lnTo>
                    <a:pt x="886" y="205"/>
                  </a:lnTo>
                  <a:lnTo>
                    <a:pt x="881" y="204"/>
                  </a:lnTo>
                  <a:lnTo>
                    <a:pt x="877" y="212"/>
                  </a:lnTo>
                  <a:lnTo>
                    <a:pt x="874" y="208"/>
                  </a:lnTo>
                  <a:lnTo>
                    <a:pt x="874" y="202"/>
                  </a:lnTo>
                  <a:lnTo>
                    <a:pt x="877" y="191"/>
                  </a:lnTo>
                  <a:lnTo>
                    <a:pt x="870" y="194"/>
                  </a:lnTo>
                  <a:lnTo>
                    <a:pt x="863" y="204"/>
                  </a:lnTo>
                  <a:lnTo>
                    <a:pt x="859" y="218"/>
                  </a:lnTo>
                  <a:lnTo>
                    <a:pt x="853" y="220"/>
                  </a:lnTo>
                  <a:lnTo>
                    <a:pt x="855" y="235"/>
                  </a:lnTo>
                  <a:lnTo>
                    <a:pt x="857" y="241"/>
                  </a:lnTo>
                  <a:lnTo>
                    <a:pt x="841" y="256"/>
                  </a:lnTo>
                  <a:lnTo>
                    <a:pt x="834" y="275"/>
                  </a:lnTo>
                  <a:lnTo>
                    <a:pt x="827" y="285"/>
                  </a:lnTo>
                  <a:lnTo>
                    <a:pt x="837" y="264"/>
                  </a:lnTo>
                  <a:lnTo>
                    <a:pt x="838" y="252"/>
                  </a:lnTo>
                  <a:lnTo>
                    <a:pt x="839" y="229"/>
                  </a:lnTo>
                  <a:lnTo>
                    <a:pt x="841" y="212"/>
                  </a:lnTo>
                  <a:lnTo>
                    <a:pt x="838" y="191"/>
                  </a:lnTo>
                  <a:lnTo>
                    <a:pt x="828" y="194"/>
                  </a:lnTo>
                  <a:lnTo>
                    <a:pt x="822" y="208"/>
                  </a:lnTo>
                  <a:lnTo>
                    <a:pt x="812" y="223"/>
                  </a:lnTo>
                  <a:lnTo>
                    <a:pt x="809" y="246"/>
                  </a:lnTo>
                  <a:lnTo>
                    <a:pt x="804" y="266"/>
                  </a:lnTo>
                  <a:lnTo>
                    <a:pt x="803" y="214"/>
                  </a:lnTo>
                  <a:lnTo>
                    <a:pt x="777" y="218"/>
                  </a:lnTo>
                  <a:lnTo>
                    <a:pt x="768" y="235"/>
                  </a:lnTo>
                  <a:lnTo>
                    <a:pt x="767" y="240"/>
                  </a:lnTo>
                  <a:lnTo>
                    <a:pt x="769" y="261"/>
                  </a:lnTo>
                  <a:lnTo>
                    <a:pt x="779" y="274"/>
                  </a:lnTo>
                  <a:lnTo>
                    <a:pt x="788" y="278"/>
                  </a:lnTo>
                  <a:lnTo>
                    <a:pt x="795" y="291"/>
                  </a:lnTo>
                  <a:lnTo>
                    <a:pt x="794" y="301"/>
                  </a:lnTo>
                  <a:lnTo>
                    <a:pt x="785" y="300"/>
                  </a:lnTo>
                  <a:lnTo>
                    <a:pt x="779" y="284"/>
                  </a:lnTo>
                  <a:lnTo>
                    <a:pt x="768" y="277"/>
                  </a:lnTo>
                  <a:lnTo>
                    <a:pt x="760" y="261"/>
                  </a:lnTo>
                  <a:lnTo>
                    <a:pt x="751" y="252"/>
                  </a:lnTo>
                  <a:lnTo>
                    <a:pt x="739" y="254"/>
                  </a:lnTo>
                  <a:lnTo>
                    <a:pt x="746" y="272"/>
                  </a:lnTo>
                  <a:lnTo>
                    <a:pt x="760" y="284"/>
                  </a:lnTo>
                  <a:lnTo>
                    <a:pt x="750" y="294"/>
                  </a:lnTo>
                  <a:lnTo>
                    <a:pt x="741" y="286"/>
                  </a:lnTo>
                  <a:lnTo>
                    <a:pt x="737" y="293"/>
                  </a:lnTo>
                  <a:lnTo>
                    <a:pt x="735" y="280"/>
                  </a:lnTo>
                  <a:lnTo>
                    <a:pt x="726" y="285"/>
                  </a:lnTo>
                  <a:lnTo>
                    <a:pt x="726" y="280"/>
                  </a:lnTo>
                  <a:lnTo>
                    <a:pt x="729" y="267"/>
                  </a:lnTo>
                  <a:lnTo>
                    <a:pt x="724" y="261"/>
                  </a:lnTo>
                  <a:lnTo>
                    <a:pt x="721" y="266"/>
                  </a:lnTo>
                  <a:lnTo>
                    <a:pt x="714" y="290"/>
                  </a:lnTo>
                  <a:lnTo>
                    <a:pt x="715" y="299"/>
                  </a:lnTo>
                  <a:lnTo>
                    <a:pt x="720" y="306"/>
                  </a:lnTo>
                  <a:lnTo>
                    <a:pt x="697" y="318"/>
                  </a:lnTo>
                  <a:lnTo>
                    <a:pt x="691" y="325"/>
                  </a:lnTo>
                  <a:lnTo>
                    <a:pt x="688" y="332"/>
                  </a:lnTo>
                  <a:lnTo>
                    <a:pt x="687" y="343"/>
                  </a:lnTo>
                  <a:lnTo>
                    <a:pt x="690" y="350"/>
                  </a:lnTo>
                  <a:lnTo>
                    <a:pt x="698" y="347"/>
                  </a:lnTo>
                  <a:lnTo>
                    <a:pt x="704" y="355"/>
                  </a:lnTo>
                  <a:lnTo>
                    <a:pt x="692" y="355"/>
                  </a:lnTo>
                  <a:lnTo>
                    <a:pt x="696" y="365"/>
                  </a:lnTo>
                  <a:lnTo>
                    <a:pt x="696" y="372"/>
                  </a:lnTo>
                  <a:lnTo>
                    <a:pt x="683" y="368"/>
                  </a:lnTo>
                  <a:lnTo>
                    <a:pt x="678" y="370"/>
                  </a:lnTo>
                  <a:lnTo>
                    <a:pt x="686" y="377"/>
                  </a:lnTo>
                  <a:lnTo>
                    <a:pt x="681" y="383"/>
                  </a:lnTo>
                  <a:lnTo>
                    <a:pt x="670" y="380"/>
                  </a:lnTo>
                  <a:lnTo>
                    <a:pt x="667" y="386"/>
                  </a:lnTo>
                  <a:lnTo>
                    <a:pt x="659" y="383"/>
                  </a:lnTo>
                  <a:lnTo>
                    <a:pt x="643" y="390"/>
                  </a:lnTo>
                  <a:lnTo>
                    <a:pt x="639" y="399"/>
                  </a:lnTo>
                  <a:lnTo>
                    <a:pt x="633" y="403"/>
                  </a:lnTo>
                  <a:lnTo>
                    <a:pt x="632" y="407"/>
                  </a:lnTo>
                  <a:lnTo>
                    <a:pt x="642" y="414"/>
                  </a:lnTo>
                  <a:lnTo>
                    <a:pt x="651" y="410"/>
                  </a:lnTo>
                  <a:lnTo>
                    <a:pt x="656" y="404"/>
                  </a:lnTo>
                  <a:lnTo>
                    <a:pt x="672" y="414"/>
                  </a:lnTo>
                  <a:lnTo>
                    <a:pt x="685" y="406"/>
                  </a:lnTo>
                  <a:lnTo>
                    <a:pt x="687" y="409"/>
                  </a:lnTo>
                  <a:lnTo>
                    <a:pt x="691" y="418"/>
                  </a:lnTo>
                  <a:lnTo>
                    <a:pt x="681" y="418"/>
                  </a:lnTo>
                  <a:lnTo>
                    <a:pt x="676" y="425"/>
                  </a:lnTo>
                  <a:lnTo>
                    <a:pt x="674" y="439"/>
                  </a:lnTo>
                  <a:lnTo>
                    <a:pt x="659" y="430"/>
                  </a:lnTo>
                  <a:lnTo>
                    <a:pt x="648" y="430"/>
                  </a:lnTo>
                  <a:lnTo>
                    <a:pt x="645" y="424"/>
                  </a:lnTo>
                  <a:lnTo>
                    <a:pt x="633" y="422"/>
                  </a:lnTo>
                  <a:lnTo>
                    <a:pt x="619" y="430"/>
                  </a:lnTo>
                  <a:lnTo>
                    <a:pt x="616" y="438"/>
                  </a:lnTo>
                  <a:lnTo>
                    <a:pt x="626" y="453"/>
                  </a:lnTo>
                  <a:lnTo>
                    <a:pt x="626" y="462"/>
                  </a:lnTo>
                  <a:lnTo>
                    <a:pt x="619" y="461"/>
                  </a:lnTo>
                  <a:lnTo>
                    <a:pt x="624" y="476"/>
                  </a:lnTo>
                  <a:lnTo>
                    <a:pt x="626" y="487"/>
                  </a:lnTo>
                  <a:lnTo>
                    <a:pt x="617" y="483"/>
                  </a:lnTo>
                  <a:lnTo>
                    <a:pt x="617" y="494"/>
                  </a:lnTo>
                  <a:lnTo>
                    <a:pt x="610" y="495"/>
                  </a:lnTo>
                  <a:lnTo>
                    <a:pt x="605" y="457"/>
                  </a:lnTo>
                  <a:lnTo>
                    <a:pt x="597" y="460"/>
                  </a:lnTo>
                  <a:lnTo>
                    <a:pt x="594" y="473"/>
                  </a:lnTo>
                  <a:lnTo>
                    <a:pt x="586" y="471"/>
                  </a:lnTo>
                  <a:lnTo>
                    <a:pt x="583" y="474"/>
                  </a:lnTo>
                  <a:lnTo>
                    <a:pt x="594" y="479"/>
                  </a:lnTo>
                  <a:lnTo>
                    <a:pt x="591" y="483"/>
                  </a:lnTo>
                  <a:lnTo>
                    <a:pt x="583" y="485"/>
                  </a:lnTo>
                  <a:lnTo>
                    <a:pt x="575" y="490"/>
                  </a:lnTo>
                  <a:lnTo>
                    <a:pt x="573" y="499"/>
                  </a:lnTo>
                  <a:lnTo>
                    <a:pt x="574" y="509"/>
                  </a:lnTo>
                  <a:lnTo>
                    <a:pt x="583" y="516"/>
                  </a:lnTo>
                  <a:lnTo>
                    <a:pt x="575" y="520"/>
                  </a:lnTo>
                  <a:lnTo>
                    <a:pt x="580" y="525"/>
                  </a:lnTo>
                  <a:lnTo>
                    <a:pt x="574" y="527"/>
                  </a:lnTo>
                  <a:lnTo>
                    <a:pt x="570" y="539"/>
                  </a:lnTo>
                  <a:lnTo>
                    <a:pt x="567" y="542"/>
                  </a:lnTo>
                  <a:lnTo>
                    <a:pt x="561" y="542"/>
                  </a:lnTo>
                  <a:lnTo>
                    <a:pt x="562" y="546"/>
                  </a:lnTo>
                  <a:lnTo>
                    <a:pt x="572" y="549"/>
                  </a:lnTo>
                  <a:lnTo>
                    <a:pt x="591" y="542"/>
                  </a:lnTo>
                  <a:lnTo>
                    <a:pt x="578" y="558"/>
                  </a:lnTo>
                  <a:lnTo>
                    <a:pt x="572" y="562"/>
                  </a:lnTo>
                  <a:lnTo>
                    <a:pt x="553" y="558"/>
                  </a:lnTo>
                  <a:lnTo>
                    <a:pt x="548" y="553"/>
                  </a:lnTo>
                  <a:lnTo>
                    <a:pt x="547" y="546"/>
                  </a:lnTo>
                  <a:lnTo>
                    <a:pt x="540" y="547"/>
                  </a:lnTo>
                  <a:lnTo>
                    <a:pt x="529" y="557"/>
                  </a:lnTo>
                  <a:lnTo>
                    <a:pt x="524" y="574"/>
                  </a:lnTo>
                  <a:lnTo>
                    <a:pt x="514" y="581"/>
                  </a:lnTo>
                  <a:lnTo>
                    <a:pt x="513" y="591"/>
                  </a:lnTo>
                  <a:lnTo>
                    <a:pt x="520" y="591"/>
                  </a:lnTo>
                  <a:lnTo>
                    <a:pt x="519" y="598"/>
                  </a:lnTo>
                  <a:lnTo>
                    <a:pt x="518" y="603"/>
                  </a:lnTo>
                  <a:lnTo>
                    <a:pt x="509" y="607"/>
                  </a:lnTo>
                  <a:lnTo>
                    <a:pt x="504" y="625"/>
                  </a:lnTo>
                  <a:lnTo>
                    <a:pt x="497" y="624"/>
                  </a:lnTo>
                  <a:lnTo>
                    <a:pt x="491" y="628"/>
                  </a:lnTo>
                  <a:lnTo>
                    <a:pt x="484" y="629"/>
                  </a:lnTo>
                  <a:lnTo>
                    <a:pt x="476" y="640"/>
                  </a:lnTo>
                  <a:lnTo>
                    <a:pt x="482" y="650"/>
                  </a:lnTo>
                  <a:lnTo>
                    <a:pt x="478" y="654"/>
                  </a:lnTo>
                  <a:lnTo>
                    <a:pt x="467" y="656"/>
                  </a:lnTo>
                  <a:lnTo>
                    <a:pt x="467" y="666"/>
                  </a:lnTo>
                  <a:lnTo>
                    <a:pt x="456" y="667"/>
                  </a:lnTo>
                  <a:lnTo>
                    <a:pt x="459" y="673"/>
                  </a:lnTo>
                  <a:lnTo>
                    <a:pt x="454" y="677"/>
                  </a:lnTo>
                  <a:lnTo>
                    <a:pt x="452" y="686"/>
                  </a:lnTo>
                  <a:lnTo>
                    <a:pt x="465" y="688"/>
                  </a:lnTo>
                  <a:lnTo>
                    <a:pt x="462" y="694"/>
                  </a:lnTo>
                  <a:lnTo>
                    <a:pt x="454" y="699"/>
                  </a:lnTo>
                  <a:lnTo>
                    <a:pt x="448" y="694"/>
                  </a:lnTo>
                  <a:lnTo>
                    <a:pt x="448" y="697"/>
                  </a:lnTo>
                  <a:lnTo>
                    <a:pt x="448" y="711"/>
                  </a:lnTo>
                  <a:lnTo>
                    <a:pt x="454" y="720"/>
                  </a:lnTo>
                  <a:lnTo>
                    <a:pt x="459" y="713"/>
                  </a:lnTo>
                  <a:lnTo>
                    <a:pt x="463" y="716"/>
                  </a:lnTo>
                  <a:lnTo>
                    <a:pt x="461" y="726"/>
                  </a:lnTo>
                  <a:lnTo>
                    <a:pt x="440" y="729"/>
                  </a:lnTo>
                  <a:lnTo>
                    <a:pt x="436" y="734"/>
                  </a:lnTo>
                  <a:lnTo>
                    <a:pt x="435" y="748"/>
                  </a:lnTo>
                  <a:lnTo>
                    <a:pt x="427" y="754"/>
                  </a:lnTo>
                  <a:lnTo>
                    <a:pt x="418" y="757"/>
                  </a:lnTo>
                  <a:lnTo>
                    <a:pt x="412" y="772"/>
                  </a:lnTo>
                  <a:lnTo>
                    <a:pt x="420" y="770"/>
                  </a:lnTo>
                  <a:lnTo>
                    <a:pt x="429" y="762"/>
                  </a:lnTo>
                  <a:lnTo>
                    <a:pt x="440" y="757"/>
                  </a:lnTo>
                  <a:lnTo>
                    <a:pt x="440" y="767"/>
                  </a:lnTo>
                  <a:lnTo>
                    <a:pt x="446" y="779"/>
                  </a:lnTo>
                  <a:lnTo>
                    <a:pt x="427" y="773"/>
                  </a:lnTo>
                  <a:lnTo>
                    <a:pt x="425" y="781"/>
                  </a:lnTo>
                  <a:lnTo>
                    <a:pt x="429" y="785"/>
                  </a:lnTo>
                  <a:lnTo>
                    <a:pt x="423" y="790"/>
                  </a:lnTo>
                  <a:lnTo>
                    <a:pt x="420" y="796"/>
                  </a:lnTo>
                  <a:lnTo>
                    <a:pt x="423" y="806"/>
                  </a:lnTo>
                  <a:lnTo>
                    <a:pt x="419" y="808"/>
                  </a:lnTo>
                  <a:lnTo>
                    <a:pt x="413" y="805"/>
                  </a:lnTo>
                  <a:lnTo>
                    <a:pt x="409" y="811"/>
                  </a:lnTo>
                  <a:lnTo>
                    <a:pt x="412" y="821"/>
                  </a:lnTo>
                  <a:lnTo>
                    <a:pt x="418" y="826"/>
                  </a:lnTo>
                  <a:lnTo>
                    <a:pt x="420" y="845"/>
                  </a:lnTo>
                  <a:lnTo>
                    <a:pt x="413" y="837"/>
                  </a:lnTo>
                  <a:lnTo>
                    <a:pt x="406" y="834"/>
                  </a:lnTo>
                  <a:lnTo>
                    <a:pt x="400" y="821"/>
                  </a:lnTo>
                  <a:lnTo>
                    <a:pt x="401" y="838"/>
                  </a:lnTo>
                  <a:lnTo>
                    <a:pt x="397" y="844"/>
                  </a:lnTo>
                  <a:lnTo>
                    <a:pt x="391" y="847"/>
                  </a:lnTo>
                  <a:lnTo>
                    <a:pt x="387" y="856"/>
                  </a:lnTo>
                  <a:lnTo>
                    <a:pt x="392" y="859"/>
                  </a:lnTo>
                  <a:lnTo>
                    <a:pt x="398" y="856"/>
                  </a:lnTo>
                  <a:lnTo>
                    <a:pt x="403" y="848"/>
                  </a:lnTo>
                  <a:lnTo>
                    <a:pt x="405" y="851"/>
                  </a:lnTo>
                  <a:lnTo>
                    <a:pt x="403" y="856"/>
                  </a:lnTo>
                  <a:lnTo>
                    <a:pt x="403" y="864"/>
                  </a:lnTo>
                  <a:lnTo>
                    <a:pt x="406" y="871"/>
                  </a:lnTo>
                  <a:lnTo>
                    <a:pt x="398" y="877"/>
                  </a:lnTo>
                  <a:lnTo>
                    <a:pt x="387" y="872"/>
                  </a:lnTo>
                  <a:lnTo>
                    <a:pt x="382" y="880"/>
                  </a:lnTo>
                  <a:lnTo>
                    <a:pt x="376" y="876"/>
                  </a:lnTo>
                  <a:lnTo>
                    <a:pt x="369" y="886"/>
                  </a:lnTo>
                  <a:lnTo>
                    <a:pt x="368" y="896"/>
                  </a:lnTo>
                  <a:lnTo>
                    <a:pt x="360" y="902"/>
                  </a:lnTo>
                  <a:lnTo>
                    <a:pt x="352" y="904"/>
                  </a:lnTo>
                  <a:lnTo>
                    <a:pt x="347" y="925"/>
                  </a:lnTo>
                  <a:lnTo>
                    <a:pt x="357" y="921"/>
                  </a:lnTo>
                  <a:lnTo>
                    <a:pt x="366" y="915"/>
                  </a:lnTo>
                  <a:lnTo>
                    <a:pt x="370" y="919"/>
                  </a:lnTo>
                  <a:lnTo>
                    <a:pt x="353" y="926"/>
                  </a:lnTo>
                  <a:lnTo>
                    <a:pt x="353" y="937"/>
                  </a:lnTo>
                  <a:lnTo>
                    <a:pt x="355" y="948"/>
                  </a:lnTo>
                  <a:lnTo>
                    <a:pt x="352" y="955"/>
                  </a:lnTo>
                  <a:lnTo>
                    <a:pt x="341" y="958"/>
                  </a:lnTo>
                  <a:lnTo>
                    <a:pt x="327" y="947"/>
                  </a:lnTo>
                  <a:lnTo>
                    <a:pt x="323" y="947"/>
                  </a:lnTo>
                  <a:lnTo>
                    <a:pt x="315" y="962"/>
                  </a:lnTo>
                  <a:lnTo>
                    <a:pt x="305" y="969"/>
                  </a:lnTo>
                  <a:lnTo>
                    <a:pt x="304" y="976"/>
                  </a:lnTo>
                  <a:lnTo>
                    <a:pt x="296" y="980"/>
                  </a:lnTo>
                  <a:lnTo>
                    <a:pt x="280" y="1006"/>
                  </a:lnTo>
                  <a:lnTo>
                    <a:pt x="277" y="1012"/>
                  </a:lnTo>
                  <a:lnTo>
                    <a:pt x="280" y="1022"/>
                  </a:lnTo>
                  <a:lnTo>
                    <a:pt x="280" y="1026"/>
                  </a:lnTo>
                  <a:lnTo>
                    <a:pt x="258" y="1038"/>
                  </a:lnTo>
                  <a:lnTo>
                    <a:pt x="258" y="1048"/>
                  </a:lnTo>
                  <a:lnTo>
                    <a:pt x="263" y="1053"/>
                  </a:lnTo>
                  <a:lnTo>
                    <a:pt x="274" y="1048"/>
                  </a:lnTo>
                  <a:lnTo>
                    <a:pt x="269" y="1064"/>
                  </a:lnTo>
                  <a:lnTo>
                    <a:pt x="277" y="1075"/>
                  </a:lnTo>
                  <a:lnTo>
                    <a:pt x="283" y="1079"/>
                  </a:lnTo>
                  <a:lnTo>
                    <a:pt x="320" y="1052"/>
                  </a:lnTo>
                  <a:lnTo>
                    <a:pt x="342" y="1042"/>
                  </a:lnTo>
                  <a:lnTo>
                    <a:pt x="347" y="1036"/>
                  </a:lnTo>
                  <a:lnTo>
                    <a:pt x="352" y="1038"/>
                  </a:lnTo>
                  <a:lnTo>
                    <a:pt x="348" y="1044"/>
                  </a:lnTo>
                  <a:lnTo>
                    <a:pt x="335" y="1052"/>
                  </a:lnTo>
                  <a:lnTo>
                    <a:pt x="327" y="1053"/>
                  </a:lnTo>
                  <a:lnTo>
                    <a:pt x="316" y="1060"/>
                  </a:lnTo>
                  <a:lnTo>
                    <a:pt x="307" y="1068"/>
                  </a:lnTo>
                  <a:lnTo>
                    <a:pt x="314" y="1075"/>
                  </a:lnTo>
                  <a:lnTo>
                    <a:pt x="312" y="1079"/>
                  </a:lnTo>
                  <a:lnTo>
                    <a:pt x="295" y="1086"/>
                  </a:lnTo>
                  <a:lnTo>
                    <a:pt x="285" y="1086"/>
                  </a:lnTo>
                  <a:lnTo>
                    <a:pt x="282" y="1090"/>
                  </a:lnTo>
                  <a:lnTo>
                    <a:pt x="284" y="1096"/>
                  </a:lnTo>
                  <a:lnTo>
                    <a:pt x="280" y="1097"/>
                  </a:lnTo>
                  <a:lnTo>
                    <a:pt x="271" y="1096"/>
                  </a:lnTo>
                  <a:lnTo>
                    <a:pt x="271" y="1086"/>
                  </a:lnTo>
                  <a:lnTo>
                    <a:pt x="263" y="1071"/>
                  </a:lnTo>
                  <a:lnTo>
                    <a:pt x="258" y="1066"/>
                  </a:lnTo>
                  <a:lnTo>
                    <a:pt x="253" y="1066"/>
                  </a:lnTo>
                  <a:lnTo>
                    <a:pt x="250" y="1073"/>
                  </a:lnTo>
                  <a:lnTo>
                    <a:pt x="242" y="1074"/>
                  </a:lnTo>
                  <a:lnTo>
                    <a:pt x="236" y="1080"/>
                  </a:lnTo>
                  <a:lnTo>
                    <a:pt x="235" y="1087"/>
                  </a:lnTo>
                  <a:lnTo>
                    <a:pt x="241" y="1092"/>
                  </a:lnTo>
                  <a:lnTo>
                    <a:pt x="242" y="1097"/>
                  </a:lnTo>
                  <a:lnTo>
                    <a:pt x="231" y="1103"/>
                  </a:lnTo>
                  <a:lnTo>
                    <a:pt x="228" y="1097"/>
                  </a:lnTo>
                  <a:lnTo>
                    <a:pt x="228" y="1089"/>
                  </a:lnTo>
                  <a:lnTo>
                    <a:pt x="225" y="1082"/>
                  </a:lnTo>
                  <a:lnTo>
                    <a:pt x="198" y="1093"/>
                  </a:lnTo>
                  <a:lnTo>
                    <a:pt x="194" y="1098"/>
                  </a:lnTo>
                  <a:lnTo>
                    <a:pt x="190" y="1109"/>
                  </a:lnTo>
                  <a:lnTo>
                    <a:pt x="183" y="1108"/>
                  </a:lnTo>
                  <a:lnTo>
                    <a:pt x="185" y="1116"/>
                  </a:lnTo>
                  <a:lnTo>
                    <a:pt x="183" y="1119"/>
                  </a:lnTo>
                  <a:lnTo>
                    <a:pt x="175" y="1120"/>
                  </a:lnTo>
                  <a:lnTo>
                    <a:pt x="175" y="1117"/>
                  </a:lnTo>
                  <a:lnTo>
                    <a:pt x="174" y="1112"/>
                  </a:lnTo>
                  <a:lnTo>
                    <a:pt x="169" y="1113"/>
                  </a:lnTo>
                  <a:lnTo>
                    <a:pt x="166" y="1117"/>
                  </a:lnTo>
                  <a:lnTo>
                    <a:pt x="167" y="1122"/>
                  </a:lnTo>
                  <a:lnTo>
                    <a:pt x="166" y="1124"/>
                  </a:lnTo>
                  <a:lnTo>
                    <a:pt x="156" y="1124"/>
                  </a:lnTo>
                  <a:lnTo>
                    <a:pt x="143" y="1132"/>
                  </a:lnTo>
                  <a:lnTo>
                    <a:pt x="140" y="1145"/>
                  </a:lnTo>
                  <a:lnTo>
                    <a:pt x="135" y="1156"/>
                  </a:lnTo>
                  <a:lnTo>
                    <a:pt x="128" y="1151"/>
                  </a:lnTo>
                  <a:lnTo>
                    <a:pt x="118" y="1150"/>
                  </a:lnTo>
                  <a:lnTo>
                    <a:pt x="110" y="1157"/>
                  </a:lnTo>
                  <a:lnTo>
                    <a:pt x="107" y="1163"/>
                  </a:lnTo>
                  <a:lnTo>
                    <a:pt x="117" y="1171"/>
                  </a:lnTo>
                  <a:lnTo>
                    <a:pt x="111" y="1177"/>
                  </a:lnTo>
                  <a:lnTo>
                    <a:pt x="121" y="1178"/>
                  </a:lnTo>
                  <a:lnTo>
                    <a:pt x="132" y="1176"/>
                  </a:lnTo>
                  <a:lnTo>
                    <a:pt x="137" y="1182"/>
                  </a:lnTo>
                  <a:lnTo>
                    <a:pt x="142" y="1184"/>
                  </a:lnTo>
                  <a:lnTo>
                    <a:pt x="135" y="1193"/>
                  </a:lnTo>
                  <a:lnTo>
                    <a:pt x="138" y="1199"/>
                  </a:lnTo>
                  <a:lnTo>
                    <a:pt x="131" y="1195"/>
                  </a:lnTo>
                  <a:lnTo>
                    <a:pt x="122" y="1195"/>
                  </a:lnTo>
                  <a:lnTo>
                    <a:pt x="99" y="1192"/>
                  </a:lnTo>
                  <a:lnTo>
                    <a:pt x="91" y="1193"/>
                  </a:lnTo>
                  <a:lnTo>
                    <a:pt x="86" y="1197"/>
                  </a:lnTo>
                  <a:lnTo>
                    <a:pt x="80" y="1195"/>
                  </a:lnTo>
                  <a:lnTo>
                    <a:pt x="74" y="1200"/>
                  </a:lnTo>
                  <a:lnTo>
                    <a:pt x="75" y="1203"/>
                  </a:lnTo>
                  <a:lnTo>
                    <a:pt x="81" y="1205"/>
                  </a:lnTo>
                  <a:lnTo>
                    <a:pt x="75" y="1208"/>
                  </a:lnTo>
                  <a:lnTo>
                    <a:pt x="75" y="1214"/>
                  </a:lnTo>
                  <a:lnTo>
                    <a:pt x="83" y="1213"/>
                  </a:lnTo>
                  <a:lnTo>
                    <a:pt x="89" y="1210"/>
                  </a:lnTo>
                  <a:lnTo>
                    <a:pt x="81" y="1220"/>
                  </a:lnTo>
                  <a:lnTo>
                    <a:pt x="81" y="1227"/>
                  </a:lnTo>
                  <a:lnTo>
                    <a:pt x="86" y="1243"/>
                  </a:lnTo>
                  <a:lnTo>
                    <a:pt x="83" y="1245"/>
                  </a:lnTo>
                  <a:lnTo>
                    <a:pt x="78" y="1230"/>
                  </a:lnTo>
                  <a:lnTo>
                    <a:pt x="74" y="1224"/>
                  </a:lnTo>
                  <a:lnTo>
                    <a:pt x="64" y="1230"/>
                  </a:lnTo>
                  <a:lnTo>
                    <a:pt x="59" y="1238"/>
                  </a:lnTo>
                  <a:lnTo>
                    <a:pt x="56" y="1248"/>
                  </a:lnTo>
                  <a:lnTo>
                    <a:pt x="61" y="1253"/>
                  </a:lnTo>
                  <a:lnTo>
                    <a:pt x="62" y="1259"/>
                  </a:lnTo>
                  <a:lnTo>
                    <a:pt x="53" y="1253"/>
                  </a:lnTo>
                  <a:lnTo>
                    <a:pt x="50" y="1246"/>
                  </a:lnTo>
                  <a:lnTo>
                    <a:pt x="41" y="1248"/>
                  </a:lnTo>
                  <a:lnTo>
                    <a:pt x="27" y="1248"/>
                  </a:lnTo>
                  <a:lnTo>
                    <a:pt x="27" y="1254"/>
                  </a:lnTo>
                  <a:lnTo>
                    <a:pt x="29" y="1259"/>
                  </a:lnTo>
                  <a:lnTo>
                    <a:pt x="13" y="1247"/>
                  </a:lnTo>
                  <a:lnTo>
                    <a:pt x="9" y="1251"/>
                  </a:lnTo>
                  <a:lnTo>
                    <a:pt x="15" y="1265"/>
                  </a:lnTo>
                  <a:lnTo>
                    <a:pt x="11" y="1272"/>
                  </a:lnTo>
                  <a:lnTo>
                    <a:pt x="13" y="1274"/>
                  </a:lnTo>
                  <a:lnTo>
                    <a:pt x="41" y="1274"/>
                  </a:lnTo>
                  <a:lnTo>
                    <a:pt x="67" y="1268"/>
                  </a:lnTo>
                  <a:lnTo>
                    <a:pt x="51" y="1275"/>
                  </a:lnTo>
                  <a:lnTo>
                    <a:pt x="53" y="1279"/>
                  </a:lnTo>
                  <a:lnTo>
                    <a:pt x="65" y="1279"/>
                  </a:lnTo>
                  <a:lnTo>
                    <a:pt x="74" y="1275"/>
                  </a:lnTo>
                  <a:lnTo>
                    <a:pt x="77" y="1278"/>
                  </a:lnTo>
                  <a:lnTo>
                    <a:pt x="67" y="1284"/>
                  </a:lnTo>
                  <a:lnTo>
                    <a:pt x="52" y="1286"/>
                  </a:lnTo>
                  <a:lnTo>
                    <a:pt x="36" y="1286"/>
                  </a:lnTo>
                  <a:lnTo>
                    <a:pt x="30" y="1281"/>
                  </a:lnTo>
                  <a:lnTo>
                    <a:pt x="24" y="1281"/>
                  </a:lnTo>
                  <a:lnTo>
                    <a:pt x="13" y="1291"/>
                  </a:lnTo>
                  <a:lnTo>
                    <a:pt x="11" y="1296"/>
                  </a:lnTo>
                  <a:lnTo>
                    <a:pt x="4" y="1295"/>
                  </a:lnTo>
                  <a:lnTo>
                    <a:pt x="2" y="1297"/>
                  </a:lnTo>
                  <a:lnTo>
                    <a:pt x="0" y="1305"/>
                  </a:lnTo>
                  <a:lnTo>
                    <a:pt x="16" y="1310"/>
                  </a:lnTo>
                  <a:lnTo>
                    <a:pt x="15" y="1316"/>
                  </a:lnTo>
                  <a:lnTo>
                    <a:pt x="15" y="1322"/>
                  </a:lnTo>
                  <a:lnTo>
                    <a:pt x="10" y="1327"/>
                  </a:lnTo>
                  <a:lnTo>
                    <a:pt x="3" y="1335"/>
                  </a:lnTo>
                  <a:lnTo>
                    <a:pt x="5" y="1343"/>
                  </a:lnTo>
                  <a:lnTo>
                    <a:pt x="3" y="1346"/>
                  </a:lnTo>
                  <a:lnTo>
                    <a:pt x="3" y="1354"/>
                  </a:lnTo>
                  <a:lnTo>
                    <a:pt x="7" y="1358"/>
                  </a:lnTo>
                  <a:lnTo>
                    <a:pt x="7" y="1365"/>
                  </a:lnTo>
                  <a:lnTo>
                    <a:pt x="22" y="1367"/>
                  </a:lnTo>
                  <a:lnTo>
                    <a:pt x="53" y="1356"/>
                  </a:lnTo>
                  <a:lnTo>
                    <a:pt x="59" y="1360"/>
                  </a:lnTo>
                  <a:lnTo>
                    <a:pt x="72" y="1360"/>
                  </a:lnTo>
                  <a:lnTo>
                    <a:pt x="74" y="1349"/>
                  </a:lnTo>
                  <a:lnTo>
                    <a:pt x="83" y="1333"/>
                  </a:lnTo>
                  <a:lnTo>
                    <a:pt x="85" y="1343"/>
                  </a:lnTo>
                  <a:lnTo>
                    <a:pt x="81" y="1356"/>
                  </a:lnTo>
                  <a:lnTo>
                    <a:pt x="88" y="1359"/>
                  </a:lnTo>
                  <a:lnTo>
                    <a:pt x="99" y="1359"/>
                  </a:lnTo>
                  <a:lnTo>
                    <a:pt x="106" y="1356"/>
                  </a:lnTo>
                  <a:lnTo>
                    <a:pt x="111" y="1360"/>
                  </a:lnTo>
                  <a:lnTo>
                    <a:pt x="122" y="1348"/>
                  </a:lnTo>
                  <a:lnTo>
                    <a:pt x="126" y="1324"/>
                  </a:lnTo>
                  <a:lnTo>
                    <a:pt x="138" y="1317"/>
                  </a:lnTo>
                  <a:lnTo>
                    <a:pt x="139" y="1322"/>
                  </a:lnTo>
                  <a:lnTo>
                    <a:pt x="131" y="1338"/>
                  </a:lnTo>
                  <a:lnTo>
                    <a:pt x="129" y="1349"/>
                  </a:lnTo>
                  <a:lnTo>
                    <a:pt x="127" y="1354"/>
                  </a:lnTo>
                  <a:lnTo>
                    <a:pt x="133" y="1353"/>
                  </a:lnTo>
                  <a:lnTo>
                    <a:pt x="140" y="1349"/>
                  </a:lnTo>
                  <a:lnTo>
                    <a:pt x="145" y="1351"/>
                  </a:lnTo>
                  <a:lnTo>
                    <a:pt x="131" y="1362"/>
                  </a:lnTo>
                  <a:lnTo>
                    <a:pt x="113" y="1369"/>
                  </a:lnTo>
                  <a:lnTo>
                    <a:pt x="111" y="1378"/>
                  </a:lnTo>
                  <a:lnTo>
                    <a:pt x="118" y="1385"/>
                  </a:lnTo>
                  <a:lnTo>
                    <a:pt x="105" y="1393"/>
                  </a:lnTo>
                  <a:lnTo>
                    <a:pt x="105" y="1383"/>
                  </a:lnTo>
                  <a:lnTo>
                    <a:pt x="101" y="1376"/>
                  </a:lnTo>
                  <a:lnTo>
                    <a:pt x="91" y="1369"/>
                  </a:lnTo>
                  <a:lnTo>
                    <a:pt x="81" y="1369"/>
                  </a:lnTo>
                  <a:lnTo>
                    <a:pt x="68" y="1372"/>
                  </a:lnTo>
                  <a:lnTo>
                    <a:pt x="57" y="1370"/>
                  </a:lnTo>
                  <a:lnTo>
                    <a:pt x="47" y="1371"/>
                  </a:lnTo>
                  <a:lnTo>
                    <a:pt x="37" y="1370"/>
                  </a:lnTo>
                  <a:lnTo>
                    <a:pt x="29" y="1378"/>
                  </a:lnTo>
                  <a:lnTo>
                    <a:pt x="10" y="1373"/>
                  </a:lnTo>
                  <a:lnTo>
                    <a:pt x="5" y="1386"/>
                  </a:lnTo>
                  <a:lnTo>
                    <a:pt x="4" y="1397"/>
                  </a:lnTo>
                  <a:lnTo>
                    <a:pt x="14" y="1397"/>
                  </a:lnTo>
                  <a:lnTo>
                    <a:pt x="18" y="1396"/>
                  </a:lnTo>
                  <a:lnTo>
                    <a:pt x="18" y="1410"/>
                  </a:lnTo>
                  <a:lnTo>
                    <a:pt x="9" y="1407"/>
                  </a:lnTo>
                  <a:lnTo>
                    <a:pt x="3" y="1401"/>
                  </a:lnTo>
                  <a:lnTo>
                    <a:pt x="2" y="1403"/>
                  </a:lnTo>
                  <a:lnTo>
                    <a:pt x="0" y="1403"/>
                  </a:lnTo>
                  <a:lnTo>
                    <a:pt x="0" y="1407"/>
                  </a:lnTo>
                  <a:lnTo>
                    <a:pt x="10" y="1425"/>
                  </a:lnTo>
                  <a:lnTo>
                    <a:pt x="16" y="1426"/>
                  </a:lnTo>
                  <a:lnTo>
                    <a:pt x="30" y="1418"/>
                  </a:lnTo>
                  <a:lnTo>
                    <a:pt x="38" y="1415"/>
                  </a:lnTo>
                  <a:lnTo>
                    <a:pt x="25" y="1429"/>
                  </a:lnTo>
                  <a:lnTo>
                    <a:pt x="20" y="1436"/>
                  </a:lnTo>
                  <a:lnTo>
                    <a:pt x="24" y="1440"/>
                  </a:lnTo>
                  <a:lnTo>
                    <a:pt x="14" y="1446"/>
                  </a:lnTo>
                  <a:lnTo>
                    <a:pt x="9" y="1452"/>
                  </a:lnTo>
                  <a:lnTo>
                    <a:pt x="10" y="1461"/>
                  </a:lnTo>
                  <a:lnTo>
                    <a:pt x="15" y="1466"/>
                  </a:lnTo>
                  <a:lnTo>
                    <a:pt x="18" y="1472"/>
                  </a:lnTo>
                  <a:lnTo>
                    <a:pt x="24" y="1467"/>
                  </a:lnTo>
                  <a:lnTo>
                    <a:pt x="30" y="1461"/>
                  </a:lnTo>
                  <a:lnTo>
                    <a:pt x="30" y="1469"/>
                  </a:lnTo>
                  <a:lnTo>
                    <a:pt x="38" y="1483"/>
                  </a:lnTo>
                  <a:lnTo>
                    <a:pt x="31" y="1484"/>
                  </a:lnTo>
                  <a:lnTo>
                    <a:pt x="22" y="1490"/>
                  </a:lnTo>
                  <a:lnTo>
                    <a:pt x="22" y="1495"/>
                  </a:lnTo>
                  <a:lnTo>
                    <a:pt x="27" y="1499"/>
                  </a:lnTo>
                  <a:lnTo>
                    <a:pt x="37" y="1493"/>
                  </a:lnTo>
                  <a:lnTo>
                    <a:pt x="43" y="1482"/>
                  </a:lnTo>
                  <a:lnTo>
                    <a:pt x="45" y="1469"/>
                  </a:lnTo>
                  <a:lnTo>
                    <a:pt x="53" y="1463"/>
                  </a:lnTo>
                  <a:lnTo>
                    <a:pt x="63" y="1451"/>
                  </a:lnTo>
                  <a:lnTo>
                    <a:pt x="73" y="1431"/>
                  </a:lnTo>
                  <a:lnTo>
                    <a:pt x="83" y="1423"/>
                  </a:lnTo>
                  <a:lnTo>
                    <a:pt x="88" y="1428"/>
                  </a:lnTo>
                  <a:lnTo>
                    <a:pt x="88" y="1431"/>
                  </a:lnTo>
                  <a:lnTo>
                    <a:pt x="100" y="1429"/>
                  </a:lnTo>
                  <a:lnTo>
                    <a:pt x="110" y="1430"/>
                  </a:lnTo>
                  <a:lnTo>
                    <a:pt x="94" y="1437"/>
                  </a:lnTo>
                  <a:lnTo>
                    <a:pt x="91" y="1448"/>
                  </a:lnTo>
                  <a:lnTo>
                    <a:pt x="89" y="1455"/>
                  </a:lnTo>
                  <a:lnTo>
                    <a:pt x="88" y="1443"/>
                  </a:lnTo>
                  <a:lnTo>
                    <a:pt x="83" y="1442"/>
                  </a:lnTo>
                  <a:lnTo>
                    <a:pt x="74" y="1456"/>
                  </a:lnTo>
                  <a:lnTo>
                    <a:pt x="64" y="1467"/>
                  </a:lnTo>
                  <a:lnTo>
                    <a:pt x="70" y="1472"/>
                  </a:lnTo>
                  <a:lnTo>
                    <a:pt x="70" y="1475"/>
                  </a:lnTo>
                  <a:lnTo>
                    <a:pt x="59" y="1482"/>
                  </a:lnTo>
                  <a:lnTo>
                    <a:pt x="40" y="1506"/>
                  </a:lnTo>
                  <a:lnTo>
                    <a:pt x="47" y="1511"/>
                  </a:lnTo>
                  <a:lnTo>
                    <a:pt x="67" y="1511"/>
                  </a:lnTo>
                  <a:lnTo>
                    <a:pt x="72" y="1506"/>
                  </a:lnTo>
                  <a:lnTo>
                    <a:pt x="74" y="1510"/>
                  </a:lnTo>
                  <a:lnTo>
                    <a:pt x="53" y="1518"/>
                  </a:lnTo>
                  <a:lnTo>
                    <a:pt x="48" y="1525"/>
                  </a:lnTo>
                  <a:lnTo>
                    <a:pt x="47" y="1528"/>
                  </a:lnTo>
                  <a:lnTo>
                    <a:pt x="37" y="1528"/>
                  </a:lnTo>
                  <a:lnTo>
                    <a:pt x="32" y="1531"/>
                  </a:lnTo>
                  <a:lnTo>
                    <a:pt x="26" y="1528"/>
                  </a:lnTo>
                  <a:lnTo>
                    <a:pt x="18" y="1539"/>
                  </a:lnTo>
                  <a:lnTo>
                    <a:pt x="13" y="1549"/>
                  </a:lnTo>
                  <a:lnTo>
                    <a:pt x="13" y="1558"/>
                  </a:lnTo>
                  <a:lnTo>
                    <a:pt x="16" y="1560"/>
                  </a:lnTo>
                  <a:lnTo>
                    <a:pt x="18" y="1564"/>
                  </a:lnTo>
                  <a:lnTo>
                    <a:pt x="26" y="1563"/>
                  </a:lnTo>
                  <a:lnTo>
                    <a:pt x="30" y="1554"/>
                  </a:lnTo>
                  <a:lnTo>
                    <a:pt x="32" y="1563"/>
                  </a:lnTo>
                  <a:lnTo>
                    <a:pt x="40" y="1563"/>
                  </a:lnTo>
                  <a:lnTo>
                    <a:pt x="42" y="1556"/>
                  </a:lnTo>
                  <a:lnTo>
                    <a:pt x="41" y="1550"/>
                  </a:lnTo>
                  <a:lnTo>
                    <a:pt x="48" y="1555"/>
                  </a:lnTo>
                  <a:lnTo>
                    <a:pt x="63" y="1547"/>
                  </a:lnTo>
                  <a:lnTo>
                    <a:pt x="68" y="1541"/>
                  </a:lnTo>
                  <a:lnTo>
                    <a:pt x="73" y="1544"/>
                  </a:lnTo>
                  <a:lnTo>
                    <a:pt x="58" y="1561"/>
                  </a:lnTo>
                  <a:lnTo>
                    <a:pt x="64" y="1561"/>
                  </a:lnTo>
                  <a:lnTo>
                    <a:pt x="64" y="1571"/>
                  </a:lnTo>
                  <a:lnTo>
                    <a:pt x="58" y="1580"/>
                  </a:lnTo>
                  <a:lnTo>
                    <a:pt x="56" y="1587"/>
                  </a:lnTo>
                  <a:lnTo>
                    <a:pt x="50" y="1593"/>
                  </a:lnTo>
                  <a:lnTo>
                    <a:pt x="51" y="1599"/>
                  </a:lnTo>
                  <a:lnTo>
                    <a:pt x="51" y="1604"/>
                  </a:lnTo>
                  <a:lnTo>
                    <a:pt x="45" y="1603"/>
                  </a:lnTo>
                  <a:lnTo>
                    <a:pt x="40" y="1606"/>
                  </a:lnTo>
                  <a:lnTo>
                    <a:pt x="36" y="1598"/>
                  </a:lnTo>
                  <a:lnTo>
                    <a:pt x="32" y="1598"/>
                  </a:lnTo>
                  <a:lnTo>
                    <a:pt x="25" y="1630"/>
                  </a:lnTo>
                  <a:lnTo>
                    <a:pt x="38" y="1647"/>
                  </a:lnTo>
                  <a:lnTo>
                    <a:pt x="59" y="1666"/>
                  </a:lnTo>
                  <a:lnTo>
                    <a:pt x="74" y="1674"/>
                  </a:lnTo>
                  <a:lnTo>
                    <a:pt x="85" y="1677"/>
                  </a:lnTo>
                  <a:lnTo>
                    <a:pt x="92" y="1665"/>
                  </a:lnTo>
                  <a:lnTo>
                    <a:pt x="92" y="1682"/>
                  </a:lnTo>
                  <a:lnTo>
                    <a:pt x="90" y="1694"/>
                  </a:lnTo>
                  <a:lnTo>
                    <a:pt x="96" y="1689"/>
                  </a:lnTo>
                  <a:lnTo>
                    <a:pt x="106" y="1695"/>
                  </a:lnTo>
                  <a:lnTo>
                    <a:pt x="110" y="1685"/>
                  </a:lnTo>
                  <a:lnTo>
                    <a:pt x="124" y="1687"/>
                  </a:lnTo>
                  <a:lnTo>
                    <a:pt x="117" y="1695"/>
                  </a:lnTo>
                  <a:lnTo>
                    <a:pt x="134" y="1701"/>
                  </a:lnTo>
                  <a:lnTo>
                    <a:pt x="145" y="1697"/>
                  </a:lnTo>
                  <a:lnTo>
                    <a:pt x="158" y="1687"/>
                  </a:lnTo>
                  <a:lnTo>
                    <a:pt x="163" y="1673"/>
                  </a:lnTo>
                  <a:lnTo>
                    <a:pt x="170" y="1684"/>
                  </a:lnTo>
                  <a:lnTo>
                    <a:pt x="190" y="1671"/>
                  </a:lnTo>
                  <a:lnTo>
                    <a:pt x="210" y="1644"/>
                  </a:lnTo>
                  <a:lnTo>
                    <a:pt x="221" y="1638"/>
                  </a:lnTo>
                  <a:lnTo>
                    <a:pt x="225" y="1627"/>
                  </a:lnTo>
                  <a:lnTo>
                    <a:pt x="231" y="1622"/>
                  </a:lnTo>
                  <a:lnTo>
                    <a:pt x="234" y="1615"/>
                  </a:lnTo>
                  <a:lnTo>
                    <a:pt x="251" y="1597"/>
                  </a:lnTo>
                  <a:lnTo>
                    <a:pt x="249" y="1590"/>
                  </a:lnTo>
                  <a:lnTo>
                    <a:pt x="261" y="1597"/>
                  </a:lnTo>
                  <a:lnTo>
                    <a:pt x="274" y="1597"/>
                  </a:lnTo>
                  <a:lnTo>
                    <a:pt x="282" y="1593"/>
                  </a:lnTo>
                  <a:lnTo>
                    <a:pt x="285" y="1581"/>
                  </a:lnTo>
                  <a:lnTo>
                    <a:pt x="287" y="1574"/>
                  </a:lnTo>
                  <a:lnTo>
                    <a:pt x="294" y="1566"/>
                  </a:lnTo>
                  <a:lnTo>
                    <a:pt x="293" y="1556"/>
                  </a:lnTo>
                  <a:lnTo>
                    <a:pt x="287" y="1549"/>
                  </a:lnTo>
                  <a:lnTo>
                    <a:pt x="283" y="1541"/>
                  </a:lnTo>
                  <a:lnTo>
                    <a:pt x="285" y="1538"/>
                  </a:lnTo>
                  <a:lnTo>
                    <a:pt x="287" y="1533"/>
                  </a:lnTo>
                  <a:lnTo>
                    <a:pt x="284" y="1522"/>
                  </a:lnTo>
                  <a:lnTo>
                    <a:pt x="289" y="1526"/>
                  </a:lnTo>
                  <a:lnTo>
                    <a:pt x="293" y="1533"/>
                  </a:lnTo>
                  <a:lnTo>
                    <a:pt x="293" y="1541"/>
                  </a:lnTo>
                  <a:lnTo>
                    <a:pt x="299" y="1539"/>
                  </a:lnTo>
                  <a:lnTo>
                    <a:pt x="300" y="1533"/>
                  </a:lnTo>
                  <a:lnTo>
                    <a:pt x="295" y="1525"/>
                  </a:lnTo>
                  <a:lnTo>
                    <a:pt x="294" y="1509"/>
                  </a:lnTo>
                  <a:lnTo>
                    <a:pt x="296" y="1505"/>
                  </a:lnTo>
                  <a:lnTo>
                    <a:pt x="299" y="1506"/>
                  </a:lnTo>
                  <a:lnTo>
                    <a:pt x="305" y="1502"/>
                  </a:lnTo>
                  <a:lnTo>
                    <a:pt x="310" y="1505"/>
                  </a:lnTo>
                  <a:lnTo>
                    <a:pt x="310" y="1512"/>
                  </a:lnTo>
                  <a:lnTo>
                    <a:pt x="303" y="1516"/>
                  </a:lnTo>
                  <a:lnTo>
                    <a:pt x="303" y="1522"/>
                  </a:lnTo>
                  <a:lnTo>
                    <a:pt x="305" y="1533"/>
                  </a:lnTo>
                  <a:lnTo>
                    <a:pt x="307" y="1563"/>
                  </a:lnTo>
                  <a:lnTo>
                    <a:pt x="310" y="1574"/>
                  </a:lnTo>
                  <a:lnTo>
                    <a:pt x="317" y="1572"/>
                  </a:lnTo>
                  <a:lnTo>
                    <a:pt x="327" y="1581"/>
                  </a:lnTo>
                  <a:lnTo>
                    <a:pt x="333" y="1580"/>
                  </a:lnTo>
                  <a:lnTo>
                    <a:pt x="337" y="1587"/>
                  </a:lnTo>
                  <a:lnTo>
                    <a:pt x="339" y="1592"/>
                  </a:lnTo>
                  <a:lnTo>
                    <a:pt x="339" y="1614"/>
                  </a:lnTo>
                  <a:lnTo>
                    <a:pt x="343" y="1601"/>
                  </a:lnTo>
                  <a:lnTo>
                    <a:pt x="347" y="1609"/>
                  </a:lnTo>
                  <a:lnTo>
                    <a:pt x="355" y="1603"/>
                  </a:lnTo>
                  <a:lnTo>
                    <a:pt x="363" y="1566"/>
                  </a:lnTo>
                  <a:lnTo>
                    <a:pt x="359" y="1554"/>
                  </a:lnTo>
                  <a:lnTo>
                    <a:pt x="358" y="1537"/>
                  </a:lnTo>
                  <a:lnTo>
                    <a:pt x="370" y="1516"/>
                  </a:lnTo>
                  <a:lnTo>
                    <a:pt x="370" y="1502"/>
                  </a:lnTo>
                  <a:lnTo>
                    <a:pt x="397" y="1491"/>
                  </a:lnTo>
                  <a:lnTo>
                    <a:pt x="403" y="1480"/>
                  </a:lnTo>
                  <a:lnTo>
                    <a:pt x="405" y="1466"/>
                  </a:lnTo>
                  <a:lnTo>
                    <a:pt x="401" y="1457"/>
                  </a:lnTo>
                  <a:lnTo>
                    <a:pt x="408" y="1428"/>
                  </a:lnTo>
                  <a:lnTo>
                    <a:pt x="400" y="1394"/>
                  </a:lnTo>
                  <a:lnTo>
                    <a:pt x="390" y="1382"/>
                  </a:lnTo>
                  <a:lnTo>
                    <a:pt x="392" y="1375"/>
                  </a:lnTo>
                  <a:lnTo>
                    <a:pt x="407" y="1369"/>
                  </a:lnTo>
                  <a:lnTo>
                    <a:pt x="417" y="1358"/>
                  </a:lnTo>
                  <a:lnTo>
                    <a:pt x="423" y="1339"/>
                  </a:lnTo>
                  <a:lnTo>
                    <a:pt x="420" y="1318"/>
                  </a:lnTo>
                  <a:lnTo>
                    <a:pt x="400" y="1303"/>
                  </a:lnTo>
                  <a:lnTo>
                    <a:pt x="391" y="1287"/>
                  </a:lnTo>
                  <a:lnTo>
                    <a:pt x="390" y="1267"/>
                  </a:lnTo>
                  <a:lnTo>
                    <a:pt x="391" y="1225"/>
                  </a:lnTo>
                  <a:lnTo>
                    <a:pt x="386" y="1210"/>
                  </a:lnTo>
                  <a:lnTo>
                    <a:pt x="384" y="1206"/>
                  </a:lnTo>
                  <a:lnTo>
                    <a:pt x="384" y="1194"/>
                  </a:lnTo>
                  <a:lnTo>
                    <a:pt x="386" y="1186"/>
                  </a:lnTo>
                  <a:lnTo>
                    <a:pt x="386" y="1166"/>
                  </a:lnTo>
                  <a:lnTo>
                    <a:pt x="390" y="1156"/>
                  </a:lnTo>
                  <a:lnTo>
                    <a:pt x="391" y="1144"/>
                  </a:lnTo>
                  <a:lnTo>
                    <a:pt x="397" y="1134"/>
                  </a:lnTo>
                  <a:lnTo>
                    <a:pt x="392" y="1129"/>
                  </a:lnTo>
                  <a:lnTo>
                    <a:pt x="386" y="1116"/>
                  </a:lnTo>
                  <a:lnTo>
                    <a:pt x="382" y="1097"/>
                  </a:lnTo>
                  <a:lnTo>
                    <a:pt x="387" y="1077"/>
                  </a:lnTo>
                  <a:lnTo>
                    <a:pt x="393" y="1063"/>
                  </a:lnTo>
                  <a:lnTo>
                    <a:pt x="418" y="1032"/>
                  </a:lnTo>
                  <a:lnTo>
                    <a:pt x="435" y="1021"/>
                  </a:lnTo>
                  <a:lnTo>
                    <a:pt x="456" y="1015"/>
                  </a:lnTo>
                  <a:lnTo>
                    <a:pt x="473" y="1018"/>
                  </a:lnTo>
                  <a:lnTo>
                    <a:pt x="488" y="1020"/>
                  </a:lnTo>
                  <a:lnTo>
                    <a:pt x="498" y="1007"/>
                  </a:lnTo>
                  <a:lnTo>
                    <a:pt x="500" y="995"/>
                  </a:lnTo>
                  <a:lnTo>
                    <a:pt x="500" y="976"/>
                  </a:lnTo>
                  <a:lnTo>
                    <a:pt x="494" y="964"/>
                  </a:lnTo>
                  <a:lnTo>
                    <a:pt x="479" y="948"/>
                  </a:lnTo>
                  <a:lnTo>
                    <a:pt x="478" y="939"/>
                  </a:lnTo>
                  <a:lnTo>
                    <a:pt x="498" y="907"/>
                  </a:lnTo>
                  <a:lnTo>
                    <a:pt x="515" y="870"/>
                  </a:lnTo>
                  <a:lnTo>
                    <a:pt x="524" y="820"/>
                  </a:lnTo>
                  <a:lnTo>
                    <a:pt x="525" y="790"/>
                  </a:lnTo>
                  <a:lnTo>
                    <a:pt x="525" y="769"/>
                  </a:lnTo>
                  <a:lnTo>
                    <a:pt x="524" y="754"/>
                  </a:lnTo>
                  <a:lnTo>
                    <a:pt x="531" y="750"/>
                  </a:lnTo>
                  <a:lnTo>
                    <a:pt x="542" y="750"/>
                  </a:lnTo>
                  <a:lnTo>
                    <a:pt x="559" y="736"/>
                  </a:lnTo>
                  <a:lnTo>
                    <a:pt x="564" y="724"/>
                  </a:lnTo>
                  <a:lnTo>
                    <a:pt x="567" y="704"/>
                  </a:lnTo>
                  <a:lnTo>
                    <a:pt x="573" y="688"/>
                  </a:lnTo>
                  <a:lnTo>
                    <a:pt x="596" y="657"/>
                  </a:lnTo>
                  <a:lnTo>
                    <a:pt x="604" y="644"/>
                  </a:lnTo>
                  <a:lnTo>
                    <a:pt x="616" y="629"/>
                  </a:lnTo>
                  <a:lnTo>
                    <a:pt x="622" y="618"/>
                  </a:lnTo>
                  <a:lnTo>
                    <a:pt x="624" y="609"/>
                  </a:lnTo>
                  <a:lnTo>
                    <a:pt x="623" y="596"/>
                  </a:lnTo>
                  <a:lnTo>
                    <a:pt x="610" y="574"/>
                  </a:lnTo>
                  <a:lnTo>
                    <a:pt x="613" y="560"/>
                  </a:lnTo>
                  <a:lnTo>
                    <a:pt x="627" y="543"/>
                  </a:lnTo>
                  <a:lnTo>
                    <a:pt x="633" y="532"/>
                  </a:lnTo>
                  <a:lnTo>
                    <a:pt x="635" y="520"/>
                  </a:lnTo>
                  <a:lnTo>
                    <a:pt x="639" y="503"/>
                  </a:lnTo>
                  <a:lnTo>
                    <a:pt x="648" y="492"/>
                  </a:lnTo>
                  <a:lnTo>
                    <a:pt x="666" y="472"/>
                  </a:lnTo>
                  <a:lnTo>
                    <a:pt x="678" y="469"/>
                  </a:lnTo>
                  <a:lnTo>
                    <a:pt x="691" y="476"/>
                  </a:lnTo>
                  <a:lnTo>
                    <a:pt x="701" y="488"/>
                  </a:lnTo>
                  <a:lnTo>
                    <a:pt x="704" y="490"/>
                  </a:lnTo>
                  <a:lnTo>
                    <a:pt x="714" y="473"/>
                  </a:lnTo>
                  <a:lnTo>
                    <a:pt x="719" y="452"/>
                  </a:lnTo>
                  <a:lnTo>
                    <a:pt x="721" y="442"/>
                  </a:lnTo>
                  <a:lnTo>
                    <a:pt x="719" y="419"/>
                  </a:lnTo>
                  <a:lnTo>
                    <a:pt x="724" y="409"/>
                  </a:lnTo>
                  <a:lnTo>
                    <a:pt x="729" y="404"/>
                  </a:lnTo>
                  <a:lnTo>
                    <a:pt x="739" y="403"/>
                  </a:lnTo>
                  <a:lnTo>
                    <a:pt x="769" y="407"/>
                  </a:lnTo>
                  <a:lnTo>
                    <a:pt x="812" y="423"/>
                  </a:lnTo>
                  <a:lnTo>
                    <a:pt x="821" y="420"/>
                  </a:lnTo>
                  <a:lnTo>
                    <a:pt x="828" y="412"/>
                  </a:lnTo>
                  <a:lnTo>
                    <a:pt x="819" y="403"/>
                  </a:lnTo>
                  <a:lnTo>
                    <a:pt x="817" y="392"/>
                  </a:lnTo>
                  <a:lnTo>
                    <a:pt x="823" y="382"/>
                  </a:lnTo>
                  <a:lnTo>
                    <a:pt x="827" y="366"/>
                  </a:lnTo>
                  <a:lnTo>
                    <a:pt x="831" y="361"/>
                  </a:lnTo>
                  <a:lnTo>
                    <a:pt x="833" y="352"/>
                  </a:lnTo>
                  <a:lnTo>
                    <a:pt x="832" y="342"/>
                  </a:lnTo>
                  <a:lnTo>
                    <a:pt x="827" y="336"/>
                  </a:lnTo>
                  <a:lnTo>
                    <a:pt x="826" y="326"/>
                  </a:lnTo>
                  <a:lnTo>
                    <a:pt x="831" y="323"/>
                  </a:lnTo>
                  <a:lnTo>
                    <a:pt x="854" y="323"/>
                  </a:lnTo>
                  <a:lnTo>
                    <a:pt x="857" y="316"/>
                  </a:lnTo>
                  <a:lnTo>
                    <a:pt x="865" y="313"/>
                  </a:lnTo>
                  <a:lnTo>
                    <a:pt x="874" y="317"/>
                  </a:lnTo>
                  <a:lnTo>
                    <a:pt x="882" y="313"/>
                  </a:lnTo>
                  <a:lnTo>
                    <a:pt x="880" y="302"/>
                  </a:lnTo>
                  <a:lnTo>
                    <a:pt x="879" y="290"/>
                  </a:lnTo>
                  <a:lnTo>
                    <a:pt x="891" y="283"/>
                  </a:lnTo>
                  <a:lnTo>
                    <a:pt x="906" y="289"/>
                  </a:lnTo>
                  <a:lnTo>
                    <a:pt x="917" y="300"/>
                  </a:lnTo>
                  <a:lnTo>
                    <a:pt x="947" y="344"/>
                  </a:lnTo>
                  <a:lnTo>
                    <a:pt x="952" y="363"/>
                  </a:lnTo>
                  <a:lnTo>
                    <a:pt x="957" y="371"/>
                  </a:lnTo>
                  <a:lnTo>
                    <a:pt x="983" y="375"/>
                  </a:lnTo>
                  <a:lnTo>
                    <a:pt x="998" y="383"/>
                  </a:lnTo>
                  <a:lnTo>
                    <a:pt x="1010" y="382"/>
                  </a:lnTo>
                  <a:lnTo>
                    <a:pt x="1025" y="374"/>
                  </a:lnTo>
                  <a:lnTo>
                    <a:pt x="1042" y="353"/>
                  </a:lnTo>
                  <a:lnTo>
                    <a:pt x="1052" y="360"/>
                  </a:lnTo>
                  <a:lnTo>
                    <a:pt x="1061" y="374"/>
                  </a:lnTo>
                  <a:lnTo>
                    <a:pt x="1064" y="382"/>
                  </a:lnTo>
                  <a:lnTo>
                    <a:pt x="1074" y="385"/>
                  </a:lnTo>
                  <a:lnTo>
                    <a:pt x="1090" y="377"/>
                  </a:lnTo>
                  <a:lnTo>
                    <a:pt x="1102" y="368"/>
                  </a:lnTo>
                  <a:lnTo>
                    <a:pt x="1111" y="354"/>
                  </a:lnTo>
                  <a:lnTo>
                    <a:pt x="1137" y="334"/>
                  </a:lnTo>
                  <a:lnTo>
                    <a:pt x="1139" y="322"/>
                  </a:lnTo>
                  <a:lnTo>
                    <a:pt x="1137" y="299"/>
                  </a:lnTo>
                  <a:lnTo>
                    <a:pt x="1137" y="285"/>
                  </a:lnTo>
                  <a:lnTo>
                    <a:pt x="1140" y="243"/>
                  </a:lnTo>
                  <a:lnTo>
                    <a:pt x="1154" y="212"/>
                  </a:lnTo>
                  <a:lnTo>
                    <a:pt x="1164" y="199"/>
                  </a:lnTo>
                  <a:lnTo>
                    <a:pt x="1177" y="192"/>
                  </a:lnTo>
                  <a:lnTo>
                    <a:pt x="1202" y="189"/>
                  </a:lnTo>
                  <a:lnTo>
                    <a:pt x="1240" y="172"/>
                  </a:lnTo>
                  <a:lnTo>
                    <a:pt x="1263" y="167"/>
                  </a:lnTo>
                  <a:lnTo>
                    <a:pt x="1268" y="172"/>
                  </a:lnTo>
                  <a:lnTo>
                    <a:pt x="1278" y="193"/>
                  </a:lnTo>
                  <a:lnTo>
                    <a:pt x="1289" y="202"/>
                  </a:lnTo>
                  <a:lnTo>
                    <a:pt x="1307" y="208"/>
                  </a:lnTo>
                  <a:lnTo>
                    <a:pt x="1325" y="225"/>
                  </a:lnTo>
                  <a:lnTo>
                    <a:pt x="1332" y="253"/>
                  </a:lnTo>
                  <a:lnTo>
                    <a:pt x="1333" y="269"/>
                  </a:lnTo>
                  <a:lnTo>
                    <a:pt x="1314" y="294"/>
                  </a:lnTo>
                  <a:lnTo>
                    <a:pt x="1310" y="306"/>
                  </a:lnTo>
                  <a:lnTo>
                    <a:pt x="1311" y="317"/>
                  </a:lnTo>
                  <a:lnTo>
                    <a:pt x="1321" y="325"/>
                  </a:lnTo>
                  <a:lnTo>
                    <a:pt x="1323" y="323"/>
                  </a:lnTo>
                  <a:lnTo>
                    <a:pt x="1332" y="315"/>
                  </a:lnTo>
                  <a:lnTo>
                    <a:pt x="1333" y="311"/>
                  </a:lnTo>
                  <a:lnTo>
                    <a:pt x="1334" y="300"/>
                  </a:lnTo>
                  <a:lnTo>
                    <a:pt x="1337" y="295"/>
                  </a:lnTo>
                  <a:lnTo>
                    <a:pt x="1369" y="275"/>
                  </a:lnTo>
                  <a:lnTo>
                    <a:pt x="1375" y="269"/>
                  </a:lnTo>
                  <a:lnTo>
                    <a:pt x="1381" y="239"/>
                  </a:lnTo>
                  <a:lnTo>
                    <a:pt x="1403" y="252"/>
                  </a:lnTo>
                  <a:lnTo>
                    <a:pt x="1416" y="250"/>
                  </a:lnTo>
                  <a:lnTo>
                    <a:pt x="1418" y="243"/>
                  </a:lnTo>
                  <a:lnTo>
                    <a:pt x="1422" y="231"/>
                  </a:lnTo>
                  <a:lnTo>
                    <a:pt x="1422" y="220"/>
                  </a:lnTo>
                  <a:lnTo>
                    <a:pt x="1419" y="21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04" name="Freeform 216">
              <a:extLst>
                <a:ext uri="{FF2B5EF4-FFF2-40B4-BE49-F238E27FC236}">
                  <a16:creationId xmlns:a16="http://schemas.microsoft.com/office/drawing/2014/main" id="{60DEA708-12ED-E200-9714-BC00D6F5162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094026" y="1333714"/>
              <a:ext cx="382040" cy="934346"/>
            </a:xfrm>
            <a:custGeom>
              <a:avLst/>
              <a:gdLst>
                <a:gd name="T0" fmla="*/ 0 w 715"/>
                <a:gd name="T1" fmla="*/ 2147483647 h 1640"/>
                <a:gd name="T2" fmla="*/ 0 w 715"/>
                <a:gd name="T3" fmla="*/ 2147483647 h 1640"/>
                <a:gd name="T4" fmla="*/ 0 w 715"/>
                <a:gd name="T5" fmla="*/ 2147483647 h 1640"/>
                <a:gd name="T6" fmla="*/ 0 w 715"/>
                <a:gd name="T7" fmla="*/ 2147483647 h 1640"/>
                <a:gd name="T8" fmla="*/ 0 w 715"/>
                <a:gd name="T9" fmla="*/ 2147483647 h 1640"/>
                <a:gd name="T10" fmla="*/ 0 w 715"/>
                <a:gd name="T11" fmla="*/ 2147483647 h 1640"/>
                <a:gd name="T12" fmla="*/ 0 w 715"/>
                <a:gd name="T13" fmla="*/ 2147483647 h 1640"/>
                <a:gd name="T14" fmla="*/ 0 w 715"/>
                <a:gd name="T15" fmla="*/ 2147483647 h 1640"/>
                <a:gd name="T16" fmla="*/ 0 w 715"/>
                <a:gd name="T17" fmla="*/ 2147483647 h 1640"/>
                <a:gd name="T18" fmla="*/ 0 w 715"/>
                <a:gd name="T19" fmla="*/ 2147483647 h 1640"/>
                <a:gd name="T20" fmla="*/ 0 w 715"/>
                <a:gd name="T21" fmla="*/ 2147483647 h 1640"/>
                <a:gd name="T22" fmla="*/ 0 w 715"/>
                <a:gd name="T23" fmla="*/ 2147483647 h 1640"/>
                <a:gd name="T24" fmla="*/ 0 w 715"/>
                <a:gd name="T25" fmla="*/ 2147483647 h 1640"/>
                <a:gd name="T26" fmla="*/ 0 w 715"/>
                <a:gd name="T27" fmla="*/ 2147483647 h 1640"/>
                <a:gd name="T28" fmla="*/ 2147483647 w 715"/>
                <a:gd name="T29" fmla="*/ 2147483647 h 1640"/>
                <a:gd name="T30" fmla="*/ 2147483647 w 715"/>
                <a:gd name="T31" fmla="*/ 2147483647 h 1640"/>
                <a:gd name="T32" fmla="*/ 2147483647 w 715"/>
                <a:gd name="T33" fmla="*/ 2147483647 h 1640"/>
                <a:gd name="T34" fmla="*/ 0 w 715"/>
                <a:gd name="T35" fmla="*/ 2147483647 h 1640"/>
                <a:gd name="T36" fmla="*/ 2147483647 w 715"/>
                <a:gd name="T37" fmla="*/ 2147483647 h 1640"/>
                <a:gd name="T38" fmla="*/ 2147483647 w 715"/>
                <a:gd name="T39" fmla="*/ 2147483647 h 1640"/>
                <a:gd name="T40" fmla="*/ 2147483647 w 715"/>
                <a:gd name="T41" fmla="*/ 2147483647 h 1640"/>
                <a:gd name="T42" fmla="*/ 2147483647 w 715"/>
                <a:gd name="T43" fmla="*/ 2147483647 h 1640"/>
                <a:gd name="T44" fmla="*/ 0 w 715"/>
                <a:gd name="T45" fmla="*/ 2147483647 h 1640"/>
                <a:gd name="T46" fmla="*/ 2147483647 w 715"/>
                <a:gd name="T47" fmla="*/ 2147483647 h 1640"/>
                <a:gd name="T48" fmla="*/ 2147483647 w 715"/>
                <a:gd name="T49" fmla="*/ 2147483647 h 1640"/>
                <a:gd name="T50" fmla="*/ 2147483647 w 715"/>
                <a:gd name="T51" fmla="*/ 2147483647 h 1640"/>
                <a:gd name="T52" fmla="*/ 2147483647 w 715"/>
                <a:gd name="T53" fmla="*/ 2147483647 h 1640"/>
                <a:gd name="T54" fmla="*/ 2147483647 w 715"/>
                <a:gd name="T55" fmla="*/ 2147483647 h 1640"/>
                <a:gd name="T56" fmla="*/ 2147483647 w 715"/>
                <a:gd name="T57" fmla="*/ 2147483647 h 1640"/>
                <a:gd name="T58" fmla="*/ 2147483647 w 715"/>
                <a:gd name="T59" fmla="*/ 2147483647 h 1640"/>
                <a:gd name="T60" fmla="*/ 2147483647 w 715"/>
                <a:gd name="T61" fmla="*/ 2147483647 h 1640"/>
                <a:gd name="T62" fmla="*/ 2147483647 w 715"/>
                <a:gd name="T63" fmla="*/ 2147483647 h 1640"/>
                <a:gd name="T64" fmla="*/ 2147483647 w 715"/>
                <a:gd name="T65" fmla="*/ 2147483647 h 1640"/>
                <a:gd name="T66" fmla="*/ 2147483647 w 715"/>
                <a:gd name="T67" fmla="*/ 2147483647 h 1640"/>
                <a:gd name="T68" fmla="*/ 2147483647 w 715"/>
                <a:gd name="T69" fmla="*/ 2147483647 h 1640"/>
                <a:gd name="T70" fmla="*/ 2147483647 w 715"/>
                <a:gd name="T71" fmla="*/ 2147483647 h 1640"/>
                <a:gd name="T72" fmla="*/ 2147483647 w 715"/>
                <a:gd name="T73" fmla="*/ 2147483647 h 1640"/>
                <a:gd name="T74" fmla="*/ 2147483647 w 715"/>
                <a:gd name="T75" fmla="*/ 2147483647 h 1640"/>
                <a:gd name="T76" fmla="*/ 2147483647 w 715"/>
                <a:gd name="T77" fmla="*/ 2147483647 h 1640"/>
                <a:gd name="T78" fmla="*/ 2147483647 w 715"/>
                <a:gd name="T79" fmla="*/ 2147483647 h 1640"/>
                <a:gd name="T80" fmla="*/ 2147483647 w 715"/>
                <a:gd name="T81" fmla="*/ 2147483647 h 1640"/>
                <a:gd name="T82" fmla="*/ 2147483647 w 715"/>
                <a:gd name="T83" fmla="*/ 0 h 1640"/>
                <a:gd name="T84" fmla="*/ 2147483647 w 715"/>
                <a:gd name="T85" fmla="*/ 0 h 1640"/>
                <a:gd name="T86" fmla="*/ 2147483647 w 715"/>
                <a:gd name="T87" fmla="*/ 0 h 1640"/>
                <a:gd name="T88" fmla="*/ 2147483647 w 715"/>
                <a:gd name="T89" fmla="*/ 0 h 1640"/>
                <a:gd name="T90" fmla="*/ 2147483647 w 715"/>
                <a:gd name="T91" fmla="*/ 0 h 1640"/>
                <a:gd name="T92" fmla="*/ 2147483647 w 715"/>
                <a:gd name="T93" fmla="*/ 0 h 1640"/>
                <a:gd name="T94" fmla="*/ 2147483647 w 715"/>
                <a:gd name="T95" fmla="*/ 0 h 1640"/>
                <a:gd name="T96" fmla="*/ 0 w 715"/>
                <a:gd name="T97" fmla="*/ 0 h 1640"/>
                <a:gd name="T98" fmla="*/ 0 w 715"/>
                <a:gd name="T99" fmla="*/ 2147483647 h 1640"/>
                <a:gd name="T100" fmla="*/ 0 w 715"/>
                <a:gd name="T101" fmla="*/ 2147483647 h 1640"/>
                <a:gd name="T102" fmla="*/ 0 w 715"/>
                <a:gd name="T103" fmla="*/ 2147483647 h 1640"/>
                <a:gd name="T104" fmla="*/ 0 w 715"/>
                <a:gd name="T105" fmla="*/ 2147483647 h 1640"/>
                <a:gd name="T106" fmla="*/ 0 w 715"/>
                <a:gd name="T107" fmla="*/ 2147483647 h 1640"/>
                <a:gd name="T108" fmla="*/ 0 w 715"/>
                <a:gd name="T109" fmla="*/ 2147483647 h 1640"/>
                <a:gd name="T110" fmla="*/ 0 w 715"/>
                <a:gd name="T111" fmla="*/ 2147483647 h 1640"/>
                <a:gd name="T112" fmla="*/ 0 w 715"/>
                <a:gd name="T113" fmla="*/ 2147483647 h 1640"/>
                <a:gd name="T114" fmla="*/ 0 w 715"/>
                <a:gd name="T115" fmla="*/ 2147483647 h 164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15"/>
                <a:gd name="T175" fmla="*/ 0 h 1640"/>
                <a:gd name="T176" fmla="*/ 715 w 715"/>
                <a:gd name="T177" fmla="*/ 1640 h 164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15" h="1640">
                  <a:moveTo>
                    <a:pt x="6" y="1264"/>
                  </a:moveTo>
                  <a:lnTo>
                    <a:pt x="0" y="1276"/>
                  </a:lnTo>
                  <a:lnTo>
                    <a:pt x="0" y="1288"/>
                  </a:lnTo>
                  <a:lnTo>
                    <a:pt x="5" y="1328"/>
                  </a:lnTo>
                  <a:lnTo>
                    <a:pt x="7" y="1333"/>
                  </a:lnTo>
                  <a:lnTo>
                    <a:pt x="12" y="1335"/>
                  </a:lnTo>
                  <a:lnTo>
                    <a:pt x="13" y="1339"/>
                  </a:lnTo>
                  <a:lnTo>
                    <a:pt x="15" y="1346"/>
                  </a:lnTo>
                  <a:lnTo>
                    <a:pt x="13" y="1350"/>
                  </a:lnTo>
                  <a:lnTo>
                    <a:pt x="19" y="1343"/>
                  </a:lnTo>
                  <a:lnTo>
                    <a:pt x="21" y="1335"/>
                  </a:lnTo>
                  <a:lnTo>
                    <a:pt x="26" y="1340"/>
                  </a:lnTo>
                  <a:lnTo>
                    <a:pt x="22" y="1350"/>
                  </a:lnTo>
                  <a:lnTo>
                    <a:pt x="27" y="1349"/>
                  </a:lnTo>
                  <a:lnTo>
                    <a:pt x="29" y="1351"/>
                  </a:lnTo>
                  <a:lnTo>
                    <a:pt x="24" y="1355"/>
                  </a:lnTo>
                  <a:lnTo>
                    <a:pt x="17" y="1366"/>
                  </a:lnTo>
                  <a:lnTo>
                    <a:pt x="33" y="1371"/>
                  </a:lnTo>
                  <a:lnTo>
                    <a:pt x="35" y="1381"/>
                  </a:lnTo>
                  <a:lnTo>
                    <a:pt x="33" y="1398"/>
                  </a:lnTo>
                  <a:lnTo>
                    <a:pt x="43" y="1396"/>
                  </a:lnTo>
                  <a:lnTo>
                    <a:pt x="45" y="1407"/>
                  </a:lnTo>
                  <a:lnTo>
                    <a:pt x="39" y="1415"/>
                  </a:lnTo>
                  <a:lnTo>
                    <a:pt x="42" y="1431"/>
                  </a:lnTo>
                  <a:lnTo>
                    <a:pt x="40" y="1442"/>
                  </a:lnTo>
                  <a:lnTo>
                    <a:pt x="49" y="1442"/>
                  </a:lnTo>
                  <a:lnTo>
                    <a:pt x="54" y="1456"/>
                  </a:lnTo>
                  <a:lnTo>
                    <a:pt x="56" y="1468"/>
                  </a:lnTo>
                  <a:lnTo>
                    <a:pt x="62" y="1487"/>
                  </a:lnTo>
                  <a:lnTo>
                    <a:pt x="74" y="1496"/>
                  </a:lnTo>
                  <a:lnTo>
                    <a:pt x="78" y="1509"/>
                  </a:lnTo>
                  <a:lnTo>
                    <a:pt x="91" y="1516"/>
                  </a:lnTo>
                  <a:lnTo>
                    <a:pt x="98" y="1526"/>
                  </a:lnTo>
                  <a:lnTo>
                    <a:pt x="98" y="1534"/>
                  </a:lnTo>
                  <a:lnTo>
                    <a:pt x="92" y="1538"/>
                  </a:lnTo>
                  <a:lnTo>
                    <a:pt x="85" y="1537"/>
                  </a:lnTo>
                  <a:lnTo>
                    <a:pt x="82" y="1541"/>
                  </a:lnTo>
                  <a:lnTo>
                    <a:pt x="89" y="1557"/>
                  </a:lnTo>
                  <a:lnTo>
                    <a:pt x="82" y="1555"/>
                  </a:lnTo>
                  <a:lnTo>
                    <a:pt x="75" y="1553"/>
                  </a:lnTo>
                  <a:lnTo>
                    <a:pt x="75" y="1559"/>
                  </a:lnTo>
                  <a:lnTo>
                    <a:pt x="91" y="1593"/>
                  </a:lnTo>
                  <a:lnTo>
                    <a:pt x="98" y="1604"/>
                  </a:lnTo>
                  <a:lnTo>
                    <a:pt x="102" y="1614"/>
                  </a:lnTo>
                  <a:lnTo>
                    <a:pt x="99" y="1620"/>
                  </a:lnTo>
                  <a:lnTo>
                    <a:pt x="98" y="1631"/>
                  </a:lnTo>
                  <a:lnTo>
                    <a:pt x="94" y="1633"/>
                  </a:lnTo>
                  <a:lnTo>
                    <a:pt x="93" y="1638"/>
                  </a:lnTo>
                  <a:lnTo>
                    <a:pt x="107" y="1636"/>
                  </a:lnTo>
                  <a:lnTo>
                    <a:pt x="118" y="1640"/>
                  </a:lnTo>
                  <a:lnTo>
                    <a:pt x="136" y="1634"/>
                  </a:lnTo>
                  <a:lnTo>
                    <a:pt x="152" y="1633"/>
                  </a:lnTo>
                  <a:lnTo>
                    <a:pt x="163" y="1638"/>
                  </a:lnTo>
                  <a:lnTo>
                    <a:pt x="168" y="1634"/>
                  </a:lnTo>
                  <a:lnTo>
                    <a:pt x="172" y="1620"/>
                  </a:lnTo>
                  <a:lnTo>
                    <a:pt x="169" y="1598"/>
                  </a:lnTo>
                  <a:lnTo>
                    <a:pt x="174" y="1585"/>
                  </a:lnTo>
                  <a:lnTo>
                    <a:pt x="180" y="1574"/>
                  </a:lnTo>
                  <a:lnTo>
                    <a:pt x="189" y="1576"/>
                  </a:lnTo>
                  <a:lnTo>
                    <a:pt x="194" y="1566"/>
                  </a:lnTo>
                  <a:lnTo>
                    <a:pt x="204" y="1559"/>
                  </a:lnTo>
                  <a:lnTo>
                    <a:pt x="218" y="1560"/>
                  </a:lnTo>
                  <a:lnTo>
                    <a:pt x="227" y="1564"/>
                  </a:lnTo>
                  <a:lnTo>
                    <a:pt x="238" y="1560"/>
                  </a:lnTo>
                  <a:lnTo>
                    <a:pt x="250" y="1564"/>
                  </a:lnTo>
                  <a:lnTo>
                    <a:pt x="261" y="1564"/>
                  </a:lnTo>
                  <a:lnTo>
                    <a:pt x="266" y="1544"/>
                  </a:lnTo>
                  <a:lnTo>
                    <a:pt x="276" y="1522"/>
                  </a:lnTo>
                  <a:lnTo>
                    <a:pt x="285" y="1505"/>
                  </a:lnTo>
                  <a:lnTo>
                    <a:pt x="286" y="1484"/>
                  </a:lnTo>
                  <a:lnTo>
                    <a:pt x="291" y="1472"/>
                  </a:lnTo>
                  <a:lnTo>
                    <a:pt x="290" y="1457"/>
                  </a:lnTo>
                  <a:lnTo>
                    <a:pt x="293" y="1446"/>
                  </a:lnTo>
                  <a:lnTo>
                    <a:pt x="298" y="1435"/>
                  </a:lnTo>
                  <a:lnTo>
                    <a:pt x="298" y="1424"/>
                  </a:lnTo>
                  <a:lnTo>
                    <a:pt x="295" y="1418"/>
                  </a:lnTo>
                  <a:lnTo>
                    <a:pt x="300" y="1407"/>
                  </a:lnTo>
                  <a:lnTo>
                    <a:pt x="298" y="1398"/>
                  </a:lnTo>
                  <a:lnTo>
                    <a:pt x="293" y="1392"/>
                  </a:lnTo>
                  <a:lnTo>
                    <a:pt x="292" y="1386"/>
                  </a:lnTo>
                  <a:lnTo>
                    <a:pt x="293" y="1382"/>
                  </a:lnTo>
                  <a:lnTo>
                    <a:pt x="300" y="1385"/>
                  </a:lnTo>
                  <a:lnTo>
                    <a:pt x="304" y="1385"/>
                  </a:lnTo>
                  <a:lnTo>
                    <a:pt x="301" y="1378"/>
                  </a:lnTo>
                  <a:lnTo>
                    <a:pt x="302" y="1374"/>
                  </a:lnTo>
                  <a:lnTo>
                    <a:pt x="304" y="1367"/>
                  </a:lnTo>
                  <a:lnTo>
                    <a:pt x="304" y="1362"/>
                  </a:lnTo>
                  <a:lnTo>
                    <a:pt x="307" y="1345"/>
                  </a:lnTo>
                  <a:lnTo>
                    <a:pt x="306" y="1340"/>
                  </a:lnTo>
                  <a:lnTo>
                    <a:pt x="297" y="1334"/>
                  </a:lnTo>
                  <a:lnTo>
                    <a:pt x="288" y="1329"/>
                  </a:lnTo>
                  <a:lnTo>
                    <a:pt x="291" y="1328"/>
                  </a:lnTo>
                  <a:lnTo>
                    <a:pt x="300" y="1332"/>
                  </a:lnTo>
                  <a:lnTo>
                    <a:pt x="309" y="1329"/>
                  </a:lnTo>
                  <a:lnTo>
                    <a:pt x="312" y="1326"/>
                  </a:lnTo>
                  <a:lnTo>
                    <a:pt x="302" y="1317"/>
                  </a:lnTo>
                  <a:lnTo>
                    <a:pt x="274" y="1312"/>
                  </a:lnTo>
                  <a:lnTo>
                    <a:pt x="276" y="1310"/>
                  </a:lnTo>
                  <a:lnTo>
                    <a:pt x="298" y="1307"/>
                  </a:lnTo>
                  <a:lnTo>
                    <a:pt x="311" y="1311"/>
                  </a:lnTo>
                  <a:lnTo>
                    <a:pt x="318" y="1307"/>
                  </a:lnTo>
                  <a:lnTo>
                    <a:pt x="320" y="1299"/>
                  </a:lnTo>
                  <a:lnTo>
                    <a:pt x="334" y="1297"/>
                  </a:lnTo>
                  <a:lnTo>
                    <a:pt x="345" y="1286"/>
                  </a:lnTo>
                  <a:lnTo>
                    <a:pt x="350" y="1279"/>
                  </a:lnTo>
                  <a:lnTo>
                    <a:pt x="350" y="1268"/>
                  </a:lnTo>
                  <a:lnTo>
                    <a:pt x="359" y="1270"/>
                  </a:lnTo>
                  <a:lnTo>
                    <a:pt x="359" y="1281"/>
                  </a:lnTo>
                  <a:lnTo>
                    <a:pt x="371" y="1280"/>
                  </a:lnTo>
                  <a:lnTo>
                    <a:pt x="378" y="1268"/>
                  </a:lnTo>
                  <a:lnTo>
                    <a:pt x="392" y="1256"/>
                  </a:lnTo>
                  <a:lnTo>
                    <a:pt x="389" y="1243"/>
                  </a:lnTo>
                  <a:lnTo>
                    <a:pt x="394" y="1248"/>
                  </a:lnTo>
                  <a:lnTo>
                    <a:pt x="400" y="1248"/>
                  </a:lnTo>
                  <a:lnTo>
                    <a:pt x="400" y="1242"/>
                  </a:lnTo>
                  <a:lnTo>
                    <a:pt x="406" y="1237"/>
                  </a:lnTo>
                  <a:lnTo>
                    <a:pt x="405" y="1232"/>
                  </a:lnTo>
                  <a:lnTo>
                    <a:pt x="352" y="1243"/>
                  </a:lnTo>
                  <a:lnTo>
                    <a:pt x="341" y="1241"/>
                  </a:lnTo>
                  <a:lnTo>
                    <a:pt x="336" y="1245"/>
                  </a:lnTo>
                  <a:lnTo>
                    <a:pt x="334" y="1238"/>
                  </a:lnTo>
                  <a:lnTo>
                    <a:pt x="328" y="1232"/>
                  </a:lnTo>
                  <a:lnTo>
                    <a:pt x="303" y="1222"/>
                  </a:lnTo>
                  <a:lnTo>
                    <a:pt x="290" y="1225"/>
                  </a:lnTo>
                  <a:lnTo>
                    <a:pt x="284" y="1221"/>
                  </a:lnTo>
                  <a:lnTo>
                    <a:pt x="290" y="1219"/>
                  </a:lnTo>
                  <a:lnTo>
                    <a:pt x="293" y="1211"/>
                  </a:lnTo>
                  <a:lnTo>
                    <a:pt x="300" y="1214"/>
                  </a:lnTo>
                  <a:lnTo>
                    <a:pt x="308" y="1211"/>
                  </a:lnTo>
                  <a:lnTo>
                    <a:pt x="320" y="1213"/>
                  </a:lnTo>
                  <a:lnTo>
                    <a:pt x="322" y="1211"/>
                  </a:lnTo>
                  <a:lnTo>
                    <a:pt x="331" y="1221"/>
                  </a:lnTo>
                  <a:lnTo>
                    <a:pt x="338" y="1218"/>
                  </a:lnTo>
                  <a:lnTo>
                    <a:pt x="339" y="1214"/>
                  </a:lnTo>
                  <a:lnTo>
                    <a:pt x="345" y="1220"/>
                  </a:lnTo>
                  <a:lnTo>
                    <a:pt x="352" y="1222"/>
                  </a:lnTo>
                  <a:lnTo>
                    <a:pt x="356" y="1216"/>
                  </a:lnTo>
                  <a:lnTo>
                    <a:pt x="359" y="1220"/>
                  </a:lnTo>
                  <a:lnTo>
                    <a:pt x="363" y="1230"/>
                  </a:lnTo>
                  <a:lnTo>
                    <a:pt x="371" y="1232"/>
                  </a:lnTo>
                  <a:lnTo>
                    <a:pt x="403" y="1216"/>
                  </a:lnTo>
                  <a:lnTo>
                    <a:pt x="414" y="1198"/>
                  </a:lnTo>
                  <a:lnTo>
                    <a:pt x="419" y="1193"/>
                  </a:lnTo>
                  <a:lnTo>
                    <a:pt x="422" y="1176"/>
                  </a:lnTo>
                  <a:lnTo>
                    <a:pt x="416" y="1161"/>
                  </a:lnTo>
                  <a:lnTo>
                    <a:pt x="404" y="1152"/>
                  </a:lnTo>
                  <a:lnTo>
                    <a:pt x="394" y="1138"/>
                  </a:lnTo>
                  <a:lnTo>
                    <a:pt x="403" y="1136"/>
                  </a:lnTo>
                  <a:lnTo>
                    <a:pt x="402" y="1133"/>
                  </a:lnTo>
                  <a:lnTo>
                    <a:pt x="381" y="1123"/>
                  </a:lnTo>
                  <a:lnTo>
                    <a:pt x="379" y="1113"/>
                  </a:lnTo>
                  <a:lnTo>
                    <a:pt x="374" y="1103"/>
                  </a:lnTo>
                  <a:lnTo>
                    <a:pt x="357" y="1106"/>
                  </a:lnTo>
                  <a:lnTo>
                    <a:pt x="352" y="1100"/>
                  </a:lnTo>
                  <a:lnTo>
                    <a:pt x="351" y="1096"/>
                  </a:lnTo>
                  <a:lnTo>
                    <a:pt x="347" y="1095"/>
                  </a:lnTo>
                  <a:lnTo>
                    <a:pt x="347" y="1098"/>
                  </a:lnTo>
                  <a:lnTo>
                    <a:pt x="341" y="1118"/>
                  </a:lnTo>
                  <a:lnTo>
                    <a:pt x="333" y="1129"/>
                  </a:lnTo>
                  <a:lnTo>
                    <a:pt x="314" y="1143"/>
                  </a:lnTo>
                  <a:lnTo>
                    <a:pt x="308" y="1148"/>
                  </a:lnTo>
                  <a:lnTo>
                    <a:pt x="298" y="1148"/>
                  </a:lnTo>
                  <a:lnTo>
                    <a:pt x="287" y="1151"/>
                  </a:lnTo>
                  <a:lnTo>
                    <a:pt x="280" y="1149"/>
                  </a:lnTo>
                  <a:lnTo>
                    <a:pt x="288" y="1143"/>
                  </a:lnTo>
                  <a:lnTo>
                    <a:pt x="300" y="1140"/>
                  </a:lnTo>
                  <a:lnTo>
                    <a:pt x="309" y="1132"/>
                  </a:lnTo>
                  <a:lnTo>
                    <a:pt x="319" y="1127"/>
                  </a:lnTo>
                  <a:lnTo>
                    <a:pt x="336" y="1112"/>
                  </a:lnTo>
                  <a:lnTo>
                    <a:pt x="339" y="1102"/>
                  </a:lnTo>
                  <a:lnTo>
                    <a:pt x="339" y="1089"/>
                  </a:lnTo>
                  <a:lnTo>
                    <a:pt x="330" y="1087"/>
                  </a:lnTo>
                  <a:lnTo>
                    <a:pt x="334" y="1080"/>
                  </a:lnTo>
                  <a:lnTo>
                    <a:pt x="335" y="1069"/>
                  </a:lnTo>
                  <a:lnTo>
                    <a:pt x="331" y="1060"/>
                  </a:lnTo>
                  <a:lnTo>
                    <a:pt x="328" y="1032"/>
                  </a:lnTo>
                  <a:lnTo>
                    <a:pt x="329" y="1015"/>
                  </a:lnTo>
                  <a:lnTo>
                    <a:pt x="325" y="992"/>
                  </a:lnTo>
                  <a:lnTo>
                    <a:pt x="327" y="985"/>
                  </a:lnTo>
                  <a:lnTo>
                    <a:pt x="330" y="977"/>
                  </a:lnTo>
                  <a:lnTo>
                    <a:pt x="329" y="971"/>
                  </a:lnTo>
                  <a:lnTo>
                    <a:pt x="344" y="979"/>
                  </a:lnTo>
                  <a:lnTo>
                    <a:pt x="345" y="971"/>
                  </a:lnTo>
                  <a:lnTo>
                    <a:pt x="340" y="950"/>
                  </a:lnTo>
                  <a:lnTo>
                    <a:pt x="345" y="928"/>
                  </a:lnTo>
                  <a:lnTo>
                    <a:pt x="350" y="910"/>
                  </a:lnTo>
                  <a:lnTo>
                    <a:pt x="343" y="901"/>
                  </a:lnTo>
                  <a:lnTo>
                    <a:pt x="340" y="892"/>
                  </a:lnTo>
                  <a:lnTo>
                    <a:pt x="340" y="879"/>
                  </a:lnTo>
                  <a:lnTo>
                    <a:pt x="356" y="887"/>
                  </a:lnTo>
                  <a:lnTo>
                    <a:pt x="357" y="885"/>
                  </a:lnTo>
                  <a:lnTo>
                    <a:pt x="361" y="881"/>
                  </a:lnTo>
                  <a:lnTo>
                    <a:pt x="367" y="872"/>
                  </a:lnTo>
                  <a:lnTo>
                    <a:pt x="368" y="870"/>
                  </a:lnTo>
                  <a:lnTo>
                    <a:pt x="367" y="866"/>
                  </a:lnTo>
                  <a:lnTo>
                    <a:pt x="370" y="850"/>
                  </a:lnTo>
                  <a:lnTo>
                    <a:pt x="365" y="839"/>
                  </a:lnTo>
                  <a:lnTo>
                    <a:pt x="366" y="831"/>
                  </a:lnTo>
                  <a:lnTo>
                    <a:pt x="368" y="840"/>
                  </a:lnTo>
                  <a:lnTo>
                    <a:pt x="377" y="848"/>
                  </a:lnTo>
                  <a:lnTo>
                    <a:pt x="381" y="847"/>
                  </a:lnTo>
                  <a:lnTo>
                    <a:pt x="386" y="837"/>
                  </a:lnTo>
                  <a:lnTo>
                    <a:pt x="393" y="840"/>
                  </a:lnTo>
                  <a:lnTo>
                    <a:pt x="394" y="833"/>
                  </a:lnTo>
                  <a:lnTo>
                    <a:pt x="398" y="827"/>
                  </a:lnTo>
                  <a:lnTo>
                    <a:pt x="387" y="822"/>
                  </a:lnTo>
                  <a:lnTo>
                    <a:pt x="394" y="823"/>
                  </a:lnTo>
                  <a:lnTo>
                    <a:pt x="403" y="817"/>
                  </a:lnTo>
                  <a:lnTo>
                    <a:pt x="403" y="812"/>
                  </a:lnTo>
                  <a:lnTo>
                    <a:pt x="410" y="809"/>
                  </a:lnTo>
                  <a:lnTo>
                    <a:pt x="411" y="799"/>
                  </a:lnTo>
                  <a:lnTo>
                    <a:pt x="417" y="796"/>
                  </a:lnTo>
                  <a:lnTo>
                    <a:pt x="417" y="784"/>
                  </a:lnTo>
                  <a:lnTo>
                    <a:pt x="425" y="783"/>
                  </a:lnTo>
                  <a:lnTo>
                    <a:pt x="435" y="785"/>
                  </a:lnTo>
                  <a:lnTo>
                    <a:pt x="446" y="775"/>
                  </a:lnTo>
                  <a:lnTo>
                    <a:pt x="449" y="764"/>
                  </a:lnTo>
                  <a:lnTo>
                    <a:pt x="464" y="753"/>
                  </a:lnTo>
                  <a:lnTo>
                    <a:pt x="470" y="761"/>
                  </a:lnTo>
                  <a:lnTo>
                    <a:pt x="481" y="753"/>
                  </a:lnTo>
                  <a:lnTo>
                    <a:pt x="484" y="743"/>
                  </a:lnTo>
                  <a:lnTo>
                    <a:pt x="492" y="737"/>
                  </a:lnTo>
                  <a:lnTo>
                    <a:pt x="500" y="740"/>
                  </a:lnTo>
                  <a:lnTo>
                    <a:pt x="503" y="735"/>
                  </a:lnTo>
                  <a:lnTo>
                    <a:pt x="516" y="727"/>
                  </a:lnTo>
                  <a:lnTo>
                    <a:pt x="521" y="719"/>
                  </a:lnTo>
                  <a:lnTo>
                    <a:pt x="528" y="715"/>
                  </a:lnTo>
                  <a:lnTo>
                    <a:pt x="535" y="699"/>
                  </a:lnTo>
                  <a:lnTo>
                    <a:pt x="538" y="691"/>
                  </a:lnTo>
                  <a:lnTo>
                    <a:pt x="549" y="677"/>
                  </a:lnTo>
                  <a:lnTo>
                    <a:pt x="555" y="664"/>
                  </a:lnTo>
                  <a:lnTo>
                    <a:pt x="562" y="651"/>
                  </a:lnTo>
                  <a:lnTo>
                    <a:pt x="566" y="646"/>
                  </a:lnTo>
                  <a:lnTo>
                    <a:pt x="567" y="651"/>
                  </a:lnTo>
                  <a:lnTo>
                    <a:pt x="566" y="662"/>
                  </a:lnTo>
                  <a:lnTo>
                    <a:pt x="576" y="649"/>
                  </a:lnTo>
                  <a:lnTo>
                    <a:pt x="577" y="644"/>
                  </a:lnTo>
                  <a:lnTo>
                    <a:pt x="572" y="639"/>
                  </a:lnTo>
                  <a:lnTo>
                    <a:pt x="571" y="633"/>
                  </a:lnTo>
                  <a:lnTo>
                    <a:pt x="556" y="618"/>
                  </a:lnTo>
                  <a:lnTo>
                    <a:pt x="555" y="612"/>
                  </a:lnTo>
                  <a:lnTo>
                    <a:pt x="558" y="610"/>
                  </a:lnTo>
                  <a:lnTo>
                    <a:pt x="556" y="602"/>
                  </a:lnTo>
                  <a:lnTo>
                    <a:pt x="551" y="596"/>
                  </a:lnTo>
                  <a:lnTo>
                    <a:pt x="551" y="594"/>
                  </a:lnTo>
                  <a:lnTo>
                    <a:pt x="556" y="589"/>
                  </a:lnTo>
                  <a:lnTo>
                    <a:pt x="558" y="582"/>
                  </a:lnTo>
                  <a:lnTo>
                    <a:pt x="566" y="579"/>
                  </a:lnTo>
                  <a:lnTo>
                    <a:pt x="576" y="554"/>
                  </a:lnTo>
                  <a:lnTo>
                    <a:pt x="577" y="547"/>
                  </a:lnTo>
                  <a:lnTo>
                    <a:pt x="567" y="530"/>
                  </a:lnTo>
                  <a:lnTo>
                    <a:pt x="569" y="527"/>
                  </a:lnTo>
                  <a:lnTo>
                    <a:pt x="580" y="520"/>
                  </a:lnTo>
                  <a:lnTo>
                    <a:pt x="580" y="512"/>
                  </a:lnTo>
                  <a:lnTo>
                    <a:pt x="585" y="511"/>
                  </a:lnTo>
                  <a:lnTo>
                    <a:pt x="592" y="515"/>
                  </a:lnTo>
                  <a:lnTo>
                    <a:pt x="596" y="514"/>
                  </a:lnTo>
                  <a:lnTo>
                    <a:pt x="597" y="506"/>
                  </a:lnTo>
                  <a:lnTo>
                    <a:pt x="593" y="503"/>
                  </a:lnTo>
                  <a:lnTo>
                    <a:pt x="603" y="501"/>
                  </a:lnTo>
                  <a:lnTo>
                    <a:pt x="604" y="495"/>
                  </a:lnTo>
                  <a:lnTo>
                    <a:pt x="593" y="481"/>
                  </a:lnTo>
                  <a:lnTo>
                    <a:pt x="593" y="476"/>
                  </a:lnTo>
                  <a:lnTo>
                    <a:pt x="605" y="484"/>
                  </a:lnTo>
                  <a:lnTo>
                    <a:pt x="610" y="493"/>
                  </a:lnTo>
                  <a:lnTo>
                    <a:pt x="614" y="493"/>
                  </a:lnTo>
                  <a:lnTo>
                    <a:pt x="613" y="476"/>
                  </a:lnTo>
                  <a:lnTo>
                    <a:pt x="614" y="478"/>
                  </a:lnTo>
                  <a:lnTo>
                    <a:pt x="618" y="476"/>
                  </a:lnTo>
                  <a:lnTo>
                    <a:pt x="619" y="455"/>
                  </a:lnTo>
                  <a:lnTo>
                    <a:pt x="623" y="454"/>
                  </a:lnTo>
                  <a:lnTo>
                    <a:pt x="628" y="454"/>
                  </a:lnTo>
                  <a:lnTo>
                    <a:pt x="628" y="460"/>
                  </a:lnTo>
                  <a:lnTo>
                    <a:pt x="631" y="465"/>
                  </a:lnTo>
                  <a:lnTo>
                    <a:pt x="635" y="467"/>
                  </a:lnTo>
                  <a:lnTo>
                    <a:pt x="640" y="454"/>
                  </a:lnTo>
                  <a:lnTo>
                    <a:pt x="645" y="457"/>
                  </a:lnTo>
                  <a:lnTo>
                    <a:pt x="651" y="468"/>
                  </a:lnTo>
                  <a:lnTo>
                    <a:pt x="655" y="468"/>
                  </a:lnTo>
                  <a:lnTo>
                    <a:pt x="661" y="473"/>
                  </a:lnTo>
                  <a:lnTo>
                    <a:pt x="666" y="461"/>
                  </a:lnTo>
                  <a:lnTo>
                    <a:pt x="691" y="458"/>
                  </a:lnTo>
                  <a:lnTo>
                    <a:pt x="700" y="465"/>
                  </a:lnTo>
                  <a:lnTo>
                    <a:pt x="706" y="472"/>
                  </a:lnTo>
                  <a:lnTo>
                    <a:pt x="710" y="465"/>
                  </a:lnTo>
                  <a:lnTo>
                    <a:pt x="715" y="461"/>
                  </a:lnTo>
                  <a:lnTo>
                    <a:pt x="712" y="449"/>
                  </a:lnTo>
                  <a:lnTo>
                    <a:pt x="698" y="415"/>
                  </a:lnTo>
                  <a:lnTo>
                    <a:pt x="694" y="395"/>
                  </a:lnTo>
                  <a:lnTo>
                    <a:pt x="698" y="377"/>
                  </a:lnTo>
                  <a:lnTo>
                    <a:pt x="706" y="364"/>
                  </a:lnTo>
                  <a:lnTo>
                    <a:pt x="707" y="354"/>
                  </a:lnTo>
                  <a:lnTo>
                    <a:pt x="707" y="342"/>
                  </a:lnTo>
                  <a:lnTo>
                    <a:pt x="687" y="296"/>
                  </a:lnTo>
                  <a:lnTo>
                    <a:pt x="684" y="279"/>
                  </a:lnTo>
                  <a:lnTo>
                    <a:pt x="690" y="258"/>
                  </a:lnTo>
                  <a:lnTo>
                    <a:pt x="688" y="243"/>
                  </a:lnTo>
                  <a:lnTo>
                    <a:pt x="683" y="237"/>
                  </a:lnTo>
                  <a:lnTo>
                    <a:pt x="682" y="223"/>
                  </a:lnTo>
                  <a:lnTo>
                    <a:pt x="682" y="202"/>
                  </a:lnTo>
                  <a:lnTo>
                    <a:pt x="683" y="186"/>
                  </a:lnTo>
                  <a:lnTo>
                    <a:pt x="688" y="173"/>
                  </a:lnTo>
                  <a:lnTo>
                    <a:pt x="685" y="166"/>
                  </a:lnTo>
                  <a:lnTo>
                    <a:pt x="653" y="110"/>
                  </a:lnTo>
                  <a:lnTo>
                    <a:pt x="635" y="92"/>
                  </a:lnTo>
                  <a:lnTo>
                    <a:pt x="599" y="81"/>
                  </a:lnTo>
                  <a:lnTo>
                    <a:pt x="569" y="51"/>
                  </a:lnTo>
                  <a:lnTo>
                    <a:pt x="528" y="5"/>
                  </a:lnTo>
                  <a:lnTo>
                    <a:pt x="526" y="0"/>
                  </a:lnTo>
                  <a:lnTo>
                    <a:pt x="523" y="0"/>
                  </a:lnTo>
                  <a:lnTo>
                    <a:pt x="500" y="0"/>
                  </a:lnTo>
                  <a:lnTo>
                    <a:pt x="495" y="3"/>
                  </a:lnTo>
                  <a:lnTo>
                    <a:pt x="496" y="13"/>
                  </a:lnTo>
                  <a:lnTo>
                    <a:pt x="501" y="17"/>
                  </a:lnTo>
                  <a:lnTo>
                    <a:pt x="502" y="29"/>
                  </a:lnTo>
                  <a:lnTo>
                    <a:pt x="500" y="38"/>
                  </a:lnTo>
                  <a:lnTo>
                    <a:pt x="496" y="43"/>
                  </a:lnTo>
                  <a:lnTo>
                    <a:pt x="492" y="58"/>
                  </a:lnTo>
                  <a:lnTo>
                    <a:pt x="486" y="69"/>
                  </a:lnTo>
                  <a:lnTo>
                    <a:pt x="488" y="79"/>
                  </a:lnTo>
                  <a:lnTo>
                    <a:pt x="497" y="89"/>
                  </a:lnTo>
                  <a:lnTo>
                    <a:pt x="490" y="97"/>
                  </a:lnTo>
                  <a:lnTo>
                    <a:pt x="481" y="100"/>
                  </a:lnTo>
                  <a:lnTo>
                    <a:pt x="438" y="84"/>
                  </a:lnTo>
                  <a:lnTo>
                    <a:pt x="408" y="80"/>
                  </a:lnTo>
                  <a:lnTo>
                    <a:pt x="398" y="81"/>
                  </a:lnTo>
                  <a:lnTo>
                    <a:pt x="393" y="86"/>
                  </a:lnTo>
                  <a:lnTo>
                    <a:pt x="388" y="96"/>
                  </a:lnTo>
                  <a:lnTo>
                    <a:pt x="390" y="119"/>
                  </a:lnTo>
                  <a:lnTo>
                    <a:pt x="388" y="129"/>
                  </a:lnTo>
                  <a:lnTo>
                    <a:pt x="383" y="150"/>
                  </a:lnTo>
                  <a:lnTo>
                    <a:pt x="373" y="166"/>
                  </a:lnTo>
                  <a:lnTo>
                    <a:pt x="370" y="165"/>
                  </a:lnTo>
                  <a:lnTo>
                    <a:pt x="360" y="153"/>
                  </a:lnTo>
                  <a:lnTo>
                    <a:pt x="347" y="145"/>
                  </a:lnTo>
                  <a:lnTo>
                    <a:pt x="335" y="149"/>
                  </a:lnTo>
                  <a:lnTo>
                    <a:pt x="317" y="167"/>
                  </a:lnTo>
                  <a:lnTo>
                    <a:pt x="308" y="180"/>
                  </a:lnTo>
                  <a:lnTo>
                    <a:pt x="304" y="196"/>
                  </a:lnTo>
                  <a:lnTo>
                    <a:pt x="302" y="209"/>
                  </a:lnTo>
                  <a:lnTo>
                    <a:pt x="296" y="219"/>
                  </a:lnTo>
                  <a:lnTo>
                    <a:pt x="282" y="237"/>
                  </a:lnTo>
                  <a:lnTo>
                    <a:pt x="279" y="251"/>
                  </a:lnTo>
                  <a:lnTo>
                    <a:pt x="292" y="273"/>
                  </a:lnTo>
                  <a:lnTo>
                    <a:pt x="293" y="285"/>
                  </a:lnTo>
                  <a:lnTo>
                    <a:pt x="291" y="294"/>
                  </a:lnTo>
                  <a:lnTo>
                    <a:pt x="285" y="306"/>
                  </a:lnTo>
                  <a:lnTo>
                    <a:pt x="273" y="320"/>
                  </a:lnTo>
                  <a:lnTo>
                    <a:pt x="265" y="334"/>
                  </a:lnTo>
                  <a:lnTo>
                    <a:pt x="242" y="364"/>
                  </a:lnTo>
                  <a:lnTo>
                    <a:pt x="236" y="381"/>
                  </a:lnTo>
                  <a:lnTo>
                    <a:pt x="233" y="401"/>
                  </a:lnTo>
                  <a:lnTo>
                    <a:pt x="228" y="413"/>
                  </a:lnTo>
                  <a:lnTo>
                    <a:pt x="211" y="427"/>
                  </a:lnTo>
                  <a:lnTo>
                    <a:pt x="200" y="427"/>
                  </a:lnTo>
                  <a:lnTo>
                    <a:pt x="193" y="431"/>
                  </a:lnTo>
                  <a:lnTo>
                    <a:pt x="194" y="446"/>
                  </a:lnTo>
                  <a:lnTo>
                    <a:pt x="194" y="467"/>
                  </a:lnTo>
                  <a:lnTo>
                    <a:pt x="193" y="497"/>
                  </a:lnTo>
                  <a:lnTo>
                    <a:pt x="184" y="547"/>
                  </a:lnTo>
                  <a:lnTo>
                    <a:pt x="167" y="584"/>
                  </a:lnTo>
                  <a:lnTo>
                    <a:pt x="147" y="616"/>
                  </a:lnTo>
                  <a:lnTo>
                    <a:pt x="148" y="625"/>
                  </a:lnTo>
                  <a:lnTo>
                    <a:pt x="163" y="641"/>
                  </a:lnTo>
                  <a:lnTo>
                    <a:pt x="169" y="653"/>
                  </a:lnTo>
                  <a:lnTo>
                    <a:pt x="169" y="672"/>
                  </a:lnTo>
                  <a:lnTo>
                    <a:pt x="167" y="683"/>
                  </a:lnTo>
                  <a:lnTo>
                    <a:pt x="157" y="695"/>
                  </a:lnTo>
                  <a:lnTo>
                    <a:pt x="142" y="695"/>
                  </a:lnTo>
                  <a:lnTo>
                    <a:pt x="125" y="692"/>
                  </a:lnTo>
                  <a:lnTo>
                    <a:pt x="104" y="697"/>
                  </a:lnTo>
                  <a:lnTo>
                    <a:pt x="87" y="708"/>
                  </a:lnTo>
                  <a:lnTo>
                    <a:pt x="62" y="738"/>
                  </a:lnTo>
                  <a:lnTo>
                    <a:pt x="56" y="754"/>
                  </a:lnTo>
                  <a:lnTo>
                    <a:pt x="51" y="774"/>
                  </a:lnTo>
                  <a:lnTo>
                    <a:pt x="55" y="793"/>
                  </a:lnTo>
                  <a:lnTo>
                    <a:pt x="61" y="806"/>
                  </a:lnTo>
                  <a:lnTo>
                    <a:pt x="66" y="811"/>
                  </a:lnTo>
                  <a:lnTo>
                    <a:pt x="60" y="821"/>
                  </a:lnTo>
                  <a:lnTo>
                    <a:pt x="59" y="833"/>
                  </a:lnTo>
                  <a:lnTo>
                    <a:pt x="55" y="843"/>
                  </a:lnTo>
                  <a:lnTo>
                    <a:pt x="55" y="863"/>
                  </a:lnTo>
                  <a:lnTo>
                    <a:pt x="53" y="871"/>
                  </a:lnTo>
                  <a:lnTo>
                    <a:pt x="53" y="883"/>
                  </a:lnTo>
                  <a:lnTo>
                    <a:pt x="55" y="886"/>
                  </a:lnTo>
                  <a:lnTo>
                    <a:pt x="60" y="902"/>
                  </a:lnTo>
                  <a:lnTo>
                    <a:pt x="59" y="944"/>
                  </a:lnTo>
                  <a:lnTo>
                    <a:pt x="60" y="964"/>
                  </a:lnTo>
                  <a:lnTo>
                    <a:pt x="69" y="979"/>
                  </a:lnTo>
                  <a:lnTo>
                    <a:pt x="89" y="995"/>
                  </a:lnTo>
                  <a:lnTo>
                    <a:pt x="92" y="1016"/>
                  </a:lnTo>
                  <a:lnTo>
                    <a:pt x="86" y="1035"/>
                  </a:lnTo>
                  <a:lnTo>
                    <a:pt x="76" y="1046"/>
                  </a:lnTo>
                  <a:lnTo>
                    <a:pt x="61" y="1052"/>
                  </a:lnTo>
                  <a:lnTo>
                    <a:pt x="59" y="1058"/>
                  </a:lnTo>
                  <a:lnTo>
                    <a:pt x="69" y="1071"/>
                  </a:lnTo>
                  <a:lnTo>
                    <a:pt x="77" y="1105"/>
                  </a:lnTo>
                  <a:lnTo>
                    <a:pt x="70" y="1134"/>
                  </a:lnTo>
                  <a:lnTo>
                    <a:pt x="74" y="1143"/>
                  </a:lnTo>
                  <a:lnTo>
                    <a:pt x="72" y="1157"/>
                  </a:lnTo>
                  <a:lnTo>
                    <a:pt x="66" y="1168"/>
                  </a:lnTo>
                  <a:lnTo>
                    <a:pt x="39" y="1179"/>
                  </a:lnTo>
                  <a:lnTo>
                    <a:pt x="39" y="1193"/>
                  </a:lnTo>
                  <a:lnTo>
                    <a:pt x="27" y="1214"/>
                  </a:lnTo>
                  <a:lnTo>
                    <a:pt x="28" y="1230"/>
                  </a:lnTo>
                  <a:lnTo>
                    <a:pt x="32" y="1242"/>
                  </a:lnTo>
                  <a:lnTo>
                    <a:pt x="24" y="1280"/>
                  </a:lnTo>
                  <a:lnTo>
                    <a:pt x="16" y="1286"/>
                  </a:lnTo>
                  <a:lnTo>
                    <a:pt x="12" y="1278"/>
                  </a:lnTo>
                  <a:lnTo>
                    <a:pt x="8" y="1291"/>
                  </a:lnTo>
                  <a:lnTo>
                    <a:pt x="8" y="1268"/>
                  </a:lnTo>
                  <a:lnTo>
                    <a:pt x="6" y="126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05" name="Freeform 218">
              <a:extLst>
                <a:ext uri="{FF2B5EF4-FFF2-40B4-BE49-F238E27FC236}">
                  <a16:creationId xmlns:a16="http://schemas.microsoft.com/office/drawing/2014/main" id="{AB01C7B5-3F51-E0E0-CEBE-BAFA9C47815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083580" y="24"/>
              <a:ext cx="314884" cy="531952"/>
            </a:xfrm>
            <a:custGeom>
              <a:avLst/>
              <a:gdLst>
                <a:gd name="T0" fmla="*/ 0 w 591"/>
                <a:gd name="T1" fmla="*/ 0 h 937"/>
                <a:gd name="T2" fmla="*/ 0 w 591"/>
                <a:gd name="T3" fmla="*/ 0 h 937"/>
                <a:gd name="T4" fmla="*/ 0 w 591"/>
                <a:gd name="T5" fmla="*/ 0 h 937"/>
                <a:gd name="T6" fmla="*/ 0 w 591"/>
                <a:gd name="T7" fmla="*/ 0 h 937"/>
                <a:gd name="T8" fmla="*/ 0 w 591"/>
                <a:gd name="T9" fmla="*/ 0 h 937"/>
                <a:gd name="T10" fmla="*/ 0 w 591"/>
                <a:gd name="T11" fmla="*/ 0 h 937"/>
                <a:gd name="T12" fmla="*/ 0 w 591"/>
                <a:gd name="T13" fmla="*/ 0 h 937"/>
                <a:gd name="T14" fmla="*/ 0 w 591"/>
                <a:gd name="T15" fmla="*/ 0 h 937"/>
                <a:gd name="T16" fmla="*/ 0 w 591"/>
                <a:gd name="T17" fmla="*/ 0 h 937"/>
                <a:gd name="T18" fmla="*/ 0 w 591"/>
                <a:gd name="T19" fmla="*/ 0 h 937"/>
                <a:gd name="T20" fmla="*/ 0 w 591"/>
                <a:gd name="T21" fmla="*/ 0 h 937"/>
                <a:gd name="T22" fmla="*/ 0 w 591"/>
                <a:gd name="T23" fmla="*/ 0 h 937"/>
                <a:gd name="T24" fmla="*/ 0 w 591"/>
                <a:gd name="T25" fmla="*/ 0 h 937"/>
                <a:gd name="T26" fmla="*/ 0 w 591"/>
                <a:gd name="T27" fmla="*/ 0 h 937"/>
                <a:gd name="T28" fmla="*/ 0 w 591"/>
                <a:gd name="T29" fmla="*/ 0 h 937"/>
                <a:gd name="T30" fmla="*/ 0 w 591"/>
                <a:gd name="T31" fmla="*/ 0 h 937"/>
                <a:gd name="T32" fmla="*/ 0 w 591"/>
                <a:gd name="T33" fmla="*/ 0 h 937"/>
                <a:gd name="T34" fmla="*/ 0 w 591"/>
                <a:gd name="T35" fmla="*/ 2147483647 h 937"/>
                <a:gd name="T36" fmla="*/ 0 w 591"/>
                <a:gd name="T37" fmla="*/ 2147483647 h 937"/>
                <a:gd name="T38" fmla="*/ 0 w 591"/>
                <a:gd name="T39" fmla="*/ 2147483647 h 937"/>
                <a:gd name="T40" fmla="*/ 0 w 591"/>
                <a:gd name="T41" fmla="*/ 2147483647 h 937"/>
                <a:gd name="T42" fmla="*/ 0 w 591"/>
                <a:gd name="T43" fmla="*/ 2147483647 h 937"/>
                <a:gd name="T44" fmla="*/ 0 w 591"/>
                <a:gd name="T45" fmla="*/ 2147483647 h 937"/>
                <a:gd name="T46" fmla="*/ 0 w 591"/>
                <a:gd name="T47" fmla="*/ 2147483647 h 937"/>
                <a:gd name="T48" fmla="*/ 0 w 591"/>
                <a:gd name="T49" fmla="*/ 2147483647 h 937"/>
                <a:gd name="T50" fmla="*/ 0 w 591"/>
                <a:gd name="T51" fmla="*/ 2147483647 h 937"/>
                <a:gd name="T52" fmla="*/ 2147483647 w 591"/>
                <a:gd name="T53" fmla="*/ 2147483647 h 937"/>
                <a:gd name="T54" fmla="*/ 2147483647 w 591"/>
                <a:gd name="T55" fmla="*/ 2147483647 h 937"/>
                <a:gd name="T56" fmla="*/ 2147483647 w 591"/>
                <a:gd name="T57" fmla="*/ 2147483647 h 937"/>
                <a:gd name="T58" fmla="*/ 0 w 591"/>
                <a:gd name="T59" fmla="*/ 2147483647 h 937"/>
                <a:gd name="T60" fmla="*/ 0 w 591"/>
                <a:gd name="T61" fmla="*/ 2147483647 h 937"/>
                <a:gd name="T62" fmla="*/ 0 w 591"/>
                <a:gd name="T63" fmla="*/ 2147483647 h 937"/>
                <a:gd name="T64" fmla="*/ 0 w 591"/>
                <a:gd name="T65" fmla="*/ 2147483647 h 937"/>
                <a:gd name="T66" fmla="*/ 0 w 591"/>
                <a:gd name="T67" fmla="*/ 2147483647 h 937"/>
                <a:gd name="T68" fmla="*/ 2147483647 w 591"/>
                <a:gd name="T69" fmla="*/ 2147483647 h 937"/>
                <a:gd name="T70" fmla="*/ 2147483647 w 591"/>
                <a:gd name="T71" fmla="*/ 2147483647 h 937"/>
                <a:gd name="T72" fmla="*/ 0 w 591"/>
                <a:gd name="T73" fmla="*/ 2147483647 h 937"/>
                <a:gd name="T74" fmla="*/ 0 w 591"/>
                <a:gd name="T75" fmla="*/ 2147483647 h 937"/>
                <a:gd name="T76" fmla="*/ 0 w 591"/>
                <a:gd name="T77" fmla="*/ 2147483647 h 937"/>
                <a:gd name="T78" fmla="*/ 0 w 591"/>
                <a:gd name="T79" fmla="*/ 2147483647 h 937"/>
                <a:gd name="T80" fmla="*/ 0 w 591"/>
                <a:gd name="T81" fmla="*/ 2147483647 h 937"/>
                <a:gd name="T82" fmla="*/ 0 w 591"/>
                <a:gd name="T83" fmla="*/ 2147483647 h 937"/>
                <a:gd name="T84" fmla="*/ 2147483647 w 591"/>
                <a:gd name="T85" fmla="*/ 2147483647 h 937"/>
                <a:gd name="T86" fmla="*/ 2147483647 w 591"/>
                <a:gd name="T87" fmla="*/ 2147483647 h 937"/>
                <a:gd name="T88" fmla="*/ 2147483647 w 591"/>
                <a:gd name="T89" fmla="*/ 2147483647 h 937"/>
                <a:gd name="T90" fmla="*/ 2147483647 w 591"/>
                <a:gd name="T91" fmla="*/ 2147483647 h 937"/>
                <a:gd name="T92" fmla="*/ 2147483647 w 591"/>
                <a:gd name="T93" fmla="*/ 2147483647 h 937"/>
                <a:gd name="T94" fmla="*/ 2147483647 w 591"/>
                <a:gd name="T95" fmla="*/ 2147483647 h 937"/>
                <a:gd name="T96" fmla="*/ 2147483647 w 591"/>
                <a:gd name="T97" fmla="*/ 2147483647 h 937"/>
                <a:gd name="T98" fmla="*/ 2147483647 w 591"/>
                <a:gd name="T99" fmla="*/ 2147483647 h 937"/>
                <a:gd name="T100" fmla="*/ 2147483647 w 591"/>
                <a:gd name="T101" fmla="*/ 2147483647 h 937"/>
                <a:gd name="T102" fmla="*/ 2147483647 w 591"/>
                <a:gd name="T103" fmla="*/ 2147483647 h 937"/>
                <a:gd name="T104" fmla="*/ 2147483647 w 591"/>
                <a:gd name="T105" fmla="*/ 0 h 937"/>
                <a:gd name="T106" fmla="*/ 2147483647 w 591"/>
                <a:gd name="T107" fmla="*/ 0 h 937"/>
                <a:gd name="T108" fmla="*/ 2147483647 w 591"/>
                <a:gd name="T109" fmla="*/ 0 h 937"/>
                <a:gd name="T110" fmla="*/ 2147483647 w 591"/>
                <a:gd name="T111" fmla="*/ 0 h 937"/>
                <a:gd name="T112" fmla="*/ 2147483647 w 591"/>
                <a:gd name="T113" fmla="*/ 0 h 937"/>
                <a:gd name="T114" fmla="*/ 0 w 591"/>
                <a:gd name="T115" fmla="*/ 0 h 93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91"/>
                <a:gd name="T175" fmla="*/ 0 h 937"/>
                <a:gd name="T176" fmla="*/ 591 w 591"/>
                <a:gd name="T177" fmla="*/ 937 h 93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91" h="937">
                  <a:moveTo>
                    <a:pt x="290" y="22"/>
                  </a:moveTo>
                  <a:lnTo>
                    <a:pt x="289" y="29"/>
                  </a:lnTo>
                  <a:lnTo>
                    <a:pt x="294" y="43"/>
                  </a:lnTo>
                  <a:lnTo>
                    <a:pt x="279" y="45"/>
                  </a:lnTo>
                  <a:lnTo>
                    <a:pt x="278" y="57"/>
                  </a:lnTo>
                  <a:lnTo>
                    <a:pt x="278" y="68"/>
                  </a:lnTo>
                  <a:lnTo>
                    <a:pt x="274" y="79"/>
                  </a:lnTo>
                  <a:lnTo>
                    <a:pt x="274" y="96"/>
                  </a:lnTo>
                  <a:lnTo>
                    <a:pt x="279" y="96"/>
                  </a:lnTo>
                  <a:lnTo>
                    <a:pt x="279" y="109"/>
                  </a:lnTo>
                  <a:lnTo>
                    <a:pt x="280" y="133"/>
                  </a:lnTo>
                  <a:lnTo>
                    <a:pt x="283" y="140"/>
                  </a:lnTo>
                  <a:lnTo>
                    <a:pt x="283" y="182"/>
                  </a:lnTo>
                  <a:lnTo>
                    <a:pt x="285" y="195"/>
                  </a:lnTo>
                  <a:lnTo>
                    <a:pt x="288" y="226"/>
                  </a:lnTo>
                  <a:lnTo>
                    <a:pt x="291" y="233"/>
                  </a:lnTo>
                  <a:lnTo>
                    <a:pt x="293" y="258"/>
                  </a:lnTo>
                  <a:lnTo>
                    <a:pt x="318" y="325"/>
                  </a:lnTo>
                  <a:lnTo>
                    <a:pt x="317" y="329"/>
                  </a:lnTo>
                  <a:lnTo>
                    <a:pt x="308" y="327"/>
                  </a:lnTo>
                  <a:lnTo>
                    <a:pt x="296" y="312"/>
                  </a:lnTo>
                  <a:lnTo>
                    <a:pt x="283" y="274"/>
                  </a:lnTo>
                  <a:lnTo>
                    <a:pt x="272" y="254"/>
                  </a:lnTo>
                  <a:lnTo>
                    <a:pt x="264" y="255"/>
                  </a:lnTo>
                  <a:lnTo>
                    <a:pt x="263" y="262"/>
                  </a:lnTo>
                  <a:lnTo>
                    <a:pt x="261" y="263"/>
                  </a:lnTo>
                  <a:lnTo>
                    <a:pt x="259" y="258"/>
                  </a:lnTo>
                  <a:lnTo>
                    <a:pt x="264" y="244"/>
                  </a:lnTo>
                  <a:lnTo>
                    <a:pt x="264" y="217"/>
                  </a:lnTo>
                  <a:lnTo>
                    <a:pt x="259" y="197"/>
                  </a:lnTo>
                  <a:lnTo>
                    <a:pt x="258" y="178"/>
                  </a:lnTo>
                  <a:lnTo>
                    <a:pt x="253" y="151"/>
                  </a:lnTo>
                  <a:lnTo>
                    <a:pt x="252" y="125"/>
                  </a:lnTo>
                  <a:lnTo>
                    <a:pt x="246" y="104"/>
                  </a:lnTo>
                  <a:lnTo>
                    <a:pt x="240" y="96"/>
                  </a:lnTo>
                  <a:lnTo>
                    <a:pt x="238" y="87"/>
                  </a:lnTo>
                  <a:lnTo>
                    <a:pt x="224" y="81"/>
                  </a:lnTo>
                  <a:lnTo>
                    <a:pt x="208" y="69"/>
                  </a:lnTo>
                  <a:lnTo>
                    <a:pt x="199" y="86"/>
                  </a:lnTo>
                  <a:lnTo>
                    <a:pt x="197" y="102"/>
                  </a:lnTo>
                  <a:lnTo>
                    <a:pt x="188" y="114"/>
                  </a:lnTo>
                  <a:lnTo>
                    <a:pt x="187" y="120"/>
                  </a:lnTo>
                  <a:lnTo>
                    <a:pt x="177" y="133"/>
                  </a:lnTo>
                  <a:lnTo>
                    <a:pt x="173" y="146"/>
                  </a:lnTo>
                  <a:lnTo>
                    <a:pt x="176" y="157"/>
                  </a:lnTo>
                  <a:lnTo>
                    <a:pt x="176" y="171"/>
                  </a:lnTo>
                  <a:lnTo>
                    <a:pt x="184" y="215"/>
                  </a:lnTo>
                  <a:lnTo>
                    <a:pt x="189" y="232"/>
                  </a:lnTo>
                  <a:lnTo>
                    <a:pt x="195" y="242"/>
                  </a:lnTo>
                  <a:lnTo>
                    <a:pt x="188" y="241"/>
                  </a:lnTo>
                  <a:lnTo>
                    <a:pt x="176" y="222"/>
                  </a:lnTo>
                  <a:lnTo>
                    <a:pt x="168" y="205"/>
                  </a:lnTo>
                  <a:lnTo>
                    <a:pt x="164" y="183"/>
                  </a:lnTo>
                  <a:lnTo>
                    <a:pt x="152" y="167"/>
                  </a:lnTo>
                  <a:lnTo>
                    <a:pt x="151" y="179"/>
                  </a:lnTo>
                  <a:lnTo>
                    <a:pt x="145" y="192"/>
                  </a:lnTo>
                  <a:lnTo>
                    <a:pt x="140" y="183"/>
                  </a:lnTo>
                  <a:lnTo>
                    <a:pt x="143" y="171"/>
                  </a:lnTo>
                  <a:lnTo>
                    <a:pt x="139" y="158"/>
                  </a:lnTo>
                  <a:lnTo>
                    <a:pt x="148" y="152"/>
                  </a:lnTo>
                  <a:lnTo>
                    <a:pt x="152" y="138"/>
                  </a:lnTo>
                  <a:lnTo>
                    <a:pt x="134" y="136"/>
                  </a:lnTo>
                  <a:lnTo>
                    <a:pt x="106" y="150"/>
                  </a:lnTo>
                  <a:lnTo>
                    <a:pt x="94" y="145"/>
                  </a:lnTo>
                  <a:lnTo>
                    <a:pt x="97" y="135"/>
                  </a:lnTo>
                  <a:lnTo>
                    <a:pt x="113" y="128"/>
                  </a:lnTo>
                  <a:lnTo>
                    <a:pt x="125" y="112"/>
                  </a:lnTo>
                  <a:lnTo>
                    <a:pt x="129" y="102"/>
                  </a:lnTo>
                  <a:lnTo>
                    <a:pt x="143" y="102"/>
                  </a:lnTo>
                  <a:lnTo>
                    <a:pt x="146" y="96"/>
                  </a:lnTo>
                  <a:lnTo>
                    <a:pt x="152" y="104"/>
                  </a:lnTo>
                  <a:lnTo>
                    <a:pt x="170" y="96"/>
                  </a:lnTo>
                  <a:lnTo>
                    <a:pt x="175" y="86"/>
                  </a:lnTo>
                  <a:lnTo>
                    <a:pt x="175" y="76"/>
                  </a:lnTo>
                  <a:lnTo>
                    <a:pt x="170" y="54"/>
                  </a:lnTo>
                  <a:lnTo>
                    <a:pt x="160" y="53"/>
                  </a:lnTo>
                  <a:lnTo>
                    <a:pt x="141" y="58"/>
                  </a:lnTo>
                  <a:lnTo>
                    <a:pt x="122" y="75"/>
                  </a:lnTo>
                  <a:lnTo>
                    <a:pt x="100" y="82"/>
                  </a:lnTo>
                  <a:lnTo>
                    <a:pt x="98" y="77"/>
                  </a:lnTo>
                  <a:lnTo>
                    <a:pt x="91" y="74"/>
                  </a:lnTo>
                  <a:lnTo>
                    <a:pt x="91" y="63"/>
                  </a:lnTo>
                  <a:lnTo>
                    <a:pt x="89" y="54"/>
                  </a:lnTo>
                  <a:lnTo>
                    <a:pt x="80" y="58"/>
                  </a:lnTo>
                  <a:lnTo>
                    <a:pt x="85" y="103"/>
                  </a:lnTo>
                  <a:lnTo>
                    <a:pt x="81" y="104"/>
                  </a:lnTo>
                  <a:lnTo>
                    <a:pt x="78" y="97"/>
                  </a:lnTo>
                  <a:lnTo>
                    <a:pt x="74" y="104"/>
                  </a:lnTo>
                  <a:lnTo>
                    <a:pt x="53" y="58"/>
                  </a:lnTo>
                  <a:lnTo>
                    <a:pt x="43" y="66"/>
                  </a:lnTo>
                  <a:lnTo>
                    <a:pt x="46" y="77"/>
                  </a:lnTo>
                  <a:lnTo>
                    <a:pt x="41" y="86"/>
                  </a:lnTo>
                  <a:lnTo>
                    <a:pt x="30" y="77"/>
                  </a:lnTo>
                  <a:lnTo>
                    <a:pt x="26" y="81"/>
                  </a:lnTo>
                  <a:lnTo>
                    <a:pt x="25" y="91"/>
                  </a:lnTo>
                  <a:lnTo>
                    <a:pt x="35" y="115"/>
                  </a:lnTo>
                  <a:lnTo>
                    <a:pt x="33" y="122"/>
                  </a:lnTo>
                  <a:lnTo>
                    <a:pt x="21" y="119"/>
                  </a:lnTo>
                  <a:lnTo>
                    <a:pt x="12" y="99"/>
                  </a:lnTo>
                  <a:lnTo>
                    <a:pt x="6" y="98"/>
                  </a:lnTo>
                  <a:lnTo>
                    <a:pt x="6" y="107"/>
                  </a:lnTo>
                  <a:lnTo>
                    <a:pt x="8" y="118"/>
                  </a:lnTo>
                  <a:lnTo>
                    <a:pt x="19" y="140"/>
                  </a:lnTo>
                  <a:lnTo>
                    <a:pt x="15" y="152"/>
                  </a:lnTo>
                  <a:lnTo>
                    <a:pt x="8" y="146"/>
                  </a:lnTo>
                  <a:lnTo>
                    <a:pt x="0" y="150"/>
                  </a:lnTo>
                  <a:lnTo>
                    <a:pt x="1" y="158"/>
                  </a:lnTo>
                  <a:lnTo>
                    <a:pt x="6" y="163"/>
                  </a:lnTo>
                  <a:lnTo>
                    <a:pt x="8" y="176"/>
                  </a:lnTo>
                  <a:lnTo>
                    <a:pt x="8" y="201"/>
                  </a:lnTo>
                  <a:lnTo>
                    <a:pt x="9" y="215"/>
                  </a:lnTo>
                  <a:lnTo>
                    <a:pt x="15" y="206"/>
                  </a:lnTo>
                  <a:lnTo>
                    <a:pt x="16" y="217"/>
                  </a:lnTo>
                  <a:lnTo>
                    <a:pt x="17" y="236"/>
                  </a:lnTo>
                  <a:lnTo>
                    <a:pt x="17" y="220"/>
                  </a:lnTo>
                  <a:lnTo>
                    <a:pt x="24" y="236"/>
                  </a:lnTo>
                  <a:lnTo>
                    <a:pt x="25" y="248"/>
                  </a:lnTo>
                  <a:lnTo>
                    <a:pt x="27" y="254"/>
                  </a:lnTo>
                  <a:lnTo>
                    <a:pt x="27" y="271"/>
                  </a:lnTo>
                  <a:lnTo>
                    <a:pt x="33" y="276"/>
                  </a:lnTo>
                  <a:lnTo>
                    <a:pt x="43" y="270"/>
                  </a:lnTo>
                  <a:lnTo>
                    <a:pt x="53" y="244"/>
                  </a:lnTo>
                  <a:lnTo>
                    <a:pt x="38" y="225"/>
                  </a:lnTo>
                  <a:lnTo>
                    <a:pt x="55" y="228"/>
                  </a:lnTo>
                  <a:lnTo>
                    <a:pt x="60" y="238"/>
                  </a:lnTo>
                  <a:lnTo>
                    <a:pt x="62" y="233"/>
                  </a:lnTo>
                  <a:lnTo>
                    <a:pt x="66" y="226"/>
                  </a:lnTo>
                  <a:lnTo>
                    <a:pt x="74" y="224"/>
                  </a:lnTo>
                  <a:lnTo>
                    <a:pt x="71" y="238"/>
                  </a:lnTo>
                  <a:lnTo>
                    <a:pt x="73" y="246"/>
                  </a:lnTo>
                  <a:lnTo>
                    <a:pt x="65" y="253"/>
                  </a:lnTo>
                  <a:lnTo>
                    <a:pt x="63" y="264"/>
                  </a:lnTo>
                  <a:lnTo>
                    <a:pt x="65" y="274"/>
                  </a:lnTo>
                  <a:lnTo>
                    <a:pt x="57" y="279"/>
                  </a:lnTo>
                  <a:lnTo>
                    <a:pt x="54" y="291"/>
                  </a:lnTo>
                  <a:lnTo>
                    <a:pt x="70" y="301"/>
                  </a:lnTo>
                  <a:lnTo>
                    <a:pt x="71" y="313"/>
                  </a:lnTo>
                  <a:lnTo>
                    <a:pt x="80" y="318"/>
                  </a:lnTo>
                  <a:lnTo>
                    <a:pt x="91" y="312"/>
                  </a:lnTo>
                  <a:lnTo>
                    <a:pt x="96" y="325"/>
                  </a:lnTo>
                  <a:lnTo>
                    <a:pt x="94" y="335"/>
                  </a:lnTo>
                  <a:lnTo>
                    <a:pt x="55" y="325"/>
                  </a:lnTo>
                  <a:lnTo>
                    <a:pt x="49" y="314"/>
                  </a:lnTo>
                  <a:lnTo>
                    <a:pt x="37" y="316"/>
                  </a:lnTo>
                  <a:lnTo>
                    <a:pt x="43" y="327"/>
                  </a:lnTo>
                  <a:lnTo>
                    <a:pt x="62" y="348"/>
                  </a:lnTo>
                  <a:lnTo>
                    <a:pt x="71" y="351"/>
                  </a:lnTo>
                  <a:lnTo>
                    <a:pt x="68" y="359"/>
                  </a:lnTo>
                  <a:lnTo>
                    <a:pt x="59" y="360"/>
                  </a:lnTo>
                  <a:lnTo>
                    <a:pt x="54" y="381"/>
                  </a:lnTo>
                  <a:lnTo>
                    <a:pt x="68" y="392"/>
                  </a:lnTo>
                  <a:lnTo>
                    <a:pt x="66" y="400"/>
                  </a:lnTo>
                  <a:lnTo>
                    <a:pt x="73" y="407"/>
                  </a:lnTo>
                  <a:lnTo>
                    <a:pt x="75" y="414"/>
                  </a:lnTo>
                  <a:lnTo>
                    <a:pt x="111" y="435"/>
                  </a:lnTo>
                  <a:lnTo>
                    <a:pt x="128" y="435"/>
                  </a:lnTo>
                  <a:lnTo>
                    <a:pt x="138" y="427"/>
                  </a:lnTo>
                  <a:lnTo>
                    <a:pt x="137" y="441"/>
                  </a:lnTo>
                  <a:lnTo>
                    <a:pt x="127" y="447"/>
                  </a:lnTo>
                  <a:lnTo>
                    <a:pt x="100" y="450"/>
                  </a:lnTo>
                  <a:lnTo>
                    <a:pt x="97" y="457"/>
                  </a:lnTo>
                  <a:lnTo>
                    <a:pt x="106" y="469"/>
                  </a:lnTo>
                  <a:lnTo>
                    <a:pt x="108" y="481"/>
                  </a:lnTo>
                  <a:lnTo>
                    <a:pt x="121" y="486"/>
                  </a:lnTo>
                  <a:lnTo>
                    <a:pt x="128" y="483"/>
                  </a:lnTo>
                  <a:lnTo>
                    <a:pt x="130" y="501"/>
                  </a:lnTo>
                  <a:lnTo>
                    <a:pt x="124" y="509"/>
                  </a:lnTo>
                  <a:lnTo>
                    <a:pt x="129" y="522"/>
                  </a:lnTo>
                  <a:lnTo>
                    <a:pt x="132" y="517"/>
                  </a:lnTo>
                  <a:lnTo>
                    <a:pt x="148" y="526"/>
                  </a:lnTo>
                  <a:lnTo>
                    <a:pt x="152" y="518"/>
                  </a:lnTo>
                  <a:lnTo>
                    <a:pt x="156" y="527"/>
                  </a:lnTo>
                  <a:lnTo>
                    <a:pt x="160" y="522"/>
                  </a:lnTo>
                  <a:lnTo>
                    <a:pt x="173" y="527"/>
                  </a:lnTo>
                  <a:lnTo>
                    <a:pt x="177" y="516"/>
                  </a:lnTo>
                  <a:lnTo>
                    <a:pt x="191" y="516"/>
                  </a:lnTo>
                  <a:lnTo>
                    <a:pt x="193" y="501"/>
                  </a:lnTo>
                  <a:lnTo>
                    <a:pt x="192" y="495"/>
                  </a:lnTo>
                  <a:lnTo>
                    <a:pt x="198" y="479"/>
                  </a:lnTo>
                  <a:lnTo>
                    <a:pt x="208" y="477"/>
                  </a:lnTo>
                  <a:lnTo>
                    <a:pt x="215" y="483"/>
                  </a:lnTo>
                  <a:lnTo>
                    <a:pt x="221" y="478"/>
                  </a:lnTo>
                  <a:lnTo>
                    <a:pt x="218" y="466"/>
                  </a:lnTo>
                  <a:lnTo>
                    <a:pt x="213" y="458"/>
                  </a:lnTo>
                  <a:lnTo>
                    <a:pt x="205" y="457"/>
                  </a:lnTo>
                  <a:lnTo>
                    <a:pt x="210" y="443"/>
                  </a:lnTo>
                  <a:lnTo>
                    <a:pt x="211" y="414"/>
                  </a:lnTo>
                  <a:lnTo>
                    <a:pt x="214" y="396"/>
                  </a:lnTo>
                  <a:lnTo>
                    <a:pt x="218" y="386"/>
                  </a:lnTo>
                  <a:lnTo>
                    <a:pt x="224" y="381"/>
                  </a:lnTo>
                  <a:lnTo>
                    <a:pt x="230" y="382"/>
                  </a:lnTo>
                  <a:lnTo>
                    <a:pt x="231" y="394"/>
                  </a:lnTo>
                  <a:lnTo>
                    <a:pt x="230" y="404"/>
                  </a:lnTo>
                  <a:lnTo>
                    <a:pt x="235" y="416"/>
                  </a:lnTo>
                  <a:lnTo>
                    <a:pt x="241" y="416"/>
                  </a:lnTo>
                  <a:lnTo>
                    <a:pt x="250" y="399"/>
                  </a:lnTo>
                  <a:lnTo>
                    <a:pt x="250" y="388"/>
                  </a:lnTo>
                  <a:lnTo>
                    <a:pt x="252" y="368"/>
                  </a:lnTo>
                  <a:lnTo>
                    <a:pt x="261" y="353"/>
                  </a:lnTo>
                  <a:lnTo>
                    <a:pt x="266" y="366"/>
                  </a:lnTo>
                  <a:lnTo>
                    <a:pt x="267" y="382"/>
                  </a:lnTo>
                  <a:lnTo>
                    <a:pt x="253" y="421"/>
                  </a:lnTo>
                  <a:lnTo>
                    <a:pt x="257" y="446"/>
                  </a:lnTo>
                  <a:lnTo>
                    <a:pt x="264" y="452"/>
                  </a:lnTo>
                  <a:lnTo>
                    <a:pt x="270" y="462"/>
                  </a:lnTo>
                  <a:lnTo>
                    <a:pt x="296" y="450"/>
                  </a:lnTo>
                  <a:lnTo>
                    <a:pt x="299" y="439"/>
                  </a:lnTo>
                  <a:lnTo>
                    <a:pt x="307" y="435"/>
                  </a:lnTo>
                  <a:lnTo>
                    <a:pt x="313" y="424"/>
                  </a:lnTo>
                  <a:lnTo>
                    <a:pt x="315" y="409"/>
                  </a:lnTo>
                  <a:lnTo>
                    <a:pt x="313" y="396"/>
                  </a:lnTo>
                  <a:lnTo>
                    <a:pt x="322" y="389"/>
                  </a:lnTo>
                  <a:lnTo>
                    <a:pt x="326" y="381"/>
                  </a:lnTo>
                  <a:lnTo>
                    <a:pt x="329" y="383"/>
                  </a:lnTo>
                  <a:lnTo>
                    <a:pt x="331" y="398"/>
                  </a:lnTo>
                  <a:lnTo>
                    <a:pt x="336" y="400"/>
                  </a:lnTo>
                  <a:lnTo>
                    <a:pt x="327" y="419"/>
                  </a:lnTo>
                  <a:lnTo>
                    <a:pt x="320" y="425"/>
                  </a:lnTo>
                  <a:lnTo>
                    <a:pt x="318" y="437"/>
                  </a:lnTo>
                  <a:lnTo>
                    <a:pt x="315" y="443"/>
                  </a:lnTo>
                  <a:lnTo>
                    <a:pt x="313" y="453"/>
                  </a:lnTo>
                  <a:lnTo>
                    <a:pt x="316" y="462"/>
                  </a:lnTo>
                  <a:lnTo>
                    <a:pt x="322" y="464"/>
                  </a:lnTo>
                  <a:lnTo>
                    <a:pt x="326" y="453"/>
                  </a:lnTo>
                  <a:lnTo>
                    <a:pt x="334" y="470"/>
                  </a:lnTo>
                  <a:lnTo>
                    <a:pt x="342" y="474"/>
                  </a:lnTo>
                  <a:lnTo>
                    <a:pt x="364" y="461"/>
                  </a:lnTo>
                  <a:lnTo>
                    <a:pt x="367" y="467"/>
                  </a:lnTo>
                  <a:lnTo>
                    <a:pt x="363" y="473"/>
                  </a:lnTo>
                  <a:lnTo>
                    <a:pt x="350" y="474"/>
                  </a:lnTo>
                  <a:lnTo>
                    <a:pt x="347" y="481"/>
                  </a:lnTo>
                  <a:lnTo>
                    <a:pt x="336" y="485"/>
                  </a:lnTo>
                  <a:lnTo>
                    <a:pt x="334" y="491"/>
                  </a:lnTo>
                  <a:lnTo>
                    <a:pt x="316" y="491"/>
                  </a:lnTo>
                  <a:lnTo>
                    <a:pt x="306" y="483"/>
                  </a:lnTo>
                  <a:lnTo>
                    <a:pt x="284" y="485"/>
                  </a:lnTo>
                  <a:lnTo>
                    <a:pt x="268" y="500"/>
                  </a:lnTo>
                  <a:lnTo>
                    <a:pt x="275" y="516"/>
                  </a:lnTo>
                  <a:lnTo>
                    <a:pt x="272" y="524"/>
                  </a:lnTo>
                  <a:lnTo>
                    <a:pt x="264" y="516"/>
                  </a:lnTo>
                  <a:lnTo>
                    <a:pt x="257" y="516"/>
                  </a:lnTo>
                  <a:lnTo>
                    <a:pt x="253" y="526"/>
                  </a:lnTo>
                  <a:lnTo>
                    <a:pt x="247" y="528"/>
                  </a:lnTo>
                  <a:lnTo>
                    <a:pt x="243" y="538"/>
                  </a:lnTo>
                  <a:lnTo>
                    <a:pt x="240" y="540"/>
                  </a:lnTo>
                  <a:lnTo>
                    <a:pt x="240" y="556"/>
                  </a:lnTo>
                  <a:lnTo>
                    <a:pt x="230" y="559"/>
                  </a:lnTo>
                  <a:lnTo>
                    <a:pt x="224" y="555"/>
                  </a:lnTo>
                  <a:lnTo>
                    <a:pt x="193" y="563"/>
                  </a:lnTo>
                  <a:lnTo>
                    <a:pt x="192" y="570"/>
                  </a:lnTo>
                  <a:lnTo>
                    <a:pt x="198" y="581"/>
                  </a:lnTo>
                  <a:lnTo>
                    <a:pt x="194" y="590"/>
                  </a:lnTo>
                  <a:lnTo>
                    <a:pt x="187" y="586"/>
                  </a:lnTo>
                  <a:lnTo>
                    <a:pt x="183" y="572"/>
                  </a:lnTo>
                  <a:lnTo>
                    <a:pt x="178" y="565"/>
                  </a:lnTo>
                  <a:lnTo>
                    <a:pt x="167" y="569"/>
                  </a:lnTo>
                  <a:lnTo>
                    <a:pt x="164" y="575"/>
                  </a:lnTo>
                  <a:lnTo>
                    <a:pt x="165" y="609"/>
                  </a:lnTo>
                  <a:lnTo>
                    <a:pt x="172" y="635"/>
                  </a:lnTo>
                  <a:lnTo>
                    <a:pt x="170" y="642"/>
                  </a:lnTo>
                  <a:lnTo>
                    <a:pt x="170" y="649"/>
                  </a:lnTo>
                  <a:lnTo>
                    <a:pt x="176" y="652"/>
                  </a:lnTo>
                  <a:lnTo>
                    <a:pt x="186" y="652"/>
                  </a:lnTo>
                  <a:lnTo>
                    <a:pt x="195" y="640"/>
                  </a:lnTo>
                  <a:lnTo>
                    <a:pt x="200" y="646"/>
                  </a:lnTo>
                  <a:lnTo>
                    <a:pt x="208" y="646"/>
                  </a:lnTo>
                  <a:lnTo>
                    <a:pt x="216" y="645"/>
                  </a:lnTo>
                  <a:lnTo>
                    <a:pt x="216" y="639"/>
                  </a:lnTo>
                  <a:lnTo>
                    <a:pt x="221" y="637"/>
                  </a:lnTo>
                  <a:lnTo>
                    <a:pt x="223" y="646"/>
                  </a:lnTo>
                  <a:lnTo>
                    <a:pt x="229" y="645"/>
                  </a:lnTo>
                  <a:lnTo>
                    <a:pt x="231" y="636"/>
                  </a:lnTo>
                  <a:lnTo>
                    <a:pt x="235" y="641"/>
                  </a:lnTo>
                  <a:lnTo>
                    <a:pt x="251" y="636"/>
                  </a:lnTo>
                  <a:lnTo>
                    <a:pt x="261" y="624"/>
                  </a:lnTo>
                  <a:lnTo>
                    <a:pt x="267" y="622"/>
                  </a:lnTo>
                  <a:lnTo>
                    <a:pt x="277" y="623"/>
                  </a:lnTo>
                  <a:lnTo>
                    <a:pt x="281" y="629"/>
                  </a:lnTo>
                  <a:lnTo>
                    <a:pt x="306" y="622"/>
                  </a:lnTo>
                  <a:lnTo>
                    <a:pt x="315" y="624"/>
                  </a:lnTo>
                  <a:lnTo>
                    <a:pt x="327" y="617"/>
                  </a:lnTo>
                  <a:lnTo>
                    <a:pt x="329" y="606"/>
                  </a:lnTo>
                  <a:lnTo>
                    <a:pt x="339" y="603"/>
                  </a:lnTo>
                  <a:lnTo>
                    <a:pt x="340" y="613"/>
                  </a:lnTo>
                  <a:lnTo>
                    <a:pt x="336" y="612"/>
                  </a:lnTo>
                  <a:lnTo>
                    <a:pt x="340" y="619"/>
                  </a:lnTo>
                  <a:lnTo>
                    <a:pt x="343" y="634"/>
                  </a:lnTo>
                  <a:lnTo>
                    <a:pt x="338" y="637"/>
                  </a:lnTo>
                  <a:lnTo>
                    <a:pt x="323" y="633"/>
                  </a:lnTo>
                  <a:lnTo>
                    <a:pt x="316" y="639"/>
                  </a:lnTo>
                  <a:lnTo>
                    <a:pt x="311" y="629"/>
                  </a:lnTo>
                  <a:lnTo>
                    <a:pt x="308" y="641"/>
                  </a:lnTo>
                  <a:lnTo>
                    <a:pt x="296" y="641"/>
                  </a:lnTo>
                  <a:lnTo>
                    <a:pt x="296" y="647"/>
                  </a:lnTo>
                  <a:lnTo>
                    <a:pt x="286" y="652"/>
                  </a:lnTo>
                  <a:lnTo>
                    <a:pt x="281" y="649"/>
                  </a:lnTo>
                  <a:lnTo>
                    <a:pt x="270" y="651"/>
                  </a:lnTo>
                  <a:lnTo>
                    <a:pt x="237" y="668"/>
                  </a:lnTo>
                  <a:lnTo>
                    <a:pt x="229" y="668"/>
                  </a:lnTo>
                  <a:lnTo>
                    <a:pt x="231" y="676"/>
                  </a:lnTo>
                  <a:lnTo>
                    <a:pt x="240" y="684"/>
                  </a:lnTo>
                  <a:lnTo>
                    <a:pt x="286" y="694"/>
                  </a:lnTo>
                  <a:lnTo>
                    <a:pt x="293" y="706"/>
                  </a:lnTo>
                  <a:lnTo>
                    <a:pt x="291" y="714"/>
                  </a:lnTo>
                  <a:lnTo>
                    <a:pt x="261" y="705"/>
                  </a:lnTo>
                  <a:lnTo>
                    <a:pt x="258" y="701"/>
                  </a:lnTo>
                  <a:lnTo>
                    <a:pt x="246" y="705"/>
                  </a:lnTo>
                  <a:lnTo>
                    <a:pt x="236" y="699"/>
                  </a:lnTo>
                  <a:lnTo>
                    <a:pt x="225" y="700"/>
                  </a:lnTo>
                  <a:lnTo>
                    <a:pt x="225" y="708"/>
                  </a:lnTo>
                  <a:lnTo>
                    <a:pt x="223" y="715"/>
                  </a:lnTo>
                  <a:lnTo>
                    <a:pt x="215" y="716"/>
                  </a:lnTo>
                  <a:lnTo>
                    <a:pt x="211" y="694"/>
                  </a:lnTo>
                  <a:lnTo>
                    <a:pt x="198" y="690"/>
                  </a:lnTo>
                  <a:lnTo>
                    <a:pt x="183" y="706"/>
                  </a:lnTo>
                  <a:lnTo>
                    <a:pt x="188" y="722"/>
                  </a:lnTo>
                  <a:lnTo>
                    <a:pt x="183" y="738"/>
                  </a:lnTo>
                  <a:lnTo>
                    <a:pt x="191" y="753"/>
                  </a:lnTo>
                  <a:lnTo>
                    <a:pt x="195" y="771"/>
                  </a:lnTo>
                  <a:lnTo>
                    <a:pt x="199" y="774"/>
                  </a:lnTo>
                  <a:lnTo>
                    <a:pt x="205" y="792"/>
                  </a:lnTo>
                  <a:lnTo>
                    <a:pt x="236" y="807"/>
                  </a:lnTo>
                  <a:lnTo>
                    <a:pt x="241" y="806"/>
                  </a:lnTo>
                  <a:lnTo>
                    <a:pt x="248" y="817"/>
                  </a:lnTo>
                  <a:lnTo>
                    <a:pt x="248" y="829"/>
                  </a:lnTo>
                  <a:lnTo>
                    <a:pt x="254" y="833"/>
                  </a:lnTo>
                  <a:lnTo>
                    <a:pt x="270" y="834"/>
                  </a:lnTo>
                  <a:lnTo>
                    <a:pt x="278" y="830"/>
                  </a:lnTo>
                  <a:lnTo>
                    <a:pt x="283" y="833"/>
                  </a:lnTo>
                  <a:lnTo>
                    <a:pt x="288" y="829"/>
                  </a:lnTo>
                  <a:lnTo>
                    <a:pt x="300" y="828"/>
                  </a:lnTo>
                  <a:lnTo>
                    <a:pt x="306" y="835"/>
                  </a:lnTo>
                  <a:lnTo>
                    <a:pt x="312" y="834"/>
                  </a:lnTo>
                  <a:lnTo>
                    <a:pt x="312" y="841"/>
                  </a:lnTo>
                  <a:lnTo>
                    <a:pt x="304" y="856"/>
                  </a:lnTo>
                  <a:lnTo>
                    <a:pt x="302" y="848"/>
                  </a:lnTo>
                  <a:lnTo>
                    <a:pt x="288" y="849"/>
                  </a:lnTo>
                  <a:lnTo>
                    <a:pt x="270" y="859"/>
                  </a:lnTo>
                  <a:lnTo>
                    <a:pt x="270" y="868"/>
                  </a:lnTo>
                  <a:lnTo>
                    <a:pt x="308" y="904"/>
                  </a:lnTo>
                  <a:lnTo>
                    <a:pt x="311" y="911"/>
                  </a:lnTo>
                  <a:lnTo>
                    <a:pt x="311" y="936"/>
                  </a:lnTo>
                  <a:lnTo>
                    <a:pt x="316" y="935"/>
                  </a:lnTo>
                  <a:lnTo>
                    <a:pt x="323" y="922"/>
                  </a:lnTo>
                  <a:lnTo>
                    <a:pt x="323" y="930"/>
                  </a:lnTo>
                  <a:lnTo>
                    <a:pt x="329" y="937"/>
                  </a:lnTo>
                  <a:lnTo>
                    <a:pt x="338" y="936"/>
                  </a:lnTo>
                  <a:lnTo>
                    <a:pt x="349" y="925"/>
                  </a:lnTo>
                  <a:lnTo>
                    <a:pt x="350" y="910"/>
                  </a:lnTo>
                  <a:lnTo>
                    <a:pt x="354" y="908"/>
                  </a:lnTo>
                  <a:lnTo>
                    <a:pt x="353" y="900"/>
                  </a:lnTo>
                  <a:lnTo>
                    <a:pt x="348" y="888"/>
                  </a:lnTo>
                  <a:lnTo>
                    <a:pt x="351" y="878"/>
                  </a:lnTo>
                  <a:lnTo>
                    <a:pt x="349" y="873"/>
                  </a:lnTo>
                  <a:lnTo>
                    <a:pt x="351" y="866"/>
                  </a:lnTo>
                  <a:lnTo>
                    <a:pt x="363" y="855"/>
                  </a:lnTo>
                  <a:lnTo>
                    <a:pt x="367" y="840"/>
                  </a:lnTo>
                  <a:lnTo>
                    <a:pt x="365" y="839"/>
                  </a:lnTo>
                  <a:lnTo>
                    <a:pt x="369" y="832"/>
                  </a:lnTo>
                  <a:lnTo>
                    <a:pt x="364" y="822"/>
                  </a:lnTo>
                  <a:lnTo>
                    <a:pt x="370" y="802"/>
                  </a:lnTo>
                  <a:lnTo>
                    <a:pt x="367" y="792"/>
                  </a:lnTo>
                  <a:lnTo>
                    <a:pt x="367" y="771"/>
                  </a:lnTo>
                  <a:lnTo>
                    <a:pt x="370" y="762"/>
                  </a:lnTo>
                  <a:lnTo>
                    <a:pt x="381" y="742"/>
                  </a:lnTo>
                  <a:lnTo>
                    <a:pt x="392" y="741"/>
                  </a:lnTo>
                  <a:lnTo>
                    <a:pt x="387" y="728"/>
                  </a:lnTo>
                  <a:lnTo>
                    <a:pt x="380" y="731"/>
                  </a:lnTo>
                  <a:lnTo>
                    <a:pt x="379" y="722"/>
                  </a:lnTo>
                  <a:lnTo>
                    <a:pt x="406" y="710"/>
                  </a:lnTo>
                  <a:lnTo>
                    <a:pt x="413" y="715"/>
                  </a:lnTo>
                  <a:lnTo>
                    <a:pt x="417" y="714"/>
                  </a:lnTo>
                  <a:lnTo>
                    <a:pt x="417" y="704"/>
                  </a:lnTo>
                  <a:lnTo>
                    <a:pt x="420" y="698"/>
                  </a:lnTo>
                  <a:lnTo>
                    <a:pt x="420" y="688"/>
                  </a:lnTo>
                  <a:lnTo>
                    <a:pt x="423" y="680"/>
                  </a:lnTo>
                  <a:lnTo>
                    <a:pt x="425" y="669"/>
                  </a:lnTo>
                  <a:lnTo>
                    <a:pt x="425" y="661"/>
                  </a:lnTo>
                  <a:lnTo>
                    <a:pt x="423" y="662"/>
                  </a:lnTo>
                  <a:lnTo>
                    <a:pt x="424" y="646"/>
                  </a:lnTo>
                  <a:lnTo>
                    <a:pt x="429" y="626"/>
                  </a:lnTo>
                  <a:lnTo>
                    <a:pt x="426" y="620"/>
                  </a:lnTo>
                  <a:lnTo>
                    <a:pt x="425" y="607"/>
                  </a:lnTo>
                  <a:lnTo>
                    <a:pt x="426" y="588"/>
                  </a:lnTo>
                  <a:lnTo>
                    <a:pt x="425" y="583"/>
                  </a:lnTo>
                  <a:lnTo>
                    <a:pt x="425" y="576"/>
                  </a:lnTo>
                  <a:lnTo>
                    <a:pt x="440" y="570"/>
                  </a:lnTo>
                  <a:lnTo>
                    <a:pt x="451" y="577"/>
                  </a:lnTo>
                  <a:lnTo>
                    <a:pt x="455" y="575"/>
                  </a:lnTo>
                  <a:lnTo>
                    <a:pt x="456" y="563"/>
                  </a:lnTo>
                  <a:lnTo>
                    <a:pt x="455" y="552"/>
                  </a:lnTo>
                  <a:lnTo>
                    <a:pt x="455" y="529"/>
                  </a:lnTo>
                  <a:lnTo>
                    <a:pt x="460" y="522"/>
                  </a:lnTo>
                  <a:lnTo>
                    <a:pt x="457" y="511"/>
                  </a:lnTo>
                  <a:lnTo>
                    <a:pt x="461" y="510"/>
                  </a:lnTo>
                  <a:lnTo>
                    <a:pt x="458" y="502"/>
                  </a:lnTo>
                  <a:lnTo>
                    <a:pt x="460" y="491"/>
                  </a:lnTo>
                  <a:lnTo>
                    <a:pt x="460" y="477"/>
                  </a:lnTo>
                  <a:lnTo>
                    <a:pt x="457" y="464"/>
                  </a:lnTo>
                  <a:lnTo>
                    <a:pt x="473" y="462"/>
                  </a:lnTo>
                  <a:lnTo>
                    <a:pt x="477" y="453"/>
                  </a:lnTo>
                  <a:lnTo>
                    <a:pt x="485" y="453"/>
                  </a:lnTo>
                  <a:lnTo>
                    <a:pt x="489" y="432"/>
                  </a:lnTo>
                  <a:lnTo>
                    <a:pt x="485" y="424"/>
                  </a:lnTo>
                  <a:lnTo>
                    <a:pt x="498" y="420"/>
                  </a:lnTo>
                  <a:lnTo>
                    <a:pt x="508" y="423"/>
                  </a:lnTo>
                  <a:lnTo>
                    <a:pt x="521" y="404"/>
                  </a:lnTo>
                  <a:lnTo>
                    <a:pt x="536" y="404"/>
                  </a:lnTo>
                  <a:lnTo>
                    <a:pt x="552" y="392"/>
                  </a:lnTo>
                  <a:lnTo>
                    <a:pt x="570" y="399"/>
                  </a:lnTo>
                  <a:lnTo>
                    <a:pt x="581" y="398"/>
                  </a:lnTo>
                  <a:lnTo>
                    <a:pt x="585" y="392"/>
                  </a:lnTo>
                  <a:lnTo>
                    <a:pt x="591" y="371"/>
                  </a:lnTo>
                  <a:lnTo>
                    <a:pt x="589" y="354"/>
                  </a:lnTo>
                  <a:lnTo>
                    <a:pt x="590" y="345"/>
                  </a:lnTo>
                  <a:lnTo>
                    <a:pt x="586" y="341"/>
                  </a:lnTo>
                  <a:lnTo>
                    <a:pt x="570" y="341"/>
                  </a:lnTo>
                  <a:lnTo>
                    <a:pt x="531" y="327"/>
                  </a:lnTo>
                  <a:lnTo>
                    <a:pt x="525" y="314"/>
                  </a:lnTo>
                  <a:lnTo>
                    <a:pt x="503" y="305"/>
                  </a:lnTo>
                  <a:lnTo>
                    <a:pt x="495" y="283"/>
                  </a:lnTo>
                  <a:lnTo>
                    <a:pt x="492" y="267"/>
                  </a:lnTo>
                  <a:lnTo>
                    <a:pt x="484" y="264"/>
                  </a:lnTo>
                  <a:lnTo>
                    <a:pt x="477" y="254"/>
                  </a:lnTo>
                  <a:lnTo>
                    <a:pt x="444" y="252"/>
                  </a:lnTo>
                  <a:lnTo>
                    <a:pt x="441" y="231"/>
                  </a:lnTo>
                  <a:lnTo>
                    <a:pt x="445" y="217"/>
                  </a:lnTo>
                  <a:lnTo>
                    <a:pt x="445" y="210"/>
                  </a:lnTo>
                  <a:lnTo>
                    <a:pt x="447" y="204"/>
                  </a:lnTo>
                  <a:lnTo>
                    <a:pt x="449" y="192"/>
                  </a:lnTo>
                  <a:lnTo>
                    <a:pt x="440" y="172"/>
                  </a:lnTo>
                  <a:lnTo>
                    <a:pt x="435" y="150"/>
                  </a:lnTo>
                  <a:lnTo>
                    <a:pt x="426" y="133"/>
                  </a:lnTo>
                  <a:lnTo>
                    <a:pt x="417" y="133"/>
                  </a:lnTo>
                  <a:lnTo>
                    <a:pt x="413" y="123"/>
                  </a:lnTo>
                  <a:lnTo>
                    <a:pt x="408" y="128"/>
                  </a:lnTo>
                  <a:lnTo>
                    <a:pt x="401" y="145"/>
                  </a:lnTo>
                  <a:lnTo>
                    <a:pt x="401" y="157"/>
                  </a:lnTo>
                  <a:lnTo>
                    <a:pt x="404" y="167"/>
                  </a:lnTo>
                  <a:lnTo>
                    <a:pt x="391" y="181"/>
                  </a:lnTo>
                  <a:lnTo>
                    <a:pt x="379" y="204"/>
                  </a:lnTo>
                  <a:lnTo>
                    <a:pt x="377" y="195"/>
                  </a:lnTo>
                  <a:lnTo>
                    <a:pt x="382" y="188"/>
                  </a:lnTo>
                  <a:lnTo>
                    <a:pt x="386" y="171"/>
                  </a:lnTo>
                  <a:lnTo>
                    <a:pt x="382" y="155"/>
                  </a:lnTo>
                  <a:lnTo>
                    <a:pt x="379" y="150"/>
                  </a:lnTo>
                  <a:lnTo>
                    <a:pt x="376" y="152"/>
                  </a:lnTo>
                  <a:lnTo>
                    <a:pt x="379" y="144"/>
                  </a:lnTo>
                  <a:lnTo>
                    <a:pt x="385" y="136"/>
                  </a:lnTo>
                  <a:lnTo>
                    <a:pt x="390" y="106"/>
                  </a:lnTo>
                  <a:lnTo>
                    <a:pt x="394" y="101"/>
                  </a:lnTo>
                  <a:lnTo>
                    <a:pt x="397" y="81"/>
                  </a:lnTo>
                  <a:lnTo>
                    <a:pt x="385" y="60"/>
                  </a:lnTo>
                  <a:lnTo>
                    <a:pt x="350" y="22"/>
                  </a:lnTo>
                  <a:lnTo>
                    <a:pt x="337" y="29"/>
                  </a:lnTo>
                  <a:lnTo>
                    <a:pt x="339" y="39"/>
                  </a:lnTo>
                  <a:lnTo>
                    <a:pt x="339" y="47"/>
                  </a:lnTo>
                  <a:lnTo>
                    <a:pt x="329" y="41"/>
                  </a:lnTo>
                  <a:lnTo>
                    <a:pt x="324" y="43"/>
                  </a:lnTo>
                  <a:lnTo>
                    <a:pt x="324" y="14"/>
                  </a:lnTo>
                  <a:lnTo>
                    <a:pt x="323" y="0"/>
                  </a:lnTo>
                  <a:lnTo>
                    <a:pt x="293" y="0"/>
                  </a:lnTo>
                  <a:lnTo>
                    <a:pt x="290" y="2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06" name="Freeform 219">
              <a:extLst>
                <a:ext uri="{FF2B5EF4-FFF2-40B4-BE49-F238E27FC236}">
                  <a16:creationId xmlns:a16="http://schemas.microsoft.com/office/drawing/2014/main" id="{116F2E4A-E92F-35CE-89E7-B48E38758C7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61156" y="234753"/>
              <a:ext cx="67155" cy="62492"/>
            </a:xfrm>
            <a:custGeom>
              <a:avLst/>
              <a:gdLst>
                <a:gd name="T0" fmla="*/ 0 w 126"/>
                <a:gd name="T1" fmla="*/ 0 h 117"/>
                <a:gd name="T2" fmla="*/ 0 w 126"/>
                <a:gd name="T3" fmla="*/ 0 h 117"/>
                <a:gd name="T4" fmla="*/ 0 w 126"/>
                <a:gd name="T5" fmla="*/ 0 h 117"/>
                <a:gd name="T6" fmla="*/ 0 w 126"/>
                <a:gd name="T7" fmla="*/ 0 h 117"/>
                <a:gd name="T8" fmla="*/ 0 w 126"/>
                <a:gd name="T9" fmla="*/ 0 h 117"/>
                <a:gd name="T10" fmla="*/ 0 w 126"/>
                <a:gd name="T11" fmla="*/ 0 h 117"/>
                <a:gd name="T12" fmla="*/ 0 w 126"/>
                <a:gd name="T13" fmla="*/ 0 h 117"/>
                <a:gd name="T14" fmla="*/ 0 w 126"/>
                <a:gd name="T15" fmla="*/ 0 h 117"/>
                <a:gd name="T16" fmla="*/ 0 w 126"/>
                <a:gd name="T17" fmla="*/ 0 h 117"/>
                <a:gd name="T18" fmla="*/ 0 w 126"/>
                <a:gd name="T19" fmla="*/ 0 h 117"/>
                <a:gd name="T20" fmla="*/ 0 w 126"/>
                <a:gd name="T21" fmla="*/ 0 h 117"/>
                <a:gd name="T22" fmla="*/ 0 w 126"/>
                <a:gd name="T23" fmla="*/ 0 h 117"/>
                <a:gd name="T24" fmla="*/ 0 w 126"/>
                <a:gd name="T25" fmla="*/ 0 h 117"/>
                <a:gd name="T26" fmla="*/ 0 w 126"/>
                <a:gd name="T27" fmla="*/ 0 h 117"/>
                <a:gd name="T28" fmla="*/ 0 w 126"/>
                <a:gd name="T29" fmla="*/ 0 h 117"/>
                <a:gd name="T30" fmla="*/ 0 w 126"/>
                <a:gd name="T31" fmla="*/ 0 h 117"/>
                <a:gd name="T32" fmla="*/ 0 w 126"/>
                <a:gd name="T33" fmla="*/ 0 h 117"/>
                <a:gd name="T34" fmla="*/ 0 w 126"/>
                <a:gd name="T35" fmla="*/ 0 h 117"/>
                <a:gd name="T36" fmla="*/ 0 w 126"/>
                <a:gd name="T37" fmla="*/ 0 h 117"/>
                <a:gd name="T38" fmla="*/ 0 w 126"/>
                <a:gd name="T39" fmla="*/ 0 h 117"/>
                <a:gd name="T40" fmla="*/ 0 w 126"/>
                <a:gd name="T41" fmla="*/ 0 h 117"/>
                <a:gd name="T42" fmla="*/ 0 w 126"/>
                <a:gd name="T43" fmla="*/ 0 h 117"/>
                <a:gd name="T44" fmla="*/ 0 w 126"/>
                <a:gd name="T45" fmla="*/ 0 h 117"/>
                <a:gd name="T46" fmla="*/ 0 w 126"/>
                <a:gd name="T47" fmla="*/ 0 h 117"/>
                <a:gd name="T48" fmla="*/ 0 w 126"/>
                <a:gd name="T49" fmla="*/ 0 h 117"/>
                <a:gd name="T50" fmla="*/ 0 w 126"/>
                <a:gd name="T51" fmla="*/ 0 h 117"/>
                <a:gd name="T52" fmla="*/ 0 w 126"/>
                <a:gd name="T53" fmla="*/ 0 h 117"/>
                <a:gd name="T54" fmla="*/ 0 w 126"/>
                <a:gd name="T55" fmla="*/ 0 h 117"/>
                <a:gd name="T56" fmla="*/ 0 w 126"/>
                <a:gd name="T57" fmla="*/ 0 h 117"/>
                <a:gd name="T58" fmla="*/ 0 w 126"/>
                <a:gd name="T59" fmla="*/ 0 h 117"/>
                <a:gd name="T60" fmla="*/ 0 w 126"/>
                <a:gd name="T61" fmla="*/ 0 h 117"/>
                <a:gd name="T62" fmla="*/ 0 w 126"/>
                <a:gd name="T63" fmla="*/ 0 h 11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26"/>
                <a:gd name="T97" fmla="*/ 0 h 117"/>
                <a:gd name="T98" fmla="*/ 126 w 126"/>
                <a:gd name="T99" fmla="*/ 117 h 117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26" h="117">
                  <a:moveTo>
                    <a:pt x="52" y="117"/>
                  </a:moveTo>
                  <a:lnTo>
                    <a:pt x="54" y="111"/>
                  </a:lnTo>
                  <a:lnTo>
                    <a:pt x="65" y="112"/>
                  </a:lnTo>
                  <a:lnTo>
                    <a:pt x="81" y="99"/>
                  </a:lnTo>
                  <a:lnTo>
                    <a:pt x="105" y="97"/>
                  </a:lnTo>
                  <a:lnTo>
                    <a:pt x="107" y="86"/>
                  </a:lnTo>
                  <a:lnTo>
                    <a:pt x="106" y="81"/>
                  </a:lnTo>
                  <a:lnTo>
                    <a:pt x="111" y="52"/>
                  </a:lnTo>
                  <a:lnTo>
                    <a:pt x="126" y="37"/>
                  </a:lnTo>
                  <a:lnTo>
                    <a:pt x="111" y="22"/>
                  </a:lnTo>
                  <a:lnTo>
                    <a:pt x="107" y="14"/>
                  </a:lnTo>
                  <a:lnTo>
                    <a:pt x="106" y="8"/>
                  </a:lnTo>
                  <a:lnTo>
                    <a:pt x="67" y="13"/>
                  </a:lnTo>
                  <a:lnTo>
                    <a:pt x="62" y="13"/>
                  </a:lnTo>
                  <a:lnTo>
                    <a:pt x="67" y="10"/>
                  </a:lnTo>
                  <a:lnTo>
                    <a:pt x="69" y="0"/>
                  </a:lnTo>
                  <a:lnTo>
                    <a:pt x="65" y="3"/>
                  </a:lnTo>
                  <a:lnTo>
                    <a:pt x="51" y="4"/>
                  </a:lnTo>
                  <a:lnTo>
                    <a:pt x="44" y="20"/>
                  </a:lnTo>
                  <a:lnTo>
                    <a:pt x="38" y="26"/>
                  </a:lnTo>
                  <a:lnTo>
                    <a:pt x="32" y="22"/>
                  </a:lnTo>
                  <a:lnTo>
                    <a:pt x="27" y="30"/>
                  </a:lnTo>
                  <a:lnTo>
                    <a:pt x="0" y="40"/>
                  </a:lnTo>
                  <a:lnTo>
                    <a:pt x="11" y="52"/>
                  </a:lnTo>
                  <a:lnTo>
                    <a:pt x="25" y="54"/>
                  </a:lnTo>
                  <a:lnTo>
                    <a:pt x="25" y="65"/>
                  </a:lnTo>
                  <a:lnTo>
                    <a:pt x="24" y="73"/>
                  </a:lnTo>
                  <a:lnTo>
                    <a:pt x="26" y="87"/>
                  </a:lnTo>
                  <a:lnTo>
                    <a:pt x="31" y="99"/>
                  </a:lnTo>
                  <a:lnTo>
                    <a:pt x="33" y="106"/>
                  </a:lnTo>
                  <a:lnTo>
                    <a:pt x="38" y="114"/>
                  </a:lnTo>
                  <a:lnTo>
                    <a:pt x="52" y="11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07" name="Freeform 220">
              <a:extLst>
                <a:ext uri="{FF2B5EF4-FFF2-40B4-BE49-F238E27FC236}">
                  <a16:creationId xmlns:a16="http://schemas.microsoft.com/office/drawing/2014/main" id="{41064A17-1367-8867-EEFC-AC41A5F7005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450696" y="314013"/>
              <a:ext cx="2985" cy="1524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147483647 h 2"/>
                <a:gd name="T4" fmla="*/ 2147483647 w 1"/>
                <a:gd name="T5" fmla="*/ 2147483647 h 2"/>
                <a:gd name="T6" fmla="*/ 0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2"/>
                <a:gd name="T14" fmla="*/ 1 w 1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2">
                  <a:moveTo>
                    <a:pt x="0" y="0"/>
                  </a:moveTo>
                  <a:lnTo>
                    <a:pt x="0" y="2"/>
                  </a:lnTo>
                  <a:lnTo>
                    <a:pt x="1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08" name="Freeform 221">
              <a:extLst>
                <a:ext uri="{FF2B5EF4-FFF2-40B4-BE49-F238E27FC236}">
                  <a16:creationId xmlns:a16="http://schemas.microsoft.com/office/drawing/2014/main" id="{F8E50B57-9692-BF58-9FF2-4902535EBB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450696" y="315537"/>
              <a:ext cx="2985" cy="304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0 w 1"/>
                <a:gd name="T5" fmla="*/ 2147483647 h 1"/>
                <a:gd name="T6" fmla="*/ 0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1"/>
                <a:gd name="T14" fmla="*/ 1 w 1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09" name="Freeform 222">
              <a:extLst>
                <a:ext uri="{FF2B5EF4-FFF2-40B4-BE49-F238E27FC236}">
                  <a16:creationId xmlns:a16="http://schemas.microsoft.com/office/drawing/2014/main" id="{BB30E426-B465-BE11-B225-15D7C0681C5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79064" y="285052"/>
              <a:ext cx="120879" cy="152422"/>
            </a:xfrm>
            <a:custGeom>
              <a:avLst/>
              <a:gdLst>
                <a:gd name="T0" fmla="*/ 0 w 222"/>
                <a:gd name="T1" fmla="*/ 0 h 268"/>
                <a:gd name="T2" fmla="*/ 0 w 222"/>
                <a:gd name="T3" fmla="*/ 0 h 268"/>
                <a:gd name="T4" fmla="*/ 0 w 222"/>
                <a:gd name="T5" fmla="*/ 0 h 268"/>
                <a:gd name="T6" fmla="*/ 0 w 222"/>
                <a:gd name="T7" fmla="*/ 0 h 268"/>
                <a:gd name="T8" fmla="*/ 0 w 222"/>
                <a:gd name="T9" fmla="*/ 0 h 268"/>
                <a:gd name="T10" fmla="*/ 0 w 222"/>
                <a:gd name="T11" fmla="*/ 0 h 268"/>
                <a:gd name="T12" fmla="*/ 0 w 222"/>
                <a:gd name="T13" fmla="*/ 0 h 268"/>
                <a:gd name="T14" fmla="*/ 0 w 222"/>
                <a:gd name="T15" fmla="*/ 0 h 268"/>
                <a:gd name="T16" fmla="*/ 0 w 222"/>
                <a:gd name="T17" fmla="*/ 0 h 268"/>
                <a:gd name="T18" fmla="*/ 0 w 222"/>
                <a:gd name="T19" fmla="*/ 0 h 268"/>
                <a:gd name="T20" fmla="*/ 0 w 222"/>
                <a:gd name="T21" fmla="*/ 0 h 268"/>
                <a:gd name="T22" fmla="*/ 0 w 222"/>
                <a:gd name="T23" fmla="*/ 0 h 268"/>
                <a:gd name="T24" fmla="*/ 0 w 222"/>
                <a:gd name="T25" fmla="*/ 0 h 268"/>
                <a:gd name="T26" fmla="*/ 0 w 222"/>
                <a:gd name="T27" fmla="*/ 0 h 268"/>
                <a:gd name="T28" fmla="*/ 0 w 222"/>
                <a:gd name="T29" fmla="*/ 0 h 268"/>
                <a:gd name="T30" fmla="*/ 0 w 222"/>
                <a:gd name="T31" fmla="*/ 0 h 268"/>
                <a:gd name="T32" fmla="*/ 0 w 222"/>
                <a:gd name="T33" fmla="*/ 0 h 268"/>
                <a:gd name="T34" fmla="*/ 0 w 222"/>
                <a:gd name="T35" fmla="*/ 0 h 268"/>
                <a:gd name="T36" fmla="*/ 0 w 222"/>
                <a:gd name="T37" fmla="*/ 0 h 268"/>
                <a:gd name="T38" fmla="*/ 0 w 222"/>
                <a:gd name="T39" fmla="*/ 0 h 268"/>
                <a:gd name="T40" fmla="*/ 0 w 222"/>
                <a:gd name="T41" fmla="*/ 0 h 268"/>
                <a:gd name="T42" fmla="*/ 0 w 222"/>
                <a:gd name="T43" fmla="*/ 0 h 268"/>
                <a:gd name="T44" fmla="*/ 0 w 222"/>
                <a:gd name="T45" fmla="*/ 0 h 268"/>
                <a:gd name="T46" fmla="*/ 0 w 222"/>
                <a:gd name="T47" fmla="*/ 0 h 268"/>
                <a:gd name="T48" fmla="*/ 0 w 222"/>
                <a:gd name="T49" fmla="*/ 0 h 268"/>
                <a:gd name="T50" fmla="*/ 0 w 222"/>
                <a:gd name="T51" fmla="*/ 0 h 268"/>
                <a:gd name="T52" fmla="*/ 0 w 222"/>
                <a:gd name="T53" fmla="*/ 0 h 268"/>
                <a:gd name="T54" fmla="*/ 0 w 222"/>
                <a:gd name="T55" fmla="*/ 0 h 268"/>
                <a:gd name="T56" fmla="*/ 0 w 222"/>
                <a:gd name="T57" fmla="*/ 0 h 268"/>
                <a:gd name="T58" fmla="*/ 0 w 222"/>
                <a:gd name="T59" fmla="*/ 0 h 268"/>
                <a:gd name="T60" fmla="*/ 0 w 222"/>
                <a:gd name="T61" fmla="*/ 0 h 268"/>
                <a:gd name="T62" fmla="*/ 0 w 222"/>
                <a:gd name="T63" fmla="*/ 0 h 268"/>
                <a:gd name="T64" fmla="*/ 0 w 222"/>
                <a:gd name="T65" fmla="*/ 0 h 268"/>
                <a:gd name="T66" fmla="*/ 0 w 222"/>
                <a:gd name="T67" fmla="*/ 0 h 268"/>
                <a:gd name="T68" fmla="*/ 0 w 222"/>
                <a:gd name="T69" fmla="*/ 0 h 268"/>
                <a:gd name="T70" fmla="*/ 0 w 222"/>
                <a:gd name="T71" fmla="*/ 0 h 268"/>
                <a:gd name="T72" fmla="*/ 0 w 222"/>
                <a:gd name="T73" fmla="*/ 0 h 268"/>
                <a:gd name="T74" fmla="*/ 0 w 222"/>
                <a:gd name="T75" fmla="*/ 0 h 268"/>
                <a:gd name="T76" fmla="*/ 0 w 222"/>
                <a:gd name="T77" fmla="*/ 0 h 268"/>
                <a:gd name="T78" fmla="*/ 0 w 222"/>
                <a:gd name="T79" fmla="*/ 0 h 268"/>
                <a:gd name="T80" fmla="*/ 0 w 222"/>
                <a:gd name="T81" fmla="*/ 0 h 268"/>
                <a:gd name="T82" fmla="*/ 0 w 222"/>
                <a:gd name="T83" fmla="*/ 0 h 268"/>
                <a:gd name="T84" fmla="*/ 0 w 222"/>
                <a:gd name="T85" fmla="*/ 0 h 268"/>
                <a:gd name="T86" fmla="*/ 0 w 222"/>
                <a:gd name="T87" fmla="*/ 0 h 268"/>
                <a:gd name="T88" fmla="*/ 0 w 222"/>
                <a:gd name="T89" fmla="*/ 0 h 268"/>
                <a:gd name="T90" fmla="*/ 0 w 222"/>
                <a:gd name="T91" fmla="*/ 0 h 268"/>
                <a:gd name="T92" fmla="*/ 0 w 222"/>
                <a:gd name="T93" fmla="*/ 0 h 268"/>
                <a:gd name="T94" fmla="*/ 0 w 222"/>
                <a:gd name="T95" fmla="*/ 0 h 268"/>
                <a:gd name="T96" fmla="*/ 0 w 222"/>
                <a:gd name="T97" fmla="*/ 0 h 268"/>
                <a:gd name="T98" fmla="*/ 0 w 222"/>
                <a:gd name="T99" fmla="*/ 0 h 268"/>
                <a:gd name="T100" fmla="*/ 0 w 222"/>
                <a:gd name="T101" fmla="*/ 0 h 268"/>
                <a:gd name="T102" fmla="*/ 0 w 222"/>
                <a:gd name="T103" fmla="*/ 0 h 268"/>
                <a:gd name="T104" fmla="*/ 0 w 222"/>
                <a:gd name="T105" fmla="*/ 0 h 26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268"/>
                <a:gd name="T161" fmla="*/ 222 w 222"/>
                <a:gd name="T162" fmla="*/ 268 h 26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268">
                  <a:moveTo>
                    <a:pt x="207" y="140"/>
                  </a:moveTo>
                  <a:lnTo>
                    <a:pt x="206" y="133"/>
                  </a:lnTo>
                  <a:lnTo>
                    <a:pt x="201" y="133"/>
                  </a:lnTo>
                  <a:lnTo>
                    <a:pt x="201" y="128"/>
                  </a:lnTo>
                  <a:lnTo>
                    <a:pt x="196" y="117"/>
                  </a:lnTo>
                  <a:lnTo>
                    <a:pt x="190" y="116"/>
                  </a:lnTo>
                  <a:lnTo>
                    <a:pt x="184" y="106"/>
                  </a:lnTo>
                  <a:lnTo>
                    <a:pt x="180" y="107"/>
                  </a:lnTo>
                  <a:lnTo>
                    <a:pt x="178" y="114"/>
                  </a:lnTo>
                  <a:lnTo>
                    <a:pt x="162" y="124"/>
                  </a:lnTo>
                  <a:lnTo>
                    <a:pt x="150" y="116"/>
                  </a:lnTo>
                  <a:lnTo>
                    <a:pt x="145" y="108"/>
                  </a:lnTo>
                  <a:lnTo>
                    <a:pt x="139" y="106"/>
                  </a:lnTo>
                  <a:lnTo>
                    <a:pt x="131" y="90"/>
                  </a:lnTo>
                  <a:lnTo>
                    <a:pt x="124" y="86"/>
                  </a:lnTo>
                  <a:lnTo>
                    <a:pt x="120" y="75"/>
                  </a:lnTo>
                  <a:lnTo>
                    <a:pt x="120" y="64"/>
                  </a:lnTo>
                  <a:lnTo>
                    <a:pt x="125" y="51"/>
                  </a:lnTo>
                  <a:lnTo>
                    <a:pt x="134" y="53"/>
                  </a:lnTo>
                  <a:lnTo>
                    <a:pt x="134" y="43"/>
                  </a:lnTo>
                  <a:lnTo>
                    <a:pt x="137" y="37"/>
                  </a:lnTo>
                  <a:lnTo>
                    <a:pt x="128" y="19"/>
                  </a:lnTo>
                  <a:lnTo>
                    <a:pt x="119" y="25"/>
                  </a:lnTo>
                  <a:lnTo>
                    <a:pt x="114" y="15"/>
                  </a:lnTo>
                  <a:lnTo>
                    <a:pt x="114" y="6"/>
                  </a:lnTo>
                  <a:lnTo>
                    <a:pt x="112" y="0"/>
                  </a:lnTo>
                  <a:lnTo>
                    <a:pt x="110" y="0"/>
                  </a:lnTo>
                  <a:lnTo>
                    <a:pt x="106" y="15"/>
                  </a:lnTo>
                  <a:lnTo>
                    <a:pt x="93" y="17"/>
                  </a:lnTo>
                  <a:lnTo>
                    <a:pt x="87" y="26"/>
                  </a:lnTo>
                  <a:lnTo>
                    <a:pt x="66" y="28"/>
                  </a:lnTo>
                  <a:lnTo>
                    <a:pt x="50" y="23"/>
                  </a:lnTo>
                  <a:lnTo>
                    <a:pt x="28" y="32"/>
                  </a:lnTo>
                  <a:lnTo>
                    <a:pt x="2" y="51"/>
                  </a:lnTo>
                  <a:lnTo>
                    <a:pt x="2" y="59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1" y="75"/>
                  </a:lnTo>
                  <a:lnTo>
                    <a:pt x="16" y="75"/>
                  </a:lnTo>
                  <a:lnTo>
                    <a:pt x="16" y="86"/>
                  </a:lnTo>
                  <a:lnTo>
                    <a:pt x="39" y="101"/>
                  </a:lnTo>
                  <a:lnTo>
                    <a:pt x="35" y="108"/>
                  </a:lnTo>
                  <a:lnTo>
                    <a:pt x="34" y="119"/>
                  </a:lnTo>
                  <a:lnTo>
                    <a:pt x="27" y="134"/>
                  </a:lnTo>
                  <a:lnTo>
                    <a:pt x="27" y="140"/>
                  </a:lnTo>
                  <a:lnTo>
                    <a:pt x="21" y="150"/>
                  </a:lnTo>
                  <a:lnTo>
                    <a:pt x="22" y="156"/>
                  </a:lnTo>
                  <a:lnTo>
                    <a:pt x="21" y="165"/>
                  </a:lnTo>
                  <a:lnTo>
                    <a:pt x="20" y="166"/>
                  </a:lnTo>
                  <a:lnTo>
                    <a:pt x="21" y="172"/>
                  </a:lnTo>
                  <a:lnTo>
                    <a:pt x="20" y="177"/>
                  </a:lnTo>
                  <a:lnTo>
                    <a:pt x="5" y="187"/>
                  </a:lnTo>
                  <a:lnTo>
                    <a:pt x="5" y="192"/>
                  </a:lnTo>
                  <a:lnTo>
                    <a:pt x="4" y="195"/>
                  </a:lnTo>
                  <a:lnTo>
                    <a:pt x="0" y="198"/>
                  </a:lnTo>
                  <a:lnTo>
                    <a:pt x="1" y="205"/>
                  </a:lnTo>
                  <a:lnTo>
                    <a:pt x="0" y="214"/>
                  </a:lnTo>
                  <a:lnTo>
                    <a:pt x="8" y="222"/>
                  </a:lnTo>
                  <a:lnTo>
                    <a:pt x="17" y="216"/>
                  </a:lnTo>
                  <a:lnTo>
                    <a:pt x="26" y="222"/>
                  </a:lnTo>
                  <a:lnTo>
                    <a:pt x="32" y="215"/>
                  </a:lnTo>
                  <a:lnTo>
                    <a:pt x="66" y="214"/>
                  </a:lnTo>
                  <a:lnTo>
                    <a:pt x="67" y="210"/>
                  </a:lnTo>
                  <a:lnTo>
                    <a:pt x="77" y="208"/>
                  </a:lnTo>
                  <a:lnTo>
                    <a:pt x="80" y="198"/>
                  </a:lnTo>
                  <a:lnTo>
                    <a:pt x="87" y="189"/>
                  </a:lnTo>
                  <a:lnTo>
                    <a:pt x="97" y="191"/>
                  </a:lnTo>
                  <a:lnTo>
                    <a:pt x="98" y="193"/>
                  </a:lnTo>
                  <a:lnTo>
                    <a:pt x="94" y="200"/>
                  </a:lnTo>
                  <a:lnTo>
                    <a:pt x="96" y="205"/>
                  </a:lnTo>
                  <a:lnTo>
                    <a:pt x="98" y="209"/>
                  </a:lnTo>
                  <a:lnTo>
                    <a:pt x="103" y="195"/>
                  </a:lnTo>
                  <a:lnTo>
                    <a:pt x="110" y="195"/>
                  </a:lnTo>
                  <a:lnTo>
                    <a:pt x="107" y="205"/>
                  </a:lnTo>
                  <a:lnTo>
                    <a:pt x="107" y="210"/>
                  </a:lnTo>
                  <a:lnTo>
                    <a:pt x="99" y="214"/>
                  </a:lnTo>
                  <a:lnTo>
                    <a:pt x="94" y="222"/>
                  </a:lnTo>
                  <a:lnTo>
                    <a:pt x="97" y="235"/>
                  </a:lnTo>
                  <a:lnTo>
                    <a:pt x="96" y="240"/>
                  </a:lnTo>
                  <a:lnTo>
                    <a:pt x="85" y="253"/>
                  </a:lnTo>
                  <a:lnTo>
                    <a:pt x="91" y="265"/>
                  </a:lnTo>
                  <a:lnTo>
                    <a:pt x="99" y="259"/>
                  </a:lnTo>
                  <a:lnTo>
                    <a:pt x="101" y="268"/>
                  </a:lnTo>
                  <a:lnTo>
                    <a:pt x="110" y="259"/>
                  </a:lnTo>
                  <a:lnTo>
                    <a:pt x="109" y="252"/>
                  </a:lnTo>
                  <a:lnTo>
                    <a:pt x="112" y="248"/>
                  </a:lnTo>
                  <a:lnTo>
                    <a:pt x="125" y="238"/>
                  </a:lnTo>
                  <a:lnTo>
                    <a:pt x="125" y="232"/>
                  </a:lnTo>
                  <a:lnTo>
                    <a:pt x="126" y="232"/>
                  </a:lnTo>
                  <a:lnTo>
                    <a:pt x="129" y="237"/>
                  </a:lnTo>
                  <a:lnTo>
                    <a:pt x="133" y="240"/>
                  </a:lnTo>
                  <a:lnTo>
                    <a:pt x="142" y="235"/>
                  </a:lnTo>
                  <a:lnTo>
                    <a:pt x="144" y="229"/>
                  </a:lnTo>
                  <a:lnTo>
                    <a:pt x="146" y="225"/>
                  </a:lnTo>
                  <a:lnTo>
                    <a:pt x="151" y="226"/>
                  </a:lnTo>
                  <a:lnTo>
                    <a:pt x="151" y="216"/>
                  </a:lnTo>
                  <a:lnTo>
                    <a:pt x="160" y="213"/>
                  </a:lnTo>
                  <a:lnTo>
                    <a:pt x="166" y="202"/>
                  </a:lnTo>
                  <a:lnTo>
                    <a:pt x="166" y="193"/>
                  </a:lnTo>
                  <a:lnTo>
                    <a:pt x="169" y="184"/>
                  </a:lnTo>
                  <a:lnTo>
                    <a:pt x="179" y="175"/>
                  </a:lnTo>
                  <a:lnTo>
                    <a:pt x="180" y="165"/>
                  </a:lnTo>
                  <a:lnTo>
                    <a:pt x="204" y="152"/>
                  </a:lnTo>
                  <a:lnTo>
                    <a:pt x="222" y="152"/>
                  </a:lnTo>
                  <a:lnTo>
                    <a:pt x="222" y="148"/>
                  </a:lnTo>
                  <a:lnTo>
                    <a:pt x="221" y="145"/>
                  </a:lnTo>
                  <a:lnTo>
                    <a:pt x="207" y="14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10" name="Freeform 223">
              <a:extLst>
                <a:ext uri="{FF2B5EF4-FFF2-40B4-BE49-F238E27FC236}">
                  <a16:creationId xmlns:a16="http://schemas.microsoft.com/office/drawing/2014/main" id="{C8EB72B1-A9AA-BC83-D44B-FD3C9983E1A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02954" y="24"/>
              <a:ext cx="262652" cy="146325"/>
            </a:xfrm>
            <a:custGeom>
              <a:avLst/>
              <a:gdLst>
                <a:gd name="T0" fmla="*/ 0 w 496"/>
                <a:gd name="T1" fmla="*/ 0 h 260"/>
                <a:gd name="T2" fmla="*/ 0 w 496"/>
                <a:gd name="T3" fmla="*/ 0 h 260"/>
                <a:gd name="T4" fmla="*/ 0 w 496"/>
                <a:gd name="T5" fmla="*/ 0 h 260"/>
                <a:gd name="T6" fmla="*/ 0 w 496"/>
                <a:gd name="T7" fmla="*/ 0 h 260"/>
                <a:gd name="T8" fmla="*/ 0 w 496"/>
                <a:gd name="T9" fmla="*/ 0 h 260"/>
                <a:gd name="T10" fmla="*/ 0 w 496"/>
                <a:gd name="T11" fmla="*/ 0 h 260"/>
                <a:gd name="T12" fmla="*/ 0 w 496"/>
                <a:gd name="T13" fmla="*/ 0 h 260"/>
                <a:gd name="T14" fmla="*/ 0 w 496"/>
                <a:gd name="T15" fmla="*/ 0 h 260"/>
                <a:gd name="T16" fmla="*/ 0 w 496"/>
                <a:gd name="T17" fmla="*/ 0 h 260"/>
                <a:gd name="T18" fmla="*/ 0 w 496"/>
                <a:gd name="T19" fmla="*/ 0 h 260"/>
                <a:gd name="T20" fmla="*/ 0 w 496"/>
                <a:gd name="T21" fmla="*/ 0 h 260"/>
                <a:gd name="T22" fmla="*/ 0 w 496"/>
                <a:gd name="T23" fmla="*/ 0 h 260"/>
                <a:gd name="T24" fmla="*/ 0 w 496"/>
                <a:gd name="T25" fmla="*/ 0 h 260"/>
                <a:gd name="T26" fmla="*/ 0 w 496"/>
                <a:gd name="T27" fmla="*/ 0 h 260"/>
                <a:gd name="T28" fmla="*/ 0 w 496"/>
                <a:gd name="T29" fmla="*/ 0 h 260"/>
                <a:gd name="T30" fmla="*/ 0 w 496"/>
                <a:gd name="T31" fmla="*/ 0 h 260"/>
                <a:gd name="T32" fmla="*/ 0 w 496"/>
                <a:gd name="T33" fmla="*/ 0 h 260"/>
                <a:gd name="T34" fmla="*/ 0 w 496"/>
                <a:gd name="T35" fmla="*/ 0 h 260"/>
                <a:gd name="T36" fmla="*/ 0 w 496"/>
                <a:gd name="T37" fmla="*/ 0 h 260"/>
                <a:gd name="T38" fmla="*/ 0 w 496"/>
                <a:gd name="T39" fmla="*/ 0 h 260"/>
                <a:gd name="T40" fmla="*/ 0 w 496"/>
                <a:gd name="T41" fmla="*/ 0 h 260"/>
                <a:gd name="T42" fmla="*/ 0 w 496"/>
                <a:gd name="T43" fmla="*/ 0 h 260"/>
                <a:gd name="T44" fmla="*/ 0 w 496"/>
                <a:gd name="T45" fmla="*/ 0 h 260"/>
                <a:gd name="T46" fmla="*/ 0 w 496"/>
                <a:gd name="T47" fmla="*/ 0 h 260"/>
                <a:gd name="T48" fmla="*/ 0 w 496"/>
                <a:gd name="T49" fmla="*/ 0 h 260"/>
                <a:gd name="T50" fmla="*/ 0 w 496"/>
                <a:gd name="T51" fmla="*/ 0 h 260"/>
                <a:gd name="T52" fmla="*/ 0 w 496"/>
                <a:gd name="T53" fmla="*/ 0 h 260"/>
                <a:gd name="T54" fmla="*/ 0 w 496"/>
                <a:gd name="T55" fmla="*/ 0 h 260"/>
                <a:gd name="T56" fmla="*/ 0 w 496"/>
                <a:gd name="T57" fmla="*/ 0 h 260"/>
                <a:gd name="T58" fmla="*/ 0 w 496"/>
                <a:gd name="T59" fmla="*/ 0 h 260"/>
                <a:gd name="T60" fmla="*/ 0 w 496"/>
                <a:gd name="T61" fmla="*/ 0 h 260"/>
                <a:gd name="T62" fmla="*/ 0 w 496"/>
                <a:gd name="T63" fmla="*/ 0 h 260"/>
                <a:gd name="T64" fmla="*/ 0 w 496"/>
                <a:gd name="T65" fmla="*/ 0 h 260"/>
                <a:gd name="T66" fmla="*/ 0 w 496"/>
                <a:gd name="T67" fmla="*/ 0 h 260"/>
                <a:gd name="T68" fmla="*/ 0 w 496"/>
                <a:gd name="T69" fmla="*/ 0 h 260"/>
                <a:gd name="T70" fmla="*/ 2147483647 w 496"/>
                <a:gd name="T71" fmla="*/ 0 h 260"/>
                <a:gd name="T72" fmla="*/ 2147483647 w 496"/>
                <a:gd name="T73" fmla="*/ 0 h 260"/>
                <a:gd name="T74" fmla="*/ 2147483647 w 496"/>
                <a:gd name="T75" fmla="*/ 0 h 260"/>
                <a:gd name="T76" fmla="*/ 2147483647 w 496"/>
                <a:gd name="T77" fmla="*/ 0 h 260"/>
                <a:gd name="T78" fmla="*/ 2147483647 w 496"/>
                <a:gd name="T79" fmla="*/ 0 h 260"/>
                <a:gd name="T80" fmla="*/ 2147483647 w 496"/>
                <a:gd name="T81" fmla="*/ 0 h 260"/>
                <a:gd name="T82" fmla="*/ 2147483647 w 496"/>
                <a:gd name="T83" fmla="*/ 0 h 260"/>
                <a:gd name="T84" fmla="*/ 2147483647 w 496"/>
                <a:gd name="T85" fmla="*/ 0 h 260"/>
                <a:gd name="T86" fmla="*/ 2147483647 w 496"/>
                <a:gd name="T87" fmla="*/ 0 h 260"/>
                <a:gd name="T88" fmla="*/ 2147483647 w 496"/>
                <a:gd name="T89" fmla="*/ 0 h 260"/>
                <a:gd name="T90" fmla="*/ 2147483647 w 496"/>
                <a:gd name="T91" fmla="*/ 0 h 260"/>
                <a:gd name="T92" fmla="*/ 2147483647 w 496"/>
                <a:gd name="T93" fmla="*/ 0 h 260"/>
                <a:gd name="T94" fmla="*/ 2147483647 w 496"/>
                <a:gd name="T95" fmla="*/ 0 h 260"/>
                <a:gd name="T96" fmla="*/ 2147483647 w 496"/>
                <a:gd name="T97" fmla="*/ 0 h 260"/>
                <a:gd name="T98" fmla="*/ 0 w 496"/>
                <a:gd name="T99" fmla="*/ 0 h 260"/>
                <a:gd name="T100" fmla="*/ 0 w 496"/>
                <a:gd name="T101" fmla="*/ 0 h 260"/>
                <a:gd name="T102" fmla="*/ 0 w 496"/>
                <a:gd name="T103" fmla="*/ 0 h 260"/>
                <a:gd name="T104" fmla="*/ 0 w 496"/>
                <a:gd name="T105" fmla="*/ 0 h 26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96"/>
                <a:gd name="T160" fmla="*/ 0 h 260"/>
                <a:gd name="T161" fmla="*/ 496 w 496"/>
                <a:gd name="T162" fmla="*/ 260 h 26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96" h="260">
                  <a:moveTo>
                    <a:pt x="32" y="12"/>
                  </a:moveTo>
                  <a:lnTo>
                    <a:pt x="30" y="17"/>
                  </a:lnTo>
                  <a:lnTo>
                    <a:pt x="20" y="11"/>
                  </a:lnTo>
                  <a:lnTo>
                    <a:pt x="18" y="12"/>
                  </a:lnTo>
                  <a:lnTo>
                    <a:pt x="23" y="18"/>
                  </a:lnTo>
                  <a:lnTo>
                    <a:pt x="23" y="22"/>
                  </a:lnTo>
                  <a:lnTo>
                    <a:pt x="13" y="22"/>
                  </a:lnTo>
                  <a:lnTo>
                    <a:pt x="0" y="36"/>
                  </a:lnTo>
                  <a:lnTo>
                    <a:pt x="2" y="41"/>
                  </a:lnTo>
                  <a:lnTo>
                    <a:pt x="9" y="43"/>
                  </a:lnTo>
                  <a:lnTo>
                    <a:pt x="8" y="54"/>
                  </a:lnTo>
                  <a:lnTo>
                    <a:pt x="15" y="61"/>
                  </a:lnTo>
                  <a:lnTo>
                    <a:pt x="15" y="68"/>
                  </a:lnTo>
                  <a:lnTo>
                    <a:pt x="21" y="80"/>
                  </a:lnTo>
                  <a:lnTo>
                    <a:pt x="23" y="72"/>
                  </a:lnTo>
                  <a:lnTo>
                    <a:pt x="29" y="68"/>
                  </a:lnTo>
                  <a:lnTo>
                    <a:pt x="27" y="72"/>
                  </a:lnTo>
                  <a:lnTo>
                    <a:pt x="29" y="76"/>
                  </a:lnTo>
                  <a:lnTo>
                    <a:pt x="32" y="77"/>
                  </a:lnTo>
                  <a:lnTo>
                    <a:pt x="29" y="85"/>
                  </a:lnTo>
                  <a:lnTo>
                    <a:pt x="36" y="91"/>
                  </a:lnTo>
                  <a:lnTo>
                    <a:pt x="67" y="88"/>
                  </a:lnTo>
                  <a:lnTo>
                    <a:pt x="70" y="91"/>
                  </a:lnTo>
                  <a:lnTo>
                    <a:pt x="70" y="97"/>
                  </a:lnTo>
                  <a:lnTo>
                    <a:pt x="75" y="98"/>
                  </a:lnTo>
                  <a:lnTo>
                    <a:pt x="85" y="90"/>
                  </a:lnTo>
                  <a:lnTo>
                    <a:pt x="85" y="86"/>
                  </a:lnTo>
                  <a:lnTo>
                    <a:pt x="102" y="86"/>
                  </a:lnTo>
                  <a:lnTo>
                    <a:pt x="107" y="79"/>
                  </a:lnTo>
                  <a:lnTo>
                    <a:pt x="121" y="79"/>
                  </a:lnTo>
                  <a:lnTo>
                    <a:pt x="122" y="74"/>
                  </a:lnTo>
                  <a:lnTo>
                    <a:pt x="142" y="76"/>
                  </a:lnTo>
                  <a:lnTo>
                    <a:pt x="144" y="69"/>
                  </a:lnTo>
                  <a:lnTo>
                    <a:pt x="187" y="70"/>
                  </a:lnTo>
                  <a:lnTo>
                    <a:pt x="192" y="63"/>
                  </a:lnTo>
                  <a:lnTo>
                    <a:pt x="202" y="66"/>
                  </a:lnTo>
                  <a:lnTo>
                    <a:pt x="207" y="60"/>
                  </a:lnTo>
                  <a:lnTo>
                    <a:pt x="207" y="71"/>
                  </a:lnTo>
                  <a:lnTo>
                    <a:pt x="199" y="76"/>
                  </a:lnTo>
                  <a:lnTo>
                    <a:pt x="211" y="77"/>
                  </a:lnTo>
                  <a:lnTo>
                    <a:pt x="209" y="81"/>
                  </a:lnTo>
                  <a:lnTo>
                    <a:pt x="209" y="88"/>
                  </a:lnTo>
                  <a:lnTo>
                    <a:pt x="201" y="91"/>
                  </a:lnTo>
                  <a:lnTo>
                    <a:pt x="201" y="95"/>
                  </a:lnTo>
                  <a:lnTo>
                    <a:pt x="202" y="96"/>
                  </a:lnTo>
                  <a:lnTo>
                    <a:pt x="201" y="99"/>
                  </a:lnTo>
                  <a:lnTo>
                    <a:pt x="156" y="98"/>
                  </a:lnTo>
                  <a:lnTo>
                    <a:pt x="153" y="106"/>
                  </a:lnTo>
                  <a:lnTo>
                    <a:pt x="149" y="104"/>
                  </a:lnTo>
                  <a:lnTo>
                    <a:pt x="149" y="98"/>
                  </a:lnTo>
                  <a:lnTo>
                    <a:pt x="133" y="106"/>
                  </a:lnTo>
                  <a:lnTo>
                    <a:pt x="136" y="112"/>
                  </a:lnTo>
                  <a:lnTo>
                    <a:pt x="132" y="118"/>
                  </a:lnTo>
                  <a:lnTo>
                    <a:pt x="145" y="123"/>
                  </a:lnTo>
                  <a:lnTo>
                    <a:pt x="147" y="128"/>
                  </a:lnTo>
                  <a:lnTo>
                    <a:pt x="156" y="127"/>
                  </a:lnTo>
                  <a:lnTo>
                    <a:pt x="158" y="130"/>
                  </a:lnTo>
                  <a:lnTo>
                    <a:pt x="158" y="135"/>
                  </a:lnTo>
                  <a:lnTo>
                    <a:pt x="161" y="140"/>
                  </a:lnTo>
                  <a:lnTo>
                    <a:pt x="153" y="144"/>
                  </a:lnTo>
                  <a:lnTo>
                    <a:pt x="144" y="135"/>
                  </a:lnTo>
                  <a:lnTo>
                    <a:pt x="118" y="138"/>
                  </a:lnTo>
                  <a:lnTo>
                    <a:pt x="117" y="131"/>
                  </a:lnTo>
                  <a:lnTo>
                    <a:pt x="112" y="130"/>
                  </a:lnTo>
                  <a:lnTo>
                    <a:pt x="112" y="124"/>
                  </a:lnTo>
                  <a:lnTo>
                    <a:pt x="98" y="119"/>
                  </a:lnTo>
                  <a:lnTo>
                    <a:pt x="85" y="128"/>
                  </a:lnTo>
                  <a:lnTo>
                    <a:pt x="84" y="131"/>
                  </a:lnTo>
                  <a:lnTo>
                    <a:pt x="86" y="138"/>
                  </a:lnTo>
                  <a:lnTo>
                    <a:pt x="94" y="145"/>
                  </a:lnTo>
                  <a:lnTo>
                    <a:pt x="96" y="154"/>
                  </a:lnTo>
                  <a:lnTo>
                    <a:pt x="106" y="158"/>
                  </a:lnTo>
                  <a:lnTo>
                    <a:pt x="115" y="172"/>
                  </a:lnTo>
                  <a:lnTo>
                    <a:pt x="139" y="174"/>
                  </a:lnTo>
                  <a:lnTo>
                    <a:pt x="142" y="183"/>
                  </a:lnTo>
                  <a:lnTo>
                    <a:pt x="142" y="194"/>
                  </a:lnTo>
                  <a:lnTo>
                    <a:pt x="150" y="203"/>
                  </a:lnTo>
                  <a:lnTo>
                    <a:pt x="160" y="199"/>
                  </a:lnTo>
                  <a:lnTo>
                    <a:pt x="161" y="199"/>
                  </a:lnTo>
                  <a:lnTo>
                    <a:pt x="161" y="194"/>
                  </a:lnTo>
                  <a:lnTo>
                    <a:pt x="175" y="188"/>
                  </a:lnTo>
                  <a:lnTo>
                    <a:pt x="181" y="195"/>
                  </a:lnTo>
                  <a:lnTo>
                    <a:pt x="182" y="183"/>
                  </a:lnTo>
                  <a:lnTo>
                    <a:pt x="186" y="183"/>
                  </a:lnTo>
                  <a:lnTo>
                    <a:pt x="187" y="190"/>
                  </a:lnTo>
                  <a:lnTo>
                    <a:pt x="203" y="199"/>
                  </a:lnTo>
                  <a:lnTo>
                    <a:pt x="218" y="187"/>
                  </a:lnTo>
                  <a:lnTo>
                    <a:pt x="241" y="195"/>
                  </a:lnTo>
                  <a:lnTo>
                    <a:pt x="246" y="192"/>
                  </a:lnTo>
                  <a:lnTo>
                    <a:pt x="249" y="187"/>
                  </a:lnTo>
                  <a:lnTo>
                    <a:pt x="250" y="188"/>
                  </a:lnTo>
                  <a:lnTo>
                    <a:pt x="249" y="198"/>
                  </a:lnTo>
                  <a:lnTo>
                    <a:pt x="244" y="206"/>
                  </a:lnTo>
                  <a:lnTo>
                    <a:pt x="246" y="224"/>
                  </a:lnTo>
                  <a:lnTo>
                    <a:pt x="254" y="232"/>
                  </a:lnTo>
                  <a:lnTo>
                    <a:pt x="257" y="228"/>
                  </a:lnTo>
                  <a:lnTo>
                    <a:pt x="255" y="236"/>
                  </a:lnTo>
                  <a:lnTo>
                    <a:pt x="263" y="243"/>
                  </a:lnTo>
                  <a:lnTo>
                    <a:pt x="261" y="246"/>
                  </a:lnTo>
                  <a:lnTo>
                    <a:pt x="262" y="249"/>
                  </a:lnTo>
                  <a:lnTo>
                    <a:pt x="278" y="253"/>
                  </a:lnTo>
                  <a:lnTo>
                    <a:pt x="279" y="259"/>
                  </a:lnTo>
                  <a:lnTo>
                    <a:pt x="283" y="260"/>
                  </a:lnTo>
                  <a:lnTo>
                    <a:pt x="287" y="254"/>
                  </a:lnTo>
                  <a:lnTo>
                    <a:pt x="287" y="259"/>
                  </a:lnTo>
                  <a:lnTo>
                    <a:pt x="315" y="255"/>
                  </a:lnTo>
                  <a:lnTo>
                    <a:pt x="328" y="247"/>
                  </a:lnTo>
                  <a:lnTo>
                    <a:pt x="332" y="236"/>
                  </a:lnTo>
                  <a:lnTo>
                    <a:pt x="333" y="221"/>
                  </a:lnTo>
                  <a:lnTo>
                    <a:pt x="337" y="217"/>
                  </a:lnTo>
                  <a:lnTo>
                    <a:pt x="354" y="211"/>
                  </a:lnTo>
                  <a:lnTo>
                    <a:pt x="367" y="199"/>
                  </a:lnTo>
                  <a:lnTo>
                    <a:pt x="376" y="204"/>
                  </a:lnTo>
                  <a:lnTo>
                    <a:pt x="376" y="209"/>
                  </a:lnTo>
                  <a:lnTo>
                    <a:pt x="379" y="211"/>
                  </a:lnTo>
                  <a:lnTo>
                    <a:pt x="385" y="204"/>
                  </a:lnTo>
                  <a:lnTo>
                    <a:pt x="391" y="208"/>
                  </a:lnTo>
                  <a:lnTo>
                    <a:pt x="405" y="194"/>
                  </a:lnTo>
                  <a:lnTo>
                    <a:pt x="414" y="188"/>
                  </a:lnTo>
                  <a:lnTo>
                    <a:pt x="413" y="182"/>
                  </a:lnTo>
                  <a:lnTo>
                    <a:pt x="418" y="174"/>
                  </a:lnTo>
                  <a:lnTo>
                    <a:pt x="417" y="166"/>
                  </a:lnTo>
                  <a:lnTo>
                    <a:pt x="424" y="163"/>
                  </a:lnTo>
                  <a:lnTo>
                    <a:pt x="425" y="156"/>
                  </a:lnTo>
                  <a:lnTo>
                    <a:pt x="425" y="150"/>
                  </a:lnTo>
                  <a:lnTo>
                    <a:pt x="428" y="150"/>
                  </a:lnTo>
                  <a:lnTo>
                    <a:pt x="427" y="142"/>
                  </a:lnTo>
                  <a:lnTo>
                    <a:pt x="422" y="140"/>
                  </a:lnTo>
                  <a:lnTo>
                    <a:pt x="421" y="124"/>
                  </a:lnTo>
                  <a:lnTo>
                    <a:pt x="433" y="114"/>
                  </a:lnTo>
                  <a:lnTo>
                    <a:pt x="434" y="109"/>
                  </a:lnTo>
                  <a:lnTo>
                    <a:pt x="443" y="112"/>
                  </a:lnTo>
                  <a:lnTo>
                    <a:pt x="448" y="98"/>
                  </a:lnTo>
                  <a:lnTo>
                    <a:pt x="455" y="99"/>
                  </a:lnTo>
                  <a:lnTo>
                    <a:pt x="459" y="87"/>
                  </a:lnTo>
                  <a:lnTo>
                    <a:pt x="465" y="86"/>
                  </a:lnTo>
                  <a:lnTo>
                    <a:pt x="462" y="84"/>
                  </a:lnTo>
                  <a:lnTo>
                    <a:pt x="462" y="79"/>
                  </a:lnTo>
                  <a:lnTo>
                    <a:pt x="472" y="66"/>
                  </a:lnTo>
                  <a:lnTo>
                    <a:pt x="473" y="60"/>
                  </a:lnTo>
                  <a:lnTo>
                    <a:pt x="491" y="57"/>
                  </a:lnTo>
                  <a:lnTo>
                    <a:pt x="494" y="44"/>
                  </a:lnTo>
                  <a:lnTo>
                    <a:pt x="496" y="37"/>
                  </a:lnTo>
                  <a:lnTo>
                    <a:pt x="487" y="28"/>
                  </a:lnTo>
                  <a:lnTo>
                    <a:pt x="488" y="26"/>
                  </a:lnTo>
                  <a:lnTo>
                    <a:pt x="487" y="21"/>
                  </a:lnTo>
                  <a:lnTo>
                    <a:pt x="492" y="11"/>
                  </a:lnTo>
                  <a:lnTo>
                    <a:pt x="491" y="4"/>
                  </a:lnTo>
                  <a:lnTo>
                    <a:pt x="492" y="0"/>
                  </a:lnTo>
                  <a:lnTo>
                    <a:pt x="235" y="0"/>
                  </a:lnTo>
                  <a:lnTo>
                    <a:pt x="235" y="4"/>
                  </a:lnTo>
                  <a:lnTo>
                    <a:pt x="230" y="2"/>
                  </a:lnTo>
                  <a:lnTo>
                    <a:pt x="228" y="11"/>
                  </a:lnTo>
                  <a:lnTo>
                    <a:pt x="222" y="5"/>
                  </a:lnTo>
                  <a:lnTo>
                    <a:pt x="219" y="0"/>
                  </a:lnTo>
                  <a:lnTo>
                    <a:pt x="67" y="0"/>
                  </a:lnTo>
                  <a:lnTo>
                    <a:pt x="66" y="0"/>
                  </a:lnTo>
                  <a:lnTo>
                    <a:pt x="35" y="0"/>
                  </a:lnTo>
                  <a:lnTo>
                    <a:pt x="31" y="6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11" name="Freeform 224">
              <a:extLst>
                <a:ext uri="{FF2B5EF4-FFF2-40B4-BE49-F238E27FC236}">
                  <a16:creationId xmlns:a16="http://schemas.microsoft.com/office/drawing/2014/main" id="{7B371079-35B6-4793-E913-799BD098AAE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4483789" y="2002846"/>
              <a:ext cx="10446" cy="9145"/>
            </a:xfrm>
            <a:custGeom>
              <a:avLst/>
              <a:gdLst>
                <a:gd name="T0" fmla="*/ 0 w 19"/>
                <a:gd name="T1" fmla="*/ 0 h 22"/>
                <a:gd name="T2" fmla="*/ 0 w 19"/>
                <a:gd name="T3" fmla="*/ 0 h 22"/>
                <a:gd name="T4" fmla="*/ 0 w 19"/>
                <a:gd name="T5" fmla="*/ 0 h 22"/>
                <a:gd name="T6" fmla="*/ 0 w 19"/>
                <a:gd name="T7" fmla="*/ 0 h 22"/>
                <a:gd name="T8" fmla="*/ 0 w 19"/>
                <a:gd name="T9" fmla="*/ 0 h 22"/>
                <a:gd name="T10" fmla="*/ 0 w 19"/>
                <a:gd name="T11" fmla="*/ 0 h 22"/>
                <a:gd name="T12" fmla="*/ 0 w 19"/>
                <a:gd name="T13" fmla="*/ 0 h 22"/>
                <a:gd name="T14" fmla="*/ 0 w 19"/>
                <a:gd name="T15" fmla="*/ 0 h 22"/>
                <a:gd name="T16" fmla="*/ 0 w 19"/>
                <a:gd name="T17" fmla="*/ 0 h 22"/>
                <a:gd name="T18" fmla="*/ 0 w 19"/>
                <a:gd name="T19" fmla="*/ 0 h 22"/>
                <a:gd name="T20" fmla="*/ 0 w 19"/>
                <a:gd name="T21" fmla="*/ 0 h 2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9"/>
                <a:gd name="T34" fmla="*/ 0 h 22"/>
                <a:gd name="T35" fmla="*/ 19 w 19"/>
                <a:gd name="T36" fmla="*/ 22 h 2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9" h="22">
                  <a:moveTo>
                    <a:pt x="3" y="0"/>
                  </a:moveTo>
                  <a:lnTo>
                    <a:pt x="3" y="22"/>
                  </a:lnTo>
                  <a:lnTo>
                    <a:pt x="2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1" y="15"/>
                  </a:lnTo>
                  <a:lnTo>
                    <a:pt x="13" y="13"/>
                  </a:lnTo>
                  <a:lnTo>
                    <a:pt x="19" y="10"/>
                  </a:lnTo>
                  <a:lnTo>
                    <a:pt x="19" y="6"/>
                  </a:lnTo>
                  <a:lnTo>
                    <a:pt x="8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12" name="Freeform 227">
              <a:extLst>
                <a:ext uri="{FF2B5EF4-FFF2-40B4-BE49-F238E27FC236}">
                  <a16:creationId xmlns:a16="http://schemas.microsoft.com/office/drawing/2014/main" id="{158FEDD7-C490-C2B5-C0A8-04AA0B7A417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4485281" y="1993701"/>
              <a:ext cx="23877" cy="9145"/>
            </a:xfrm>
            <a:custGeom>
              <a:avLst/>
              <a:gdLst>
                <a:gd name="T0" fmla="*/ 0 w 44"/>
                <a:gd name="T1" fmla="*/ 0 h 15"/>
                <a:gd name="T2" fmla="*/ 0 w 44"/>
                <a:gd name="T3" fmla="*/ 0 h 15"/>
                <a:gd name="T4" fmla="*/ 0 w 44"/>
                <a:gd name="T5" fmla="*/ 0 h 15"/>
                <a:gd name="T6" fmla="*/ 0 w 44"/>
                <a:gd name="T7" fmla="*/ 0 h 15"/>
                <a:gd name="T8" fmla="*/ 0 w 44"/>
                <a:gd name="T9" fmla="*/ 0 h 15"/>
                <a:gd name="T10" fmla="*/ 0 w 44"/>
                <a:gd name="T11" fmla="*/ 0 h 15"/>
                <a:gd name="T12" fmla="*/ 0 w 44"/>
                <a:gd name="T13" fmla="*/ 0 h 15"/>
                <a:gd name="T14" fmla="*/ 0 w 44"/>
                <a:gd name="T15" fmla="*/ 0 h 15"/>
                <a:gd name="T16" fmla="*/ 0 w 44"/>
                <a:gd name="T17" fmla="*/ 0 h 15"/>
                <a:gd name="T18" fmla="*/ 0 w 44"/>
                <a:gd name="T19" fmla="*/ 0 h 15"/>
                <a:gd name="T20" fmla="*/ 0 w 44"/>
                <a:gd name="T21" fmla="*/ 0 h 15"/>
                <a:gd name="T22" fmla="*/ 0 w 44"/>
                <a:gd name="T23" fmla="*/ 0 h 15"/>
                <a:gd name="T24" fmla="*/ 0 w 44"/>
                <a:gd name="T25" fmla="*/ 0 h 1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4"/>
                <a:gd name="T40" fmla="*/ 0 h 15"/>
                <a:gd name="T41" fmla="*/ 44 w 44"/>
                <a:gd name="T42" fmla="*/ 15 h 1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4" h="15">
                  <a:moveTo>
                    <a:pt x="44" y="4"/>
                  </a:moveTo>
                  <a:lnTo>
                    <a:pt x="41" y="6"/>
                  </a:lnTo>
                  <a:lnTo>
                    <a:pt x="14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1" y="9"/>
                  </a:lnTo>
                  <a:lnTo>
                    <a:pt x="6" y="15"/>
                  </a:lnTo>
                  <a:lnTo>
                    <a:pt x="15" y="15"/>
                  </a:lnTo>
                  <a:lnTo>
                    <a:pt x="25" y="15"/>
                  </a:lnTo>
                  <a:lnTo>
                    <a:pt x="25" y="10"/>
                  </a:lnTo>
                  <a:lnTo>
                    <a:pt x="27" y="6"/>
                  </a:lnTo>
                  <a:lnTo>
                    <a:pt x="41" y="7"/>
                  </a:lnTo>
                  <a:lnTo>
                    <a:pt x="44" y="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13" name="Freeform 230">
              <a:extLst>
                <a:ext uri="{FF2B5EF4-FFF2-40B4-BE49-F238E27FC236}">
                  <a16:creationId xmlns:a16="http://schemas.microsoft.com/office/drawing/2014/main" id="{CA5CE919-3781-5635-EF54-91C30F5A8A7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754034" y="414612"/>
              <a:ext cx="88049" cy="35057"/>
            </a:xfrm>
            <a:custGeom>
              <a:avLst/>
              <a:gdLst>
                <a:gd name="T0" fmla="*/ 0 w 167"/>
                <a:gd name="T1" fmla="*/ 0 h 61"/>
                <a:gd name="T2" fmla="*/ 0 w 167"/>
                <a:gd name="T3" fmla="*/ 0 h 61"/>
                <a:gd name="T4" fmla="*/ 0 w 167"/>
                <a:gd name="T5" fmla="*/ 0 h 61"/>
                <a:gd name="T6" fmla="*/ 0 w 167"/>
                <a:gd name="T7" fmla="*/ 0 h 61"/>
                <a:gd name="T8" fmla="*/ 2147483647 w 167"/>
                <a:gd name="T9" fmla="*/ 0 h 61"/>
                <a:gd name="T10" fmla="*/ 2147483647 w 167"/>
                <a:gd name="T11" fmla="*/ 0 h 61"/>
                <a:gd name="T12" fmla="*/ 2147483647 w 167"/>
                <a:gd name="T13" fmla="*/ 0 h 61"/>
                <a:gd name="T14" fmla="*/ 2147483647 w 167"/>
                <a:gd name="T15" fmla="*/ 0 h 61"/>
                <a:gd name="T16" fmla="*/ 2147483647 w 167"/>
                <a:gd name="T17" fmla="*/ 0 h 61"/>
                <a:gd name="T18" fmla="*/ 2147483647 w 167"/>
                <a:gd name="T19" fmla="*/ 0 h 61"/>
                <a:gd name="T20" fmla="*/ 2147483647 w 167"/>
                <a:gd name="T21" fmla="*/ 0 h 61"/>
                <a:gd name="T22" fmla="*/ 2147483647 w 167"/>
                <a:gd name="T23" fmla="*/ 0 h 61"/>
                <a:gd name="T24" fmla="*/ 2147483647 w 167"/>
                <a:gd name="T25" fmla="*/ 0 h 61"/>
                <a:gd name="T26" fmla="*/ 0 w 167"/>
                <a:gd name="T27" fmla="*/ 0 h 61"/>
                <a:gd name="T28" fmla="*/ 0 w 167"/>
                <a:gd name="T29" fmla="*/ 0 h 61"/>
                <a:gd name="T30" fmla="*/ 0 w 167"/>
                <a:gd name="T31" fmla="*/ 0 h 6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67"/>
                <a:gd name="T49" fmla="*/ 0 h 61"/>
                <a:gd name="T50" fmla="*/ 167 w 167"/>
                <a:gd name="T51" fmla="*/ 61 h 6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67" h="61">
                  <a:moveTo>
                    <a:pt x="0" y="35"/>
                  </a:moveTo>
                  <a:lnTo>
                    <a:pt x="0" y="30"/>
                  </a:lnTo>
                  <a:lnTo>
                    <a:pt x="17" y="20"/>
                  </a:lnTo>
                  <a:lnTo>
                    <a:pt x="31" y="5"/>
                  </a:lnTo>
                  <a:lnTo>
                    <a:pt x="94" y="0"/>
                  </a:lnTo>
                  <a:lnTo>
                    <a:pt x="119" y="6"/>
                  </a:lnTo>
                  <a:lnTo>
                    <a:pt x="131" y="14"/>
                  </a:lnTo>
                  <a:lnTo>
                    <a:pt x="137" y="25"/>
                  </a:lnTo>
                  <a:lnTo>
                    <a:pt x="165" y="38"/>
                  </a:lnTo>
                  <a:lnTo>
                    <a:pt x="167" y="44"/>
                  </a:lnTo>
                  <a:lnTo>
                    <a:pt x="153" y="55"/>
                  </a:lnTo>
                  <a:lnTo>
                    <a:pt x="124" y="61"/>
                  </a:lnTo>
                  <a:lnTo>
                    <a:pt x="67" y="43"/>
                  </a:lnTo>
                  <a:lnTo>
                    <a:pt x="47" y="48"/>
                  </a:lnTo>
                  <a:lnTo>
                    <a:pt x="30" y="46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14" name="Freeform 232">
              <a:extLst>
                <a:ext uri="{FF2B5EF4-FFF2-40B4-BE49-F238E27FC236}">
                  <a16:creationId xmlns:a16="http://schemas.microsoft.com/office/drawing/2014/main" id="{90973DD5-2569-0B21-5220-2FB8E346E9A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619723" y="6238647"/>
              <a:ext cx="61186" cy="76211"/>
            </a:xfrm>
            <a:custGeom>
              <a:avLst/>
              <a:gdLst>
                <a:gd name="T0" fmla="*/ 0 w 115"/>
                <a:gd name="T1" fmla="*/ 0 h 134"/>
                <a:gd name="T2" fmla="*/ 0 w 115"/>
                <a:gd name="T3" fmla="*/ 0 h 134"/>
                <a:gd name="T4" fmla="*/ 0 w 115"/>
                <a:gd name="T5" fmla="*/ 0 h 134"/>
                <a:gd name="T6" fmla="*/ 0 w 115"/>
                <a:gd name="T7" fmla="*/ 0 h 134"/>
                <a:gd name="T8" fmla="*/ 0 w 115"/>
                <a:gd name="T9" fmla="*/ 0 h 134"/>
                <a:gd name="T10" fmla="*/ 0 w 115"/>
                <a:gd name="T11" fmla="*/ 0 h 134"/>
                <a:gd name="T12" fmla="*/ 0 w 115"/>
                <a:gd name="T13" fmla="*/ 0 h 134"/>
                <a:gd name="T14" fmla="*/ 0 w 115"/>
                <a:gd name="T15" fmla="*/ 0 h 134"/>
                <a:gd name="T16" fmla="*/ 0 w 115"/>
                <a:gd name="T17" fmla="*/ 0 h 134"/>
                <a:gd name="T18" fmla="*/ 0 w 115"/>
                <a:gd name="T19" fmla="*/ 0 h 134"/>
                <a:gd name="T20" fmla="*/ 0 w 115"/>
                <a:gd name="T21" fmla="*/ 0 h 134"/>
                <a:gd name="T22" fmla="*/ 0 w 115"/>
                <a:gd name="T23" fmla="*/ 0 h 134"/>
                <a:gd name="T24" fmla="*/ 0 w 115"/>
                <a:gd name="T25" fmla="*/ 0 h 134"/>
                <a:gd name="T26" fmla="*/ 0 w 115"/>
                <a:gd name="T27" fmla="*/ 0 h 134"/>
                <a:gd name="T28" fmla="*/ 0 w 115"/>
                <a:gd name="T29" fmla="*/ 0 h 134"/>
                <a:gd name="T30" fmla="*/ 0 w 115"/>
                <a:gd name="T31" fmla="*/ 0 h 134"/>
                <a:gd name="T32" fmla="*/ 0 w 115"/>
                <a:gd name="T33" fmla="*/ 0 h 134"/>
                <a:gd name="T34" fmla="*/ 0 w 115"/>
                <a:gd name="T35" fmla="*/ 0 h 134"/>
                <a:gd name="T36" fmla="*/ 0 w 115"/>
                <a:gd name="T37" fmla="*/ 0 h 134"/>
                <a:gd name="T38" fmla="*/ 0 w 115"/>
                <a:gd name="T39" fmla="*/ 0 h 134"/>
                <a:gd name="T40" fmla="*/ 0 w 115"/>
                <a:gd name="T41" fmla="*/ 0 h 134"/>
                <a:gd name="T42" fmla="*/ 0 w 115"/>
                <a:gd name="T43" fmla="*/ 0 h 134"/>
                <a:gd name="T44" fmla="*/ 0 w 115"/>
                <a:gd name="T45" fmla="*/ 0 h 134"/>
                <a:gd name="T46" fmla="*/ 0 w 115"/>
                <a:gd name="T47" fmla="*/ 0 h 134"/>
                <a:gd name="T48" fmla="*/ 0 w 115"/>
                <a:gd name="T49" fmla="*/ 0 h 134"/>
                <a:gd name="T50" fmla="*/ 0 w 115"/>
                <a:gd name="T51" fmla="*/ 0 h 134"/>
                <a:gd name="T52" fmla="*/ 0 w 115"/>
                <a:gd name="T53" fmla="*/ 0 h 134"/>
                <a:gd name="T54" fmla="*/ 0 w 115"/>
                <a:gd name="T55" fmla="*/ 0 h 134"/>
                <a:gd name="T56" fmla="*/ 0 w 115"/>
                <a:gd name="T57" fmla="*/ 0 h 134"/>
                <a:gd name="T58" fmla="*/ 0 w 115"/>
                <a:gd name="T59" fmla="*/ 0 h 134"/>
                <a:gd name="T60" fmla="*/ 0 w 115"/>
                <a:gd name="T61" fmla="*/ 0 h 134"/>
                <a:gd name="T62" fmla="*/ 0 w 115"/>
                <a:gd name="T63" fmla="*/ 0 h 134"/>
                <a:gd name="T64" fmla="*/ 0 w 115"/>
                <a:gd name="T65" fmla="*/ 0 h 13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15"/>
                <a:gd name="T100" fmla="*/ 0 h 134"/>
                <a:gd name="T101" fmla="*/ 115 w 115"/>
                <a:gd name="T102" fmla="*/ 134 h 13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15" h="134">
                  <a:moveTo>
                    <a:pt x="2" y="17"/>
                  </a:moveTo>
                  <a:lnTo>
                    <a:pt x="4" y="17"/>
                  </a:lnTo>
                  <a:lnTo>
                    <a:pt x="5" y="13"/>
                  </a:lnTo>
                  <a:lnTo>
                    <a:pt x="7" y="12"/>
                  </a:lnTo>
                  <a:lnTo>
                    <a:pt x="12" y="16"/>
                  </a:lnTo>
                  <a:lnTo>
                    <a:pt x="17" y="17"/>
                  </a:lnTo>
                  <a:lnTo>
                    <a:pt x="22" y="12"/>
                  </a:lnTo>
                  <a:lnTo>
                    <a:pt x="28" y="10"/>
                  </a:lnTo>
                  <a:lnTo>
                    <a:pt x="32" y="13"/>
                  </a:lnTo>
                  <a:lnTo>
                    <a:pt x="33" y="23"/>
                  </a:lnTo>
                  <a:lnTo>
                    <a:pt x="36" y="27"/>
                  </a:lnTo>
                  <a:lnTo>
                    <a:pt x="41" y="23"/>
                  </a:lnTo>
                  <a:lnTo>
                    <a:pt x="44" y="11"/>
                  </a:lnTo>
                  <a:lnTo>
                    <a:pt x="41" y="7"/>
                  </a:lnTo>
                  <a:lnTo>
                    <a:pt x="41" y="0"/>
                  </a:lnTo>
                  <a:lnTo>
                    <a:pt x="43" y="1"/>
                  </a:lnTo>
                  <a:lnTo>
                    <a:pt x="50" y="6"/>
                  </a:lnTo>
                  <a:lnTo>
                    <a:pt x="53" y="15"/>
                  </a:lnTo>
                  <a:lnTo>
                    <a:pt x="54" y="27"/>
                  </a:lnTo>
                  <a:lnTo>
                    <a:pt x="43" y="39"/>
                  </a:lnTo>
                  <a:lnTo>
                    <a:pt x="37" y="55"/>
                  </a:lnTo>
                  <a:lnTo>
                    <a:pt x="45" y="60"/>
                  </a:lnTo>
                  <a:lnTo>
                    <a:pt x="52" y="66"/>
                  </a:lnTo>
                  <a:lnTo>
                    <a:pt x="53" y="72"/>
                  </a:lnTo>
                  <a:lnTo>
                    <a:pt x="63" y="80"/>
                  </a:lnTo>
                  <a:lnTo>
                    <a:pt x="80" y="61"/>
                  </a:lnTo>
                  <a:lnTo>
                    <a:pt x="87" y="61"/>
                  </a:lnTo>
                  <a:lnTo>
                    <a:pt x="100" y="64"/>
                  </a:lnTo>
                  <a:lnTo>
                    <a:pt x="112" y="63"/>
                  </a:lnTo>
                  <a:lnTo>
                    <a:pt x="115" y="70"/>
                  </a:lnTo>
                  <a:lnTo>
                    <a:pt x="115" y="79"/>
                  </a:lnTo>
                  <a:lnTo>
                    <a:pt x="92" y="97"/>
                  </a:lnTo>
                  <a:lnTo>
                    <a:pt x="85" y="102"/>
                  </a:lnTo>
                  <a:lnTo>
                    <a:pt x="77" y="99"/>
                  </a:lnTo>
                  <a:lnTo>
                    <a:pt x="74" y="101"/>
                  </a:lnTo>
                  <a:lnTo>
                    <a:pt x="74" y="107"/>
                  </a:lnTo>
                  <a:lnTo>
                    <a:pt x="71" y="109"/>
                  </a:lnTo>
                  <a:lnTo>
                    <a:pt x="66" y="107"/>
                  </a:lnTo>
                  <a:lnTo>
                    <a:pt x="60" y="110"/>
                  </a:lnTo>
                  <a:lnTo>
                    <a:pt x="63" y="117"/>
                  </a:lnTo>
                  <a:lnTo>
                    <a:pt x="59" y="120"/>
                  </a:lnTo>
                  <a:lnTo>
                    <a:pt x="59" y="128"/>
                  </a:lnTo>
                  <a:lnTo>
                    <a:pt x="61" y="134"/>
                  </a:lnTo>
                  <a:lnTo>
                    <a:pt x="53" y="131"/>
                  </a:lnTo>
                  <a:lnTo>
                    <a:pt x="28" y="108"/>
                  </a:lnTo>
                  <a:lnTo>
                    <a:pt x="26" y="106"/>
                  </a:lnTo>
                  <a:lnTo>
                    <a:pt x="34" y="104"/>
                  </a:lnTo>
                  <a:lnTo>
                    <a:pt x="43" y="108"/>
                  </a:lnTo>
                  <a:lnTo>
                    <a:pt x="49" y="106"/>
                  </a:lnTo>
                  <a:lnTo>
                    <a:pt x="49" y="99"/>
                  </a:lnTo>
                  <a:lnTo>
                    <a:pt x="44" y="95"/>
                  </a:lnTo>
                  <a:lnTo>
                    <a:pt x="39" y="83"/>
                  </a:lnTo>
                  <a:lnTo>
                    <a:pt x="37" y="88"/>
                  </a:lnTo>
                  <a:lnTo>
                    <a:pt x="33" y="93"/>
                  </a:lnTo>
                  <a:lnTo>
                    <a:pt x="17" y="92"/>
                  </a:lnTo>
                  <a:lnTo>
                    <a:pt x="20" y="86"/>
                  </a:lnTo>
                  <a:lnTo>
                    <a:pt x="20" y="81"/>
                  </a:lnTo>
                  <a:lnTo>
                    <a:pt x="10" y="77"/>
                  </a:lnTo>
                  <a:lnTo>
                    <a:pt x="7" y="74"/>
                  </a:lnTo>
                  <a:lnTo>
                    <a:pt x="7" y="66"/>
                  </a:lnTo>
                  <a:lnTo>
                    <a:pt x="6" y="65"/>
                  </a:lnTo>
                  <a:lnTo>
                    <a:pt x="0" y="66"/>
                  </a:lnTo>
                  <a:lnTo>
                    <a:pt x="1" y="60"/>
                  </a:lnTo>
                  <a:lnTo>
                    <a:pt x="1" y="50"/>
                  </a:lnTo>
                  <a:lnTo>
                    <a:pt x="2" y="40"/>
                  </a:lnTo>
                  <a:lnTo>
                    <a:pt x="1" y="31"/>
                  </a:lnTo>
                  <a:lnTo>
                    <a:pt x="2" y="1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15" name="Freeform 233">
              <a:extLst>
                <a:ext uri="{FF2B5EF4-FFF2-40B4-BE49-F238E27FC236}">
                  <a16:creationId xmlns:a16="http://schemas.microsoft.com/office/drawing/2014/main" id="{98C44210-F8DF-3FDF-8707-CAE3930DDA3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625692" y="3959942"/>
              <a:ext cx="395471" cy="359715"/>
            </a:xfrm>
            <a:custGeom>
              <a:avLst/>
              <a:gdLst>
                <a:gd name="T0" fmla="*/ 0 w 743"/>
                <a:gd name="T1" fmla="*/ 0 h 631"/>
                <a:gd name="T2" fmla="*/ 0 w 743"/>
                <a:gd name="T3" fmla="*/ 0 h 631"/>
                <a:gd name="T4" fmla="*/ 0 w 743"/>
                <a:gd name="T5" fmla="*/ 0 h 631"/>
                <a:gd name="T6" fmla="*/ 0 w 743"/>
                <a:gd name="T7" fmla="*/ 0 h 631"/>
                <a:gd name="T8" fmla="*/ 0 w 743"/>
                <a:gd name="T9" fmla="*/ 0 h 631"/>
                <a:gd name="T10" fmla="*/ 0 w 743"/>
                <a:gd name="T11" fmla="*/ 0 h 631"/>
                <a:gd name="T12" fmla="*/ 0 w 743"/>
                <a:gd name="T13" fmla="*/ 0 h 631"/>
                <a:gd name="T14" fmla="*/ 0 w 743"/>
                <a:gd name="T15" fmla="*/ 0 h 631"/>
                <a:gd name="T16" fmla="*/ 0 w 743"/>
                <a:gd name="T17" fmla="*/ 0 h 631"/>
                <a:gd name="T18" fmla="*/ 0 w 743"/>
                <a:gd name="T19" fmla="*/ 0 h 631"/>
                <a:gd name="T20" fmla="*/ 0 w 743"/>
                <a:gd name="T21" fmla="*/ 0 h 631"/>
                <a:gd name="T22" fmla="*/ 2147483647 w 743"/>
                <a:gd name="T23" fmla="*/ 0 h 631"/>
                <a:gd name="T24" fmla="*/ 2147483647 w 743"/>
                <a:gd name="T25" fmla="*/ 0 h 631"/>
                <a:gd name="T26" fmla="*/ 2147483647 w 743"/>
                <a:gd name="T27" fmla="*/ 0 h 631"/>
                <a:gd name="T28" fmla="*/ 2147483647 w 743"/>
                <a:gd name="T29" fmla="*/ 0 h 631"/>
                <a:gd name="T30" fmla="*/ 2147483647 w 743"/>
                <a:gd name="T31" fmla="*/ 0 h 631"/>
                <a:gd name="T32" fmla="*/ 2147483647 w 743"/>
                <a:gd name="T33" fmla="*/ 0 h 631"/>
                <a:gd name="T34" fmla="*/ 2147483647 w 743"/>
                <a:gd name="T35" fmla="*/ 0 h 631"/>
                <a:gd name="T36" fmla="*/ 2147483647 w 743"/>
                <a:gd name="T37" fmla="*/ 0 h 631"/>
                <a:gd name="T38" fmla="*/ 2147483647 w 743"/>
                <a:gd name="T39" fmla="*/ 0 h 631"/>
                <a:gd name="T40" fmla="*/ 2147483647 w 743"/>
                <a:gd name="T41" fmla="*/ 0 h 631"/>
                <a:gd name="T42" fmla="*/ 2147483647 w 743"/>
                <a:gd name="T43" fmla="*/ 0 h 631"/>
                <a:gd name="T44" fmla="*/ 2147483647 w 743"/>
                <a:gd name="T45" fmla="*/ 0 h 631"/>
                <a:gd name="T46" fmla="*/ 2147483647 w 743"/>
                <a:gd name="T47" fmla="*/ 0 h 631"/>
                <a:gd name="T48" fmla="*/ 2147483647 w 743"/>
                <a:gd name="T49" fmla="*/ 0 h 631"/>
                <a:gd name="T50" fmla="*/ 2147483647 w 743"/>
                <a:gd name="T51" fmla="*/ 2147483647 h 631"/>
                <a:gd name="T52" fmla="*/ 2147483647 w 743"/>
                <a:gd name="T53" fmla="*/ 2147483647 h 631"/>
                <a:gd name="T54" fmla="*/ 2147483647 w 743"/>
                <a:gd name="T55" fmla="*/ 2147483647 h 631"/>
                <a:gd name="T56" fmla="*/ 2147483647 w 743"/>
                <a:gd name="T57" fmla="*/ 2147483647 h 631"/>
                <a:gd name="T58" fmla="*/ 2147483647 w 743"/>
                <a:gd name="T59" fmla="*/ 2147483647 h 631"/>
                <a:gd name="T60" fmla="*/ 2147483647 w 743"/>
                <a:gd name="T61" fmla="*/ 2147483647 h 631"/>
                <a:gd name="T62" fmla="*/ 2147483647 w 743"/>
                <a:gd name="T63" fmla="*/ 2147483647 h 631"/>
                <a:gd name="T64" fmla="*/ 2147483647 w 743"/>
                <a:gd name="T65" fmla="*/ 2147483647 h 631"/>
                <a:gd name="T66" fmla="*/ 2147483647 w 743"/>
                <a:gd name="T67" fmla="*/ 2147483647 h 631"/>
                <a:gd name="T68" fmla="*/ 2147483647 w 743"/>
                <a:gd name="T69" fmla="*/ 2147483647 h 631"/>
                <a:gd name="T70" fmla="*/ 2147483647 w 743"/>
                <a:gd name="T71" fmla="*/ 2147483647 h 631"/>
                <a:gd name="T72" fmla="*/ 2147483647 w 743"/>
                <a:gd name="T73" fmla="*/ 2147483647 h 631"/>
                <a:gd name="T74" fmla="*/ 2147483647 w 743"/>
                <a:gd name="T75" fmla="*/ 2147483647 h 631"/>
                <a:gd name="T76" fmla="*/ 2147483647 w 743"/>
                <a:gd name="T77" fmla="*/ 2147483647 h 631"/>
                <a:gd name="T78" fmla="*/ 2147483647 w 743"/>
                <a:gd name="T79" fmla="*/ 2147483647 h 631"/>
                <a:gd name="T80" fmla="*/ 2147483647 w 743"/>
                <a:gd name="T81" fmla="*/ 2147483647 h 631"/>
                <a:gd name="T82" fmla="*/ 2147483647 w 743"/>
                <a:gd name="T83" fmla="*/ 2147483647 h 631"/>
                <a:gd name="T84" fmla="*/ 0 w 743"/>
                <a:gd name="T85" fmla="*/ 2147483647 h 631"/>
                <a:gd name="T86" fmla="*/ 2147483647 w 743"/>
                <a:gd name="T87" fmla="*/ 2147483647 h 631"/>
                <a:gd name="T88" fmla="*/ 2147483647 w 743"/>
                <a:gd name="T89" fmla="*/ 2147483647 h 631"/>
                <a:gd name="T90" fmla="*/ 0 w 743"/>
                <a:gd name="T91" fmla="*/ 2147483647 h 631"/>
                <a:gd name="T92" fmla="*/ 0 w 743"/>
                <a:gd name="T93" fmla="*/ 2147483647 h 631"/>
                <a:gd name="T94" fmla="*/ 0 w 743"/>
                <a:gd name="T95" fmla="*/ 0 h 631"/>
                <a:gd name="T96" fmla="*/ 0 w 743"/>
                <a:gd name="T97" fmla="*/ 0 h 631"/>
                <a:gd name="T98" fmla="*/ 0 w 743"/>
                <a:gd name="T99" fmla="*/ 0 h 631"/>
                <a:gd name="T100" fmla="*/ 0 w 743"/>
                <a:gd name="T101" fmla="*/ 0 h 631"/>
                <a:gd name="T102" fmla="*/ 0 w 743"/>
                <a:gd name="T103" fmla="*/ 0 h 631"/>
                <a:gd name="T104" fmla="*/ 0 w 743"/>
                <a:gd name="T105" fmla="*/ 0 h 63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43"/>
                <a:gd name="T160" fmla="*/ 0 h 631"/>
                <a:gd name="T161" fmla="*/ 743 w 743"/>
                <a:gd name="T162" fmla="*/ 631 h 63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43" h="631">
                  <a:moveTo>
                    <a:pt x="109" y="21"/>
                  </a:moveTo>
                  <a:lnTo>
                    <a:pt x="99" y="29"/>
                  </a:lnTo>
                  <a:lnTo>
                    <a:pt x="88" y="31"/>
                  </a:lnTo>
                  <a:lnTo>
                    <a:pt x="82" y="35"/>
                  </a:lnTo>
                  <a:lnTo>
                    <a:pt x="82" y="39"/>
                  </a:lnTo>
                  <a:lnTo>
                    <a:pt x="84" y="47"/>
                  </a:lnTo>
                  <a:lnTo>
                    <a:pt x="87" y="56"/>
                  </a:lnTo>
                  <a:lnTo>
                    <a:pt x="94" y="66"/>
                  </a:lnTo>
                  <a:lnTo>
                    <a:pt x="95" y="69"/>
                  </a:lnTo>
                  <a:lnTo>
                    <a:pt x="93" y="72"/>
                  </a:lnTo>
                  <a:lnTo>
                    <a:pt x="93" y="73"/>
                  </a:lnTo>
                  <a:lnTo>
                    <a:pt x="97" y="77"/>
                  </a:lnTo>
                  <a:lnTo>
                    <a:pt x="97" y="83"/>
                  </a:lnTo>
                  <a:lnTo>
                    <a:pt x="93" y="95"/>
                  </a:lnTo>
                  <a:lnTo>
                    <a:pt x="78" y="109"/>
                  </a:lnTo>
                  <a:lnTo>
                    <a:pt x="76" y="111"/>
                  </a:lnTo>
                  <a:lnTo>
                    <a:pt x="73" y="118"/>
                  </a:lnTo>
                  <a:lnTo>
                    <a:pt x="73" y="133"/>
                  </a:lnTo>
                  <a:lnTo>
                    <a:pt x="74" y="140"/>
                  </a:lnTo>
                  <a:lnTo>
                    <a:pt x="78" y="145"/>
                  </a:lnTo>
                  <a:lnTo>
                    <a:pt x="87" y="152"/>
                  </a:lnTo>
                  <a:lnTo>
                    <a:pt x="93" y="165"/>
                  </a:lnTo>
                  <a:lnTo>
                    <a:pt x="95" y="174"/>
                  </a:lnTo>
                  <a:lnTo>
                    <a:pt x="98" y="176"/>
                  </a:lnTo>
                  <a:lnTo>
                    <a:pt x="105" y="176"/>
                  </a:lnTo>
                  <a:lnTo>
                    <a:pt x="113" y="174"/>
                  </a:lnTo>
                  <a:lnTo>
                    <a:pt x="119" y="169"/>
                  </a:lnTo>
                  <a:lnTo>
                    <a:pt x="125" y="161"/>
                  </a:lnTo>
                  <a:lnTo>
                    <a:pt x="126" y="159"/>
                  </a:lnTo>
                  <a:lnTo>
                    <a:pt x="126" y="148"/>
                  </a:lnTo>
                  <a:lnTo>
                    <a:pt x="125" y="134"/>
                  </a:lnTo>
                  <a:lnTo>
                    <a:pt x="115" y="117"/>
                  </a:lnTo>
                  <a:lnTo>
                    <a:pt x="109" y="110"/>
                  </a:lnTo>
                  <a:lnTo>
                    <a:pt x="104" y="101"/>
                  </a:lnTo>
                  <a:lnTo>
                    <a:pt x="104" y="77"/>
                  </a:lnTo>
                  <a:lnTo>
                    <a:pt x="108" y="74"/>
                  </a:lnTo>
                  <a:lnTo>
                    <a:pt x="110" y="70"/>
                  </a:lnTo>
                  <a:lnTo>
                    <a:pt x="111" y="68"/>
                  </a:lnTo>
                  <a:lnTo>
                    <a:pt x="120" y="66"/>
                  </a:lnTo>
                  <a:lnTo>
                    <a:pt x="140" y="53"/>
                  </a:lnTo>
                  <a:lnTo>
                    <a:pt x="173" y="43"/>
                  </a:lnTo>
                  <a:lnTo>
                    <a:pt x="196" y="42"/>
                  </a:lnTo>
                  <a:lnTo>
                    <a:pt x="196" y="36"/>
                  </a:lnTo>
                  <a:lnTo>
                    <a:pt x="195" y="32"/>
                  </a:lnTo>
                  <a:lnTo>
                    <a:pt x="190" y="30"/>
                  </a:lnTo>
                  <a:lnTo>
                    <a:pt x="174" y="29"/>
                  </a:lnTo>
                  <a:lnTo>
                    <a:pt x="172" y="27"/>
                  </a:lnTo>
                  <a:lnTo>
                    <a:pt x="169" y="27"/>
                  </a:lnTo>
                  <a:lnTo>
                    <a:pt x="168" y="25"/>
                  </a:lnTo>
                  <a:lnTo>
                    <a:pt x="169" y="18"/>
                  </a:lnTo>
                  <a:lnTo>
                    <a:pt x="175" y="5"/>
                  </a:lnTo>
                  <a:lnTo>
                    <a:pt x="181" y="0"/>
                  </a:lnTo>
                  <a:lnTo>
                    <a:pt x="186" y="0"/>
                  </a:lnTo>
                  <a:lnTo>
                    <a:pt x="191" y="2"/>
                  </a:lnTo>
                  <a:lnTo>
                    <a:pt x="192" y="4"/>
                  </a:lnTo>
                  <a:lnTo>
                    <a:pt x="201" y="29"/>
                  </a:lnTo>
                  <a:lnTo>
                    <a:pt x="207" y="40"/>
                  </a:lnTo>
                  <a:lnTo>
                    <a:pt x="223" y="42"/>
                  </a:lnTo>
                  <a:lnTo>
                    <a:pt x="243" y="46"/>
                  </a:lnTo>
                  <a:lnTo>
                    <a:pt x="246" y="46"/>
                  </a:lnTo>
                  <a:lnTo>
                    <a:pt x="260" y="50"/>
                  </a:lnTo>
                  <a:lnTo>
                    <a:pt x="271" y="56"/>
                  </a:lnTo>
                  <a:lnTo>
                    <a:pt x="276" y="61"/>
                  </a:lnTo>
                  <a:lnTo>
                    <a:pt x="280" y="77"/>
                  </a:lnTo>
                  <a:lnTo>
                    <a:pt x="285" y="88"/>
                  </a:lnTo>
                  <a:lnTo>
                    <a:pt x="286" y="90"/>
                  </a:lnTo>
                  <a:lnTo>
                    <a:pt x="292" y="95"/>
                  </a:lnTo>
                  <a:lnTo>
                    <a:pt x="303" y="95"/>
                  </a:lnTo>
                  <a:lnTo>
                    <a:pt x="329" y="90"/>
                  </a:lnTo>
                  <a:lnTo>
                    <a:pt x="340" y="91"/>
                  </a:lnTo>
                  <a:lnTo>
                    <a:pt x="366" y="88"/>
                  </a:lnTo>
                  <a:lnTo>
                    <a:pt x="395" y="88"/>
                  </a:lnTo>
                  <a:lnTo>
                    <a:pt x="398" y="89"/>
                  </a:lnTo>
                  <a:lnTo>
                    <a:pt x="401" y="91"/>
                  </a:lnTo>
                  <a:lnTo>
                    <a:pt x="405" y="97"/>
                  </a:lnTo>
                  <a:lnTo>
                    <a:pt x="405" y="101"/>
                  </a:lnTo>
                  <a:lnTo>
                    <a:pt x="411" y="106"/>
                  </a:lnTo>
                  <a:lnTo>
                    <a:pt x="422" y="112"/>
                  </a:lnTo>
                  <a:lnTo>
                    <a:pt x="432" y="115"/>
                  </a:lnTo>
                  <a:lnTo>
                    <a:pt x="450" y="115"/>
                  </a:lnTo>
                  <a:lnTo>
                    <a:pt x="476" y="110"/>
                  </a:lnTo>
                  <a:lnTo>
                    <a:pt x="484" y="106"/>
                  </a:lnTo>
                  <a:lnTo>
                    <a:pt x="495" y="99"/>
                  </a:lnTo>
                  <a:lnTo>
                    <a:pt x="512" y="99"/>
                  </a:lnTo>
                  <a:lnTo>
                    <a:pt x="523" y="96"/>
                  </a:lnTo>
                  <a:lnTo>
                    <a:pt x="527" y="94"/>
                  </a:lnTo>
                  <a:lnTo>
                    <a:pt x="525" y="91"/>
                  </a:lnTo>
                  <a:lnTo>
                    <a:pt x="506" y="90"/>
                  </a:lnTo>
                  <a:lnTo>
                    <a:pt x="499" y="88"/>
                  </a:lnTo>
                  <a:lnTo>
                    <a:pt x="506" y="84"/>
                  </a:lnTo>
                  <a:lnTo>
                    <a:pt x="520" y="83"/>
                  </a:lnTo>
                  <a:lnTo>
                    <a:pt x="608" y="83"/>
                  </a:lnTo>
                  <a:lnTo>
                    <a:pt x="620" y="86"/>
                  </a:lnTo>
                  <a:lnTo>
                    <a:pt x="621" y="86"/>
                  </a:lnTo>
                  <a:lnTo>
                    <a:pt x="619" y="88"/>
                  </a:lnTo>
                  <a:lnTo>
                    <a:pt x="606" y="90"/>
                  </a:lnTo>
                  <a:lnTo>
                    <a:pt x="605" y="93"/>
                  </a:lnTo>
                  <a:lnTo>
                    <a:pt x="600" y="95"/>
                  </a:lnTo>
                  <a:lnTo>
                    <a:pt x="587" y="93"/>
                  </a:lnTo>
                  <a:lnTo>
                    <a:pt x="573" y="95"/>
                  </a:lnTo>
                  <a:lnTo>
                    <a:pt x="570" y="99"/>
                  </a:lnTo>
                  <a:lnTo>
                    <a:pt x="571" y="102"/>
                  </a:lnTo>
                  <a:lnTo>
                    <a:pt x="579" y="106"/>
                  </a:lnTo>
                  <a:lnTo>
                    <a:pt x="583" y="107"/>
                  </a:lnTo>
                  <a:lnTo>
                    <a:pt x="590" y="111"/>
                  </a:lnTo>
                  <a:lnTo>
                    <a:pt x="593" y="117"/>
                  </a:lnTo>
                  <a:lnTo>
                    <a:pt x="599" y="122"/>
                  </a:lnTo>
                  <a:lnTo>
                    <a:pt x="600" y="129"/>
                  </a:lnTo>
                  <a:lnTo>
                    <a:pt x="604" y="134"/>
                  </a:lnTo>
                  <a:lnTo>
                    <a:pt x="621" y="132"/>
                  </a:lnTo>
                  <a:lnTo>
                    <a:pt x="638" y="136"/>
                  </a:lnTo>
                  <a:lnTo>
                    <a:pt x="663" y="150"/>
                  </a:lnTo>
                  <a:lnTo>
                    <a:pt x="670" y="152"/>
                  </a:lnTo>
                  <a:lnTo>
                    <a:pt x="678" y="159"/>
                  </a:lnTo>
                  <a:lnTo>
                    <a:pt x="686" y="172"/>
                  </a:lnTo>
                  <a:lnTo>
                    <a:pt x="687" y="177"/>
                  </a:lnTo>
                  <a:lnTo>
                    <a:pt x="689" y="193"/>
                  </a:lnTo>
                  <a:lnTo>
                    <a:pt x="689" y="197"/>
                  </a:lnTo>
                  <a:lnTo>
                    <a:pt x="686" y="199"/>
                  </a:lnTo>
                  <a:lnTo>
                    <a:pt x="676" y="203"/>
                  </a:lnTo>
                  <a:lnTo>
                    <a:pt x="676" y="206"/>
                  </a:lnTo>
                  <a:lnTo>
                    <a:pt x="679" y="207"/>
                  </a:lnTo>
                  <a:lnTo>
                    <a:pt x="689" y="208"/>
                  </a:lnTo>
                  <a:lnTo>
                    <a:pt x="695" y="211"/>
                  </a:lnTo>
                  <a:lnTo>
                    <a:pt x="701" y="211"/>
                  </a:lnTo>
                  <a:lnTo>
                    <a:pt x="705" y="209"/>
                  </a:lnTo>
                  <a:lnTo>
                    <a:pt x="712" y="202"/>
                  </a:lnTo>
                  <a:lnTo>
                    <a:pt x="721" y="201"/>
                  </a:lnTo>
                  <a:lnTo>
                    <a:pt x="727" y="203"/>
                  </a:lnTo>
                  <a:lnTo>
                    <a:pt x="737" y="209"/>
                  </a:lnTo>
                  <a:lnTo>
                    <a:pt x="741" y="214"/>
                  </a:lnTo>
                  <a:lnTo>
                    <a:pt x="743" y="217"/>
                  </a:lnTo>
                  <a:lnTo>
                    <a:pt x="743" y="225"/>
                  </a:lnTo>
                  <a:lnTo>
                    <a:pt x="739" y="228"/>
                  </a:lnTo>
                  <a:lnTo>
                    <a:pt x="734" y="228"/>
                  </a:lnTo>
                  <a:lnTo>
                    <a:pt x="728" y="231"/>
                  </a:lnTo>
                  <a:lnTo>
                    <a:pt x="724" y="234"/>
                  </a:lnTo>
                  <a:lnTo>
                    <a:pt x="708" y="241"/>
                  </a:lnTo>
                  <a:lnTo>
                    <a:pt x="705" y="245"/>
                  </a:lnTo>
                  <a:lnTo>
                    <a:pt x="702" y="247"/>
                  </a:lnTo>
                  <a:lnTo>
                    <a:pt x="691" y="250"/>
                  </a:lnTo>
                  <a:lnTo>
                    <a:pt x="689" y="252"/>
                  </a:lnTo>
                  <a:lnTo>
                    <a:pt x="686" y="258"/>
                  </a:lnTo>
                  <a:lnTo>
                    <a:pt x="686" y="267"/>
                  </a:lnTo>
                  <a:lnTo>
                    <a:pt x="689" y="279"/>
                  </a:lnTo>
                  <a:lnTo>
                    <a:pt x="694" y="281"/>
                  </a:lnTo>
                  <a:lnTo>
                    <a:pt x="700" y="279"/>
                  </a:lnTo>
                  <a:lnTo>
                    <a:pt x="702" y="279"/>
                  </a:lnTo>
                  <a:lnTo>
                    <a:pt x="707" y="284"/>
                  </a:lnTo>
                  <a:lnTo>
                    <a:pt x="702" y="290"/>
                  </a:lnTo>
                  <a:lnTo>
                    <a:pt x="691" y="298"/>
                  </a:lnTo>
                  <a:lnTo>
                    <a:pt x="674" y="304"/>
                  </a:lnTo>
                  <a:lnTo>
                    <a:pt x="673" y="306"/>
                  </a:lnTo>
                  <a:lnTo>
                    <a:pt x="673" y="321"/>
                  </a:lnTo>
                  <a:lnTo>
                    <a:pt x="669" y="327"/>
                  </a:lnTo>
                  <a:lnTo>
                    <a:pt x="663" y="336"/>
                  </a:lnTo>
                  <a:lnTo>
                    <a:pt x="662" y="337"/>
                  </a:lnTo>
                  <a:lnTo>
                    <a:pt x="662" y="341"/>
                  </a:lnTo>
                  <a:lnTo>
                    <a:pt x="662" y="343"/>
                  </a:lnTo>
                  <a:lnTo>
                    <a:pt x="674" y="359"/>
                  </a:lnTo>
                  <a:lnTo>
                    <a:pt x="685" y="370"/>
                  </a:lnTo>
                  <a:lnTo>
                    <a:pt x="689" y="378"/>
                  </a:lnTo>
                  <a:lnTo>
                    <a:pt x="695" y="384"/>
                  </a:lnTo>
                  <a:lnTo>
                    <a:pt x="699" y="386"/>
                  </a:lnTo>
                  <a:lnTo>
                    <a:pt x="699" y="389"/>
                  </a:lnTo>
                  <a:lnTo>
                    <a:pt x="699" y="401"/>
                  </a:lnTo>
                  <a:lnTo>
                    <a:pt x="687" y="414"/>
                  </a:lnTo>
                  <a:lnTo>
                    <a:pt x="680" y="421"/>
                  </a:lnTo>
                  <a:lnTo>
                    <a:pt x="676" y="423"/>
                  </a:lnTo>
                  <a:lnTo>
                    <a:pt x="660" y="424"/>
                  </a:lnTo>
                  <a:lnTo>
                    <a:pt x="654" y="428"/>
                  </a:lnTo>
                  <a:lnTo>
                    <a:pt x="646" y="432"/>
                  </a:lnTo>
                  <a:lnTo>
                    <a:pt x="640" y="440"/>
                  </a:lnTo>
                  <a:lnTo>
                    <a:pt x="635" y="443"/>
                  </a:lnTo>
                  <a:lnTo>
                    <a:pt x="606" y="445"/>
                  </a:lnTo>
                  <a:lnTo>
                    <a:pt x="590" y="449"/>
                  </a:lnTo>
                  <a:lnTo>
                    <a:pt x="572" y="455"/>
                  </a:lnTo>
                  <a:lnTo>
                    <a:pt x="568" y="459"/>
                  </a:lnTo>
                  <a:lnTo>
                    <a:pt x="567" y="460"/>
                  </a:lnTo>
                  <a:lnTo>
                    <a:pt x="542" y="459"/>
                  </a:lnTo>
                  <a:lnTo>
                    <a:pt x="524" y="454"/>
                  </a:lnTo>
                  <a:lnTo>
                    <a:pt x="503" y="441"/>
                  </a:lnTo>
                  <a:lnTo>
                    <a:pt x="481" y="439"/>
                  </a:lnTo>
                  <a:lnTo>
                    <a:pt x="474" y="437"/>
                  </a:lnTo>
                  <a:lnTo>
                    <a:pt x="470" y="437"/>
                  </a:lnTo>
                  <a:lnTo>
                    <a:pt x="469" y="437"/>
                  </a:lnTo>
                  <a:lnTo>
                    <a:pt x="470" y="446"/>
                  </a:lnTo>
                  <a:lnTo>
                    <a:pt x="474" y="455"/>
                  </a:lnTo>
                  <a:lnTo>
                    <a:pt x="485" y="460"/>
                  </a:lnTo>
                  <a:lnTo>
                    <a:pt x="497" y="467"/>
                  </a:lnTo>
                  <a:lnTo>
                    <a:pt x="499" y="470"/>
                  </a:lnTo>
                  <a:lnTo>
                    <a:pt x="498" y="482"/>
                  </a:lnTo>
                  <a:lnTo>
                    <a:pt x="495" y="495"/>
                  </a:lnTo>
                  <a:lnTo>
                    <a:pt x="495" y="502"/>
                  </a:lnTo>
                  <a:lnTo>
                    <a:pt x="496" y="507"/>
                  </a:lnTo>
                  <a:lnTo>
                    <a:pt x="501" y="524"/>
                  </a:lnTo>
                  <a:lnTo>
                    <a:pt x="502" y="532"/>
                  </a:lnTo>
                  <a:lnTo>
                    <a:pt x="503" y="538"/>
                  </a:lnTo>
                  <a:lnTo>
                    <a:pt x="518" y="541"/>
                  </a:lnTo>
                  <a:lnTo>
                    <a:pt x="522" y="542"/>
                  </a:lnTo>
                  <a:lnTo>
                    <a:pt x="546" y="541"/>
                  </a:lnTo>
                  <a:lnTo>
                    <a:pt x="546" y="550"/>
                  </a:lnTo>
                  <a:lnTo>
                    <a:pt x="546" y="551"/>
                  </a:lnTo>
                  <a:lnTo>
                    <a:pt x="544" y="554"/>
                  </a:lnTo>
                  <a:lnTo>
                    <a:pt x="533" y="556"/>
                  </a:lnTo>
                  <a:lnTo>
                    <a:pt x="525" y="559"/>
                  </a:lnTo>
                  <a:lnTo>
                    <a:pt x="524" y="562"/>
                  </a:lnTo>
                  <a:lnTo>
                    <a:pt x="518" y="565"/>
                  </a:lnTo>
                  <a:lnTo>
                    <a:pt x="511" y="565"/>
                  </a:lnTo>
                  <a:lnTo>
                    <a:pt x="506" y="573"/>
                  </a:lnTo>
                  <a:lnTo>
                    <a:pt x="499" y="588"/>
                  </a:lnTo>
                  <a:lnTo>
                    <a:pt x="496" y="591"/>
                  </a:lnTo>
                  <a:lnTo>
                    <a:pt x="491" y="593"/>
                  </a:lnTo>
                  <a:lnTo>
                    <a:pt x="486" y="593"/>
                  </a:lnTo>
                  <a:lnTo>
                    <a:pt x="480" y="596"/>
                  </a:lnTo>
                  <a:lnTo>
                    <a:pt x="477" y="597"/>
                  </a:lnTo>
                  <a:lnTo>
                    <a:pt x="475" y="602"/>
                  </a:lnTo>
                  <a:lnTo>
                    <a:pt x="466" y="602"/>
                  </a:lnTo>
                  <a:lnTo>
                    <a:pt x="454" y="607"/>
                  </a:lnTo>
                  <a:lnTo>
                    <a:pt x="452" y="607"/>
                  </a:lnTo>
                  <a:lnTo>
                    <a:pt x="444" y="611"/>
                  </a:lnTo>
                  <a:lnTo>
                    <a:pt x="436" y="615"/>
                  </a:lnTo>
                  <a:lnTo>
                    <a:pt x="431" y="618"/>
                  </a:lnTo>
                  <a:lnTo>
                    <a:pt x="423" y="626"/>
                  </a:lnTo>
                  <a:lnTo>
                    <a:pt x="421" y="627"/>
                  </a:lnTo>
                  <a:lnTo>
                    <a:pt x="402" y="631"/>
                  </a:lnTo>
                  <a:lnTo>
                    <a:pt x="385" y="631"/>
                  </a:lnTo>
                  <a:lnTo>
                    <a:pt x="383" y="629"/>
                  </a:lnTo>
                  <a:lnTo>
                    <a:pt x="380" y="629"/>
                  </a:lnTo>
                  <a:lnTo>
                    <a:pt x="368" y="621"/>
                  </a:lnTo>
                  <a:lnTo>
                    <a:pt x="364" y="617"/>
                  </a:lnTo>
                  <a:lnTo>
                    <a:pt x="361" y="612"/>
                  </a:lnTo>
                  <a:lnTo>
                    <a:pt x="358" y="607"/>
                  </a:lnTo>
                  <a:lnTo>
                    <a:pt x="353" y="600"/>
                  </a:lnTo>
                  <a:lnTo>
                    <a:pt x="348" y="591"/>
                  </a:lnTo>
                  <a:lnTo>
                    <a:pt x="346" y="580"/>
                  </a:lnTo>
                  <a:lnTo>
                    <a:pt x="330" y="543"/>
                  </a:lnTo>
                  <a:lnTo>
                    <a:pt x="321" y="532"/>
                  </a:lnTo>
                  <a:lnTo>
                    <a:pt x="304" y="519"/>
                  </a:lnTo>
                  <a:lnTo>
                    <a:pt x="304" y="515"/>
                  </a:lnTo>
                  <a:lnTo>
                    <a:pt x="316" y="504"/>
                  </a:lnTo>
                  <a:lnTo>
                    <a:pt x="321" y="497"/>
                  </a:lnTo>
                  <a:lnTo>
                    <a:pt x="324" y="495"/>
                  </a:lnTo>
                  <a:lnTo>
                    <a:pt x="328" y="492"/>
                  </a:lnTo>
                  <a:lnTo>
                    <a:pt x="330" y="491"/>
                  </a:lnTo>
                  <a:lnTo>
                    <a:pt x="331" y="488"/>
                  </a:lnTo>
                  <a:lnTo>
                    <a:pt x="330" y="481"/>
                  </a:lnTo>
                  <a:lnTo>
                    <a:pt x="328" y="476"/>
                  </a:lnTo>
                  <a:lnTo>
                    <a:pt x="323" y="467"/>
                  </a:lnTo>
                  <a:lnTo>
                    <a:pt x="315" y="459"/>
                  </a:lnTo>
                  <a:lnTo>
                    <a:pt x="308" y="454"/>
                  </a:lnTo>
                  <a:lnTo>
                    <a:pt x="307" y="451"/>
                  </a:lnTo>
                  <a:lnTo>
                    <a:pt x="305" y="441"/>
                  </a:lnTo>
                  <a:lnTo>
                    <a:pt x="303" y="435"/>
                  </a:lnTo>
                  <a:lnTo>
                    <a:pt x="303" y="427"/>
                  </a:lnTo>
                  <a:lnTo>
                    <a:pt x="299" y="419"/>
                  </a:lnTo>
                  <a:lnTo>
                    <a:pt x="299" y="407"/>
                  </a:lnTo>
                  <a:lnTo>
                    <a:pt x="303" y="401"/>
                  </a:lnTo>
                  <a:lnTo>
                    <a:pt x="305" y="391"/>
                  </a:lnTo>
                  <a:lnTo>
                    <a:pt x="305" y="380"/>
                  </a:lnTo>
                  <a:lnTo>
                    <a:pt x="314" y="370"/>
                  </a:lnTo>
                  <a:lnTo>
                    <a:pt x="314" y="357"/>
                  </a:lnTo>
                  <a:lnTo>
                    <a:pt x="316" y="352"/>
                  </a:lnTo>
                  <a:lnTo>
                    <a:pt x="323" y="346"/>
                  </a:lnTo>
                  <a:lnTo>
                    <a:pt x="323" y="341"/>
                  </a:lnTo>
                  <a:lnTo>
                    <a:pt x="320" y="332"/>
                  </a:lnTo>
                  <a:lnTo>
                    <a:pt x="318" y="330"/>
                  </a:lnTo>
                  <a:lnTo>
                    <a:pt x="314" y="330"/>
                  </a:lnTo>
                  <a:lnTo>
                    <a:pt x="304" y="330"/>
                  </a:lnTo>
                  <a:lnTo>
                    <a:pt x="285" y="338"/>
                  </a:lnTo>
                  <a:lnTo>
                    <a:pt x="273" y="341"/>
                  </a:lnTo>
                  <a:lnTo>
                    <a:pt x="266" y="341"/>
                  </a:lnTo>
                  <a:lnTo>
                    <a:pt x="257" y="338"/>
                  </a:lnTo>
                  <a:lnTo>
                    <a:pt x="253" y="337"/>
                  </a:lnTo>
                  <a:lnTo>
                    <a:pt x="248" y="335"/>
                  </a:lnTo>
                  <a:lnTo>
                    <a:pt x="242" y="333"/>
                  </a:lnTo>
                  <a:lnTo>
                    <a:pt x="234" y="336"/>
                  </a:lnTo>
                  <a:lnTo>
                    <a:pt x="232" y="338"/>
                  </a:lnTo>
                  <a:lnTo>
                    <a:pt x="226" y="338"/>
                  </a:lnTo>
                  <a:lnTo>
                    <a:pt x="217" y="338"/>
                  </a:lnTo>
                  <a:lnTo>
                    <a:pt x="213" y="336"/>
                  </a:lnTo>
                  <a:lnTo>
                    <a:pt x="212" y="336"/>
                  </a:lnTo>
                  <a:lnTo>
                    <a:pt x="184" y="295"/>
                  </a:lnTo>
                  <a:lnTo>
                    <a:pt x="183" y="293"/>
                  </a:lnTo>
                  <a:lnTo>
                    <a:pt x="180" y="290"/>
                  </a:lnTo>
                  <a:lnTo>
                    <a:pt x="169" y="289"/>
                  </a:lnTo>
                  <a:lnTo>
                    <a:pt x="163" y="285"/>
                  </a:lnTo>
                  <a:lnTo>
                    <a:pt x="151" y="281"/>
                  </a:lnTo>
                  <a:lnTo>
                    <a:pt x="133" y="282"/>
                  </a:lnTo>
                  <a:lnTo>
                    <a:pt x="115" y="287"/>
                  </a:lnTo>
                  <a:lnTo>
                    <a:pt x="105" y="288"/>
                  </a:lnTo>
                  <a:lnTo>
                    <a:pt x="90" y="287"/>
                  </a:lnTo>
                  <a:lnTo>
                    <a:pt x="73" y="279"/>
                  </a:lnTo>
                  <a:lnTo>
                    <a:pt x="70" y="272"/>
                  </a:lnTo>
                  <a:lnTo>
                    <a:pt x="66" y="271"/>
                  </a:lnTo>
                  <a:lnTo>
                    <a:pt x="54" y="265"/>
                  </a:lnTo>
                  <a:lnTo>
                    <a:pt x="52" y="262"/>
                  </a:lnTo>
                  <a:lnTo>
                    <a:pt x="52" y="229"/>
                  </a:lnTo>
                  <a:lnTo>
                    <a:pt x="50" y="220"/>
                  </a:lnTo>
                  <a:lnTo>
                    <a:pt x="47" y="214"/>
                  </a:lnTo>
                  <a:lnTo>
                    <a:pt x="43" y="211"/>
                  </a:lnTo>
                  <a:lnTo>
                    <a:pt x="41" y="208"/>
                  </a:lnTo>
                  <a:lnTo>
                    <a:pt x="34" y="199"/>
                  </a:lnTo>
                  <a:lnTo>
                    <a:pt x="31" y="196"/>
                  </a:lnTo>
                  <a:lnTo>
                    <a:pt x="28" y="176"/>
                  </a:lnTo>
                  <a:lnTo>
                    <a:pt x="25" y="170"/>
                  </a:lnTo>
                  <a:lnTo>
                    <a:pt x="24" y="168"/>
                  </a:lnTo>
                  <a:lnTo>
                    <a:pt x="0" y="169"/>
                  </a:lnTo>
                  <a:lnTo>
                    <a:pt x="6" y="155"/>
                  </a:lnTo>
                  <a:lnTo>
                    <a:pt x="14" y="140"/>
                  </a:lnTo>
                  <a:lnTo>
                    <a:pt x="27" y="95"/>
                  </a:lnTo>
                  <a:lnTo>
                    <a:pt x="40" y="73"/>
                  </a:lnTo>
                  <a:lnTo>
                    <a:pt x="65" y="50"/>
                  </a:lnTo>
                  <a:lnTo>
                    <a:pt x="68" y="45"/>
                  </a:lnTo>
                  <a:lnTo>
                    <a:pt x="73" y="35"/>
                  </a:lnTo>
                  <a:lnTo>
                    <a:pt x="79" y="29"/>
                  </a:lnTo>
                  <a:lnTo>
                    <a:pt x="94" y="23"/>
                  </a:lnTo>
                  <a:lnTo>
                    <a:pt x="109" y="2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16" name="Freeform 234">
              <a:extLst>
                <a:ext uri="{FF2B5EF4-FFF2-40B4-BE49-F238E27FC236}">
                  <a16:creationId xmlns:a16="http://schemas.microsoft.com/office/drawing/2014/main" id="{643C8900-AE5E-E3ED-AA0E-0D57EA69F30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406319" y="4301366"/>
              <a:ext cx="164158" cy="195100"/>
            </a:xfrm>
            <a:custGeom>
              <a:avLst/>
              <a:gdLst>
                <a:gd name="T0" fmla="*/ 0 w 311"/>
                <a:gd name="T1" fmla="*/ 0 h 345"/>
                <a:gd name="T2" fmla="*/ 0 w 311"/>
                <a:gd name="T3" fmla="*/ 0 h 345"/>
                <a:gd name="T4" fmla="*/ 0 w 311"/>
                <a:gd name="T5" fmla="*/ 0 h 345"/>
                <a:gd name="T6" fmla="*/ 0 w 311"/>
                <a:gd name="T7" fmla="*/ 0 h 345"/>
                <a:gd name="T8" fmla="*/ 0 w 311"/>
                <a:gd name="T9" fmla="*/ 0 h 345"/>
                <a:gd name="T10" fmla="*/ 0 w 311"/>
                <a:gd name="T11" fmla="*/ 0 h 345"/>
                <a:gd name="T12" fmla="*/ 0 w 311"/>
                <a:gd name="T13" fmla="*/ 0 h 345"/>
                <a:gd name="T14" fmla="*/ 0 w 311"/>
                <a:gd name="T15" fmla="*/ 0 h 345"/>
                <a:gd name="T16" fmla="*/ 0 w 311"/>
                <a:gd name="T17" fmla="*/ 0 h 345"/>
                <a:gd name="T18" fmla="*/ 0 w 311"/>
                <a:gd name="T19" fmla="*/ 0 h 345"/>
                <a:gd name="T20" fmla="*/ 0 w 311"/>
                <a:gd name="T21" fmla="*/ 0 h 345"/>
                <a:gd name="T22" fmla="*/ 0 w 311"/>
                <a:gd name="T23" fmla="*/ 0 h 345"/>
                <a:gd name="T24" fmla="*/ 0 w 311"/>
                <a:gd name="T25" fmla="*/ 0 h 345"/>
                <a:gd name="T26" fmla="*/ 0 w 311"/>
                <a:gd name="T27" fmla="*/ 0 h 345"/>
                <a:gd name="T28" fmla="*/ 0 w 311"/>
                <a:gd name="T29" fmla="*/ 0 h 345"/>
                <a:gd name="T30" fmla="*/ 0 w 311"/>
                <a:gd name="T31" fmla="*/ 0 h 345"/>
                <a:gd name="T32" fmla="*/ 0 w 311"/>
                <a:gd name="T33" fmla="*/ 0 h 345"/>
                <a:gd name="T34" fmla="*/ 0 w 311"/>
                <a:gd name="T35" fmla="*/ 0 h 345"/>
                <a:gd name="T36" fmla="*/ 0 w 311"/>
                <a:gd name="T37" fmla="*/ 0 h 345"/>
                <a:gd name="T38" fmla="*/ 0 w 311"/>
                <a:gd name="T39" fmla="*/ 0 h 345"/>
                <a:gd name="T40" fmla="*/ 0 w 311"/>
                <a:gd name="T41" fmla="*/ 0 h 345"/>
                <a:gd name="T42" fmla="*/ 0 w 311"/>
                <a:gd name="T43" fmla="*/ 0 h 345"/>
                <a:gd name="T44" fmla="*/ 0 w 311"/>
                <a:gd name="T45" fmla="*/ 0 h 345"/>
                <a:gd name="T46" fmla="*/ 0 w 311"/>
                <a:gd name="T47" fmla="*/ 0 h 345"/>
                <a:gd name="T48" fmla="*/ 0 w 311"/>
                <a:gd name="T49" fmla="*/ 0 h 345"/>
                <a:gd name="T50" fmla="*/ 0 w 311"/>
                <a:gd name="T51" fmla="*/ 0 h 345"/>
                <a:gd name="T52" fmla="*/ 0 w 311"/>
                <a:gd name="T53" fmla="*/ 2147483647 h 345"/>
                <a:gd name="T54" fmla="*/ 0 w 311"/>
                <a:gd name="T55" fmla="*/ 2147483647 h 345"/>
                <a:gd name="T56" fmla="*/ 0 w 311"/>
                <a:gd name="T57" fmla="*/ 2147483647 h 345"/>
                <a:gd name="T58" fmla="*/ 0 w 311"/>
                <a:gd name="T59" fmla="*/ 2147483647 h 345"/>
                <a:gd name="T60" fmla="*/ 0 w 311"/>
                <a:gd name="T61" fmla="*/ 2147483647 h 345"/>
                <a:gd name="T62" fmla="*/ 0 w 311"/>
                <a:gd name="T63" fmla="*/ 2147483647 h 345"/>
                <a:gd name="T64" fmla="*/ 0 w 311"/>
                <a:gd name="T65" fmla="*/ 2147483647 h 345"/>
                <a:gd name="T66" fmla="*/ 0 w 311"/>
                <a:gd name="T67" fmla="*/ 2147483647 h 345"/>
                <a:gd name="T68" fmla="*/ 0 w 311"/>
                <a:gd name="T69" fmla="*/ 2147483647 h 345"/>
                <a:gd name="T70" fmla="*/ 0 w 311"/>
                <a:gd name="T71" fmla="*/ 0 h 345"/>
                <a:gd name="T72" fmla="*/ 0 w 311"/>
                <a:gd name="T73" fmla="*/ 0 h 345"/>
                <a:gd name="T74" fmla="*/ 0 w 311"/>
                <a:gd name="T75" fmla="*/ 0 h 345"/>
                <a:gd name="T76" fmla="*/ 0 w 311"/>
                <a:gd name="T77" fmla="*/ 0 h 345"/>
                <a:gd name="T78" fmla="*/ 0 w 311"/>
                <a:gd name="T79" fmla="*/ 0 h 345"/>
                <a:gd name="T80" fmla="*/ 0 w 311"/>
                <a:gd name="T81" fmla="*/ 0 h 345"/>
                <a:gd name="T82" fmla="*/ 0 w 311"/>
                <a:gd name="T83" fmla="*/ 0 h 345"/>
                <a:gd name="T84" fmla="*/ 0 w 311"/>
                <a:gd name="T85" fmla="*/ 0 h 345"/>
                <a:gd name="T86" fmla="*/ 0 w 311"/>
                <a:gd name="T87" fmla="*/ 0 h 345"/>
                <a:gd name="T88" fmla="*/ 0 w 311"/>
                <a:gd name="T89" fmla="*/ 0 h 345"/>
                <a:gd name="T90" fmla="*/ 0 w 311"/>
                <a:gd name="T91" fmla="*/ 0 h 345"/>
                <a:gd name="T92" fmla="*/ 0 w 311"/>
                <a:gd name="T93" fmla="*/ 0 h 345"/>
                <a:gd name="T94" fmla="*/ 0 w 311"/>
                <a:gd name="T95" fmla="*/ 0 h 345"/>
                <a:gd name="T96" fmla="*/ 0 w 311"/>
                <a:gd name="T97" fmla="*/ 0 h 345"/>
                <a:gd name="T98" fmla="*/ 0 w 311"/>
                <a:gd name="T99" fmla="*/ 0 h 345"/>
                <a:gd name="T100" fmla="*/ 0 w 311"/>
                <a:gd name="T101" fmla="*/ 0 h 345"/>
                <a:gd name="T102" fmla="*/ 0 w 311"/>
                <a:gd name="T103" fmla="*/ 0 h 345"/>
                <a:gd name="T104" fmla="*/ 0 w 311"/>
                <a:gd name="T105" fmla="*/ 0 h 345"/>
                <a:gd name="T106" fmla="*/ 0 w 311"/>
                <a:gd name="T107" fmla="*/ 0 h 345"/>
                <a:gd name="T108" fmla="*/ 0 w 311"/>
                <a:gd name="T109" fmla="*/ 0 h 345"/>
                <a:gd name="T110" fmla="*/ 0 w 311"/>
                <a:gd name="T111" fmla="*/ 0 h 345"/>
                <a:gd name="T112" fmla="*/ 0 w 311"/>
                <a:gd name="T113" fmla="*/ 0 h 345"/>
                <a:gd name="T114" fmla="*/ 0 w 311"/>
                <a:gd name="T115" fmla="*/ 0 h 345"/>
                <a:gd name="T116" fmla="*/ 0 w 311"/>
                <a:gd name="T117" fmla="*/ 0 h 345"/>
                <a:gd name="T118" fmla="*/ 0 w 311"/>
                <a:gd name="T119" fmla="*/ 0 h 345"/>
                <a:gd name="T120" fmla="*/ 0 w 311"/>
                <a:gd name="T121" fmla="*/ 0 h 34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1"/>
                <a:gd name="T184" fmla="*/ 0 h 345"/>
                <a:gd name="T185" fmla="*/ 311 w 311"/>
                <a:gd name="T186" fmla="*/ 345 h 34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1" h="345">
                  <a:moveTo>
                    <a:pt x="109" y="0"/>
                  </a:moveTo>
                  <a:lnTo>
                    <a:pt x="112" y="2"/>
                  </a:lnTo>
                  <a:lnTo>
                    <a:pt x="115" y="5"/>
                  </a:lnTo>
                  <a:lnTo>
                    <a:pt x="147" y="18"/>
                  </a:lnTo>
                  <a:lnTo>
                    <a:pt x="177" y="33"/>
                  </a:lnTo>
                  <a:lnTo>
                    <a:pt x="189" y="41"/>
                  </a:lnTo>
                  <a:lnTo>
                    <a:pt x="191" y="46"/>
                  </a:lnTo>
                  <a:lnTo>
                    <a:pt x="194" y="57"/>
                  </a:lnTo>
                  <a:lnTo>
                    <a:pt x="196" y="61"/>
                  </a:lnTo>
                  <a:lnTo>
                    <a:pt x="209" y="62"/>
                  </a:lnTo>
                  <a:lnTo>
                    <a:pt x="217" y="60"/>
                  </a:lnTo>
                  <a:lnTo>
                    <a:pt x="222" y="60"/>
                  </a:lnTo>
                  <a:lnTo>
                    <a:pt x="243" y="62"/>
                  </a:lnTo>
                  <a:lnTo>
                    <a:pt x="253" y="62"/>
                  </a:lnTo>
                  <a:lnTo>
                    <a:pt x="254" y="60"/>
                  </a:lnTo>
                  <a:lnTo>
                    <a:pt x="259" y="54"/>
                  </a:lnTo>
                  <a:lnTo>
                    <a:pt x="264" y="54"/>
                  </a:lnTo>
                  <a:lnTo>
                    <a:pt x="271" y="56"/>
                  </a:lnTo>
                  <a:lnTo>
                    <a:pt x="277" y="62"/>
                  </a:lnTo>
                  <a:lnTo>
                    <a:pt x="284" y="65"/>
                  </a:lnTo>
                  <a:lnTo>
                    <a:pt x="298" y="76"/>
                  </a:lnTo>
                  <a:lnTo>
                    <a:pt x="304" y="76"/>
                  </a:lnTo>
                  <a:lnTo>
                    <a:pt x="302" y="78"/>
                  </a:lnTo>
                  <a:lnTo>
                    <a:pt x="291" y="78"/>
                  </a:lnTo>
                  <a:lnTo>
                    <a:pt x="290" y="87"/>
                  </a:lnTo>
                  <a:lnTo>
                    <a:pt x="295" y="89"/>
                  </a:lnTo>
                  <a:lnTo>
                    <a:pt x="297" y="92"/>
                  </a:lnTo>
                  <a:lnTo>
                    <a:pt x="302" y="103"/>
                  </a:lnTo>
                  <a:lnTo>
                    <a:pt x="303" y="108"/>
                  </a:lnTo>
                  <a:lnTo>
                    <a:pt x="311" y="125"/>
                  </a:lnTo>
                  <a:lnTo>
                    <a:pt x="311" y="126"/>
                  </a:lnTo>
                  <a:lnTo>
                    <a:pt x="302" y="126"/>
                  </a:lnTo>
                  <a:lnTo>
                    <a:pt x="295" y="141"/>
                  </a:lnTo>
                  <a:lnTo>
                    <a:pt x="280" y="165"/>
                  </a:lnTo>
                  <a:lnTo>
                    <a:pt x="268" y="180"/>
                  </a:lnTo>
                  <a:lnTo>
                    <a:pt x="260" y="186"/>
                  </a:lnTo>
                  <a:lnTo>
                    <a:pt x="250" y="195"/>
                  </a:lnTo>
                  <a:lnTo>
                    <a:pt x="241" y="207"/>
                  </a:lnTo>
                  <a:lnTo>
                    <a:pt x="232" y="213"/>
                  </a:lnTo>
                  <a:lnTo>
                    <a:pt x="216" y="221"/>
                  </a:lnTo>
                  <a:lnTo>
                    <a:pt x="180" y="232"/>
                  </a:lnTo>
                  <a:lnTo>
                    <a:pt x="162" y="239"/>
                  </a:lnTo>
                  <a:lnTo>
                    <a:pt x="155" y="244"/>
                  </a:lnTo>
                  <a:lnTo>
                    <a:pt x="152" y="247"/>
                  </a:lnTo>
                  <a:lnTo>
                    <a:pt x="147" y="256"/>
                  </a:lnTo>
                  <a:lnTo>
                    <a:pt x="146" y="266"/>
                  </a:lnTo>
                  <a:lnTo>
                    <a:pt x="142" y="269"/>
                  </a:lnTo>
                  <a:lnTo>
                    <a:pt x="140" y="269"/>
                  </a:lnTo>
                  <a:lnTo>
                    <a:pt x="136" y="265"/>
                  </a:lnTo>
                  <a:lnTo>
                    <a:pt x="134" y="265"/>
                  </a:lnTo>
                  <a:lnTo>
                    <a:pt x="134" y="266"/>
                  </a:lnTo>
                  <a:lnTo>
                    <a:pt x="120" y="286"/>
                  </a:lnTo>
                  <a:lnTo>
                    <a:pt x="118" y="299"/>
                  </a:lnTo>
                  <a:lnTo>
                    <a:pt x="118" y="320"/>
                  </a:lnTo>
                  <a:lnTo>
                    <a:pt x="115" y="328"/>
                  </a:lnTo>
                  <a:lnTo>
                    <a:pt x="114" y="329"/>
                  </a:lnTo>
                  <a:lnTo>
                    <a:pt x="104" y="333"/>
                  </a:lnTo>
                  <a:lnTo>
                    <a:pt x="97" y="340"/>
                  </a:lnTo>
                  <a:lnTo>
                    <a:pt x="86" y="345"/>
                  </a:lnTo>
                  <a:lnTo>
                    <a:pt x="78" y="344"/>
                  </a:lnTo>
                  <a:lnTo>
                    <a:pt x="73" y="336"/>
                  </a:lnTo>
                  <a:lnTo>
                    <a:pt x="71" y="330"/>
                  </a:lnTo>
                  <a:lnTo>
                    <a:pt x="66" y="321"/>
                  </a:lnTo>
                  <a:lnTo>
                    <a:pt x="60" y="321"/>
                  </a:lnTo>
                  <a:lnTo>
                    <a:pt x="50" y="321"/>
                  </a:lnTo>
                  <a:lnTo>
                    <a:pt x="46" y="318"/>
                  </a:lnTo>
                  <a:lnTo>
                    <a:pt x="43" y="314"/>
                  </a:lnTo>
                  <a:lnTo>
                    <a:pt x="33" y="314"/>
                  </a:lnTo>
                  <a:lnTo>
                    <a:pt x="26" y="319"/>
                  </a:lnTo>
                  <a:lnTo>
                    <a:pt x="21" y="320"/>
                  </a:lnTo>
                  <a:lnTo>
                    <a:pt x="18" y="318"/>
                  </a:lnTo>
                  <a:lnTo>
                    <a:pt x="17" y="304"/>
                  </a:lnTo>
                  <a:lnTo>
                    <a:pt x="15" y="299"/>
                  </a:lnTo>
                  <a:lnTo>
                    <a:pt x="15" y="297"/>
                  </a:lnTo>
                  <a:lnTo>
                    <a:pt x="18" y="292"/>
                  </a:lnTo>
                  <a:lnTo>
                    <a:pt x="28" y="290"/>
                  </a:lnTo>
                  <a:lnTo>
                    <a:pt x="33" y="285"/>
                  </a:lnTo>
                  <a:lnTo>
                    <a:pt x="32" y="276"/>
                  </a:lnTo>
                  <a:lnTo>
                    <a:pt x="30" y="274"/>
                  </a:lnTo>
                  <a:lnTo>
                    <a:pt x="28" y="264"/>
                  </a:lnTo>
                  <a:lnTo>
                    <a:pt x="27" y="264"/>
                  </a:lnTo>
                  <a:lnTo>
                    <a:pt x="27" y="261"/>
                  </a:lnTo>
                  <a:lnTo>
                    <a:pt x="30" y="258"/>
                  </a:lnTo>
                  <a:lnTo>
                    <a:pt x="40" y="254"/>
                  </a:lnTo>
                  <a:lnTo>
                    <a:pt x="46" y="250"/>
                  </a:lnTo>
                  <a:lnTo>
                    <a:pt x="53" y="243"/>
                  </a:lnTo>
                  <a:lnTo>
                    <a:pt x="55" y="237"/>
                  </a:lnTo>
                  <a:lnTo>
                    <a:pt x="59" y="213"/>
                  </a:lnTo>
                  <a:lnTo>
                    <a:pt x="56" y="207"/>
                  </a:lnTo>
                  <a:lnTo>
                    <a:pt x="53" y="205"/>
                  </a:lnTo>
                  <a:lnTo>
                    <a:pt x="51" y="191"/>
                  </a:lnTo>
                  <a:lnTo>
                    <a:pt x="45" y="197"/>
                  </a:lnTo>
                  <a:lnTo>
                    <a:pt x="37" y="210"/>
                  </a:lnTo>
                  <a:lnTo>
                    <a:pt x="30" y="217"/>
                  </a:lnTo>
                  <a:lnTo>
                    <a:pt x="26" y="215"/>
                  </a:lnTo>
                  <a:lnTo>
                    <a:pt x="21" y="210"/>
                  </a:lnTo>
                  <a:lnTo>
                    <a:pt x="11" y="206"/>
                  </a:lnTo>
                  <a:lnTo>
                    <a:pt x="2" y="199"/>
                  </a:lnTo>
                  <a:lnTo>
                    <a:pt x="0" y="173"/>
                  </a:lnTo>
                  <a:lnTo>
                    <a:pt x="0" y="164"/>
                  </a:lnTo>
                  <a:lnTo>
                    <a:pt x="2" y="156"/>
                  </a:lnTo>
                  <a:lnTo>
                    <a:pt x="1" y="130"/>
                  </a:lnTo>
                  <a:lnTo>
                    <a:pt x="3" y="126"/>
                  </a:lnTo>
                  <a:lnTo>
                    <a:pt x="17" y="120"/>
                  </a:lnTo>
                  <a:lnTo>
                    <a:pt x="24" y="111"/>
                  </a:lnTo>
                  <a:lnTo>
                    <a:pt x="26" y="97"/>
                  </a:lnTo>
                  <a:lnTo>
                    <a:pt x="28" y="89"/>
                  </a:lnTo>
                  <a:lnTo>
                    <a:pt x="40" y="72"/>
                  </a:lnTo>
                  <a:lnTo>
                    <a:pt x="44" y="66"/>
                  </a:lnTo>
                  <a:lnTo>
                    <a:pt x="44" y="60"/>
                  </a:lnTo>
                  <a:lnTo>
                    <a:pt x="42" y="46"/>
                  </a:lnTo>
                  <a:lnTo>
                    <a:pt x="42" y="33"/>
                  </a:lnTo>
                  <a:lnTo>
                    <a:pt x="46" y="27"/>
                  </a:lnTo>
                  <a:lnTo>
                    <a:pt x="66" y="27"/>
                  </a:lnTo>
                  <a:lnTo>
                    <a:pt x="67" y="27"/>
                  </a:lnTo>
                  <a:lnTo>
                    <a:pt x="71" y="24"/>
                  </a:lnTo>
                  <a:lnTo>
                    <a:pt x="82" y="13"/>
                  </a:lnTo>
                  <a:lnTo>
                    <a:pt x="88" y="9"/>
                  </a:lnTo>
                  <a:lnTo>
                    <a:pt x="97" y="8"/>
                  </a:lnTo>
                  <a:lnTo>
                    <a:pt x="103" y="7"/>
                  </a:lnTo>
                  <a:lnTo>
                    <a:pt x="108" y="2"/>
                  </a:lnTo>
                  <a:lnTo>
                    <a:pt x="109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17" name="Freeform 235">
              <a:extLst>
                <a:ext uri="{FF2B5EF4-FFF2-40B4-BE49-F238E27FC236}">
                  <a16:creationId xmlns:a16="http://schemas.microsoft.com/office/drawing/2014/main" id="{DA3D6D33-DD56-BCDC-4EC8-027CAAA94B6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936099" y="4950683"/>
              <a:ext cx="244744" cy="277407"/>
            </a:xfrm>
            <a:custGeom>
              <a:avLst/>
              <a:gdLst>
                <a:gd name="T0" fmla="*/ 0 w 459"/>
                <a:gd name="T1" fmla="*/ 0 h 491"/>
                <a:gd name="T2" fmla="*/ 0 w 459"/>
                <a:gd name="T3" fmla="*/ 0 h 491"/>
                <a:gd name="T4" fmla="*/ 0 w 459"/>
                <a:gd name="T5" fmla="*/ 0 h 491"/>
                <a:gd name="T6" fmla="*/ 0 w 459"/>
                <a:gd name="T7" fmla="*/ 0 h 491"/>
                <a:gd name="T8" fmla="*/ 0 w 459"/>
                <a:gd name="T9" fmla="*/ 0 h 491"/>
                <a:gd name="T10" fmla="*/ 0 w 459"/>
                <a:gd name="T11" fmla="*/ 0 h 491"/>
                <a:gd name="T12" fmla="*/ 0 w 459"/>
                <a:gd name="T13" fmla="*/ 0 h 491"/>
                <a:gd name="T14" fmla="*/ 0 w 459"/>
                <a:gd name="T15" fmla="*/ 0 h 491"/>
                <a:gd name="T16" fmla="*/ 0 w 459"/>
                <a:gd name="T17" fmla="*/ 0 h 491"/>
                <a:gd name="T18" fmla="*/ 0 w 459"/>
                <a:gd name="T19" fmla="*/ 0 h 491"/>
                <a:gd name="T20" fmla="*/ 0 w 459"/>
                <a:gd name="T21" fmla="*/ 0 h 491"/>
                <a:gd name="T22" fmla="*/ 0 w 459"/>
                <a:gd name="T23" fmla="*/ 0 h 491"/>
                <a:gd name="T24" fmla="*/ 0 w 459"/>
                <a:gd name="T25" fmla="*/ 0 h 491"/>
                <a:gd name="T26" fmla="*/ 0 w 459"/>
                <a:gd name="T27" fmla="*/ 0 h 491"/>
                <a:gd name="T28" fmla="*/ 0 w 459"/>
                <a:gd name="T29" fmla="*/ 0 h 491"/>
                <a:gd name="T30" fmla="*/ 0 w 459"/>
                <a:gd name="T31" fmla="*/ 0 h 491"/>
                <a:gd name="T32" fmla="*/ 0 w 459"/>
                <a:gd name="T33" fmla="*/ 0 h 491"/>
                <a:gd name="T34" fmla="*/ 2147483647 w 459"/>
                <a:gd name="T35" fmla="*/ 0 h 491"/>
                <a:gd name="T36" fmla="*/ 2147483647 w 459"/>
                <a:gd name="T37" fmla="*/ 0 h 491"/>
                <a:gd name="T38" fmla="*/ 2147483647 w 459"/>
                <a:gd name="T39" fmla="*/ 0 h 491"/>
                <a:gd name="T40" fmla="*/ 2147483647 w 459"/>
                <a:gd name="T41" fmla="*/ 0 h 491"/>
                <a:gd name="T42" fmla="*/ 2147483647 w 459"/>
                <a:gd name="T43" fmla="*/ 0 h 491"/>
                <a:gd name="T44" fmla="*/ 2147483647 w 459"/>
                <a:gd name="T45" fmla="*/ 0 h 491"/>
                <a:gd name="T46" fmla="*/ 2147483647 w 459"/>
                <a:gd name="T47" fmla="*/ 0 h 491"/>
                <a:gd name="T48" fmla="*/ 2147483647 w 459"/>
                <a:gd name="T49" fmla="*/ 0 h 491"/>
                <a:gd name="T50" fmla="*/ 2147483647 w 459"/>
                <a:gd name="T51" fmla="*/ 0 h 491"/>
                <a:gd name="T52" fmla="*/ 2147483647 w 459"/>
                <a:gd name="T53" fmla="*/ 0 h 491"/>
                <a:gd name="T54" fmla="*/ 2147483647 w 459"/>
                <a:gd name="T55" fmla="*/ 0 h 491"/>
                <a:gd name="T56" fmla="*/ 2147483647 w 459"/>
                <a:gd name="T57" fmla="*/ 2147483647 h 491"/>
                <a:gd name="T58" fmla="*/ 2147483647 w 459"/>
                <a:gd name="T59" fmla="*/ 2147483647 h 491"/>
                <a:gd name="T60" fmla="*/ 2147483647 w 459"/>
                <a:gd name="T61" fmla="*/ 2147483647 h 491"/>
                <a:gd name="T62" fmla="*/ 2147483647 w 459"/>
                <a:gd name="T63" fmla="*/ 2147483647 h 491"/>
                <a:gd name="T64" fmla="*/ 2147483647 w 459"/>
                <a:gd name="T65" fmla="*/ 2147483647 h 491"/>
                <a:gd name="T66" fmla="*/ 2147483647 w 459"/>
                <a:gd name="T67" fmla="*/ 2147483647 h 491"/>
                <a:gd name="T68" fmla="*/ 2147483647 w 459"/>
                <a:gd name="T69" fmla="*/ 2147483647 h 491"/>
                <a:gd name="T70" fmla="*/ 2147483647 w 459"/>
                <a:gd name="T71" fmla="*/ 2147483647 h 491"/>
                <a:gd name="T72" fmla="*/ 2147483647 w 459"/>
                <a:gd name="T73" fmla="*/ 2147483647 h 491"/>
                <a:gd name="T74" fmla="*/ 2147483647 w 459"/>
                <a:gd name="T75" fmla="*/ 2147483647 h 491"/>
                <a:gd name="T76" fmla="*/ 2147483647 w 459"/>
                <a:gd name="T77" fmla="*/ 2147483647 h 491"/>
                <a:gd name="T78" fmla="*/ 2147483647 w 459"/>
                <a:gd name="T79" fmla="*/ 2147483647 h 491"/>
                <a:gd name="T80" fmla="*/ 0 w 459"/>
                <a:gd name="T81" fmla="*/ 2147483647 h 491"/>
                <a:gd name="T82" fmla="*/ 0 w 459"/>
                <a:gd name="T83" fmla="*/ 2147483647 h 491"/>
                <a:gd name="T84" fmla="*/ 0 w 459"/>
                <a:gd name="T85" fmla="*/ 2147483647 h 491"/>
                <a:gd name="T86" fmla="*/ 0 w 459"/>
                <a:gd name="T87" fmla="*/ 2147483647 h 491"/>
                <a:gd name="T88" fmla="*/ 0 w 459"/>
                <a:gd name="T89" fmla="*/ 2147483647 h 491"/>
                <a:gd name="T90" fmla="*/ 0 w 459"/>
                <a:gd name="T91" fmla="*/ 2147483647 h 491"/>
                <a:gd name="T92" fmla="*/ 0 w 459"/>
                <a:gd name="T93" fmla="*/ 2147483647 h 491"/>
                <a:gd name="T94" fmla="*/ 0 w 459"/>
                <a:gd name="T95" fmla="*/ 2147483647 h 491"/>
                <a:gd name="T96" fmla="*/ 0 w 459"/>
                <a:gd name="T97" fmla="*/ 2147483647 h 491"/>
                <a:gd name="T98" fmla="*/ 0 w 459"/>
                <a:gd name="T99" fmla="*/ 2147483647 h 491"/>
                <a:gd name="T100" fmla="*/ 0 w 459"/>
                <a:gd name="T101" fmla="*/ 0 h 491"/>
                <a:gd name="T102" fmla="*/ 0 w 459"/>
                <a:gd name="T103" fmla="*/ 0 h 491"/>
                <a:gd name="T104" fmla="*/ 0 w 459"/>
                <a:gd name="T105" fmla="*/ 0 h 491"/>
                <a:gd name="T106" fmla="*/ 0 w 459"/>
                <a:gd name="T107" fmla="*/ 0 h 491"/>
                <a:gd name="T108" fmla="*/ 0 w 459"/>
                <a:gd name="T109" fmla="*/ 0 h 491"/>
                <a:gd name="T110" fmla="*/ 0 w 459"/>
                <a:gd name="T111" fmla="*/ 0 h 491"/>
                <a:gd name="T112" fmla="*/ 0 w 459"/>
                <a:gd name="T113" fmla="*/ 0 h 491"/>
                <a:gd name="T114" fmla="*/ 0 w 459"/>
                <a:gd name="T115" fmla="*/ 0 h 491"/>
                <a:gd name="T116" fmla="*/ 0 w 459"/>
                <a:gd name="T117" fmla="*/ 0 h 49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59"/>
                <a:gd name="T178" fmla="*/ 0 h 491"/>
                <a:gd name="T179" fmla="*/ 459 w 459"/>
                <a:gd name="T180" fmla="*/ 491 h 49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59" h="491">
                  <a:moveTo>
                    <a:pt x="0" y="179"/>
                  </a:moveTo>
                  <a:lnTo>
                    <a:pt x="8" y="164"/>
                  </a:lnTo>
                  <a:lnTo>
                    <a:pt x="19" y="124"/>
                  </a:lnTo>
                  <a:lnTo>
                    <a:pt x="19" y="117"/>
                  </a:lnTo>
                  <a:lnTo>
                    <a:pt x="18" y="113"/>
                  </a:lnTo>
                  <a:lnTo>
                    <a:pt x="18" y="87"/>
                  </a:lnTo>
                  <a:lnTo>
                    <a:pt x="18" y="84"/>
                  </a:lnTo>
                  <a:lnTo>
                    <a:pt x="29" y="66"/>
                  </a:lnTo>
                  <a:lnTo>
                    <a:pt x="40" y="50"/>
                  </a:lnTo>
                  <a:lnTo>
                    <a:pt x="43" y="35"/>
                  </a:lnTo>
                  <a:lnTo>
                    <a:pt x="45" y="29"/>
                  </a:lnTo>
                  <a:lnTo>
                    <a:pt x="64" y="25"/>
                  </a:lnTo>
                  <a:lnTo>
                    <a:pt x="118" y="8"/>
                  </a:lnTo>
                  <a:lnTo>
                    <a:pt x="121" y="8"/>
                  </a:lnTo>
                  <a:lnTo>
                    <a:pt x="152" y="0"/>
                  </a:lnTo>
                  <a:lnTo>
                    <a:pt x="156" y="0"/>
                  </a:lnTo>
                  <a:lnTo>
                    <a:pt x="199" y="0"/>
                  </a:lnTo>
                  <a:lnTo>
                    <a:pt x="212" y="3"/>
                  </a:lnTo>
                  <a:lnTo>
                    <a:pt x="222" y="11"/>
                  </a:lnTo>
                  <a:lnTo>
                    <a:pt x="232" y="19"/>
                  </a:lnTo>
                  <a:lnTo>
                    <a:pt x="247" y="40"/>
                  </a:lnTo>
                  <a:lnTo>
                    <a:pt x="248" y="44"/>
                  </a:lnTo>
                  <a:lnTo>
                    <a:pt x="254" y="50"/>
                  </a:lnTo>
                  <a:lnTo>
                    <a:pt x="252" y="55"/>
                  </a:lnTo>
                  <a:lnTo>
                    <a:pt x="252" y="57"/>
                  </a:lnTo>
                  <a:lnTo>
                    <a:pt x="260" y="71"/>
                  </a:lnTo>
                  <a:lnTo>
                    <a:pt x="261" y="73"/>
                  </a:lnTo>
                  <a:lnTo>
                    <a:pt x="261" y="121"/>
                  </a:lnTo>
                  <a:lnTo>
                    <a:pt x="261" y="154"/>
                  </a:lnTo>
                  <a:lnTo>
                    <a:pt x="265" y="163"/>
                  </a:lnTo>
                  <a:lnTo>
                    <a:pt x="271" y="165"/>
                  </a:lnTo>
                  <a:lnTo>
                    <a:pt x="286" y="169"/>
                  </a:lnTo>
                  <a:lnTo>
                    <a:pt x="293" y="173"/>
                  </a:lnTo>
                  <a:lnTo>
                    <a:pt x="311" y="175"/>
                  </a:lnTo>
                  <a:lnTo>
                    <a:pt x="323" y="175"/>
                  </a:lnTo>
                  <a:lnTo>
                    <a:pt x="335" y="174"/>
                  </a:lnTo>
                  <a:lnTo>
                    <a:pt x="340" y="171"/>
                  </a:lnTo>
                  <a:lnTo>
                    <a:pt x="349" y="168"/>
                  </a:lnTo>
                  <a:lnTo>
                    <a:pt x="355" y="173"/>
                  </a:lnTo>
                  <a:lnTo>
                    <a:pt x="378" y="180"/>
                  </a:lnTo>
                  <a:lnTo>
                    <a:pt x="384" y="189"/>
                  </a:lnTo>
                  <a:lnTo>
                    <a:pt x="386" y="195"/>
                  </a:lnTo>
                  <a:lnTo>
                    <a:pt x="388" y="218"/>
                  </a:lnTo>
                  <a:lnTo>
                    <a:pt x="392" y="230"/>
                  </a:lnTo>
                  <a:lnTo>
                    <a:pt x="390" y="255"/>
                  </a:lnTo>
                  <a:lnTo>
                    <a:pt x="392" y="260"/>
                  </a:lnTo>
                  <a:lnTo>
                    <a:pt x="397" y="267"/>
                  </a:lnTo>
                  <a:lnTo>
                    <a:pt x="404" y="272"/>
                  </a:lnTo>
                  <a:lnTo>
                    <a:pt x="411" y="275"/>
                  </a:lnTo>
                  <a:lnTo>
                    <a:pt x="421" y="275"/>
                  </a:lnTo>
                  <a:lnTo>
                    <a:pt x="426" y="272"/>
                  </a:lnTo>
                  <a:lnTo>
                    <a:pt x="440" y="272"/>
                  </a:lnTo>
                  <a:lnTo>
                    <a:pt x="449" y="270"/>
                  </a:lnTo>
                  <a:lnTo>
                    <a:pt x="454" y="275"/>
                  </a:lnTo>
                  <a:lnTo>
                    <a:pt x="459" y="283"/>
                  </a:lnTo>
                  <a:lnTo>
                    <a:pt x="459" y="308"/>
                  </a:lnTo>
                  <a:lnTo>
                    <a:pt x="458" y="311"/>
                  </a:lnTo>
                  <a:lnTo>
                    <a:pt x="454" y="327"/>
                  </a:lnTo>
                  <a:lnTo>
                    <a:pt x="451" y="353"/>
                  </a:lnTo>
                  <a:lnTo>
                    <a:pt x="449" y="374"/>
                  </a:lnTo>
                  <a:lnTo>
                    <a:pt x="446" y="404"/>
                  </a:lnTo>
                  <a:lnTo>
                    <a:pt x="443" y="420"/>
                  </a:lnTo>
                  <a:lnTo>
                    <a:pt x="440" y="428"/>
                  </a:lnTo>
                  <a:lnTo>
                    <a:pt x="433" y="438"/>
                  </a:lnTo>
                  <a:lnTo>
                    <a:pt x="425" y="447"/>
                  </a:lnTo>
                  <a:lnTo>
                    <a:pt x="411" y="458"/>
                  </a:lnTo>
                  <a:lnTo>
                    <a:pt x="409" y="461"/>
                  </a:lnTo>
                  <a:lnTo>
                    <a:pt x="404" y="463"/>
                  </a:lnTo>
                  <a:lnTo>
                    <a:pt x="390" y="475"/>
                  </a:lnTo>
                  <a:lnTo>
                    <a:pt x="388" y="479"/>
                  </a:lnTo>
                  <a:lnTo>
                    <a:pt x="386" y="480"/>
                  </a:lnTo>
                  <a:lnTo>
                    <a:pt x="378" y="482"/>
                  </a:lnTo>
                  <a:lnTo>
                    <a:pt x="363" y="480"/>
                  </a:lnTo>
                  <a:lnTo>
                    <a:pt x="356" y="483"/>
                  </a:lnTo>
                  <a:lnTo>
                    <a:pt x="352" y="488"/>
                  </a:lnTo>
                  <a:lnTo>
                    <a:pt x="345" y="491"/>
                  </a:lnTo>
                  <a:lnTo>
                    <a:pt x="338" y="491"/>
                  </a:lnTo>
                  <a:lnTo>
                    <a:pt x="333" y="488"/>
                  </a:lnTo>
                  <a:lnTo>
                    <a:pt x="323" y="490"/>
                  </a:lnTo>
                  <a:lnTo>
                    <a:pt x="313" y="487"/>
                  </a:lnTo>
                  <a:lnTo>
                    <a:pt x="296" y="476"/>
                  </a:lnTo>
                  <a:lnTo>
                    <a:pt x="290" y="474"/>
                  </a:lnTo>
                  <a:lnTo>
                    <a:pt x="258" y="469"/>
                  </a:lnTo>
                  <a:lnTo>
                    <a:pt x="236" y="469"/>
                  </a:lnTo>
                  <a:lnTo>
                    <a:pt x="233" y="465"/>
                  </a:lnTo>
                  <a:lnTo>
                    <a:pt x="233" y="459"/>
                  </a:lnTo>
                  <a:lnTo>
                    <a:pt x="236" y="450"/>
                  </a:lnTo>
                  <a:lnTo>
                    <a:pt x="238" y="442"/>
                  </a:lnTo>
                  <a:lnTo>
                    <a:pt x="249" y="417"/>
                  </a:lnTo>
                  <a:lnTo>
                    <a:pt x="264" y="395"/>
                  </a:lnTo>
                  <a:lnTo>
                    <a:pt x="273" y="382"/>
                  </a:lnTo>
                  <a:lnTo>
                    <a:pt x="273" y="372"/>
                  </a:lnTo>
                  <a:lnTo>
                    <a:pt x="271" y="363"/>
                  </a:lnTo>
                  <a:lnTo>
                    <a:pt x="269" y="358"/>
                  </a:lnTo>
                  <a:lnTo>
                    <a:pt x="265" y="357"/>
                  </a:lnTo>
                  <a:lnTo>
                    <a:pt x="260" y="348"/>
                  </a:lnTo>
                  <a:lnTo>
                    <a:pt x="252" y="342"/>
                  </a:lnTo>
                  <a:lnTo>
                    <a:pt x="238" y="339"/>
                  </a:lnTo>
                  <a:lnTo>
                    <a:pt x="230" y="327"/>
                  </a:lnTo>
                  <a:lnTo>
                    <a:pt x="214" y="319"/>
                  </a:lnTo>
                  <a:lnTo>
                    <a:pt x="199" y="311"/>
                  </a:lnTo>
                  <a:lnTo>
                    <a:pt x="173" y="293"/>
                  </a:lnTo>
                  <a:lnTo>
                    <a:pt x="167" y="291"/>
                  </a:lnTo>
                  <a:lnTo>
                    <a:pt x="155" y="287"/>
                  </a:lnTo>
                  <a:lnTo>
                    <a:pt x="126" y="286"/>
                  </a:lnTo>
                  <a:lnTo>
                    <a:pt x="118" y="283"/>
                  </a:lnTo>
                  <a:lnTo>
                    <a:pt x="107" y="280"/>
                  </a:lnTo>
                  <a:lnTo>
                    <a:pt x="102" y="276"/>
                  </a:lnTo>
                  <a:lnTo>
                    <a:pt x="101" y="275"/>
                  </a:lnTo>
                  <a:lnTo>
                    <a:pt x="89" y="256"/>
                  </a:lnTo>
                  <a:lnTo>
                    <a:pt x="85" y="253"/>
                  </a:lnTo>
                  <a:lnTo>
                    <a:pt x="74" y="246"/>
                  </a:lnTo>
                  <a:lnTo>
                    <a:pt x="49" y="228"/>
                  </a:lnTo>
                  <a:lnTo>
                    <a:pt x="46" y="223"/>
                  </a:lnTo>
                  <a:lnTo>
                    <a:pt x="33" y="210"/>
                  </a:lnTo>
                  <a:lnTo>
                    <a:pt x="22" y="189"/>
                  </a:lnTo>
                  <a:lnTo>
                    <a:pt x="16" y="184"/>
                  </a:lnTo>
                  <a:lnTo>
                    <a:pt x="0" y="17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18" name="Freeform 238">
              <a:extLst>
                <a:ext uri="{FF2B5EF4-FFF2-40B4-BE49-F238E27FC236}">
                  <a16:creationId xmlns:a16="http://schemas.microsoft.com/office/drawing/2014/main" id="{8E10FE9C-E676-A769-7031-B9BA8D2F4DE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4297246" y="4327278"/>
              <a:ext cx="16416" cy="13718"/>
            </a:xfrm>
            <a:custGeom>
              <a:avLst/>
              <a:gdLst>
                <a:gd name="T0" fmla="*/ 0 w 32"/>
                <a:gd name="T1" fmla="*/ 0 h 27"/>
                <a:gd name="T2" fmla="*/ 0 w 32"/>
                <a:gd name="T3" fmla="*/ 0 h 27"/>
                <a:gd name="T4" fmla="*/ 0 w 32"/>
                <a:gd name="T5" fmla="*/ 0 h 27"/>
                <a:gd name="T6" fmla="*/ 0 w 32"/>
                <a:gd name="T7" fmla="*/ 0 h 27"/>
                <a:gd name="T8" fmla="*/ 0 w 32"/>
                <a:gd name="T9" fmla="*/ 0 h 27"/>
                <a:gd name="T10" fmla="*/ 0 w 32"/>
                <a:gd name="T11" fmla="*/ 0 h 27"/>
                <a:gd name="T12" fmla="*/ 0 w 32"/>
                <a:gd name="T13" fmla="*/ 0 h 27"/>
                <a:gd name="T14" fmla="*/ 0 w 32"/>
                <a:gd name="T15" fmla="*/ 0 h 27"/>
                <a:gd name="T16" fmla="*/ 0 w 32"/>
                <a:gd name="T17" fmla="*/ 0 h 27"/>
                <a:gd name="T18" fmla="*/ 0 w 32"/>
                <a:gd name="T19" fmla="*/ 0 h 27"/>
                <a:gd name="T20" fmla="*/ 0 w 32"/>
                <a:gd name="T21" fmla="*/ 0 h 27"/>
                <a:gd name="T22" fmla="*/ 0 w 32"/>
                <a:gd name="T23" fmla="*/ 0 h 2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2"/>
                <a:gd name="T37" fmla="*/ 0 h 27"/>
                <a:gd name="T38" fmla="*/ 32 w 32"/>
                <a:gd name="T39" fmla="*/ 27 h 2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2" h="27">
                  <a:moveTo>
                    <a:pt x="7" y="0"/>
                  </a:moveTo>
                  <a:lnTo>
                    <a:pt x="0" y="9"/>
                  </a:lnTo>
                  <a:lnTo>
                    <a:pt x="0" y="15"/>
                  </a:lnTo>
                  <a:lnTo>
                    <a:pt x="6" y="22"/>
                  </a:lnTo>
                  <a:lnTo>
                    <a:pt x="16" y="23"/>
                  </a:lnTo>
                  <a:lnTo>
                    <a:pt x="23" y="27"/>
                  </a:lnTo>
                  <a:lnTo>
                    <a:pt x="31" y="26"/>
                  </a:lnTo>
                  <a:lnTo>
                    <a:pt x="32" y="19"/>
                  </a:lnTo>
                  <a:lnTo>
                    <a:pt x="26" y="14"/>
                  </a:lnTo>
                  <a:lnTo>
                    <a:pt x="19" y="12"/>
                  </a:lnTo>
                  <a:lnTo>
                    <a:pt x="11" y="7"/>
                  </a:lnTo>
                  <a:lnTo>
                    <a:pt x="7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19" name="Freeform 239">
              <a:extLst>
                <a:ext uri="{FF2B5EF4-FFF2-40B4-BE49-F238E27FC236}">
                  <a16:creationId xmlns:a16="http://schemas.microsoft.com/office/drawing/2014/main" id="{719BF3CA-EACB-9BDF-C275-6ABEC9E8533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4316647" y="4340996"/>
              <a:ext cx="10446" cy="4572"/>
            </a:xfrm>
            <a:custGeom>
              <a:avLst/>
              <a:gdLst>
                <a:gd name="T0" fmla="*/ 0 w 18"/>
                <a:gd name="T1" fmla="*/ 0 h 12"/>
                <a:gd name="T2" fmla="*/ 0 w 18"/>
                <a:gd name="T3" fmla="*/ 0 h 12"/>
                <a:gd name="T4" fmla="*/ 0 w 18"/>
                <a:gd name="T5" fmla="*/ 0 h 12"/>
                <a:gd name="T6" fmla="*/ 0 w 18"/>
                <a:gd name="T7" fmla="*/ 0 h 12"/>
                <a:gd name="T8" fmla="*/ 0 w 18"/>
                <a:gd name="T9" fmla="*/ 0 h 12"/>
                <a:gd name="T10" fmla="*/ 0 w 18"/>
                <a:gd name="T11" fmla="*/ 0 h 12"/>
                <a:gd name="T12" fmla="*/ 0 w 18"/>
                <a:gd name="T13" fmla="*/ 0 h 12"/>
                <a:gd name="T14" fmla="*/ 0 w 18"/>
                <a:gd name="T15" fmla="*/ 0 h 12"/>
                <a:gd name="T16" fmla="*/ 0 w 18"/>
                <a:gd name="T17" fmla="*/ 0 h 12"/>
                <a:gd name="T18" fmla="*/ 0 w 18"/>
                <a:gd name="T19" fmla="*/ 0 h 12"/>
                <a:gd name="T20" fmla="*/ 0 w 18"/>
                <a:gd name="T21" fmla="*/ 0 h 12"/>
                <a:gd name="T22" fmla="*/ 0 w 18"/>
                <a:gd name="T23" fmla="*/ 0 h 12"/>
                <a:gd name="T24" fmla="*/ 0 w 18"/>
                <a:gd name="T25" fmla="*/ 0 h 1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8"/>
                <a:gd name="T40" fmla="*/ 0 h 12"/>
                <a:gd name="T41" fmla="*/ 18 w 18"/>
                <a:gd name="T42" fmla="*/ 12 h 1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8" h="12">
                  <a:moveTo>
                    <a:pt x="17" y="8"/>
                  </a:moveTo>
                  <a:lnTo>
                    <a:pt x="11" y="12"/>
                  </a:lnTo>
                  <a:lnTo>
                    <a:pt x="1" y="12"/>
                  </a:lnTo>
                  <a:lnTo>
                    <a:pt x="0" y="11"/>
                  </a:lnTo>
                  <a:lnTo>
                    <a:pt x="0" y="8"/>
                  </a:lnTo>
                  <a:lnTo>
                    <a:pt x="1" y="6"/>
                  </a:lnTo>
                  <a:lnTo>
                    <a:pt x="2" y="6"/>
                  </a:lnTo>
                  <a:lnTo>
                    <a:pt x="8" y="1"/>
                  </a:lnTo>
                  <a:lnTo>
                    <a:pt x="11" y="0"/>
                  </a:lnTo>
                  <a:lnTo>
                    <a:pt x="14" y="0"/>
                  </a:lnTo>
                  <a:lnTo>
                    <a:pt x="18" y="1"/>
                  </a:lnTo>
                  <a:lnTo>
                    <a:pt x="18" y="6"/>
                  </a:lnTo>
                  <a:lnTo>
                    <a:pt x="17" y="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20" name="Freeform 240">
              <a:extLst>
                <a:ext uri="{FF2B5EF4-FFF2-40B4-BE49-F238E27FC236}">
                  <a16:creationId xmlns:a16="http://schemas.microsoft.com/office/drawing/2014/main" id="{D4D4EC1E-58D8-26B1-33D6-0F49FBD1869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4292770" y="4345569"/>
              <a:ext cx="61186" cy="48775"/>
            </a:xfrm>
            <a:custGeom>
              <a:avLst/>
              <a:gdLst>
                <a:gd name="T0" fmla="*/ 0 w 116"/>
                <a:gd name="T1" fmla="*/ 0 h 87"/>
                <a:gd name="T2" fmla="*/ 0 w 116"/>
                <a:gd name="T3" fmla="*/ 0 h 87"/>
                <a:gd name="T4" fmla="*/ 0 w 116"/>
                <a:gd name="T5" fmla="*/ 0 h 87"/>
                <a:gd name="T6" fmla="*/ 0 w 116"/>
                <a:gd name="T7" fmla="*/ 0 h 87"/>
                <a:gd name="T8" fmla="*/ 0 w 116"/>
                <a:gd name="T9" fmla="*/ 0 h 87"/>
                <a:gd name="T10" fmla="*/ 0 w 116"/>
                <a:gd name="T11" fmla="*/ 0 h 87"/>
                <a:gd name="T12" fmla="*/ 0 w 116"/>
                <a:gd name="T13" fmla="*/ 0 h 87"/>
                <a:gd name="T14" fmla="*/ 0 w 116"/>
                <a:gd name="T15" fmla="*/ 0 h 87"/>
                <a:gd name="T16" fmla="*/ 0 w 116"/>
                <a:gd name="T17" fmla="*/ 0 h 87"/>
                <a:gd name="T18" fmla="*/ 0 w 116"/>
                <a:gd name="T19" fmla="*/ 0 h 87"/>
                <a:gd name="T20" fmla="*/ 0 w 116"/>
                <a:gd name="T21" fmla="*/ 0 h 87"/>
                <a:gd name="T22" fmla="*/ 0 w 116"/>
                <a:gd name="T23" fmla="*/ 0 h 87"/>
                <a:gd name="T24" fmla="*/ 0 w 116"/>
                <a:gd name="T25" fmla="*/ 0 h 87"/>
                <a:gd name="T26" fmla="*/ 0 w 116"/>
                <a:gd name="T27" fmla="*/ 0 h 87"/>
                <a:gd name="T28" fmla="*/ 0 w 116"/>
                <a:gd name="T29" fmla="*/ 0 h 87"/>
                <a:gd name="T30" fmla="*/ 0 w 116"/>
                <a:gd name="T31" fmla="*/ 0 h 87"/>
                <a:gd name="T32" fmla="*/ 0 w 116"/>
                <a:gd name="T33" fmla="*/ 0 h 87"/>
                <a:gd name="T34" fmla="*/ 0 w 116"/>
                <a:gd name="T35" fmla="*/ 0 h 87"/>
                <a:gd name="T36" fmla="*/ 0 w 116"/>
                <a:gd name="T37" fmla="*/ 0 h 87"/>
                <a:gd name="T38" fmla="*/ 0 w 116"/>
                <a:gd name="T39" fmla="*/ 0 h 87"/>
                <a:gd name="T40" fmla="*/ 0 w 116"/>
                <a:gd name="T41" fmla="*/ 0 h 87"/>
                <a:gd name="T42" fmla="*/ 0 w 116"/>
                <a:gd name="T43" fmla="*/ 0 h 87"/>
                <a:gd name="T44" fmla="*/ 0 w 116"/>
                <a:gd name="T45" fmla="*/ 0 h 87"/>
                <a:gd name="T46" fmla="*/ 0 w 116"/>
                <a:gd name="T47" fmla="*/ 0 h 87"/>
                <a:gd name="T48" fmla="*/ 0 w 116"/>
                <a:gd name="T49" fmla="*/ 0 h 87"/>
                <a:gd name="T50" fmla="*/ 0 w 116"/>
                <a:gd name="T51" fmla="*/ 0 h 87"/>
                <a:gd name="T52" fmla="*/ 0 w 116"/>
                <a:gd name="T53" fmla="*/ 0 h 87"/>
                <a:gd name="T54" fmla="*/ 0 w 116"/>
                <a:gd name="T55" fmla="*/ 0 h 87"/>
                <a:gd name="T56" fmla="*/ 0 w 116"/>
                <a:gd name="T57" fmla="*/ 0 h 87"/>
                <a:gd name="T58" fmla="*/ 0 w 116"/>
                <a:gd name="T59" fmla="*/ 0 h 87"/>
                <a:gd name="T60" fmla="*/ 0 w 116"/>
                <a:gd name="T61" fmla="*/ 0 h 87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6"/>
                <a:gd name="T94" fmla="*/ 0 h 87"/>
                <a:gd name="T95" fmla="*/ 116 w 116"/>
                <a:gd name="T96" fmla="*/ 87 h 87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6" h="87">
                  <a:moveTo>
                    <a:pt x="116" y="9"/>
                  </a:moveTo>
                  <a:lnTo>
                    <a:pt x="116" y="33"/>
                  </a:lnTo>
                  <a:lnTo>
                    <a:pt x="116" y="38"/>
                  </a:lnTo>
                  <a:lnTo>
                    <a:pt x="96" y="64"/>
                  </a:lnTo>
                  <a:lnTo>
                    <a:pt x="82" y="75"/>
                  </a:lnTo>
                  <a:lnTo>
                    <a:pt x="70" y="80"/>
                  </a:lnTo>
                  <a:lnTo>
                    <a:pt x="42" y="87"/>
                  </a:lnTo>
                  <a:lnTo>
                    <a:pt x="37" y="86"/>
                  </a:lnTo>
                  <a:lnTo>
                    <a:pt x="16" y="86"/>
                  </a:lnTo>
                  <a:lnTo>
                    <a:pt x="7" y="82"/>
                  </a:lnTo>
                  <a:lnTo>
                    <a:pt x="4" y="77"/>
                  </a:lnTo>
                  <a:lnTo>
                    <a:pt x="4" y="64"/>
                  </a:lnTo>
                  <a:lnTo>
                    <a:pt x="3" y="54"/>
                  </a:lnTo>
                  <a:lnTo>
                    <a:pt x="3" y="48"/>
                  </a:lnTo>
                  <a:lnTo>
                    <a:pt x="0" y="39"/>
                  </a:lnTo>
                  <a:lnTo>
                    <a:pt x="0" y="16"/>
                  </a:lnTo>
                  <a:lnTo>
                    <a:pt x="4" y="11"/>
                  </a:lnTo>
                  <a:lnTo>
                    <a:pt x="14" y="7"/>
                  </a:lnTo>
                  <a:lnTo>
                    <a:pt x="15" y="4"/>
                  </a:lnTo>
                  <a:lnTo>
                    <a:pt x="25" y="1"/>
                  </a:lnTo>
                  <a:lnTo>
                    <a:pt x="37" y="1"/>
                  </a:lnTo>
                  <a:lnTo>
                    <a:pt x="43" y="1"/>
                  </a:lnTo>
                  <a:lnTo>
                    <a:pt x="55" y="5"/>
                  </a:lnTo>
                  <a:lnTo>
                    <a:pt x="63" y="5"/>
                  </a:lnTo>
                  <a:lnTo>
                    <a:pt x="76" y="1"/>
                  </a:lnTo>
                  <a:lnTo>
                    <a:pt x="95" y="0"/>
                  </a:lnTo>
                  <a:lnTo>
                    <a:pt x="107" y="1"/>
                  </a:lnTo>
                  <a:lnTo>
                    <a:pt x="111" y="4"/>
                  </a:lnTo>
                  <a:lnTo>
                    <a:pt x="114" y="7"/>
                  </a:lnTo>
                  <a:lnTo>
                    <a:pt x="114" y="9"/>
                  </a:lnTo>
                  <a:lnTo>
                    <a:pt x="116" y="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21" name="Freeform 241">
              <a:extLst>
                <a:ext uri="{FF2B5EF4-FFF2-40B4-BE49-F238E27FC236}">
                  <a16:creationId xmlns:a16="http://schemas.microsoft.com/office/drawing/2014/main" id="{81CCC1CE-8D26-4975-7531-ECAB5081060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4274862" y="4340996"/>
              <a:ext cx="17908" cy="22863"/>
            </a:xfrm>
            <a:custGeom>
              <a:avLst/>
              <a:gdLst>
                <a:gd name="T0" fmla="*/ 0 w 31"/>
                <a:gd name="T1" fmla="*/ 0 h 38"/>
                <a:gd name="T2" fmla="*/ 0 w 31"/>
                <a:gd name="T3" fmla="*/ 0 h 38"/>
                <a:gd name="T4" fmla="*/ 0 w 31"/>
                <a:gd name="T5" fmla="*/ 0 h 38"/>
                <a:gd name="T6" fmla="*/ 0 w 31"/>
                <a:gd name="T7" fmla="*/ 0 h 38"/>
                <a:gd name="T8" fmla="*/ 0 w 31"/>
                <a:gd name="T9" fmla="*/ 0 h 38"/>
                <a:gd name="T10" fmla="*/ 0 w 31"/>
                <a:gd name="T11" fmla="*/ 0 h 38"/>
                <a:gd name="T12" fmla="*/ 0 w 31"/>
                <a:gd name="T13" fmla="*/ 0 h 38"/>
                <a:gd name="T14" fmla="*/ 0 w 31"/>
                <a:gd name="T15" fmla="*/ 0 h 38"/>
                <a:gd name="T16" fmla="*/ 0 w 31"/>
                <a:gd name="T17" fmla="*/ 0 h 38"/>
                <a:gd name="T18" fmla="*/ 0 w 31"/>
                <a:gd name="T19" fmla="*/ 0 h 38"/>
                <a:gd name="T20" fmla="*/ 0 w 31"/>
                <a:gd name="T21" fmla="*/ 0 h 38"/>
                <a:gd name="T22" fmla="*/ 0 w 31"/>
                <a:gd name="T23" fmla="*/ 0 h 38"/>
                <a:gd name="T24" fmla="*/ 0 w 31"/>
                <a:gd name="T25" fmla="*/ 0 h 38"/>
                <a:gd name="T26" fmla="*/ 0 w 31"/>
                <a:gd name="T27" fmla="*/ 0 h 38"/>
                <a:gd name="T28" fmla="*/ 0 w 31"/>
                <a:gd name="T29" fmla="*/ 0 h 38"/>
                <a:gd name="T30" fmla="*/ 0 w 31"/>
                <a:gd name="T31" fmla="*/ 0 h 38"/>
                <a:gd name="T32" fmla="*/ 0 w 31"/>
                <a:gd name="T33" fmla="*/ 0 h 38"/>
                <a:gd name="T34" fmla="*/ 0 w 31"/>
                <a:gd name="T35" fmla="*/ 0 h 38"/>
                <a:gd name="T36" fmla="*/ 0 w 31"/>
                <a:gd name="T37" fmla="*/ 0 h 38"/>
                <a:gd name="T38" fmla="*/ 0 w 31"/>
                <a:gd name="T39" fmla="*/ 0 h 38"/>
                <a:gd name="T40" fmla="*/ 0 w 31"/>
                <a:gd name="T41" fmla="*/ 0 h 38"/>
                <a:gd name="T42" fmla="*/ 0 w 31"/>
                <a:gd name="T43" fmla="*/ 0 h 38"/>
                <a:gd name="T44" fmla="*/ 0 w 31"/>
                <a:gd name="T45" fmla="*/ 0 h 38"/>
                <a:gd name="T46" fmla="*/ 0 w 31"/>
                <a:gd name="T47" fmla="*/ 0 h 3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1"/>
                <a:gd name="T73" fmla="*/ 0 h 38"/>
                <a:gd name="T74" fmla="*/ 31 w 31"/>
                <a:gd name="T75" fmla="*/ 38 h 3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1" h="38">
                  <a:moveTo>
                    <a:pt x="31" y="16"/>
                  </a:moveTo>
                  <a:lnTo>
                    <a:pt x="31" y="18"/>
                  </a:lnTo>
                  <a:lnTo>
                    <a:pt x="24" y="25"/>
                  </a:lnTo>
                  <a:lnTo>
                    <a:pt x="24" y="27"/>
                  </a:lnTo>
                  <a:lnTo>
                    <a:pt x="13" y="38"/>
                  </a:lnTo>
                  <a:lnTo>
                    <a:pt x="5" y="38"/>
                  </a:lnTo>
                  <a:lnTo>
                    <a:pt x="5" y="34"/>
                  </a:lnTo>
                  <a:lnTo>
                    <a:pt x="0" y="30"/>
                  </a:lnTo>
                  <a:lnTo>
                    <a:pt x="0" y="27"/>
                  </a:lnTo>
                  <a:lnTo>
                    <a:pt x="2" y="22"/>
                  </a:lnTo>
                  <a:lnTo>
                    <a:pt x="9" y="15"/>
                  </a:lnTo>
                  <a:lnTo>
                    <a:pt x="10" y="10"/>
                  </a:lnTo>
                  <a:lnTo>
                    <a:pt x="11" y="6"/>
                  </a:lnTo>
                  <a:lnTo>
                    <a:pt x="15" y="5"/>
                  </a:lnTo>
                  <a:lnTo>
                    <a:pt x="24" y="3"/>
                  </a:lnTo>
                  <a:lnTo>
                    <a:pt x="24" y="2"/>
                  </a:lnTo>
                  <a:lnTo>
                    <a:pt x="31" y="0"/>
                  </a:lnTo>
                  <a:lnTo>
                    <a:pt x="31" y="3"/>
                  </a:lnTo>
                  <a:lnTo>
                    <a:pt x="24" y="6"/>
                  </a:lnTo>
                  <a:lnTo>
                    <a:pt x="20" y="10"/>
                  </a:lnTo>
                  <a:lnTo>
                    <a:pt x="20" y="13"/>
                  </a:lnTo>
                  <a:lnTo>
                    <a:pt x="30" y="11"/>
                  </a:lnTo>
                  <a:lnTo>
                    <a:pt x="30" y="15"/>
                  </a:lnTo>
                  <a:lnTo>
                    <a:pt x="31" y="1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22" name="Freeform 242">
              <a:extLst>
                <a:ext uri="{FF2B5EF4-FFF2-40B4-BE49-F238E27FC236}">
                  <a16:creationId xmlns:a16="http://schemas.microsoft.com/office/drawing/2014/main" id="{38C58208-75DB-A905-8874-8F4E3CCF526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4306200" y="4327278"/>
              <a:ext cx="2985" cy="1525"/>
            </a:xfrm>
            <a:custGeom>
              <a:avLst/>
              <a:gdLst>
                <a:gd name="T0" fmla="*/ 0 w 6"/>
                <a:gd name="T1" fmla="*/ 0 h 7"/>
                <a:gd name="T2" fmla="*/ 0 w 6"/>
                <a:gd name="T3" fmla="*/ 0 h 7"/>
                <a:gd name="T4" fmla="*/ 0 w 6"/>
                <a:gd name="T5" fmla="*/ 0 h 7"/>
                <a:gd name="T6" fmla="*/ 0 w 6"/>
                <a:gd name="T7" fmla="*/ 0 h 7"/>
                <a:gd name="T8" fmla="*/ 0 w 6"/>
                <a:gd name="T9" fmla="*/ 0 h 7"/>
                <a:gd name="T10" fmla="*/ 0 w 6"/>
                <a:gd name="T11" fmla="*/ 0 h 7"/>
                <a:gd name="T12" fmla="*/ 0 w 6"/>
                <a:gd name="T13" fmla="*/ 0 h 7"/>
                <a:gd name="T14" fmla="*/ 0 w 6"/>
                <a:gd name="T15" fmla="*/ 0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7"/>
                <a:gd name="T26" fmla="*/ 6 w 6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7">
                  <a:moveTo>
                    <a:pt x="5" y="0"/>
                  </a:moveTo>
                  <a:lnTo>
                    <a:pt x="6" y="5"/>
                  </a:lnTo>
                  <a:lnTo>
                    <a:pt x="5" y="7"/>
                  </a:lnTo>
                  <a:lnTo>
                    <a:pt x="3" y="7"/>
                  </a:lnTo>
                  <a:lnTo>
                    <a:pt x="0" y="7"/>
                  </a:lnTo>
                  <a:lnTo>
                    <a:pt x="0" y="3"/>
                  </a:lnTo>
                  <a:lnTo>
                    <a:pt x="1" y="1"/>
                  </a:lnTo>
                  <a:lnTo>
                    <a:pt x="5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23" name="Freeform 243">
              <a:extLst>
                <a:ext uri="{FF2B5EF4-FFF2-40B4-BE49-F238E27FC236}">
                  <a16:creationId xmlns:a16="http://schemas.microsoft.com/office/drawing/2014/main" id="{E339B67F-F4DA-8375-252D-7335AD8288D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4295754" y="4340996"/>
              <a:ext cx="5969" cy="3049"/>
            </a:xfrm>
            <a:custGeom>
              <a:avLst/>
              <a:gdLst>
                <a:gd name="T0" fmla="*/ 0 w 8"/>
                <a:gd name="T1" fmla="*/ 0 h 6"/>
                <a:gd name="T2" fmla="*/ 0 w 8"/>
                <a:gd name="T3" fmla="*/ 0 h 6"/>
                <a:gd name="T4" fmla="*/ 0 w 8"/>
                <a:gd name="T5" fmla="*/ 0 h 6"/>
                <a:gd name="T6" fmla="*/ 0 w 8"/>
                <a:gd name="T7" fmla="*/ 0 h 6"/>
                <a:gd name="T8" fmla="*/ 0 w 8"/>
                <a:gd name="T9" fmla="*/ 0 h 6"/>
                <a:gd name="T10" fmla="*/ 0 w 8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7" y="0"/>
                  </a:moveTo>
                  <a:lnTo>
                    <a:pt x="8" y="2"/>
                  </a:lnTo>
                  <a:lnTo>
                    <a:pt x="8" y="6"/>
                  </a:lnTo>
                  <a:lnTo>
                    <a:pt x="3" y="6"/>
                  </a:lnTo>
                  <a:lnTo>
                    <a:pt x="0" y="1"/>
                  </a:lnTo>
                  <a:lnTo>
                    <a:pt x="7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24" name="Freeform 244">
              <a:extLst>
                <a:ext uri="{FF2B5EF4-FFF2-40B4-BE49-F238E27FC236}">
                  <a16:creationId xmlns:a16="http://schemas.microsoft.com/office/drawing/2014/main" id="{FB3282E1-FAF9-0E77-D54B-BCB47F43A91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610769" y="4179430"/>
              <a:ext cx="1138657" cy="1274246"/>
            </a:xfrm>
            <a:custGeom>
              <a:avLst/>
              <a:gdLst>
                <a:gd name="T0" fmla="*/ 2147483647 w 2135"/>
                <a:gd name="T1" fmla="*/ 0 h 2241"/>
                <a:gd name="T2" fmla="*/ 2147483647 w 2135"/>
                <a:gd name="T3" fmla="*/ 0 h 2241"/>
                <a:gd name="T4" fmla="*/ 2147483647 w 2135"/>
                <a:gd name="T5" fmla="*/ 0 h 2241"/>
                <a:gd name="T6" fmla="*/ 2147483647 w 2135"/>
                <a:gd name="T7" fmla="*/ 0 h 2241"/>
                <a:gd name="T8" fmla="*/ 2147483647 w 2135"/>
                <a:gd name="T9" fmla="*/ 0 h 2241"/>
                <a:gd name="T10" fmla="*/ 2147483647 w 2135"/>
                <a:gd name="T11" fmla="*/ 0 h 2241"/>
                <a:gd name="T12" fmla="*/ 0 w 2135"/>
                <a:gd name="T13" fmla="*/ 0 h 2241"/>
                <a:gd name="T14" fmla="*/ 0 w 2135"/>
                <a:gd name="T15" fmla="*/ 0 h 2241"/>
                <a:gd name="T16" fmla="*/ 0 w 2135"/>
                <a:gd name="T17" fmla="*/ 2147483647 h 2241"/>
                <a:gd name="T18" fmla="*/ 0 w 2135"/>
                <a:gd name="T19" fmla="*/ 2147483647 h 2241"/>
                <a:gd name="T20" fmla="*/ 0 w 2135"/>
                <a:gd name="T21" fmla="*/ 2147483647 h 2241"/>
                <a:gd name="T22" fmla="*/ 0 w 2135"/>
                <a:gd name="T23" fmla="*/ 2147483647 h 2241"/>
                <a:gd name="T24" fmla="*/ 0 w 2135"/>
                <a:gd name="T25" fmla="*/ 2147483647 h 2241"/>
                <a:gd name="T26" fmla="*/ 0 w 2135"/>
                <a:gd name="T27" fmla="*/ 2147483647 h 2241"/>
                <a:gd name="T28" fmla="*/ 2147483647 w 2135"/>
                <a:gd name="T29" fmla="*/ 2147483647 h 2241"/>
                <a:gd name="T30" fmla="*/ 2147483647 w 2135"/>
                <a:gd name="T31" fmla="*/ 2147483647 h 2241"/>
                <a:gd name="T32" fmla="*/ 2147483647 w 2135"/>
                <a:gd name="T33" fmla="*/ 2147483647 h 2241"/>
                <a:gd name="T34" fmla="*/ 2147483647 w 2135"/>
                <a:gd name="T35" fmla="*/ 2147483647 h 2241"/>
                <a:gd name="T36" fmla="*/ 2147483647 w 2135"/>
                <a:gd name="T37" fmla="*/ 2147483647 h 2241"/>
                <a:gd name="T38" fmla="*/ 2147483647 w 2135"/>
                <a:gd name="T39" fmla="*/ 2147483647 h 2241"/>
                <a:gd name="T40" fmla="*/ 2147483647 w 2135"/>
                <a:gd name="T41" fmla="*/ 2147483647 h 2241"/>
                <a:gd name="T42" fmla="*/ 2147483647 w 2135"/>
                <a:gd name="T43" fmla="*/ 2147483647 h 2241"/>
                <a:gd name="T44" fmla="*/ 2147483647 w 2135"/>
                <a:gd name="T45" fmla="*/ 2147483647 h 2241"/>
                <a:gd name="T46" fmla="*/ 2147483647 w 2135"/>
                <a:gd name="T47" fmla="*/ 2147483647 h 2241"/>
                <a:gd name="T48" fmla="*/ 2147483647 w 2135"/>
                <a:gd name="T49" fmla="*/ 2147483647 h 2241"/>
                <a:gd name="T50" fmla="*/ 2147483647 w 2135"/>
                <a:gd name="T51" fmla="*/ 2147483647 h 2241"/>
                <a:gd name="T52" fmla="*/ 2147483647 w 2135"/>
                <a:gd name="T53" fmla="*/ 2147483647 h 2241"/>
                <a:gd name="T54" fmla="*/ 2147483647 w 2135"/>
                <a:gd name="T55" fmla="*/ 2147483647 h 2241"/>
                <a:gd name="T56" fmla="*/ 2147483647 w 2135"/>
                <a:gd name="T57" fmla="*/ 2147483647 h 2241"/>
                <a:gd name="T58" fmla="*/ 2147483647 w 2135"/>
                <a:gd name="T59" fmla="*/ 2147483647 h 2241"/>
                <a:gd name="T60" fmla="*/ 2147483647 w 2135"/>
                <a:gd name="T61" fmla="*/ 2147483647 h 2241"/>
                <a:gd name="T62" fmla="*/ 2147483647 w 2135"/>
                <a:gd name="T63" fmla="*/ 2147483647 h 2241"/>
                <a:gd name="T64" fmla="*/ 2147483647 w 2135"/>
                <a:gd name="T65" fmla="*/ 2147483647 h 2241"/>
                <a:gd name="T66" fmla="*/ 2147483647 w 2135"/>
                <a:gd name="T67" fmla="*/ 2147483647 h 2241"/>
                <a:gd name="T68" fmla="*/ 2147483647 w 2135"/>
                <a:gd name="T69" fmla="*/ 2147483647 h 2241"/>
                <a:gd name="T70" fmla="*/ 2147483647 w 2135"/>
                <a:gd name="T71" fmla="*/ 2147483647 h 2241"/>
                <a:gd name="T72" fmla="*/ 2147483647 w 2135"/>
                <a:gd name="T73" fmla="*/ 2147483647 h 2241"/>
                <a:gd name="T74" fmla="*/ 2147483647 w 2135"/>
                <a:gd name="T75" fmla="*/ 2147483647 h 2241"/>
                <a:gd name="T76" fmla="*/ 2147483647 w 2135"/>
                <a:gd name="T77" fmla="*/ 2147483647 h 2241"/>
                <a:gd name="T78" fmla="*/ 2147483647 w 2135"/>
                <a:gd name="T79" fmla="*/ 2147483647 h 2241"/>
                <a:gd name="T80" fmla="*/ 2147483647 w 2135"/>
                <a:gd name="T81" fmla="*/ 2147483647 h 2241"/>
                <a:gd name="T82" fmla="*/ 2147483647 w 2135"/>
                <a:gd name="T83" fmla="*/ 2147483647 h 2241"/>
                <a:gd name="T84" fmla="*/ 2147483647 w 2135"/>
                <a:gd name="T85" fmla="*/ 2147483647 h 2241"/>
                <a:gd name="T86" fmla="*/ 2147483647 w 2135"/>
                <a:gd name="T87" fmla="*/ 2147483647 h 2241"/>
                <a:gd name="T88" fmla="*/ 2147483647 w 2135"/>
                <a:gd name="T89" fmla="*/ 2147483647 h 2241"/>
                <a:gd name="T90" fmla="*/ 2147483647 w 2135"/>
                <a:gd name="T91" fmla="*/ 2147483647 h 2241"/>
                <a:gd name="T92" fmla="*/ 2147483647 w 2135"/>
                <a:gd name="T93" fmla="*/ 2147483647 h 2241"/>
                <a:gd name="T94" fmla="*/ 2147483647 w 2135"/>
                <a:gd name="T95" fmla="*/ 2147483647 h 2241"/>
                <a:gd name="T96" fmla="*/ 2147483647 w 2135"/>
                <a:gd name="T97" fmla="*/ 2147483647 h 2241"/>
                <a:gd name="T98" fmla="*/ 2147483647 w 2135"/>
                <a:gd name="T99" fmla="*/ 2147483647 h 2241"/>
                <a:gd name="T100" fmla="*/ 2147483647 w 2135"/>
                <a:gd name="T101" fmla="*/ 0 h 2241"/>
                <a:gd name="T102" fmla="*/ 2147483647 w 2135"/>
                <a:gd name="T103" fmla="*/ 0 h 2241"/>
                <a:gd name="T104" fmla="*/ 2147483647 w 2135"/>
                <a:gd name="T105" fmla="*/ 0 h 2241"/>
                <a:gd name="T106" fmla="*/ 2147483647 w 2135"/>
                <a:gd name="T107" fmla="*/ 0 h 2241"/>
                <a:gd name="T108" fmla="*/ 2147483647 w 2135"/>
                <a:gd name="T109" fmla="*/ 0 h 2241"/>
                <a:gd name="T110" fmla="*/ 2147483647 w 2135"/>
                <a:gd name="T111" fmla="*/ 0 h 2241"/>
                <a:gd name="T112" fmla="*/ 2147483647 w 2135"/>
                <a:gd name="T113" fmla="*/ 0 h 2241"/>
                <a:gd name="T114" fmla="*/ 2147483647 w 2135"/>
                <a:gd name="T115" fmla="*/ 0 h 2241"/>
                <a:gd name="T116" fmla="*/ 2147483647 w 2135"/>
                <a:gd name="T117" fmla="*/ 0 h 224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135"/>
                <a:gd name="T178" fmla="*/ 0 h 2241"/>
                <a:gd name="T179" fmla="*/ 2135 w 2135"/>
                <a:gd name="T180" fmla="*/ 2241 h 224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135" h="2241">
                  <a:moveTo>
                    <a:pt x="725" y="3"/>
                  </a:moveTo>
                  <a:lnTo>
                    <a:pt x="725" y="15"/>
                  </a:lnTo>
                  <a:lnTo>
                    <a:pt x="713" y="28"/>
                  </a:lnTo>
                  <a:lnTo>
                    <a:pt x="706" y="35"/>
                  </a:lnTo>
                  <a:lnTo>
                    <a:pt x="702" y="37"/>
                  </a:lnTo>
                  <a:lnTo>
                    <a:pt x="686" y="38"/>
                  </a:lnTo>
                  <a:lnTo>
                    <a:pt x="680" y="42"/>
                  </a:lnTo>
                  <a:lnTo>
                    <a:pt x="672" y="46"/>
                  </a:lnTo>
                  <a:lnTo>
                    <a:pt x="666" y="54"/>
                  </a:lnTo>
                  <a:lnTo>
                    <a:pt x="661" y="57"/>
                  </a:lnTo>
                  <a:lnTo>
                    <a:pt x="632" y="59"/>
                  </a:lnTo>
                  <a:lnTo>
                    <a:pt x="616" y="63"/>
                  </a:lnTo>
                  <a:lnTo>
                    <a:pt x="598" y="69"/>
                  </a:lnTo>
                  <a:lnTo>
                    <a:pt x="594" y="73"/>
                  </a:lnTo>
                  <a:lnTo>
                    <a:pt x="593" y="74"/>
                  </a:lnTo>
                  <a:lnTo>
                    <a:pt x="568" y="73"/>
                  </a:lnTo>
                  <a:lnTo>
                    <a:pt x="550" y="68"/>
                  </a:lnTo>
                  <a:lnTo>
                    <a:pt x="529" y="55"/>
                  </a:lnTo>
                  <a:lnTo>
                    <a:pt x="507" y="53"/>
                  </a:lnTo>
                  <a:lnTo>
                    <a:pt x="500" y="51"/>
                  </a:lnTo>
                  <a:lnTo>
                    <a:pt x="496" y="51"/>
                  </a:lnTo>
                  <a:lnTo>
                    <a:pt x="495" y="51"/>
                  </a:lnTo>
                  <a:lnTo>
                    <a:pt x="496" y="60"/>
                  </a:lnTo>
                  <a:lnTo>
                    <a:pt x="500" y="69"/>
                  </a:lnTo>
                  <a:lnTo>
                    <a:pt x="511" y="74"/>
                  </a:lnTo>
                  <a:lnTo>
                    <a:pt x="523" y="81"/>
                  </a:lnTo>
                  <a:lnTo>
                    <a:pt x="525" y="84"/>
                  </a:lnTo>
                  <a:lnTo>
                    <a:pt x="524" y="96"/>
                  </a:lnTo>
                  <a:lnTo>
                    <a:pt x="521" y="109"/>
                  </a:lnTo>
                  <a:lnTo>
                    <a:pt x="521" y="116"/>
                  </a:lnTo>
                  <a:lnTo>
                    <a:pt x="522" y="121"/>
                  </a:lnTo>
                  <a:lnTo>
                    <a:pt x="527" y="138"/>
                  </a:lnTo>
                  <a:lnTo>
                    <a:pt x="528" y="146"/>
                  </a:lnTo>
                  <a:lnTo>
                    <a:pt x="530" y="152"/>
                  </a:lnTo>
                  <a:lnTo>
                    <a:pt x="545" y="155"/>
                  </a:lnTo>
                  <a:lnTo>
                    <a:pt x="548" y="156"/>
                  </a:lnTo>
                  <a:lnTo>
                    <a:pt x="572" y="155"/>
                  </a:lnTo>
                  <a:lnTo>
                    <a:pt x="572" y="164"/>
                  </a:lnTo>
                  <a:lnTo>
                    <a:pt x="572" y="165"/>
                  </a:lnTo>
                  <a:lnTo>
                    <a:pt x="570" y="168"/>
                  </a:lnTo>
                  <a:lnTo>
                    <a:pt x="559" y="170"/>
                  </a:lnTo>
                  <a:lnTo>
                    <a:pt x="551" y="173"/>
                  </a:lnTo>
                  <a:lnTo>
                    <a:pt x="550" y="176"/>
                  </a:lnTo>
                  <a:lnTo>
                    <a:pt x="545" y="179"/>
                  </a:lnTo>
                  <a:lnTo>
                    <a:pt x="537" y="179"/>
                  </a:lnTo>
                  <a:lnTo>
                    <a:pt x="532" y="187"/>
                  </a:lnTo>
                  <a:lnTo>
                    <a:pt x="527" y="202"/>
                  </a:lnTo>
                  <a:lnTo>
                    <a:pt x="522" y="205"/>
                  </a:lnTo>
                  <a:lnTo>
                    <a:pt x="517" y="207"/>
                  </a:lnTo>
                  <a:lnTo>
                    <a:pt x="512" y="207"/>
                  </a:lnTo>
                  <a:lnTo>
                    <a:pt x="506" y="210"/>
                  </a:lnTo>
                  <a:lnTo>
                    <a:pt x="503" y="211"/>
                  </a:lnTo>
                  <a:lnTo>
                    <a:pt x="501" y="216"/>
                  </a:lnTo>
                  <a:lnTo>
                    <a:pt x="492" y="216"/>
                  </a:lnTo>
                  <a:lnTo>
                    <a:pt x="480" y="221"/>
                  </a:lnTo>
                  <a:lnTo>
                    <a:pt x="478" y="221"/>
                  </a:lnTo>
                  <a:lnTo>
                    <a:pt x="470" y="225"/>
                  </a:lnTo>
                  <a:lnTo>
                    <a:pt x="462" y="229"/>
                  </a:lnTo>
                  <a:lnTo>
                    <a:pt x="457" y="232"/>
                  </a:lnTo>
                  <a:lnTo>
                    <a:pt x="449" y="240"/>
                  </a:lnTo>
                  <a:lnTo>
                    <a:pt x="447" y="241"/>
                  </a:lnTo>
                  <a:lnTo>
                    <a:pt x="428" y="245"/>
                  </a:lnTo>
                  <a:lnTo>
                    <a:pt x="411" y="245"/>
                  </a:lnTo>
                  <a:lnTo>
                    <a:pt x="409" y="243"/>
                  </a:lnTo>
                  <a:lnTo>
                    <a:pt x="408" y="243"/>
                  </a:lnTo>
                  <a:lnTo>
                    <a:pt x="394" y="235"/>
                  </a:lnTo>
                  <a:lnTo>
                    <a:pt x="390" y="231"/>
                  </a:lnTo>
                  <a:lnTo>
                    <a:pt x="387" y="226"/>
                  </a:lnTo>
                  <a:lnTo>
                    <a:pt x="384" y="221"/>
                  </a:lnTo>
                  <a:lnTo>
                    <a:pt x="379" y="214"/>
                  </a:lnTo>
                  <a:lnTo>
                    <a:pt x="379" y="216"/>
                  </a:lnTo>
                  <a:lnTo>
                    <a:pt x="368" y="221"/>
                  </a:lnTo>
                  <a:lnTo>
                    <a:pt x="362" y="192"/>
                  </a:lnTo>
                  <a:lnTo>
                    <a:pt x="354" y="181"/>
                  </a:lnTo>
                  <a:lnTo>
                    <a:pt x="349" y="176"/>
                  </a:lnTo>
                  <a:lnTo>
                    <a:pt x="338" y="176"/>
                  </a:lnTo>
                  <a:lnTo>
                    <a:pt x="319" y="186"/>
                  </a:lnTo>
                  <a:lnTo>
                    <a:pt x="317" y="186"/>
                  </a:lnTo>
                  <a:lnTo>
                    <a:pt x="313" y="179"/>
                  </a:lnTo>
                  <a:lnTo>
                    <a:pt x="309" y="177"/>
                  </a:lnTo>
                  <a:lnTo>
                    <a:pt x="307" y="177"/>
                  </a:lnTo>
                  <a:lnTo>
                    <a:pt x="303" y="182"/>
                  </a:lnTo>
                  <a:lnTo>
                    <a:pt x="302" y="188"/>
                  </a:lnTo>
                  <a:lnTo>
                    <a:pt x="298" y="192"/>
                  </a:lnTo>
                  <a:lnTo>
                    <a:pt x="218" y="192"/>
                  </a:lnTo>
                  <a:lnTo>
                    <a:pt x="217" y="191"/>
                  </a:lnTo>
                  <a:lnTo>
                    <a:pt x="217" y="222"/>
                  </a:lnTo>
                  <a:lnTo>
                    <a:pt x="217" y="225"/>
                  </a:lnTo>
                  <a:lnTo>
                    <a:pt x="221" y="226"/>
                  </a:lnTo>
                  <a:lnTo>
                    <a:pt x="225" y="231"/>
                  </a:lnTo>
                  <a:lnTo>
                    <a:pt x="232" y="231"/>
                  </a:lnTo>
                  <a:lnTo>
                    <a:pt x="234" y="229"/>
                  </a:lnTo>
                  <a:lnTo>
                    <a:pt x="244" y="227"/>
                  </a:lnTo>
                  <a:lnTo>
                    <a:pt x="249" y="235"/>
                  </a:lnTo>
                  <a:lnTo>
                    <a:pt x="250" y="242"/>
                  </a:lnTo>
                  <a:lnTo>
                    <a:pt x="254" y="252"/>
                  </a:lnTo>
                  <a:lnTo>
                    <a:pt x="254" y="253"/>
                  </a:lnTo>
                  <a:lnTo>
                    <a:pt x="249" y="254"/>
                  </a:lnTo>
                  <a:lnTo>
                    <a:pt x="248" y="252"/>
                  </a:lnTo>
                  <a:lnTo>
                    <a:pt x="244" y="251"/>
                  </a:lnTo>
                  <a:lnTo>
                    <a:pt x="234" y="249"/>
                  </a:lnTo>
                  <a:lnTo>
                    <a:pt x="227" y="252"/>
                  </a:lnTo>
                  <a:lnTo>
                    <a:pt x="210" y="254"/>
                  </a:lnTo>
                  <a:lnTo>
                    <a:pt x="205" y="257"/>
                  </a:lnTo>
                  <a:lnTo>
                    <a:pt x="205" y="295"/>
                  </a:lnTo>
                  <a:lnTo>
                    <a:pt x="210" y="300"/>
                  </a:lnTo>
                  <a:lnTo>
                    <a:pt x="222" y="310"/>
                  </a:lnTo>
                  <a:lnTo>
                    <a:pt x="228" y="316"/>
                  </a:lnTo>
                  <a:lnTo>
                    <a:pt x="233" y="326"/>
                  </a:lnTo>
                  <a:lnTo>
                    <a:pt x="240" y="354"/>
                  </a:lnTo>
                  <a:lnTo>
                    <a:pt x="239" y="360"/>
                  </a:lnTo>
                  <a:lnTo>
                    <a:pt x="238" y="370"/>
                  </a:lnTo>
                  <a:lnTo>
                    <a:pt x="228" y="433"/>
                  </a:lnTo>
                  <a:lnTo>
                    <a:pt x="227" y="434"/>
                  </a:lnTo>
                  <a:lnTo>
                    <a:pt x="223" y="452"/>
                  </a:lnTo>
                  <a:lnTo>
                    <a:pt x="220" y="460"/>
                  </a:lnTo>
                  <a:lnTo>
                    <a:pt x="218" y="472"/>
                  </a:lnTo>
                  <a:lnTo>
                    <a:pt x="217" y="475"/>
                  </a:lnTo>
                  <a:lnTo>
                    <a:pt x="216" y="483"/>
                  </a:lnTo>
                  <a:lnTo>
                    <a:pt x="213" y="498"/>
                  </a:lnTo>
                  <a:lnTo>
                    <a:pt x="211" y="504"/>
                  </a:lnTo>
                  <a:lnTo>
                    <a:pt x="210" y="511"/>
                  </a:lnTo>
                  <a:lnTo>
                    <a:pt x="209" y="514"/>
                  </a:lnTo>
                  <a:lnTo>
                    <a:pt x="202" y="517"/>
                  </a:lnTo>
                  <a:lnTo>
                    <a:pt x="182" y="516"/>
                  </a:lnTo>
                  <a:lnTo>
                    <a:pt x="169" y="521"/>
                  </a:lnTo>
                  <a:lnTo>
                    <a:pt x="118" y="536"/>
                  </a:lnTo>
                  <a:lnTo>
                    <a:pt x="99" y="543"/>
                  </a:lnTo>
                  <a:lnTo>
                    <a:pt x="83" y="554"/>
                  </a:lnTo>
                  <a:lnTo>
                    <a:pt x="72" y="563"/>
                  </a:lnTo>
                  <a:lnTo>
                    <a:pt x="59" y="579"/>
                  </a:lnTo>
                  <a:lnTo>
                    <a:pt x="50" y="591"/>
                  </a:lnTo>
                  <a:lnTo>
                    <a:pt x="41" y="607"/>
                  </a:lnTo>
                  <a:lnTo>
                    <a:pt x="39" y="613"/>
                  </a:lnTo>
                  <a:lnTo>
                    <a:pt x="39" y="643"/>
                  </a:lnTo>
                  <a:lnTo>
                    <a:pt x="30" y="644"/>
                  </a:lnTo>
                  <a:lnTo>
                    <a:pt x="21" y="646"/>
                  </a:lnTo>
                  <a:lnTo>
                    <a:pt x="17" y="651"/>
                  </a:lnTo>
                  <a:lnTo>
                    <a:pt x="13" y="668"/>
                  </a:lnTo>
                  <a:lnTo>
                    <a:pt x="1" y="690"/>
                  </a:lnTo>
                  <a:lnTo>
                    <a:pt x="0" y="694"/>
                  </a:lnTo>
                  <a:lnTo>
                    <a:pt x="0" y="698"/>
                  </a:lnTo>
                  <a:lnTo>
                    <a:pt x="11" y="721"/>
                  </a:lnTo>
                  <a:lnTo>
                    <a:pt x="13" y="733"/>
                  </a:lnTo>
                  <a:lnTo>
                    <a:pt x="14" y="737"/>
                  </a:lnTo>
                  <a:lnTo>
                    <a:pt x="23" y="748"/>
                  </a:lnTo>
                  <a:lnTo>
                    <a:pt x="27" y="756"/>
                  </a:lnTo>
                  <a:lnTo>
                    <a:pt x="39" y="769"/>
                  </a:lnTo>
                  <a:lnTo>
                    <a:pt x="49" y="775"/>
                  </a:lnTo>
                  <a:lnTo>
                    <a:pt x="50" y="784"/>
                  </a:lnTo>
                  <a:lnTo>
                    <a:pt x="44" y="794"/>
                  </a:lnTo>
                  <a:lnTo>
                    <a:pt x="45" y="797"/>
                  </a:lnTo>
                  <a:lnTo>
                    <a:pt x="57" y="801"/>
                  </a:lnTo>
                  <a:lnTo>
                    <a:pt x="77" y="802"/>
                  </a:lnTo>
                  <a:lnTo>
                    <a:pt x="82" y="806"/>
                  </a:lnTo>
                  <a:lnTo>
                    <a:pt x="86" y="811"/>
                  </a:lnTo>
                  <a:lnTo>
                    <a:pt x="88" y="822"/>
                  </a:lnTo>
                  <a:lnTo>
                    <a:pt x="91" y="826"/>
                  </a:lnTo>
                  <a:lnTo>
                    <a:pt x="104" y="829"/>
                  </a:lnTo>
                  <a:lnTo>
                    <a:pt x="119" y="830"/>
                  </a:lnTo>
                  <a:lnTo>
                    <a:pt x="127" y="829"/>
                  </a:lnTo>
                  <a:lnTo>
                    <a:pt x="145" y="819"/>
                  </a:lnTo>
                  <a:lnTo>
                    <a:pt x="167" y="803"/>
                  </a:lnTo>
                  <a:lnTo>
                    <a:pt x="177" y="794"/>
                  </a:lnTo>
                  <a:lnTo>
                    <a:pt x="180" y="792"/>
                  </a:lnTo>
                  <a:lnTo>
                    <a:pt x="180" y="795"/>
                  </a:lnTo>
                  <a:lnTo>
                    <a:pt x="180" y="849"/>
                  </a:lnTo>
                  <a:lnTo>
                    <a:pt x="180" y="853"/>
                  </a:lnTo>
                  <a:lnTo>
                    <a:pt x="180" y="882"/>
                  </a:lnTo>
                  <a:lnTo>
                    <a:pt x="183" y="886"/>
                  </a:lnTo>
                  <a:lnTo>
                    <a:pt x="189" y="889"/>
                  </a:lnTo>
                  <a:lnTo>
                    <a:pt x="194" y="889"/>
                  </a:lnTo>
                  <a:lnTo>
                    <a:pt x="201" y="887"/>
                  </a:lnTo>
                  <a:lnTo>
                    <a:pt x="209" y="883"/>
                  </a:lnTo>
                  <a:lnTo>
                    <a:pt x="226" y="882"/>
                  </a:lnTo>
                  <a:lnTo>
                    <a:pt x="228" y="880"/>
                  </a:lnTo>
                  <a:lnTo>
                    <a:pt x="236" y="880"/>
                  </a:lnTo>
                  <a:lnTo>
                    <a:pt x="254" y="886"/>
                  </a:lnTo>
                  <a:lnTo>
                    <a:pt x="295" y="887"/>
                  </a:lnTo>
                  <a:lnTo>
                    <a:pt x="303" y="883"/>
                  </a:lnTo>
                  <a:lnTo>
                    <a:pt x="308" y="880"/>
                  </a:lnTo>
                  <a:lnTo>
                    <a:pt x="334" y="871"/>
                  </a:lnTo>
                  <a:lnTo>
                    <a:pt x="341" y="867"/>
                  </a:lnTo>
                  <a:lnTo>
                    <a:pt x="366" y="845"/>
                  </a:lnTo>
                  <a:lnTo>
                    <a:pt x="383" y="826"/>
                  </a:lnTo>
                  <a:lnTo>
                    <a:pt x="389" y="819"/>
                  </a:lnTo>
                  <a:lnTo>
                    <a:pt x="405" y="816"/>
                  </a:lnTo>
                  <a:lnTo>
                    <a:pt x="411" y="816"/>
                  </a:lnTo>
                  <a:lnTo>
                    <a:pt x="438" y="812"/>
                  </a:lnTo>
                  <a:lnTo>
                    <a:pt x="457" y="813"/>
                  </a:lnTo>
                  <a:lnTo>
                    <a:pt x="460" y="816"/>
                  </a:lnTo>
                  <a:lnTo>
                    <a:pt x="465" y="823"/>
                  </a:lnTo>
                  <a:lnTo>
                    <a:pt x="468" y="840"/>
                  </a:lnTo>
                  <a:lnTo>
                    <a:pt x="468" y="872"/>
                  </a:lnTo>
                  <a:lnTo>
                    <a:pt x="467" y="882"/>
                  </a:lnTo>
                  <a:lnTo>
                    <a:pt x="462" y="889"/>
                  </a:lnTo>
                  <a:lnTo>
                    <a:pt x="460" y="893"/>
                  </a:lnTo>
                  <a:lnTo>
                    <a:pt x="459" y="900"/>
                  </a:lnTo>
                  <a:lnTo>
                    <a:pt x="465" y="924"/>
                  </a:lnTo>
                  <a:lnTo>
                    <a:pt x="474" y="937"/>
                  </a:lnTo>
                  <a:lnTo>
                    <a:pt x="481" y="943"/>
                  </a:lnTo>
                  <a:lnTo>
                    <a:pt x="508" y="963"/>
                  </a:lnTo>
                  <a:lnTo>
                    <a:pt x="521" y="967"/>
                  </a:lnTo>
                  <a:lnTo>
                    <a:pt x="538" y="969"/>
                  </a:lnTo>
                  <a:lnTo>
                    <a:pt x="557" y="969"/>
                  </a:lnTo>
                  <a:lnTo>
                    <a:pt x="573" y="973"/>
                  </a:lnTo>
                  <a:lnTo>
                    <a:pt x="580" y="979"/>
                  </a:lnTo>
                  <a:lnTo>
                    <a:pt x="582" y="983"/>
                  </a:lnTo>
                  <a:lnTo>
                    <a:pt x="589" y="991"/>
                  </a:lnTo>
                  <a:lnTo>
                    <a:pt x="597" y="995"/>
                  </a:lnTo>
                  <a:lnTo>
                    <a:pt x="635" y="1005"/>
                  </a:lnTo>
                  <a:lnTo>
                    <a:pt x="651" y="1020"/>
                  </a:lnTo>
                  <a:lnTo>
                    <a:pt x="656" y="1023"/>
                  </a:lnTo>
                  <a:lnTo>
                    <a:pt x="666" y="1023"/>
                  </a:lnTo>
                  <a:lnTo>
                    <a:pt x="675" y="1021"/>
                  </a:lnTo>
                  <a:lnTo>
                    <a:pt x="680" y="1021"/>
                  </a:lnTo>
                  <a:lnTo>
                    <a:pt x="693" y="1023"/>
                  </a:lnTo>
                  <a:lnTo>
                    <a:pt x="712" y="1034"/>
                  </a:lnTo>
                  <a:lnTo>
                    <a:pt x="720" y="1039"/>
                  </a:lnTo>
                  <a:lnTo>
                    <a:pt x="726" y="1050"/>
                  </a:lnTo>
                  <a:lnTo>
                    <a:pt x="731" y="1065"/>
                  </a:lnTo>
                  <a:lnTo>
                    <a:pt x="732" y="1080"/>
                  </a:lnTo>
                  <a:lnTo>
                    <a:pt x="736" y="1088"/>
                  </a:lnTo>
                  <a:lnTo>
                    <a:pt x="739" y="1093"/>
                  </a:lnTo>
                  <a:lnTo>
                    <a:pt x="739" y="1102"/>
                  </a:lnTo>
                  <a:lnTo>
                    <a:pt x="737" y="1119"/>
                  </a:lnTo>
                  <a:lnTo>
                    <a:pt x="729" y="1120"/>
                  </a:lnTo>
                  <a:lnTo>
                    <a:pt x="729" y="1124"/>
                  </a:lnTo>
                  <a:lnTo>
                    <a:pt x="729" y="1129"/>
                  </a:lnTo>
                  <a:lnTo>
                    <a:pt x="736" y="1145"/>
                  </a:lnTo>
                  <a:lnTo>
                    <a:pt x="743" y="1168"/>
                  </a:lnTo>
                  <a:lnTo>
                    <a:pt x="749" y="1181"/>
                  </a:lnTo>
                  <a:lnTo>
                    <a:pt x="764" y="1181"/>
                  </a:lnTo>
                  <a:lnTo>
                    <a:pt x="775" y="1182"/>
                  </a:lnTo>
                  <a:lnTo>
                    <a:pt x="788" y="1182"/>
                  </a:lnTo>
                  <a:lnTo>
                    <a:pt x="793" y="1184"/>
                  </a:lnTo>
                  <a:lnTo>
                    <a:pt x="836" y="1184"/>
                  </a:lnTo>
                  <a:lnTo>
                    <a:pt x="841" y="1185"/>
                  </a:lnTo>
                  <a:lnTo>
                    <a:pt x="844" y="1188"/>
                  </a:lnTo>
                  <a:lnTo>
                    <a:pt x="846" y="1193"/>
                  </a:lnTo>
                  <a:lnTo>
                    <a:pt x="844" y="1203"/>
                  </a:lnTo>
                  <a:lnTo>
                    <a:pt x="841" y="1211"/>
                  </a:lnTo>
                  <a:lnTo>
                    <a:pt x="841" y="1217"/>
                  </a:lnTo>
                  <a:lnTo>
                    <a:pt x="846" y="1237"/>
                  </a:lnTo>
                  <a:lnTo>
                    <a:pt x="863" y="1243"/>
                  </a:lnTo>
                  <a:lnTo>
                    <a:pt x="866" y="1246"/>
                  </a:lnTo>
                  <a:lnTo>
                    <a:pt x="871" y="1260"/>
                  </a:lnTo>
                  <a:lnTo>
                    <a:pt x="881" y="1279"/>
                  </a:lnTo>
                  <a:lnTo>
                    <a:pt x="883" y="1289"/>
                  </a:lnTo>
                  <a:lnTo>
                    <a:pt x="883" y="1312"/>
                  </a:lnTo>
                  <a:lnTo>
                    <a:pt x="882" y="1341"/>
                  </a:lnTo>
                  <a:lnTo>
                    <a:pt x="881" y="1345"/>
                  </a:lnTo>
                  <a:lnTo>
                    <a:pt x="876" y="1356"/>
                  </a:lnTo>
                  <a:lnTo>
                    <a:pt x="871" y="1367"/>
                  </a:lnTo>
                  <a:lnTo>
                    <a:pt x="869" y="1373"/>
                  </a:lnTo>
                  <a:lnTo>
                    <a:pt x="869" y="1381"/>
                  </a:lnTo>
                  <a:lnTo>
                    <a:pt x="871" y="1386"/>
                  </a:lnTo>
                  <a:lnTo>
                    <a:pt x="872" y="1398"/>
                  </a:lnTo>
                  <a:lnTo>
                    <a:pt x="871" y="1399"/>
                  </a:lnTo>
                  <a:lnTo>
                    <a:pt x="863" y="1402"/>
                  </a:lnTo>
                  <a:lnTo>
                    <a:pt x="862" y="1403"/>
                  </a:lnTo>
                  <a:lnTo>
                    <a:pt x="861" y="1408"/>
                  </a:lnTo>
                  <a:lnTo>
                    <a:pt x="861" y="1410"/>
                  </a:lnTo>
                  <a:lnTo>
                    <a:pt x="868" y="1424"/>
                  </a:lnTo>
                  <a:lnTo>
                    <a:pt x="869" y="1426"/>
                  </a:lnTo>
                  <a:lnTo>
                    <a:pt x="871" y="1474"/>
                  </a:lnTo>
                  <a:lnTo>
                    <a:pt x="869" y="1507"/>
                  </a:lnTo>
                  <a:lnTo>
                    <a:pt x="873" y="1516"/>
                  </a:lnTo>
                  <a:lnTo>
                    <a:pt x="879" y="1518"/>
                  </a:lnTo>
                  <a:lnTo>
                    <a:pt x="894" y="1522"/>
                  </a:lnTo>
                  <a:lnTo>
                    <a:pt x="901" y="1526"/>
                  </a:lnTo>
                  <a:lnTo>
                    <a:pt x="919" y="1528"/>
                  </a:lnTo>
                  <a:lnTo>
                    <a:pt x="931" y="1528"/>
                  </a:lnTo>
                  <a:lnTo>
                    <a:pt x="943" y="1527"/>
                  </a:lnTo>
                  <a:lnTo>
                    <a:pt x="948" y="1524"/>
                  </a:lnTo>
                  <a:lnTo>
                    <a:pt x="957" y="1521"/>
                  </a:lnTo>
                  <a:lnTo>
                    <a:pt x="963" y="1526"/>
                  </a:lnTo>
                  <a:lnTo>
                    <a:pt x="986" y="1533"/>
                  </a:lnTo>
                  <a:lnTo>
                    <a:pt x="992" y="1542"/>
                  </a:lnTo>
                  <a:lnTo>
                    <a:pt x="994" y="1548"/>
                  </a:lnTo>
                  <a:lnTo>
                    <a:pt x="996" y="1571"/>
                  </a:lnTo>
                  <a:lnTo>
                    <a:pt x="1000" y="1583"/>
                  </a:lnTo>
                  <a:lnTo>
                    <a:pt x="998" y="1608"/>
                  </a:lnTo>
                  <a:lnTo>
                    <a:pt x="1000" y="1613"/>
                  </a:lnTo>
                  <a:lnTo>
                    <a:pt x="1006" y="1620"/>
                  </a:lnTo>
                  <a:lnTo>
                    <a:pt x="1013" y="1625"/>
                  </a:lnTo>
                  <a:lnTo>
                    <a:pt x="1019" y="1628"/>
                  </a:lnTo>
                  <a:lnTo>
                    <a:pt x="1029" y="1628"/>
                  </a:lnTo>
                  <a:lnTo>
                    <a:pt x="1035" y="1625"/>
                  </a:lnTo>
                  <a:lnTo>
                    <a:pt x="1048" y="1625"/>
                  </a:lnTo>
                  <a:lnTo>
                    <a:pt x="1057" y="1623"/>
                  </a:lnTo>
                  <a:lnTo>
                    <a:pt x="1062" y="1628"/>
                  </a:lnTo>
                  <a:lnTo>
                    <a:pt x="1067" y="1636"/>
                  </a:lnTo>
                  <a:lnTo>
                    <a:pt x="1067" y="1661"/>
                  </a:lnTo>
                  <a:lnTo>
                    <a:pt x="1066" y="1664"/>
                  </a:lnTo>
                  <a:lnTo>
                    <a:pt x="1062" y="1680"/>
                  </a:lnTo>
                  <a:lnTo>
                    <a:pt x="1059" y="1706"/>
                  </a:lnTo>
                  <a:lnTo>
                    <a:pt x="1057" y="1726"/>
                  </a:lnTo>
                  <a:lnTo>
                    <a:pt x="1066" y="1726"/>
                  </a:lnTo>
                  <a:lnTo>
                    <a:pt x="1070" y="1725"/>
                  </a:lnTo>
                  <a:lnTo>
                    <a:pt x="1084" y="1725"/>
                  </a:lnTo>
                  <a:lnTo>
                    <a:pt x="1091" y="1732"/>
                  </a:lnTo>
                  <a:lnTo>
                    <a:pt x="1103" y="1771"/>
                  </a:lnTo>
                  <a:lnTo>
                    <a:pt x="1103" y="1803"/>
                  </a:lnTo>
                  <a:lnTo>
                    <a:pt x="1102" y="1814"/>
                  </a:lnTo>
                  <a:lnTo>
                    <a:pt x="1099" y="1818"/>
                  </a:lnTo>
                  <a:lnTo>
                    <a:pt x="1097" y="1822"/>
                  </a:lnTo>
                  <a:lnTo>
                    <a:pt x="1073" y="1838"/>
                  </a:lnTo>
                  <a:lnTo>
                    <a:pt x="1066" y="1840"/>
                  </a:lnTo>
                  <a:lnTo>
                    <a:pt x="1054" y="1841"/>
                  </a:lnTo>
                  <a:lnTo>
                    <a:pt x="1046" y="1845"/>
                  </a:lnTo>
                  <a:lnTo>
                    <a:pt x="1037" y="1857"/>
                  </a:lnTo>
                  <a:lnTo>
                    <a:pt x="1028" y="1867"/>
                  </a:lnTo>
                  <a:lnTo>
                    <a:pt x="984" y="1905"/>
                  </a:lnTo>
                  <a:lnTo>
                    <a:pt x="982" y="1909"/>
                  </a:lnTo>
                  <a:lnTo>
                    <a:pt x="978" y="1916"/>
                  </a:lnTo>
                  <a:lnTo>
                    <a:pt x="958" y="1941"/>
                  </a:lnTo>
                  <a:lnTo>
                    <a:pt x="955" y="1947"/>
                  </a:lnTo>
                  <a:lnTo>
                    <a:pt x="937" y="1968"/>
                  </a:lnTo>
                  <a:lnTo>
                    <a:pt x="922" y="1980"/>
                  </a:lnTo>
                  <a:lnTo>
                    <a:pt x="915" y="1989"/>
                  </a:lnTo>
                  <a:lnTo>
                    <a:pt x="906" y="1995"/>
                  </a:lnTo>
                  <a:lnTo>
                    <a:pt x="904" y="2000"/>
                  </a:lnTo>
                  <a:lnTo>
                    <a:pt x="895" y="2010"/>
                  </a:lnTo>
                  <a:lnTo>
                    <a:pt x="885" y="2015"/>
                  </a:lnTo>
                  <a:lnTo>
                    <a:pt x="904" y="2017"/>
                  </a:lnTo>
                  <a:lnTo>
                    <a:pt x="911" y="2013"/>
                  </a:lnTo>
                  <a:lnTo>
                    <a:pt x="915" y="2007"/>
                  </a:lnTo>
                  <a:lnTo>
                    <a:pt x="920" y="2005"/>
                  </a:lnTo>
                  <a:lnTo>
                    <a:pt x="925" y="2005"/>
                  </a:lnTo>
                  <a:lnTo>
                    <a:pt x="931" y="2007"/>
                  </a:lnTo>
                  <a:lnTo>
                    <a:pt x="943" y="2017"/>
                  </a:lnTo>
                  <a:lnTo>
                    <a:pt x="948" y="2022"/>
                  </a:lnTo>
                  <a:lnTo>
                    <a:pt x="959" y="2032"/>
                  </a:lnTo>
                  <a:lnTo>
                    <a:pt x="968" y="2040"/>
                  </a:lnTo>
                  <a:lnTo>
                    <a:pt x="973" y="2055"/>
                  </a:lnTo>
                  <a:lnTo>
                    <a:pt x="974" y="2064"/>
                  </a:lnTo>
                  <a:lnTo>
                    <a:pt x="982" y="2065"/>
                  </a:lnTo>
                  <a:lnTo>
                    <a:pt x="986" y="2064"/>
                  </a:lnTo>
                  <a:lnTo>
                    <a:pt x="1000" y="2053"/>
                  </a:lnTo>
                  <a:lnTo>
                    <a:pt x="1005" y="2056"/>
                  </a:lnTo>
                  <a:lnTo>
                    <a:pt x="1006" y="2060"/>
                  </a:lnTo>
                  <a:lnTo>
                    <a:pt x="1011" y="2070"/>
                  </a:lnTo>
                  <a:lnTo>
                    <a:pt x="1018" y="2078"/>
                  </a:lnTo>
                  <a:lnTo>
                    <a:pt x="1021" y="2081"/>
                  </a:lnTo>
                  <a:lnTo>
                    <a:pt x="1025" y="2082"/>
                  </a:lnTo>
                  <a:lnTo>
                    <a:pt x="1033" y="2082"/>
                  </a:lnTo>
                  <a:lnTo>
                    <a:pt x="1040" y="2091"/>
                  </a:lnTo>
                  <a:lnTo>
                    <a:pt x="1052" y="2092"/>
                  </a:lnTo>
                  <a:lnTo>
                    <a:pt x="1055" y="2096"/>
                  </a:lnTo>
                  <a:lnTo>
                    <a:pt x="1062" y="2107"/>
                  </a:lnTo>
                  <a:lnTo>
                    <a:pt x="1068" y="2112"/>
                  </a:lnTo>
                  <a:lnTo>
                    <a:pt x="1077" y="2117"/>
                  </a:lnTo>
                  <a:lnTo>
                    <a:pt x="1082" y="2118"/>
                  </a:lnTo>
                  <a:lnTo>
                    <a:pt x="1097" y="2125"/>
                  </a:lnTo>
                  <a:lnTo>
                    <a:pt x="1100" y="2131"/>
                  </a:lnTo>
                  <a:lnTo>
                    <a:pt x="1104" y="2150"/>
                  </a:lnTo>
                  <a:lnTo>
                    <a:pt x="1107" y="2153"/>
                  </a:lnTo>
                  <a:lnTo>
                    <a:pt x="1127" y="2168"/>
                  </a:lnTo>
                  <a:lnTo>
                    <a:pt x="1132" y="2177"/>
                  </a:lnTo>
                  <a:lnTo>
                    <a:pt x="1131" y="2179"/>
                  </a:lnTo>
                  <a:lnTo>
                    <a:pt x="1126" y="2180"/>
                  </a:lnTo>
                  <a:lnTo>
                    <a:pt x="1124" y="2188"/>
                  </a:lnTo>
                  <a:lnTo>
                    <a:pt x="1121" y="2189"/>
                  </a:lnTo>
                  <a:lnTo>
                    <a:pt x="1116" y="2196"/>
                  </a:lnTo>
                  <a:lnTo>
                    <a:pt x="1114" y="2204"/>
                  </a:lnTo>
                  <a:lnTo>
                    <a:pt x="1114" y="2220"/>
                  </a:lnTo>
                  <a:lnTo>
                    <a:pt x="1111" y="2234"/>
                  </a:lnTo>
                  <a:lnTo>
                    <a:pt x="1113" y="2236"/>
                  </a:lnTo>
                  <a:lnTo>
                    <a:pt x="1116" y="2241"/>
                  </a:lnTo>
                  <a:lnTo>
                    <a:pt x="1116" y="2237"/>
                  </a:lnTo>
                  <a:lnTo>
                    <a:pt x="1121" y="2232"/>
                  </a:lnTo>
                  <a:lnTo>
                    <a:pt x="1130" y="2227"/>
                  </a:lnTo>
                  <a:lnTo>
                    <a:pt x="1145" y="2215"/>
                  </a:lnTo>
                  <a:lnTo>
                    <a:pt x="1156" y="2196"/>
                  </a:lnTo>
                  <a:lnTo>
                    <a:pt x="1167" y="2184"/>
                  </a:lnTo>
                  <a:lnTo>
                    <a:pt x="1173" y="2156"/>
                  </a:lnTo>
                  <a:lnTo>
                    <a:pt x="1178" y="2148"/>
                  </a:lnTo>
                  <a:lnTo>
                    <a:pt x="1193" y="2132"/>
                  </a:lnTo>
                  <a:lnTo>
                    <a:pt x="1199" y="2129"/>
                  </a:lnTo>
                  <a:lnTo>
                    <a:pt x="1221" y="2112"/>
                  </a:lnTo>
                  <a:lnTo>
                    <a:pt x="1229" y="2108"/>
                  </a:lnTo>
                  <a:lnTo>
                    <a:pt x="1238" y="2102"/>
                  </a:lnTo>
                  <a:lnTo>
                    <a:pt x="1244" y="2096"/>
                  </a:lnTo>
                  <a:lnTo>
                    <a:pt x="1247" y="2088"/>
                  </a:lnTo>
                  <a:lnTo>
                    <a:pt x="1253" y="2078"/>
                  </a:lnTo>
                  <a:lnTo>
                    <a:pt x="1267" y="2059"/>
                  </a:lnTo>
                  <a:lnTo>
                    <a:pt x="1275" y="2045"/>
                  </a:lnTo>
                  <a:lnTo>
                    <a:pt x="1286" y="2032"/>
                  </a:lnTo>
                  <a:lnTo>
                    <a:pt x="1291" y="2010"/>
                  </a:lnTo>
                  <a:lnTo>
                    <a:pt x="1303" y="1981"/>
                  </a:lnTo>
                  <a:lnTo>
                    <a:pt x="1309" y="1973"/>
                  </a:lnTo>
                  <a:lnTo>
                    <a:pt x="1314" y="1963"/>
                  </a:lnTo>
                  <a:lnTo>
                    <a:pt x="1318" y="1956"/>
                  </a:lnTo>
                  <a:lnTo>
                    <a:pt x="1324" y="1951"/>
                  </a:lnTo>
                  <a:lnTo>
                    <a:pt x="1339" y="1930"/>
                  </a:lnTo>
                  <a:lnTo>
                    <a:pt x="1346" y="1922"/>
                  </a:lnTo>
                  <a:lnTo>
                    <a:pt x="1352" y="1919"/>
                  </a:lnTo>
                  <a:lnTo>
                    <a:pt x="1363" y="1915"/>
                  </a:lnTo>
                  <a:lnTo>
                    <a:pt x="1368" y="1902"/>
                  </a:lnTo>
                  <a:lnTo>
                    <a:pt x="1377" y="1895"/>
                  </a:lnTo>
                  <a:lnTo>
                    <a:pt x="1380" y="1873"/>
                  </a:lnTo>
                  <a:lnTo>
                    <a:pt x="1382" y="1834"/>
                  </a:lnTo>
                  <a:lnTo>
                    <a:pt x="1384" y="1829"/>
                  </a:lnTo>
                  <a:lnTo>
                    <a:pt x="1390" y="1829"/>
                  </a:lnTo>
                  <a:lnTo>
                    <a:pt x="1392" y="1825"/>
                  </a:lnTo>
                  <a:lnTo>
                    <a:pt x="1389" y="1820"/>
                  </a:lnTo>
                  <a:lnTo>
                    <a:pt x="1382" y="1813"/>
                  </a:lnTo>
                  <a:lnTo>
                    <a:pt x="1380" y="1809"/>
                  </a:lnTo>
                  <a:lnTo>
                    <a:pt x="1380" y="1795"/>
                  </a:lnTo>
                  <a:lnTo>
                    <a:pt x="1378" y="1792"/>
                  </a:lnTo>
                  <a:lnTo>
                    <a:pt x="1378" y="1777"/>
                  </a:lnTo>
                  <a:lnTo>
                    <a:pt x="1376" y="1769"/>
                  </a:lnTo>
                  <a:lnTo>
                    <a:pt x="1376" y="1762"/>
                  </a:lnTo>
                  <a:lnTo>
                    <a:pt x="1378" y="1758"/>
                  </a:lnTo>
                  <a:lnTo>
                    <a:pt x="1380" y="1752"/>
                  </a:lnTo>
                  <a:lnTo>
                    <a:pt x="1380" y="1742"/>
                  </a:lnTo>
                  <a:lnTo>
                    <a:pt x="1390" y="1726"/>
                  </a:lnTo>
                  <a:lnTo>
                    <a:pt x="1395" y="1719"/>
                  </a:lnTo>
                  <a:lnTo>
                    <a:pt x="1409" y="1706"/>
                  </a:lnTo>
                  <a:lnTo>
                    <a:pt x="1428" y="1684"/>
                  </a:lnTo>
                  <a:lnTo>
                    <a:pt x="1431" y="1684"/>
                  </a:lnTo>
                  <a:lnTo>
                    <a:pt x="1436" y="1680"/>
                  </a:lnTo>
                  <a:lnTo>
                    <a:pt x="1446" y="1672"/>
                  </a:lnTo>
                  <a:lnTo>
                    <a:pt x="1459" y="1662"/>
                  </a:lnTo>
                  <a:lnTo>
                    <a:pt x="1464" y="1656"/>
                  </a:lnTo>
                  <a:lnTo>
                    <a:pt x="1474" y="1650"/>
                  </a:lnTo>
                  <a:lnTo>
                    <a:pt x="1487" y="1636"/>
                  </a:lnTo>
                  <a:lnTo>
                    <a:pt x="1501" y="1628"/>
                  </a:lnTo>
                  <a:lnTo>
                    <a:pt x="1511" y="1628"/>
                  </a:lnTo>
                  <a:lnTo>
                    <a:pt x="1516" y="1625"/>
                  </a:lnTo>
                  <a:lnTo>
                    <a:pt x="1522" y="1618"/>
                  </a:lnTo>
                  <a:lnTo>
                    <a:pt x="1533" y="1614"/>
                  </a:lnTo>
                  <a:lnTo>
                    <a:pt x="1550" y="1614"/>
                  </a:lnTo>
                  <a:lnTo>
                    <a:pt x="1561" y="1606"/>
                  </a:lnTo>
                  <a:lnTo>
                    <a:pt x="1565" y="1604"/>
                  </a:lnTo>
                  <a:lnTo>
                    <a:pt x="1573" y="1593"/>
                  </a:lnTo>
                  <a:lnTo>
                    <a:pt x="1578" y="1591"/>
                  </a:lnTo>
                  <a:lnTo>
                    <a:pt x="1591" y="1588"/>
                  </a:lnTo>
                  <a:lnTo>
                    <a:pt x="1598" y="1588"/>
                  </a:lnTo>
                  <a:lnTo>
                    <a:pt x="1600" y="1585"/>
                  </a:lnTo>
                  <a:lnTo>
                    <a:pt x="1600" y="1581"/>
                  </a:lnTo>
                  <a:lnTo>
                    <a:pt x="1597" y="1579"/>
                  </a:lnTo>
                  <a:lnTo>
                    <a:pt x="1597" y="1576"/>
                  </a:lnTo>
                  <a:lnTo>
                    <a:pt x="1605" y="1569"/>
                  </a:lnTo>
                  <a:lnTo>
                    <a:pt x="1608" y="1569"/>
                  </a:lnTo>
                  <a:lnTo>
                    <a:pt x="1608" y="1567"/>
                  </a:lnTo>
                  <a:lnTo>
                    <a:pt x="1609" y="1571"/>
                  </a:lnTo>
                  <a:lnTo>
                    <a:pt x="1615" y="1572"/>
                  </a:lnTo>
                  <a:lnTo>
                    <a:pt x="1638" y="1566"/>
                  </a:lnTo>
                  <a:lnTo>
                    <a:pt x="1643" y="1566"/>
                  </a:lnTo>
                  <a:lnTo>
                    <a:pt x="1647" y="1569"/>
                  </a:lnTo>
                  <a:lnTo>
                    <a:pt x="1657" y="1570"/>
                  </a:lnTo>
                  <a:lnTo>
                    <a:pt x="1673" y="1564"/>
                  </a:lnTo>
                  <a:lnTo>
                    <a:pt x="1680" y="1564"/>
                  </a:lnTo>
                  <a:lnTo>
                    <a:pt x="1686" y="1566"/>
                  </a:lnTo>
                  <a:lnTo>
                    <a:pt x="1697" y="1567"/>
                  </a:lnTo>
                  <a:lnTo>
                    <a:pt x="1708" y="1567"/>
                  </a:lnTo>
                  <a:lnTo>
                    <a:pt x="1732" y="1564"/>
                  </a:lnTo>
                  <a:lnTo>
                    <a:pt x="1736" y="1563"/>
                  </a:lnTo>
                  <a:lnTo>
                    <a:pt x="1740" y="1554"/>
                  </a:lnTo>
                  <a:lnTo>
                    <a:pt x="1743" y="1542"/>
                  </a:lnTo>
                  <a:lnTo>
                    <a:pt x="1751" y="1533"/>
                  </a:lnTo>
                  <a:lnTo>
                    <a:pt x="1759" y="1529"/>
                  </a:lnTo>
                  <a:lnTo>
                    <a:pt x="1778" y="1521"/>
                  </a:lnTo>
                  <a:lnTo>
                    <a:pt x="1787" y="1512"/>
                  </a:lnTo>
                  <a:lnTo>
                    <a:pt x="1791" y="1505"/>
                  </a:lnTo>
                  <a:lnTo>
                    <a:pt x="1792" y="1497"/>
                  </a:lnTo>
                  <a:lnTo>
                    <a:pt x="1793" y="1483"/>
                  </a:lnTo>
                  <a:lnTo>
                    <a:pt x="1796" y="1469"/>
                  </a:lnTo>
                  <a:lnTo>
                    <a:pt x="1808" y="1452"/>
                  </a:lnTo>
                  <a:lnTo>
                    <a:pt x="1825" y="1431"/>
                  </a:lnTo>
                  <a:lnTo>
                    <a:pt x="1834" y="1416"/>
                  </a:lnTo>
                  <a:lnTo>
                    <a:pt x="1845" y="1388"/>
                  </a:lnTo>
                  <a:lnTo>
                    <a:pt x="1858" y="1373"/>
                  </a:lnTo>
                  <a:lnTo>
                    <a:pt x="1864" y="1365"/>
                  </a:lnTo>
                  <a:lnTo>
                    <a:pt x="1867" y="1335"/>
                  </a:lnTo>
                  <a:lnTo>
                    <a:pt x="1867" y="1318"/>
                  </a:lnTo>
                  <a:lnTo>
                    <a:pt x="1868" y="1305"/>
                  </a:lnTo>
                  <a:lnTo>
                    <a:pt x="1872" y="1291"/>
                  </a:lnTo>
                  <a:lnTo>
                    <a:pt x="1878" y="1282"/>
                  </a:lnTo>
                  <a:lnTo>
                    <a:pt x="1890" y="1268"/>
                  </a:lnTo>
                  <a:lnTo>
                    <a:pt x="1894" y="1260"/>
                  </a:lnTo>
                  <a:lnTo>
                    <a:pt x="1894" y="1244"/>
                  </a:lnTo>
                  <a:lnTo>
                    <a:pt x="1898" y="1206"/>
                  </a:lnTo>
                  <a:lnTo>
                    <a:pt x="1900" y="1199"/>
                  </a:lnTo>
                  <a:lnTo>
                    <a:pt x="1904" y="1173"/>
                  </a:lnTo>
                  <a:lnTo>
                    <a:pt x="1907" y="1156"/>
                  </a:lnTo>
                  <a:lnTo>
                    <a:pt x="1906" y="1144"/>
                  </a:lnTo>
                  <a:lnTo>
                    <a:pt x="1904" y="1134"/>
                  </a:lnTo>
                  <a:lnTo>
                    <a:pt x="1904" y="1111"/>
                  </a:lnTo>
                  <a:lnTo>
                    <a:pt x="1901" y="1102"/>
                  </a:lnTo>
                  <a:lnTo>
                    <a:pt x="1901" y="1080"/>
                  </a:lnTo>
                  <a:lnTo>
                    <a:pt x="1904" y="1052"/>
                  </a:lnTo>
                  <a:lnTo>
                    <a:pt x="1907" y="1034"/>
                  </a:lnTo>
                  <a:lnTo>
                    <a:pt x="1907" y="1022"/>
                  </a:lnTo>
                  <a:lnTo>
                    <a:pt x="1910" y="1009"/>
                  </a:lnTo>
                  <a:lnTo>
                    <a:pt x="1911" y="1006"/>
                  </a:lnTo>
                  <a:lnTo>
                    <a:pt x="1922" y="995"/>
                  </a:lnTo>
                  <a:lnTo>
                    <a:pt x="1926" y="995"/>
                  </a:lnTo>
                  <a:lnTo>
                    <a:pt x="1935" y="998"/>
                  </a:lnTo>
                  <a:lnTo>
                    <a:pt x="1937" y="998"/>
                  </a:lnTo>
                  <a:lnTo>
                    <a:pt x="1952" y="984"/>
                  </a:lnTo>
                  <a:lnTo>
                    <a:pt x="1963" y="969"/>
                  </a:lnTo>
                  <a:lnTo>
                    <a:pt x="1975" y="947"/>
                  </a:lnTo>
                  <a:lnTo>
                    <a:pt x="1981" y="929"/>
                  </a:lnTo>
                  <a:lnTo>
                    <a:pt x="1989" y="914"/>
                  </a:lnTo>
                  <a:lnTo>
                    <a:pt x="1997" y="902"/>
                  </a:lnTo>
                  <a:lnTo>
                    <a:pt x="2013" y="889"/>
                  </a:lnTo>
                  <a:lnTo>
                    <a:pt x="2018" y="881"/>
                  </a:lnTo>
                  <a:lnTo>
                    <a:pt x="2028" y="871"/>
                  </a:lnTo>
                  <a:lnTo>
                    <a:pt x="2049" y="860"/>
                  </a:lnTo>
                  <a:lnTo>
                    <a:pt x="2055" y="853"/>
                  </a:lnTo>
                  <a:lnTo>
                    <a:pt x="2063" y="840"/>
                  </a:lnTo>
                  <a:lnTo>
                    <a:pt x="2076" y="824"/>
                  </a:lnTo>
                  <a:lnTo>
                    <a:pt x="2094" y="805"/>
                  </a:lnTo>
                  <a:lnTo>
                    <a:pt x="2111" y="779"/>
                  </a:lnTo>
                  <a:lnTo>
                    <a:pt x="2115" y="776"/>
                  </a:lnTo>
                  <a:lnTo>
                    <a:pt x="2120" y="767"/>
                  </a:lnTo>
                  <a:lnTo>
                    <a:pt x="2130" y="724"/>
                  </a:lnTo>
                  <a:lnTo>
                    <a:pt x="2132" y="709"/>
                  </a:lnTo>
                  <a:lnTo>
                    <a:pt x="2135" y="673"/>
                  </a:lnTo>
                  <a:lnTo>
                    <a:pt x="2135" y="650"/>
                  </a:lnTo>
                  <a:lnTo>
                    <a:pt x="2126" y="629"/>
                  </a:lnTo>
                  <a:lnTo>
                    <a:pt x="2120" y="597"/>
                  </a:lnTo>
                  <a:lnTo>
                    <a:pt x="2111" y="582"/>
                  </a:lnTo>
                  <a:lnTo>
                    <a:pt x="2102" y="570"/>
                  </a:lnTo>
                  <a:lnTo>
                    <a:pt x="2093" y="565"/>
                  </a:lnTo>
                  <a:lnTo>
                    <a:pt x="2046" y="565"/>
                  </a:lnTo>
                  <a:lnTo>
                    <a:pt x="2040" y="565"/>
                  </a:lnTo>
                  <a:lnTo>
                    <a:pt x="2034" y="564"/>
                  </a:lnTo>
                  <a:lnTo>
                    <a:pt x="2030" y="560"/>
                  </a:lnTo>
                  <a:lnTo>
                    <a:pt x="2022" y="558"/>
                  </a:lnTo>
                  <a:lnTo>
                    <a:pt x="2014" y="558"/>
                  </a:lnTo>
                  <a:lnTo>
                    <a:pt x="2009" y="550"/>
                  </a:lnTo>
                  <a:lnTo>
                    <a:pt x="2000" y="542"/>
                  </a:lnTo>
                  <a:lnTo>
                    <a:pt x="1993" y="538"/>
                  </a:lnTo>
                  <a:lnTo>
                    <a:pt x="1985" y="534"/>
                  </a:lnTo>
                  <a:lnTo>
                    <a:pt x="1971" y="526"/>
                  </a:lnTo>
                  <a:lnTo>
                    <a:pt x="1942" y="496"/>
                  </a:lnTo>
                  <a:lnTo>
                    <a:pt x="1930" y="485"/>
                  </a:lnTo>
                  <a:lnTo>
                    <a:pt x="1915" y="474"/>
                  </a:lnTo>
                  <a:lnTo>
                    <a:pt x="1896" y="463"/>
                  </a:lnTo>
                  <a:lnTo>
                    <a:pt x="1883" y="455"/>
                  </a:lnTo>
                  <a:lnTo>
                    <a:pt x="1872" y="448"/>
                  </a:lnTo>
                  <a:lnTo>
                    <a:pt x="1860" y="445"/>
                  </a:lnTo>
                  <a:lnTo>
                    <a:pt x="1808" y="444"/>
                  </a:lnTo>
                  <a:lnTo>
                    <a:pt x="1799" y="445"/>
                  </a:lnTo>
                  <a:lnTo>
                    <a:pt x="1790" y="445"/>
                  </a:lnTo>
                  <a:lnTo>
                    <a:pt x="1760" y="444"/>
                  </a:lnTo>
                  <a:lnTo>
                    <a:pt x="1751" y="442"/>
                  </a:lnTo>
                  <a:lnTo>
                    <a:pt x="1731" y="437"/>
                  </a:lnTo>
                  <a:lnTo>
                    <a:pt x="1678" y="420"/>
                  </a:lnTo>
                  <a:lnTo>
                    <a:pt x="1668" y="420"/>
                  </a:lnTo>
                  <a:lnTo>
                    <a:pt x="1665" y="420"/>
                  </a:lnTo>
                  <a:lnTo>
                    <a:pt x="1659" y="413"/>
                  </a:lnTo>
                  <a:lnTo>
                    <a:pt x="1652" y="417"/>
                  </a:lnTo>
                  <a:lnTo>
                    <a:pt x="1645" y="423"/>
                  </a:lnTo>
                  <a:lnTo>
                    <a:pt x="1636" y="426"/>
                  </a:lnTo>
                  <a:lnTo>
                    <a:pt x="1620" y="433"/>
                  </a:lnTo>
                  <a:lnTo>
                    <a:pt x="1611" y="434"/>
                  </a:lnTo>
                  <a:lnTo>
                    <a:pt x="1610" y="428"/>
                  </a:lnTo>
                  <a:lnTo>
                    <a:pt x="1613" y="421"/>
                  </a:lnTo>
                  <a:lnTo>
                    <a:pt x="1619" y="415"/>
                  </a:lnTo>
                  <a:lnTo>
                    <a:pt x="1619" y="410"/>
                  </a:lnTo>
                  <a:lnTo>
                    <a:pt x="1616" y="405"/>
                  </a:lnTo>
                  <a:lnTo>
                    <a:pt x="1611" y="403"/>
                  </a:lnTo>
                  <a:lnTo>
                    <a:pt x="1609" y="403"/>
                  </a:lnTo>
                  <a:lnTo>
                    <a:pt x="1605" y="404"/>
                  </a:lnTo>
                  <a:lnTo>
                    <a:pt x="1602" y="404"/>
                  </a:lnTo>
                  <a:lnTo>
                    <a:pt x="1600" y="403"/>
                  </a:lnTo>
                  <a:lnTo>
                    <a:pt x="1600" y="399"/>
                  </a:lnTo>
                  <a:lnTo>
                    <a:pt x="1604" y="397"/>
                  </a:lnTo>
                  <a:lnTo>
                    <a:pt x="1605" y="387"/>
                  </a:lnTo>
                  <a:lnTo>
                    <a:pt x="1598" y="375"/>
                  </a:lnTo>
                  <a:lnTo>
                    <a:pt x="1587" y="366"/>
                  </a:lnTo>
                  <a:lnTo>
                    <a:pt x="1582" y="367"/>
                  </a:lnTo>
                  <a:lnTo>
                    <a:pt x="1576" y="370"/>
                  </a:lnTo>
                  <a:lnTo>
                    <a:pt x="1570" y="375"/>
                  </a:lnTo>
                  <a:lnTo>
                    <a:pt x="1564" y="378"/>
                  </a:lnTo>
                  <a:lnTo>
                    <a:pt x="1564" y="369"/>
                  </a:lnTo>
                  <a:lnTo>
                    <a:pt x="1561" y="364"/>
                  </a:lnTo>
                  <a:lnTo>
                    <a:pt x="1555" y="355"/>
                  </a:lnTo>
                  <a:lnTo>
                    <a:pt x="1543" y="353"/>
                  </a:lnTo>
                  <a:lnTo>
                    <a:pt x="1533" y="347"/>
                  </a:lnTo>
                  <a:lnTo>
                    <a:pt x="1522" y="345"/>
                  </a:lnTo>
                  <a:lnTo>
                    <a:pt x="1517" y="340"/>
                  </a:lnTo>
                  <a:lnTo>
                    <a:pt x="1502" y="340"/>
                  </a:lnTo>
                  <a:lnTo>
                    <a:pt x="1497" y="339"/>
                  </a:lnTo>
                  <a:lnTo>
                    <a:pt x="1465" y="322"/>
                  </a:lnTo>
                  <a:lnTo>
                    <a:pt x="1454" y="318"/>
                  </a:lnTo>
                  <a:lnTo>
                    <a:pt x="1425" y="320"/>
                  </a:lnTo>
                  <a:lnTo>
                    <a:pt x="1416" y="324"/>
                  </a:lnTo>
                  <a:lnTo>
                    <a:pt x="1409" y="339"/>
                  </a:lnTo>
                  <a:lnTo>
                    <a:pt x="1403" y="342"/>
                  </a:lnTo>
                  <a:lnTo>
                    <a:pt x="1399" y="350"/>
                  </a:lnTo>
                  <a:lnTo>
                    <a:pt x="1396" y="359"/>
                  </a:lnTo>
                  <a:lnTo>
                    <a:pt x="1392" y="366"/>
                  </a:lnTo>
                  <a:lnTo>
                    <a:pt x="1383" y="366"/>
                  </a:lnTo>
                  <a:lnTo>
                    <a:pt x="1374" y="370"/>
                  </a:lnTo>
                  <a:lnTo>
                    <a:pt x="1371" y="371"/>
                  </a:lnTo>
                  <a:lnTo>
                    <a:pt x="1365" y="376"/>
                  </a:lnTo>
                  <a:lnTo>
                    <a:pt x="1358" y="396"/>
                  </a:lnTo>
                  <a:lnTo>
                    <a:pt x="1355" y="403"/>
                  </a:lnTo>
                  <a:lnTo>
                    <a:pt x="1352" y="404"/>
                  </a:lnTo>
                  <a:lnTo>
                    <a:pt x="1351" y="408"/>
                  </a:lnTo>
                  <a:lnTo>
                    <a:pt x="1349" y="418"/>
                  </a:lnTo>
                  <a:lnTo>
                    <a:pt x="1344" y="419"/>
                  </a:lnTo>
                  <a:lnTo>
                    <a:pt x="1341" y="412"/>
                  </a:lnTo>
                  <a:lnTo>
                    <a:pt x="1341" y="401"/>
                  </a:lnTo>
                  <a:lnTo>
                    <a:pt x="1345" y="386"/>
                  </a:lnTo>
                  <a:lnTo>
                    <a:pt x="1342" y="386"/>
                  </a:lnTo>
                  <a:lnTo>
                    <a:pt x="1334" y="386"/>
                  </a:lnTo>
                  <a:lnTo>
                    <a:pt x="1326" y="388"/>
                  </a:lnTo>
                  <a:lnTo>
                    <a:pt x="1319" y="387"/>
                  </a:lnTo>
                  <a:lnTo>
                    <a:pt x="1296" y="388"/>
                  </a:lnTo>
                  <a:lnTo>
                    <a:pt x="1287" y="387"/>
                  </a:lnTo>
                  <a:lnTo>
                    <a:pt x="1286" y="388"/>
                  </a:lnTo>
                  <a:lnTo>
                    <a:pt x="1280" y="388"/>
                  </a:lnTo>
                  <a:lnTo>
                    <a:pt x="1277" y="387"/>
                  </a:lnTo>
                  <a:lnTo>
                    <a:pt x="1271" y="387"/>
                  </a:lnTo>
                  <a:lnTo>
                    <a:pt x="1256" y="392"/>
                  </a:lnTo>
                  <a:lnTo>
                    <a:pt x="1250" y="392"/>
                  </a:lnTo>
                  <a:lnTo>
                    <a:pt x="1238" y="387"/>
                  </a:lnTo>
                  <a:lnTo>
                    <a:pt x="1234" y="387"/>
                  </a:lnTo>
                  <a:lnTo>
                    <a:pt x="1232" y="388"/>
                  </a:lnTo>
                  <a:lnTo>
                    <a:pt x="1229" y="397"/>
                  </a:lnTo>
                  <a:lnTo>
                    <a:pt x="1228" y="399"/>
                  </a:lnTo>
                  <a:lnTo>
                    <a:pt x="1226" y="397"/>
                  </a:lnTo>
                  <a:lnTo>
                    <a:pt x="1224" y="390"/>
                  </a:lnTo>
                  <a:lnTo>
                    <a:pt x="1226" y="387"/>
                  </a:lnTo>
                  <a:lnTo>
                    <a:pt x="1232" y="381"/>
                  </a:lnTo>
                  <a:lnTo>
                    <a:pt x="1238" y="381"/>
                  </a:lnTo>
                  <a:lnTo>
                    <a:pt x="1247" y="385"/>
                  </a:lnTo>
                  <a:lnTo>
                    <a:pt x="1259" y="386"/>
                  </a:lnTo>
                  <a:lnTo>
                    <a:pt x="1269" y="382"/>
                  </a:lnTo>
                  <a:lnTo>
                    <a:pt x="1271" y="380"/>
                  </a:lnTo>
                  <a:lnTo>
                    <a:pt x="1272" y="377"/>
                  </a:lnTo>
                  <a:lnTo>
                    <a:pt x="1272" y="355"/>
                  </a:lnTo>
                  <a:lnTo>
                    <a:pt x="1271" y="353"/>
                  </a:lnTo>
                  <a:lnTo>
                    <a:pt x="1265" y="353"/>
                  </a:lnTo>
                  <a:lnTo>
                    <a:pt x="1264" y="349"/>
                  </a:lnTo>
                  <a:lnTo>
                    <a:pt x="1258" y="345"/>
                  </a:lnTo>
                  <a:lnTo>
                    <a:pt x="1256" y="344"/>
                  </a:lnTo>
                  <a:lnTo>
                    <a:pt x="1256" y="340"/>
                  </a:lnTo>
                  <a:lnTo>
                    <a:pt x="1261" y="339"/>
                  </a:lnTo>
                  <a:lnTo>
                    <a:pt x="1266" y="334"/>
                  </a:lnTo>
                  <a:lnTo>
                    <a:pt x="1267" y="329"/>
                  </a:lnTo>
                  <a:lnTo>
                    <a:pt x="1261" y="329"/>
                  </a:lnTo>
                  <a:lnTo>
                    <a:pt x="1258" y="332"/>
                  </a:lnTo>
                  <a:lnTo>
                    <a:pt x="1254" y="332"/>
                  </a:lnTo>
                  <a:lnTo>
                    <a:pt x="1249" y="340"/>
                  </a:lnTo>
                  <a:lnTo>
                    <a:pt x="1247" y="348"/>
                  </a:lnTo>
                  <a:lnTo>
                    <a:pt x="1236" y="348"/>
                  </a:lnTo>
                  <a:lnTo>
                    <a:pt x="1234" y="345"/>
                  </a:lnTo>
                  <a:lnTo>
                    <a:pt x="1234" y="343"/>
                  </a:lnTo>
                  <a:lnTo>
                    <a:pt x="1234" y="327"/>
                  </a:lnTo>
                  <a:lnTo>
                    <a:pt x="1231" y="317"/>
                  </a:lnTo>
                  <a:lnTo>
                    <a:pt x="1231" y="308"/>
                  </a:lnTo>
                  <a:lnTo>
                    <a:pt x="1232" y="306"/>
                  </a:lnTo>
                  <a:lnTo>
                    <a:pt x="1238" y="299"/>
                  </a:lnTo>
                  <a:lnTo>
                    <a:pt x="1243" y="292"/>
                  </a:lnTo>
                  <a:lnTo>
                    <a:pt x="1253" y="281"/>
                  </a:lnTo>
                  <a:lnTo>
                    <a:pt x="1266" y="267"/>
                  </a:lnTo>
                  <a:lnTo>
                    <a:pt x="1283" y="254"/>
                  </a:lnTo>
                  <a:lnTo>
                    <a:pt x="1291" y="242"/>
                  </a:lnTo>
                  <a:lnTo>
                    <a:pt x="1297" y="238"/>
                  </a:lnTo>
                  <a:lnTo>
                    <a:pt x="1303" y="232"/>
                  </a:lnTo>
                  <a:lnTo>
                    <a:pt x="1306" y="222"/>
                  </a:lnTo>
                  <a:lnTo>
                    <a:pt x="1306" y="218"/>
                  </a:lnTo>
                  <a:lnTo>
                    <a:pt x="1312" y="199"/>
                  </a:lnTo>
                  <a:lnTo>
                    <a:pt x="1312" y="195"/>
                  </a:lnTo>
                  <a:lnTo>
                    <a:pt x="1308" y="192"/>
                  </a:lnTo>
                  <a:lnTo>
                    <a:pt x="1301" y="192"/>
                  </a:lnTo>
                  <a:lnTo>
                    <a:pt x="1285" y="187"/>
                  </a:lnTo>
                  <a:lnTo>
                    <a:pt x="1279" y="175"/>
                  </a:lnTo>
                  <a:lnTo>
                    <a:pt x="1272" y="152"/>
                  </a:lnTo>
                  <a:lnTo>
                    <a:pt x="1271" y="150"/>
                  </a:lnTo>
                  <a:lnTo>
                    <a:pt x="1269" y="138"/>
                  </a:lnTo>
                  <a:lnTo>
                    <a:pt x="1264" y="129"/>
                  </a:lnTo>
                  <a:lnTo>
                    <a:pt x="1260" y="116"/>
                  </a:lnTo>
                  <a:lnTo>
                    <a:pt x="1256" y="105"/>
                  </a:lnTo>
                  <a:lnTo>
                    <a:pt x="1253" y="91"/>
                  </a:lnTo>
                  <a:lnTo>
                    <a:pt x="1253" y="80"/>
                  </a:lnTo>
                  <a:lnTo>
                    <a:pt x="1247" y="69"/>
                  </a:lnTo>
                  <a:lnTo>
                    <a:pt x="1237" y="57"/>
                  </a:lnTo>
                  <a:lnTo>
                    <a:pt x="1232" y="53"/>
                  </a:lnTo>
                  <a:lnTo>
                    <a:pt x="1229" y="54"/>
                  </a:lnTo>
                  <a:lnTo>
                    <a:pt x="1227" y="62"/>
                  </a:lnTo>
                  <a:lnTo>
                    <a:pt x="1222" y="63"/>
                  </a:lnTo>
                  <a:lnTo>
                    <a:pt x="1209" y="76"/>
                  </a:lnTo>
                  <a:lnTo>
                    <a:pt x="1206" y="84"/>
                  </a:lnTo>
                  <a:lnTo>
                    <a:pt x="1193" y="102"/>
                  </a:lnTo>
                  <a:lnTo>
                    <a:pt x="1183" y="114"/>
                  </a:lnTo>
                  <a:lnTo>
                    <a:pt x="1179" y="121"/>
                  </a:lnTo>
                  <a:lnTo>
                    <a:pt x="1170" y="143"/>
                  </a:lnTo>
                  <a:lnTo>
                    <a:pt x="1143" y="167"/>
                  </a:lnTo>
                  <a:lnTo>
                    <a:pt x="1141" y="170"/>
                  </a:lnTo>
                  <a:lnTo>
                    <a:pt x="1136" y="172"/>
                  </a:lnTo>
                  <a:lnTo>
                    <a:pt x="1126" y="172"/>
                  </a:lnTo>
                  <a:lnTo>
                    <a:pt x="1119" y="168"/>
                  </a:lnTo>
                  <a:lnTo>
                    <a:pt x="1113" y="168"/>
                  </a:lnTo>
                  <a:lnTo>
                    <a:pt x="1109" y="170"/>
                  </a:lnTo>
                  <a:lnTo>
                    <a:pt x="1093" y="177"/>
                  </a:lnTo>
                  <a:lnTo>
                    <a:pt x="1087" y="177"/>
                  </a:lnTo>
                  <a:lnTo>
                    <a:pt x="1084" y="176"/>
                  </a:lnTo>
                  <a:lnTo>
                    <a:pt x="1075" y="170"/>
                  </a:lnTo>
                  <a:lnTo>
                    <a:pt x="1065" y="159"/>
                  </a:lnTo>
                  <a:lnTo>
                    <a:pt x="1059" y="157"/>
                  </a:lnTo>
                  <a:lnTo>
                    <a:pt x="1055" y="155"/>
                  </a:lnTo>
                  <a:lnTo>
                    <a:pt x="1034" y="149"/>
                  </a:lnTo>
                  <a:lnTo>
                    <a:pt x="1012" y="155"/>
                  </a:lnTo>
                  <a:lnTo>
                    <a:pt x="1008" y="155"/>
                  </a:lnTo>
                  <a:lnTo>
                    <a:pt x="998" y="152"/>
                  </a:lnTo>
                  <a:lnTo>
                    <a:pt x="991" y="152"/>
                  </a:lnTo>
                  <a:lnTo>
                    <a:pt x="985" y="155"/>
                  </a:lnTo>
                  <a:lnTo>
                    <a:pt x="986" y="179"/>
                  </a:lnTo>
                  <a:lnTo>
                    <a:pt x="982" y="183"/>
                  </a:lnTo>
                  <a:lnTo>
                    <a:pt x="965" y="183"/>
                  </a:lnTo>
                  <a:lnTo>
                    <a:pt x="953" y="178"/>
                  </a:lnTo>
                  <a:lnTo>
                    <a:pt x="942" y="179"/>
                  </a:lnTo>
                  <a:lnTo>
                    <a:pt x="928" y="181"/>
                  </a:lnTo>
                  <a:lnTo>
                    <a:pt x="922" y="178"/>
                  </a:lnTo>
                  <a:lnTo>
                    <a:pt x="921" y="177"/>
                  </a:lnTo>
                  <a:lnTo>
                    <a:pt x="917" y="176"/>
                  </a:lnTo>
                  <a:lnTo>
                    <a:pt x="912" y="176"/>
                  </a:lnTo>
                  <a:lnTo>
                    <a:pt x="901" y="182"/>
                  </a:lnTo>
                  <a:lnTo>
                    <a:pt x="893" y="192"/>
                  </a:lnTo>
                  <a:lnTo>
                    <a:pt x="879" y="192"/>
                  </a:lnTo>
                  <a:lnTo>
                    <a:pt x="871" y="195"/>
                  </a:lnTo>
                  <a:lnTo>
                    <a:pt x="866" y="200"/>
                  </a:lnTo>
                  <a:lnTo>
                    <a:pt x="855" y="200"/>
                  </a:lnTo>
                  <a:lnTo>
                    <a:pt x="846" y="203"/>
                  </a:lnTo>
                  <a:lnTo>
                    <a:pt x="840" y="213"/>
                  </a:lnTo>
                  <a:lnTo>
                    <a:pt x="835" y="215"/>
                  </a:lnTo>
                  <a:lnTo>
                    <a:pt x="822" y="215"/>
                  </a:lnTo>
                  <a:lnTo>
                    <a:pt x="812" y="213"/>
                  </a:lnTo>
                  <a:lnTo>
                    <a:pt x="796" y="203"/>
                  </a:lnTo>
                  <a:lnTo>
                    <a:pt x="790" y="198"/>
                  </a:lnTo>
                  <a:lnTo>
                    <a:pt x="786" y="192"/>
                  </a:lnTo>
                  <a:lnTo>
                    <a:pt x="783" y="191"/>
                  </a:lnTo>
                  <a:lnTo>
                    <a:pt x="779" y="186"/>
                  </a:lnTo>
                  <a:lnTo>
                    <a:pt x="777" y="183"/>
                  </a:lnTo>
                  <a:lnTo>
                    <a:pt x="779" y="170"/>
                  </a:lnTo>
                  <a:lnTo>
                    <a:pt x="777" y="161"/>
                  </a:lnTo>
                  <a:lnTo>
                    <a:pt x="766" y="151"/>
                  </a:lnTo>
                  <a:lnTo>
                    <a:pt x="765" y="148"/>
                  </a:lnTo>
                  <a:lnTo>
                    <a:pt x="765" y="117"/>
                  </a:lnTo>
                  <a:lnTo>
                    <a:pt x="771" y="103"/>
                  </a:lnTo>
                  <a:lnTo>
                    <a:pt x="774" y="96"/>
                  </a:lnTo>
                  <a:lnTo>
                    <a:pt x="774" y="86"/>
                  </a:lnTo>
                  <a:lnTo>
                    <a:pt x="783" y="73"/>
                  </a:lnTo>
                  <a:lnTo>
                    <a:pt x="785" y="70"/>
                  </a:lnTo>
                  <a:lnTo>
                    <a:pt x="783" y="63"/>
                  </a:lnTo>
                  <a:lnTo>
                    <a:pt x="779" y="57"/>
                  </a:lnTo>
                  <a:lnTo>
                    <a:pt x="779" y="42"/>
                  </a:lnTo>
                  <a:lnTo>
                    <a:pt x="767" y="38"/>
                  </a:lnTo>
                  <a:lnTo>
                    <a:pt x="765" y="37"/>
                  </a:lnTo>
                  <a:lnTo>
                    <a:pt x="756" y="36"/>
                  </a:lnTo>
                  <a:lnTo>
                    <a:pt x="760" y="22"/>
                  </a:lnTo>
                  <a:lnTo>
                    <a:pt x="760" y="15"/>
                  </a:lnTo>
                  <a:lnTo>
                    <a:pt x="760" y="9"/>
                  </a:lnTo>
                  <a:lnTo>
                    <a:pt x="755" y="0"/>
                  </a:lnTo>
                  <a:lnTo>
                    <a:pt x="747" y="0"/>
                  </a:lnTo>
                  <a:lnTo>
                    <a:pt x="734" y="4"/>
                  </a:lnTo>
                  <a:lnTo>
                    <a:pt x="725" y="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25" name="Freeform 245">
              <a:extLst>
                <a:ext uri="{FF2B5EF4-FFF2-40B4-BE49-F238E27FC236}">
                  <a16:creationId xmlns:a16="http://schemas.microsoft.com/office/drawing/2014/main" id="{1BA1DD89-3056-9C17-F1AC-D071F6A73EF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461535" y="3950796"/>
              <a:ext cx="352193" cy="516710"/>
            </a:xfrm>
            <a:custGeom>
              <a:avLst/>
              <a:gdLst>
                <a:gd name="T0" fmla="*/ 2147483647 w 663"/>
                <a:gd name="T1" fmla="*/ 0 h 909"/>
                <a:gd name="T2" fmla="*/ 2147483647 w 663"/>
                <a:gd name="T3" fmla="*/ 0 h 909"/>
                <a:gd name="T4" fmla="*/ 2147483647 w 663"/>
                <a:gd name="T5" fmla="*/ 0 h 909"/>
                <a:gd name="T6" fmla="*/ 0 w 663"/>
                <a:gd name="T7" fmla="*/ 0 h 909"/>
                <a:gd name="T8" fmla="*/ 0 w 663"/>
                <a:gd name="T9" fmla="*/ 0 h 909"/>
                <a:gd name="T10" fmla="*/ 0 w 663"/>
                <a:gd name="T11" fmla="*/ 0 h 909"/>
                <a:gd name="T12" fmla="*/ 0 w 663"/>
                <a:gd name="T13" fmla="*/ 0 h 909"/>
                <a:gd name="T14" fmla="*/ 0 w 663"/>
                <a:gd name="T15" fmla="*/ 0 h 909"/>
                <a:gd name="T16" fmla="*/ 0 w 663"/>
                <a:gd name="T17" fmla="*/ 0 h 909"/>
                <a:gd name="T18" fmla="*/ 0 w 663"/>
                <a:gd name="T19" fmla="*/ 0 h 909"/>
                <a:gd name="T20" fmla="*/ 0 w 663"/>
                <a:gd name="T21" fmla="*/ 0 h 909"/>
                <a:gd name="T22" fmla="*/ 0 w 663"/>
                <a:gd name="T23" fmla="*/ 0 h 909"/>
                <a:gd name="T24" fmla="*/ 0 w 663"/>
                <a:gd name="T25" fmla="*/ 2147483647 h 909"/>
                <a:gd name="T26" fmla="*/ 0 w 663"/>
                <a:gd name="T27" fmla="*/ 2147483647 h 909"/>
                <a:gd name="T28" fmla="*/ 0 w 663"/>
                <a:gd name="T29" fmla="*/ 2147483647 h 909"/>
                <a:gd name="T30" fmla="*/ 0 w 663"/>
                <a:gd name="T31" fmla="*/ 2147483647 h 909"/>
                <a:gd name="T32" fmla="*/ 0 w 663"/>
                <a:gd name="T33" fmla="*/ 2147483647 h 909"/>
                <a:gd name="T34" fmla="*/ 0 w 663"/>
                <a:gd name="T35" fmla="*/ 2147483647 h 909"/>
                <a:gd name="T36" fmla="*/ 0 w 663"/>
                <a:gd name="T37" fmla="*/ 2147483647 h 909"/>
                <a:gd name="T38" fmla="*/ 0 w 663"/>
                <a:gd name="T39" fmla="*/ 2147483647 h 909"/>
                <a:gd name="T40" fmla="*/ 0 w 663"/>
                <a:gd name="T41" fmla="*/ 2147483647 h 909"/>
                <a:gd name="T42" fmla="*/ 0 w 663"/>
                <a:gd name="T43" fmla="*/ 2147483647 h 909"/>
                <a:gd name="T44" fmla="*/ 0 w 663"/>
                <a:gd name="T45" fmla="*/ 2147483647 h 909"/>
                <a:gd name="T46" fmla="*/ 0 w 663"/>
                <a:gd name="T47" fmla="*/ 2147483647 h 909"/>
                <a:gd name="T48" fmla="*/ 0 w 663"/>
                <a:gd name="T49" fmla="*/ 2147483647 h 909"/>
                <a:gd name="T50" fmla="*/ 0 w 663"/>
                <a:gd name="T51" fmla="*/ 2147483647 h 909"/>
                <a:gd name="T52" fmla="*/ 2147483647 w 663"/>
                <a:gd name="T53" fmla="*/ 2147483647 h 909"/>
                <a:gd name="T54" fmla="*/ 2147483647 w 663"/>
                <a:gd name="T55" fmla="*/ 2147483647 h 909"/>
                <a:gd name="T56" fmla="*/ 2147483647 w 663"/>
                <a:gd name="T57" fmla="*/ 2147483647 h 909"/>
                <a:gd name="T58" fmla="*/ 2147483647 w 663"/>
                <a:gd name="T59" fmla="*/ 2147483647 h 909"/>
                <a:gd name="T60" fmla="*/ 2147483647 w 663"/>
                <a:gd name="T61" fmla="*/ 2147483647 h 909"/>
                <a:gd name="T62" fmla="*/ 2147483647 w 663"/>
                <a:gd name="T63" fmla="*/ 2147483647 h 909"/>
                <a:gd name="T64" fmla="*/ 2147483647 w 663"/>
                <a:gd name="T65" fmla="*/ 2147483647 h 909"/>
                <a:gd name="T66" fmla="*/ 2147483647 w 663"/>
                <a:gd name="T67" fmla="*/ 2147483647 h 909"/>
                <a:gd name="T68" fmla="*/ 2147483647 w 663"/>
                <a:gd name="T69" fmla="*/ 2147483647 h 909"/>
                <a:gd name="T70" fmla="*/ 2147483647 w 663"/>
                <a:gd name="T71" fmla="*/ 2147483647 h 909"/>
                <a:gd name="T72" fmla="*/ 2147483647 w 663"/>
                <a:gd name="T73" fmla="*/ 2147483647 h 909"/>
                <a:gd name="T74" fmla="*/ 2147483647 w 663"/>
                <a:gd name="T75" fmla="*/ 2147483647 h 909"/>
                <a:gd name="T76" fmla="*/ 2147483647 w 663"/>
                <a:gd name="T77" fmla="*/ 2147483647 h 909"/>
                <a:gd name="T78" fmla="*/ 2147483647 w 663"/>
                <a:gd name="T79" fmla="*/ 2147483647 h 909"/>
                <a:gd name="T80" fmla="*/ 2147483647 w 663"/>
                <a:gd name="T81" fmla="*/ 2147483647 h 909"/>
                <a:gd name="T82" fmla="*/ 2147483647 w 663"/>
                <a:gd name="T83" fmla="*/ 2147483647 h 909"/>
                <a:gd name="T84" fmla="*/ 2147483647 w 663"/>
                <a:gd name="T85" fmla="*/ 2147483647 h 909"/>
                <a:gd name="T86" fmla="*/ 2147483647 w 663"/>
                <a:gd name="T87" fmla="*/ 2147483647 h 909"/>
                <a:gd name="T88" fmla="*/ 2147483647 w 663"/>
                <a:gd name="T89" fmla="*/ 2147483647 h 909"/>
                <a:gd name="T90" fmla="*/ 2147483647 w 663"/>
                <a:gd name="T91" fmla="*/ 2147483647 h 909"/>
                <a:gd name="T92" fmla="*/ 2147483647 w 663"/>
                <a:gd name="T93" fmla="*/ 2147483647 h 909"/>
                <a:gd name="T94" fmla="*/ 2147483647 w 663"/>
                <a:gd name="T95" fmla="*/ 2147483647 h 909"/>
                <a:gd name="T96" fmla="*/ 2147483647 w 663"/>
                <a:gd name="T97" fmla="*/ 2147483647 h 909"/>
                <a:gd name="T98" fmla="*/ 2147483647 w 663"/>
                <a:gd name="T99" fmla="*/ 0 h 909"/>
                <a:gd name="T100" fmla="*/ 2147483647 w 663"/>
                <a:gd name="T101" fmla="*/ 0 h 909"/>
                <a:gd name="T102" fmla="*/ 2147483647 w 663"/>
                <a:gd name="T103" fmla="*/ 0 h 909"/>
                <a:gd name="T104" fmla="*/ 2147483647 w 663"/>
                <a:gd name="T105" fmla="*/ 0 h 909"/>
                <a:gd name="T106" fmla="*/ 2147483647 w 663"/>
                <a:gd name="T107" fmla="*/ 0 h 909"/>
                <a:gd name="T108" fmla="*/ 2147483647 w 663"/>
                <a:gd name="T109" fmla="*/ 0 h 90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63"/>
                <a:gd name="T166" fmla="*/ 0 h 909"/>
                <a:gd name="T167" fmla="*/ 663 w 663"/>
                <a:gd name="T168" fmla="*/ 909 h 909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63" h="909">
                  <a:moveTo>
                    <a:pt x="419" y="33"/>
                  </a:moveTo>
                  <a:lnTo>
                    <a:pt x="424" y="28"/>
                  </a:lnTo>
                  <a:lnTo>
                    <a:pt x="429" y="21"/>
                  </a:lnTo>
                  <a:lnTo>
                    <a:pt x="427" y="12"/>
                  </a:lnTo>
                  <a:lnTo>
                    <a:pt x="418" y="6"/>
                  </a:lnTo>
                  <a:lnTo>
                    <a:pt x="404" y="0"/>
                  </a:lnTo>
                  <a:lnTo>
                    <a:pt x="396" y="5"/>
                  </a:lnTo>
                  <a:lnTo>
                    <a:pt x="393" y="5"/>
                  </a:lnTo>
                  <a:lnTo>
                    <a:pt x="391" y="5"/>
                  </a:lnTo>
                  <a:lnTo>
                    <a:pt x="391" y="14"/>
                  </a:lnTo>
                  <a:lnTo>
                    <a:pt x="386" y="14"/>
                  </a:lnTo>
                  <a:lnTo>
                    <a:pt x="380" y="12"/>
                  </a:lnTo>
                  <a:lnTo>
                    <a:pt x="378" y="16"/>
                  </a:lnTo>
                  <a:lnTo>
                    <a:pt x="377" y="24"/>
                  </a:lnTo>
                  <a:lnTo>
                    <a:pt x="372" y="31"/>
                  </a:lnTo>
                  <a:lnTo>
                    <a:pt x="366" y="35"/>
                  </a:lnTo>
                  <a:lnTo>
                    <a:pt x="341" y="43"/>
                  </a:lnTo>
                  <a:lnTo>
                    <a:pt x="314" y="58"/>
                  </a:lnTo>
                  <a:lnTo>
                    <a:pt x="310" y="60"/>
                  </a:lnTo>
                  <a:lnTo>
                    <a:pt x="289" y="65"/>
                  </a:lnTo>
                  <a:lnTo>
                    <a:pt x="281" y="65"/>
                  </a:lnTo>
                  <a:lnTo>
                    <a:pt x="271" y="63"/>
                  </a:lnTo>
                  <a:lnTo>
                    <a:pt x="263" y="63"/>
                  </a:lnTo>
                  <a:lnTo>
                    <a:pt x="260" y="65"/>
                  </a:lnTo>
                  <a:lnTo>
                    <a:pt x="257" y="70"/>
                  </a:lnTo>
                  <a:lnTo>
                    <a:pt x="253" y="81"/>
                  </a:lnTo>
                  <a:lnTo>
                    <a:pt x="249" y="90"/>
                  </a:lnTo>
                  <a:lnTo>
                    <a:pt x="247" y="91"/>
                  </a:lnTo>
                  <a:lnTo>
                    <a:pt x="244" y="91"/>
                  </a:lnTo>
                  <a:lnTo>
                    <a:pt x="244" y="82"/>
                  </a:lnTo>
                  <a:lnTo>
                    <a:pt x="242" y="80"/>
                  </a:lnTo>
                  <a:lnTo>
                    <a:pt x="231" y="80"/>
                  </a:lnTo>
                  <a:lnTo>
                    <a:pt x="220" y="80"/>
                  </a:lnTo>
                  <a:lnTo>
                    <a:pt x="216" y="80"/>
                  </a:lnTo>
                  <a:lnTo>
                    <a:pt x="194" y="96"/>
                  </a:lnTo>
                  <a:lnTo>
                    <a:pt x="187" y="102"/>
                  </a:lnTo>
                  <a:lnTo>
                    <a:pt x="185" y="107"/>
                  </a:lnTo>
                  <a:lnTo>
                    <a:pt x="183" y="128"/>
                  </a:lnTo>
                  <a:lnTo>
                    <a:pt x="181" y="144"/>
                  </a:lnTo>
                  <a:lnTo>
                    <a:pt x="179" y="160"/>
                  </a:lnTo>
                  <a:lnTo>
                    <a:pt x="173" y="166"/>
                  </a:lnTo>
                  <a:lnTo>
                    <a:pt x="158" y="170"/>
                  </a:lnTo>
                  <a:lnTo>
                    <a:pt x="155" y="173"/>
                  </a:lnTo>
                  <a:lnTo>
                    <a:pt x="146" y="188"/>
                  </a:lnTo>
                  <a:lnTo>
                    <a:pt x="142" y="192"/>
                  </a:lnTo>
                  <a:lnTo>
                    <a:pt x="135" y="198"/>
                  </a:lnTo>
                  <a:lnTo>
                    <a:pt x="117" y="209"/>
                  </a:lnTo>
                  <a:lnTo>
                    <a:pt x="115" y="213"/>
                  </a:lnTo>
                  <a:lnTo>
                    <a:pt x="117" y="216"/>
                  </a:lnTo>
                  <a:lnTo>
                    <a:pt x="118" y="219"/>
                  </a:lnTo>
                  <a:lnTo>
                    <a:pt x="122" y="238"/>
                  </a:lnTo>
                  <a:lnTo>
                    <a:pt x="119" y="245"/>
                  </a:lnTo>
                  <a:lnTo>
                    <a:pt x="118" y="246"/>
                  </a:lnTo>
                  <a:lnTo>
                    <a:pt x="113" y="242"/>
                  </a:lnTo>
                  <a:lnTo>
                    <a:pt x="103" y="229"/>
                  </a:lnTo>
                  <a:lnTo>
                    <a:pt x="86" y="209"/>
                  </a:lnTo>
                  <a:lnTo>
                    <a:pt x="85" y="213"/>
                  </a:lnTo>
                  <a:lnTo>
                    <a:pt x="83" y="221"/>
                  </a:lnTo>
                  <a:lnTo>
                    <a:pt x="83" y="223"/>
                  </a:lnTo>
                  <a:lnTo>
                    <a:pt x="88" y="226"/>
                  </a:lnTo>
                  <a:lnTo>
                    <a:pt x="92" y="232"/>
                  </a:lnTo>
                  <a:lnTo>
                    <a:pt x="92" y="238"/>
                  </a:lnTo>
                  <a:lnTo>
                    <a:pt x="93" y="240"/>
                  </a:lnTo>
                  <a:lnTo>
                    <a:pt x="97" y="242"/>
                  </a:lnTo>
                  <a:lnTo>
                    <a:pt x="97" y="246"/>
                  </a:lnTo>
                  <a:lnTo>
                    <a:pt x="91" y="251"/>
                  </a:lnTo>
                  <a:lnTo>
                    <a:pt x="81" y="264"/>
                  </a:lnTo>
                  <a:lnTo>
                    <a:pt x="77" y="267"/>
                  </a:lnTo>
                  <a:lnTo>
                    <a:pt x="72" y="263"/>
                  </a:lnTo>
                  <a:lnTo>
                    <a:pt x="69" y="264"/>
                  </a:lnTo>
                  <a:lnTo>
                    <a:pt x="69" y="272"/>
                  </a:lnTo>
                  <a:lnTo>
                    <a:pt x="60" y="278"/>
                  </a:lnTo>
                  <a:lnTo>
                    <a:pt x="60" y="283"/>
                  </a:lnTo>
                  <a:lnTo>
                    <a:pt x="59" y="283"/>
                  </a:lnTo>
                  <a:lnTo>
                    <a:pt x="61" y="288"/>
                  </a:lnTo>
                  <a:lnTo>
                    <a:pt x="66" y="306"/>
                  </a:lnTo>
                  <a:lnTo>
                    <a:pt x="70" y="311"/>
                  </a:lnTo>
                  <a:lnTo>
                    <a:pt x="81" y="320"/>
                  </a:lnTo>
                  <a:lnTo>
                    <a:pt x="86" y="327"/>
                  </a:lnTo>
                  <a:lnTo>
                    <a:pt x="87" y="331"/>
                  </a:lnTo>
                  <a:lnTo>
                    <a:pt x="85" y="353"/>
                  </a:lnTo>
                  <a:lnTo>
                    <a:pt x="88" y="367"/>
                  </a:lnTo>
                  <a:lnTo>
                    <a:pt x="88" y="372"/>
                  </a:lnTo>
                  <a:lnTo>
                    <a:pt x="83" y="380"/>
                  </a:lnTo>
                  <a:lnTo>
                    <a:pt x="81" y="386"/>
                  </a:lnTo>
                  <a:lnTo>
                    <a:pt x="85" y="412"/>
                  </a:lnTo>
                  <a:lnTo>
                    <a:pt x="90" y="431"/>
                  </a:lnTo>
                  <a:lnTo>
                    <a:pt x="90" y="439"/>
                  </a:lnTo>
                  <a:lnTo>
                    <a:pt x="85" y="455"/>
                  </a:lnTo>
                  <a:lnTo>
                    <a:pt x="83" y="462"/>
                  </a:lnTo>
                  <a:lnTo>
                    <a:pt x="85" y="469"/>
                  </a:lnTo>
                  <a:lnTo>
                    <a:pt x="92" y="472"/>
                  </a:lnTo>
                  <a:lnTo>
                    <a:pt x="98" y="473"/>
                  </a:lnTo>
                  <a:lnTo>
                    <a:pt x="103" y="472"/>
                  </a:lnTo>
                  <a:lnTo>
                    <a:pt x="111" y="467"/>
                  </a:lnTo>
                  <a:lnTo>
                    <a:pt x="111" y="472"/>
                  </a:lnTo>
                  <a:lnTo>
                    <a:pt x="111" y="474"/>
                  </a:lnTo>
                  <a:lnTo>
                    <a:pt x="107" y="479"/>
                  </a:lnTo>
                  <a:lnTo>
                    <a:pt x="95" y="490"/>
                  </a:lnTo>
                  <a:lnTo>
                    <a:pt x="81" y="507"/>
                  </a:lnTo>
                  <a:lnTo>
                    <a:pt x="74" y="531"/>
                  </a:lnTo>
                  <a:lnTo>
                    <a:pt x="71" y="533"/>
                  </a:lnTo>
                  <a:lnTo>
                    <a:pt x="69" y="536"/>
                  </a:lnTo>
                  <a:lnTo>
                    <a:pt x="54" y="541"/>
                  </a:lnTo>
                  <a:lnTo>
                    <a:pt x="40" y="539"/>
                  </a:lnTo>
                  <a:lnTo>
                    <a:pt x="37" y="541"/>
                  </a:lnTo>
                  <a:lnTo>
                    <a:pt x="26" y="547"/>
                  </a:lnTo>
                  <a:lnTo>
                    <a:pt x="20" y="560"/>
                  </a:lnTo>
                  <a:lnTo>
                    <a:pt x="18" y="569"/>
                  </a:lnTo>
                  <a:lnTo>
                    <a:pt x="21" y="577"/>
                  </a:lnTo>
                  <a:lnTo>
                    <a:pt x="20" y="584"/>
                  </a:lnTo>
                  <a:lnTo>
                    <a:pt x="7" y="585"/>
                  </a:lnTo>
                  <a:lnTo>
                    <a:pt x="4" y="590"/>
                  </a:lnTo>
                  <a:lnTo>
                    <a:pt x="0" y="596"/>
                  </a:lnTo>
                  <a:lnTo>
                    <a:pt x="0" y="601"/>
                  </a:lnTo>
                  <a:lnTo>
                    <a:pt x="5" y="607"/>
                  </a:lnTo>
                  <a:lnTo>
                    <a:pt x="6" y="611"/>
                  </a:lnTo>
                  <a:lnTo>
                    <a:pt x="9" y="613"/>
                  </a:lnTo>
                  <a:lnTo>
                    <a:pt x="12" y="616"/>
                  </a:lnTo>
                  <a:lnTo>
                    <a:pt x="44" y="629"/>
                  </a:lnTo>
                  <a:lnTo>
                    <a:pt x="74" y="644"/>
                  </a:lnTo>
                  <a:lnTo>
                    <a:pt x="86" y="652"/>
                  </a:lnTo>
                  <a:lnTo>
                    <a:pt x="88" y="657"/>
                  </a:lnTo>
                  <a:lnTo>
                    <a:pt x="91" y="668"/>
                  </a:lnTo>
                  <a:lnTo>
                    <a:pt x="93" y="672"/>
                  </a:lnTo>
                  <a:lnTo>
                    <a:pt x="106" y="673"/>
                  </a:lnTo>
                  <a:lnTo>
                    <a:pt x="114" y="671"/>
                  </a:lnTo>
                  <a:lnTo>
                    <a:pt x="119" y="671"/>
                  </a:lnTo>
                  <a:lnTo>
                    <a:pt x="140" y="673"/>
                  </a:lnTo>
                  <a:lnTo>
                    <a:pt x="150" y="673"/>
                  </a:lnTo>
                  <a:lnTo>
                    <a:pt x="151" y="671"/>
                  </a:lnTo>
                  <a:lnTo>
                    <a:pt x="156" y="665"/>
                  </a:lnTo>
                  <a:lnTo>
                    <a:pt x="161" y="665"/>
                  </a:lnTo>
                  <a:lnTo>
                    <a:pt x="168" y="667"/>
                  </a:lnTo>
                  <a:lnTo>
                    <a:pt x="174" y="673"/>
                  </a:lnTo>
                  <a:lnTo>
                    <a:pt x="181" y="676"/>
                  </a:lnTo>
                  <a:lnTo>
                    <a:pt x="195" y="687"/>
                  </a:lnTo>
                  <a:lnTo>
                    <a:pt x="201" y="687"/>
                  </a:lnTo>
                  <a:lnTo>
                    <a:pt x="205" y="687"/>
                  </a:lnTo>
                  <a:lnTo>
                    <a:pt x="215" y="690"/>
                  </a:lnTo>
                  <a:lnTo>
                    <a:pt x="224" y="693"/>
                  </a:lnTo>
                  <a:lnTo>
                    <a:pt x="230" y="695"/>
                  </a:lnTo>
                  <a:lnTo>
                    <a:pt x="235" y="704"/>
                  </a:lnTo>
                  <a:lnTo>
                    <a:pt x="238" y="708"/>
                  </a:lnTo>
                  <a:lnTo>
                    <a:pt x="248" y="711"/>
                  </a:lnTo>
                  <a:lnTo>
                    <a:pt x="253" y="725"/>
                  </a:lnTo>
                  <a:lnTo>
                    <a:pt x="258" y="733"/>
                  </a:lnTo>
                  <a:lnTo>
                    <a:pt x="264" y="737"/>
                  </a:lnTo>
                  <a:lnTo>
                    <a:pt x="267" y="742"/>
                  </a:lnTo>
                  <a:lnTo>
                    <a:pt x="273" y="743"/>
                  </a:lnTo>
                  <a:lnTo>
                    <a:pt x="278" y="743"/>
                  </a:lnTo>
                  <a:lnTo>
                    <a:pt x="284" y="746"/>
                  </a:lnTo>
                  <a:lnTo>
                    <a:pt x="289" y="749"/>
                  </a:lnTo>
                  <a:lnTo>
                    <a:pt x="292" y="756"/>
                  </a:lnTo>
                  <a:lnTo>
                    <a:pt x="294" y="768"/>
                  </a:lnTo>
                  <a:lnTo>
                    <a:pt x="297" y="776"/>
                  </a:lnTo>
                  <a:lnTo>
                    <a:pt x="298" y="780"/>
                  </a:lnTo>
                  <a:lnTo>
                    <a:pt x="302" y="783"/>
                  </a:lnTo>
                  <a:lnTo>
                    <a:pt x="311" y="783"/>
                  </a:lnTo>
                  <a:lnTo>
                    <a:pt x="316" y="784"/>
                  </a:lnTo>
                  <a:lnTo>
                    <a:pt x="316" y="806"/>
                  </a:lnTo>
                  <a:lnTo>
                    <a:pt x="319" y="811"/>
                  </a:lnTo>
                  <a:lnTo>
                    <a:pt x="324" y="816"/>
                  </a:lnTo>
                  <a:lnTo>
                    <a:pt x="334" y="817"/>
                  </a:lnTo>
                  <a:lnTo>
                    <a:pt x="339" y="816"/>
                  </a:lnTo>
                  <a:lnTo>
                    <a:pt x="353" y="817"/>
                  </a:lnTo>
                  <a:lnTo>
                    <a:pt x="361" y="821"/>
                  </a:lnTo>
                  <a:lnTo>
                    <a:pt x="365" y="821"/>
                  </a:lnTo>
                  <a:lnTo>
                    <a:pt x="372" y="819"/>
                  </a:lnTo>
                  <a:lnTo>
                    <a:pt x="376" y="817"/>
                  </a:lnTo>
                  <a:lnTo>
                    <a:pt x="378" y="813"/>
                  </a:lnTo>
                  <a:lnTo>
                    <a:pt x="382" y="812"/>
                  </a:lnTo>
                  <a:lnTo>
                    <a:pt x="386" y="808"/>
                  </a:lnTo>
                  <a:lnTo>
                    <a:pt x="389" y="807"/>
                  </a:lnTo>
                  <a:lnTo>
                    <a:pt x="398" y="807"/>
                  </a:lnTo>
                  <a:lnTo>
                    <a:pt x="405" y="808"/>
                  </a:lnTo>
                  <a:lnTo>
                    <a:pt x="410" y="813"/>
                  </a:lnTo>
                  <a:lnTo>
                    <a:pt x="418" y="815"/>
                  </a:lnTo>
                  <a:lnTo>
                    <a:pt x="426" y="813"/>
                  </a:lnTo>
                  <a:lnTo>
                    <a:pt x="435" y="807"/>
                  </a:lnTo>
                  <a:lnTo>
                    <a:pt x="437" y="807"/>
                  </a:lnTo>
                  <a:lnTo>
                    <a:pt x="445" y="808"/>
                  </a:lnTo>
                  <a:lnTo>
                    <a:pt x="461" y="815"/>
                  </a:lnTo>
                  <a:lnTo>
                    <a:pt x="477" y="824"/>
                  </a:lnTo>
                  <a:lnTo>
                    <a:pt x="488" y="837"/>
                  </a:lnTo>
                  <a:lnTo>
                    <a:pt x="488" y="842"/>
                  </a:lnTo>
                  <a:lnTo>
                    <a:pt x="484" y="849"/>
                  </a:lnTo>
                  <a:lnTo>
                    <a:pt x="478" y="856"/>
                  </a:lnTo>
                  <a:lnTo>
                    <a:pt x="466" y="869"/>
                  </a:lnTo>
                  <a:lnTo>
                    <a:pt x="458" y="880"/>
                  </a:lnTo>
                  <a:lnTo>
                    <a:pt x="458" y="889"/>
                  </a:lnTo>
                  <a:lnTo>
                    <a:pt x="459" y="892"/>
                  </a:lnTo>
                  <a:lnTo>
                    <a:pt x="464" y="893"/>
                  </a:lnTo>
                  <a:lnTo>
                    <a:pt x="469" y="892"/>
                  </a:lnTo>
                  <a:lnTo>
                    <a:pt x="473" y="893"/>
                  </a:lnTo>
                  <a:lnTo>
                    <a:pt x="478" y="897"/>
                  </a:lnTo>
                  <a:lnTo>
                    <a:pt x="486" y="908"/>
                  </a:lnTo>
                  <a:lnTo>
                    <a:pt x="494" y="909"/>
                  </a:lnTo>
                  <a:lnTo>
                    <a:pt x="495" y="902"/>
                  </a:lnTo>
                  <a:lnTo>
                    <a:pt x="497" y="896"/>
                  </a:lnTo>
                  <a:lnTo>
                    <a:pt x="499" y="881"/>
                  </a:lnTo>
                  <a:lnTo>
                    <a:pt x="501" y="873"/>
                  </a:lnTo>
                  <a:lnTo>
                    <a:pt x="502" y="870"/>
                  </a:lnTo>
                  <a:lnTo>
                    <a:pt x="504" y="858"/>
                  </a:lnTo>
                  <a:lnTo>
                    <a:pt x="506" y="850"/>
                  </a:lnTo>
                  <a:lnTo>
                    <a:pt x="511" y="832"/>
                  </a:lnTo>
                  <a:lnTo>
                    <a:pt x="512" y="831"/>
                  </a:lnTo>
                  <a:lnTo>
                    <a:pt x="522" y="768"/>
                  </a:lnTo>
                  <a:lnTo>
                    <a:pt x="523" y="758"/>
                  </a:lnTo>
                  <a:lnTo>
                    <a:pt x="524" y="752"/>
                  </a:lnTo>
                  <a:lnTo>
                    <a:pt x="517" y="724"/>
                  </a:lnTo>
                  <a:lnTo>
                    <a:pt x="512" y="714"/>
                  </a:lnTo>
                  <a:lnTo>
                    <a:pt x="506" y="708"/>
                  </a:lnTo>
                  <a:lnTo>
                    <a:pt x="494" y="698"/>
                  </a:lnTo>
                  <a:lnTo>
                    <a:pt x="489" y="693"/>
                  </a:lnTo>
                  <a:lnTo>
                    <a:pt x="489" y="655"/>
                  </a:lnTo>
                  <a:lnTo>
                    <a:pt x="494" y="652"/>
                  </a:lnTo>
                  <a:lnTo>
                    <a:pt x="511" y="650"/>
                  </a:lnTo>
                  <a:lnTo>
                    <a:pt x="517" y="647"/>
                  </a:lnTo>
                  <a:lnTo>
                    <a:pt x="528" y="649"/>
                  </a:lnTo>
                  <a:lnTo>
                    <a:pt x="532" y="650"/>
                  </a:lnTo>
                  <a:lnTo>
                    <a:pt x="532" y="652"/>
                  </a:lnTo>
                  <a:lnTo>
                    <a:pt x="538" y="651"/>
                  </a:lnTo>
                  <a:lnTo>
                    <a:pt x="538" y="650"/>
                  </a:lnTo>
                  <a:lnTo>
                    <a:pt x="534" y="640"/>
                  </a:lnTo>
                  <a:lnTo>
                    <a:pt x="533" y="633"/>
                  </a:lnTo>
                  <a:lnTo>
                    <a:pt x="528" y="625"/>
                  </a:lnTo>
                  <a:lnTo>
                    <a:pt x="518" y="627"/>
                  </a:lnTo>
                  <a:lnTo>
                    <a:pt x="516" y="629"/>
                  </a:lnTo>
                  <a:lnTo>
                    <a:pt x="509" y="629"/>
                  </a:lnTo>
                  <a:lnTo>
                    <a:pt x="505" y="624"/>
                  </a:lnTo>
                  <a:lnTo>
                    <a:pt x="501" y="623"/>
                  </a:lnTo>
                  <a:lnTo>
                    <a:pt x="501" y="620"/>
                  </a:lnTo>
                  <a:lnTo>
                    <a:pt x="501" y="589"/>
                  </a:lnTo>
                  <a:lnTo>
                    <a:pt x="502" y="590"/>
                  </a:lnTo>
                  <a:lnTo>
                    <a:pt x="582" y="590"/>
                  </a:lnTo>
                  <a:lnTo>
                    <a:pt x="586" y="586"/>
                  </a:lnTo>
                  <a:lnTo>
                    <a:pt x="587" y="580"/>
                  </a:lnTo>
                  <a:lnTo>
                    <a:pt x="591" y="575"/>
                  </a:lnTo>
                  <a:lnTo>
                    <a:pt x="593" y="575"/>
                  </a:lnTo>
                  <a:lnTo>
                    <a:pt x="597" y="577"/>
                  </a:lnTo>
                  <a:lnTo>
                    <a:pt x="601" y="584"/>
                  </a:lnTo>
                  <a:lnTo>
                    <a:pt x="603" y="584"/>
                  </a:lnTo>
                  <a:lnTo>
                    <a:pt x="622" y="574"/>
                  </a:lnTo>
                  <a:lnTo>
                    <a:pt x="633" y="574"/>
                  </a:lnTo>
                  <a:lnTo>
                    <a:pt x="638" y="579"/>
                  </a:lnTo>
                  <a:lnTo>
                    <a:pt x="646" y="590"/>
                  </a:lnTo>
                  <a:lnTo>
                    <a:pt x="652" y="619"/>
                  </a:lnTo>
                  <a:lnTo>
                    <a:pt x="662" y="614"/>
                  </a:lnTo>
                  <a:lnTo>
                    <a:pt x="663" y="612"/>
                  </a:lnTo>
                  <a:lnTo>
                    <a:pt x="658" y="603"/>
                  </a:lnTo>
                  <a:lnTo>
                    <a:pt x="656" y="592"/>
                  </a:lnTo>
                  <a:lnTo>
                    <a:pt x="640" y="555"/>
                  </a:lnTo>
                  <a:lnTo>
                    <a:pt x="631" y="544"/>
                  </a:lnTo>
                  <a:lnTo>
                    <a:pt x="614" y="531"/>
                  </a:lnTo>
                  <a:lnTo>
                    <a:pt x="614" y="527"/>
                  </a:lnTo>
                  <a:lnTo>
                    <a:pt x="626" y="516"/>
                  </a:lnTo>
                  <a:lnTo>
                    <a:pt x="631" y="509"/>
                  </a:lnTo>
                  <a:lnTo>
                    <a:pt x="634" y="507"/>
                  </a:lnTo>
                  <a:lnTo>
                    <a:pt x="638" y="504"/>
                  </a:lnTo>
                  <a:lnTo>
                    <a:pt x="640" y="503"/>
                  </a:lnTo>
                  <a:lnTo>
                    <a:pt x="641" y="500"/>
                  </a:lnTo>
                  <a:lnTo>
                    <a:pt x="640" y="493"/>
                  </a:lnTo>
                  <a:lnTo>
                    <a:pt x="638" y="488"/>
                  </a:lnTo>
                  <a:lnTo>
                    <a:pt x="633" y="479"/>
                  </a:lnTo>
                  <a:lnTo>
                    <a:pt x="625" y="471"/>
                  </a:lnTo>
                  <a:lnTo>
                    <a:pt x="618" y="466"/>
                  </a:lnTo>
                  <a:lnTo>
                    <a:pt x="617" y="463"/>
                  </a:lnTo>
                  <a:lnTo>
                    <a:pt x="615" y="453"/>
                  </a:lnTo>
                  <a:lnTo>
                    <a:pt x="613" y="447"/>
                  </a:lnTo>
                  <a:lnTo>
                    <a:pt x="613" y="439"/>
                  </a:lnTo>
                  <a:lnTo>
                    <a:pt x="609" y="431"/>
                  </a:lnTo>
                  <a:lnTo>
                    <a:pt x="609" y="419"/>
                  </a:lnTo>
                  <a:lnTo>
                    <a:pt x="613" y="413"/>
                  </a:lnTo>
                  <a:lnTo>
                    <a:pt x="615" y="403"/>
                  </a:lnTo>
                  <a:lnTo>
                    <a:pt x="615" y="392"/>
                  </a:lnTo>
                  <a:lnTo>
                    <a:pt x="624" y="382"/>
                  </a:lnTo>
                  <a:lnTo>
                    <a:pt x="624" y="369"/>
                  </a:lnTo>
                  <a:lnTo>
                    <a:pt x="626" y="364"/>
                  </a:lnTo>
                  <a:lnTo>
                    <a:pt x="633" y="358"/>
                  </a:lnTo>
                  <a:lnTo>
                    <a:pt x="633" y="353"/>
                  </a:lnTo>
                  <a:lnTo>
                    <a:pt x="630" y="344"/>
                  </a:lnTo>
                  <a:lnTo>
                    <a:pt x="628" y="342"/>
                  </a:lnTo>
                  <a:lnTo>
                    <a:pt x="624" y="342"/>
                  </a:lnTo>
                  <a:lnTo>
                    <a:pt x="614" y="342"/>
                  </a:lnTo>
                  <a:lnTo>
                    <a:pt x="595" y="350"/>
                  </a:lnTo>
                  <a:lnTo>
                    <a:pt x="583" y="353"/>
                  </a:lnTo>
                  <a:lnTo>
                    <a:pt x="576" y="353"/>
                  </a:lnTo>
                  <a:lnTo>
                    <a:pt x="567" y="350"/>
                  </a:lnTo>
                  <a:lnTo>
                    <a:pt x="563" y="349"/>
                  </a:lnTo>
                  <a:lnTo>
                    <a:pt x="558" y="347"/>
                  </a:lnTo>
                  <a:lnTo>
                    <a:pt x="552" y="345"/>
                  </a:lnTo>
                  <a:lnTo>
                    <a:pt x="544" y="348"/>
                  </a:lnTo>
                  <a:lnTo>
                    <a:pt x="542" y="350"/>
                  </a:lnTo>
                  <a:lnTo>
                    <a:pt x="536" y="350"/>
                  </a:lnTo>
                  <a:lnTo>
                    <a:pt x="527" y="350"/>
                  </a:lnTo>
                  <a:lnTo>
                    <a:pt x="523" y="348"/>
                  </a:lnTo>
                  <a:lnTo>
                    <a:pt x="522" y="348"/>
                  </a:lnTo>
                  <a:lnTo>
                    <a:pt x="494" y="307"/>
                  </a:lnTo>
                  <a:lnTo>
                    <a:pt x="493" y="305"/>
                  </a:lnTo>
                  <a:lnTo>
                    <a:pt x="490" y="302"/>
                  </a:lnTo>
                  <a:lnTo>
                    <a:pt x="479" y="301"/>
                  </a:lnTo>
                  <a:lnTo>
                    <a:pt x="473" y="297"/>
                  </a:lnTo>
                  <a:lnTo>
                    <a:pt x="461" y="293"/>
                  </a:lnTo>
                  <a:lnTo>
                    <a:pt x="443" y="294"/>
                  </a:lnTo>
                  <a:lnTo>
                    <a:pt x="425" y="299"/>
                  </a:lnTo>
                  <a:lnTo>
                    <a:pt x="415" y="300"/>
                  </a:lnTo>
                  <a:lnTo>
                    <a:pt x="400" y="299"/>
                  </a:lnTo>
                  <a:lnTo>
                    <a:pt x="383" y="291"/>
                  </a:lnTo>
                  <a:lnTo>
                    <a:pt x="380" y="284"/>
                  </a:lnTo>
                  <a:lnTo>
                    <a:pt x="376" y="283"/>
                  </a:lnTo>
                  <a:lnTo>
                    <a:pt x="364" y="277"/>
                  </a:lnTo>
                  <a:lnTo>
                    <a:pt x="362" y="274"/>
                  </a:lnTo>
                  <a:lnTo>
                    <a:pt x="362" y="241"/>
                  </a:lnTo>
                  <a:lnTo>
                    <a:pt x="360" y="232"/>
                  </a:lnTo>
                  <a:lnTo>
                    <a:pt x="357" y="226"/>
                  </a:lnTo>
                  <a:lnTo>
                    <a:pt x="353" y="223"/>
                  </a:lnTo>
                  <a:lnTo>
                    <a:pt x="351" y="220"/>
                  </a:lnTo>
                  <a:lnTo>
                    <a:pt x="344" y="211"/>
                  </a:lnTo>
                  <a:lnTo>
                    <a:pt x="341" y="208"/>
                  </a:lnTo>
                  <a:lnTo>
                    <a:pt x="338" y="188"/>
                  </a:lnTo>
                  <a:lnTo>
                    <a:pt x="335" y="182"/>
                  </a:lnTo>
                  <a:lnTo>
                    <a:pt x="334" y="180"/>
                  </a:lnTo>
                  <a:lnTo>
                    <a:pt x="310" y="181"/>
                  </a:lnTo>
                  <a:lnTo>
                    <a:pt x="316" y="167"/>
                  </a:lnTo>
                  <a:lnTo>
                    <a:pt x="324" y="152"/>
                  </a:lnTo>
                  <a:lnTo>
                    <a:pt x="337" y="107"/>
                  </a:lnTo>
                  <a:lnTo>
                    <a:pt x="350" y="85"/>
                  </a:lnTo>
                  <a:lnTo>
                    <a:pt x="375" y="62"/>
                  </a:lnTo>
                  <a:lnTo>
                    <a:pt x="378" y="57"/>
                  </a:lnTo>
                  <a:lnTo>
                    <a:pt x="383" y="47"/>
                  </a:lnTo>
                  <a:lnTo>
                    <a:pt x="389" y="41"/>
                  </a:lnTo>
                  <a:lnTo>
                    <a:pt x="404" y="35"/>
                  </a:lnTo>
                  <a:lnTo>
                    <a:pt x="419" y="3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26" name="Freeform 246">
              <a:extLst>
                <a:ext uri="{FF2B5EF4-FFF2-40B4-BE49-F238E27FC236}">
                  <a16:creationId xmlns:a16="http://schemas.microsoft.com/office/drawing/2014/main" id="{23B12B90-F845-46BB-6C4A-BD74C093F75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731649" y="4639743"/>
              <a:ext cx="350700" cy="429829"/>
            </a:xfrm>
            <a:custGeom>
              <a:avLst/>
              <a:gdLst>
                <a:gd name="T0" fmla="*/ 0 w 658"/>
                <a:gd name="T1" fmla="*/ 0 h 754"/>
                <a:gd name="T2" fmla="*/ 0 w 658"/>
                <a:gd name="T3" fmla="*/ 0 h 754"/>
                <a:gd name="T4" fmla="*/ 0 w 658"/>
                <a:gd name="T5" fmla="*/ 0 h 754"/>
                <a:gd name="T6" fmla="*/ 0 w 658"/>
                <a:gd name="T7" fmla="*/ 0 h 754"/>
                <a:gd name="T8" fmla="*/ 0 w 658"/>
                <a:gd name="T9" fmla="*/ 0 h 754"/>
                <a:gd name="T10" fmla="*/ 0 w 658"/>
                <a:gd name="T11" fmla="*/ 0 h 754"/>
                <a:gd name="T12" fmla="*/ 0 w 658"/>
                <a:gd name="T13" fmla="*/ 0 h 754"/>
                <a:gd name="T14" fmla="*/ 2147483647 w 658"/>
                <a:gd name="T15" fmla="*/ 0 h 754"/>
                <a:gd name="T16" fmla="*/ 2147483647 w 658"/>
                <a:gd name="T17" fmla="*/ 0 h 754"/>
                <a:gd name="T18" fmla="*/ 2147483647 w 658"/>
                <a:gd name="T19" fmla="*/ 0 h 754"/>
                <a:gd name="T20" fmla="*/ 2147483647 w 658"/>
                <a:gd name="T21" fmla="*/ 0 h 754"/>
                <a:gd name="T22" fmla="*/ 2147483647 w 658"/>
                <a:gd name="T23" fmla="*/ 0 h 754"/>
                <a:gd name="T24" fmla="*/ 2147483647 w 658"/>
                <a:gd name="T25" fmla="*/ 0 h 754"/>
                <a:gd name="T26" fmla="*/ 2147483647 w 658"/>
                <a:gd name="T27" fmla="*/ 2147483647 h 754"/>
                <a:gd name="T28" fmla="*/ 2147483647 w 658"/>
                <a:gd name="T29" fmla="*/ 2147483647 h 754"/>
                <a:gd name="T30" fmla="*/ 2147483647 w 658"/>
                <a:gd name="T31" fmla="*/ 2147483647 h 754"/>
                <a:gd name="T32" fmla="*/ 2147483647 w 658"/>
                <a:gd name="T33" fmla="*/ 2147483647 h 754"/>
                <a:gd name="T34" fmla="*/ 2147483647 w 658"/>
                <a:gd name="T35" fmla="*/ 2147483647 h 754"/>
                <a:gd name="T36" fmla="*/ 2147483647 w 658"/>
                <a:gd name="T37" fmla="*/ 2147483647 h 754"/>
                <a:gd name="T38" fmla="*/ 2147483647 w 658"/>
                <a:gd name="T39" fmla="*/ 2147483647 h 754"/>
                <a:gd name="T40" fmla="*/ 2147483647 w 658"/>
                <a:gd name="T41" fmla="*/ 2147483647 h 754"/>
                <a:gd name="T42" fmla="*/ 2147483647 w 658"/>
                <a:gd name="T43" fmla="*/ 2147483647 h 754"/>
                <a:gd name="T44" fmla="*/ 2147483647 w 658"/>
                <a:gd name="T45" fmla="*/ 2147483647 h 754"/>
                <a:gd name="T46" fmla="*/ 2147483647 w 658"/>
                <a:gd name="T47" fmla="*/ 2147483647 h 754"/>
                <a:gd name="T48" fmla="*/ 2147483647 w 658"/>
                <a:gd name="T49" fmla="*/ 2147483647 h 754"/>
                <a:gd name="T50" fmla="*/ 2147483647 w 658"/>
                <a:gd name="T51" fmla="*/ 2147483647 h 754"/>
                <a:gd name="T52" fmla="*/ 2147483647 w 658"/>
                <a:gd name="T53" fmla="*/ 2147483647 h 754"/>
                <a:gd name="T54" fmla="*/ 2147483647 w 658"/>
                <a:gd name="T55" fmla="*/ 2147483647 h 754"/>
                <a:gd name="T56" fmla="*/ 2147483647 w 658"/>
                <a:gd name="T57" fmla="*/ 2147483647 h 754"/>
                <a:gd name="T58" fmla="*/ 0 w 658"/>
                <a:gd name="T59" fmla="*/ 2147483647 h 754"/>
                <a:gd name="T60" fmla="*/ 0 w 658"/>
                <a:gd name="T61" fmla="*/ 2147483647 h 754"/>
                <a:gd name="T62" fmla="*/ 0 w 658"/>
                <a:gd name="T63" fmla="*/ 2147483647 h 754"/>
                <a:gd name="T64" fmla="*/ 0 w 658"/>
                <a:gd name="T65" fmla="*/ 2147483647 h 754"/>
                <a:gd name="T66" fmla="*/ 0 w 658"/>
                <a:gd name="T67" fmla="*/ 2147483647 h 754"/>
                <a:gd name="T68" fmla="*/ 0 w 658"/>
                <a:gd name="T69" fmla="*/ 2147483647 h 754"/>
                <a:gd name="T70" fmla="*/ 0 w 658"/>
                <a:gd name="T71" fmla="*/ 2147483647 h 754"/>
                <a:gd name="T72" fmla="*/ 0 w 658"/>
                <a:gd name="T73" fmla="*/ 2147483647 h 754"/>
                <a:gd name="T74" fmla="*/ 0 w 658"/>
                <a:gd name="T75" fmla="*/ 2147483647 h 754"/>
                <a:gd name="T76" fmla="*/ 0 w 658"/>
                <a:gd name="T77" fmla="*/ 2147483647 h 754"/>
                <a:gd name="T78" fmla="*/ 0 w 658"/>
                <a:gd name="T79" fmla="*/ 2147483647 h 754"/>
                <a:gd name="T80" fmla="*/ 0 w 658"/>
                <a:gd name="T81" fmla="*/ 2147483647 h 754"/>
                <a:gd name="T82" fmla="*/ 0 w 658"/>
                <a:gd name="T83" fmla="*/ 2147483647 h 754"/>
                <a:gd name="T84" fmla="*/ 0 w 658"/>
                <a:gd name="T85" fmla="*/ 2147483647 h 754"/>
                <a:gd name="T86" fmla="*/ 0 w 658"/>
                <a:gd name="T87" fmla="*/ 2147483647 h 754"/>
                <a:gd name="T88" fmla="*/ 0 w 658"/>
                <a:gd name="T89" fmla="*/ 2147483647 h 754"/>
                <a:gd name="T90" fmla="*/ 0 w 658"/>
                <a:gd name="T91" fmla="*/ 2147483647 h 754"/>
                <a:gd name="T92" fmla="*/ 0 w 658"/>
                <a:gd name="T93" fmla="*/ 2147483647 h 754"/>
                <a:gd name="T94" fmla="*/ 0 w 658"/>
                <a:gd name="T95" fmla="*/ 2147483647 h 754"/>
                <a:gd name="T96" fmla="*/ 0 w 658"/>
                <a:gd name="T97" fmla="*/ 2147483647 h 754"/>
                <a:gd name="T98" fmla="*/ 0 w 658"/>
                <a:gd name="T99" fmla="*/ 2147483647 h 754"/>
                <a:gd name="T100" fmla="*/ 0 w 658"/>
                <a:gd name="T101" fmla="*/ 0 h 754"/>
                <a:gd name="T102" fmla="*/ 0 w 658"/>
                <a:gd name="T103" fmla="*/ 0 h 754"/>
                <a:gd name="T104" fmla="*/ 0 w 658"/>
                <a:gd name="T105" fmla="*/ 0 h 754"/>
                <a:gd name="T106" fmla="*/ 0 w 658"/>
                <a:gd name="T107" fmla="*/ 0 h 754"/>
                <a:gd name="T108" fmla="*/ 0 w 658"/>
                <a:gd name="T109" fmla="*/ 0 h 7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58"/>
                <a:gd name="T166" fmla="*/ 0 h 754"/>
                <a:gd name="T167" fmla="*/ 658 w 658"/>
                <a:gd name="T168" fmla="*/ 754 h 75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58" h="754">
                  <a:moveTo>
                    <a:pt x="1" y="70"/>
                  </a:moveTo>
                  <a:lnTo>
                    <a:pt x="3" y="68"/>
                  </a:lnTo>
                  <a:lnTo>
                    <a:pt x="11" y="68"/>
                  </a:lnTo>
                  <a:lnTo>
                    <a:pt x="29" y="74"/>
                  </a:lnTo>
                  <a:lnTo>
                    <a:pt x="70" y="75"/>
                  </a:lnTo>
                  <a:lnTo>
                    <a:pt x="78" y="71"/>
                  </a:lnTo>
                  <a:lnTo>
                    <a:pt x="83" y="68"/>
                  </a:lnTo>
                  <a:lnTo>
                    <a:pt x="109" y="59"/>
                  </a:lnTo>
                  <a:lnTo>
                    <a:pt x="116" y="55"/>
                  </a:lnTo>
                  <a:lnTo>
                    <a:pt x="141" y="33"/>
                  </a:lnTo>
                  <a:lnTo>
                    <a:pt x="158" y="14"/>
                  </a:lnTo>
                  <a:lnTo>
                    <a:pt x="164" y="7"/>
                  </a:lnTo>
                  <a:lnTo>
                    <a:pt x="180" y="4"/>
                  </a:lnTo>
                  <a:lnTo>
                    <a:pt x="186" y="4"/>
                  </a:lnTo>
                  <a:lnTo>
                    <a:pt x="213" y="0"/>
                  </a:lnTo>
                  <a:lnTo>
                    <a:pt x="232" y="1"/>
                  </a:lnTo>
                  <a:lnTo>
                    <a:pt x="235" y="4"/>
                  </a:lnTo>
                  <a:lnTo>
                    <a:pt x="240" y="11"/>
                  </a:lnTo>
                  <a:lnTo>
                    <a:pt x="243" y="28"/>
                  </a:lnTo>
                  <a:lnTo>
                    <a:pt x="243" y="60"/>
                  </a:lnTo>
                  <a:lnTo>
                    <a:pt x="242" y="70"/>
                  </a:lnTo>
                  <a:lnTo>
                    <a:pt x="237" y="77"/>
                  </a:lnTo>
                  <a:lnTo>
                    <a:pt x="235" y="81"/>
                  </a:lnTo>
                  <a:lnTo>
                    <a:pt x="234" y="88"/>
                  </a:lnTo>
                  <a:lnTo>
                    <a:pt x="240" y="112"/>
                  </a:lnTo>
                  <a:lnTo>
                    <a:pt x="249" y="125"/>
                  </a:lnTo>
                  <a:lnTo>
                    <a:pt x="256" y="131"/>
                  </a:lnTo>
                  <a:lnTo>
                    <a:pt x="283" y="151"/>
                  </a:lnTo>
                  <a:lnTo>
                    <a:pt x="296" y="155"/>
                  </a:lnTo>
                  <a:lnTo>
                    <a:pt x="313" y="157"/>
                  </a:lnTo>
                  <a:lnTo>
                    <a:pt x="332" y="157"/>
                  </a:lnTo>
                  <a:lnTo>
                    <a:pt x="348" y="161"/>
                  </a:lnTo>
                  <a:lnTo>
                    <a:pt x="355" y="167"/>
                  </a:lnTo>
                  <a:lnTo>
                    <a:pt x="356" y="171"/>
                  </a:lnTo>
                  <a:lnTo>
                    <a:pt x="363" y="179"/>
                  </a:lnTo>
                  <a:lnTo>
                    <a:pt x="372" y="183"/>
                  </a:lnTo>
                  <a:lnTo>
                    <a:pt x="410" y="193"/>
                  </a:lnTo>
                  <a:lnTo>
                    <a:pt x="426" y="208"/>
                  </a:lnTo>
                  <a:lnTo>
                    <a:pt x="431" y="211"/>
                  </a:lnTo>
                  <a:lnTo>
                    <a:pt x="441" y="211"/>
                  </a:lnTo>
                  <a:lnTo>
                    <a:pt x="450" y="209"/>
                  </a:lnTo>
                  <a:lnTo>
                    <a:pt x="455" y="209"/>
                  </a:lnTo>
                  <a:lnTo>
                    <a:pt x="468" y="211"/>
                  </a:lnTo>
                  <a:lnTo>
                    <a:pt x="487" y="222"/>
                  </a:lnTo>
                  <a:lnTo>
                    <a:pt x="493" y="227"/>
                  </a:lnTo>
                  <a:lnTo>
                    <a:pt x="501" y="238"/>
                  </a:lnTo>
                  <a:lnTo>
                    <a:pt x="506" y="253"/>
                  </a:lnTo>
                  <a:lnTo>
                    <a:pt x="507" y="268"/>
                  </a:lnTo>
                  <a:lnTo>
                    <a:pt x="511" y="276"/>
                  </a:lnTo>
                  <a:lnTo>
                    <a:pt x="514" y="281"/>
                  </a:lnTo>
                  <a:lnTo>
                    <a:pt x="514" y="290"/>
                  </a:lnTo>
                  <a:lnTo>
                    <a:pt x="512" y="307"/>
                  </a:lnTo>
                  <a:lnTo>
                    <a:pt x="503" y="308"/>
                  </a:lnTo>
                  <a:lnTo>
                    <a:pt x="503" y="312"/>
                  </a:lnTo>
                  <a:lnTo>
                    <a:pt x="504" y="317"/>
                  </a:lnTo>
                  <a:lnTo>
                    <a:pt x="511" y="334"/>
                  </a:lnTo>
                  <a:lnTo>
                    <a:pt x="518" y="356"/>
                  </a:lnTo>
                  <a:lnTo>
                    <a:pt x="524" y="369"/>
                  </a:lnTo>
                  <a:lnTo>
                    <a:pt x="539" y="369"/>
                  </a:lnTo>
                  <a:lnTo>
                    <a:pt x="550" y="370"/>
                  </a:lnTo>
                  <a:lnTo>
                    <a:pt x="563" y="370"/>
                  </a:lnTo>
                  <a:lnTo>
                    <a:pt x="568" y="372"/>
                  </a:lnTo>
                  <a:lnTo>
                    <a:pt x="611" y="372"/>
                  </a:lnTo>
                  <a:lnTo>
                    <a:pt x="616" y="373"/>
                  </a:lnTo>
                  <a:lnTo>
                    <a:pt x="619" y="376"/>
                  </a:lnTo>
                  <a:lnTo>
                    <a:pt x="620" y="381"/>
                  </a:lnTo>
                  <a:lnTo>
                    <a:pt x="619" y="391"/>
                  </a:lnTo>
                  <a:lnTo>
                    <a:pt x="616" y="399"/>
                  </a:lnTo>
                  <a:lnTo>
                    <a:pt x="616" y="405"/>
                  </a:lnTo>
                  <a:lnTo>
                    <a:pt x="620" y="425"/>
                  </a:lnTo>
                  <a:lnTo>
                    <a:pt x="638" y="431"/>
                  </a:lnTo>
                  <a:lnTo>
                    <a:pt x="641" y="434"/>
                  </a:lnTo>
                  <a:lnTo>
                    <a:pt x="644" y="448"/>
                  </a:lnTo>
                  <a:lnTo>
                    <a:pt x="656" y="467"/>
                  </a:lnTo>
                  <a:lnTo>
                    <a:pt x="658" y="477"/>
                  </a:lnTo>
                  <a:lnTo>
                    <a:pt x="658" y="500"/>
                  </a:lnTo>
                  <a:lnTo>
                    <a:pt x="657" y="529"/>
                  </a:lnTo>
                  <a:lnTo>
                    <a:pt x="656" y="533"/>
                  </a:lnTo>
                  <a:lnTo>
                    <a:pt x="649" y="544"/>
                  </a:lnTo>
                  <a:lnTo>
                    <a:pt x="644" y="555"/>
                  </a:lnTo>
                  <a:lnTo>
                    <a:pt x="644" y="561"/>
                  </a:lnTo>
                  <a:lnTo>
                    <a:pt x="644" y="569"/>
                  </a:lnTo>
                  <a:lnTo>
                    <a:pt x="646" y="574"/>
                  </a:lnTo>
                  <a:lnTo>
                    <a:pt x="647" y="586"/>
                  </a:lnTo>
                  <a:lnTo>
                    <a:pt x="646" y="587"/>
                  </a:lnTo>
                  <a:lnTo>
                    <a:pt x="638" y="590"/>
                  </a:lnTo>
                  <a:lnTo>
                    <a:pt x="637" y="591"/>
                  </a:lnTo>
                  <a:lnTo>
                    <a:pt x="631" y="585"/>
                  </a:lnTo>
                  <a:lnTo>
                    <a:pt x="630" y="581"/>
                  </a:lnTo>
                  <a:lnTo>
                    <a:pt x="615" y="560"/>
                  </a:lnTo>
                  <a:lnTo>
                    <a:pt x="605" y="552"/>
                  </a:lnTo>
                  <a:lnTo>
                    <a:pt x="595" y="544"/>
                  </a:lnTo>
                  <a:lnTo>
                    <a:pt x="582" y="541"/>
                  </a:lnTo>
                  <a:lnTo>
                    <a:pt x="539" y="541"/>
                  </a:lnTo>
                  <a:lnTo>
                    <a:pt x="535" y="541"/>
                  </a:lnTo>
                  <a:lnTo>
                    <a:pt x="504" y="549"/>
                  </a:lnTo>
                  <a:lnTo>
                    <a:pt x="501" y="549"/>
                  </a:lnTo>
                  <a:lnTo>
                    <a:pt x="447" y="566"/>
                  </a:lnTo>
                  <a:lnTo>
                    <a:pt x="428" y="570"/>
                  </a:lnTo>
                  <a:lnTo>
                    <a:pt x="426" y="576"/>
                  </a:lnTo>
                  <a:lnTo>
                    <a:pt x="423" y="591"/>
                  </a:lnTo>
                  <a:lnTo>
                    <a:pt x="412" y="607"/>
                  </a:lnTo>
                  <a:lnTo>
                    <a:pt x="401" y="625"/>
                  </a:lnTo>
                  <a:lnTo>
                    <a:pt x="401" y="628"/>
                  </a:lnTo>
                  <a:lnTo>
                    <a:pt x="401" y="654"/>
                  </a:lnTo>
                  <a:lnTo>
                    <a:pt x="402" y="658"/>
                  </a:lnTo>
                  <a:lnTo>
                    <a:pt x="402" y="665"/>
                  </a:lnTo>
                  <a:lnTo>
                    <a:pt x="391" y="705"/>
                  </a:lnTo>
                  <a:lnTo>
                    <a:pt x="383" y="720"/>
                  </a:lnTo>
                  <a:lnTo>
                    <a:pt x="375" y="716"/>
                  </a:lnTo>
                  <a:lnTo>
                    <a:pt x="369" y="711"/>
                  </a:lnTo>
                  <a:lnTo>
                    <a:pt x="362" y="706"/>
                  </a:lnTo>
                  <a:lnTo>
                    <a:pt x="359" y="705"/>
                  </a:lnTo>
                  <a:lnTo>
                    <a:pt x="351" y="704"/>
                  </a:lnTo>
                  <a:lnTo>
                    <a:pt x="334" y="704"/>
                  </a:lnTo>
                  <a:lnTo>
                    <a:pt x="315" y="701"/>
                  </a:lnTo>
                  <a:lnTo>
                    <a:pt x="307" y="701"/>
                  </a:lnTo>
                  <a:lnTo>
                    <a:pt x="304" y="705"/>
                  </a:lnTo>
                  <a:lnTo>
                    <a:pt x="300" y="724"/>
                  </a:lnTo>
                  <a:lnTo>
                    <a:pt x="297" y="735"/>
                  </a:lnTo>
                  <a:lnTo>
                    <a:pt x="296" y="741"/>
                  </a:lnTo>
                  <a:lnTo>
                    <a:pt x="293" y="741"/>
                  </a:lnTo>
                  <a:lnTo>
                    <a:pt x="282" y="730"/>
                  </a:lnTo>
                  <a:lnTo>
                    <a:pt x="281" y="726"/>
                  </a:lnTo>
                  <a:lnTo>
                    <a:pt x="278" y="725"/>
                  </a:lnTo>
                  <a:lnTo>
                    <a:pt x="275" y="719"/>
                  </a:lnTo>
                  <a:lnTo>
                    <a:pt x="271" y="715"/>
                  </a:lnTo>
                  <a:lnTo>
                    <a:pt x="250" y="710"/>
                  </a:lnTo>
                  <a:lnTo>
                    <a:pt x="245" y="710"/>
                  </a:lnTo>
                  <a:lnTo>
                    <a:pt x="237" y="708"/>
                  </a:lnTo>
                  <a:lnTo>
                    <a:pt x="211" y="708"/>
                  </a:lnTo>
                  <a:lnTo>
                    <a:pt x="202" y="695"/>
                  </a:lnTo>
                  <a:lnTo>
                    <a:pt x="196" y="689"/>
                  </a:lnTo>
                  <a:lnTo>
                    <a:pt x="192" y="689"/>
                  </a:lnTo>
                  <a:lnTo>
                    <a:pt x="189" y="690"/>
                  </a:lnTo>
                  <a:lnTo>
                    <a:pt x="176" y="708"/>
                  </a:lnTo>
                  <a:lnTo>
                    <a:pt x="165" y="716"/>
                  </a:lnTo>
                  <a:lnTo>
                    <a:pt x="157" y="725"/>
                  </a:lnTo>
                  <a:lnTo>
                    <a:pt x="151" y="733"/>
                  </a:lnTo>
                  <a:lnTo>
                    <a:pt x="149" y="737"/>
                  </a:lnTo>
                  <a:lnTo>
                    <a:pt x="143" y="747"/>
                  </a:lnTo>
                  <a:lnTo>
                    <a:pt x="138" y="752"/>
                  </a:lnTo>
                  <a:lnTo>
                    <a:pt x="136" y="752"/>
                  </a:lnTo>
                  <a:lnTo>
                    <a:pt x="126" y="752"/>
                  </a:lnTo>
                  <a:lnTo>
                    <a:pt x="120" y="754"/>
                  </a:lnTo>
                  <a:lnTo>
                    <a:pt x="108" y="754"/>
                  </a:lnTo>
                  <a:lnTo>
                    <a:pt x="101" y="754"/>
                  </a:lnTo>
                  <a:lnTo>
                    <a:pt x="94" y="751"/>
                  </a:lnTo>
                  <a:lnTo>
                    <a:pt x="94" y="749"/>
                  </a:lnTo>
                  <a:lnTo>
                    <a:pt x="90" y="737"/>
                  </a:lnTo>
                  <a:lnTo>
                    <a:pt x="90" y="733"/>
                  </a:lnTo>
                  <a:lnTo>
                    <a:pt x="86" y="711"/>
                  </a:lnTo>
                  <a:lnTo>
                    <a:pt x="86" y="693"/>
                  </a:lnTo>
                  <a:lnTo>
                    <a:pt x="83" y="671"/>
                  </a:lnTo>
                  <a:lnTo>
                    <a:pt x="77" y="661"/>
                  </a:lnTo>
                  <a:lnTo>
                    <a:pt x="77" y="652"/>
                  </a:lnTo>
                  <a:lnTo>
                    <a:pt x="74" y="639"/>
                  </a:lnTo>
                  <a:lnTo>
                    <a:pt x="73" y="635"/>
                  </a:lnTo>
                  <a:lnTo>
                    <a:pt x="66" y="628"/>
                  </a:lnTo>
                  <a:lnTo>
                    <a:pt x="61" y="626"/>
                  </a:lnTo>
                  <a:lnTo>
                    <a:pt x="58" y="623"/>
                  </a:lnTo>
                  <a:lnTo>
                    <a:pt x="58" y="615"/>
                  </a:lnTo>
                  <a:lnTo>
                    <a:pt x="58" y="607"/>
                  </a:lnTo>
                  <a:lnTo>
                    <a:pt x="55" y="602"/>
                  </a:lnTo>
                  <a:lnTo>
                    <a:pt x="47" y="598"/>
                  </a:lnTo>
                  <a:lnTo>
                    <a:pt x="47" y="592"/>
                  </a:lnTo>
                  <a:lnTo>
                    <a:pt x="50" y="580"/>
                  </a:lnTo>
                  <a:lnTo>
                    <a:pt x="51" y="579"/>
                  </a:lnTo>
                  <a:lnTo>
                    <a:pt x="58" y="575"/>
                  </a:lnTo>
                  <a:lnTo>
                    <a:pt x="61" y="574"/>
                  </a:lnTo>
                  <a:lnTo>
                    <a:pt x="61" y="570"/>
                  </a:lnTo>
                  <a:lnTo>
                    <a:pt x="57" y="564"/>
                  </a:lnTo>
                  <a:lnTo>
                    <a:pt x="58" y="558"/>
                  </a:lnTo>
                  <a:lnTo>
                    <a:pt x="62" y="553"/>
                  </a:lnTo>
                  <a:lnTo>
                    <a:pt x="61" y="543"/>
                  </a:lnTo>
                  <a:lnTo>
                    <a:pt x="54" y="536"/>
                  </a:lnTo>
                  <a:lnTo>
                    <a:pt x="41" y="526"/>
                  </a:lnTo>
                  <a:lnTo>
                    <a:pt x="36" y="521"/>
                  </a:lnTo>
                  <a:lnTo>
                    <a:pt x="33" y="512"/>
                  </a:lnTo>
                  <a:lnTo>
                    <a:pt x="29" y="480"/>
                  </a:lnTo>
                  <a:lnTo>
                    <a:pt x="29" y="470"/>
                  </a:lnTo>
                  <a:lnTo>
                    <a:pt x="22" y="461"/>
                  </a:lnTo>
                  <a:lnTo>
                    <a:pt x="18" y="457"/>
                  </a:lnTo>
                  <a:lnTo>
                    <a:pt x="7" y="443"/>
                  </a:lnTo>
                  <a:lnTo>
                    <a:pt x="4" y="443"/>
                  </a:lnTo>
                  <a:lnTo>
                    <a:pt x="2" y="439"/>
                  </a:lnTo>
                  <a:lnTo>
                    <a:pt x="0" y="437"/>
                  </a:lnTo>
                  <a:lnTo>
                    <a:pt x="1" y="431"/>
                  </a:lnTo>
                  <a:lnTo>
                    <a:pt x="12" y="412"/>
                  </a:lnTo>
                  <a:lnTo>
                    <a:pt x="23" y="400"/>
                  </a:lnTo>
                  <a:lnTo>
                    <a:pt x="35" y="383"/>
                  </a:lnTo>
                  <a:lnTo>
                    <a:pt x="36" y="373"/>
                  </a:lnTo>
                  <a:lnTo>
                    <a:pt x="35" y="370"/>
                  </a:lnTo>
                  <a:lnTo>
                    <a:pt x="29" y="365"/>
                  </a:lnTo>
                  <a:lnTo>
                    <a:pt x="24" y="362"/>
                  </a:lnTo>
                  <a:lnTo>
                    <a:pt x="20" y="357"/>
                  </a:lnTo>
                  <a:lnTo>
                    <a:pt x="18" y="356"/>
                  </a:lnTo>
                  <a:lnTo>
                    <a:pt x="17" y="350"/>
                  </a:lnTo>
                  <a:lnTo>
                    <a:pt x="15" y="342"/>
                  </a:lnTo>
                  <a:lnTo>
                    <a:pt x="17" y="328"/>
                  </a:lnTo>
                  <a:lnTo>
                    <a:pt x="22" y="319"/>
                  </a:lnTo>
                  <a:lnTo>
                    <a:pt x="27" y="316"/>
                  </a:lnTo>
                  <a:lnTo>
                    <a:pt x="29" y="308"/>
                  </a:lnTo>
                  <a:lnTo>
                    <a:pt x="29" y="303"/>
                  </a:lnTo>
                  <a:lnTo>
                    <a:pt x="27" y="297"/>
                  </a:lnTo>
                  <a:lnTo>
                    <a:pt x="18" y="286"/>
                  </a:lnTo>
                  <a:lnTo>
                    <a:pt x="18" y="283"/>
                  </a:lnTo>
                  <a:lnTo>
                    <a:pt x="22" y="276"/>
                  </a:lnTo>
                  <a:lnTo>
                    <a:pt x="35" y="270"/>
                  </a:lnTo>
                  <a:lnTo>
                    <a:pt x="36" y="268"/>
                  </a:lnTo>
                  <a:lnTo>
                    <a:pt x="36" y="249"/>
                  </a:lnTo>
                  <a:lnTo>
                    <a:pt x="33" y="231"/>
                  </a:lnTo>
                  <a:lnTo>
                    <a:pt x="33" y="220"/>
                  </a:lnTo>
                  <a:lnTo>
                    <a:pt x="35" y="201"/>
                  </a:lnTo>
                  <a:lnTo>
                    <a:pt x="35" y="177"/>
                  </a:lnTo>
                  <a:lnTo>
                    <a:pt x="40" y="166"/>
                  </a:lnTo>
                  <a:lnTo>
                    <a:pt x="47" y="157"/>
                  </a:lnTo>
                  <a:lnTo>
                    <a:pt x="50" y="155"/>
                  </a:lnTo>
                  <a:lnTo>
                    <a:pt x="50" y="152"/>
                  </a:lnTo>
                  <a:lnTo>
                    <a:pt x="35" y="129"/>
                  </a:lnTo>
                  <a:lnTo>
                    <a:pt x="1" y="7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27" name="Freeform 247">
              <a:extLst>
                <a:ext uri="{FF2B5EF4-FFF2-40B4-BE49-F238E27FC236}">
                  <a16:creationId xmlns:a16="http://schemas.microsoft.com/office/drawing/2014/main" id="{C83E8C89-7498-8370-9707-44C205C3466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4058472" y="5319544"/>
              <a:ext cx="156696" cy="179858"/>
            </a:xfrm>
            <a:custGeom>
              <a:avLst/>
              <a:gdLst>
                <a:gd name="T0" fmla="*/ 0 w 292"/>
                <a:gd name="T1" fmla="*/ 0 h 314"/>
                <a:gd name="T2" fmla="*/ 0 w 292"/>
                <a:gd name="T3" fmla="*/ 0 h 314"/>
                <a:gd name="T4" fmla="*/ 0 w 292"/>
                <a:gd name="T5" fmla="*/ 0 h 314"/>
                <a:gd name="T6" fmla="*/ 0 w 292"/>
                <a:gd name="T7" fmla="*/ 0 h 314"/>
                <a:gd name="T8" fmla="*/ 0 w 292"/>
                <a:gd name="T9" fmla="*/ 0 h 314"/>
                <a:gd name="T10" fmla="*/ 0 w 292"/>
                <a:gd name="T11" fmla="*/ 0 h 314"/>
                <a:gd name="T12" fmla="*/ 0 w 292"/>
                <a:gd name="T13" fmla="*/ 0 h 314"/>
                <a:gd name="T14" fmla="*/ 0 w 292"/>
                <a:gd name="T15" fmla="*/ 2147483647 h 314"/>
                <a:gd name="T16" fmla="*/ 0 w 292"/>
                <a:gd name="T17" fmla="*/ 0 h 314"/>
                <a:gd name="T18" fmla="*/ 0 w 292"/>
                <a:gd name="T19" fmla="*/ 0 h 314"/>
                <a:gd name="T20" fmla="*/ 0 w 292"/>
                <a:gd name="T21" fmla="*/ 0 h 314"/>
                <a:gd name="T22" fmla="*/ 0 w 292"/>
                <a:gd name="T23" fmla="*/ 0 h 314"/>
                <a:gd name="T24" fmla="*/ 0 w 292"/>
                <a:gd name="T25" fmla="*/ 0 h 314"/>
                <a:gd name="T26" fmla="*/ 0 w 292"/>
                <a:gd name="T27" fmla="*/ 0 h 314"/>
                <a:gd name="T28" fmla="*/ 0 w 292"/>
                <a:gd name="T29" fmla="*/ 0 h 314"/>
                <a:gd name="T30" fmla="*/ 0 w 292"/>
                <a:gd name="T31" fmla="*/ 0 h 314"/>
                <a:gd name="T32" fmla="*/ 0 w 292"/>
                <a:gd name="T33" fmla="*/ 0 h 314"/>
                <a:gd name="T34" fmla="*/ 0 w 292"/>
                <a:gd name="T35" fmla="*/ 0 h 314"/>
                <a:gd name="T36" fmla="*/ 0 w 292"/>
                <a:gd name="T37" fmla="*/ 0 h 314"/>
                <a:gd name="T38" fmla="*/ 0 w 292"/>
                <a:gd name="T39" fmla="*/ 0 h 314"/>
                <a:gd name="T40" fmla="*/ 0 w 292"/>
                <a:gd name="T41" fmla="*/ 0 h 314"/>
                <a:gd name="T42" fmla="*/ 0 w 292"/>
                <a:gd name="T43" fmla="*/ 0 h 314"/>
                <a:gd name="T44" fmla="*/ 0 w 292"/>
                <a:gd name="T45" fmla="*/ 0 h 314"/>
                <a:gd name="T46" fmla="*/ 0 w 292"/>
                <a:gd name="T47" fmla="*/ 0 h 314"/>
                <a:gd name="T48" fmla="*/ 0 w 292"/>
                <a:gd name="T49" fmla="*/ 0 h 314"/>
                <a:gd name="T50" fmla="*/ 0 w 292"/>
                <a:gd name="T51" fmla="*/ 0 h 314"/>
                <a:gd name="T52" fmla="*/ 0 w 292"/>
                <a:gd name="T53" fmla="*/ 0 h 314"/>
                <a:gd name="T54" fmla="*/ 0 w 292"/>
                <a:gd name="T55" fmla="*/ 0 h 314"/>
                <a:gd name="T56" fmla="*/ 0 w 292"/>
                <a:gd name="T57" fmla="*/ 0 h 314"/>
                <a:gd name="T58" fmla="*/ 0 w 292"/>
                <a:gd name="T59" fmla="*/ 0 h 314"/>
                <a:gd name="T60" fmla="*/ 0 w 292"/>
                <a:gd name="T61" fmla="*/ 0 h 314"/>
                <a:gd name="T62" fmla="*/ 0 w 292"/>
                <a:gd name="T63" fmla="*/ 0 h 314"/>
                <a:gd name="T64" fmla="*/ 0 w 292"/>
                <a:gd name="T65" fmla="*/ 0 h 314"/>
                <a:gd name="T66" fmla="*/ 0 w 292"/>
                <a:gd name="T67" fmla="*/ 0 h 314"/>
                <a:gd name="T68" fmla="*/ 0 w 292"/>
                <a:gd name="T69" fmla="*/ 0 h 314"/>
                <a:gd name="T70" fmla="*/ 0 w 292"/>
                <a:gd name="T71" fmla="*/ 0 h 314"/>
                <a:gd name="T72" fmla="*/ 0 w 292"/>
                <a:gd name="T73" fmla="*/ 0 h 314"/>
                <a:gd name="T74" fmla="*/ 0 w 292"/>
                <a:gd name="T75" fmla="*/ 0 h 314"/>
                <a:gd name="T76" fmla="*/ 0 w 292"/>
                <a:gd name="T77" fmla="*/ 0 h 314"/>
                <a:gd name="T78" fmla="*/ 0 w 292"/>
                <a:gd name="T79" fmla="*/ 0 h 314"/>
                <a:gd name="T80" fmla="*/ 0 w 292"/>
                <a:gd name="T81" fmla="*/ 0 h 314"/>
                <a:gd name="T82" fmla="*/ 0 w 292"/>
                <a:gd name="T83" fmla="*/ 0 h 314"/>
                <a:gd name="T84" fmla="*/ 0 w 292"/>
                <a:gd name="T85" fmla="*/ 0 h 31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92"/>
                <a:gd name="T130" fmla="*/ 0 h 314"/>
                <a:gd name="T131" fmla="*/ 292 w 292"/>
                <a:gd name="T132" fmla="*/ 314 h 31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92" h="314">
                  <a:moveTo>
                    <a:pt x="0" y="252"/>
                  </a:moveTo>
                  <a:lnTo>
                    <a:pt x="2" y="252"/>
                  </a:lnTo>
                  <a:lnTo>
                    <a:pt x="9" y="253"/>
                  </a:lnTo>
                  <a:lnTo>
                    <a:pt x="26" y="272"/>
                  </a:lnTo>
                  <a:lnTo>
                    <a:pt x="29" y="281"/>
                  </a:lnTo>
                  <a:lnTo>
                    <a:pt x="56" y="283"/>
                  </a:lnTo>
                  <a:lnTo>
                    <a:pt x="66" y="283"/>
                  </a:lnTo>
                  <a:lnTo>
                    <a:pt x="91" y="297"/>
                  </a:lnTo>
                  <a:lnTo>
                    <a:pt x="104" y="302"/>
                  </a:lnTo>
                  <a:lnTo>
                    <a:pt x="115" y="304"/>
                  </a:lnTo>
                  <a:lnTo>
                    <a:pt x="123" y="309"/>
                  </a:lnTo>
                  <a:lnTo>
                    <a:pt x="129" y="310"/>
                  </a:lnTo>
                  <a:lnTo>
                    <a:pt x="149" y="307"/>
                  </a:lnTo>
                  <a:lnTo>
                    <a:pt x="162" y="307"/>
                  </a:lnTo>
                  <a:lnTo>
                    <a:pt x="183" y="310"/>
                  </a:lnTo>
                  <a:lnTo>
                    <a:pt x="197" y="314"/>
                  </a:lnTo>
                  <a:lnTo>
                    <a:pt x="212" y="309"/>
                  </a:lnTo>
                  <a:lnTo>
                    <a:pt x="225" y="303"/>
                  </a:lnTo>
                  <a:lnTo>
                    <a:pt x="236" y="295"/>
                  </a:lnTo>
                  <a:lnTo>
                    <a:pt x="246" y="283"/>
                  </a:lnTo>
                  <a:lnTo>
                    <a:pt x="249" y="281"/>
                  </a:lnTo>
                  <a:lnTo>
                    <a:pt x="253" y="272"/>
                  </a:lnTo>
                  <a:lnTo>
                    <a:pt x="260" y="265"/>
                  </a:lnTo>
                  <a:lnTo>
                    <a:pt x="268" y="253"/>
                  </a:lnTo>
                  <a:lnTo>
                    <a:pt x="271" y="240"/>
                  </a:lnTo>
                  <a:lnTo>
                    <a:pt x="276" y="236"/>
                  </a:lnTo>
                  <a:lnTo>
                    <a:pt x="273" y="231"/>
                  </a:lnTo>
                  <a:lnTo>
                    <a:pt x="271" y="229"/>
                  </a:lnTo>
                  <a:lnTo>
                    <a:pt x="274" y="215"/>
                  </a:lnTo>
                  <a:lnTo>
                    <a:pt x="274" y="199"/>
                  </a:lnTo>
                  <a:lnTo>
                    <a:pt x="276" y="191"/>
                  </a:lnTo>
                  <a:lnTo>
                    <a:pt x="281" y="184"/>
                  </a:lnTo>
                  <a:lnTo>
                    <a:pt x="284" y="183"/>
                  </a:lnTo>
                  <a:lnTo>
                    <a:pt x="286" y="175"/>
                  </a:lnTo>
                  <a:lnTo>
                    <a:pt x="291" y="174"/>
                  </a:lnTo>
                  <a:lnTo>
                    <a:pt x="292" y="172"/>
                  </a:lnTo>
                  <a:lnTo>
                    <a:pt x="287" y="163"/>
                  </a:lnTo>
                  <a:lnTo>
                    <a:pt x="267" y="148"/>
                  </a:lnTo>
                  <a:lnTo>
                    <a:pt x="264" y="145"/>
                  </a:lnTo>
                  <a:lnTo>
                    <a:pt x="260" y="126"/>
                  </a:lnTo>
                  <a:lnTo>
                    <a:pt x="257" y="120"/>
                  </a:lnTo>
                  <a:lnTo>
                    <a:pt x="242" y="113"/>
                  </a:lnTo>
                  <a:lnTo>
                    <a:pt x="237" y="112"/>
                  </a:lnTo>
                  <a:lnTo>
                    <a:pt x="228" y="108"/>
                  </a:lnTo>
                  <a:lnTo>
                    <a:pt x="222" y="102"/>
                  </a:lnTo>
                  <a:lnTo>
                    <a:pt x="215" y="91"/>
                  </a:lnTo>
                  <a:lnTo>
                    <a:pt x="212" y="87"/>
                  </a:lnTo>
                  <a:lnTo>
                    <a:pt x="200" y="86"/>
                  </a:lnTo>
                  <a:lnTo>
                    <a:pt x="193" y="77"/>
                  </a:lnTo>
                  <a:lnTo>
                    <a:pt x="185" y="77"/>
                  </a:lnTo>
                  <a:lnTo>
                    <a:pt x="181" y="76"/>
                  </a:lnTo>
                  <a:lnTo>
                    <a:pt x="178" y="73"/>
                  </a:lnTo>
                  <a:lnTo>
                    <a:pt x="171" y="65"/>
                  </a:lnTo>
                  <a:lnTo>
                    <a:pt x="166" y="55"/>
                  </a:lnTo>
                  <a:lnTo>
                    <a:pt x="165" y="51"/>
                  </a:lnTo>
                  <a:lnTo>
                    <a:pt x="160" y="48"/>
                  </a:lnTo>
                  <a:lnTo>
                    <a:pt x="146" y="59"/>
                  </a:lnTo>
                  <a:lnTo>
                    <a:pt x="142" y="60"/>
                  </a:lnTo>
                  <a:lnTo>
                    <a:pt x="134" y="59"/>
                  </a:lnTo>
                  <a:lnTo>
                    <a:pt x="133" y="50"/>
                  </a:lnTo>
                  <a:lnTo>
                    <a:pt x="128" y="35"/>
                  </a:lnTo>
                  <a:lnTo>
                    <a:pt x="119" y="27"/>
                  </a:lnTo>
                  <a:lnTo>
                    <a:pt x="108" y="17"/>
                  </a:lnTo>
                  <a:lnTo>
                    <a:pt x="103" y="12"/>
                  </a:lnTo>
                  <a:lnTo>
                    <a:pt x="91" y="2"/>
                  </a:lnTo>
                  <a:lnTo>
                    <a:pt x="85" y="0"/>
                  </a:lnTo>
                  <a:lnTo>
                    <a:pt x="80" y="0"/>
                  </a:lnTo>
                  <a:lnTo>
                    <a:pt x="75" y="2"/>
                  </a:lnTo>
                  <a:lnTo>
                    <a:pt x="71" y="8"/>
                  </a:lnTo>
                  <a:lnTo>
                    <a:pt x="64" y="12"/>
                  </a:lnTo>
                  <a:lnTo>
                    <a:pt x="45" y="10"/>
                  </a:lnTo>
                  <a:lnTo>
                    <a:pt x="44" y="16"/>
                  </a:lnTo>
                  <a:lnTo>
                    <a:pt x="34" y="24"/>
                  </a:lnTo>
                  <a:lnTo>
                    <a:pt x="33" y="27"/>
                  </a:lnTo>
                  <a:lnTo>
                    <a:pt x="34" y="50"/>
                  </a:lnTo>
                  <a:lnTo>
                    <a:pt x="31" y="72"/>
                  </a:lnTo>
                  <a:lnTo>
                    <a:pt x="31" y="87"/>
                  </a:lnTo>
                  <a:lnTo>
                    <a:pt x="29" y="97"/>
                  </a:lnTo>
                  <a:lnTo>
                    <a:pt x="20" y="121"/>
                  </a:lnTo>
                  <a:lnTo>
                    <a:pt x="20" y="172"/>
                  </a:lnTo>
                  <a:lnTo>
                    <a:pt x="18" y="182"/>
                  </a:lnTo>
                  <a:lnTo>
                    <a:pt x="16" y="188"/>
                  </a:lnTo>
                  <a:lnTo>
                    <a:pt x="9" y="201"/>
                  </a:lnTo>
                  <a:lnTo>
                    <a:pt x="5" y="210"/>
                  </a:lnTo>
                  <a:lnTo>
                    <a:pt x="1" y="236"/>
                  </a:lnTo>
                  <a:lnTo>
                    <a:pt x="0" y="25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28" name="Freeform 248">
              <a:extLst>
                <a:ext uri="{FF2B5EF4-FFF2-40B4-BE49-F238E27FC236}">
                  <a16:creationId xmlns:a16="http://schemas.microsoft.com/office/drawing/2014/main" id="{093D584F-322C-BE2A-A081-CCBCDB027F3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977885" y="4083403"/>
              <a:ext cx="141773" cy="217964"/>
            </a:xfrm>
            <a:custGeom>
              <a:avLst/>
              <a:gdLst>
                <a:gd name="T0" fmla="*/ 0 w 265"/>
                <a:gd name="T1" fmla="*/ 0 h 386"/>
                <a:gd name="T2" fmla="*/ 0 w 265"/>
                <a:gd name="T3" fmla="*/ 0 h 386"/>
                <a:gd name="T4" fmla="*/ 0 w 265"/>
                <a:gd name="T5" fmla="*/ 0 h 386"/>
                <a:gd name="T6" fmla="*/ 0 w 265"/>
                <a:gd name="T7" fmla="*/ 0 h 386"/>
                <a:gd name="T8" fmla="*/ 0 w 265"/>
                <a:gd name="T9" fmla="*/ 0 h 386"/>
                <a:gd name="T10" fmla="*/ 0 w 265"/>
                <a:gd name="T11" fmla="*/ 0 h 386"/>
                <a:gd name="T12" fmla="*/ 0 w 265"/>
                <a:gd name="T13" fmla="*/ 0 h 386"/>
                <a:gd name="T14" fmla="*/ 0 w 265"/>
                <a:gd name="T15" fmla="*/ 0 h 386"/>
                <a:gd name="T16" fmla="*/ 0 w 265"/>
                <a:gd name="T17" fmla="*/ 0 h 386"/>
                <a:gd name="T18" fmla="*/ 0 w 265"/>
                <a:gd name="T19" fmla="*/ 0 h 386"/>
                <a:gd name="T20" fmla="*/ 0 w 265"/>
                <a:gd name="T21" fmla="*/ 0 h 386"/>
                <a:gd name="T22" fmla="*/ 0 w 265"/>
                <a:gd name="T23" fmla="*/ 0 h 386"/>
                <a:gd name="T24" fmla="*/ 0 w 265"/>
                <a:gd name="T25" fmla="*/ 0 h 386"/>
                <a:gd name="T26" fmla="*/ 0 w 265"/>
                <a:gd name="T27" fmla="*/ 0 h 386"/>
                <a:gd name="T28" fmla="*/ 0 w 265"/>
                <a:gd name="T29" fmla="*/ 0 h 386"/>
                <a:gd name="T30" fmla="*/ 0 w 265"/>
                <a:gd name="T31" fmla="*/ 0 h 386"/>
                <a:gd name="T32" fmla="*/ 0 w 265"/>
                <a:gd name="T33" fmla="*/ 0 h 386"/>
                <a:gd name="T34" fmla="*/ 0 w 265"/>
                <a:gd name="T35" fmla="*/ 0 h 386"/>
                <a:gd name="T36" fmla="*/ 0 w 265"/>
                <a:gd name="T37" fmla="*/ 2147483647 h 386"/>
                <a:gd name="T38" fmla="*/ 0 w 265"/>
                <a:gd name="T39" fmla="*/ 2147483647 h 386"/>
                <a:gd name="T40" fmla="*/ 0 w 265"/>
                <a:gd name="T41" fmla="*/ 2147483647 h 386"/>
                <a:gd name="T42" fmla="*/ 0 w 265"/>
                <a:gd name="T43" fmla="*/ 2147483647 h 386"/>
                <a:gd name="T44" fmla="*/ 0 w 265"/>
                <a:gd name="T45" fmla="*/ 2147483647 h 386"/>
                <a:gd name="T46" fmla="*/ 0 w 265"/>
                <a:gd name="T47" fmla="*/ 2147483647 h 386"/>
                <a:gd name="T48" fmla="*/ 0 w 265"/>
                <a:gd name="T49" fmla="*/ 2147483647 h 386"/>
                <a:gd name="T50" fmla="*/ 0 w 265"/>
                <a:gd name="T51" fmla="*/ 2147483647 h 386"/>
                <a:gd name="T52" fmla="*/ 0 w 265"/>
                <a:gd name="T53" fmla="*/ 2147483647 h 386"/>
                <a:gd name="T54" fmla="*/ 0 w 265"/>
                <a:gd name="T55" fmla="*/ 2147483647 h 386"/>
                <a:gd name="T56" fmla="*/ 0 w 265"/>
                <a:gd name="T57" fmla="*/ 0 h 386"/>
                <a:gd name="T58" fmla="*/ 0 w 265"/>
                <a:gd name="T59" fmla="*/ 0 h 386"/>
                <a:gd name="T60" fmla="*/ 0 w 265"/>
                <a:gd name="T61" fmla="*/ 0 h 386"/>
                <a:gd name="T62" fmla="*/ 0 w 265"/>
                <a:gd name="T63" fmla="*/ 0 h 386"/>
                <a:gd name="T64" fmla="*/ 0 w 265"/>
                <a:gd name="T65" fmla="*/ 0 h 386"/>
                <a:gd name="T66" fmla="*/ 0 w 265"/>
                <a:gd name="T67" fmla="*/ 0 h 386"/>
                <a:gd name="T68" fmla="*/ 0 w 265"/>
                <a:gd name="T69" fmla="*/ 0 h 386"/>
                <a:gd name="T70" fmla="*/ 0 w 265"/>
                <a:gd name="T71" fmla="*/ 0 h 386"/>
                <a:gd name="T72" fmla="*/ 0 w 265"/>
                <a:gd name="T73" fmla="*/ 0 h 386"/>
                <a:gd name="T74" fmla="*/ 0 w 265"/>
                <a:gd name="T75" fmla="*/ 0 h 386"/>
                <a:gd name="T76" fmla="*/ 0 w 265"/>
                <a:gd name="T77" fmla="*/ 0 h 386"/>
                <a:gd name="T78" fmla="*/ 0 w 265"/>
                <a:gd name="T79" fmla="*/ 0 h 386"/>
                <a:gd name="T80" fmla="*/ 0 w 265"/>
                <a:gd name="T81" fmla="*/ 0 h 386"/>
                <a:gd name="T82" fmla="*/ 0 w 265"/>
                <a:gd name="T83" fmla="*/ 0 h 386"/>
                <a:gd name="T84" fmla="*/ 0 w 265"/>
                <a:gd name="T85" fmla="*/ 0 h 386"/>
                <a:gd name="T86" fmla="*/ 0 w 265"/>
                <a:gd name="T87" fmla="*/ 0 h 386"/>
                <a:gd name="T88" fmla="*/ 0 w 265"/>
                <a:gd name="T89" fmla="*/ 0 h 386"/>
                <a:gd name="T90" fmla="*/ 0 w 265"/>
                <a:gd name="T91" fmla="*/ 0 h 38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65"/>
                <a:gd name="T139" fmla="*/ 0 h 386"/>
                <a:gd name="T140" fmla="*/ 265 w 265"/>
                <a:gd name="T141" fmla="*/ 386 h 38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65" h="386">
                  <a:moveTo>
                    <a:pt x="81" y="2"/>
                  </a:moveTo>
                  <a:lnTo>
                    <a:pt x="87" y="3"/>
                  </a:lnTo>
                  <a:lnTo>
                    <a:pt x="89" y="0"/>
                  </a:lnTo>
                  <a:lnTo>
                    <a:pt x="94" y="0"/>
                  </a:lnTo>
                  <a:lnTo>
                    <a:pt x="108" y="10"/>
                  </a:lnTo>
                  <a:lnTo>
                    <a:pt x="141" y="41"/>
                  </a:lnTo>
                  <a:lnTo>
                    <a:pt x="150" y="53"/>
                  </a:lnTo>
                  <a:lnTo>
                    <a:pt x="151" y="59"/>
                  </a:lnTo>
                  <a:lnTo>
                    <a:pt x="152" y="83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72" y="84"/>
                  </a:lnTo>
                  <a:lnTo>
                    <a:pt x="179" y="85"/>
                  </a:lnTo>
                  <a:lnTo>
                    <a:pt x="183" y="88"/>
                  </a:lnTo>
                  <a:lnTo>
                    <a:pt x="195" y="94"/>
                  </a:lnTo>
                  <a:lnTo>
                    <a:pt x="197" y="96"/>
                  </a:lnTo>
                  <a:lnTo>
                    <a:pt x="202" y="104"/>
                  </a:lnTo>
                  <a:lnTo>
                    <a:pt x="211" y="112"/>
                  </a:lnTo>
                  <a:lnTo>
                    <a:pt x="222" y="120"/>
                  </a:lnTo>
                  <a:lnTo>
                    <a:pt x="228" y="136"/>
                  </a:lnTo>
                  <a:lnTo>
                    <a:pt x="232" y="139"/>
                  </a:lnTo>
                  <a:lnTo>
                    <a:pt x="231" y="142"/>
                  </a:lnTo>
                  <a:lnTo>
                    <a:pt x="224" y="148"/>
                  </a:lnTo>
                  <a:lnTo>
                    <a:pt x="217" y="159"/>
                  </a:lnTo>
                  <a:lnTo>
                    <a:pt x="216" y="163"/>
                  </a:lnTo>
                  <a:lnTo>
                    <a:pt x="218" y="165"/>
                  </a:lnTo>
                  <a:lnTo>
                    <a:pt x="220" y="165"/>
                  </a:lnTo>
                  <a:lnTo>
                    <a:pt x="220" y="172"/>
                  </a:lnTo>
                  <a:lnTo>
                    <a:pt x="213" y="179"/>
                  </a:lnTo>
                  <a:lnTo>
                    <a:pt x="212" y="182"/>
                  </a:lnTo>
                  <a:lnTo>
                    <a:pt x="205" y="183"/>
                  </a:lnTo>
                  <a:lnTo>
                    <a:pt x="196" y="183"/>
                  </a:lnTo>
                  <a:lnTo>
                    <a:pt x="189" y="186"/>
                  </a:lnTo>
                  <a:lnTo>
                    <a:pt x="185" y="188"/>
                  </a:lnTo>
                  <a:lnTo>
                    <a:pt x="184" y="191"/>
                  </a:lnTo>
                  <a:lnTo>
                    <a:pt x="183" y="193"/>
                  </a:lnTo>
                  <a:lnTo>
                    <a:pt x="181" y="208"/>
                  </a:lnTo>
                  <a:lnTo>
                    <a:pt x="178" y="217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80" y="240"/>
                  </a:lnTo>
                  <a:lnTo>
                    <a:pt x="189" y="255"/>
                  </a:lnTo>
                  <a:lnTo>
                    <a:pt x="191" y="256"/>
                  </a:lnTo>
                  <a:lnTo>
                    <a:pt x="200" y="263"/>
                  </a:lnTo>
                  <a:lnTo>
                    <a:pt x="200" y="268"/>
                  </a:lnTo>
                  <a:lnTo>
                    <a:pt x="204" y="272"/>
                  </a:lnTo>
                  <a:lnTo>
                    <a:pt x="205" y="273"/>
                  </a:lnTo>
                  <a:lnTo>
                    <a:pt x="217" y="273"/>
                  </a:lnTo>
                  <a:lnTo>
                    <a:pt x="220" y="276"/>
                  </a:lnTo>
                  <a:lnTo>
                    <a:pt x="221" y="284"/>
                  </a:lnTo>
                  <a:lnTo>
                    <a:pt x="226" y="289"/>
                  </a:lnTo>
                  <a:lnTo>
                    <a:pt x="226" y="299"/>
                  </a:lnTo>
                  <a:lnTo>
                    <a:pt x="232" y="305"/>
                  </a:lnTo>
                  <a:lnTo>
                    <a:pt x="233" y="311"/>
                  </a:lnTo>
                  <a:lnTo>
                    <a:pt x="239" y="321"/>
                  </a:lnTo>
                  <a:lnTo>
                    <a:pt x="253" y="338"/>
                  </a:lnTo>
                  <a:lnTo>
                    <a:pt x="263" y="347"/>
                  </a:lnTo>
                  <a:lnTo>
                    <a:pt x="265" y="347"/>
                  </a:lnTo>
                  <a:lnTo>
                    <a:pt x="265" y="349"/>
                  </a:lnTo>
                  <a:lnTo>
                    <a:pt x="254" y="350"/>
                  </a:lnTo>
                  <a:lnTo>
                    <a:pt x="240" y="352"/>
                  </a:lnTo>
                  <a:lnTo>
                    <a:pt x="234" y="349"/>
                  </a:lnTo>
                  <a:lnTo>
                    <a:pt x="233" y="348"/>
                  </a:lnTo>
                  <a:lnTo>
                    <a:pt x="229" y="347"/>
                  </a:lnTo>
                  <a:lnTo>
                    <a:pt x="224" y="347"/>
                  </a:lnTo>
                  <a:lnTo>
                    <a:pt x="213" y="353"/>
                  </a:lnTo>
                  <a:lnTo>
                    <a:pt x="205" y="363"/>
                  </a:lnTo>
                  <a:lnTo>
                    <a:pt x="191" y="363"/>
                  </a:lnTo>
                  <a:lnTo>
                    <a:pt x="183" y="366"/>
                  </a:lnTo>
                  <a:lnTo>
                    <a:pt x="178" y="371"/>
                  </a:lnTo>
                  <a:lnTo>
                    <a:pt x="167" y="371"/>
                  </a:lnTo>
                  <a:lnTo>
                    <a:pt x="158" y="374"/>
                  </a:lnTo>
                  <a:lnTo>
                    <a:pt x="152" y="384"/>
                  </a:lnTo>
                  <a:lnTo>
                    <a:pt x="147" y="386"/>
                  </a:lnTo>
                  <a:lnTo>
                    <a:pt x="134" y="386"/>
                  </a:lnTo>
                  <a:lnTo>
                    <a:pt x="124" y="384"/>
                  </a:lnTo>
                  <a:lnTo>
                    <a:pt x="108" y="374"/>
                  </a:lnTo>
                  <a:lnTo>
                    <a:pt x="102" y="369"/>
                  </a:lnTo>
                  <a:lnTo>
                    <a:pt x="98" y="363"/>
                  </a:lnTo>
                  <a:lnTo>
                    <a:pt x="95" y="362"/>
                  </a:lnTo>
                  <a:lnTo>
                    <a:pt x="91" y="357"/>
                  </a:lnTo>
                  <a:lnTo>
                    <a:pt x="89" y="354"/>
                  </a:lnTo>
                  <a:lnTo>
                    <a:pt x="91" y="341"/>
                  </a:lnTo>
                  <a:lnTo>
                    <a:pt x="89" y="332"/>
                  </a:lnTo>
                  <a:lnTo>
                    <a:pt x="78" y="322"/>
                  </a:lnTo>
                  <a:lnTo>
                    <a:pt x="77" y="319"/>
                  </a:lnTo>
                  <a:lnTo>
                    <a:pt x="77" y="288"/>
                  </a:lnTo>
                  <a:lnTo>
                    <a:pt x="83" y="274"/>
                  </a:lnTo>
                  <a:lnTo>
                    <a:pt x="86" y="267"/>
                  </a:lnTo>
                  <a:lnTo>
                    <a:pt x="86" y="257"/>
                  </a:lnTo>
                  <a:lnTo>
                    <a:pt x="95" y="244"/>
                  </a:lnTo>
                  <a:lnTo>
                    <a:pt x="97" y="241"/>
                  </a:lnTo>
                  <a:lnTo>
                    <a:pt x="95" y="234"/>
                  </a:lnTo>
                  <a:lnTo>
                    <a:pt x="91" y="228"/>
                  </a:lnTo>
                  <a:lnTo>
                    <a:pt x="91" y="213"/>
                  </a:lnTo>
                  <a:lnTo>
                    <a:pt x="79" y="209"/>
                  </a:lnTo>
                  <a:lnTo>
                    <a:pt x="77" y="208"/>
                  </a:lnTo>
                  <a:lnTo>
                    <a:pt x="68" y="207"/>
                  </a:lnTo>
                  <a:lnTo>
                    <a:pt x="72" y="193"/>
                  </a:lnTo>
                  <a:lnTo>
                    <a:pt x="72" y="186"/>
                  </a:lnTo>
                  <a:lnTo>
                    <a:pt x="72" y="180"/>
                  </a:lnTo>
                  <a:lnTo>
                    <a:pt x="67" y="171"/>
                  </a:lnTo>
                  <a:lnTo>
                    <a:pt x="59" y="171"/>
                  </a:lnTo>
                  <a:lnTo>
                    <a:pt x="46" y="175"/>
                  </a:lnTo>
                  <a:lnTo>
                    <a:pt x="37" y="174"/>
                  </a:lnTo>
                  <a:lnTo>
                    <a:pt x="37" y="171"/>
                  </a:lnTo>
                  <a:lnTo>
                    <a:pt x="33" y="169"/>
                  </a:lnTo>
                  <a:lnTo>
                    <a:pt x="27" y="163"/>
                  </a:lnTo>
                  <a:lnTo>
                    <a:pt x="23" y="155"/>
                  </a:lnTo>
                  <a:lnTo>
                    <a:pt x="12" y="144"/>
                  </a:lnTo>
                  <a:lnTo>
                    <a:pt x="0" y="128"/>
                  </a:lnTo>
                  <a:lnTo>
                    <a:pt x="0" y="126"/>
                  </a:lnTo>
                  <a:lnTo>
                    <a:pt x="0" y="122"/>
                  </a:lnTo>
                  <a:lnTo>
                    <a:pt x="1" y="121"/>
                  </a:lnTo>
                  <a:lnTo>
                    <a:pt x="7" y="112"/>
                  </a:lnTo>
                  <a:lnTo>
                    <a:pt x="11" y="106"/>
                  </a:lnTo>
                  <a:lnTo>
                    <a:pt x="11" y="91"/>
                  </a:lnTo>
                  <a:lnTo>
                    <a:pt x="12" y="89"/>
                  </a:lnTo>
                  <a:lnTo>
                    <a:pt x="29" y="83"/>
                  </a:lnTo>
                  <a:lnTo>
                    <a:pt x="40" y="75"/>
                  </a:lnTo>
                  <a:lnTo>
                    <a:pt x="45" y="69"/>
                  </a:lnTo>
                  <a:lnTo>
                    <a:pt x="40" y="64"/>
                  </a:lnTo>
                  <a:lnTo>
                    <a:pt x="38" y="64"/>
                  </a:lnTo>
                  <a:lnTo>
                    <a:pt x="32" y="66"/>
                  </a:lnTo>
                  <a:lnTo>
                    <a:pt x="27" y="64"/>
                  </a:lnTo>
                  <a:lnTo>
                    <a:pt x="24" y="52"/>
                  </a:lnTo>
                  <a:lnTo>
                    <a:pt x="24" y="43"/>
                  </a:lnTo>
                  <a:lnTo>
                    <a:pt x="27" y="37"/>
                  </a:lnTo>
                  <a:lnTo>
                    <a:pt x="29" y="35"/>
                  </a:lnTo>
                  <a:lnTo>
                    <a:pt x="40" y="32"/>
                  </a:lnTo>
                  <a:lnTo>
                    <a:pt x="43" y="30"/>
                  </a:lnTo>
                  <a:lnTo>
                    <a:pt x="46" y="26"/>
                  </a:lnTo>
                  <a:lnTo>
                    <a:pt x="62" y="19"/>
                  </a:lnTo>
                  <a:lnTo>
                    <a:pt x="66" y="16"/>
                  </a:lnTo>
                  <a:lnTo>
                    <a:pt x="72" y="13"/>
                  </a:lnTo>
                  <a:lnTo>
                    <a:pt x="77" y="13"/>
                  </a:lnTo>
                  <a:lnTo>
                    <a:pt x="81" y="10"/>
                  </a:lnTo>
                  <a:lnTo>
                    <a:pt x="81" y="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29" name="Freeform 249">
              <a:extLst>
                <a:ext uri="{FF2B5EF4-FFF2-40B4-BE49-F238E27FC236}">
                  <a16:creationId xmlns:a16="http://schemas.microsoft.com/office/drawing/2014/main" id="{53239C1A-4B1F-F648-B0F0-0E0095536B4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4179352" y="4164187"/>
              <a:ext cx="85063" cy="114316"/>
            </a:xfrm>
            <a:custGeom>
              <a:avLst/>
              <a:gdLst>
                <a:gd name="T0" fmla="*/ 0 w 157"/>
                <a:gd name="T1" fmla="*/ 0 h 200"/>
                <a:gd name="T2" fmla="*/ 0 w 157"/>
                <a:gd name="T3" fmla="*/ 0 h 200"/>
                <a:gd name="T4" fmla="*/ 0 w 157"/>
                <a:gd name="T5" fmla="*/ 0 h 200"/>
                <a:gd name="T6" fmla="*/ 0 w 157"/>
                <a:gd name="T7" fmla="*/ 0 h 200"/>
                <a:gd name="T8" fmla="*/ 0 w 157"/>
                <a:gd name="T9" fmla="*/ 0 h 200"/>
                <a:gd name="T10" fmla="*/ 0 w 157"/>
                <a:gd name="T11" fmla="*/ 0 h 200"/>
                <a:gd name="T12" fmla="*/ 0 w 157"/>
                <a:gd name="T13" fmla="*/ 0 h 200"/>
                <a:gd name="T14" fmla="*/ 0 w 157"/>
                <a:gd name="T15" fmla="*/ 0 h 200"/>
                <a:gd name="T16" fmla="*/ 0 w 157"/>
                <a:gd name="T17" fmla="*/ 0 h 200"/>
                <a:gd name="T18" fmla="*/ 0 w 157"/>
                <a:gd name="T19" fmla="*/ 0 h 200"/>
                <a:gd name="T20" fmla="*/ 0 w 157"/>
                <a:gd name="T21" fmla="*/ 0 h 200"/>
                <a:gd name="T22" fmla="*/ 0 w 157"/>
                <a:gd name="T23" fmla="*/ 0 h 200"/>
                <a:gd name="T24" fmla="*/ 0 w 157"/>
                <a:gd name="T25" fmla="*/ 0 h 200"/>
                <a:gd name="T26" fmla="*/ 0 w 157"/>
                <a:gd name="T27" fmla="*/ 0 h 200"/>
                <a:gd name="T28" fmla="*/ 0 w 157"/>
                <a:gd name="T29" fmla="*/ 0 h 200"/>
                <a:gd name="T30" fmla="*/ 0 w 157"/>
                <a:gd name="T31" fmla="*/ 0 h 200"/>
                <a:gd name="T32" fmla="*/ 0 w 157"/>
                <a:gd name="T33" fmla="*/ 0 h 200"/>
                <a:gd name="T34" fmla="*/ 0 w 157"/>
                <a:gd name="T35" fmla="*/ 0 h 200"/>
                <a:gd name="T36" fmla="*/ 0 w 157"/>
                <a:gd name="T37" fmla="*/ 0 h 200"/>
                <a:gd name="T38" fmla="*/ 0 w 157"/>
                <a:gd name="T39" fmla="*/ 0 h 200"/>
                <a:gd name="T40" fmla="*/ 0 w 157"/>
                <a:gd name="T41" fmla="*/ 0 h 200"/>
                <a:gd name="T42" fmla="*/ 0 w 157"/>
                <a:gd name="T43" fmla="*/ 0 h 200"/>
                <a:gd name="T44" fmla="*/ 0 w 157"/>
                <a:gd name="T45" fmla="*/ 0 h 200"/>
                <a:gd name="T46" fmla="*/ 0 w 157"/>
                <a:gd name="T47" fmla="*/ 0 h 200"/>
                <a:gd name="T48" fmla="*/ 0 w 157"/>
                <a:gd name="T49" fmla="*/ 0 h 200"/>
                <a:gd name="T50" fmla="*/ 0 w 157"/>
                <a:gd name="T51" fmla="*/ 0 h 200"/>
                <a:gd name="T52" fmla="*/ 0 w 157"/>
                <a:gd name="T53" fmla="*/ 0 h 200"/>
                <a:gd name="T54" fmla="*/ 0 w 157"/>
                <a:gd name="T55" fmla="*/ 0 h 200"/>
                <a:gd name="T56" fmla="*/ 0 w 157"/>
                <a:gd name="T57" fmla="*/ 0 h 200"/>
                <a:gd name="T58" fmla="*/ 0 w 157"/>
                <a:gd name="T59" fmla="*/ 0 h 200"/>
                <a:gd name="T60" fmla="*/ 0 w 157"/>
                <a:gd name="T61" fmla="*/ 0 h 200"/>
                <a:gd name="T62" fmla="*/ 0 w 157"/>
                <a:gd name="T63" fmla="*/ 0 h 200"/>
                <a:gd name="T64" fmla="*/ 0 w 157"/>
                <a:gd name="T65" fmla="*/ 0 h 200"/>
                <a:gd name="T66" fmla="*/ 0 w 157"/>
                <a:gd name="T67" fmla="*/ 0 h 200"/>
                <a:gd name="T68" fmla="*/ 0 w 157"/>
                <a:gd name="T69" fmla="*/ 0 h 200"/>
                <a:gd name="T70" fmla="*/ 0 w 157"/>
                <a:gd name="T71" fmla="*/ 0 h 200"/>
                <a:gd name="T72" fmla="*/ 0 w 157"/>
                <a:gd name="T73" fmla="*/ 0 h 200"/>
                <a:gd name="T74" fmla="*/ 0 w 157"/>
                <a:gd name="T75" fmla="*/ 0 h 200"/>
                <a:gd name="T76" fmla="*/ 0 w 157"/>
                <a:gd name="T77" fmla="*/ 0 h 200"/>
                <a:gd name="T78" fmla="*/ 0 w 157"/>
                <a:gd name="T79" fmla="*/ 0 h 200"/>
                <a:gd name="T80" fmla="*/ 0 w 157"/>
                <a:gd name="T81" fmla="*/ 0 h 200"/>
                <a:gd name="T82" fmla="*/ 0 w 157"/>
                <a:gd name="T83" fmla="*/ 0 h 200"/>
                <a:gd name="T84" fmla="*/ 0 w 157"/>
                <a:gd name="T85" fmla="*/ 0 h 200"/>
                <a:gd name="T86" fmla="*/ 0 w 157"/>
                <a:gd name="T87" fmla="*/ 0 h 200"/>
                <a:gd name="T88" fmla="*/ 0 w 157"/>
                <a:gd name="T89" fmla="*/ 0 h 200"/>
                <a:gd name="T90" fmla="*/ 0 w 157"/>
                <a:gd name="T91" fmla="*/ 0 h 200"/>
                <a:gd name="T92" fmla="*/ 0 w 157"/>
                <a:gd name="T93" fmla="*/ 0 h 200"/>
                <a:gd name="T94" fmla="*/ 0 w 157"/>
                <a:gd name="T95" fmla="*/ 0 h 200"/>
                <a:gd name="T96" fmla="*/ 0 w 157"/>
                <a:gd name="T97" fmla="*/ 0 h 200"/>
                <a:gd name="T98" fmla="*/ 0 w 157"/>
                <a:gd name="T99" fmla="*/ 0 h 200"/>
                <a:gd name="T100" fmla="*/ 0 w 157"/>
                <a:gd name="T101" fmla="*/ 0 h 200"/>
                <a:gd name="T102" fmla="*/ 0 w 157"/>
                <a:gd name="T103" fmla="*/ 0 h 2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57"/>
                <a:gd name="T157" fmla="*/ 0 h 200"/>
                <a:gd name="T158" fmla="*/ 157 w 157"/>
                <a:gd name="T159" fmla="*/ 200 h 20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57" h="200">
                  <a:moveTo>
                    <a:pt x="0" y="182"/>
                  </a:moveTo>
                  <a:lnTo>
                    <a:pt x="13" y="169"/>
                  </a:lnTo>
                  <a:lnTo>
                    <a:pt x="15" y="166"/>
                  </a:lnTo>
                  <a:lnTo>
                    <a:pt x="17" y="147"/>
                  </a:lnTo>
                  <a:lnTo>
                    <a:pt x="22" y="125"/>
                  </a:lnTo>
                  <a:lnTo>
                    <a:pt x="23" y="110"/>
                  </a:lnTo>
                  <a:lnTo>
                    <a:pt x="18" y="102"/>
                  </a:lnTo>
                  <a:lnTo>
                    <a:pt x="17" y="101"/>
                  </a:lnTo>
                  <a:lnTo>
                    <a:pt x="17" y="99"/>
                  </a:lnTo>
                  <a:lnTo>
                    <a:pt x="8" y="86"/>
                  </a:lnTo>
                  <a:lnTo>
                    <a:pt x="5" y="75"/>
                  </a:lnTo>
                  <a:lnTo>
                    <a:pt x="3" y="56"/>
                  </a:lnTo>
                  <a:lnTo>
                    <a:pt x="3" y="34"/>
                  </a:lnTo>
                  <a:lnTo>
                    <a:pt x="7" y="24"/>
                  </a:lnTo>
                  <a:lnTo>
                    <a:pt x="15" y="18"/>
                  </a:lnTo>
                  <a:lnTo>
                    <a:pt x="19" y="12"/>
                  </a:lnTo>
                  <a:lnTo>
                    <a:pt x="19" y="10"/>
                  </a:lnTo>
                  <a:lnTo>
                    <a:pt x="22" y="7"/>
                  </a:lnTo>
                  <a:lnTo>
                    <a:pt x="28" y="5"/>
                  </a:lnTo>
                  <a:lnTo>
                    <a:pt x="32" y="1"/>
                  </a:lnTo>
                  <a:lnTo>
                    <a:pt x="35" y="0"/>
                  </a:lnTo>
                  <a:lnTo>
                    <a:pt x="49" y="8"/>
                  </a:lnTo>
                  <a:lnTo>
                    <a:pt x="61" y="13"/>
                  </a:lnTo>
                  <a:lnTo>
                    <a:pt x="73" y="19"/>
                  </a:lnTo>
                  <a:lnTo>
                    <a:pt x="85" y="21"/>
                  </a:lnTo>
                  <a:lnTo>
                    <a:pt x="98" y="28"/>
                  </a:lnTo>
                  <a:lnTo>
                    <a:pt x="113" y="39"/>
                  </a:lnTo>
                  <a:lnTo>
                    <a:pt x="116" y="40"/>
                  </a:lnTo>
                  <a:lnTo>
                    <a:pt x="130" y="53"/>
                  </a:lnTo>
                  <a:lnTo>
                    <a:pt x="135" y="59"/>
                  </a:lnTo>
                  <a:lnTo>
                    <a:pt x="146" y="65"/>
                  </a:lnTo>
                  <a:lnTo>
                    <a:pt x="156" y="75"/>
                  </a:lnTo>
                  <a:lnTo>
                    <a:pt x="156" y="86"/>
                  </a:lnTo>
                  <a:lnTo>
                    <a:pt x="157" y="86"/>
                  </a:lnTo>
                  <a:lnTo>
                    <a:pt x="144" y="99"/>
                  </a:lnTo>
                  <a:lnTo>
                    <a:pt x="141" y="107"/>
                  </a:lnTo>
                  <a:lnTo>
                    <a:pt x="128" y="125"/>
                  </a:lnTo>
                  <a:lnTo>
                    <a:pt x="118" y="137"/>
                  </a:lnTo>
                  <a:lnTo>
                    <a:pt x="114" y="144"/>
                  </a:lnTo>
                  <a:lnTo>
                    <a:pt x="105" y="166"/>
                  </a:lnTo>
                  <a:lnTo>
                    <a:pt x="78" y="190"/>
                  </a:lnTo>
                  <a:lnTo>
                    <a:pt x="76" y="193"/>
                  </a:lnTo>
                  <a:lnTo>
                    <a:pt x="71" y="195"/>
                  </a:lnTo>
                  <a:lnTo>
                    <a:pt x="61" y="195"/>
                  </a:lnTo>
                  <a:lnTo>
                    <a:pt x="54" y="191"/>
                  </a:lnTo>
                  <a:lnTo>
                    <a:pt x="48" y="191"/>
                  </a:lnTo>
                  <a:lnTo>
                    <a:pt x="44" y="193"/>
                  </a:lnTo>
                  <a:lnTo>
                    <a:pt x="28" y="200"/>
                  </a:lnTo>
                  <a:lnTo>
                    <a:pt x="22" y="200"/>
                  </a:lnTo>
                  <a:lnTo>
                    <a:pt x="19" y="199"/>
                  </a:lnTo>
                  <a:lnTo>
                    <a:pt x="10" y="193"/>
                  </a:lnTo>
                  <a:lnTo>
                    <a:pt x="0" y="18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30" name="Freeform 250">
              <a:extLst>
                <a:ext uri="{FF2B5EF4-FFF2-40B4-BE49-F238E27FC236}">
                  <a16:creationId xmlns:a16="http://schemas.microsoft.com/office/drawing/2014/main" id="{8A42EB8E-D432-6358-1F1C-BBD4F74DF1F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391395" y="4344045"/>
              <a:ext cx="365623" cy="571582"/>
            </a:xfrm>
            <a:custGeom>
              <a:avLst/>
              <a:gdLst>
                <a:gd name="T0" fmla="*/ 2147483647 w 686"/>
                <a:gd name="T1" fmla="*/ 0 h 1005"/>
                <a:gd name="T2" fmla="*/ 2147483647 w 686"/>
                <a:gd name="T3" fmla="*/ 0 h 1005"/>
                <a:gd name="T4" fmla="*/ 0 w 686"/>
                <a:gd name="T5" fmla="*/ 0 h 1005"/>
                <a:gd name="T6" fmla="*/ 0 w 686"/>
                <a:gd name="T7" fmla="*/ 0 h 1005"/>
                <a:gd name="T8" fmla="*/ 0 w 686"/>
                <a:gd name="T9" fmla="*/ 0 h 1005"/>
                <a:gd name="T10" fmla="*/ 0 w 686"/>
                <a:gd name="T11" fmla="*/ 0 h 1005"/>
                <a:gd name="T12" fmla="*/ 0 w 686"/>
                <a:gd name="T13" fmla="*/ 0 h 1005"/>
                <a:gd name="T14" fmla="*/ 0 w 686"/>
                <a:gd name="T15" fmla="*/ 0 h 1005"/>
                <a:gd name="T16" fmla="*/ 0 w 686"/>
                <a:gd name="T17" fmla="*/ 0 h 1005"/>
                <a:gd name="T18" fmla="*/ 0 w 686"/>
                <a:gd name="T19" fmla="*/ 0 h 1005"/>
                <a:gd name="T20" fmla="*/ 0 w 686"/>
                <a:gd name="T21" fmla="*/ 0 h 1005"/>
                <a:gd name="T22" fmla="*/ 0 w 686"/>
                <a:gd name="T23" fmla="*/ 0 h 1005"/>
                <a:gd name="T24" fmla="*/ 0 w 686"/>
                <a:gd name="T25" fmla="*/ 0 h 1005"/>
                <a:gd name="T26" fmla="*/ 0 w 686"/>
                <a:gd name="T27" fmla="*/ 0 h 1005"/>
                <a:gd name="T28" fmla="*/ 0 w 686"/>
                <a:gd name="T29" fmla="*/ 0 h 1005"/>
                <a:gd name="T30" fmla="*/ 0 w 686"/>
                <a:gd name="T31" fmla="*/ 2147483647 h 1005"/>
                <a:gd name="T32" fmla="*/ 0 w 686"/>
                <a:gd name="T33" fmla="*/ 2147483647 h 1005"/>
                <a:gd name="T34" fmla="*/ 0 w 686"/>
                <a:gd name="T35" fmla="*/ 2147483647 h 1005"/>
                <a:gd name="T36" fmla="*/ 0 w 686"/>
                <a:gd name="T37" fmla="*/ 2147483647 h 1005"/>
                <a:gd name="T38" fmla="*/ 0 w 686"/>
                <a:gd name="T39" fmla="*/ 2147483647 h 1005"/>
                <a:gd name="T40" fmla="*/ 0 w 686"/>
                <a:gd name="T41" fmla="*/ 2147483647 h 1005"/>
                <a:gd name="T42" fmla="*/ 0 w 686"/>
                <a:gd name="T43" fmla="*/ 2147483647 h 1005"/>
                <a:gd name="T44" fmla="*/ 0 w 686"/>
                <a:gd name="T45" fmla="*/ 2147483647 h 1005"/>
                <a:gd name="T46" fmla="*/ 2147483647 w 686"/>
                <a:gd name="T47" fmla="*/ 2147483647 h 1005"/>
                <a:gd name="T48" fmla="*/ 2147483647 w 686"/>
                <a:gd name="T49" fmla="*/ 2147483647 h 1005"/>
                <a:gd name="T50" fmla="*/ 2147483647 w 686"/>
                <a:gd name="T51" fmla="*/ 2147483647 h 1005"/>
                <a:gd name="T52" fmla="*/ 2147483647 w 686"/>
                <a:gd name="T53" fmla="*/ 2147483647 h 1005"/>
                <a:gd name="T54" fmla="*/ 2147483647 w 686"/>
                <a:gd name="T55" fmla="*/ 2147483647 h 1005"/>
                <a:gd name="T56" fmla="*/ 2147483647 w 686"/>
                <a:gd name="T57" fmla="*/ 2147483647 h 1005"/>
                <a:gd name="T58" fmla="*/ 2147483647 w 686"/>
                <a:gd name="T59" fmla="*/ 2147483647 h 1005"/>
                <a:gd name="T60" fmla="*/ 2147483647 w 686"/>
                <a:gd name="T61" fmla="*/ 2147483647 h 1005"/>
                <a:gd name="T62" fmla="*/ 2147483647 w 686"/>
                <a:gd name="T63" fmla="*/ 2147483647 h 1005"/>
                <a:gd name="T64" fmla="*/ 2147483647 w 686"/>
                <a:gd name="T65" fmla="*/ 2147483647 h 1005"/>
                <a:gd name="T66" fmla="*/ 2147483647 w 686"/>
                <a:gd name="T67" fmla="*/ 2147483647 h 1005"/>
                <a:gd name="T68" fmla="*/ 2147483647 w 686"/>
                <a:gd name="T69" fmla="*/ 2147483647 h 1005"/>
                <a:gd name="T70" fmla="*/ 2147483647 w 686"/>
                <a:gd name="T71" fmla="*/ 2147483647 h 1005"/>
                <a:gd name="T72" fmla="*/ 2147483647 w 686"/>
                <a:gd name="T73" fmla="*/ 2147483647 h 1005"/>
                <a:gd name="T74" fmla="*/ 2147483647 w 686"/>
                <a:gd name="T75" fmla="*/ 2147483647 h 1005"/>
                <a:gd name="T76" fmla="*/ 2147483647 w 686"/>
                <a:gd name="T77" fmla="*/ 2147483647 h 1005"/>
                <a:gd name="T78" fmla="*/ 2147483647 w 686"/>
                <a:gd name="T79" fmla="*/ 2147483647 h 1005"/>
                <a:gd name="T80" fmla="*/ 2147483647 w 686"/>
                <a:gd name="T81" fmla="*/ 2147483647 h 1005"/>
                <a:gd name="T82" fmla="*/ 2147483647 w 686"/>
                <a:gd name="T83" fmla="*/ 2147483647 h 1005"/>
                <a:gd name="T84" fmla="*/ 2147483647 w 686"/>
                <a:gd name="T85" fmla="*/ 2147483647 h 1005"/>
                <a:gd name="T86" fmla="*/ 2147483647 w 686"/>
                <a:gd name="T87" fmla="*/ 2147483647 h 1005"/>
                <a:gd name="T88" fmla="*/ 2147483647 w 686"/>
                <a:gd name="T89" fmla="*/ 2147483647 h 1005"/>
                <a:gd name="T90" fmla="*/ 2147483647 w 686"/>
                <a:gd name="T91" fmla="*/ 0 h 1005"/>
                <a:gd name="T92" fmla="*/ 2147483647 w 686"/>
                <a:gd name="T93" fmla="*/ 0 h 1005"/>
                <a:gd name="T94" fmla="*/ 2147483647 w 686"/>
                <a:gd name="T95" fmla="*/ 0 h 1005"/>
                <a:gd name="T96" fmla="*/ 2147483647 w 686"/>
                <a:gd name="T97" fmla="*/ 0 h 1005"/>
                <a:gd name="T98" fmla="*/ 2147483647 w 686"/>
                <a:gd name="T99" fmla="*/ 0 h 1005"/>
                <a:gd name="T100" fmla="*/ 2147483647 w 686"/>
                <a:gd name="T101" fmla="*/ 0 h 1005"/>
                <a:gd name="T102" fmla="*/ 2147483647 w 686"/>
                <a:gd name="T103" fmla="*/ 0 h 1005"/>
                <a:gd name="T104" fmla="*/ 2147483647 w 686"/>
                <a:gd name="T105" fmla="*/ 0 h 1005"/>
                <a:gd name="T106" fmla="*/ 2147483647 w 686"/>
                <a:gd name="T107" fmla="*/ 0 h 1005"/>
                <a:gd name="T108" fmla="*/ 2147483647 w 686"/>
                <a:gd name="T109" fmla="*/ 0 h 1005"/>
                <a:gd name="T110" fmla="*/ 2147483647 w 686"/>
                <a:gd name="T111" fmla="*/ 0 h 1005"/>
                <a:gd name="T112" fmla="*/ 2147483647 w 686"/>
                <a:gd name="T113" fmla="*/ 0 h 1005"/>
                <a:gd name="T114" fmla="*/ 2147483647 w 686"/>
                <a:gd name="T115" fmla="*/ 0 h 1005"/>
                <a:gd name="T116" fmla="*/ 2147483647 w 686"/>
                <a:gd name="T117" fmla="*/ 0 h 1005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86"/>
                <a:gd name="T178" fmla="*/ 0 h 1005"/>
                <a:gd name="T179" fmla="*/ 686 w 686"/>
                <a:gd name="T180" fmla="*/ 1005 h 1005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86" h="1005">
                  <a:moveTo>
                    <a:pt x="328" y="0"/>
                  </a:moveTo>
                  <a:lnTo>
                    <a:pt x="326" y="2"/>
                  </a:lnTo>
                  <a:lnTo>
                    <a:pt x="315" y="2"/>
                  </a:lnTo>
                  <a:lnTo>
                    <a:pt x="314" y="11"/>
                  </a:lnTo>
                  <a:lnTo>
                    <a:pt x="319" y="13"/>
                  </a:lnTo>
                  <a:lnTo>
                    <a:pt x="321" y="16"/>
                  </a:lnTo>
                  <a:lnTo>
                    <a:pt x="326" y="27"/>
                  </a:lnTo>
                  <a:lnTo>
                    <a:pt x="327" y="32"/>
                  </a:lnTo>
                  <a:lnTo>
                    <a:pt x="335" y="49"/>
                  </a:lnTo>
                  <a:lnTo>
                    <a:pt x="335" y="50"/>
                  </a:lnTo>
                  <a:lnTo>
                    <a:pt x="326" y="50"/>
                  </a:lnTo>
                  <a:lnTo>
                    <a:pt x="319" y="65"/>
                  </a:lnTo>
                  <a:lnTo>
                    <a:pt x="305" y="89"/>
                  </a:lnTo>
                  <a:lnTo>
                    <a:pt x="292" y="104"/>
                  </a:lnTo>
                  <a:lnTo>
                    <a:pt x="284" y="110"/>
                  </a:lnTo>
                  <a:lnTo>
                    <a:pt x="274" y="119"/>
                  </a:lnTo>
                  <a:lnTo>
                    <a:pt x="265" y="131"/>
                  </a:lnTo>
                  <a:lnTo>
                    <a:pt x="256" y="137"/>
                  </a:lnTo>
                  <a:lnTo>
                    <a:pt x="240" y="145"/>
                  </a:lnTo>
                  <a:lnTo>
                    <a:pt x="204" y="156"/>
                  </a:lnTo>
                  <a:lnTo>
                    <a:pt x="186" y="163"/>
                  </a:lnTo>
                  <a:lnTo>
                    <a:pt x="179" y="168"/>
                  </a:lnTo>
                  <a:lnTo>
                    <a:pt x="176" y="171"/>
                  </a:lnTo>
                  <a:lnTo>
                    <a:pt x="171" y="180"/>
                  </a:lnTo>
                  <a:lnTo>
                    <a:pt x="170" y="190"/>
                  </a:lnTo>
                  <a:lnTo>
                    <a:pt x="166" y="193"/>
                  </a:lnTo>
                  <a:lnTo>
                    <a:pt x="164" y="193"/>
                  </a:lnTo>
                  <a:lnTo>
                    <a:pt x="160" y="189"/>
                  </a:lnTo>
                  <a:lnTo>
                    <a:pt x="159" y="189"/>
                  </a:lnTo>
                  <a:lnTo>
                    <a:pt x="159" y="190"/>
                  </a:lnTo>
                  <a:lnTo>
                    <a:pt x="144" y="210"/>
                  </a:lnTo>
                  <a:lnTo>
                    <a:pt x="142" y="223"/>
                  </a:lnTo>
                  <a:lnTo>
                    <a:pt x="142" y="244"/>
                  </a:lnTo>
                  <a:lnTo>
                    <a:pt x="139" y="252"/>
                  </a:lnTo>
                  <a:lnTo>
                    <a:pt x="138" y="253"/>
                  </a:lnTo>
                  <a:lnTo>
                    <a:pt x="128" y="257"/>
                  </a:lnTo>
                  <a:lnTo>
                    <a:pt x="121" y="264"/>
                  </a:lnTo>
                  <a:lnTo>
                    <a:pt x="110" y="269"/>
                  </a:lnTo>
                  <a:lnTo>
                    <a:pt x="102" y="268"/>
                  </a:lnTo>
                  <a:lnTo>
                    <a:pt x="97" y="260"/>
                  </a:lnTo>
                  <a:lnTo>
                    <a:pt x="95" y="254"/>
                  </a:lnTo>
                  <a:lnTo>
                    <a:pt x="90" y="245"/>
                  </a:lnTo>
                  <a:lnTo>
                    <a:pt x="84" y="245"/>
                  </a:lnTo>
                  <a:lnTo>
                    <a:pt x="74" y="245"/>
                  </a:lnTo>
                  <a:lnTo>
                    <a:pt x="72" y="242"/>
                  </a:lnTo>
                  <a:lnTo>
                    <a:pt x="67" y="238"/>
                  </a:lnTo>
                  <a:lnTo>
                    <a:pt x="58" y="238"/>
                  </a:lnTo>
                  <a:lnTo>
                    <a:pt x="50" y="243"/>
                  </a:lnTo>
                  <a:lnTo>
                    <a:pt x="45" y="244"/>
                  </a:lnTo>
                  <a:lnTo>
                    <a:pt x="43" y="242"/>
                  </a:lnTo>
                  <a:lnTo>
                    <a:pt x="41" y="228"/>
                  </a:lnTo>
                  <a:lnTo>
                    <a:pt x="39" y="223"/>
                  </a:lnTo>
                  <a:lnTo>
                    <a:pt x="39" y="221"/>
                  </a:lnTo>
                  <a:lnTo>
                    <a:pt x="42" y="216"/>
                  </a:lnTo>
                  <a:lnTo>
                    <a:pt x="52" y="214"/>
                  </a:lnTo>
                  <a:lnTo>
                    <a:pt x="57" y="209"/>
                  </a:lnTo>
                  <a:lnTo>
                    <a:pt x="56" y="200"/>
                  </a:lnTo>
                  <a:lnTo>
                    <a:pt x="54" y="198"/>
                  </a:lnTo>
                  <a:lnTo>
                    <a:pt x="52" y="188"/>
                  </a:lnTo>
                  <a:lnTo>
                    <a:pt x="51" y="188"/>
                  </a:lnTo>
                  <a:lnTo>
                    <a:pt x="51" y="185"/>
                  </a:lnTo>
                  <a:lnTo>
                    <a:pt x="43" y="193"/>
                  </a:lnTo>
                  <a:lnTo>
                    <a:pt x="32" y="200"/>
                  </a:lnTo>
                  <a:lnTo>
                    <a:pt x="18" y="216"/>
                  </a:lnTo>
                  <a:lnTo>
                    <a:pt x="3" y="231"/>
                  </a:lnTo>
                  <a:lnTo>
                    <a:pt x="2" y="236"/>
                  </a:lnTo>
                  <a:lnTo>
                    <a:pt x="0" y="245"/>
                  </a:lnTo>
                  <a:lnTo>
                    <a:pt x="3" y="260"/>
                  </a:lnTo>
                  <a:lnTo>
                    <a:pt x="4" y="263"/>
                  </a:lnTo>
                  <a:lnTo>
                    <a:pt x="9" y="271"/>
                  </a:lnTo>
                  <a:lnTo>
                    <a:pt x="10" y="284"/>
                  </a:lnTo>
                  <a:lnTo>
                    <a:pt x="19" y="292"/>
                  </a:lnTo>
                  <a:lnTo>
                    <a:pt x="24" y="298"/>
                  </a:lnTo>
                  <a:lnTo>
                    <a:pt x="24" y="302"/>
                  </a:lnTo>
                  <a:lnTo>
                    <a:pt x="21" y="308"/>
                  </a:lnTo>
                  <a:lnTo>
                    <a:pt x="11" y="318"/>
                  </a:lnTo>
                  <a:lnTo>
                    <a:pt x="14" y="323"/>
                  </a:lnTo>
                  <a:lnTo>
                    <a:pt x="29" y="333"/>
                  </a:lnTo>
                  <a:lnTo>
                    <a:pt x="37" y="340"/>
                  </a:lnTo>
                  <a:lnTo>
                    <a:pt x="51" y="350"/>
                  </a:lnTo>
                  <a:lnTo>
                    <a:pt x="58" y="355"/>
                  </a:lnTo>
                  <a:lnTo>
                    <a:pt x="73" y="367"/>
                  </a:lnTo>
                  <a:lnTo>
                    <a:pt x="80" y="379"/>
                  </a:lnTo>
                  <a:lnTo>
                    <a:pt x="83" y="379"/>
                  </a:lnTo>
                  <a:lnTo>
                    <a:pt x="89" y="387"/>
                  </a:lnTo>
                  <a:lnTo>
                    <a:pt x="97" y="413"/>
                  </a:lnTo>
                  <a:lnTo>
                    <a:pt x="102" y="422"/>
                  </a:lnTo>
                  <a:lnTo>
                    <a:pt x="133" y="452"/>
                  </a:lnTo>
                  <a:lnTo>
                    <a:pt x="139" y="467"/>
                  </a:lnTo>
                  <a:lnTo>
                    <a:pt x="140" y="478"/>
                  </a:lnTo>
                  <a:lnTo>
                    <a:pt x="143" y="484"/>
                  </a:lnTo>
                  <a:lnTo>
                    <a:pt x="155" y="507"/>
                  </a:lnTo>
                  <a:lnTo>
                    <a:pt x="161" y="522"/>
                  </a:lnTo>
                  <a:lnTo>
                    <a:pt x="170" y="549"/>
                  </a:lnTo>
                  <a:lnTo>
                    <a:pt x="188" y="578"/>
                  </a:lnTo>
                  <a:lnTo>
                    <a:pt x="191" y="584"/>
                  </a:lnTo>
                  <a:lnTo>
                    <a:pt x="193" y="608"/>
                  </a:lnTo>
                  <a:lnTo>
                    <a:pt x="199" y="624"/>
                  </a:lnTo>
                  <a:lnTo>
                    <a:pt x="204" y="629"/>
                  </a:lnTo>
                  <a:lnTo>
                    <a:pt x="212" y="632"/>
                  </a:lnTo>
                  <a:lnTo>
                    <a:pt x="217" y="639"/>
                  </a:lnTo>
                  <a:lnTo>
                    <a:pt x="225" y="659"/>
                  </a:lnTo>
                  <a:lnTo>
                    <a:pt x="239" y="678"/>
                  </a:lnTo>
                  <a:lnTo>
                    <a:pt x="249" y="693"/>
                  </a:lnTo>
                  <a:lnTo>
                    <a:pt x="256" y="711"/>
                  </a:lnTo>
                  <a:lnTo>
                    <a:pt x="269" y="726"/>
                  </a:lnTo>
                  <a:lnTo>
                    <a:pt x="274" y="742"/>
                  </a:lnTo>
                  <a:lnTo>
                    <a:pt x="277" y="754"/>
                  </a:lnTo>
                  <a:lnTo>
                    <a:pt x="271" y="758"/>
                  </a:lnTo>
                  <a:lnTo>
                    <a:pt x="267" y="764"/>
                  </a:lnTo>
                  <a:lnTo>
                    <a:pt x="269" y="776"/>
                  </a:lnTo>
                  <a:lnTo>
                    <a:pt x="272" y="780"/>
                  </a:lnTo>
                  <a:lnTo>
                    <a:pt x="283" y="791"/>
                  </a:lnTo>
                  <a:lnTo>
                    <a:pt x="290" y="802"/>
                  </a:lnTo>
                  <a:lnTo>
                    <a:pt x="298" y="807"/>
                  </a:lnTo>
                  <a:lnTo>
                    <a:pt x="317" y="828"/>
                  </a:lnTo>
                  <a:lnTo>
                    <a:pt x="327" y="834"/>
                  </a:lnTo>
                  <a:lnTo>
                    <a:pt x="335" y="842"/>
                  </a:lnTo>
                  <a:lnTo>
                    <a:pt x="359" y="858"/>
                  </a:lnTo>
                  <a:lnTo>
                    <a:pt x="391" y="874"/>
                  </a:lnTo>
                  <a:lnTo>
                    <a:pt x="411" y="890"/>
                  </a:lnTo>
                  <a:lnTo>
                    <a:pt x="414" y="892"/>
                  </a:lnTo>
                  <a:lnTo>
                    <a:pt x="455" y="908"/>
                  </a:lnTo>
                  <a:lnTo>
                    <a:pt x="478" y="921"/>
                  </a:lnTo>
                  <a:lnTo>
                    <a:pt x="481" y="922"/>
                  </a:lnTo>
                  <a:lnTo>
                    <a:pt x="486" y="922"/>
                  </a:lnTo>
                  <a:lnTo>
                    <a:pt x="491" y="923"/>
                  </a:lnTo>
                  <a:lnTo>
                    <a:pt x="513" y="941"/>
                  </a:lnTo>
                  <a:lnTo>
                    <a:pt x="525" y="948"/>
                  </a:lnTo>
                  <a:lnTo>
                    <a:pt x="532" y="957"/>
                  </a:lnTo>
                  <a:lnTo>
                    <a:pt x="541" y="964"/>
                  </a:lnTo>
                  <a:lnTo>
                    <a:pt x="551" y="974"/>
                  </a:lnTo>
                  <a:lnTo>
                    <a:pt x="562" y="989"/>
                  </a:lnTo>
                  <a:lnTo>
                    <a:pt x="574" y="995"/>
                  </a:lnTo>
                  <a:lnTo>
                    <a:pt x="584" y="1001"/>
                  </a:lnTo>
                  <a:lnTo>
                    <a:pt x="585" y="1001"/>
                  </a:lnTo>
                  <a:lnTo>
                    <a:pt x="589" y="1005"/>
                  </a:lnTo>
                  <a:lnTo>
                    <a:pt x="599" y="996"/>
                  </a:lnTo>
                  <a:lnTo>
                    <a:pt x="601" y="996"/>
                  </a:lnTo>
                  <a:lnTo>
                    <a:pt x="620" y="995"/>
                  </a:lnTo>
                  <a:lnTo>
                    <a:pt x="626" y="992"/>
                  </a:lnTo>
                  <a:lnTo>
                    <a:pt x="627" y="991"/>
                  </a:lnTo>
                  <a:lnTo>
                    <a:pt x="628" y="982"/>
                  </a:lnTo>
                  <a:lnTo>
                    <a:pt x="634" y="973"/>
                  </a:lnTo>
                  <a:lnTo>
                    <a:pt x="638" y="968"/>
                  </a:lnTo>
                  <a:lnTo>
                    <a:pt x="642" y="966"/>
                  </a:lnTo>
                  <a:lnTo>
                    <a:pt x="638" y="960"/>
                  </a:lnTo>
                  <a:lnTo>
                    <a:pt x="636" y="960"/>
                  </a:lnTo>
                  <a:lnTo>
                    <a:pt x="637" y="954"/>
                  </a:lnTo>
                  <a:lnTo>
                    <a:pt x="649" y="935"/>
                  </a:lnTo>
                  <a:lnTo>
                    <a:pt x="659" y="923"/>
                  </a:lnTo>
                  <a:lnTo>
                    <a:pt x="671" y="906"/>
                  </a:lnTo>
                  <a:lnTo>
                    <a:pt x="672" y="896"/>
                  </a:lnTo>
                  <a:lnTo>
                    <a:pt x="671" y="893"/>
                  </a:lnTo>
                  <a:lnTo>
                    <a:pt x="665" y="888"/>
                  </a:lnTo>
                  <a:lnTo>
                    <a:pt x="660" y="885"/>
                  </a:lnTo>
                  <a:lnTo>
                    <a:pt x="656" y="880"/>
                  </a:lnTo>
                  <a:lnTo>
                    <a:pt x="654" y="879"/>
                  </a:lnTo>
                  <a:lnTo>
                    <a:pt x="653" y="873"/>
                  </a:lnTo>
                  <a:lnTo>
                    <a:pt x="651" y="865"/>
                  </a:lnTo>
                  <a:lnTo>
                    <a:pt x="653" y="851"/>
                  </a:lnTo>
                  <a:lnTo>
                    <a:pt x="658" y="842"/>
                  </a:lnTo>
                  <a:lnTo>
                    <a:pt x="663" y="839"/>
                  </a:lnTo>
                  <a:lnTo>
                    <a:pt x="665" y="831"/>
                  </a:lnTo>
                  <a:lnTo>
                    <a:pt x="665" y="826"/>
                  </a:lnTo>
                  <a:lnTo>
                    <a:pt x="664" y="820"/>
                  </a:lnTo>
                  <a:lnTo>
                    <a:pt x="654" y="809"/>
                  </a:lnTo>
                  <a:lnTo>
                    <a:pt x="654" y="806"/>
                  </a:lnTo>
                  <a:lnTo>
                    <a:pt x="658" y="799"/>
                  </a:lnTo>
                  <a:lnTo>
                    <a:pt x="671" y="793"/>
                  </a:lnTo>
                  <a:lnTo>
                    <a:pt x="672" y="791"/>
                  </a:lnTo>
                  <a:lnTo>
                    <a:pt x="672" y="772"/>
                  </a:lnTo>
                  <a:lnTo>
                    <a:pt x="669" y="754"/>
                  </a:lnTo>
                  <a:lnTo>
                    <a:pt x="669" y="743"/>
                  </a:lnTo>
                  <a:lnTo>
                    <a:pt x="671" y="724"/>
                  </a:lnTo>
                  <a:lnTo>
                    <a:pt x="671" y="700"/>
                  </a:lnTo>
                  <a:lnTo>
                    <a:pt x="676" y="689"/>
                  </a:lnTo>
                  <a:lnTo>
                    <a:pt x="683" y="680"/>
                  </a:lnTo>
                  <a:lnTo>
                    <a:pt x="686" y="678"/>
                  </a:lnTo>
                  <a:lnTo>
                    <a:pt x="686" y="675"/>
                  </a:lnTo>
                  <a:lnTo>
                    <a:pt x="671" y="652"/>
                  </a:lnTo>
                  <a:lnTo>
                    <a:pt x="637" y="593"/>
                  </a:lnTo>
                  <a:lnTo>
                    <a:pt x="620" y="594"/>
                  </a:lnTo>
                  <a:lnTo>
                    <a:pt x="612" y="598"/>
                  </a:lnTo>
                  <a:lnTo>
                    <a:pt x="605" y="600"/>
                  </a:lnTo>
                  <a:lnTo>
                    <a:pt x="600" y="600"/>
                  </a:lnTo>
                  <a:lnTo>
                    <a:pt x="594" y="597"/>
                  </a:lnTo>
                  <a:lnTo>
                    <a:pt x="591" y="593"/>
                  </a:lnTo>
                  <a:lnTo>
                    <a:pt x="591" y="564"/>
                  </a:lnTo>
                  <a:lnTo>
                    <a:pt x="591" y="560"/>
                  </a:lnTo>
                  <a:lnTo>
                    <a:pt x="591" y="506"/>
                  </a:lnTo>
                  <a:lnTo>
                    <a:pt x="591" y="503"/>
                  </a:lnTo>
                  <a:lnTo>
                    <a:pt x="588" y="505"/>
                  </a:lnTo>
                  <a:lnTo>
                    <a:pt x="578" y="514"/>
                  </a:lnTo>
                  <a:lnTo>
                    <a:pt x="556" y="530"/>
                  </a:lnTo>
                  <a:lnTo>
                    <a:pt x="538" y="540"/>
                  </a:lnTo>
                  <a:lnTo>
                    <a:pt x="530" y="541"/>
                  </a:lnTo>
                  <a:lnTo>
                    <a:pt x="515" y="540"/>
                  </a:lnTo>
                  <a:lnTo>
                    <a:pt x="502" y="537"/>
                  </a:lnTo>
                  <a:lnTo>
                    <a:pt x="499" y="533"/>
                  </a:lnTo>
                  <a:lnTo>
                    <a:pt x="497" y="522"/>
                  </a:lnTo>
                  <a:lnTo>
                    <a:pt x="493" y="517"/>
                  </a:lnTo>
                  <a:lnTo>
                    <a:pt x="488" y="513"/>
                  </a:lnTo>
                  <a:lnTo>
                    <a:pt x="468" y="512"/>
                  </a:lnTo>
                  <a:lnTo>
                    <a:pt x="456" y="508"/>
                  </a:lnTo>
                  <a:lnTo>
                    <a:pt x="455" y="505"/>
                  </a:lnTo>
                  <a:lnTo>
                    <a:pt x="461" y="495"/>
                  </a:lnTo>
                  <a:lnTo>
                    <a:pt x="460" y="486"/>
                  </a:lnTo>
                  <a:lnTo>
                    <a:pt x="450" y="480"/>
                  </a:lnTo>
                  <a:lnTo>
                    <a:pt x="438" y="467"/>
                  </a:lnTo>
                  <a:lnTo>
                    <a:pt x="434" y="459"/>
                  </a:lnTo>
                  <a:lnTo>
                    <a:pt x="425" y="448"/>
                  </a:lnTo>
                  <a:lnTo>
                    <a:pt x="424" y="444"/>
                  </a:lnTo>
                  <a:lnTo>
                    <a:pt x="422" y="432"/>
                  </a:lnTo>
                  <a:lnTo>
                    <a:pt x="411" y="409"/>
                  </a:lnTo>
                  <a:lnTo>
                    <a:pt x="411" y="405"/>
                  </a:lnTo>
                  <a:lnTo>
                    <a:pt x="412" y="401"/>
                  </a:lnTo>
                  <a:lnTo>
                    <a:pt x="424" y="379"/>
                  </a:lnTo>
                  <a:lnTo>
                    <a:pt x="428" y="362"/>
                  </a:lnTo>
                  <a:lnTo>
                    <a:pt x="432" y="357"/>
                  </a:lnTo>
                  <a:lnTo>
                    <a:pt x="441" y="355"/>
                  </a:lnTo>
                  <a:lnTo>
                    <a:pt x="450" y="354"/>
                  </a:lnTo>
                  <a:lnTo>
                    <a:pt x="450" y="324"/>
                  </a:lnTo>
                  <a:lnTo>
                    <a:pt x="452" y="318"/>
                  </a:lnTo>
                  <a:lnTo>
                    <a:pt x="461" y="302"/>
                  </a:lnTo>
                  <a:lnTo>
                    <a:pt x="470" y="290"/>
                  </a:lnTo>
                  <a:lnTo>
                    <a:pt x="483" y="274"/>
                  </a:lnTo>
                  <a:lnTo>
                    <a:pt x="494" y="265"/>
                  </a:lnTo>
                  <a:lnTo>
                    <a:pt x="510" y="254"/>
                  </a:lnTo>
                  <a:lnTo>
                    <a:pt x="529" y="247"/>
                  </a:lnTo>
                  <a:lnTo>
                    <a:pt x="580" y="232"/>
                  </a:lnTo>
                  <a:lnTo>
                    <a:pt x="593" y="227"/>
                  </a:lnTo>
                  <a:lnTo>
                    <a:pt x="613" y="228"/>
                  </a:lnTo>
                  <a:lnTo>
                    <a:pt x="620" y="225"/>
                  </a:lnTo>
                  <a:lnTo>
                    <a:pt x="621" y="222"/>
                  </a:lnTo>
                  <a:lnTo>
                    <a:pt x="613" y="221"/>
                  </a:lnTo>
                  <a:lnTo>
                    <a:pt x="605" y="210"/>
                  </a:lnTo>
                  <a:lnTo>
                    <a:pt x="600" y="206"/>
                  </a:lnTo>
                  <a:lnTo>
                    <a:pt x="596" y="205"/>
                  </a:lnTo>
                  <a:lnTo>
                    <a:pt x="591" y="206"/>
                  </a:lnTo>
                  <a:lnTo>
                    <a:pt x="586" y="205"/>
                  </a:lnTo>
                  <a:lnTo>
                    <a:pt x="585" y="202"/>
                  </a:lnTo>
                  <a:lnTo>
                    <a:pt x="585" y="193"/>
                  </a:lnTo>
                  <a:lnTo>
                    <a:pt x="593" y="182"/>
                  </a:lnTo>
                  <a:lnTo>
                    <a:pt x="605" y="169"/>
                  </a:lnTo>
                  <a:lnTo>
                    <a:pt x="611" y="162"/>
                  </a:lnTo>
                  <a:lnTo>
                    <a:pt x="615" y="155"/>
                  </a:lnTo>
                  <a:lnTo>
                    <a:pt x="615" y="150"/>
                  </a:lnTo>
                  <a:lnTo>
                    <a:pt x="605" y="137"/>
                  </a:lnTo>
                  <a:lnTo>
                    <a:pt x="588" y="128"/>
                  </a:lnTo>
                  <a:lnTo>
                    <a:pt x="572" y="121"/>
                  </a:lnTo>
                  <a:lnTo>
                    <a:pt x="564" y="120"/>
                  </a:lnTo>
                  <a:lnTo>
                    <a:pt x="562" y="120"/>
                  </a:lnTo>
                  <a:lnTo>
                    <a:pt x="553" y="126"/>
                  </a:lnTo>
                  <a:lnTo>
                    <a:pt x="545" y="128"/>
                  </a:lnTo>
                  <a:lnTo>
                    <a:pt x="537" y="126"/>
                  </a:lnTo>
                  <a:lnTo>
                    <a:pt x="532" y="121"/>
                  </a:lnTo>
                  <a:lnTo>
                    <a:pt x="525" y="120"/>
                  </a:lnTo>
                  <a:lnTo>
                    <a:pt x="516" y="120"/>
                  </a:lnTo>
                  <a:lnTo>
                    <a:pt x="513" y="121"/>
                  </a:lnTo>
                  <a:lnTo>
                    <a:pt x="509" y="125"/>
                  </a:lnTo>
                  <a:lnTo>
                    <a:pt x="505" y="126"/>
                  </a:lnTo>
                  <a:lnTo>
                    <a:pt x="503" y="130"/>
                  </a:lnTo>
                  <a:lnTo>
                    <a:pt x="499" y="132"/>
                  </a:lnTo>
                  <a:lnTo>
                    <a:pt x="492" y="134"/>
                  </a:lnTo>
                  <a:lnTo>
                    <a:pt x="488" y="134"/>
                  </a:lnTo>
                  <a:lnTo>
                    <a:pt x="480" y="130"/>
                  </a:lnTo>
                  <a:lnTo>
                    <a:pt x="466" y="129"/>
                  </a:lnTo>
                  <a:lnTo>
                    <a:pt x="461" y="130"/>
                  </a:lnTo>
                  <a:lnTo>
                    <a:pt x="451" y="129"/>
                  </a:lnTo>
                  <a:lnTo>
                    <a:pt x="446" y="124"/>
                  </a:lnTo>
                  <a:lnTo>
                    <a:pt x="443" y="119"/>
                  </a:lnTo>
                  <a:lnTo>
                    <a:pt x="443" y="97"/>
                  </a:lnTo>
                  <a:lnTo>
                    <a:pt x="438" y="96"/>
                  </a:lnTo>
                  <a:lnTo>
                    <a:pt x="429" y="96"/>
                  </a:lnTo>
                  <a:lnTo>
                    <a:pt x="425" y="93"/>
                  </a:lnTo>
                  <a:lnTo>
                    <a:pt x="424" y="89"/>
                  </a:lnTo>
                  <a:lnTo>
                    <a:pt x="421" y="81"/>
                  </a:lnTo>
                  <a:lnTo>
                    <a:pt x="419" y="69"/>
                  </a:lnTo>
                  <a:lnTo>
                    <a:pt x="416" y="62"/>
                  </a:lnTo>
                  <a:lnTo>
                    <a:pt x="411" y="59"/>
                  </a:lnTo>
                  <a:lnTo>
                    <a:pt x="405" y="56"/>
                  </a:lnTo>
                  <a:lnTo>
                    <a:pt x="400" y="56"/>
                  </a:lnTo>
                  <a:lnTo>
                    <a:pt x="394" y="55"/>
                  </a:lnTo>
                  <a:lnTo>
                    <a:pt x="391" y="50"/>
                  </a:lnTo>
                  <a:lnTo>
                    <a:pt x="385" y="46"/>
                  </a:lnTo>
                  <a:lnTo>
                    <a:pt x="380" y="38"/>
                  </a:lnTo>
                  <a:lnTo>
                    <a:pt x="375" y="24"/>
                  </a:lnTo>
                  <a:lnTo>
                    <a:pt x="366" y="21"/>
                  </a:lnTo>
                  <a:lnTo>
                    <a:pt x="362" y="17"/>
                  </a:lnTo>
                  <a:lnTo>
                    <a:pt x="357" y="8"/>
                  </a:lnTo>
                  <a:lnTo>
                    <a:pt x="352" y="6"/>
                  </a:lnTo>
                  <a:lnTo>
                    <a:pt x="342" y="3"/>
                  </a:lnTo>
                  <a:lnTo>
                    <a:pt x="332" y="0"/>
                  </a:lnTo>
                  <a:lnTo>
                    <a:pt x="328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31" name="Freeform 251">
              <a:extLst>
                <a:ext uri="{FF2B5EF4-FFF2-40B4-BE49-F238E27FC236}">
                  <a16:creationId xmlns:a16="http://schemas.microsoft.com/office/drawing/2014/main" id="{792DA1F2-D46E-2B4F-CE31-C55FD31A697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624201" y="5032991"/>
              <a:ext cx="576044" cy="1219375"/>
            </a:xfrm>
            <a:custGeom>
              <a:avLst/>
              <a:gdLst>
                <a:gd name="T0" fmla="*/ 0 w 1080"/>
                <a:gd name="T1" fmla="*/ 2147483647 h 2146"/>
                <a:gd name="T2" fmla="*/ 0 w 1080"/>
                <a:gd name="T3" fmla="*/ 2147483647 h 2146"/>
                <a:gd name="T4" fmla="*/ 0 w 1080"/>
                <a:gd name="T5" fmla="*/ 2147483647 h 2146"/>
                <a:gd name="T6" fmla="*/ 0 w 1080"/>
                <a:gd name="T7" fmla="*/ 2147483647 h 2146"/>
                <a:gd name="T8" fmla="*/ 0 w 1080"/>
                <a:gd name="T9" fmla="*/ 2147483647 h 2146"/>
                <a:gd name="T10" fmla="*/ 0 w 1080"/>
                <a:gd name="T11" fmla="*/ 2147483647 h 2146"/>
                <a:gd name="T12" fmla="*/ 0 w 1080"/>
                <a:gd name="T13" fmla="*/ 2147483647 h 2146"/>
                <a:gd name="T14" fmla="*/ 0 w 1080"/>
                <a:gd name="T15" fmla="*/ 2147483647 h 2146"/>
                <a:gd name="T16" fmla="*/ 0 w 1080"/>
                <a:gd name="T17" fmla="*/ 2147483647 h 2146"/>
                <a:gd name="T18" fmla="*/ 0 w 1080"/>
                <a:gd name="T19" fmla="*/ 2147483647 h 2146"/>
                <a:gd name="T20" fmla="*/ 0 w 1080"/>
                <a:gd name="T21" fmla="*/ 2147483647 h 2146"/>
                <a:gd name="T22" fmla="*/ 0 w 1080"/>
                <a:gd name="T23" fmla="*/ 2147483647 h 2146"/>
                <a:gd name="T24" fmla="*/ 0 w 1080"/>
                <a:gd name="T25" fmla="*/ 2147483647 h 2146"/>
                <a:gd name="T26" fmla="*/ 0 w 1080"/>
                <a:gd name="T27" fmla="*/ 2147483647 h 2146"/>
                <a:gd name="T28" fmla="*/ 0 w 1080"/>
                <a:gd name="T29" fmla="*/ 2147483647 h 2146"/>
                <a:gd name="T30" fmla="*/ 0 w 1080"/>
                <a:gd name="T31" fmla="*/ 2147483647 h 2146"/>
                <a:gd name="T32" fmla="*/ 0 w 1080"/>
                <a:gd name="T33" fmla="*/ 2147483647 h 2146"/>
                <a:gd name="T34" fmla="*/ 0 w 1080"/>
                <a:gd name="T35" fmla="*/ 2147483647 h 2146"/>
                <a:gd name="T36" fmla="*/ 0 w 1080"/>
                <a:gd name="T37" fmla="*/ 2147483647 h 2146"/>
                <a:gd name="T38" fmla="*/ 0 w 1080"/>
                <a:gd name="T39" fmla="*/ 0 h 2146"/>
                <a:gd name="T40" fmla="*/ 0 w 1080"/>
                <a:gd name="T41" fmla="*/ 0 h 2146"/>
                <a:gd name="T42" fmla="*/ 2147483647 w 1080"/>
                <a:gd name="T43" fmla="*/ 0 h 2146"/>
                <a:gd name="T44" fmla="*/ 2147483647 w 1080"/>
                <a:gd name="T45" fmla="*/ 0 h 2146"/>
                <a:gd name="T46" fmla="*/ 2147483647 w 1080"/>
                <a:gd name="T47" fmla="*/ 0 h 2146"/>
                <a:gd name="T48" fmla="*/ 2147483647 w 1080"/>
                <a:gd name="T49" fmla="*/ 0 h 2146"/>
                <a:gd name="T50" fmla="*/ 2147483647 w 1080"/>
                <a:gd name="T51" fmla="*/ 0 h 2146"/>
                <a:gd name="T52" fmla="*/ 2147483647 w 1080"/>
                <a:gd name="T53" fmla="*/ 0 h 2146"/>
                <a:gd name="T54" fmla="*/ 2147483647 w 1080"/>
                <a:gd name="T55" fmla="*/ 0 h 2146"/>
                <a:gd name="T56" fmla="*/ 2147483647 w 1080"/>
                <a:gd name="T57" fmla="*/ 0 h 2146"/>
                <a:gd name="T58" fmla="*/ 2147483647 w 1080"/>
                <a:gd name="T59" fmla="*/ 0 h 2146"/>
                <a:gd name="T60" fmla="*/ 2147483647 w 1080"/>
                <a:gd name="T61" fmla="*/ 0 h 2146"/>
                <a:gd name="T62" fmla="*/ 2147483647 w 1080"/>
                <a:gd name="T63" fmla="*/ 2147483647 h 2146"/>
                <a:gd name="T64" fmla="*/ 2147483647 w 1080"/>
                <a:gd name="T65" fmla="*/ 2147483647 h 2146"/>
                <a:gd name="T66" fmla="*/ 2147483647 w 1080"/>
                <a:gd name="T67" fmla="*/ 0 h 2146"/>
                <a:gd name="T68" fmla="*/ 2147483647 w 1080"/>
                <a:gd name="T69" fmla="*/ 0 h 2146"/>
                <a:gd name="T70" fmla="*/ 2147483647 w 1080"/>
                <a:gd name="T71" fmla="*/ 2147483647 h 2146"/>
                <a:gd name="T72" fmla="*/ 2147483647 w 1080"/>
                <a:gd name="T73" fmla="*/ 2147483647 h 2146"/>
                <a:gd name="T74" fmla="*/ 2147483647 w 1080"/>
                <a:gd name="T75" fmla="*/ 2147483647 h 2146"/>
                <a:gd name="T76" fmla="*/ 2147483647 w 1080"/>
                <a:gd name="T77" fmla="*/ 2147483647 h 2146"/>
                <a:gd name="T78" fmla="*/ 2147483647 w 1080"/>
                <a:gd name="T79" fmla="*/ 2147483647 h 2146"/>
                <a:gd name="T80" fmla="*/ 2147483647 w 1080"/>
                <a:gd name="T81" fmla="*/ 2147483647 h 2146"/>
                <a:gd name="T82" fmla="*/ 2147483647 w 1080"/>
                <a:gd name="T83" fmla="*/ 2147483647 h 2146"/>
                <a:gd name="T84" fmla="*/ 2147483647 w 1080"/>
                <a:gd name="T85" fmla="*/ 2147483647 h 2146"/>
                <a:gd name="T86" fmla="*/ 2147483647 w 1080"/>
                <a:gd name="T87" fmla="*/ 2147483647 h 2146"/>
                <a:gd name="T88" fmla="*/ 2147483647 w 1080"/>
                <a:gd name="T89" fmla="*/ 2147483647 h 2146"/>
                <a:gd name="T90" fmla="*/ 2147483647 w 1080"/>
                <a:gd name="T91" fmla="*/ 2147483647 h 2146"/>
                <a:gd name="T92" fmla="*/ 2147483647 w 1080"/>
                <a:gd name="T93" fmla="*/ 2147483647 h 2146"/>
                <a:gd name="T94" fmla="*/ 2147483647 w 1080"/>
                <a:gd name="T95" fmla="*/ 2147483647 h 2146"/>
                <a:gd name="T96" fmla="*/ 2147483647 w 1080"/>
                <a:gd name="T97" fmla="*/ 2147483647 h 2146"/>
                <a:gd name="T98" fmla="*/ 2147483647 w 1080"/>
                <a:gd name="T99" fmla="*/ 2147483647 h 2146"/>
                <a:gd name="T100" fmla="*/ 2147483647 w 1080"/>
                <a:gd name="T101" fmla="*/ 2147483647 h 2146"/>
                <a:gd name="T102" fmla="*/ 2147483647 w 1080"/>
                <a:gd name="T103" fmla="*/ 2147483647 h 2146"/>
                <a:gd name="T104" fmla="*/ 2147483647 w 1080"/>
                <a:gd name="T105" fmla="*/ 2147483647 h 2146"/>
                <a:gd name="T106" fmla="*/ 2147483647 w 1080"/>
                <a:gd name="T107" fmla="*/ 2147483647 h 2146"/>
                <a:gd name="T108" fmla="*/ 2147483647 w 1080"/>
                <a:gd name="T109" fmla="*/ 2147483647 h 2146"/>
                <a:gd name="T110" fmla="*/ 2147483647 w 1080"/>
                <a:gd name="T111" fmla="*/ 2147483647 h 2146"/>
                <a:gd name="T112" fmla="*/ 2147483647 w 1080"/>
                <a:gd name="T113" fmla="*/ 2147483647 h 2146"/>
                <a:gd name="T114" fmla="*/ 0 w 1080"/>
                <a:gd name="T115" fmla="*/ 2147483647 h 2146"/>
                <a:gd name="T116" fmla="*/ 0 w 1080"/>
                <a:gd name="T117" fmla="*/ 2147483647 h 2146"/>
                <a:gd name="T118" fmla="*/ 0 w 1080"/>
                <a:gd name="T119" fmla="*/ 2147483647 h 214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080"/>
                <a:gd name="T181" fmla="*/ 0 h 2146"/>
                <a:gd name="T182" fmla="*/ 1080 w 1080"/>
                <a:gd name="T183" fmla="*/ 2146 h 214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080" h="2146">
                  <a:moveTo>
                    <a:pt x="275" y="2146"/>
                  </a:moveTo>
                  <a:lnTo>
                    <a:pt x="270" y="2145"/>
                  </a:lnTo>
                  <a:lnTo>
                    <a:pt x="256" y="2136"/>
                  </a:lnTo>
                  <a:lnTo>
                    <a:pt x="224" y="2131"/>
                  </a:lnTo>
                  <a:lnTo>
                    <a:pt x="198" y="2123"/>
                  </a:lnTo>
                  <a:lnTo>
                    <a:pt x="187" y="2121"/>
                  </a:lnTo>
                  <a:lnTo>
                    <a:pt x="170" y="2125"/>
                  </a:lnTo>
                  <a:lnTo>
                    <a:pt x="150" y="2125"/>
                  </a:lnTo>
                  <a:lnTo>
                    <a:pt x="145" y="2125"/>
                  </a:lnTo>
                  <a:lnTo>
                    <a:pt x="140" y="2124"/>
                  </a:lnTo>
                  <a:lnTo>
                    <a:pt x="85" y="2124"/>
                  </a:lnTo>
                  <a:lnTo>
                    <a:pt x="71" y="2118"/>
                  </a:lnTo>
                  <a:lnTo>
                    <a:pt x="66" y="2113"/>
                  </a:lnTo>
                  <a:lnTo>
                    <a:pt x="60" y="2099"/>
                  </a:lnTo>
                  <a:lnTo>
                    <a:pt x="59" y="2094"/>
                  </a:lnTo>
                  <a:lnTo>
                    <a:pt x="60" y="2037"/>
                  </a:lnTo>
                  <a:lnTo>
                    <a:pt x="59" y="2022"/>
                  </a:lnTo>
                  <a:lnTo>
                    <a:pt x="57" y="2003"/>
                  </a:lnTo>
                  <a:lnTo>
                    <a:pt x="55" y="2001"/>
                  </a:lnTo>
                  <a:lnTo>
                    <a:pt x="50" y="2000"/>
                  </a:lnTo>
                  <a:lnTo>
                    <a:pt x="49" y="2000"/>
                  </a:lnTo>
                  <a:lnTo>
                    <a:pt x="44" y="2006"/>
                  </a:lnTo>
                  <a:lnTo>
                    <a:pt x="26" y="2002"/>
                  </a:lnTo>
                  <a:lnTo>
                    <a:pt x="17" y="2007"/>
                  </a:lnTo>
                  <a:lnTo>
                    <a:pt x="14" y="2015"/>
                  </a:lnTo>
                  <a:lnTo>
                    <a:pt x="10" y="2018"/>
                  </a:lnTo>
                  <a:lnTo>
                    <a:pt x="6" y="2016"/>
                  </a:lnTo>
                  <a:lnTo>
                    <a:pt x="4" y="2010"/>
                  </a:lnTo>
                  <a:lnTo>
                    <a:pt x="1" y="1995"/>
                  </a:lnTo>
                  <a:lnTo>
                    <a:pt x="0" y="1992"/>
                  </a:lnTo>
                  <a:lnTo>
                    <a:pt x="0" y="1962"/>
                  </a:lnTo>
                  <a:lnTo>
                    <a:pt x="1" y="1952"/>
                  </a:lnTo>
                  <a:lnTo>
                    <a:pt x="1" y="1940"/>
                  </a:lnTo>
                  <a:lnTo>
                    <a:pt x="9" y="1908"/>
                  </a:lnTo>
                  <a:lnTo>
                    <a:pt x="14" y="1897"/>
                  </a:lnTo>
                  <a:lnTo>
                    <a:pt x="18" y="1893"/>
                  </a:lnTo>
                  <a:lnTo>
                    <a:pt x="32" y="1866"/>
                  </a:lnTo>
                  <a:lnTo>
                    <a:pt x="43" y="1852"/>
                  </a:lnTo>
                  <a:lnTo>
                    <a:pt x="46" y="1847"/>
                  </a:lnTo>
                  <a:lnTo>
                    <a:pt x="49" y="1834"/>
                  </a:lnTo>
                  <a:lnTo>
                    <a:pt x="52" y="1813"/>
                  </a:lnTo>
                  <a:lnTo>
                    <a:pt x="53" y="1809"/>
                  </a:lnTo>
                  <a:lnTo>
                    <a:pt x="57" y="1807"/>
                  </a:lnTo>
                  <a:lnTo>
                    <a:pt x="57" y="1798"/>
                  </a:lnTo>
                  <a:lnTo>
                    <a:pt x="55" y="1787"/>
                  </a:lnTo>
                  <a:lnTo>
                    <a:pt x="52" y="1781"/>
                  </a:lnTo>
                  <a:lnTo>
                    <a:pt x="52" y="1773"/>
                  </a:lnTo>
                  <a:lnTo>
                    <a:pt x="52" y="1758"/>
                  </a:lnTo>
                  <a:lnTo>
                    <a:pt x="53" y="1752"/>
                  </a:lnTo>
                  <a:lnTo>
                    <a:pt x="57" y="1746"/>
                  </a:lnTo>
                  <a:lnTo>
                    <a:pt x="70" y="1727"/>
                  </a:lnTo>
                  <a:lnTo>
                    <a:pt x="80" y="1709"/>
                  </a:lnTo>
                  <a:lnTo>
                    <a:pt x="81" y="1699"/>
                  </a:lnTo>
                  <a:lnTo>
                    <a:pt x="89" y="1684"/>
                  </a:lnTo>
                  <a:lnTo>
                    <a:pt x="93" y="1669"/>
                  </a:lnTo>
                  <a:lnTo>
                    <a:pt x="95" y="1631"/>
                  </a:lnTo>
                  <a:lnTo>
                    <a:pt x="93" y="1624"/>
                  </a:lnTo>
                  <a:lnTo>
                    <a:pt x="93" y="1612"/>
                  </a:lnTo>
                  <a:lnTo>
                    <a:pt x="95" y="1607"/>
                  </a:lnTo>
                  <a:lnTo>
                    <a:pt x="95" y="1580"/>
                  </a:lnTo>
                  <a:lnTo>
                    <a:pt x="96" y="1571"/>
                  </a:lnTo>
                  <a:lnTo>
                    <a:pt x="100" y="1566"/>
                  </a:lnTo>
                  <a:lnTo>
                    <a:pt x="104" y="1561"/>
                  </a:lnTo>
                  <a:lnTo>
                    <a:pt x="104" y="1550"/>
                  </a:lnTo>
                  <a:lnTo>
                    <a:pt x="95" y="1539"/>
                  </a:lnTo>
                  <a:lnTo>
                    <a:pt x="81" y="1533"/>
                  </a:lnTo>
                  <a:lnTo>
                    <a:pt x="77" y="1523"/>
                  </a:lnTo>
                  <a:lnTo>
                    <a:pt x="81" y="1521"/>
                  </a:lnTo>
                  <a:lnTo>
                    <a:pt x="97" y="1523"/>
                  </a:lnTo>
                  <a:lnTo>
                    <a:pt x="111" y="1522"/>
                  </a:lnTo>
                  <a:lnTo>
                    <a:pt x="113" y="1513"/>
                  </a:lnTo>
                  <a:lnTo>
                    <a:pt x="112" y="1505"/>
                  </a:lnTo>
                  <a:lnTo>
                    <a:pt x="104" y="1496"/>
                  </a:lnTo>
                  <a:lnTo>
                    <a:pt x="90" y="1491"/>
                  </a:lnTo>
                  <a:lnTo>
                    <a:pt x="82" y="1491"/>
                  </a:lnTo>
                  <a:lnTo>
                    <a:pt x="82" y="1486"/>
                  </a:lnTo>
                  <a:lnTo>
                    <a:pt x="86" y="1457"/>
                  </a:lnTo>
                  <a:lnTo>
                    <a:pt x="85" y="1442"/>
                  </a:lnTo>
                  <a:lnTo>
                    <a:pt x="79" y="1432"/>
                  </a:lnTo>
                  <a:lnTo>
                    <a:pt x="77" y="1427"/>
                  </a:lnTo>
                  <a:lnTo>
                    <a:pt x="79" y="1400"/>
                  </a:lnTo>
                  <a:lnTo>
                    <a:pt x="77" y="1395"/>
                  </a:lnTo>
                  <a:lnTo>
                    <a:pt x="74" y="1392"/>
                  </a:lnTo>
                  <a:lnTo>
                    <a:pt x="71" y="1387"/>
                  </a:lnTo>
                  <a:lnTo>
                    <a:pt x="71" y="1351"/>
                  </a:lnTo>
                  <a:lnTo>
                    <a:pt x="77" y="1329"/>
                  </a:lnTo>
                  <a:lnTo>
                    <a:pt x="86" y="1317"/>
                  </a:lnTo>
                  <a:lnTo>
                    <a:pt x="90" y="1308"/>
                  </a:lnTo>
                  <a:lnTo>
                    <a:pt x="91" y="1303"/>
                  </a:lnTo>
                  <a:lnTo>
                    <a:pt x="91" y="1291"/>
                  </a:lnTo>
                  <a:lnTo>
                    <a:pt x="90" y="1287"/>
                  </a:lnTo>
                  <a:lnTo>
                    <a:pt x="81" y="1279"/>
                  </a:lnTo>
                  <a:lnTo>
                    <a:pt x="77" y="1264"/>
                  </a:lnTo>
                  <a:lnTo>
                    <a:pt x="80" y="1235"/>
                  </a:lnTo>
                  <a:lnTo>
                    <a:pt x="89" y="1194"/>
                  </a:lnTo>
                  <a:lnTo>
                    <a:pt x="89" y="1178"/>
                  </a:lnTo>
                  <a:lnTo>
                    <a:pt x="89" y="1173"/>
                  </a:lnTo>
                  <a:lnTo>
                    <a:pt x="106" y="1112"/>
                  </a:lnTo>
                  <a:lnTo>
                    <a:pt x="108" y="1097"/>
                  </a:lnTo>
                  <a:lnTo>
                    <a:pt x="111" y="1091"/>
                  </a:lnTo>
                  <a:lnTo>
                    <a:pt x="116" y="1086"/>
                  </a:lnTo>
                  <a:lnTo>
                    <a:pt x="124" y="1077"/>
                  </a:lnTo>
                  <a:lnTo>
                    <a:pt x="128" y="1068"/>
                  </a:lnTo>
                  <a:lnTo>
                    <a:pt x="128" y="1055"/>
                  </a:lnTo>
                  <a:lnTo>
                    <a:pt x="123" y="1043"/>
                  </a:lnTo>
                  <a:lnTo>
                    <a:pt x="119" y="1016"/>
                  </a:lnTo>
                  <a:lnTo>
                    <a:pt x="119" y="979"/>
                  </a:lnTo>
                  <a:lnTo>
                    <a:pt x="123" y="940"/>
                  </a:lnTo>
                  <a:lnTo>
                    <a:pt x="128" y="926"/>
                  </a:lnTo>
                  <a:lnTo>
                    <a:pt x="134" y="918"/>
                  </a:lnTo>
                  <a:lnTo>
                    <a:pt x="138" y="915"/>
                  </a:lnTo>
                  <a:lnTo>
                    <a:pt x="144" y="915"/>
                  </a:lnTo>
                  <a:lnTo>
                    <a:pt x="146" y="913"/>
                  </a:lnTo>
                  <a:lnTo>
                    <a:pt x="147" y="905"/>
                  </a:lnTo>
                  <a:lnTo>
                    <a:pt x="150" y="902"/>
                  </a:lnTo>
                  <a:lnTo>
                    <a:pt x="156" y="898"/>
                  </a:lnTo>
                  <a:lnTo>
                    <a:pt x="159" y="896"/>
                  </a:lnTo>
                  <a:lnTo>
                    <a:pt x="159" y="888"/>
                  </a:lnTo>
                  <a:lnTo>
                    <a:pt x="156" y="871"/>
                  </a:lnTo>
                  <a:lnTo>
                    <a:pt x="155" y="842"/>
                  </a:lnTo>
                  <a:lnTo>
                    <a:pt x="166" y="832"/>
                  </a:lnTo>
                  <a:lnTo>
                    <a:pt x="167" y="829"/>
                  </a:lnTo>
                  <a:lnTo>
                    <a:pt x="171" y="806"/>
                  </a:lnTo>
                  <a:lnTo>
                    <a:pt x="173" y="799"/>
                  </a:lnTo>
                  <a:lnTo>
                    <a:pt x="179" y="786"/>
                  </a:lnTo>
                  <a:lnTo>
                    <a:pt x="192" y="767"/>
                  </a:lnTo>
                  <a:lnTo>
                    <a:pt x="192" y="751"/>
                  </a:lnTo>
                  <a:lnTo>
                    <a:pt x="190" y="733"/>
                  </a:lnTo>
                  <a:lnTo>
                    <a:pt x="187" y="714"/>
                  </a:lnTo>
                  <a:lnTo>
                    <a:pt x="186" y="709"/>
                  </a:lnTo>
                  <a:lnTo>
                    <a:pt x="178" y="701"/>
                  </a:lnTo>
                  <a:lnTo>
                    <a:pt x="178" y="689"/>
                  </a:lnTo>
                  <a:lnTo>
                    <a:pt x="178" y="679"/>
                  </a:lnTo>
                  <a:lnTo>
                    <a:pt x="165" y="646"/>
                  </a:lnTo>
                  <a:lnTo>
                    <a:pt x="165" y="617"/>
                  </a:lnTo>
                  <a:lnTo>
                    <a:pt x="155" y="607"/>
                  </a:lnTo>
                  <a:lnTo>
                    <a:pt x="155" y="595"/>
                  </a:lnTo>
                  <a:lnTo>
                    <a:pt x="157" y="579"/>
                  </a:lnTo>
                  <a:lnTo>
                    <a:pt x="161" y="568"/>
                  </a:lnTo>
                  <a:lnTo>
                    <a:pt x="162" y="565"/>
                  </a:lnTo>
                  <a:lnTo>
                    <a:pt x="171" y="550"/>
                  </a:lnTo>
                  <a:lnTo>
                    <a:pt x="173" y="536"/>
                  </a:lnTo>
                  <a:lnTo>
                    <a:pt x="179" y="530"/>
                  </a:lnTo>
                  <a:lnTo>
                    <a:pt x="182" y="523"/>
                  </a:lnTo>
                  <a:lnTo>
                    <a:pt x="182" y="520"/>
                  </a:lnTo>
                  <a:lnTo>
                    <a:pt x="186" y="516"/>
                  </a:lnTo>
                  <a:lnTo>
                    <a:pt x="189" y="503"/>
                  </a:lnTo>
                  <a:lnTo>
                    <a:pt x="189" y="493"/>
                  </a:lnTo>
                  <a:lnTo>
                    <a:pt x="188" y="482"/>
                  </a:lnTo>
                  <a:lnTo>
                    <a:pt x="189" y="458"/>
                  </a:lnTo>
                  <a:lnTo>
                    <a:pt x="192" y="450"/>
                  </a:lnTo>
                  <a:lnTo>
                    <a:pt x="198" y="436"/>
                  </a:lnTo>
                  <a:lnTo>
                    <a:pt x="200" y="429"/>
                  </a:lnTo>
                  <a:lnTo>
                    <a:pt x="204" y="408"/>
                  </a:lnTo>
                  <a:lnTo>
                    <a:pt x="210" y="382"/>
                  </a:lnTo>
                  <a:lnTo>
                    <a:pt x="235" y="354"/>
                  </a:lnTo>
                  <a:lnTo>
                    <a:pt x="242" y="329"/>
                  </a:lnTo>
                  <a:lnTo>
                    <a:pt x="245" y="327"/>
                  </a:lnTo>
                  <a:lnTo>
                    <a:pt x="260" y="312"/>
                  </a:lnTo>
                  <a:lnTo>
                    <a:pt x="270" y="308"/>
                  </a:lnTo>
                  <a:lnTo>
                    <a:pt x="275" y="305"/>
                  </a:lnTo>
                  <a:lnTo>
                    <a:pt x="276" y="302"/>
                  </a:lnTo>
                  <a:lnTo>
                    <a:pt x="274" y="288"/>
                  </a:lnTo>
                  <a:lnTo>
                    <a:pt x="270" y="273"/>
                  </a:lnTo>
                  <a:lnTo>
                    <a:pt x="268" y="262"/>
                  </a:lnTo>
                  <a:lnTo>
                    <a:pt x="268" y="236"/>
                  </a:lnTo>
                  <a:lnTo>
                    <a:pt x="263" y="221"/>
                  </a:lnTo>
                  <a:lnTo>
                    <a:pt x="263" y="205"/>
                  </a:lnTo>
                  <a:lnTo>
                    <a:pt x="264" y="203"/>
                  </a:lnTo>
                  <a:lnTo>
                    <a:pt x="270" y="195"/>
                  </a:lnTo>
                  <a:lnTo>
                    <a:pt x="270" y="186"/>
                  </a:lnTo>
                  <a:lnTo>
                    <a:pt x="268" y="176"/>
                  </a:lnTo>
                  <a:lnTo>
                    <a:pt x="268" y="168"/>
                  </a:lnTo>
                  <a:lnTo>
                    <a:pt x="269" y="161"/>
                  </a:lnTo>
                  <a:lnTo>
                    <a:pt x="317" y="139"/>
                  </a:lnTo>
                  <a:lnTo>
                    <a:pt x="335" y="132"/>
                  </a:lnTo>
                  <a:lnTo>
                    <a:pt x="344" y="85"/>
                  </a:lnTo>
                  <a:lnTo>
                    <a:pt x="344" y="73"/>
                  </a:lnTo>
                  <a:lnTo>
                    <a:pt x="339" y="68"/>
                  </a:lnTo>
                  <a:lnTo>
                    <a:pt x="339" y="65"/>
                  </a:lnTo>
                  <a:lnTo>
                    <a:pt x="338" y="65"/>
                  </a:lnTo>
                  <a:lnTo>
                    <a:pt x="338" y="63"/>
                  </a:lnTo>
                  <a:lnTo>
                    <a:pt x="340" y="62"/>
                  </a:lnTo>
                  <a:lnTo>
                    <a:pt x="345" y="58"/>
                  </a:lnTo>
                  <a:lnTo>
                    <a:pt x="351" y="48"/>
                  </a:lnTo>
                  <a:lnTo>
                    <a:pt x="353" y="44"/>
                  </a:lnTo>
                  <a:lnTo>
                    <a:pt x="359" y="36"/>
                  </a:lnTo>
                  <a:lnTo>
                    <a:pt x="367" y="27"/>
                  </a:lnTo>
                  <a:lnTo>
                    <a:pt x="378" y="19"/>
                  </a:lnTo>
                  <a:lnTo>
                    <a:pt x="392" y="1"/>
                  </a:lnTo>
                  <a:lnTo>
                    <a:pt x="396" y="0"/>
                  </a:lnTo>
                  <a:lnTo>
                    <a:pt x="399" y="0"/>
                  </a:lnTo>
                  <a:lnTo>
                    <a:pt x="404" y="6"/>
                  </a:lnTo>
                  <a:lnTo>
                    <a:pt x="413" y="19"/>
                  </a:lnTo>
                  <a:lnTo>
                    <a:pt x="439" y="19"/>
                  </a:lnTo>
                  <a:lnTo>
                    <a:pt x="447" y="21"/>
                  </a:lnTo>
                  <a:lnTo>
                    <a:pt x="452" y="21"/>
                  </a:lnTo>
                  <a:lnTo>
                    <a:pt x="473" y="26"/>
                  </a:lnTo>
                  <a:lnTo>
                    <a:pt x="477" y="30"/>
                  </a:lnTo>
                  <a:lnTo>
                    <a:pt x="480" y="36"/>
                  </a:lnTo>
                  <a:lnTo>
                    <a:pt x="483" y="37"/>
                  </a:lnTo>
                  <a:lnTo>
                    <a:pt x="484" y="41"/>
                  </a:lnTo>
                  <a:lnTo>
                    <a:pt x="495" y="52"/>
                  </a:lnTo>
                  <a:lnTo>
                    <a:pt x="498" y="52"/>
                  </a:lnTo>
                  <a:lnTo>
                    <a:pt x="499" y="46"/>
                  </a:lnTo>
                  <a:lnTo>
                    <a:pt x="504" y="35"/>
                  </a:lnTo>
                  <a:lnTo>
                    <a:pt x="507" y="16"/>
                  </a:lnTo>
                  <a:lnTo>
                    <a:pt x="509" y="12"/>
                  </a:lnTo>
                  <a:lnTo>
                    <a:pt x="517" y="12"/>
                  </a:lnTo>
                  <a:lnTo>
                    <a:pt x="536" y="15"/>
                  </a:lnTo>
                  <a:lnTo>
                    <a:pt x="553" y="15"/>
                  </a:lnTo>
                  <a:lnTo>
                    <a:pt x="561" y="16"/>
                  </a:lnTo>
                  <a:lnTo>
                    <a:pt x="564" y="17"/>
                  </a:lnTo>
                  <a:lnTo>
                    <a:pt x="571" y="22"/>
                  </a:lnTo>
                  <a:lnTo>
                    <a:pt x="577" y="27"/>
                  </a:lnTo>
                  <a:lnTo>
                    <a:pt x="585" y="31"/>
                  </a:lnTo>
                  <a:lnTo>
                    <a:pt x="601" y="36"/>
                  </a:lnTo>
                  <a:lnTo>
                    <a:pt x="607" y="41"/>
                  </a:lnTo>
                  <a:lnTo>
                    <a:pt x="618" y="62"/>
                  </a:lnTo>
                  <a:lnTo>
                    <a:pt x="631" y="75"/>
                  </a:lnTo>
                  <a:lnTo>
                    <a:pt x="634" y="80"/>
                  </a:lnTo>
                  <a:lnTo>
                    <a:pt x="659" y="98"/>
                  </a:lnTo>
                  <a:lnTo>
                    <a:pt x="671" y="105"/>
                  </a:lnTo>
                  <a:lnTo>
                    <a:pt x="674" y="108"/>
                  </a:lnTo>
                  <a:lnTo>
                    <a:pt x="686" y="127"/>
                  </a:lnTo>
                  <a:lnTo>
                    <a:pt x="687" y="128"/>
                  </a:lnTo>
                  <a:lnTo>
                    <a:pt x="692" y="132"/>
                  </a:lnTo>
                  <a:lnTo>
                    <a:pt x="703" y="135"/>
                  </a:lnTo>
                  <a:lnTo>
                    <a:pt x="711" y="136"/>
                  </a:lnTo>
                  <a:lnTo>
                    <a:pt x="740" y="139"/>
                  </a:lnTo>
                  <a:lnTo>
                    <a:pt x="752" y="143"/>
                  </a:lnTo>
                  <a:lnTo>
                    <a:pt x="758" y="145"/>
                  </a:lnTo>
                  <a:lnTo>
                    <a:pt x="784" y="163"/>
                  </a:lnTo>
                  <a:lnTo>
                    <a:pt x="799" y="171"/>
                  </a:lnTo>
                  <a:lnTo>
                    <a:pt x="815" y="179"/>
                  </a:lnTo>
                  <a:lnTo>
                    <a:pt x="823" y="191"/>
                  </a:lnTo>
                  <a:lnTo>
                    <a:pt x="838" y="194"/>
                  </a:lnTo>
                  <a:lnTo>
                    <a:pt x="845" y="200"/>
                  </a:lnTo>
                  <a:lnTo>
                    <a:pt x="850" y="209"/>
                  </a:lnTo>
                  <a:lnTo>
                    <a:pt x="854" y="210"/>
                  </a:lnTo>
                  <a:lnTo>
                    <a:pt x="856" y="214"/>
                  </a:lnTo>
                  <a:lnTo>
                    <a:pt x="858" y="224"/>
                  </a:lnTo>
                  <a:lnTo>
                    <a:pt x="858" y="234"/>
                  </a:lnTo>
                  <a:lnTo>
                    <a:pt x="849" y="247"/>
                  </a:lnTo>
                  <a:lnTo>
                    <a:pt x="834" y="269"/>
                  </a:lnTo>
                  <a:lnTo>
                    <a:pt x="823" y="294"/>
                  </a:lnTo>
                  <a:lnTo>
                    <a:pt x="821" y="302"/>
                  </a:lnTo>
                  <a:lnTo>
                    <a:pt x="819" y="311"/>
                  </a:lnTo>
                  <a:lnTo>
                    <a:pt x="819" y="317"/>
                  </a:lnTo>
                  <a:lnTo>
                    <a:pt x="821" y="321"/>
                  </a:lnTo>
                  <a:lnTo>
                    <a:pt x="843" y="321"/>
                  </a:lnTo>
                  <a:lnTo>
                    <a:pt x="875" y="326"/>
                  </a:lnTo>
                  <a:lnTo>
                    <a:pt x="881" y="328"/>
                  </a:lnTo>
                  <a:lnTo>
                    <a:pt x="898" y="339"/>
                  </a:lnTo>
                  <a:lnTo>
                    <a:pt x="908" y="342"/>
                  </a:lnTo>
                  <a:lnTo>
                    <a:pt x="918" y="340"/>
                  </a:lnTo>
                  <a:lnTo>
                    <a:pt x="923" y="343"/>
                  </a:lnTo>
                  <a:lnTo>
                    <a:pt x="930" y="343"/>
                  </a:lnTo>
                  <a:lnTo>
                    <a:pt x="937" y="340"/>
                  </a:lnTo>
                  <a:lnTo>
                    <a:pt x="941" y="335"/>
                  </a:lnTo>
                  <a:lnTo>
                    <a:pt x="948" y="332"/>
                  </a:lnTo>
                  <a:lnTo>
                    <a:pt x="963" y="333"/>
                  </a:lnTo>
                  <a:lnTo>
                    <a:pt x="972" y="332"/>
                  </a:lnTo>
                  <a:lnTo>
                    <a:pt x="973" y="331"/>
                  </a:lnTo>
                  <a:lnTo>
                    <a:pt x="975" y="327"/>
                  </a:lnTo>
                  <a:lnTo>
                    <a:pt x="990" y="315"/>
                  </a:lnTo>
                  <a:lnTo>
                    <a:pt x="994" y="313"/>
                  </a:lnTo>
                  <a:lnTo>
                    <a:pt x="996" y="310"/>
                  </a:lnTo>
                  <a:lnTo>
                    <a:pt x="1010" y="299"/>
                  </a:lnTo>
                  <a:lnTo>
                    <a:pt x="1018" y="290"/>
                  </a:lnTo>
                  <a:lnTo>
                    <a:pt x="1025" y="280"/>
                  </a:lnTo>
                  <a:lnTo>
                    <a:pt x="1028" y="272"/>
                  </a:lnTo>
                  <a:lnTo>
                    <a:pt x="1031" y="256"/>
                  </a:lnTo>
                  <a:lnTo>
                    <a:pt x="1034" y="225"/>
                  </a:lnTo>
                  <a:lnTo>
                    <a:pt x="1043" y="225"/>
                  </a:lnTo>
                  <a:lnTo>
                    <a:pt x="1047" y="224"/>
                  </a:lnTo>
                  <a:lnTo>
                    <a:pt x="1061" y="224"/>
                  </a:lnTo>
                  <a:lnTo>
                    <a:pt x="1068" y="231"/>
                  </a:lnTo>
                  <a:lnTo>
                    <a:pt x="1080" y="270"/>
                  </a:lnTo>
                  <a:lnTo>
                    <a:pt x="1080" y="302"/>
                  </a:lnTo>
                  <a:lnTo>
                    <a:pt x="1079" y="313"/>
                  </a:lnTo>
                  <a:lnTo>
                    <a:pt x="1076" y="317"/>
                  </a:lnTo>
                  <a:lnTo>
                    <a:pt x="1074" y="321"/>
                  </a:lnTo>
                  <a:lnTo>
                    <a:pt x="1050" y="337"/>
                  </a:lnTo>
                  <a:lnTo>
                    <a:pt x="1043" y="339"/>
                  </a:lnTo>
                  <a:lnTo>
                    <a:pt x="1031" y="340"/>
                  </a:lnTo>
                  <a:lnTo>
                    <a:pt x="1023" y="344"/>
                  </a:lnTo>
                  <a:lnTo>
                    <a:pt x="1014" y="356"/>
                  </a:lnTo>
                  <a:lnTo>
                    <a:pt x="1005" y="366"/>
                  </a:lnTo>
                  <a:lnTo>
                    <a:pt x="961" y="404"/>
                  </a:lnTo>
                  <a:lnTo>
                    <a:pt x="959" y="408"/>
                  </a:lnTo>
                  <a:lnTo>
                    <a:pt x="955" y="415"/>
                  </a:lnTo>
                  <a:lnTo>
                    <a:pt x="935" y="440"/>
                  </a:lnTo>
                  <a:lnTo>
                    <a:pt x="932" y="446"/>
                  </a:lnTo>
                  <a:lnTo>
                    <a:pt x="914" y="467"/>
                  </a:lnTo>
                  <a:lnTo>
                    <a:pt x="899" y="479"/>
                  </a:lnTo>
                  <a:lnTo>
                    <a:pt x="892" y="488"/>
                  </a:lnTo>
                  <a:lnTo>
                    <a:pt x="883" y="494"/>
                  </a:lnTo>
                  <a:lnTo>
                    <a:pt x="881" y="499"/>
                  </a:lnTo>
                  <a:lnTo>
                    <a:pt x="872" y="509"/>
                  </a:lnTo>
                  <a:lnTo>
                    <a:pt x="862" y="514"/>
                  </a:lnTo>
                  <a:lnTo>
                    <a:pt x="861" y="520"/>
                  </a:lnTo>
                  <a:lnTo>
                    <a:pt x="851" y="528"/>
                  </a:lnTo>
                  <a:lnTo>
                    <a:pt x="850" y="531"/>
                  </a:lnTo>
                  <a:lnTo>
                    <a:pt x="853" y="554"/>
                  </a:lnTo>
                  <a:lnTo>
                    <a:pt x="848" y="576"/>
                  </a:lnTo>
                  <a:lnTo>
                    <a:pt x="848" y="591"/>
                  </a:lnTo>
                  <a:lnTo>
                    <a:pt x="846" y="601"/>
                  </a:lnTo>
                  <a:lnTo>
                    <a:pt x="838" y="625"/>
                  </a:lnTo>
                  <a:lnTo>
                    <a:pt x="838" y="676"/>
                  </a:lnTo>
                  <a:lnTo>
                    <a:pt x="835" y="686"/>
                  </a:lnTo>
                  <a:lnTo>
                    <a:pt x="834" y="692"/>
                  </a:lnTo>
                  <a:lnTo>
                    <a:pt x="826" y="705"/>
                  </a:lnTo>
                  <a:lnTo>
                    <a:pt x="823" y="714"/>
                  </a:lnTo>
                  <a:lnTo>
                    <a:pt x="818" y="740"/>
                  </a:lnTo>
                  <a:lnTo>
                    <a:pt x="817" y="756"/>
                  </a:lnTo>
                  <a:lnTo>
                    <a:pt x="818" y="765"/>
                  </a:lnTo>
                  <a:lnTo>
                    <a:pt x="817" y="774"/>
                  </a:lnTo>
                  <a:lnTo>
                    <a:pt x="813" y="776"/>
                  </a:lnTo>
                  <a:lnTo>
                    <a:pt x="822" y="796"/>
                  </a:lnTo>
                  <a:lnTo>
                    <a:pt x="846" y="810"/>
                  </a:lnTo>
                  <a:lnTo>
                    <a:pt x="856" y="817"/>
                  </a:lnTo>
                  <a:lnTo>
                    <a:pt x="869" y="828"/>
                  </a:lnTo>
                  <a:lnTo>
                    <a:pt x="885" y="845"/>
                  </a:lnTo>
                  <a:lnTo>
                    <a:pt x="886" y="855"/>
                  </a:lnTo>
                  <a:lnTo>
                    <a:pt x="875" y="880"/>
                  </a:lnTo>
                  <a:lnTo>
                    <a:pt x="878" y="892"/>
                  </a:lnTo>
                  <a:lnTo>
                    <a:pt x="889" y="907"/>
                  </a:lnTo>
                  <a:lnTo>
                    <a:pt x="903" y="913"/>
                  </a:lnTo>
                  <a:lnTo>
                    <a:pt x="913" y="912"/>
                  </a:lnTo>
                  <a:lnTo>
                    <a:pt x="914" y="921"/>
                  </a:lnTo>
                  <a:lnTo>
                    <a:pt x="914" y="950"/>
                  </a:lnTo>
                  <a:lnTo>
                    <a:pt x="908" y="963"/>
                  </a:lnTo>
                  <a:lnTo>
                    <a:pt x="889" y="991"/>
                  </a:lnTo>
                  <a:lnTo>
                    <a:pt x="877" y="1004"/>
                  </a:lnTo>
                  <a:lnTo>
                    <a:pt x="870" y="1015"/>
                  </a:lnTo>
                  <a:lnTo>
                    <a:pt x="865" y="1039"/>
                  </a:lnTo>
                  <a:lnTo>
                    <a:pt x="854" y="1049"/>
                  </a:lnTo>
                  <a:lnTo>
                    <a:pt x="840" y="1056"/>
                  </a:lnTo>
                  <a:lnTo>
                    <a:pt x="815" y="1065"/>
                  </a:lnTo>
                  <a:lnTo>
                    <a:pt x="805" y="1065"/>
                  </a:lnTo>
                  <a:lnTo>
                    <a:pt x="790" y="1072"/>
                  </a:lnTo>
                  <a:lnTo>
                    <a:pt x="765" y="1080"/>
                  </a:lnTo>
                  <a:lnTo>
                    <a:pt x="753" y="1082"/>
                  </a:lnTo>
                  <a:lnTo>
                    <a:pt x="733" y="1083"/>
                  </a:lnTo>
                  <a:lnTo>
                    <a:pt x="711" y="1091"/>
                  </a:lnTo>
                  <a:lnTo>
                    <a:pt x="677" y="1096"/>
                  </a:lnTo>
                  <a:lnTo>
                    <a:pt x="650" y="1096"/>
                  </a:lnTo>
                  <a:lnTo>
                    <a:pt x="620" y="1091"/>
                  </a:lnTo>
                  <a:lnTo>
                    <a:pt x="607" y="1079"/>
                  </a:lnTo>
                  <a:lnTo>
                    <a:pt x="604" y="1088"/>
                  </a:lnTo>
                  <a:lnTo>
                    <a:pt x="607" y="1113"/>
                  </a:lnTo>
                  <a:lnTo>
                    <a:pt x="616" y="1122"/>
                  </a:lnTo>
                  <a:lnTo>
                    <a:pt x="619" y="1130"/>
                  </a:lnTo>
                  <a:lnTo>
                    <a:pt x="617" y="1147"/>
                  </a:lnTo>
                  <a:lnTo>
                    <a:pt x="614" y="1155"/>
                  </a:lnTo>
                  <a:lnTo>
                    <a:pt x="611" y="1157"/>
                  </a:lnTo>
                  <a:lnTo>
                    <a:pt x="609" y="1156"/>
                  </a:lnTo>
                  <a:lnTo>
                    <a:pt x="604" y="1169"/>
                  </a:lnTo>
                  <a:lnTo>
                    <a:pt x="602" y="1184"/>
                  </a:lnTo>
                  <a:lnTo>
                    <a:pt x="607" y="1214"/>
                  </a:lnTo>
                  <a:lnTo>
                    <a:pt x="607" y="1221"/>
                  </a:lnTo>
                  <a:lnTo>
                    <a:pt x="603" y="1230"/>
                  </a:lnTo>
                  <a:lnTo>
                    <a:pt x="597" y="1237"/>
                  </a:lnTo>
                  <a:lnTo>
                    <a:pt x="580" y="1241"/>
                  </a:lnTo>
                  <a:lnTo>
                    <a:pt x="564" y="1252"/>
                  </a:lnTo>
                  <a:lnTo>
                    <a:pt x="526" y="1251"/>
                  </a:lnTo>
                  <a:lnTo>
                    <a:pt x="517" y="1247"/>
                  </a:lnTo>
                  <a:lnTo>
                    <a:pt x="507" y="1241"/>
                  </a:lnTo>
                  <a:lnTo>
                    <a:pt x="487" y="1232"/>
                  </a:lnTo>
                  <a:lnTo>
                    <a:pt x="472" y="1227"/>
                  </a:lnTo>
                  <a:lnTo>
                    <a:pt x="462" y="1216"/>
                  </a:lnTo>
                  <a:lnTo>
                    <a:pt x="451" y="1230"/>
                  </a:lnTo>
                  <a:lnTo>
                    <a:pt x="451" y="1251"/>
                  </a:lnTo>
                  <a:lnTo>
                    <a:pt x="457" y="1270"/>
                  </a:lnTo>
                  <a:lnTo>
                    <a:pt x="458" y="1302"/>
                  </a:lnTo>
                  <a:lnTo>
                    <a:pt x="459" y="1317"/>
                  </a:lnTo>
                  <a:lnTo>
                    <a:pt x="473" y="1329"/>
                  </a:lnTo>
                  <a:lnTo>
                    <a:pt x="487" y="1333"/>
                  </a:lnTo>
                  <a:lnTo>
                    <a:pt x="482" y="1340"/>
                  </a:lnTo>
                  <a:lnTo>
                    <a:pt x="489" y="1345"/>
                  </a:lnTo>
                  <a:lnTo>
                    <a:pt x="509" y="1340"/>
                  </a:lnTo>
                  <a:lnTo>
                    <a:pt x="505" y="1332"/>
                  </a:lnTo>
                  <a:lnTo>
                    <a:pt x="499" y="1328"/>
                  </a:lnTo>
                  <a:lnTo>
                    <a:pt x="515" y="1325"/>
                  </a:lnTo>
                  <a:lnTo>
                    <a:pt x="527" y="1317"/>
                  </a:lnTo>
                  <a:lnTo>
                    <a:pt x="534" y="1329"/>
                  </a:lnTo>
                  <a:lnTo>
                    <a:pt x="538" y="1355"/>
                  </a:lnTo>
                  <a:lnTo>
                    <a:pt x="536" y="1367"/>
                  </a:lnTo>
                  <a:lnTo>
                    <a:pt x="528" y="1372"/>
                  </a:lnTo>
                  <a:lnTo>
                    <a:pt x="518" y="1376"/>
                  </a:lnTo>
                  <a:lnTo>
                    <a:pt x="509" y="1376"/>
                  </a:lnTo>
                  <a:lnTo>
                    <a:pt x="501" y="1372"/>
                  </a:lnTo>
                  <a:lnTo>
                    <a:pt x="500" y="1360"/>
                  </a:lnTo>
                  <a:lnTo>
                    <a:pt x="495" y="1354"/>
                  </a:lnTo>
                  <a:lnTo>
                    <a:pt x="484" y="1351"/>
                  </a:lnTo>
                  <a:lnTo>
                    <a:pt x="475" y="1354"/>
                  </a:lnTo>
                  <a:lnTo>
                    <a:pt x="469" y="1360"/>
                  </a:lnTo>
                  <a:lnTo>
                    <a:pt x="463" y="1361"/>
                  </a:lnTo>
                  <a:lnTo>
                    <a:pt x="458" y="1366"/>
                  </a:lnTo>
                  <a:lnTo>
                    <a:pt x="458" y="1372"/>
                  </a:lnTo>
                  <a:lnTo>
                    <a:pt x="475" y="1381"/>
                  </a:lnTo>
                  <a:lnTo>
                    <a:pt x="487" y="1382"/>
                  </a:lnTo>
                  <a:lnTo>
                    <a:pt x="494" y="1384"/>
                  </a:lnTo>
                  <a:lnTo>
                    <a:pt x="500" y="1387"/>
                  </a:lnTo>
                  <a:lnTo>
                    <a:pt x="499" y="1389"/>
                  </a:lnTo>
                  <a:lnTo>
                    <a:pt x="466" y="1407"/>
                  </a:lnTo>
                  <a:lnTo>
                    <a:pt x="461" y="1414"/>
                  </a:lnTo>
                  <a:lnTo>
                    <a:pt x="457" y="1423"/>
                  </a:lnTo>
                  <a:lnTo>
                    <a:pt x="448" y="1432"/>
                  </a:lnTo>
                  <a:lnTo>
                    <a:pt x="446" y="1445"/>
                  </a:lnTo>
                  <a:lnTo>
                    <a:pt x="450" y="1461"/>
                  </a:lnTo>
                  <a:lnTo>
                    <a:pt x="448" y="1474"/>
                  </a:lnTo>
                  <a:lnTo>
                    <a:pt x="448" y="1490"/>
                  </a:lnTo>
                  <a:lnTo>
                    <a:pt x="445" y="1501"/>
                  </a:lnTo>
                  <a:lnTo>
                    <a:pt x="440" y="1506"/>
                  </a:lnTo>
                  <a:lnTo>
                    <a:pt x="432" y="1508"/>
                  </a:lnTo>
                  <a:lnTo>
                    <a:pt x="426" y="1520"/>
                  </a:lnTo>
                  <a:lnTo>
                    <a:pt x="431" y="1533"/>
                  </a:lnTo>
                  <a:lnTo>
                    <a:pt x="432" y="1538"/>
                  </a:lnTo>
                  <a:lnTo>
                    <a:pt x="429" y="1544"/>
                  </a:lnTo>
                  <a:lnTo>
                    <a:pt x="396" y="1542"/>
                  </a:lnTo>
                  <a:lnTo>
                    <a:pt x="386" y="1547"/>
                  </a:lnTo>
                  <a:lnTo>
                    <a:pt x="378" y="1556"/>
                  </a:lnTo>
                  <a:lnTo>
                    <a:pt x="369" y="1556"/>
                  </a:lnTo>
                  <a:lnTo>
                    <a:pt x="359" y="1561"/>
                  </a:lnTo>
                  <a:lnTo>
                    <a:pt x="342" y="1580"/>
                  </a:lnTo>
                  <a:lnTo>
                    <a:pt x="335" y="1588"/>
                  </a:lnTo>
                  <a:lnTo>
                    <a:pt x="333" y="1597"/>
                  </a:lnTo>
                  <a:lnTo>
                    <a:pt x="322" y="1615"/>
                  </a:lnTo>
                  <a:lnTo>
                    <a:pt x="318" y="1633"/>
                  </a:lnTo>
                  <a:lnTo>
                    <a:pt x="321" y="1640"/>
                  </a:lnTo>
                  <a:lnTo>
                    <a:pt x="327" y="1653"/>
                  </a:lnTo>
                  <a:lnTo>
                    <a:pt x="333" y="1664"/>
                  </a:lnTo>
                  <a:lnTo>
                    <a:pt x="343" y="1672"/>
                  </a:lnTo>
                  <a:lnTo>
                    <a:pt x="365" y="1696"/>
                  </a:lnTo>
                  <a:lnTo>
                    <a:pt x="389" y="1706"/>
                  </a:lnTo>
                  <a:lnTo>
                    <a:pt x="402" y="1707"/>
                  </a:lnTo>
                  <a:lnTo>
                    <a:pt x="414" y="1705"/>
                  </a:lnTo>
                  <a:lnTo>
                    <a:pt x="421" y="1712"/>
                  </a:lnTo>
                  <a:lnTo>
                    <a:pt x="424" y="1723"/>
                  </a:lnTo>
                  <a:lnTo>
                    <a:pt x="424" y="1739"/>
                  </a:lnTo>
                  <a:lnTo>
                    <a:pt x="417" y="1752"/>
                  </a:lnTo>
                  <a:lnTo>
                    <a:pt x="413" y="1754"/>
                  </a:lnTo>
                  <a:lnTo>
                    <a:pt x="417" y="1766"/>
                  </a:lnTo>
                  <a:lnTo>
                    <a:pt x="418" y="1776"/>
                  </a:lnTo>
                  <a:lnTo>
                    <a:pt x="410" y="1780"/>
                  </a:lnTo>
                  <a:lnTo>
                    <a:pt x="409" y="1791"/>
                  </a:lnTo>
                  <a:lnTo>
                    <a:pt x="402" y="1791"/>
                  </a:lnTo>
                  <a:lnTo>
                    <a:pt x="393" y="1796"/>
                  </a:lnTo>
                  <a:lnTo>
                    <a:pt x="376" y="1813"/>
                  </a:lnTo>
                  <a:lnTo>
                    <a:pt x="358" y="1829"/>
                  </a:lnTo>
                  <a:lnTo>
                    <a:pt x="350" y="1833"/>
                  </a:lnTo>
                  <a:lnTo>
                    <a:pt x="335" y="1849"/>
                  </a:lnTo>
                  <a:lnTo>
                    <a:pt x="321" y="1862"/>
                  </a:lnTo>
                  <a:lnTo>
                    <a:pt x="312" y="1882"/>
                  </a:lnTo>
                  <a:lnTo>
                    <a:pt x="310" y="1894"/>
                  </a:lnTo>
                  <a:lnTo>
                    <a:pt x="318" y="1887"/>
                  </a:lnTo>
                  <a:lnTo>
                    <a:pt x="310" y="1924"/>
                  </a:lnTo>
                  <a:lnTo>
                    <a:pt x="305" y="1940"/>
                  </a:lnTo>
                  <a:lnTo>
                    <a:pt x="296" y="1948"/>
                  </a:lnTo>
                  <a:lnTo>
                    <a:pt x="286" y="1953"/>
                  </a:lnTo>
                  <a:lnTo>
                    <a:pt x="276" y="1953"/>
                  </a:lnTo>
                  <a:lnTo>
                    <a:pt x="269" y="1946"/>
                  </a:lnTo>
                  <a:lnTo>
                    <a:pt x="258" y="1925"/>
                  </a:lnTo>
                  <a:lnTo>
                    <a:pt x="260" y="1945"/>
                  </a:lnTo>
                  <a:lnTo>
                    <a:pt x="268" y="1948"/>
                  </a:lnTo>
                  <a:lnTo>
                    <a:pt x="270" y="1954"/>
                  </a:lnTo>
                  <a:lnTo>
                    <a:pt x="270" y="1959"/>
                  </a:lnTo>
                  <a:lnTo>
                    <a:pt x="248" y="1974"/>
                  </a:lnTo>
                  <a:lnTo>
                    <a:pt x="238" y="1983"/>
                  </a:lnTo>
                  <a:lnTo>
                    <a:pt x="226" y="2026"/>
                  </a:lnTo>
                  <a:lnTo>
                    <a:pt x="219" y="2037"/>
                  </a:lnTo>
                  <a:lnTo>
                    <a:pt x="225" y="2037"/>
                  </a:lnTo>
                  <a:lnTo>
                    <a:pt x="230" y="2033"/>
                  </a:lnTo>
                  <a:lnTo>
                    <a:pt x="237" y="2058"/>
                  </a:lnTo>
                  <a:lnTo>
                    <a:pt x="241" y="2074"/>
                  </a:lnTo>
                  <a:lnTo>
                    <a:pt x="237" y="2081"/>
                  </a:lnTo>
                  <a:lnTo>
                    <a:pt x="225" y="2080"/>
                  </a:lnTo>
                  <a:lnTo>
                    <a:pt x="220" y="2082"/>
                  </a:lnTo>
                  <a:lnTo>
                    <a:pt x="229" y="2089"/>
                  </a:lnTo>
                  <a:lnTo>
                    <a:pt x="233" y="2088"/>
                  </a:lnTo>
                  <a:lnTo>
                    <a:pt x="240" y="2089"/>
                  </a:lnTo>
                  <a:lnTo>
                    <a:pt x="256" y="2120"/>
                  </a:lnTo>
                  <a:lnTo>
                    <a:pt x="275" y="2145"/>
                  </a:lnTo>
                  <a:lnTo>
                    <a:pt x="275" y="214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32" name="Freeform 253">
              <a:extLst>
                <a:ext uri="{FF2B5EF4-FFF2-40B4-BE49-F238E27FC236}">
                  <a16:creationId xmlns:a16="http://schemas.microsoft.com/office/drawing/2014/main" id="{CDF39914-DA55-F47B-4631-553E48DD978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4071903" y="4156565"/>
              <a:ext cx="119387" cy="128034"/>
            </a:xfrm>
            <a:custGeom>
              <a:avLst/>
              <a:gdLst>
                <a:gd name="T0" fmla="*/ 0 w 226"/>
                <a:gd name="T1" fmla="*/ 0 h 221"/>
                <a:gd name="T2" fmla="*/ 0 w 226"/>
                <a:gd name="T3" fmla="*/ 0 h 221"/>
                <a:gd name="T4" fmla="*/ 0 w 226"/>
                <a:gd name="T5" fmla="*/ 0 h 221"/>
                <a:gd name="T6" fmla="*/ 0 w 226"/>
                <a:gd name="T7" fmla="*/ 0 h 221"/>
                <a:gd name="T8" fmla="*/ 0 w 226"/>
                <a:gd name="T9" fmla="*/ 0 h 221"/>
                <a:gd name="T10" fmla="*/ 0 w 226"/>
                <a:gd name="T11" fmla="*/ 0 h 221"/>
                <a:gd name="T12" fmla="*/ 0 w 226"/>
                <a:gd name="T13" fmla="*/ 0 h 221"/>
                <a:gd name="T14" fmla="*/ 0 w 226"/>
                <a:gd name="T15" fmla="*/ 0 h 221"/>
                <a:gd name="T16" fmla="*/ 0 w 226"/>
                <a:gd name="T17" fmla="*/ 0 h 221"/>
                <a:gd name="T18" fmla="*/ 0 w 226"/>
                <a:gd name="T19" fmla="*/ 0 h 221"/>
                <a:gd name="T20" fmla="*/ 0 w 226"/>
                <a:gd name="T21" fmla="*/ 0 h 221"/>
                <a:gd name="T22" fmla="*/ 0 w 226"/>
                <a:gd name="T23" fmla="*/ 0 h 221"/>
                <a:gd name="T24" fmla="*/ 0 w 226"/>
                <a:gd name="T25" fmla="*/ 0 h 221"/>
                <a:gd name="T26" fmla="*/ 0 w 226"/>
                <a:gd name="T27" fmla="*/ 0 h 221"/>
                <a:gd name="T28" fmla="*/ 0 w 226"/>
                <a:gd name="T29" fmla="*/ 0 h 221"/>
                <a:gd name="T30" fmla="*/ 0 w 226"/>
                <a:gd name="T31" fmla="*/ 0 h 221"/>
                <a:gd name="T32" fmla="*/ 0 w 226"/>
                <a:gd name="T33" fmla="*/ 0 h 221"/>
                <a:gd name="T34" fmla="*/ 0 w 226"/>
                <a:gd name="T35" fmla="*/ 0 h 221"/>
                <a:gd name="T36" fmla="*/ 0 w 226"/>
                <a:gd name="T37" fmla="*/ 0 h 221"/>
                <a:gd name="T38" fmla="*/ 0 w 226"/>
                <a:gd name="T39" fmla="*/ 0 h 221"/>
                <a:gd name="T40" fmla="*/ 0 w 226"/>
                <a:gd name="T41" fmla="*/ 0 h 221"/>
                <a:gd name="T42" fmla="*/ 0 w 226"/>
                <a:gd name="T43" fmla="*/ 0 h 221"/>
                <a:gd name="T44" fmla="*/ 0 w 226"/>
                <a:gd name="T45" fmla="*/ 0 h 221"/>
                <a:gd name="T46" fmla="*/ 0 w 226"/>
                <a:gd name="T47" fmla="*/ 0 h 221"/>
                <a:gd name="T48" fmla="*/ 0 w 226"/>
                <a:gd name="T49" fmla="*/ 0 h 221"/>
                <a:gd name="T50" fmla="*/ 0 w 226"/>
                <a:gd name="T51" fmla="*/ 0 h 221"/>
                <a:gd name="T52" fmla="*/ 0 w 226"/>
                <a:gd name="T53" fmla="*/ 0 h 221"/>
                <a:gd name="T54" fmla="*/ 0 w 226"/>
                <a:gd name="T55" fmla="*/ 0 h 221"/>
                <a:gd name="T56" fmla="*/ 0 w 226"/>
                <a:gd name="T57" fmla="*/ 0 h 221"/>
                <a:gd name="T58" fmla="*/ 0 w 226"/>
                <a:gd name="T59" fmla="*/ 0 h 221"/>
                <a:gd name="T60" fmla="*/ 0 w 226"/>
                <a:gd name="T61" fmla="*/ 0 h 221"/>
                <a:gd name="T62" fmla="*/ 0 w 226"/>
                <a:gd name="T63" fmla="*/ 0 h 221"/>
                <a:gd name="T64" fmla="*/ 0 w 226"/>
                <a:gd name="T65" fmla="*/ 0 h 221"/>
                <a:gd name="T66" fmla="*/ 0 w 226"/>
                <a:gd name="T67" fmla="*/ 0 h 221"/>
                <a:gd name="T68" fmla="*/ 0 w 226"/>
                <a:gd name="T69" fmla="*/ 0 h 221"/>
                <a:gd name="T70" fmla="*/ 0 w 226"/>
                <a:gd name="T71" fmla="*/ 0 h 221"/>
                <a:gd name="T72" fmla="*/ 0 w 226"/>
                <a:gd name="T73" fmla="*/ 0 h 221"/>
                <a:gd name="T74" fmla="*/ 0 w 226"/>
                <a:gd name="T75" fmla="*/ 0 h 221"/>
                <a:gd name="T76" fmla="*/ 0 w 226"/>
                <a:gd name="T77" fmla="*/ 0 h 221"/>
                <a:gd name="T78" fmla="*/ 0 w 226"/>
                <a:gd name="T79" fmla="*/ 0 h 221"/>
                <a:gd name="T80" fmla="*/ 0 w 226"/>
                <a:gd name="T81" fmla="*/ 0 h 22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26"/>
                <a:gd name="T124" fmla="*/ 0 h 221"/>
                <a:gd name="T125" fmla="*/ 226 w 226"/>
                <a:gd name="T126" fmla="*/ 221 h 22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26" h="221">
                  <a:moveTo>
                    <a:pt x="203" y="197"/>
                  </a:moveTo>
                  <a:lnTo>
                    <a:pt x="197" y="195"/>
                  </a:lnTo>
                  <a:lnTo>
                    <a:pt x="193" y="193"/>
                  </a:lnTo>
                  <a:lnTo>
                    <a:pt x="172" y="187"/>
                  </a:lnTo>
                  <a:lnTo>
                    <a:pt x="150" y="193"/>
                  </a:lnTo>
                  <a:lnTo>
                    <a:pt x="146" y="193"/>
                  </a:lnTo>
                  <a:lnTo>
                    <a:pt x="136" y="190"/>
                  </a:lnTo>
                  <a:lnTo>
                    <a:pt x="129" y="190"/>
                  </a:lnTo>
                  <a:lnTo>
                    <a:pt x="123" y="193"/>
                  </a:lnTo>
                  <a:lnTo>
                    <a:pt x="124" y="217"/>
                  </a:lnTo>
                  <a:lnTo>
                    <a:pt x="120" y="221"/>
                  </a:lnTo>
                  <a:lnTo>
                    <a:pt x="103" y="221"/>
                  </a:lnTo>
                  <a:lnTo>
                    <a:pt x="91" y="216"/>
                  </a:lnTo>
                  <a:lnTo>
                    <a:pt x="91" y="214"/>
                  </a:lnTo>
                  <a:lnTo>
                    <a:pt x="89" y="214"/>
                  </a:lnTo>
                  <a:lnTo>
                    <a:pt x="79" y="205"/>
                  </a:lnTo>
                  <a:lnTo>
                    <a:pt x="65" y="188"/>
                  </a:lnTo>
                  <a:lnTo>
                    <a:pt x="59" y="178"/>
                  </a:lnTo>
                  <a:lnTo>
                    <a:pt x="58" y="172"/>
                  </a:lnTo>
                  <a:lnTo>
                    <a:pt x="52" y="166"/>
                  </a:lnTo>
                  <a:lnTo>
                    <a:pt x="52" y="156"/>
                  </a:lnTo>
                  <a:lnTo>
                    <a:pt x="47" y="151"/>
                  </a:lnTo>
                  <a:lnTo>
                    <a:pt x="46" y="143"/>
                  </a:lnTo>
                  <a:lnTo>
                    <a:pt x="43" y="140"/>
                  </a:lnTo>
                  <a:lnTo>
                    <a:pt x="32" y="140"/>
                  </a:lnTo>
                  <a:lnTo>
                    <a:pt x="30" y="139"/>
                  </a:lnTo>
                  <a:lnTo>
                    <a:pt x="26" y="135"/>
                  </a:lnTo>
                  <a:lnTo>
                    <a:pt x="26" y="130"/>
                  </a:lnTo>
                  <a:lnTo>
                    <a:pt x="17" y="123"/>
                  </a:lnTo>
                  <a:lnTo>
                    <a:pt x="15" y="122"/>
                  </a:lnTo>
                  <a:lnTo>
                    <a:pt x="6" y="107"/>
                  </a:lnTo>
                  <a:lnTo>
                    <a:pt x="0" y="101"/>
                  </a:lnTo>
                  <a:lnTo>
                    <a:pt x="0" y="95"/>
                  </a:lnTo>
                  <a:lnTo>
                    <a:pt x="4" y="84"/>
                  </a:lnTo>
                  <a:lnTo>
                    <a:pt x="9" y="75"/>
                  </a:lnTo>
                  <a:lnTo>
                    <a:pt x="9" y="60"/>
                  </a:lnTo>
                  <a:lnTo>
                    <a:pt x="10" y="58"/>
                  </a:lnTo>
                  <a:lnTo>
                    <a:pt x="11" y="55"/>
                  </a:lnTo>
                  <a:lnTo>
                    <a:pt x="15" y="53"/>
                  </a:lnTo>
                  <a:lnTo>
                    <a:pt x="22" y="50"/>
                  </a:lnTo>
                  <a:lnTo>
                    <a:pt x="32" y="50"/>
                  </a:lnTo>
                  <a:lnTo>
                    <a:pt x="38" y="49"/>
                  </a:lnTo>
                  <a:lnTo>
                    <a:pt x="39" y="46"/>
                  </a:lnTo>
                  <a:lnTo>
                    <a:pt x="46" y="39"/>
                  </a:lnTo>
                  <a:lnTo>
                    <a:pt x="46" y="32"/>
                  </a:lnTo>
                  <a:lnTo>
                    <a:pt x="44" y="32"/>
                  </a:lnTo>
                  <a:lnTo>
                    <a:pt x="42" y="30"/>
                  </a:lnTo>
                  <a:lnTo>
                    <a:pt x="43" y="26"/>
                  </a:lnTo>
                  <a:lnTo>
                    <a:pt x="50" y="15"/>
                  </a:lnTo>
                  <a:lnTo>
                    <a:pt x="57" y="9"/>
                  </a:lnTo>
                  <a:lnTo>
                    <a:pt x="58" y="6"/>
                  </a:lnTo>
                  <a:lnTo>
                    <a:pt x="62" y="5"/>
                  </a:lnTo>
                  <a:lnTo>
                    <a:pt x="66" y="0"/>
                  </a:lnTo>
                  <a:lnTo>
                    <a:pt x="71" y="0"/>
                  </a:lnTo>
                  <a:lnTo>
                    <a:pt x="95" y="6"/>
                  </a:lnTo>
                  <a:lnTo>
                    <a:pt x="114" y="6"/>
                  </a:lnTo>
                  <a:lnTo>
                    <a:pt x="139" y="1"/>
                  </a:lnTo>
                  <a:lnTo>
                    <a:pt x="154" y="3"/>
                  </a:lnTo>
                  <a:lnTo>
                    <a:pt x="166" y="1"/>
                  </a:lnTo>
                  <a:lnTo>
                    <a:pt x="168" y="0"/>
                  </a:lnTo>
                  <a:lnTo>
                    <a:pt x="175" y="0"/>
                  </a:lnTo>
                  <a:lnTo>
                    <a:pt x="200" y="3"/>
                  </a:lnTo>
                  <a:lnTo>
                    <a:pt x="225" y="10"/>
                  </a:lnTo>
                  <a:lnTo>
                    <a:pt x="225" y="11"/>
                  </a:lnTo>
                  <a:lnTo>
                    <a:pt x="225" y="22"/>
                  </a:lnTo>
                  <a:lnTo>
                    <a:pt x="222" y="25"/>
                  </a:lnTo>
                  <a:lnTo>
                    <a:pt x="222" y="27"/>
                  </a:lnTo>
                  <a:lnTo>
                    <a:pt x="218" y="33"/>
                  </a:lnTo>
                  <a:lnTo>
                    <a:pt x="210" y="39"/>
                  </a:lnTo>
                  <a:lnTo>
                    <a:pt x="206" y="49"/>
                  </a:lnTo>
                  <a:lnTo>
                    <a:pt x="206" y="71"/>
                  </a:lnTo>
                  <a:lnTo>
                    <a:pt x="208" y="90"/>
                  </a:lnTo>
                  <a:lnTo>
                    <a:pt x="211" y="101"/>
                  </a:lnTo>
                  <a:lnTo>
                    <a:pt x="220" y="114"/>
                  </a:lnTo>
                  <a:lnTo>
                    <a:pt x="220" y="116"/>
                  </a:lnTo>
                  <a:lnTo>
                    <a:pt x="221" y="117"/>
                  </a:lnTo>
                  <a:lnTo>
                    <a:pt x="226" y="125"/>
                  </a:lnTo>
                  <a:lnTo>
                    <a:pt x="225" y="140"/>
                  </a:lnTo>
                  <a:lnTo>
                    <a:pt x="220" y="162"/>
                  </a:lnTo>
                  <a:lnTo>
                    <a:pt x="218" y="181"/>
                  </a:lnTo>
                  <a:lnTo>
                    <a:pt x="216" y="184"/>
                  </a:lnTo>
                  <a:lnTo>
                    <a:pt x="203" y="19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33" name="Freeform 254">
              <a:extLst>
                <a:ext uri="{FF2B5EF4-FFF2-40B4-BE49-F238E27FC236}">
                  <a16:creationId xmlns:a16="http://schemas.microsoft.com/office/drawing/2014/main" id="{CB139EAC-F9B0-3846-3568-8624290D005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834620" y="3970611"/>
              <a:ext cx="10447" cy="12193"/>
            </a:xfrm>
            <a:custGeom>
              <a:avLst/>
              <a:gdLst>
                <a:gd name="T0" fmla="*/ 0 w 183"/>
                <a:gd name="T1" fmla="*/ 0 h 93"/>
                <a:gd name="T2" fmla="*/ 0 w 183"/>
                <a:gd name="T3" fmla="*/ 0 h 93"/>
                <a:gd name="T4" fmla="*/ 0 w 183"/>
                <a:gd name="T5" fmla="*/ 0 h 93"/>
                <a:gd name="T6" fmla="*/ 0 w 183"/>
                <a:gd name="T7" fmla="*/ 0 h 93"/>
                <a:gd name="T8" fmla="*/ 0 w 183"/>
                <a:gd name="T9" fmla="*/ 0 h 93"/>
                <a:gd name="T10" fmla="*/ 0 w 183"/>
                <a:gd name="T11" fmla="*/ 0 h 93"/>
                <a:gd name="T12" fmla="*/ 0 w 183"/>
                <a:gd name="T13" fmla="*/ 0 h 93"/>
                <a:gd name="T14" fmla="*/ 0 w 183"/>
                <a:gd name="T15" fmla="*/ 0 h 93"/>
                <a:gd name="T16" fmla="*/ 0 w 183"/>
                <a:gd name="T17" fmla="*/ 0 h 93"/>
                <a:gd name="T18" fmla="*/ 0 w 183"/>
                <a:gd name="T19" fmla="*/ 0 h 93"/>
                <a:gd name="T20" fmla="*/ 0 w 183"/>
                <a:gd name="T21" fmla="*/ 0 h 93"/>
                <a:gd name="T22" fmla="*/ 0 w 183"/>
                <a:gd name="T23" fmla="*/ 0 h 9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83"/>
                <a:gd name="T37" fmla="*/ 0 h 93"/>
                <a:gd name="T38" fmla="*/ 183 w 183"/>
                <a:gd name="T39" fmla="*/ 93 h 9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83" h="93">
                  <a:moveTo>
                    <a:pt x="148" y="0"/>
                  </a:moveTo>
                  <a:lnTo>
                    <a:pt x="169" y="17"/>
                  </a:lnTo>
                  <a:lnTo>
                    <a:pt x="183" y="54"/>
                  </a:lnTo>
                  <a:lnTo>
                    <a:pt x="114" y="93"/>
                  </a:lnTo>
                  <a:lnTo>
                    <a:pt x="86" y="86"/>
                  </a:lnTo>
                  <a:lnTo>
                    <a:pt x="66" y="72"/>
                  </a:lnTo>
                  <a:lnTo>
                    <a:pt x="14" y="72"/>
                  </a:lnTo>
                  <a:lnTo>
                    <a:pt x="0" y="41"/>
                  </a:lnTo>
                  <a:lnTo>
                    <a:pt x="24" y="24"/>
                  </a:lnTo>
                  <a:lnTo>
                    <a:pt x="54" y="24"/>
                  </a:lnTo>
                  <a:lnTo>
                    <a:pt x="83" y="44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34" name="Freeform 255">
              <a:extLst>
                <a:ext uri="{FF2B5EF4-FFF2-40B4-BE49-F238E27FC236}">
                  <a16:creationId xmlns:a16="http://schemas.microsoft.com/office/drawing/2014/main" id="{06510AAB-CCB8-88CF-0531-4E98419B7EE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736126" y="3956893"/>
              <a:ext cx="7462" cy="12193"/>
            </a:xfrm>
            <a:custGeom>
              <a:avLst/>
              <a:gdLst>
                <a:gd name="T0" fmla="*/ 0 w 101"/>
                <a:gd name="T1" fmla="*/ 0 h 102"/>
                <a:gd name="T2" fmla="*/ 0 w 101"/>
                <a:gd name="T3" fmla="*/ 0 h 102"/>
                <a:gd name="T4" fmla="*/ 0 w 101"/>
                <a:gd name="T5" fmla="*/ 0 h 102"/>
                <a:gd name="T6" fmla="*/ 0 w 101"/>
                <a:gd name="T7" fmla="*/ 0 h 102"/>
                <a:gd name="T8" fmla="*/ 0 w 101"/>
                <a:gd name="T9" fmla="*/ 0 h 102"/>
                <a:gd name="T10" fmla="*/ 0 w 101"/>
                <a:gd name="T11" fmla="*/ 0 h 102"/>
                <a:gd name="T12" fmla="*/ 0 w 101"/>
                <a:gd name="T13" fmla="*/ 0 h 102"/>
                <a:gd name="T14" fmla="*/ 0 w 101"/>
                <a:gd name="T15" fmla="*/ 0 h 102"/>
                <a:gd name="T16" fmla="*/ 0 w 101"/>
                <a:gd name="T17" fmla="*/ 0 h 10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1"/>
                <a:gd name="T28" fmla="*/ 0 h 102"/>
                <a:gd name="T29" fmla="*/ 101 w 101"/>
                <a:gd name="T30" fmla="*/ 102 h 10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1" h="102">
                  <a:moveTo>
                    <a:pt x="24" y="37"/>
                  </a:moveTo>
                  <a:lnTo>
                    <a:pt x="0" y="0"/>
                  </a:lnTo>
                  <a:lnTo>
                    <a:pt x="0" y="10"/>
                  </a:lnTo>
                  <a:lnTo>
                    <a:pt x="5" y="41"/>
                  </a:lnTo>
                  <a:lnTo>
                    <a:pt x="24" y="72"/>
                  </a:lnTo>
                  <a:lnTo>
                    <a:pt x="101" y="102"/>
                  </a:lnTo>
                  <a:lnTo>
                    <a:pt x="101" y="85"/>
                  </a:lnTo>
                  <a:lnTo>
                    <a:pt x="59" y="68"/>
                  </a:lnTo>
                  <a:lnTo>
                    <a:pt x="24" y="3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35" name="Freeform 256">
              <a:extLst>
                <a:ext uri="{FF2B5EF4-FFF2-40B4-BE49-F238E27FC236}">
                  <a16:creationId xmlns:a16="http://schemas.microsoft.com/office/drawing/2014/main" id="{DA356E7F-B8BF-32C1-F246-291244F4DED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749557" y="3953845"/>
              <a:ext cx="4477" cy="10669"/>
            </a:xfrm>
            <a:custGeom>
              <a:avLst/>
              <a:gdLst>
                <a:gd name="T0" fmla="*/ 0 w 69"/>
                <a:gd name="T1" fmla="*/ 0 h 85"/>
                <a:gd name="T2" fmla="*/ 0 w 69"/>
                <a:gd name="T3" fmla="*/ 0 h 85"/>
                <a:gd name="T4" fmla="*/ 0 w 69"/>
                <a:gd name="T5" fmla="*/ 0 h 85"/>
                <a:gd name="T6" fmla="*/ 0 w 69"/>
                <a:gd name="T7" fmla="*/ 0 h 85"/>
                <a:gd name="T8" fmla="*/ 0 w 69"/>
                <a:gd name="T9" fmla="*/ 0 h 85"/>
                <a:gd name="T10" fmla="*/ 0 w 69"/>
                <a:gd name="T11" fmla="*/ 0 h 85"/>
                <a:gd name="T12" fmla="*/ 0 w 69"/>
                <a:gd name="T13" fmla="*/ 0 h 85"/>
                <a:gd name="T14" fmla="*/ 0 w 69"/>
                <a:gd name="T15" fmla="*/ 0 h 85"/>
                <a:gd name="T16" fmla="*/ 0 w 69"/>
                <a:gd name="T17" fmla="*/ 0 h 8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9"/>
                <a:gd name="T28" fmla="*/ 0 h 85"/>
                <a:gd name="T29" fmla="*/ 69 w 69"/>
                <a:gd name="T30" fmla="*/ 85 h 8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9" h="85">
                  <a:moveTo>
                    <a:pt x="20" y="17"/>
                  </a:moveTo>
                  <a:lnTo>
                    <a:pt x="0" y="0"/>
                  </a:lnTo>
                  <a:lnTo>
                    <a:pt x="13" y="26"/>
                  </a:lnTo>
                  <a:lnTo>
                    <a:pt x="38" y="51"/>
                  </a:lnTo>
                  <a:lnTo>
                    <a:pt x="52" y="82"/>
                  </a:lnTo>
                  <a:lnTo>
                    <a:pt x="62" y="85"/>
                  </a:lnTo>
                  <a:lnTo>
                    <a:pt x="69" y="38"/>
                  </a:lnTo>
                  <a:lnTo>
                    <a:pt x="52" y="23"/>
                  </a:lnTo>
                  <a:lnTo>
                    <a:pt x="20" y="1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36" name="Freeform 257">
              <a:extLst>
                <a:ext uri="{FF2B5EF4-FFF2-40B4-BE49-F238E27FC236}">
                  <a16:creationId xmlns:a16="http://schemas.microsoft.com/office/drawing/2014/main" id="{C5F68587-AE56-3C78-AE13-75489DE7F31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206345" y="3870012"/>
              <a:ext cx="126849" cy="131083"/>
            </a:xfrm>
            <a:custGeom>
              <a:avLst/>
              <a:gdLst>
                <a:gd name="T0" fmla="*/ 2147483647 w 234"/>
                <a:gd name="T1" fmla="*/ 0 h 236"/>
                <a:gd name="T2" fmla="*/ 2147483647 w 234"/>
                <a:gd name="T3" fmla="*/ 0 h 236"/>
                <a:gd name="T4" fmla="*/ 2147483647 w 234"/>
                <a:gd name="T5" fmla="*/ 0 h 236"/>
                <a:gd name="T6" fmla="*/ 2147483647 w 234"/>
                <a:gd name="T7" fmla="*/ 0 h 236"/>
                <a:gd name="T8" fmla="*/ 2147483647 w 234"/>
                <a:gd name="T9" fmla="*/ 0 h 236"/>
                <a:gd name="T10" fmla="*/ 2147483647 w 234"/>
                <a:gd name="T11" fmla="*/ 0 h 236"/>
                <a:gd name="T12" fmla="*/ 2147483647 w 234"/>
                <a:gd name="T13" fmla="*/ 0 h 236"/>
                <a:gd name="T14" fmla="*/ 2147483647 w 234"/>
                <a:gd name="T15" fmla="*/ 0 h 236"/>
                <a:gd name="T16" fmla="*/ 2147483647 w 234"/>
                <a:gd name="T17" fmla="*/ 0 h 236"/>
                <a:gd name="T18" fmla="*/ 2147483647 w 234"/>
                <a:gd name="T19" fmla="*/ 0 h 236"/>
                <a:gd name="T20" fmla="*/ 2147483647 w 234"/>
                <a:gd name="T21" fmla="*/ 0 h 236"/>
                <a:gd name="T22" fmla="*/ 2147483647 w 234"/>
                <a:gd name="T23" fmla="*/ 0 h 236"/>
                <a:gd name="T24" fmla="*/ 2147483647 w 234"/>
                <a:gd name="T25" fmla="*/ 0 h 236"/>
                <a:gd name="T26" fmla="*/ 2147483647 w 234"/>
                <a:gd name="T27" fmla="*/ 0 h 236"/>
                <a:gd name="T28" fmla="*/ 2147483647 w 234"/>
                <a:gd name="T29" fmla="*/ 0 h 236"/>
                <a:gd name="T30" fmla="*/ 0 w 234"/>
                <a:gd name="T31" fmla="*/ 0 h 236"/>
                <a:gd name="T32" fmla="*/ 0 w 234"/>
                <a:gd name="T33" fmla="*/ 2147483647 h 236"/>
                <a:gd name="T34" fmla="*/ 0 w 234"/>
                <a:gd name="T35" fmla="*/ 2147483647 h 236"/>
                <a:gd name="T36" fmla="*/ 0 w 234"/>
                <a:gd name="T37" fmla="*/ 2147483647 h 236"/>
                <a:gd name="T38" fmla="*/ 0 w 234"/>
                <a:gd name="T39" fmla="*/ 2147483647 h 236"/>
                <a:gd name="T40" fmla="*/ 0 w 234"/>
                <a:gd name="T41" fmla="*/ 2147483647 h 236"/>
                <a:gd name="T42" fmla="*/ 0 w 234"/>
                <a:gd name="T43" fmla="*/ 2147483647 h 236"/>
                <a:gd name="T44" fmla="*/ 2147483647 w 234"/>
                <a:gd name="T45" fmla="*/ 2147483647 h 236"/>
                <a:gd name="T46" fmla="*/ 2147483647 w 234"/>
                <a:gd name="T47" fmla="*/ 2147483647 h 236"/>
                <a:gd name="T48" fmla="*/ 2147483647 w 234"/>
                <a:gd name="T49" fmla="*/ 2147483647 h 236"/>
                <a:gd name="T50" fmla="*/ 2147483647 w 234"/>
                <a:gd name="T51" fmla="*/ 2147483647 h 236"/>
                <a:gd name="T52" fmla="*/ 2147483647 w 234"/>
                <a:gd name="T53" fmla="*/ 2147483647 h 236"/>
                <a:gd name="T54" fmla="*/ 2147483647 w 234"/>
                <a:gd name="T55" fmla="*/ 2147483647 h 236"/>
                <a:gd name="T56" fmla="*/ 2147483647 w 234"/>
                <a:gd name="T57" fmla="*/ 2147483647 h 236"/>
                <a:gd name="T58" fmla="*/ 2147483647 w 234"/>
                <a:gd name="T59" fmla="*/ 2147483647 h 236"/>
                <a:gd name="T60" fmla="*/ 2147483647 w 234"/>
                <a:gd name="T61" fmla="*/ 2147483647 h 236"/>
                <a:gd name="T62" fmla="*/ 2147483647 w 234"/>
                <a:gd name="T63" fmla="*/ 2147483647 h 236"/>
                <a:gd name="T64" fmla="*/ 2147483647 w 234"/>
                <a:gd name="T65" fmla="*/ 2147483647 h 236"/>
                <a:gd name="T66" fmla="*/ 2147483647 w 234"/>
                <a:gd name="T67" fmla="*/ 2147483647 h 236"/>
                <a:gd name="T68" fmla="*/ 2147483647 w 234"/>
                <a:gd name="T69" fmla="*/ 2147483647 h 236"/>
                <a:gd name="T70" fmla="*/ 2147483647 w 234"/>
                <a:gd name="T71" fmla="*/ 2147483647 h 236"/>
                <a:gd name="T72" fmla="*/ 2147483647 w 234"/>
                <a:gd name="T73" fmla="*/ 2147483647 h 236"/>
                <a:gd name="T74" fmla="*/ 2147483647 w 234"/>
                <a:gd name="T75" fmla="*/ 0 h 236"/>
                <a:gd name="T76" fmla="*/ 2147483647 w 234"/>
                <a:gd name="T77" fmla="*/ 0 h 2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34"/>
                <a:gd name="T118" fmla="*/ 0 h 236"/>
                <a:gd name="T119" fmla="*/ 234 w 234"/>
                <a:gd name="T120" fmla="*/ 236 h 2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34" h="236">
                  <a:moveTo>
                    <a:pt x="234" y="0"/>
                  </a:moveTo>
                  <a:lnTo>
                    <a:pt x="223" y="0"/>
                  </a:lnTo>
                  <a:lnTo>
                    <a:pt x="209" y="6"/>
                  </a:lnTo>
                  <a:lnTo>
                    <a:pt x="206" y="11"/>
                  </a:lnTo>
                  <a:lnTo>
                    <a:pt x="197" y="16"/>
                  </a:lnTo>
                  <a:lnTo>
                    <a:pt x="187" y="16"/>
                  </a:lnTo>
                  <a:lnTo>
                    <a:pt x="180" y="21"/>
                  </a:lnTo>
                  <a:lnTo>
                    <a:pt x="163" y="21"/>
                  </a:lnTo>
                  <a:lnTo>
                    <a:pt x="160" y="18"/>
                  </a:lnTo>
                  <a:lnTo>
                    <a:pt x="156" y="14"/>
                  </a:lnTo>
                  <a:lnTo>
                    <a:pt x="150" y="12"/>
                  </a:lnTo>
                  <a:lnTo>
                    <a:pt x="149" y="16"/>
                  </a:lnTo>
                  <a:lnTo>
                    <a:pt x="147" y="17"/>
                  </a:lnTo>
                  <a:lnTo>
                    <a:pt x="143" y="18"/>
                  </a:lnTo>
                  <a:lnTo>
                    <a:pt x="139" y="25"/>
                  </a:lnTo>
                  <a:lnTo>
                    <a:pt x="136" y="38"/>
                  </a:lnTo>
                  <a:lnTo>
                    <a:pt x="133" y="41"/>
                  </a:lnTo>
                  <a:lnTo>
                    <a:pt x="123" y="43"/>
                  </a:lnTo>
                  <a:lnTo>
                    <a:pt x="118" y="48"/>
                  </a:lnTo>
                  <a:lnTo>
                    <a:pt x="117" y="50"/>
                  </a:lnTo>
                  <a:lnTo>
                    <a:pt x="113" y="52"/>
                  </a:lnTo>
                  <a:lnTo>
                    <a:pt x="110" y="58"/>
                  </a:lnTo>
                  <a:lnTo>
                    <a:pt x="101" y="59"/>
                  </a:lnTo>
                  <a:lnTo>
                    <a:pt x="101" y="61"/>
                  </a:lnTo>
                  <a:lnTo>
                    <a:pt x="99" y="63"/>
                  </a:lnTo>
                  <a:lnTo>
                    <a:pt x="93" y="63"/>
                  </a:lnTo>
                  <a:lnTo>
                    <a:pt x="85" y="57"/>
                  </a:lnTo>
                  <a:lnTo>
                    <a:pt x="78" y="54"/>
                  </a:lnTo>
                  <a:lnTo>
                    <a:pt x="72" y="64"/>
                  </a:lnTo>
                  <a:lnTo>
                    <a:pt x="68" y="72"/>
                  </a:lnTo>
                  <a:lnTo>
                    <a:pt x="51" y="74"/>
                  </a:lnTo>
                  <a:lnTo>
                    <a:pt x="46" y="72"/>
                  </a:lnTo>
                  <a:lnTo>
                    <a:pt x="43" y="80"/>
                  </a:lnTo>
                  <a:lnTo>
                    <a:pt x="43" y="95"/>
                  </a:lnTo>
                  <a:lnTo>
                    <a:pt x="41" y="96"/>
                  </a:lnTo>
                  <a:lnTo>
                    <a:pt x="35" y="101"/>
                  </a:lnTo>
                  <a:lnTo>
                    <a:pt x="32" y="108"/>
                  </a:lnTo>
                  <a:lnTo>
                    <a:pt x="29" y="111"/>
                  </a:lnTo>
                  <a:lnTo>
                    <a:pt x="12" y="112"/>
                  </a:lnTo>
                  <a:lnTo>
                    <a:pt x="2" y="112"/>
                  </a:lnTo>
                  <a:lnTo>
                    <a:pt x="0" y="118"/>
                  </a:lnTo>
                  <a:lnTo>
                    <a:pt x="2" y="120"/>
                  </a:lnTo>
                  <a:lnTo>
                    <a:pt x="16" y="136"/>
                  </a:lnTo>
                  <a:lnTo>
                    <a:pt x="20" y="141"/>
                  </a:lnTo>
                  <a:lnTo>
                    <a:pt x="42" y="162"/>
                  </a:lnTo>
                  <a:lnTo>
                    <a:pt x="57" y="181"/>
                  </a:lnTo>
                  <a:lnTo>
                    <a:pt x="66" y="189"/>
                  </a:lnTo>
                  <a:lnTo>
                    <a:pt x="70" y="194"/>
                  </a:lnTo>
                  <a:lnTo>
                    <a:pt x="77" y="197"/>
                  </a:lnTo>
                  <a:lnTo>
                    <a:pt x="95" y="211"/>
                  </a:lnTo>
                  <a:lnTo>
                    <a:pt x="98" y="217"/>
                  </a:lnTo>
                  <a:lnTo>
                    <a:pt x="98" y="221"/>
                  </a:lnTo>
                  <a:lnTo>
                    <a:pt x="99" y="221"/>
                  </a:lnTo>
                  <a:lnTo>
                    <a:pt x="105" y="215"/>
                  </a:lnTo>
                  <a:lnTo>
                    <a:pt x="110" y="215"/>
                  </a:lnTo>
                  <a:lnTo>
                    <a:pt x="120" y="220"/>
                  </a:lnTo>
                  <a:lnTo>
                    <a:pt x="143" y="226"/>
                  </a:lnTo>
                  <a:lnTo>
                    <a:pt x="152" y="226"/>
                  </a:lnTo>
                  <a:lnTo>
                    <a:pt x="160" y="224"/>
                  </a:lnTo>
                  <a:lnTo>
                    <a:pt x="165" y="224"/>
                  </a:lnTo>
                  <a:lnTo>
                    <a:pt x="174" y="227"/>
                  </a:lnTo>
                  <a:lnTo>
                    <a:pt x="182" y="235"/>
                  </a:lnTo>
                  <a:lnTo>
                    <a:pt x="187" y="236"/>
                  </a:lnTo>
                  <a:lnTo>
                    <a:pt x="197" y="236"/>
                  </a:lnTo>
                  <a:lnTo>
                    <a:pt x="209" y="233"/>
                  </a:lnTo>
                  <a:lnTo>
                    <a:pt x="214" y="231"/>
                  </a:lnTo>
                  <a:lnTo>
                    <a:pt x="214" y="230"/>
                  </a:lnTo>
                  <a:lnTo>
                    <a:pt x="212" y="224"/>
                  </a:lnTo>
                  <a:lnTo>
                    <a:pt x="204" y="211"/>
                  </a:lnTo>
                  <a:lnTo>
                    <a:pt x="204" y="200"/>
                  </a:lnTo>
                  <a:lnTo>
                    <a:pt x="209" y="190"/>
                  </a:lnTo>
                  <a:lnTo>
                    <a:pt x="212" y="181"/>
                  </a:lnTo>
                  <a:lnTo>
                    <a:pt x="213" y="156"/>
                  </a:lnTo>
                  <a:lnTo>
                    <a:pt x="219" y="117"/>
                  </a:lnTo>
                  <a:lnTo>
                    <a:pt x="219" y="82"/>
                  </a:lnTo>
                  <a:lnTo>
                    <a:pt x="231" y="43"/>
                  </a:lnTo>
                  <a:lnTo>
                    <a:pt x="234" y="23"/>
                  </a:lnTo>
                  <a:lnTo>
                    <a:pt x="234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37" name="Freeform 258">
              <a:extLst>
                <a:ext uri="{FF2B5EF4-FFF2-40B4-BE49-F238E27FC236}">
                  <a16:creationId xmlns:a16="http://schemas.microsoft.com/office/drawing/2014/main" id="{02680707-9203-CA97-DE40-B3210C4C3AA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340656" y="4040725"/>
              <a:ext cx="170127" cy="77735"/>
            </a:xfrm>
            <a:custGeom>
              <a:avLst/>
              <a:gdLst>
                <a:gd name="T0" fmla="*/ 0 w 318"/>
                <a:gd name="T1" fmla="*/ 0 h 135"/>
                <a:gd name="T2" fmla="*/ 0 w 318"/>
                <a:gd name="T3" fmla="*/ 0 h 135"/>
                <a:gd name="T4" fmla="*/ 0 w 318"/>
                <a:gd name="T5" fmla="*/ 0 h 135"/>
                <a:gd name="T6" fmla="*/ 0 w 318"/>
                <a:gd name="T7" fmla="*/ 0 h 135"/>
                <a:gd name="T8" fmla="*/ 0 w 318"/>
                <a:gd name="T9" fmla="*/ 0 h 135"/>
                <a:gd name="T10" fmla="*/ 0 w 318"/>
                <a:gd name="T11" fmla="*/ 2147483647 h 135"/>
                <a:gd name="T12" fmla="*/ 0 w 318"/>
                <a:gd name="T13" fmla="*/ 0 h 135"/>
                <a:gd name="T14" fmla="*/ 2147483647 w 318"/>
                <a:gd name="T15" fmla="*/ 2147483647 h 135"/>
                <a:gd name="T16" fmla="*/ 2147483647 w 318"/>
                <a:gd name="T17" fmla="*/ 2147483647 h 135"/>
                <a:gd name="T18" fmla="*/ 2147483647 w 318"/>
                <a:gd name="T19" fmla="*/ 2147483647 h 135"/>
                <a:gd name="T20" fmla="*/ 2147483647 w 318"/>
                <a:gd name="T21" fmla="*/ 2147483647 h 135"/>
                <a:gd name="T22" fmla="*/ 2147483647 w 318"/>
                <a:gd name="T23" fmla="*/ 2147483647 h 135"/>
                <a:gd name="T24" fmla="*/ 2147483647 w 318"/>
                <a:gd name="T25" fmla="*/ 2147483647 h 135"/>
                <a:gd name="T26" fmla="*/ 2147483647 w 318"/>
                <a:gd name="T27" fmla="*/ 2147483647 h 135"/>
                <a:gd name="T28" fmla="*/ 2147483647 w 318"/>
                <a:gd name="T29" fmla="*/ 2147483647 h 135"/>
                <a:gd name="T30" fmla="*/ 2147483647 w 318"/>
                <a:gd name="T31" fmla="*/ 2147483647 h 135"/>
                <a:gd name="T32" fmla="*/ 2147483647 w 318"/>
                <a:gd name="T33" fmla="*/ 0 h 135"/>
                <a:gd name="T34" fmla="*/ 2147483647 w 318"/>
                <a:gd name="T35" fmla="*/ 0 h 135"/>
                <a:gd name="T36" fmla="*/ 2147483647 w 318"/>
                <a:gd name="T37" fmla="*/ 0 h 135"/>
                <a:gd name="T38" fmla="*/ 2147483647 w 318"/>
                <a:gd name="T39" fmla="*/ 0 h 135"/>
                <a:gd name="T40" fmla="*/ 2147483647 w 318"/>
                <a:gd name="T41" fmla="*/ 0 h 135"/>
                <a:gd name="T42" fmla="*/ 2147483647 w 318"/>
                <a:gd name="T43" fmla="*/ 0 h 135"/>
                <a:gd name="T44" fmla="*/ 2147483647 w 318"/>
                <a:gd name="T45" fmla="*/ 2147483647 h 135"/>
                <a:gd name="T46" fmla="*/ 2147483647 w 318"/>
                <a:gd name="T47" fmla="*/ 2147483647 h 135"/>
                <a:gd name="T48" fmla="*/ 2147483647 w 318"/>
                <a:gd name="T49" fmla="*/ 2147483647 h 135"/>
                <a:gd name="T50" fmla="*/ 2147483647 w 318"/>
                <a:gd name="T51" fmla="*/ 2147483647 h 135"/>
                <a:gd name="T52" fmla="*/ 2147483647 w 318"/>
                <a:gd name="T53" fmla="*/ 2147483647 h 135"/>
                <a:gd name="T54" fmla="*/ 2147483647 w 318"/>
                <a:gd name="T55" fmla="*/ 2147483647 h 135"/>
                <a:gd name="T56" fmla="*/ 2147483647 w 318"/>
                <a:gd name="T57" fmla="*/ 2147483647 h 135"/>
                <a:gd name="T58" fmla="*/ 2147483647 w 318"/>
                <a:gd name="T59" fmla="*/ 0 h 135"/>
                <a:gd name="T60" fmla="*/ 2147483647 w 318"/>
                <a:gd name="T61" fmla="*/ 0 h 135"/>
                <a:gd name="T62" fmla="*/ 2147483647 w 318"/>
                <a:gd name="T63" fmla="*/ 0 h 135"/>
                <a:gd name="T64" fmla="*/ 2147483647 w 318"/>
                <a:gd name="T65" fmla="*/ 0 h 135"/>
                <a:gd name="T66" fmla="*/ 2147483647 w 318"/>
                <a:gd name="T67" fmla="*/ 0 h 135"/>
                <a:gd name="T68" fmla="*/ 2147483647 w 318"/>
                <a:gd name="T69" fmla="*/ 0 h 135"/>
                <a:gd name="T70" fmla="*/ 2147483647 w 318"/>
                <a:gd name="T71" fmla="*/ 0 h 135"/>
                <a:gd name="T72" fmla="*/ 2147483647 w 318"/>
                <a:gd name="T73" fmla="*/ 0 h 135"/>
                <a:gd name="T74" fmla="*/ 2147483647 w 318"/>
                <a:gd name="T75" fmla="*/ 0 h 135"/>
                <a:gd name="T76" fmla="*/ 2147483647 w 318"/>
                <a:gd name="T77" fmla="*/ 0 h 135"/>
                <a:gd name="T78" fmla="*/ 2147483647 w 318"/>
                <a:gd name="T79" fmla="*/ 0 h 135"/>
                <a:gd name="T80" fmla="*/ 0 w 318"/>
                <a:gd name="T81" fmla="*/ 0 h 135"/>
                <a:gd name="T82" fmla="*/ 0 w 318"/>
                <a:gd name="T83" fmla="*/ 0 h 13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318"/>
                <a:gd name="T127" fmla="*/ 0 h 135"/>
                <a:gd name="T128" fmla="*/ 318 w 318"/>
                <a:gd name="T129" fmla="*/ 135 h 13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318" h="135">
                  <a:moveTo>
                    <a:pt x="23" y="0"/>
                  </a:moveTo>
                  <a:lnTo>
                    <a:pt x="22" y="1"/>
                  </a:lnTo>
                  <a:lnTo>
                    <a:pt x="19" y="1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6" y="9"/>
                  </a:lnTo>
                  <a:lnTo>
                    <a:pt x="5" y="23"/>
                  </a:lnTo>
                  <a:lnTo>
                    <a:pt x="12" y="28"/>
                  </a:lnTo>
                  <a:lnTo>
                    <a:pt x="16" y="32"/>
                  </a:lnTo>
                  <a:lnTo>
                    <a:pt x="15" y="37"/>
                  </a:lnTo>
                  <a:lnTo>
                    <a:pt x="11" y="40"/>
                  </a:lnTo>
                  <a:lnTo>
                    <a:pt x="10" y="44"/>
                  </a:lnTo>
                  <a:lnTo>
                    <a:pt x="10" y="56"/>
                  </a:lnTo>
                  <a:lnTo>
                    <a:pt x="8" y="61"/>
                  </a:lnTo>
                  <a:lnTo>
                    <a:pt x="1" y="71"/>
                  </a:lnTo>
                  <a:lnTo>
                    <a:pt x="0" y="71"/>
                  </a:lnTo>
                  <a:lnTo>
                    <a:pt x="6" y="82"/>
                  </a:lnTo>
                  <a:lnTo>
                    <a:pt x="7" y="82"/>
                  </a:lnTo>
                  <a:lnTo>
                    <a:pt x="10" y="75"/>
                  </a:lnTo>
                  <a:lnTo>
                    <a:pt x="12" y="72"/>
                  </a:lnTo>
                  <a:lnTo>
                    <a:pt x="22" y="72"/>
                  </a:lnTo>
                  <a:lnTo>
                    <a:pt x="40" y="75"/>
                  </a:lnTo>
                  <a:lnTo>
                    <a:pt x="48" y="76"/>
                  </a:lnTo>
                  <a:lnTo>
                    <a:pt x="58" y="80"/>
                  </a:lnTo>
                  <a:lnTo>
                    <a:pt x="67" y="81"/>
                  </a:lnTo>
                  <a:lnTo>
                    <a:pt x="70" y="82"/>
                  </a:lnTo>
                  <a:lnTo>
                    <a:pt x="75" y="87"/>
                  </a:lnTo>
                  <a:lnTo>
                    <a:pt x="78" y="96"/>
                  </a:lnTo>
                  <a:lnTo>
                    <a:pt x="85" y="103"/>
                  </a:lnTo>
                  <a:lnTo>
                    <a:pt x="92" y="112"/>
                  </a:lnTo>
                  <a:lnTo>
                    <a:pt x="98" y="112"/>
                  </a:lnTo>
                  <a:lnTo>
                    <a:pt x="103" y="106"/>
                  </a:lnTo>
                  <a:lnTo>
                    <a:pt x="109" y="103"/>
                  </a:lnTo>
                  <a:lnTo>
                    <a:pt x="113" y="112"/>
                  </a:lnTo>
                  <a:lnTo>
                    <a:pt x="113" y="122"/>
                  </a:lnTo>
                  <a:lnTo>
                    <a:pt x="117" y="131"/>
                  </a:lnTo>
                  <a:lnTo>
                    <a:pt x="118" y="134"/>
                  </a:lnTo>
                  <a:lnTo>
                    <a:pt x="130" y="135"/>
                  </a:lnTo>
                  <a:lnTo>
                    <a:pt x="135" y="134"/>
                  </a:lnTo>
                  <a:lnTo>
                    <a:pt x="152" y="124"/>
                  </a:lnTo>
                  <a:lnTo>
                    <a:pt x="160" y="117"/>
                  </a:lnTo>
                  <a:lnTo>
                    <a:pt x="157" y="110"/>
                  </a:lnTo>
                  <a:lnTo>
                    <a:pt x="152" y="107"/>
                  </a:lnTo>
                  <a:lnTo>
                    <a:pt x="148" y="102"/>
                  </a:lnTo>
                  <a:lnTo>
                    <a:pt x="139" y="95"/>
                  </a:lnTo>
                  <a:lnTo>
                    <a:pt x="137" y="91"/>
                  </a:lnTo>
                  <a:lnTo>
                    <a:pt x="137" y="87"/>
                  </a:lnTo>
                  <a:lnTo>
                    <a:pt x="140" y="81"/>
                  </a:lnTo>
                  <a:lnTo>
                    <a:pt x="148" y="75"/>
                  </a:lnTo>
                  <a:lnTo>
                    <a:pt x="156" y="72"/>
                  </a:lnTo>
                  <a:lnTo>
                    <a:pt x="160" y="72"/>
                  </a:lnTo>
                  <a:lnTo>
                    <a:pt x="168" y="68"/>
                  </a:lnTo>
                  <a:lnTo>
                    <a:pt x="177" y="58"/>
                  </a:lnTo>
                  <a:lnTo>
                    <a:pt x="187" y="43"/>
                  </a:lnTo>
                  <a:lnTo>
                    <a:pt x="189" y="39"/>
                  </a:lnTo>
                  <a:lnTo>
                    <a:pt x="190" y="38"/>
                  </a:lnTo>
                  <a:lnTo>
                    <a:pt x="201" y="34"/>
                  </a:lnTo>
                  <a:lnTo>
                    <a:pt x="205" y="34"/>
                  </a:lnTo>
                  <a:lnTo>
                    <a:pt x="209" y="36"/>
                  </a:lnTo>
                  <a:lnTo>
                    <a:pt x="222" y="45"/>
                  </a:lnTo>
                  <a:lnTo>
                    <a:pt x="241" y="54"/>
                  </a:lnTo>
                  <a:lnTo>
                    <a:pt x="252" y="66"/>
                  </a:lnTo>
                  <a:lnTo>
                    <a:pt x="260" y="63"/>
                  </a:lnTo>
                  <a:lnTo>
                    <a:pt x="266" y="63"/>
                  </a:lnTo>
                  <a:lnTo>
                    <a:pt x="273" y="68"/>
                  </a:lnTo>
                  <a:lnTo>
                    <a:pt x="273" y="71"/>
                  </a:lnTo>
                  <a:lnTo>
                    <a:pt x="269" y="71"/>
                  </a:lnTo>
                  <a:lnTo>
                    <a:pt x="259" y="80"/>
                  </a:lnTo>
                  <a:lnTo>
                    <a:pt x="258" y="85"/>
                  </a:lnTo>
                  <a:lnTo>
                    <a:pt x="257" y="93"/>
                  </a:lnTo>
                  <a:lnTo>
                    <a:pt x="258" y="104"/>
                  </a:lnTo>
                  <a:lnTo>
                    <a:pt x="261" y="110"/>
                  </a:lnTo>
                  <a:lnTo>
                    <a:pt x="273" y="123"/>
                  </a:lnTo>
                  <a:lnTo>
                    <a:pt x="280" y="128"/>
                  </a:lnTo>
                  <a:lnTo>
                    <a:pt x="281" y="128"/>
                  </a:lnTo>
                  <a:lnTo>
                    <a:pt x="281" y="123"/>
                  </a:lnTo>
                  <a:lnTo>
                    <a:pt x="290" y="117"/>
                  </a:lnTo>
                  <a:lnTo>
                    <a:pt x="290" y="109"/>
                  </a:lnTo>
                  <a:lnTo>
                    <a:pt x="293" y="108"/>
                  </a:lnTo>
                  <a:lnTo>
                    <a:pt x="298" y="112"/>
                  </a:lnTo>
                  <a:lnTo>
                    <a:pt x="302" y="109"/>
                  </a:lnTo>
                  <a:lnTo>
                    <a:pt x="312" y="96"/>
                  </a:lnTo>
                  <a:lnTo>
                    <a:pt x="318" y="91"/>
                  </a:lnTo>
                  <a:lnTo>
                    <a:pt x="318" y="87"/>
                  </a:lnTo>
                  <a:lnTo>
                    <a:pt x="314" y="85"/>
                  </a:lnTo>
                  <a:lnTo>
                    <a:pt x="313" y="83"/>
                  </a:lnTo>
                  <a:lnTo>
                    <a:pt x="313" y="77"/>
                  </a:lnTo>
                  <a:lnTo>
                    <a:pt x="309" y="71"/>
                  </a:lnTo>
                  <a:lnTo>
                    <a:pt x="304" y="68"/>
                  </a:lnTo>
                  <a:lnTo>
                    <a:pt x="304" y="66"/>
                  </a:lnTo>
                  <a:lnTo>
                    <a:pt x="306" y="58"/>
                  </a:lnTo>
                  <a:lnTo>
                    <a:pt x="307" y="54"/>
                  </a:lnTo>
                  <a:lnTo>
                    <a:pt x="297" y="48"/>
                  </a:lnTo>
                  <a:lnTo>
                    <a:pt x="287" y="37"/>
                  </a:lnTo>
                  <a:lnTo>
                    <a:pt x="284" y="33"/>
                  </a:lnTo>
                  <a:lnTo>
                    <a:pt x="266" y="18"/>
                  </a:lnTo>
                  <a:lnTo>
                    <a:pt x="257" y="15"/>
                  </a:lnTo>
                  <a:lnTo>
                    <a:pt x="244" y="11"/>
                  </a:lnTo>
                  <a:lnTo>
                    <a:pt x="231" y="11"/>
                  </a:lnTo>
                  <a:lnTo>
                    <a:pt x="218" y="7"/>
                  </a:lnTo>
                  <a:lnTo>
                    <a:pt x="209" y="1"/>
                  </a:lnTo>
                  <a:lnTo>
                    <a:pt x="189" y="1"/>
                  </a:lnTo>
                  <a:lnTo>
                    <a:pt x="184" y="2"/>
                  </a:lnTo>
                  <a:lnTo>
                    <a:pt x="182" y="4"/>
                  </a:lnTo>
                  <a:lnTo>
                    <a:pt x="176" y="11"/>
                  </a:lnTo>
                  <a:lnTo>
                    <a:pt x="174" y="27"/>
                  </a:lnTo>
                  <a:lnTo>
                    <a:pt x="167" y="31"/>
                  </a:lnTo>
                  <a:lnTo>
                    <a:pt x="164" y="31"/>
                  </a:lnTo>
                  <a:lnTo>
                    <a:pt x="164" y="21"/>
                  </a:lnTo>
                  <a:lnTo>
                    <a:pt x="160" y="20"/>
                  </a:lnTo>
                  <a:lnTo>
                    <a:pt x="156" y="20"/>
                  </a:lnTo>
                  <a:lnTo>
                    <a:pt x="137" y="31"/>
                  </a:lnTo>
                  <a:lnTo>
                    <a:pt x="121" y="33"/>
                  </a:lnTo>
                  <a:lnTo>
                    <a:pt x="118" y="36"/>
                  </a:lnTo>
                  <a:lnTo>
                    <a:pt x="110" y="43"/>
                  </a:lnTo>
                  <a:lnTo>
                    <a:pt x="105" y="44"/>
                  </a:lnTo>
                  <a:lnTo>
                    <a:pt x="101" y="44"/>
                  </a:lnTo>
                  <a:lnTo>
                    <a:pt x="92" y="43"/>
                  </a:lnTo>
                  <a:lnTo>
                    <a:pt x="75" y="36"/>
                  </a:lnTo>
                  <a:lnTo>
                    <a:pt x="71" y="34"/>
                  </a:lnTo>
                  <a:lnTo>
                    <a:pt x="48" y="34"/>
                  </a:lnTo>
                  <a:lnTo>
                    <a:pt x="45" y="28"/>
                  </a:lnTo>
                  <a:lnTo>
                    <a:pt x="45" y="23"/>
                  </a:lnTo>
                  <a:lnTo>
                    <a:pt x="39" y="20"/>
                  </a:lnTo>
                  <a:lnTo>
                    <a:pt x="37" y="9"/>
                  </a:lnTo>
                  <a:lnTo>
                    <a:pt x="35" y="7"/>
                  </a:lnTo>
                  <a:lnTo>
                    <a:pt x="27" y="5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38" name="Freeform 259">
              <a:extLst>
                <a:ext uri="{FF2B5EF4-FFF2-40B4-BE49-F238E27FC236}">
                  <a16:creationId xmlns:a16="http://schemas.microsoft.com/office/drawing/2014/main" id="{07B96744-2A48-7705-060C-E5E448478FC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070541" y="3777036"/>
              <a:ext cx="114911" cy="135655"/>
            </a:xfrm>
            <a:custGeom>
              <a:avLst/>
              <a:gdLst>
                <a:gd name="T0" fmla="*/ 2147483647 w 212"/>
                <a:gd name="T1" fmla="*/ 0 h 235"/>
                <a:gd name="T2" fmla="*/ 0 w 212"/>
                <a:gd name="T3" fmla="*/ 0 h 235"/>
                <a:gd name="T4" fmla="*/ 2147483647 w 212"/>
                <a:gd name="T5" fmla="*/ 0 h 235"/>
                <a:gd name="T6" fmla="*/ 2147483647 w 212"/>
                <a:gd name="T7" fmla="*/ 0 h 235"/>
                <a:gd name="T8" fmla="*/ 2147483647 w 212"/>
                <a:gd name="T9" fmla="*/ 2147483647 h 235"/>
                <a:gd name="T10" fmla="*/ 2147483647 w 212"/>
                <a:gd name="T11" fmla="*/ 2147483647 h 235"/>
                <a:gd name="T12" fmla="*/ 2147483647 w 212"/>
                <a:gd name="T13" fmla="*/ 2147483647 h 235"/>
                <a:gd name="T14" fmla="*/ 0 w 212"/>
                <a:gd name="T15" fmla="*/ 2147483647 h 235"/>
                <a:gd name="T16" fmla="*/ 0 w 212"/>
                <a:gd name="T17" fmla="*/ 2147483647 h 235"/>
                <a:gd name="T18" fmla="*/ 0 w 212"/>
                <a:gd name="T19" fmla="*/ 2147483647 h 235"/>
                <a:gd name="T20" fmla="*/ 0 w 212"/>
                <a:gd name="T21" fmla="*/ 2147483647 h 235"/>
                <a:gd name="T22" fmla="*/ 0 w 212"/>
                <a:gd name="T23" fmla="*/ 2147483647 h 235"/>
                <a:gd name="T24" fmla="*/ 0 w 212"/>
                <a:gd name="T25" fmla="*/ 2147483647 h 235"/>
                <a:gd name="T26" fmla="*/ 0 w 212"/>
                <a:gd name="T27" fmla="*/ 2147483647 h 235"/>
                <a:gd name="T28" fmla="*/ 0 w 212"/>
                <a:gd name="T29" fmla="*/ 2147483647 h 235"/>
                <a:gd name="T30" fmla="*/ 0 w 212"/>
                <a:gd name="T31" fmla="*/ 2147483647 h 235"/>
                <a:gd name="T32" fmla="*/ 2147483647 w 212"/>
                <a:gd name="T33" fmla="*/ 2147483647 h 235"/>
                <a:gd name="T34" fmla="*/ 2147483647 w 212"/>
                <a:gd name="T35" fmla="*/ 2147483647 h 235"/>
                <a:gd name="T36" fmla="*/ 2147483647 w 212"/>
                <a:gd name="T37" fmla="*/ 2147483647 h 235"/>
                <a:gd name="T38" fmla="*/ 2147483647 w 212"/>
                <a:gd name="T39" fmla="*/ 2147483647 h 235"/>
                <a:gd name="T40" fmla="*/ 2147483647 w 212"/>
                <a:gd name="T41" fmla="*/ 2147483647 h 235"/>
                <a:gd name="T42" fmla="*/ 2147483647 w 212"/>
                <a:gd name="T43" fmla="*/ 2147483647 h 235"/>
                <a:gd name="T44" fmla="*/ 2147483647 w 212"/>
                <a:gd name="T45" fmla="*/ 2147483647 h 235"/>
                <a:gd name="T46" fmla="*/ 2147483647 w 212"/>
                <a:gd name="T47" fmla="*/ 2147483647 h 235"/>
                <a:gd name="T48" fmla="*/ 2147483647 w 212"/>
                <a:gd name="T49" fmla="*/ 2147483647 h 235"/>
                <a:gd name="T50" fmla="*/ 2147483647 w 212"/>
                <a:gd name="T51" fmla="*/ 2147483647 h 235"/>
                <a:gd name="T52" fmla="*/ 2147483647 w 212"/>
                <a:gd name="T53" fmla="*/ 2147483647 h 235"/>
                <a:gd name="T54" fmla="*/ 2147483647 w 212"/>
                <a:gd name="T55" fmla="*/ 2147483647 h 235"/>
                <a:gd name="T56" fmla="*/ 2147483647 w 212"/>
                <a:gd name="T57" fmla="*/ 2147483647 h 235"/>
                <a:gd name="T58" fmla="*/ 2147483647 w 212"/>
                <a:gd name="T59" fmla="*/ 2147483647 h 235"/>
                <a:gd name="T60" fmla="*/ 2147483647 w 212"/>
                <a:gd name="T61" fmla="*/ 2147483647 h 235"/>
                <a:gd name="T62" fmla="*/ 2147483647 w 212"/>
                <a:gd name="T63" fmla="*/ 2147483647 h 235"/>
                <a:gd name="T64" fmla="*/ 2147483647 w 212"/>
                <a:gd name="T65" fmla="*/ 2147483647 h 235"/>
                <a:gd name="T66" fmla="*/ 2147483647 w 212"/>
                <a:gd name="T67" fmla="*/ 2147483647 h 235"/>
                <a:gd name="T68" fmla="*/ 2147483647 w 212"/>
                <a:gd name="T69" fmla="*/ 2147483647 h 235"/>
                <a:gd name="T70" fmla="*/ 2147483647 w 212"/>
                <a:gd name="T71" fmla="*/ 2147483647 h 235"/>
                <a:gd name="T72" fmla="*/ 2147483647 w 212"/>
                <a:gd name="T73" fmla="*/ 2147483647 h 235"/>
                <a:gd name="T74" fmla="*/ 2147483647 w 212"/>
                <a:gd name="T75" fmla="*/ 0 h 23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12"/>
                <a:gd name="T115" fmla="*/ 0 h 235"/>
                <a:gd name="T116" fmla="*/ 212 w 212"/>
                <a:gd name="T117" fmla="*/ 235 h 23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12" h="235">
                  <a:moveTo>
                    <a:pt x="166" y="0"/>
                  </a:moveTo>
                  <a:lnTo>
                    <a:pt x="71" y="1"/>
                  </a:lnTo>
                  <a:lnTo>
                    <a:pt x="71" y="28"/>
                  </a:lnTo>
                  <a:lnTo>
                    <a:pt x="39" y="28"/>
                  </a:lnTo>
                  <a:lnTo>
                    <a:pt x="37" y="27"/>
                  </a:lnTo>
                  <a:lnTo>
                    <a:pt x="63" y="52"/>
                  </a:lnTo>
                  <a:lnTo>
                    <a:pt x="79" y="62"/>
                  </a:lnTo>
                  <a:lnTo>
                    <a:pt x="82" y="71"/>
                  </a:lnTo>
                  <a:lnTo>
                    <a:pt x="92" y="79"/>
                  </a:lnTo>
                  <a:lnTo>
                    <a:pt x="95" y="84"/>
                  </a:lnTo>
                  <a:lnTo>
                    <a:pt x="93" y="99"/>
                  </a:lnTo>
                  <a:lnTo>
                    <a:pt x="93" y="100"/>
                  </a:lnTo>
                  <a:lnTo>
                    <a:pt x="92" y="99"/>
                  </a:lnTo>
                  <a:lnTo>
                    <a:pt x="69" y="99"/>
                  </a:lnTo>
                  <a:lnTo>
                    <a:pt x="39" y="102"/>
                  </a:lnTo>
                  <a:lnTo>
                    <a:pt x="16" y="138"/>
                  </a:lnTo>
                  <a:lnTo>
                    <a:pt x="15" y="142"/>
                  </a:lnTo>
                  <a:lnTo>
                    <a:pt x="9" y="152"/>
                  </a:lnTo>
                  <a:lnTo>
                    <a:pt x="6" y="157"/>
                  </a:lnTo>
                  <a:lnTo>
                    <a:pt x="5" y="158"/>
                  </a:lnTo>
                  <a:lnTo>
                    <a:pt x="7" y="165"/>
                  </a:lnTo>
                  <a:lnTo>
                    <a:pt x="6" y="168"/>
                  </a:lnTo>
                  <a:lnTo>
                    <a:pt x="4" y="170"/>
                  </a:lnTo>
                  <a:lnTo>
                    <a:pt x="2" y="186"/>
                  </a:lnTo>
                  <a:lnTo>
                    <a:pt x="0" y="188"/>
                  </a:lnTo>
                  <a:lnTo>
                    <a:pt x="2" y="191"/>
                  </a:lnTo>
                  <a:lnTo>
                    <a:pt x="7" y="195"/>
                  </a:lnTo>
                  <a:lnTo>
                    <a:pt x="9" y="196"/>
                  </a:lnTo>
                  <a:lnTo>
                    <a:pt x="16" y="201"/>
                  </a:lnTo>
                  <a:lnTo>
                    <a:pt x="17" y="204"/>
                  </a:lnTo>
                  <a:lnTo>
                    <a:pt x="31" y="213"/>
                  </a:lnTo>
                  <a:lnTo>
                    <a:pt x="37" y="217"/>
                  </a:lnTo>
                  <a:lnTo>
                    <a:pt x="47" y="222"/>
                  </a:lnTo>
                  <a:lnTo>
                    <a:pt x="55" y="226"/>
                  </a:lnTo>
                  <a:lnTo>
                    <a:pt x="66" y="227"/>
                  </a:lnTo>
                  <a:lnTo>
                    <a:pt x="86" y="227"/>
                  </a:lnTo>
                  <a:lnTo>
                    <a:pt x="96" y="228"/>
                  </a:lnTo>
                  <a:lnTo>
                    <a:pt x="112" y="232"/>
                  </a:lnTo>
                  <a:lnTo>
                    <a:pt x="119" y="235"/>
                  </a:lnTo>
                  <a:lnTo>
                    <a:pt x="119" y="232"/>
                  </a:lnTo>
                  <a:lnTo>
                    <a:pt x="125" y="222"/>
                  </a:lnTo>
                  <a:lnTo>
                    <a:pt x="134" y="220"/>
                  </a:lnTo>
                  <a:lnTo>
                    <a:pt x="138" y="213"/>
                  </a:lnTo>
                  <a:lnTo>
                    <a:pt x="145" y="211"/>
                  </a:lnTo>
                  <a:lnTo>
                    <a:pt x="147" y="206"/>
                  </a:lnTo>
                  <a:lnTo>
                    <a:pt x="149" y="199"/>
                  </a:lnTo>
                  <a:lnTo>
                    <a:pt x="152" y="195"/>
                  </a:lnTo>
                  <a:lnTo>
                    <a:pt x="155" y="194"/>
                  </a:lnTo>
                  <a:lnTo>
                    <a:pt x="156" y="189"/>
                  </a:lnTo>
                  <a:lnTo>
                    <a:pt x="165" y="184"/>
                  </a:lnTo>
                  <a:lnTo>
                    <a:pt x="165" y="180"/>
                  </a:lnTo>
                  <a:lnTo>
                    <a:pt x="163" y="175"/>
                  </a:lnTo>
                  <a:lnTo>
                    <a:pt x="162" y="174"/>
                  </a:lnTo>
                  <a:lnTo>
                    <a:pt x="162" y="169"/>
                  </a:lnTo>
                  <a:lnTo>
                    <a:pt x="163" y="165"/>
                  </a:lnTo>
                  <a:lnTo>
                    <a:pt x="172" y="159"/>
                  </a:lnTo>
                  <a:lnTo>
                    <a:pt x="173" y="158"/>
                  </a:lnTo>
                  <a:lnTo>
                    <a:pt x="177" y="157"/>
                  </a:lnTo>
                  <a:lnTo>
                    <a:pt x="189" y="146"/>
                  </a:lnTo>
                  <a:lnTo>
                    <a:pt x="208" y="134"/>
                  </a:lnTo>
                  <a:lnTo>
                    <a:pt x="211" y="127"/>
                  </a:lnTo>
                  <a:lnTo>
                    <a:pt x="212" y="124"/>
                  </a:lnTo>
                  <a:lnTo>
                    <a:pt x="212" y="121"/>
                  </a:lnTo>
                  <a:lnTo>
                    <a:pt x="211" y="121"/>
                  </a:lnTo>
                  <a:lnTo>
                    <a:pt x="210" y="121"/>
                  </a:lnTo>
                  <a:lnTo>
                    <a:pt x="209" y="118"/>
                  </a:lnTo>
                  <a:lnTo>
                    <a:pt x="203" y="116"/>
                  </a:lnTo>
                  <a:lnTo>
                    <a:pt x="195" y="121"/>
                  </a:lnTo>
                  <a:lnTo>
                    <a:pt x="193" y="121"/>
                  </a:lnTo>
                  <a:lnTo>
                    <a:pt x="187" y="116"/>
                  </a:lnTo>
                  <a:lnTo>
                    <a:pt x="183" y="110"/>
                  </a:lnTo>
                  <a:lnTo>
                    <a:pt x="184" y="111"/>
                  </a:lnTo>
                  <a:lnTo>
                    <a:pt x="172" y="110"/>
                  </a:lnTo>
                  <a:lnTo>
                    <a:pt x="163" y="108"/>
                  </a:lnTo>
                  <a:lnTo>
                    <a:pt x="163" y="107"/>
                  </a:lnTo>
                  <a:lnTo>
                    <a:pt x="166" y="72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39" name="Freeform 260">
              <a:extLst>
                <a:ext uri="{FF2B5EF4-FFF2-40B4-BE49-F238E27FC236}">
                  <a16:creationId xmlns:a16="http://schemas.microsoft.com/office/drawing/2014/main" id="{CDBEA2D9-BDB3-15FE-57B8-A0A727A33CF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160082" y="3760269"/>
              <a:ext cx="31340" cy="82308"/>
            </a:xfrm>
            <a:custGeom>
              <a:avLst/>
              <a:gdLst>
                <a:gd name="T0" fmla="*/ 0 w 62"/>
                <a:gd name="T1" fmla="*/ 0 h 145"/>
                <a:gd name="T2" fmla="*/ 0 w 62"/>
                <a:gd name="T3" fmla="*/ 0 h 145"/>
                <a:gd name="T4" fmla="*/ 0 w 62"/>
                <a:gd name="T5" fmla="*/ 0 h 145"/>
                <a:gd name="T6" fmla="*/ 0 w 62"/>
                <a:gd name="T7" fmla="*/ 0 h 145"/>
                <a:gd name="T8" fmla="*/ 0 w 62"/>
                <a:gd name="T9" fmla="*/ 0 h 145"/>
                <a:gd name="T10" fmla="*/ 0 w 62"/>
                <a:gd name="T11" fmla="*/ 0 h 145"/>
                <a:gd name="T12" fmla="*/ 0 w 62"/>
                <a:gd name="T13" fmla="*/ 2147483647 h 145"/>
                <a:gd name="T14" fmla="*/ 0 w 62"/>
                <a:gd name="T15" fmla="*/ 2147483647 h 145"/>
                <a:gd name="T16" fmla="*/ 0 w 62"/>
                <a:gd name="T17" fmla="*/ 2147483647 h 145"/>
                <a:gd name="T18" fmla="*/ 0 w 62"/>
                <a:gd name="T19" fmla="*/ 2147483647 h 145"/>
                <a:gd name="T20" fmla="*/ 0 w 62"/>
                <a:gd name="T21" fmla="*/ 2147483647 h 145"/>
                <a:gd name="T22" fmla="*/ 0 w 62"/>
                <a:gd name="T23" fmla="*/ 2147483647 h 145"/>
                <a:gd name="T24" fmla="*/ 0 w 62"/>
                <a:gd name="T25" fmla="*/ 2147483647 h 145"/>
                <a:gd name="T26" fmla="*/ 0 w 62"/>
                <a:gd name="T27" fmla="*/ 2147483647 h 145"/>
                <a:gd name="T28" fmla="*/ 0 w 62"/>
                <a:gd name="T29" fmla="*/ 2147483647 h 145"/>
                <a:gd name="T30" fmla="*/ 0 w 62"/>
                <a:gd name="T31" fmla="*/ 2147483647 h 145"/>
                <a:gd name="T32" fmla="*/ 0 w 62"/>
                <a:gd name="T33" fmla="*/ 2147483647 h 145"/>
                <a:gd name="T34" fmla="*/ 0 w 62"/>
                <a:gd name="T35" fmla="*/ 2147483647 h 145"/>
                <a:gd name="T36" fmla="*/ 0 w 62"/>
                <a:gd name="T37" fmla="*/ 2147483647 h 145"/>
                <a:gd name="T38" fmla="*/ 0 w 62"/>
                <a:gd name="T39" fmla="*/ 2147483647 h 145"/>
                <a:gd name="T40" fmla="*/ 0 w 62"/>
                <a:gd name="T41" fmla="*/ 2147483647 h 145"/>
                <a:gd name="T42" fmla="*/ 0 w 62"/>
                <a:gd name="T43" fmla="*/ 0 h 145"/>
                <a:gd name="T44" fmla="*/ 0 w 62"/>
                <a:gd name="T45" fmla="*/ 0 h 145"/>
                <a:gd name="T46" fmla="*/ 0 w 62"/>
                <a:gd name="T47" fmla="*/ 0 h 145"/>
                <a:gd name="T48" fmla="*/ 0 w 62"/>
                <a:gd name="T49" fmla="*/ 0 h 145"/>
                <a:gd name="T50" fmla="*/ 0 w 62"/>
                <a:gd name="T51" fmla="*/ 0 h 145"/>
                <a:gd name="T52" fmla="*/ 0 w 62"/>
                <a:gd name="T53" fmla="*/ 0 h 145"/>
                <a:gd name="T54" fmla="*/ 0 w 62"/>
                <a:gd name="T55" fmla="*/ 0 h 145"/>
                <a:gd name="T56" fmla="*/ 0 w 62"/>
                <a:gd name="T57" fmla="*/ 0 h 14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62"/>
                <a:gd name="T88" fmla="*/ 0 h 145"/>
                <a:gd name="T89" fmla="*/ 62 w 62"/>
                <a:gd name="T90" fmla="*/ 145 h 14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62" h="145">
                  <a:moveTo>
                    <a:pt x="46" y="2"/>
                  </a:moveTo>
                  <a:lnTo>
                    <a:pt x="41" y="0"/>
                  </a:lnTo>
                  <a:lnTo>
                    <a:pt x="36" y="3"/>
                  </a:lnTo>
                  <a:lnTo>
                    <a:pt x="21" y="31"/>
                  </a:lnTo>
                  <a:lnTo>
                    <a:pt x="16" y="31"/>
                  </a:lnTo>
                  <a:lnTo>
                    <a:pt x="3" y="34"/>
                  </a:lnTo>
                  <a:lnTo>
                    <a:pt x="3" y="106"/>
                  </a:lnTo>
                  <a:lnTo>
                    <a:pt x="2" y="141"/>
                  </a:lnTo>
                  <a:lnTo>
                    <a:pt x="0" y="142"/>
                  </a:lnTo>
                  <a:lnTo>
                    <a:pt x="9" y="144"/>
                  </a:lnTo>
                  <a:lnTo>
                    <a:pt x="21" y="145"/>
                  </a:lnTo>
                  <a:lnTo>
                    <a:pt x="20" y="144"/>
                  </a:lnTo>
                  <a:lnTo>
                    <a:pt x="20" y="136"/>
                  </a:lnTo>
                  <a:lnTo>
                    <a:pt x="21" y="132"/>
                  </a:lnTo>
                  <a:lnTo>
                    <a:pt x="27" y="126"/>
                  </a:lnTo>
                  <a:lnTo>
                    <a:pt x="38" y="118"/>
                  </a:lnTo>
                  <a:lnTo>
                    <a:pt x="45" y="110"/>
                  </a:lnTo>
                  <a:lnTo>
                    <a:pt x="47" y="102"/>
                  </a:lnTo>
                  <a:lnTo>
                    <a:pt x="48" y="102"/>
                  </a:lnTo>
                  <a:lnTo>
                    <a:pt x="51" y="89"/>
                  </a:lnTo>
                  <a:lnTo>
                    <a:pt x="52" y="77"/>
                  </a:lnTo>
                  <a:lnTo>
                    <a:pt x="51" y="56"/>
                  </a:lnTo>
                  <a:lnTo>
                    <a:pt x="53" y="41"/>
                  </a:lnTo>
                  <a:lnTo>
                    <a:pt x="57" y="28"/>
                  </a:lnTo>
                  <a:lnTo>
                    <a:pt x="62" y="18"/>
                  </a:lnTo>
                  <a:lnTo>
                    <a:pt x="62" y="13"/>
                  </a:lnTo>
                  <a:lnTo>
                    <a:pt x="58" y="8"/>
                  </a:lnTo>
                  <a:lnTo>
                    <a:pt x="47" y="3"/>
                  </a:lnTo>
                  <a:lnTo>
                    <a:pt x="46" y="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40" name="Freeform 261">
              <a:extLst>
                <a:ext uri="{FF2B5EF4-FFF2-40B4-BE49-F238E27FC236}">
                  <a16:creationId xmlns:a16="http://schemas.microsoft.com/office/drawing/2014/main" id="{28BDCE54-47B1-41E7-D740-21765F67DEA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134712" y="3889828"/>
              <a:ext cx="67155" cy="39630"/>
            </a:xfrm>
            <a:custGeom>
              <a:avLst/>
              <a:gdLst>
                <a:gd name="T0" fmla="*/ 0 w 125"/>
                <a:gd name="T1" fmla="*/ 0 h 71"/>
                <a:gd name="T2" fmla="*/ 0 w 125"/>
                <a:gd name="T3" fmla="*/ 0 h 71"/>
                <a:gd name="T4" fmla="*/ 0 w 125"/>
                <a:gd name="T5" fmla="*/ 0 h 71"/>
                <a:gd name="T6" fmla="*/ 0 w 125"/>
                <a:gd name="T7" fmla="*/ 0 h 71"/>
                <a:gd name="T8" fmla="*/ 0 w 125"/>
                <a:gd name="T9" fmla="*/ 0 h 71"/>
                <a:gd name="T10" fmla="*/ 0 w 125"/>
                <a:gd name="T11" fmla="*/ 0 h 71"/>
                <a:gd name="T12" fmla="*/ 0 w 125"/>
                <a:gd name="T13" fmla="*/ 0 h 71"/>
                <a:gd name="T14" fmla="*/ 0 w 125"/>
                <a:gd name="T15" fmla="*/ 0 h 71"/>
                <a:gd name="T16" fmla="*/ 0 w 125"/>
                <a:gd name="T17" fmla="*/ 0 h 71"/>
                <a:gd name="T18" fmla="*/ 0 w 125"/>
                <a:gd name="T19" fmla="*/ 0 h 71"/>
                <a:gd name="T20" fmla="*/ 0 w 125"/>
                <a:gd name="T21" fmla="*/ 0 h 71"/>
                <a:gd name="T22" fmla="*/ 0 w 125"/>
                <a:gd name="T23" fmla="*/ 0 h 71"/>
                <a:gd name="T24" fmla="*/ 0 w 125"/>
                <a:gd name="T25" fmla="*/ 0 h 71"/>
                <a:gd name="T26" fmla="*/ 2147483647 w 125"/>
                <a:gd name="T27" fmla="*/ 0 h 71"/>
                <a:gd name="T28" fmla="*/ 2147483647 w 125"/>
                <a:gd name="T29" fmla="*/ 0 h 71"/>
                <a:gd name="T30" fmla="*/ 2147483647 w 125"/>
                <a:gd name="T31" fmla="*/ 0 h 71"/>
                <a:gd name="T32" fmla="*/ 2147483647 w 125"/>
                <a:gd name="T33" fmla="*/ 0 h 71"/>
                <a:gd name="T34" fmla="*/ 2147483647 w 125"/>
                <a:gd name="T35" fmla="*/ 0 h 71"/>
                <a:gd name="T36" fmla="*/ 2147483647 w 125"/>
                <a:gd name="T37" fmla="*/ 0 h 71"/>
                <a:gd name="T38" fmla="*/ 2147483647 w 125"/>
                <a:gd name="T39" fmla="*/ 0 h 71"/>
                <a:gd name="T40" fmla="*/ 2147483647 w 125"/>
                <a:gd name="T41" fmla="*/ 0 h 71"/>
                <a:gd name="T42" fmla="*/ 2147483647 w 125"/>
                <a:gd name="T43" fmla="*/ 0 h 71"/>
                <a:gd name="T44" fmla="*/ 2147483647 w 125"/>
                <a:gd name="T45" fmla="*/ 0 h 71"/>
                <a:gd name="T46" fmla="*/ 2147483647 w 125"/>
                <a:gd name="T47" fmla="*/ 0 h 71"/>
                <a:gd name="T48" fmla="*/ 2147483647 w 125"/>
                <a:gd name="T49" fmla="*/ 0 h 71"/>
                <a:gd name="T50" fmla="*/ 2147483647 w 125"/>
                <a:gd name="T51" fmla="*/ 0 h 71"/>
                <a:gd name="T52" fmla="*/ 2147483647 w 125"/>
                <a:gd name="T53" fmla="*/ 0 h 71"/>
                <a:gd name="T54" fmla="*/ 2147483647 w 125"/>
                <a:gd name="T55" fmla="*/ 0 h 71"/>
                <a:gd name="T56" fmla="*/ 2147483647 w 125"/>
                <a:gd name="T57" fmla="*/ 0 h 71"/>
                <a:gd name="T58" fmla="*/ 2147483647 w 125"/>
                <a:gd name="T59" fmla="*/ 0 h 71"/>
                <a:gd name="T60" fmla="*/ 2147483647 w 125"/>
                <a:gd name="T61" fmla="*/ 0 h 71"/>
                <a:gd name="T62" fmla="*/ 2147483647 w 125"/>
                <a:gd name="T63" fmla="*/ 0 h 71"/>
                <a:gd name="T64" fmla="*/ 2147483647 w 125"/>
                <a:gd name="T65" fmla="*/ 0 h 71"/>
                <a:gd name="T66" fmla="*/ 2147483647 w 125"/>
                <a:gd name="T67" fmla="*/ 0 h 71"/>
                <a:gd name="T68" fmla="*/ 2147483647 w 125"/>
                <a:gd name="T69" fmla="*/ 0 h 71"/>
                <a:gd name="T70" fmla="*/ 2147483647 w 125"/>
                <a:gd name="T71" fmla="*/ 0 h 71"/>
                <a:gd name="T72" fmla="*/ 2147483647 w 125"/>
                <a:gd name="T73" fmla="*/ 0 h 71"/>
                <a:gd name="T74" fmla="*/ 0 w 125"/>
                <a:gd name="T75" fmla="*/ 0 h 71"/>
                <a:gd name="T76" fmla="*/ 0 w 125"/>
                <a:gd name="T77" fmla="*/ 0 h 7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25"/>
                <a:gd name="T118" fmla="*/ 0 h 71"/>
                <a:gd name="T119" fmla="*/ 125 w 125"/>
                <a:gd name="T120" fmla="*/ 71 h 7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25" h="71">
                  <a:moveTo>
                    <a:pt x="33" y="0"/>
                  </a:moveTo>
                  <a:lnTo>
                    <a:pt x="31" y="4"/>
                  </a:lnTo>
                  <a:lnTo>
                    <a:pt x="28" y="11"/>
                  </a:lnTo>
                  <a:lnTo>
                    <a:pt x="26" y="16"/>
                  </a:lnTo>
                  <a:lnTo>
                    <a:pt x="19" y="18"/>
                  </a:lnTo>
                  <a:lnTo>
                    <a:pt x="15" y="25"/>
                  </a:lnTo>
                  <a:lnTo>
                    <a:pt x="6" y="27"/>
                  </a:lnTo>
                  <a:lnTo>
                    <a:pt x="0" y="37"/>
                  </a:lnTo>
                  <a:lnTo>
                    <a:pt x="0" y="40"/>
                  </a:lnTo>
                  <a:lnTo>
                    <a:pt x="9" y="48"/>
                  </a:lnTo>
                  <a:lnTo>
                    <a:pt x="21" y="53"/>
                  </a:lnTo>
                  <a:lnTo>
                    <a:pt x="36" y="55"/>
                  </a:lnTo>
                  <a:lnTo>
                    <a:pt x="46" y="56"/>
                  </a:lnTo>
                  <a:lnTo>
                    <a:pt x="58" y="65"/>
                  </a:lnTo>
                  <a:lnTo>
                    <a:pt x="76" y="70"/>
                  </a:lnTo>
                  <a:lnTo>
                    <a:pt x="103" y="71"/>
                  </a:lnTo>
                  <a:lnTo>
                    <a:pt x="120" y="64"/>
                  </a:lnTo>
                  <a:lnTo>
                    <a:pt x="125" y="59"/>
                  </a:lnTo>
                  <a:lnTo>
                    <a:pt x="123" y="56"/>
                  </a:lnTo>
                  <a:lnTo>
                    <a:pt x="123" y="38"/>
                  </a:lnTo>
                  <a:lnTo>
                    <a:pt x="123" y="37"/>
                  </a:lnTo>
                  <a:lnTo>
                    <a:pt x="118" y="32"/>
                  </a:lnTo>
                  <a:lnTo>
                    <a:pt x="109" y="29"/>
                  </a:lnTo>
                  <a:lnTo>
                    <a:pt x="107" y="27"/>
                  </a:lnTo>
                  <a:lnTo>
                    <a:pt x="100" y="28"/>
                  </a:lnTo>
                  <a:lnTo>
                    <a:pt x="95" y="33"/>
                  </a:lnTo>
                  <a:lnTo>
                    <a:pt x="90" y="33"/>
                  </a:lnTo>
                  <a:lnTo>
                    <a:pt x="85" y="31"/>
                  </a:lnTo>
                  <a:lnTo>
                    <a:pt x="82" y="28"/>
                  </a:lnTo>
                  <a:lnTo>
                    <a:pt x="82" y="26"/>
                  </a:lnTo>
                  <a:lnTo>
                    <a:pt x="75" y="26"/>
                  </a:lnTo>
                  <a:lnTo>
                    <a:pt x="73" y="23"/>
                  </a:lnTo>
                  <a:lnTo>
                    <a:pt x="71" y="20"/>
                  </a:lnTo>
                  <a:lnTo>
                    <a:pt x="66" y="20"/>
                  </a:lnTo>
                  <a:lnTo>
                    <a:pt x="59" y="15"/>
                  </a:lnTo>
                  <a:lnTo>
                    <a:pt x="57" y="10"/>
                  </a:lnTo>
                  <a:lnTo>
                    <a:pt x="52" y="4"/>
                  </a:lnTo>
                  <a:lnTo>
                    <a:pt x="39" y="4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41" name="Freeform 262">
              <a:extLst>
                <a:ext uri="{FF2B5EF4-FFF2-40B4-BE49-F238E27FC236}">
                  <a16:creationId xmlns:a16="http://schemas.microsoft.com/office/drawing/2014/main" id="{748AF516-1B5E-819B-CFC8-1DA489BB32B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257084" y="3991950"/>
              <a:ext cx="97002" cy="91453"/>
            </a:xfrm>
            <a:custGeom>
              <a:avLst/>
              <a:gdLst>
                <a:gd name="T0" fmla="*/ 2147483647 w 180"/>
                <a:gd name="T1" fmla="*/ 0 h 157"/>
                <a:gd name="T2" fmla="*/ 2147483647 w 180"/>
                <a:gd name="T3" fmla="*/ 0 h 157"/>
                <a:gd name="T4" fmla="*/ 2147483647 w 180"/>
                <a:gd name="T5" fmla="*/ 0 h 157"/>
                <a:gd name="T6" fmla="*/ 2147483647 w 180"/>
                <a:gd name="T7" fmla="*/ 0 h 157"/>
                <a:gd name="T8" fmla="*/ 2147483647 w 180"/>
                <a:gd name="T9" fmla="*/ 0 h 157"/>
                <a:gd name="T10" fmla="*/ 0 w 180"/>
                <a:gd name="T11" fmla="*/ 0 h 157"/>
                <a:gd name="T12" fmla="*/ 0 w 180"/>
                <a:gd name="T13" fmla="*/ 0 h 157"/>
                <a:gd name="T14" fmla="*/ 0 w 180"/>
                <a:gd name="T15" fmla="*/ 0 h 157"/>
                <a:gd name="T16" fmla="*/ 0 w 180"/>
                <a:gd name="T17" fmla="*/ 0 h 157"/>
                <a:gd name="T18" fmla="*/ 0 w 180"/>
                <a:gd name="T19" fmla="*/ 0 h 157"/>
                <a:gd name="T20" fmla="*/ 0 w 180"/>
                <a:gd name="T21" fmla="*/ 0 h 157"/>
                <a:gd name="T22" fmla="*/ 0 w 180"/>
                <a:gd name="T23" fmla="*/ 0 h 157"/>
                <a:gd name="T24" fmla="*/ 0 w 180"/>
                <a:gd name="T25" fmla="*/ 0 h 157"/>
                <a:gd name="T26" fmla="*/ 0 w 180"/>
                <a:gd name="T27" fmla="*/ 2147483647 h 157"/>
                <a:gd name="T28" fmla="*/ 0 w 180"/>
                <a:gd name="T29" fmla="*/ 2147483647 h 157"/>
                <a:gd name="T30" fmla="*/ 2147483647 w 180"/>
                <a:gd name="T31" fmla="*/ 0 h 157"/>
                <a:gd name="T32" fmla="*/ 0 w 180"/>
                <a:gd name="T33" fmla="*/ 0 h 157"/>
                <a:gd name="T34" fmla="*/ 2147483647 w 180"/>
                <a:gd name="T35" fmla="*/ 0 h 157"/>
                <a:gd name="T36" fmla="*/ 2147483647 w 180"/>
                <a:gd name="T37" fmla="*/ 2147483647 h 157"/>
                <a:gd name="T38" fmla="*/ 2147483647 w 180"/>
                <a:gd name="T39" fmla="*/ 2147483647 h 157"/>
                <a:gd name="T40" fmla="*/ 2147483647 w 180"/>
                <a:gd name="T41" fmla="*/ 2147483647 h 157"/>
                <a:gd name="T42" fmla="*/ 2147483647 w 180"/>
                <a:gd name="T43" fmla="*/ 2147483647 h 157"/>
                <a:gd name="T44" fmla="*/ 2147483647 w 180"/>
                <a:gd name="T45" fmla="*/ 2147483647 h 157"/>
                <a:gd name="T46" fmla="*/ 2147483647 w 180"/>
                <a:gd name="T47" fmla="*/ 2147483647 h 157"/>
                <a:gd name="T48" fmla="*/ 2147483647 w 180"/>
                <a:gd name="T49" fmla="*/ 2147483647 h 157"/>
                <a:gd name="T50" fmla="*/ 2147483647 w 180"/>
                <a:gd name="T51" fmla="*/ 2147483647 h 157"/>
                <a:gd name="T52" fmla="*/ 2147483647 w 180"/>
                <a:gd name="T53" fmla="*/ 2147483647 h 157"/>
                <a:gd name="T54" fmla="*/ 2147483647 w 180"/>
                <a:gd name="T55" fmla="*/ 2147483647 h 157"/>
                <a:gd name="T56" fmla="*/ 2147483647 w 180"/>
                <a:gd name="T57" fmla="*/ 2147483647 h 157"/>
                <a:gd name="T58" fmla="*/ 2147483647 w 180"/>
                <a:gd name="T59" fmla="*/ 2147483647 h 157"/>
                <a:gd name="T60" fmla="*/ 2147483647 w 180"/>
                <a:gd name="T61" fmla="*/ 2147483647 h 157"/>
                <a:gd name="T62" fmla="*/ 2147483647 w 180"/>
                <a:gd name="T63" fmla="*/ 2147483647 h 157"/>
                <a:gd name="T64" fmla="*/ 2147483647 w 180"/>
                <a:gd name="T65" fmla="*/ 2147483647 h 157"/>
                <a:gd name="T66" fmla="*/ 2147483647 w 180"/>
                <a:gd name="T67" fmla="*/ 2147483647 h 157"/>
                <a:gd name="T68" fmla="*/ 2147483647 w 180"/>
                <a:gd name="T69" fmla="*/ 2147483647 h 157"/>
                <a:gd name="T70" fmla="*/ 2147483647 w 180"/>
                <a:gd name="T71" fmla="*/ 0 h 157"/>
                <a:gd name="T72" fmla="*/ 2147483647 w 180"/>
                <a:gd name="T73" fmla="*/ 0 h 157"/>
                <a:gd name="T74" fmla="*/ 2147483647 w 180"/>
                <a:gd name="T75" fmla="*/ 0 h 157"/>
                <a:gd name="T76" fmla="*/ 2147483647 w 180"/>
                <a:gd name="T77" fmla="*/ 0 h 15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80"/>
                <a:gd name="T118" fmla="*/ 0 h 157"/>
                <a:gd name="T119" fmla="*/ 180 w 180"/>
                <a:gd name="T120" fmla="*/ 157 h 157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80" h="157">
                  <a:moveTo>
                    <a:pt x="121" y="16"/>
                  </a:moveTo>
                  <a:lnTo>
                    <a:pt x="118" y="18"/>
                  </a:lnTo>
                  <a:lnTo>
                    <a:pt x="104" y="21"/>
                  </a:lnTo>
                  <a:lnTo>
                    <a:pt x="94" y="21"/>
                  </a:lnTo>
                  <a:lnTo>
                    <a:pt x="89" y="20"/>
                  </a:lnTo>
                  <a:lnTo>
                    <a:pt x="81" y="12"/>
                  </a:lnTo>
                  <a:lnTo>
                    <a:pt x="72" y="9"/>
                  </a:lnTo>
                  <a:lnTo>
                    <a:pt x="67" y="9"/>
                  </a:lnTo>
                  <a:lnTo>
                    <a:pt x="59" y="11"/>
                  </a:lnTo>
                  <a:lnTo>
                    <a:pt x="50" y="11"/>
                  </a:lnTo>
                  <a:lnTo>
                    <a:pt x="27" y="5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6" y="6"/>
                  </a:lnTo>
                  <a:lnTo>
                    <a:pt x="5" y="7"/>
                  </a:lnTo>
                  <a:lnTo>
                    <a:pt x="2" y="12"/>
                  </a:lnTo>
                  <a:lnTo>
                    <a:pt x="2" y="15"/>
                  </a:lnTo>
                  <a:lnTo>
                    <a:pt x="6" y="21"/>
                  </a:lnTo>
                  <a:lnTo>
                    <a:pt x="6" y="33"/>
                  </a:lnTo>
                  <a:lnTo>
                    <a:pt x="2" y="36"/>
                  </a:lnTo>
                  <a:lnTo>
                    <a:pt x="0" y="42"/>
                  </a:lnTo>
                  <a:lnTo>
                    <a:pt x="3" y="53"/>
                  </a:lnTo>
                  <a:lnTo>
                    <a:pt x="7" y="60"/>
                  </a:lnTo>
                  <a:lnTo>
                    <a:pt x="11" y="66"/>
                  </a:lnTo>
                  <a:lnTo>
                    <a:pt x="18" y="71"/>
                  </a:lnTo>
                  <a:lnTo>
                    <a:pt x="23" y="71"/>
                  </a:lnTo>
                  <a:lnTo>
                    <a:pt x="33" y="76"/>
                  </a:lnTo>
                  <a:lnTo>
                    <a:pt x="39" y="82"/>
                  </a:lnTo>
                  <a:lnTo>
                    <a:pt x="44" y="85"/>
                  </a:lnTo>
                  <a:lnTo>
                    <a:pt x="45" y="85"/>
                  </a:lnTo>
                  <a:lnTo>
                    <a:pt x="50" y="74"/>
                  </a:lnTo>
                  <a:lnTo>
                    <a:pt x="49" y="69"/>
                  </a:lnTo>
                  <a:lnTo>
                    <a:pt x="40" y="65"/>
                  </a:lnTo>
                  <a:lnTo>
                    <a:pt x="39" y="61"/>
                  </a:lnTo>
                  <a:lnTo>
                    <a:pt x="45" y="59"/>
                  </a:lnTo>
                  <a:lnTo>
                    <a:pt x="51" y="60"/>
                  </a:lnTo>
                  <a:lnTo>
                    <a:pt x="59" y="68"/>
                  </a:lnTo>
                  <a:lnTo>
                    <a:pt x="65" y="77"/>
                  </a:lnTo>
                  <a:lnTo>
                    <a:pt x="68" y="83"/>
                  </a:lnTo>
                  <a:lnTo>
                    <a:pt x="76" y="92"/>
                  </a:lnTo>
                  <a:lnTo>
                    <a:pt x="78" y="92"/>
                  </a:lnTo>
                  <a:lnTo>
                    <a:pt x="106" y="104"/>
                  </a:lnTo>
                  <a:lnTo>
                    <a:pt x="119" y="115"/>
                  </a:lnTo>
                  <a:lnTo>
                    <a:pt x="121" y="142"/>
                  </a:lnTo>
                  <a:lnTo>
                    <a:pt x="122" y="144"/>
                  </a:lnTo>
                  <a:lnTo>
                    <a:pt x="130" y="149"/>
                  </a:lnTo>
                  <a:lnTo>
                    <a:pt x="138" y="151"/>
                  </a:lnTo>
                  <a:lnTo>
                    <a:pt x="141" y="150"/>
                  </a:lnTo>
                  <a:lnTo>
                    <a:pt x="136" y="139"/>
                  </a:lnTo>
                  <a:lnTo>
                    <a:pt x="140" y="136"/>
                  </a:lnTo>
                  <a:lnTo>
                    <a:pt x="141" y="136"/>
                  </a:lnTo>
                  <a:lnTo>
                    <a:pt x="145" y="139"/>
                  </a:lnTo>
                  <a:lnTo>
                    <a:pt x="151" y="145"/>
                  </a:lnTo>
                  <a:lnTo>
                    <a:pt x="154" y="156"/>
                  </a:lnTo>
                  <a:lnTo>
                    <a:pt x="157" y="157"/>
                  </a:lnTo>
                  <a:lnTo>
                    <a:pt x="158" y="157"/>
                  </a:lnTo>
                  <a:lnTo>
                    <a:pt x="165" y="147"/>
                  </a:lnTo>
                  <a:lnTo>
                    <a:pt x="168" y="142"/>
                  </a:lnTo>
                  <a:lnTo>
                    <a:pt x="167" y="130"/>
                  </a:lnTo>
                  <a:lnTo>
                    <a:pt x="168" y="126"/>
                  </a:lnTo>
                  <a:lnTo>
                    <a:pt x="172" y="123"/>
                  </a:lnTo>
                  <a:lnTo>
                    <a:pt x="173" y="118"/>
                  </a:lnTo>
                  <a:lnTo>
                    <a:pt x="169" y="114"/>
                  </a:lnTo>
                  <a:lnTo>
                    <a:pt x="162" y="109"/>
                  </a:lnTo>
                  <a:lnTo>
                    <a:pt x="164" y="95"/>
                  </a:lnTo>
                  <a:lnTo>
                    <a:pt x="170" y="86"/>
                  </a:lnTo>
                  <a:lnTo>
                    <a:pt x="174" y="86"/>
                  </a:lnTo>
                  <a:lnTo>
                    <a:pt x="176" y="87"/>
                  </a:lnTo>
                  <a:lnTo>
                    <a:pt x="179" y="87"/>
                  </a:lnTo>
                  <a:lnTo>
                    <a:pt x="180" y="86"/>
                  </a:lnTo>
                  <a:lnTo>
                    <a:pt x="174" y="81"/>
                  </a:lnTo>
                  <a:lnTo>
                    <a:pt x="161" y="72"/>
                  </a:lnTo>
                  <a:lnTo>
                    <a:pt x="141" y="54"/>
                  </a:lnTo>
                  <a:lnTo>
                    <a:pt x="133" y="43"/>
                  </a:lnTo>
                  <a:lnTo>
                    <a:pt x="127" y="27"/>
                  </a:lnTo>
                  <a:lnTo>
                    <a:pt x="125" y="25"/>
                  </a:lnTo>
                  <a:lnTo>
                    <a:pt x="122" y="16"/>
                  </a:lnTo>
                  <a:lnTo>
                    <a:pt x="121" y="1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42" name="Freeform 263">
              <a:extLst>
                <a:ext uri="{FF2B5EF4-FFF2-40B4-BE49-F238E27FC236}">
                  <a16:creationId xmlns:a16="http://schemas.microsoft.com/office/drawing/2014/main" id="{C473A75E-DBB7-BF00-A749-49389FBF92C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154112" y="3838004"/>
              <a:ext cx="179081" cy="96025"/>
            </a:xfrm>
            <a:custGeom>
              <a:avLst/>
              <a:gdLst>
                <a:gd name="T0" fmla="*/ 2147483647 w 337"/>
                <a:gd name="T1" fmla="*/ 0 h 166"/>
                <a:gd name="T2" fmla="*/ 2147483647 w 337"/>
                <a:gd name="T3" fmla="*/ 0 h 166"/>
                <a:gd name="T4" fmla="*/ 2147483647 w 337"/>
                <a:gd name="T5" fmla="*/ 0 h 166"/>
                <a:gd name="T6" fmla="*/ 2147483647 w 337"/>
                <a:gd name="T7" fmla="*/ 0 h 166"/>
                <a:gd name="T8" fmla="*/ 2147483647 w 337"/>
                <a:gd name="T9" fmla="*/ 0 h 166"/>
                <a:gd name="T10" fmla="*/ 2147483647 w 337"/>
                <a:gd name="T11" fmla="*/ 0 h 166"/>
                <a:gd name="T12" fmla="*/ 2147483647 w 337"/>
                <a:gd name="T13" fmla="*/ 0 h 166"/>
                <a:gd name="T14" fmla="*/ 2147483647 w 337"/>
                <a:gd name="T15" fmla="*/ 2147483647 h 166"/>
                <a:gd name="T16" fmla="*/ 2147483647 w 337"/>
                <a:gd name="T17" fmla="*/ 2147483647 h 166"/>
                <a:gd name="T18" fmla="*/ 2147483647 w 337"/>
                <a:gd name="T19" fmla="*/ 2147483647 h 166"/>
                <a:gd name="T20" fmla="*/ 2147483647 w 337"/>
                <a:gd name="T21" fmla="*/ 2147483647 h 166"/>
                <a:gd name="T22" fmla="*/ 2147483647 w 337"/>
                <a:gd name="T23" fmla="*/ 2147483647 h 166"/>
                <a:gd name="T24" fmla="*/ 2147483647 w 337"/>
                <a:gd name="T25" fmla="*/ 2147483647 h 166"/>
                <a:gd name="T26" fmla="*/ 2147483647 w 337"/>
                <a:gd name="T27" fmla="*/ 2147483647 h 166"/>
                <a:gd name="T28" fmla="*/ 2147483647 w 337"/>
                <a:gd name="T29" fmla="*/ 2147483647 h 166"/>
                <a:gd name="T30" fmla="*/ 2147483647 w 337"/>
                <a:gd name="T31" fmla="*/ 2147483647 h 166"/>
                <a:gd name="T32" fmla="*/ 2147483647 w 337"/>
                <a:gd name="T33" fmla="*/ 2147483647 h 166"/>
                <a:gd name="T34" fmla="*/ 2147483647 w 337"/>
                <a:gd name="T35" fmla="*/ 2147483647 h 166"/>
                <a:gd name="T36" fmla="*/ 2147483647 w 337"/>
                <a:gd name="T37" fmla="*/ 2147483647 h 166"/>
                <a:gd name="T38" fmla="*/ 2147483647 w 337"/>
                <a:gd name="T39" fmla="*/ 2147483647 h 166"/>
                <a:gd name="T40" fmla="*/ 2147483647 w 337"/>
                <a:gd name="T41" fmla="*/ 2147483647 h 166"/>
                <a:gd name="T42" fmla="*/ 2147483647 w 337"/>
                <a:gd name="T43" fmla="*/ 2147483647 h 166"/>
                <a:gd name="T44" fmla="*/ 2147483647 w 337"/>
                <a:gd name="T45" fmla="*/ 2147483647 h 166"/>
                <a:gd name="T46" fmla="*/ 2147483647 w 337"/>
                <a:gd name="T47" fmla="*/ 2147483647 h 166"/>
                <a:gd name="T48" fmla="*/ 2147483647 w 337"/>
                <a:gd name="T49" fmla="*/ 2147483647 h 166"/>
                <a:gd name="T50" fmla="*/ 2147483647 w 337"/>
                <a:gd name="T51" fmla="*/ 2147483647 h 166"/>
                <a:gd name="T52" fmla="*/ 2147483647 w 337"/>
                <a:gd name="T53" fmla="*/ 2147483647 h 166"/>
                <a:gd name="T54" fmla="*/ 2147483647 w 337"/>
                <a:gd name="T55" fmla="*/ 2147483647 h 166"/>
                <a:gd name="T56" fmla="*/ 0 w 337"/>
                <a:gd name="T57" fmla="*/ 2147483647 h 166"/>
                <a:gd name="T58" fmla="*/ 0 w 337"/>
                <a:gd name="T59" fmla="*/ 2147483647 h 166"/>
                <a:gd name="T60" fmla="*/ 0 w 337"/>
                <a:gd name="T61" fmla="*/ 2147483647 h 166"/>
                <a:gd name="T62" fmla="*/ 0 w 337"/>
                <a:gd name="T63" fmla="*/ 2147483647 h 166"/>
                <a:gd name="T64" fmla="*/ 0 w 337"/>
                <a:gd name="T65" fmla="*/ 2147483647 h 166"/>
                <a:gd name="T66" fmla="*/ 0 w 337"/>
                <a:gd name="T67" fmla="*/ 2147483647 h 166"/>
                <a:gd name="T68" fmla="*/ 0 w 337"/>
                <a:gd name="T69" fmla="*/ 0 h 166"/>
                <a:gd name="T70" fmla="*/ 0 w 337"/>
                <a:gd name="T71" fmla="*/ 0 h 166"/>
                <a:gd name="T72" fmla="*/ 0 w 337"/>
                <a:gd name="T73" fmla="*/ 0 h 166"/>
                <a:gd name="T74" fmla="*/ 0 w 337"/>
                <a:gd name="T75" fmla="*/ 0 h 166"/>
                <a:gd name="T76" fmla="*/ 0 w 337"/>
                <a:gd name="T77" fmla="*/ 0 h 166"/>
                <a:gd name="T78" fmla="*/ 2147483647 w 337"/>
                <a:gd name="T79" fmla="*/ 0 h 166"/>
                <a:gd name="T80" fmla="*/ 2147483647 w 337"/>
                <a:gd name="T81" fmla="*/ 0 h 166"/>
                <a:gd name="T82" fmla="*/ 2147483647 w 337"/>
                <a:gd name="T83" fmla="*/ 0 h 166"/>
                <a:gd name="T84" fmla="*/ 2147483647 w 337"/>
                <a:gd name="T85" fmla="*/ 0 h 166"/>
                <a:gd name="T86" fmla="*/ 2147483647 w 337"/>
                <a:gd name="T87" fmla="*/ 0 h 166"/>
                <a:gd name="T88" fmla="*/ 2147483647 w 337"/>
                <a:gd name="T89" fmla="*/ 0 h 166"/>
                <a:gd name="T90" fmla="*/ 2147483647 w 337"/>
                <a:gd name="T91" fmla="*/ 0 h 166"/>
                <a:gd name="T92" fmla="*/ 2147483647 w 337"/>
                <a:gd name="T93" fmla="*/ 0 h 166"/>
                <a:gd name="T94" fmla="*/ 2147483647 w 337"/>
                <a:gd name="T95" fmla="*/ 0 h 166"/>
                <a:gd name="T96" fmla="*/ 2147483647 w 337"/>
                <a:gd name="T97" fmla="*/ 0 h 166"/>
                <a:gd name="T98" fmla="*/ 2147483647 w 337"/>
                <a:gd name="T99" fmla="*/ 0 h 166"/>
                <a:gd name="T100" fmla="*/ 2147483647 w 337"/>
                <a:gd name="T101" fmla="*/ 0 h 166"/>
                <a:gd name="T102" fmla="*/ 2147483647 w 337"/>
                <a:gd name="T103" fmla="*/ 0 h 166"/>
                <a:gd name="T104" fmla="*/ 2147483647 w 337"/>
                <a:gd name="T105" fmla="*/ 0 h 1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337"/>
                <a:gd name="T160" fmla="*/ 0 h 166"/>
                <a:gd name="T161" fmla="*/ 337 w 337"/>
                <a:gd name="T162" fmla="*/ 166 h 1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337" h="166">
                  <a:moveTo>
                    <a:pt x="337" y="54"/>
                  </a:moveTo>
                  <a:lnTo>
                    <a:pt x="326" y="54"/>
                  </a:lnTo>
                  <a:lnTo>
                    <a:pt x="312" y="60"/>
                  </a:lnTo>
                  <a:lnTo>
                    <a:pt x="309" y="65"/>
                  </a:lnTo>
                  <a:lnTo>
                    <a:pt x="300" y="70"/>
                  </a:lnTo>
                  <a:lnTo>
                    <a:pt x="290" y="70"/>
                  </a:lnTo>
                  <a:lnTo>
                    <a:pt x="283" y="75"/>
                  </a:lnTo>
                  <a:lnTo>
                    <a:pt x="266" y="75"/>
                  </a:lnTo>
                  <a:lnTo>
                    <a:pt x="263" y="72"/>
                  </a:lnTo>
                  <a:lnTo>
                    <a:pt x="259" y="68"/>
                  </a:lnTo>
                  <a:lnTo>
                    <a:pt x="253" y="66"/>
                  </a:lnTo>
                  <a:lnTo>
                    <a:pt x="252" y="70"/>
                  </a:lnTo>
                  <a:lnTo>
                    <a:pt x="250" y="71"/>
                  </a:lnTo>
                  <a:lnTo>
                    <a:pt x="246" y="72"/>
                  </a:lnTo>
                  <a:lnTo>
                    <a:pt x="242" y="79"/>
                  </a:lnTo>
                  <a:lnTo>
                    <a:pt x="239" y="92"/>
                  </a:lnTo>
                  <a:lnTo>
                    <a:pt x="236" y="95"/>
                  </a:lnTo>
                  <a:lnTo>
                    <a:pt x="226" y="97"/>
                  </a:lnTo>
                  <a:lnTo>
                    <a:pt x="221" y="102"/>
                  </a:lnTo>
                  <a:lnTo>
                    <a:pt x="220" y="104"/>
                  </a:lnTo>
                  <a:lnTo>
                    <a:pt x="216" y="106"/>
                  </a:lnTo>
                  <a:lnTo>
                    <a:pt x="213" y="112"/>
                  </a:lnTo>
                  <a:lnTo>
                    <a:pt x="205" y="113"/>
                  </a:lnTo>
                  <a:lnTo>
                    <a:pt x="205" y="115"/>
                  </a:lnTo>
                  <a:lnTo>
                    <a:pt x="202" y="117"/>
                  </a:lnTo>
                  <a:lnTo>
                    <a:pt x="196" y="117"/>
                  </a:lnTo>
                  <a:lnTo>
                    <a:pt x="188" y="111"/>
                  </a:lnTo>
                  <a:lnTo>
                    <a:pt x="181" y="108"/>
                  </a:lnTo>
                  <a:lnTo>
                    <a:pt x="175" y="118"/>
                  </a:lnTo>
                  <a:lnTo>
                    <a:pt x="171" y="126"/>
                  </a:lnTo>
                  <a:lnTo>
                    <a:pt x="154" y="128"/>
                  </a:lnTo>
                  <a:lnTo>
                    <a:pt x="149" y="126"/>
                  </a:lnTo>
                  <a:lnTo>
                    <a:pt x="146" y="134"/>
                  </a:lnTo>
                  <a:lnTo>
                    <a:pt x="148" y="149"/>
                  </a:lnTo>
                  <a:lnTo>
                    <a:pt x="144" y="150"/>
                  </a:lnTo>
                  <a:lnTo>
                    <a:pt x="139" y="155"/>
                  </a:lnTo>
                  <a:lnTo>
                    <a:pt x="135" y="162"/>
                  </a:lnTo>
                  <a:lnTo>
                    <a:pt x="132" y="165"/>
                  </a:lnTo>
                  <a:lnTo>
                    <a:pt x="115" y="166"/>
                  </a:lnTo>
                  <a:lnTo>
                    <a:pt x="115" y="163"/>
                  </a:lnTo>
                  <a:lnTo>
                    <a:pt x="107" y="156"/>
                  </a:lnTo>
                  <a:lnTo>
                    <a:pt x="107" y="152"/>
                  </a:lnTo>
                  <a:lnTo>
                    <a:pt x="106" y="147"/>
                  </a:lnTo>
                  <a:lnTo>
                    <a:pt x="99" y="144"/>
                  </a:lnTo>
                  <a:lnTo>
                    <a:pt x="92" y="145"/>
                  </a:lnTo>
                  <a:lnTo>
                    <a:pt x="90" y="142"/>
                  </a:lnTo>
                  <a:lnTo>
                    <a:pt x="90" y="124"/>
                  </a:lnTo>
                  <a:lnTo>
                    <a:pt x="90" y="123"/>
                  </a:lnTo>
                  <a:lnTo>
                    <a:pt x="85" y="118"/>
                  </a:lnTo>
                  <a:lnTo>
                    <a:pt x="76" y="115"/>
                  </a:lnTo>
                  <a:lnTo>
                    <a:pt x="74" y="113"/>
                  </a:lnTo>
                  <a:lnTo>
                    <a:pt x="67" y="114"/>
                  </a:lnTo>
                  <a:lnTo>
                    <a:pt x="62" y="119"/>
                  </a:lnTo>
                  <a:lnTo>
                    <a:pt x="57" y="119"/>
                  </a:lnTo>
                  <a:lnTo>
                    <a:pt x="52" y="117"/>
                  </a:lnTo>
                  <a:lnTo>
                    <a:pt x="49" y="114"/>
                  </a:lnTo>
                  <a:lnTo>
                    <a:pt x="49" y="112"/>
                  </a:lnTo>
                  <a:lnTo>
                    <a:pt x="42" y="112"/>
                  </a:lnTo>
                  <a:lnTo>
                    <a:pt x="40" y="109"/>
                  </a:lnTo>
                  <a:lnTo>
                    <a:pt x="38" y="106"/>
                  </a:lnTo>
                  <a:lnTo>
                    <a:pt x="33" y="106"/>
                  </a:lnTo>
                  <a:lnTo>
                    <a:pt x="26" y="101"/>
                  </a:lnTo>
                  <a:lnTo>
                    <a:pt x="24" y="96"/>
                  </a:lnTo>
                  <a:lnTo>
                    <a:pt x="19" y="90"/>
                  </a:lnTo>
                  <a:lnTo>
                    <a:pt x="6" y="90"/>
                  </a:lnTo>
                  <a:lnTo>
                    <a:pt x="0" y="86"/>
                  </a:lnTo>
                  <a:lnTo>
                    <a:pt x="3" y="85"/>
                  </a:lnTo>
                  <a:lnTo>
                    <a:pt x="5" y="80"/>
                  </a:lnTo>
                  <a:lnTo>
                    <a:pt x="13" y="75"/>
                  </a:lnTo>
                  <a:lnTo>
                    <a:pt x="13" y="71"/>
                  </a:lnTo>
                  <a:lnTo>
                    <a:pt x="11" y="66"/>
                  </a:lnTo>
                  <a:lnTo>
                    <a:pt x="10" y="65"/>
                  </a:lnTo>
                  <a:lnTo>
                    <a:pt x="10" y="60"/>
                  </a:lnTo>
                  <a:lnTo>
                    <a:pt x="11" y="56"/>
                  </a:lnTo>
                  <a:lnTo>
                    <a:pt x="20" y="50"/>
                  </a:lnTo>
                  <a:lnTo>
                    <a:pt x="21" y="49"/>
                  </a:lnTo>
                  <a:lnTo>
                    <a:pt x="25" y="48"/>
                  </a:lnTo>
                  <a:lnTo>
                    <a:pt x="38" y="37"/>
                  </a:lnTo>
                  <a:lnTo>
                    <a:pt x="56" y="25"/>
                  </a:lnTo>
                  <a:lnTo>
                    <a:pt x="59" y="18"/>
                  </a:lnTo>
                  <a:lnTo>
                    <a:pt x="60" y="15"/>
                  </a:lnTo>
                  <a:lnTo>
                    <a:pt x="74" y="13"/>
                  </a:lnTo>
                  <a:lnTo>
                    <a:pt x="85" y="9"/>
                  </a:lnTo>
                  <a:lnTo>
                    <a:pt x="92" y="7"/>
                  </a:lnTo>
                  <a:lnTo>
                    <a:pt x="110" y="9"/>
                  </a:lnTo>
                  <a:lnTo>
                    <a:pt x="124" y="11"/>
                  </a:lnTo>
                  <a:lnTo>
                    <a:pt x="148" y="11"/>
                  </a:lnTo>
                  <a:lnTo>
                    <a:pt x="166" y="7"/>
                  </a:lnTo>
                  <a:lnTo>
                    <a:pt x="178" y="6"/>
                  </a:lnTo>
                  <a:lnTo>
                    <a:pt x="183" y="5"/>
                  </a:lnTo>
                  <a:lnTo>
                    <a:pt x="188" y="1"/>
                  </a:lnTo>
                  <a:lnTo>
                    <a:pt x="199" y="0"/>
                  </a:lnTo>
                  <a:lnTo>
                    <a:pt x="207" y="2"/>
                  </a:lnTo>
                  <a:lnTo>
                    <a:pt x="209" y="5"/>
                  </a:lnTo>
                  <a:lnTo>
                    <a:pt x="223" y="5"/>
                  </a:lnTo>
                  <a:lnTo>
                    <a:pt x="231" y="1"/>
                  </a:lnTo>
                  <a:lnTo>
                    <a:pt x="240" y="1"/>
                  </a:lnTo>
                  <a:lnTo>
                    <a:pt x="245" y="2"/>
                  </a:lnTo>
                  <a:lnTo>
                    <a:pt x="257" y="9"/>
                  </a:lnTo>
                  <a:lnTo>
                    <a:pt x="271" y="9"/>
                  </a:lnTo>
                  <a:lnTo>
                    <a:pt x="283" y="11"/>
                  </a:lnTo>
                  <a:lnTo>
                    <a:pt x="293" y="16"/>
                  </a:lnTo>
                  <a:lnTo>
                    <a:pt x="304" y="27"/>
                  </a:lnTo>
                  <a:lnTo>
                    <a:pt x="327" y="38"/>
                  </a:lnTo>
                  <a:lnTo>
                    <a:pt x="332" y="43"/>
                  </a:lnTo>
                  <a:lnTo>
                    <a:pt x="337" y="52"/>
                  </a:lnTo>
                  <a:lnTo>
                    <a:pt x="337" y="5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43" name="Freeform 264">
              <a:extLst>
                <a:ext uri="{FF2B5EF4-FFF2-40B4-BE49-F238E27FC236}">
                  <a16:creationId xmlns:a16="http://schemas.microsoft.com/office/drawing/2014/main" id="{7FDBDBDA-CF74-1874-DC37-AF77719CDAB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343771" y="3270995"/>
              <a:ext cx="884958" cy="614259"/>
            </a:xfrm>
            <a:custGeom>
              <a:avLst/>
              <a:gdLst>
                <a:gd name="T0" fmla="*/ 2147483647 w 1657"/>
                <a:gd name="T1" fmla="*/ 0 h 1083"/>
                <a:gd name="T2" fmla="*/ 2147483647 w 1657"/>
                <a:gd name="T3" fmla="*/ 2147483647 h 1083"/>
                <a:gd name="T4" fmla="*/ 2147483647 w 1657"/>
                <a:gd name="T5" fmla="*/ 2147483647 h 1083"/>
                <a:gd name="T6" fmla="*/ 2147483647 w 1657"/>
                <a:gd name="T7" fmla="*/ 2147483647 h 1083"/>
                <a:gd name="T8" fmla="*/ 2147483647 w 1657"/>
                <a:gd name="T9" fmla="*/ 2147483647 h 1083"/>
                <a:gd name="T10" fmla="*/ 2147483647 w 1657"/>
                <a:gd name="T11" fmla="*/ 2147483647 h 1083"/>
                <a:gd name="T12" fmla="*/ 2147483647 w 1657"/>
                <a:gd name="T13" fmla="*/ 2147483647 h 1083"/>
                <a:gd name="T14" fmla="*/ 2147483647 w 1657"/>
                <a:gd name="T15" fmla="*/ 2147483647 h 1083"/>
                <a:gd name="T16" fmla="*/ 2147483647 w 1657"/>
                <a:gd name="T17" fmla="*/ 2147483647 h 1083"/>
                <a:gd name="T18" fmla="*/ 2147483647 w 1657"/>
                <a:gd name="T19" fmla="*/ 2147483647 h 1083"/>
                <a:gd name="T20" fmla="*/ 2147483647 w 1657"/>
                <a:gd name="T21" fmla="*/ 2147483647 h 1083"/>
                <a:gd name="T22" fmla="*/ 2147483647 w 1657"/>
                <a:gd name="T23" fmla="*/ 2147483647 h 1083"/>
                <a:gd name="T24" fmla="*/ 2147483647 w 1657"/>
                <a:gd name="T25" fmla="*/ 2147483647 h 1083"/>
                <a:gd name="T26" fmla="*/ 2147483647 w 1657"/>
                <a:gd name="T27" fmla="*/ 2147483647 h 1083"/>
                <a:gd name="T28" fmla="*/ 2147483647 w 1657"/>
                <a:gd name="T29" fmla="*/ 2147483647 h 1083"/>
                <a:gd name="T30" fmla="*/ 2147483647 w 1657"/>
                <a:gd name="T31" fmla="*/ 2147483647 h 1083"/>
                <a:gd name="T32" fmla="*/ 2147483647 w 1657"/>
                <a:gd name="T33" fmla="*/ 2147483647 h 1083"/>
                <a:gd name="T34" fmla="*/ 2147483647 w 1657"/>
                <a:gd name="T35" fmla="*/ 2147483647 h 1083"/>
                <a:gd name="T36" fmla="*/ 2147483647 w 1657"/>
                <a:gd name="T37" fmla="*/ 2147483647 h 1083"/>
                <a:gd name="T38" fmla="*/ 2147483647 w 1657"/>
                <a:gd name="T39" fmla="*/ 2147483647 h 1083"/>
                <a:gd name="T40" fmla="*/ 2147483647 w 1657"/>
                <a:gd name="T41" fmla="*/ 2147483647 h 1083"/>
                <a:gd name="T42" fmla="*/ 2147483647 w 1657"/>
                <a:gd name="T43" fmla="*/ 2147483647 h 1083"/>
                <a:gd name="T44" fmla="*/ 2147483647 w 1657"/>
                <a:gd name="T45" fmla="*/ 2147483647 h 1083"/>
                <a:gd name="T46" fmla="*/ 2147483647 w 1657"/>
                <a:gd name="T47" fmla="*/ 2147483647 h 1083"/>
                <a:gd name="T48" fmla="*/ 2147483647 w 1657"/>
                <a:gd name="T49" fmla="*/ 2147483647 h 1083"/>
                <a:gd name="T50" fmla="*/ 2147483647 w 1657"/>
                <a:gd name="T51" fmla="*/ 2147483647 h 1083"/>
                <a:gd name="T52" fmla="*/ 2147483647 w 1657"/>
                <a:gd name="T53" fmla="*/ 2147483647 h 1083"/>
                <a:gd name="T54" fmla="*/ 2147483647 w 1657"/>
                <a:gd name="T55" fmla="*/ 2147483647 h 1083"/>
                <a:gd name="T56" fmla="*/ 2147483647 w 1657"/>
                <a:gd name="T57" fmla="*/ 2147483647 h 1083"/>
                <a:gd name="T58" fmla="*/ 2147483647 w 1657"/>
                <a:gd name="T59" fmla="*/ 2147483647 h 1083"/>
                <a:gd name="T60" fmla="*/ 2147483647 w 1657"/>
                <a:gd name="T61" fmla="*/ 2147483647 h 1083"/>
                <a:gd name="T62" fmla="*/ 2147483647 w 1657"/>
                <a:gd name="T63" fmla="*/ 2147483647 h 1083"/>
                <a:gd name="T64" fmla="*/ 2147483647 w 1657"/>
                <a:gd name="T65" fmla="*/ 2147483647 h 1083"/>
                <a:gd name="T66" fmla="*/ 2147483647 w 1657"/>
                <a:gd name="T67" fmla="*/ 2147483647 h 1083"/>
                <a:gd name="T68" fmla="*/ 2147483647 w 1657"/>
                <a:gd name="T69" fmla="*/ 2147483647 h 1083"/>
                <a:gd name="T70" fmla="*/ 2147483647 w 1657"/>
                <a:gd name="T71" fmla="*/ 2147483647 h 1083"/>
                <a:gd name="T72" fmla="*/ 2147483647 w 1657"/>
                <a:gd name="T73" fmla="*/ 2147483647 h 1083"/>
                <a:gd name="T74" fmla="*/ 2147483647 w 1657"/>
                <a:gd name="T75" fmla="*/ 2147483647 h 1083"/>
                <a:gd name="T76" fmla="*/ 2147483647 w 1657"/>
                <a:gd name="T77" fmla="*/ 2147483647 h 1083"/>
                <a:gd name="T78" fmla="*/ 2147483647 w 1657"/>
                <a:gd name="T79" fmla="*/ 2147483647 h 1083"/>
                <a:gd name="T80" fmla="*/ 2147483647 w 1657"/>
                <a:gd name="T81" fmla="*/ 2147483647 h 1083"/>
                <a:gd name="T82" fmla="*/ 2147483647 w 1657"/>
                <a:gd name="T83" fmla="*/ 2147483647 h 1083"/>
                <a:gd name="T84" fmla="*/ 0 w 1657"/>
                <a:gd name="T85" fmla="*/ 0 h 1083"/>
                <a:gd name="T86" fmla="*/ 2147483647 w 1657"/>
                <a:gd name="T87" fmla="*/ 2147483647 h 1083"/>
                <a:gd name="T88" fmla="*/ 2147483647 w 1657"/>
                <a:gd name="T89" fmla="*/ 2147483647 h 1083"/>
                <a:gd name="T90" fmla="*/ 2147483647 w 1657"/>
                <a:gd name="T91" fmla="*/ 2147483647 h 1083"/>
                <a:gd name="T92" fmla="*/ 2147483647 w 1657"/>
                <a:gd name="T93" fmla="*/ 2147483647 h 1083"/>
                <a:gd name="T94" fmla="*/ 2147483647 w 1657"/>
                <a:gd name="T95" fmla="*/ 2147483647 h 1083"/>
                <a:gd name="T96" fmla="*/ 2147483647 w 1657"/>
                <a:gd name="T97" fmla="*/ 2147483647 h 1083"/>
                <a:gd name="T98" fmla="*/ 2147483647 w 1657"/>
                <a:gd name="T99" fmla="*/ 2147483647 h 1083"/>
                <a:gd name="T100" fmla="*/ 2147483647 w 1657"/>
                <a:gd name="T101" fmla="*/ 2147483647 h 1083"/>
                <a:gd name="T102" fmla="*/ 2147483647 w 1657"/>
                <a:gd name="T103" fmla="*/ 2147483647 h 1083"/>
                <a:gd name="T104" fmla="*/ 2147483647 w 1657"/>
                <a:gd name="T105" fmla="*/ 2147483647 h 1083"/>
                <a:gd name="T106" fmla="*/ 2147483647 w 1657"/>
                <a:gd name="T107" fmla="*/ 2147483647 h 1083"/>
                <a:gd name="T108" fmla="*/ 2147483647 w 1657"/>
                <a:gd name="T109" fmla="*/ 2147483647 h 1083"/>
                <a:gd name="T110" fmla="*/ 2147483647 w 1657"/>
                <a:gd name="T111" fmla="*/ 2147483647 h 1083"/>
                <a:gd name="T112" fmla="*/ 2147483647 w 1657"/>
                <a:gd name="T113" fmla="*/ 2147483647 h 1083"/>
                <a:gd name="T114" fmla="*/ 2147483647 w 1657"/>
                <a:gd name="T115" fmla="*/ 2147483647 h 1083"/>
                <a:gd name="T116" fmla="*/ 2147483647 w 1657"/>
                <a:gd name="T117" fmla="*/ 2147483647 h 1083"/>
                <a:gd name="T118" fmla="*/ 2147483647 w 1657"/>
                <a:gd name="T119" fmla="*/ 2147483647 h 1083"/>
                <a:gd name="T120" fmla="*/ 2147483647 w 1657"/>
                <a:gd name="T121" fmla="*/ 2147483647 h 1083"/>
                <a:gd name="T122" fmla="*/ 2147483647 w 1657"/>
                <a:gd name="T123" fmla="*/ 0 h 108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57"/>
                <a:gd name="T187" fmla="*/ 0 h 1083"/>
                <a:gd name="T188" fmla="*/ 1657 w 1657"/>
                <a:gd name="T189" fmla="*/ 1083 h 108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57" h="1083">
                  <a:moveTo>
                    <a:pt x="127" y="56"/>
                  </a:moveTo>
                  <a:lnTo>
                    <a:pt x="136" y="59"/>
                  </a:lnTo>
                  <a:lnTo>
                    <a:pt x="140" y="61"/>
                  </a:lnTo>
                  <a:lnTo>
                    <a:pt x="148" y="68"/>
                  </a:lnTo>
                  <a:lnTo>
                    <a:pt x="151" y="67"/>
                  </a:lnTo>
                  <a:lnTo>
                    <a:pt x="152" y="72"/>
                  </a:lnTo>
                  <a:lnTo>
                    <a:pt x="162" y="77"/>
                  </a:lnTo>
                  <a:lnTo>
                    <a:pt x="168" y="79"/>
                  </a:lnTo>
                  <a:lnTo>
                    <a:pt x="183" y="77"/>
                  </a:lnTo>
                  <a:lnTo>
                    <a:pt x="191" y="82"/>
                  </a:lnTo>
                  <a:lnTo>
                    <a:pt x="191" y="88"/>
                  </a:lnTo>
                  <a:lnTo>
                    <a:pt x="196" y="90"/>
                  </a:lnTo>
                  <a:lnTo>
                    <a:pt x="215" y="95"/>
                  </a:lnTo>
                  <a:lnTo>
                    <a:pt x="219" y="99"/>
                  </a:lnTo>
                  <a:lnTo>
                    <a:pt x="223" y="105"/>
                  </a:lnTo>
                  <a:lnTo>
                    <a:pt x="223" y="125"/>
                  </a:lnTo>
                  <a:lnTo>
                    <a:pt x="226" y="131"/>
                  </a:lnTo>
                  <a:lnTo>
                    <a:pt x="233" y="144"/>
                  </a:lnTo>
                  <a:lnTo>
                    <a:pt x="234" y="152"/>
                  </a:lnTo>
                  <a:lnTo>
                    <a:pt x="237" y="154"/>
                  </a:lnTo>
                  <a:lnTo>
                    <a:pt x="240" y="161"/>
                  </a:lnTo>
                  <a:lnTo>
                    <a:pt x="243" y="177"/>
                  </a:lnTo>
                  <a:lnTo>
                    <a:pt x="248" y="183"/>
                  </a:lnTo>
                  <a:lnTo>
                    <a:pt x="251" y="185"/>
                  </a:lnTo>
                  <a:lnTo>
                    <a:pt x="254" y="188"/>
                  </a:lnTo>
                  <a:lnTo>
                    <a:pt x="258" y="207"/>
                  </a:lnTo>
                  <a:lnTo>
                    <a:pt x="260" y="212"/>
                  </a:lnTo>
                  <a:lnTo>
                    <a:pt x="262" y="215"/>
                  </a:lnTo>
                  <a:lnTo>
                    <a:pt x="269" y="219"/>
                  </a:lnTo>
                  <a:lnTo>
                    <a:pt x="272" y="224"/>
                  </a:lnTo>
                  <a:lnTo>
                    <a:pt x="277" y="239"/>
                  </a:lnTo>
                  <a:lnTo>
                    <a:pt x="286" y="245"/>
                  </a:lnTo>
                  <a:lnTo>
                    <a:pt x="290" y="257"/>
                  </a:lnTo>
                  <a:lnTo>
                    <a:pt x="299" y="268"/>
                  </a:lnTo>
                  <a:lnTo>
                    <a:pt x="310" y="272"/>
                  </a:lnTo>
                  <a:lnTo>
                    <a:pt x="324" y="292"/>
                  </a:lnTo>
                  <a:lnTo>
                    <a:pt x="334" y="299"/>
                  </a:lnTo>
                  <a:lnTo>
                    <a:pt x="351" y="303"/>
                  </a:lnTo>
                  <a:lnTo>
                    <a:pt x="357" y="304"/>
                  </a:lnTo>
                  <a:lnTo>
                    <a:pt x="360" y="306"/>
                  </a:lnTo>
                  <a:lnTo>
                    <a:pt x="361" y="320"/>
                  </a:lnTo>
                  <a:lnTo>
                    <a:pt x="358" y="325"/>
                  </a:lnTo>
                  <a:lnTo>
                    <a:pt x="361" y="330"/>
                  </a:lnTo>
                  <a:lnTo>
                    <a:pt x="361" y="335"/>
                  </a:lnTo>
                  <a:lnTo>
                    <a:pt x="367" y="342"/>
                  </a:lnTo>
                  <a:lnTo>
                    <a:pt x="374" y="348"/>
                  </a:lnTo>
                  <a:lnTo>
                    <a:pt x="390" y="355"/>
                  </a:lnTo>
                  <a:lnTo>
                    <a:pt x="398" y="364"/>
                  </a:lnTo>
                  <a:lnTo>
                    <a:pt x="401" y="374"/>
                  </a:lnTo>
                  <a:lnTo>
                    <a:pt x="406" y="376"/>
                  </a:lnTo>
                  <a:lnTo>
                    <a:pt x="407" y="379"/>
                  </a:lnTo>
                  <a:lnTo>
                    <a:pt x="421" y="379"/>
                  </a:lnTo>
                  <a:lnTo>
                    <a:pt x="428" y="384"/>
                  </a:lnTo>
                  <a:lnTo>
                    <a:pt x="433" y="395"/>
                  </a:lnTo>
                  <a:lnTo>
                    <a:pt x="439" y="397"/>
                  </a:lnTo>
                  <a:lnTo>
                    <a:pt x="439" y="402"/>
                  </a:lnTo>
                  <a:lnTo>
                    <a:pt x="433" y="412"/>
                  </a:lnTo>
                  <a:lnTo>
                    <a:pt x="430" y="414"/>
                  </a:lnTo>
                  <a:lnTo>
                    <a:pt x="428" y="421"/>
                  </a:lnTo>
                  <a:lnTo>
                    <a:pt x="427" y="425"/>
                  </a:lnTo>
                  <a:lnTo>
                    <a:pt x="426" y="433"/>
                  </a:lnTo>
                  <a:lnTo>
                    <a:pt x="427" y="438"/>
                  </a:lnTo>
                  <a:lnTo>
                    <a:pt x="432" y="445"/>
                  </a:lnTo>
                  <a:lnTo>
                    <a:pt x="444" y="445"/>
                  </a:lnTo>
                  <a:lnTo>
                    <a:pt x="452" y="439"/>
                  </a:lnTo>
                  <a:lnTo>
                    <a:pt x="454" y="443"/>
                  </a:lnTo>
                  <a:lnTo>
                    <a:pt x="450" y="451"/>
                  </a:lnTo>
                  <a:lnTo>
                    <a:pt x="453" y="456"/>
                  </a:lnTo>
                  <a:lnTo>
                    <a:pt x="476" y="468"/>
                  </a:lnTo>
                  <a:lnTo>
                    <a:pt x="482" y="470"/>
                  </a:lnTo>
                  <a:lnTo>
                    <a:pt x="487" y="466"/>
                  </a:lnTo>
                  <a:lnTo>
                    <a:pt x="501" y="481"/>
                  </a:lnTo>
                  <a:lnTo>
                    <a:pt x="506" y="484"/>
                  </a:lnTo>
                  <a:lnTo>
                    <a:pt x="507" y="492"/>
                  </a:lnTo>
                  <a:lnTo>
                    <a:pt x="507" y="503"/>
                  </a:lnTo>
                  <a:lnTo>
                    <a:pt x="509" y="507"/>
                  </a:lnTo>
                  <a:lnTo>
                    <a:pt x="543" y="535"/>
                  </a:lnTo>
                  <a:lnTo>
                    <a:pt x="554" y="545"/>
                  </a:lnTo>
                  <a:lnTo>
                    <a:pt x="561" y="548"/>
                  </a:lnTo>
                  <a:lnTo>
                    <a:pt x="565" y="553"/>
                  </a:lnTo>
                  <a:lnTo>
                    <a:pt x="567" y="558"/>
                  </a:lnTo>
                  <a:lnTo>
                    <a:pt x="567" y="564"/>
                  </a:lnTo>
                  <a:lnTo>
                    <a:pt x="570" y="568"/>
                  </a:lnTo>
                  <a:lnTo>
                    <a:pt x="576" y="568"/>
                  </a:lnTo>
                  <a:lnTo>
                    <a:pt x="582" y="577"/>
                  </a:lnTo>
                  <a:lnTo>
                    <a:pt x="588" y="589"/>
                  </a:lnTo>
                  <a:lnTo>
                    <a:pt x="592" y="595"/>
                  </a:lnTo>
                  <a:lnTo>
                    <a:pt x="604" y="604"/>
                  </a:lnTo>
                  <a:lnTo>
                    <a:pt x="615" y="617"/>
                  </a:lnTo>
                  <a:lnTo>
                    <a:pt x="630" y="627"/>
                  </a:lnTo>
                  <a:lnTo>
                    <a:pt x="632" y="633"/>
                  </a:lnTo>
                  <a:lnTo>
                    <a:pt x="631" y="635"/>
                  </a:lnTo>
                  <a:lnTo>
                    <a:pt x="631" y="640"/>
                  </a:lnTo>
                  <a:lnTo>
                    <a:pt x="638" y="664"/>
                  </a:lnTo>
                  <a:lnTo>
                    <a:pt x="645" y="672"/>
                  </a:lnTo>
                  <a:lnTo>
                    <a:pt x="646" y="681"/>
                  </a:lnTo>
                  <a:lnTo>
                    <a:pt x="652" y="687"/>
                  </a:lnTo>
                  <a:lnTo>
                    <a:pt x="656" y="694"/>
                  </a:lnTo>
                  <a:lnTo>
                    <a:pt x="658" y="703"/>
                  </a:lnTo>
                  <a:lnTo>
                    <a:pt x="658" y="712"/>
                  </a:lnTo>
                  <a:lnTo>
                    <a:pt x="656" y="717"/>
                  </a:lnTo>
                  <a:lnTo>
                    <a:pt x="646" y="728"/>
                  </a:lnTo>
                  <a:lnTo>
                    <a:pt x="645" y="729"/>
                  </a:lnTo>
                  <a:lnTo>
                    <a:pt x="646" y="733"/>
                  </a:lnTo>
                  <a:lnTo>
                    <a:pt x="653" y="739"/>
                  </a:lnTo>
                  <a:lnTo>
                    <a:pt x="654" y="742"/>
                  </a:lnTo>
                  <a:lnTo>
                    <a:pt x="640" y="748"/>
                  </a:lnTo>
                  <a:lnTo>
                    <a:pt x="635" y="752"/>
                  </a:lnTo>
                  <a:lnTo>
                    <a:pt x="635" y="756"/>
                  </a:lnTo>
                  <a:lnTo>
                    <a:pt x="637" y="758"/>
                  </a:lnTo>
                  <a:lnTo>
                    <a:pt x="642" y="771"/>
                  </a:lnTo>
                  <a:lnTo>
                    <a:pt x="643" y="779"/>
                  </a:lnTo>
                  <a:lnTo>
                    <a:pt x="646" y="788"/>
                  </a:lnTo>
                  <a:lnTo>
                    <a:pt x="656" y="793"/>
                  </a:lnTo>
                  <a:lnTo>
                    <a:pt x="670" y="810"/>
                  </a:lnTo>
                  <a:lnTo>
                    <a:pt x="675" y="815"/>
                  </a:lnTo>
                  <a:lnTo>
                    <a:pt x="683" y="821"/>
                  </a:lnTo>
                  <a:lnTo>
                    <a:pt x="689" y="823"/>
                  </a:lnTo>
                  <a:lnTo>
                    <a:pt x="699" y="827"/>
                  </a:lnTo>
                  <a:lnTo>
                    <a:pt x="706" y="827"/>
                  </a:lnTo>
                  <a:lnTo>
                    <a:pt x="710" y="830"/>
                  </a:lnTo>
                  <a:lnTo>
                    <a:pt x="722" y="841"/>
                  </a:lnTo>
                  <a:lnTo>
                    <a:pt x="731" y="843"/>
                  </a:lnTo>
                  <a:lnTo>
                    <a:pt x="738" y="850"/>
                  </a:lnTo>
                  <a:lnTo>
                    <a:pt x="740" y="855"/>
                  </a:lnTo>
                  <a:lnTo>
                    <a:pt x="740" y="858"/>
                  </a:lnTo>
                  <a:lnTo>
                    <a:pt x="744" y="859"/>
                  </a:lnTo>
                  <a:lnTo>
                    <a:pt x="746" y="861"/>
                  </a:lnTo>
                  <a:lnTo>
                    <a:pt x="748" y="865"/>
                  </a:lnTo>
                  <a:lnTo>
                    <a:pt x="750" y="870"/>
                  </a:lnTo>
                  <a:lnTo>
                    <a:pt x="755" y="874"/>
                  </a:lnTo>
                  <a:lnTo>
                    <a:pt x="769" y="875"/>
                  </a:lnTo>
                  <a:lnTo>
                    <a:pt x="775" y="879"/>
                  </a:lnTo>
                  <a:lnTo>
                    <a:pt x="780" y="880"/>
                  </a:lnTo>
                  <a:lnTo>
                    <a:pt x="782" y="884"/>
                  </a:lnTo>
                  <a:lnTo>
                    <a:pt x="814" y="892"/>
                  </a:lnTo>
                  <a:lnTo>
                    <a:pt x="820" y="895"/>
                  </a:lnTo>
                  <a:lnTo>
                    <a:pt x="828" y="895"/>
                  </a:lnTo>
                  <a:lnTo>
                    <a:pt x="832" y="892"/>
                  </a:lnTo>
                  <a:lnTo>
                    <a:pt x="836" y="895"/>
                  </a:lnTo>
                  <a:lnTo>
                    <a:pt x="850" y="902"/>
                  </a:lnTo>
                  <a:lnTo>
                    <a:pt x="855" y="909"/>
                  </a:lnTo>
                  <a:lnTo>
                    <a:pt x="856" y="912"/>
                  </a:lnTo>
                  <a:lnTo>
                    <a:pt x="860" y="913"/>
                  </a:lnTo>
                  <a:lnTo>
                    <a:pt x="862" y="917"/>
                  </a:lnTo>
                  <a:lnTo>
                    <a:pt x="869" y="919"/>
                  </a:lnTo>
                  <a:lnTo>
                    <a:pt x="875" y="924"/>
                  </a:lnTo>
                  <a:lnTo>
                    <a:pt x="884" y="928"/>
                  </a:lnTo>
                  <a:lnTo>
                    <a:pt x="884" y="931"/>
                  </a:lnTo>
                  <a:lnTo>
                    <a:pt x="890" y="936"/>
                  </a:lnTo>
                  <a:lnTo>
                    <a:pt x="894" y="935"/>
                  </a:lnTo>
                  <a:lnTo>
                    <a:pt x="900" y="939"/>
                  </a:lnTo>
                  <a:lnTo>
                    <a:pt x="905" y="941"/>
                  </a:lnTo>
                  <a:lnTo>
                    <a:pt x="916" y="945"/>
                  </a:lnTo>
                  <a:lnTo>
                    <a:pt x="926" y="946"/>
                  </a:lnTo>
                  <a:lnTo>
                    <a:pt x="943" y="951"/>
                  </a:lnTo>
                  <a:lnTo>
                    <a:pt x="953" y="959"/>
                  </a:lnTo>
                  <a:lnTo>
                    <a:pt x="960" y="961"/>
                  </a:lnTo>
                  <a:lnTo>
                    <a:pt x="985" y="968"/>
                  </a:lnTo>
                  <a:lnTo>
                    <a:pt x="1000" y="974"/>
                  </a:lnTo>
                  <a:lnTo>
                    <a:pt x="1009" y="973"/>
                  </a:lnTo>
                  <a:lnTo>
                    <a:pt x="1019" y="983"/>
                  </a:lnTo>
                  <a:lnTo>
                    <a:pt x="1043" y="998"/>
                  </a:lnTo>
                  <a:lnTo>
                    <a:pt x="1049" y="999"/>
                  </a:lnTo>
                  <a:lnTo>
                    <a:pt x="1052" y="999"/>
                  </a:lnTo>
                  <a:lnTo>
                    <a:pt x="1057" y="1003"/>
                  </a:lnTo>
                  <a:lnTo>
                    <a:pt x="1063" y="1005"/>
                  </a:lnTo>
                  <a:lnTo>
                    <a:pt x="1074" y="1009"/>
                  </a:lnTo>
                  <a:lnTo>
                    <a:pt x="1103" y="1011"/>
                  </a:lnTo>
                  <a:lnTo>
                    <a:pt x="1113" y="1017"/>
                  </a:lnTo>
                  <a:lnTo>
                    <a:pt x="1120" y="1020"/>
                  </a:lnTo>
                  <a:lnTo>
                    <a:pt x="1122" y="1020"/>
                  </a:lnTo>
                  <a:lnTo>
                    <a:pt x="1130" y="1024"/>
                  </a:lnTo>
                  <a:lnTo>
                    <a:pt x="1145" y="1025"/>
                  </a:lnTo>
                  <a:lnTo>
                    <a:pt x="1152" y="1024"/>
                  </a:lnTo>
                  <a:lnTo>
                    <a:pt x="1158" y="1021"/>
                  </a:lnTo>
                  <a:lnTo>
                    <a:pt x="1162" y="1017"/>
                  </a:lnTo>
                  <a:lnTo>
                    <a:pt x="1173" y="1013"/>
                  </a:lnTo>
                  <a:lnTo>
                    <a:pt x="1181" y="1010"/>
                  </a:lnTo>
                  <a:lnTo>
                    <a:pt x="1202" y="995"/>
                  </a:lnTo>
                  <a:lnTo>
                    <a:pt x="1207" y="994"/>
                  </a:lnTo>
                  <a:lnTo>
                    <a:pt x="1215" y="992"/>
                  </a:lnTo>
                  <a:lnTo>
                    <a:pt x="1232" y="992"/>
                  </a:lnTo>
                  <a:lnTo>
                    <a:pt x="1244" y="995"/>
                  </a:lnTo>
                  <a:lnTo>
                    <a:pt x="1266" y="1004"/>
                  </a:lnTo>
                  <a:lnTo>
                    <a:pt x="1291" y="1015"/>
                  </a:lnTo>
                  <a:lnTo>
                    <a:pt x="1309" y="1033"/>
                  </a:lnTo>
                  <a:lnTo>
                    <a:pt x="1316" y="1042"/>
                  </a:lnTo>
                  <a:lnTo>
                    <a:pt x="1336" y="1060"/>
                  </a:lnTo>
                  <a:lnTo>
                    <a:pt x="1345" y="1070"/>
                  </a:lnTo>
                  <a:lnTo>
                    <a:pt x="1362" y="1083"/>
                  </a:lnTo>
                  <a:lnTo>
                    <a:pt x="1364" y="1081"/>
                  </a:lnTo>
                  <a:lnTo>
                    <a:pt x="1366" y="1065"/>
                  </a:lnTo>
                  <a:lnTo>
                    <a:pt x="1368" y="1063"/>
                  </a:lnTo>
                  <a:lnTo>
                    <a:pt x="1369" y="1060"/>
                  </a:lnTo>
                  <a:lnTo>
                    <a:pt x="1367" y="1053"/>
                  </a:lnTo>
                  <a:lnTo>
                    <a:pt x="1368" y="1052"/>
                  </a:lnTo>
                  <a:lnTo>
                    <a:pt x="1371" y="1047"/>
                  </a:lnTo>
                  <a:lnTo>
                    <a:pt x="1377" y="1037"/>
                  </a:lnTo>
                  <a:lnTo>
                    <a:pt x="1378" y="1033"/>
                  </a:lnTo>
                  <a:lnTo>
                    <a:pt x="1401" y="997"/>
                  </a:lnTo>
                  <a:lnTo>
                    <a:pt x="1431" y="994"/>
                  </a:lnTo>
                  <a:lnTo>
                    <a:pt x="1454" y="994"/>
                  </a:lnTo>
                  <a:lnTo>
                    <a:pt x="1455" y="995"/>
                  </a:lnTo>
                  <a:lnTo>
                    <a:pt x="1455" y="994"/>
                  </a:lnTo>
                  <a:lnTo>
                    <a:pt x="1457" y="979"/>
                  </a:lnTo>
                  <a:lnTo>
                    <a:pt x="1454" y="974"/>
                  </a:lnTo>
                  <a:lnTo>
                    <a:pt x="1444" y="966"/>
                  </a:lnTo>
                  <a:lnTo>
                    <a:pt x="1441" y="957"/>
                  </a:lnTo>
                  <a:lnTo>
                    <a:pt x="1425" y="947"/>
                  </a:lnTo>
                  <a:lnTo>
                    <a:pt x="1399" y="922"/>
                  </a:lnTo>
                  <a:lnTo>
                    <a:pt x="1401" y="923"/>
                  </a:lnTo>
                  <a:lnTo>
                    <a:pt x="1433" y="923"/>
                  </a:lnTo>
                  <a:lnTo>
                    <a:pt x="1433" y="896"/>
                  </a:lnTo>
                  <a:lnTo>
                    <a:pt x="1528" y="895"/>
                  </a:lnTo>
                  <a:lnTo>
                    <a:pt x="1541" y="892"/>
                  </a:lnTo>
                  <a:lnTo>
                    <a:pt x="1546" y="892"/>
                  </a:lnTo>
                  <a:lnTo>
                    <a:pt x="1561" y="864"/>
                  </a:lnTo>
                  <a:lnTo>
                    <a:pt x="1565" y="861"/>
                  </a:lnTo>
                  <a:lnTo>
                    <a:pt x="1571" y="863"/>
                  </a:lnTo>
                  <a:lnTo>
                    <a:pt x="1572" y="855"/>
                  </a:lnTo>
                  <a:lnTo>
                    <a:pt x="1583" y="839"/>
                  </a:lnTo>
                  <a:lnTo>
                    <a:pt x="1590" y="842"/>
                  </a:lnTo>
                  <a:lnTo>
                    <a:pt x="1588" y="858"/>
                  </a:lnTo>
                  <a:lnTo>
                    <a:pt x="1593" y="859"/>
                  </a:lnTo>
                  <a:lnTo>
                    <a:pt x="1595" y="861"/>
                  </a:lnTo>
                  <a:lnTo>
                    <a:pt x="1594" y="876"/>
                  </a:lnTo>
                  <a:lnTo>
                    <a:pt x="1597" y="886"/>
                  </a:lnTo>
                  <a:lnTo>
                    <a:pt x="1600" y="881"/>
                  </a:lnTo>
                  <a:lnTo>
                    <a:pt x="1606" y="860"/>
                  </a:lnTo>
                  <a:lnTo>
                    <a:pt x="1608" y="849"/>
                  </a:lnTo>
                  <a:lnTo>
                    <a:pt x="1616" y="825"/>
                  </a:lnTo>
                  <a:lnTo>
                    <a:pt x="1619" y="815"/>
                  </a:lnTo>
                  <a:lnTo>
                    <a:pt x="1616" y="810"/>
                  </a:lnTo>
                  <a:lnTo>
                    <a:pt x="1611" y="806"/>
                  </a:lnTo>
                  <a:lnTo>
                    <a:pt x="1620" y="801"/>
                  </a:lnTo>
                  <a:lnTo>
                    <a:pt x="1619" y="794"/>
                  </a:lnTo>
                  <a:lnTo>
                    <a:pt x="1611" y="790"/>
                  </a:lnTo>
                  <a:lnTo>
                    <a:pt x="1617" y="782"/>
                  </a:lnTo>
                  <a:lnTo>
                    <a:pt x="1622" y="772"/>
                  </a:lnTo>
                  <a:lnTo>
                    <a:pt x="1622" y="763"/>
                  </a:lnTo>
                  <a:lnTo>
                    <a:pt x="1632" y="744"/>
                  </a:lnTo>
                  <a:lnTo>
                    <a:pt x="1641" y="736"/>
                  </a:lnTo>
                  <a:lnTo>
                    <a:pt x="1653" y="723"/>
                  </a:lnTo>
                  <a:lnTo>
                    <a:pt x="1656" y="714"/>
                  </a:lnTo>
                  <a:lnTo>
                    <a:pt x="1657" y="703"/>
                  </a:lnTo>
                  <a:lnTo>
                    <a:pt x="1654" y="692"/>
                  </a:lnTo>
                  <a:lnTo>
                    <a:pt x="1648" y="683"/>
                  </a:lnTo>
                  <a:lnTo>
                    <a:pt x="1617" y="680"/>
                  </a:lnTo>
                  <a:lnTo>
                    <a:pt x="1605" y="691"/>
                  </a:lnTo>
                  <a:lnTo>
                    <a:pt x="1605" y="678"/>
                  </a:lnTo>
                  <a:lnTo>
                    <a:pt x="1588" y="675"/>
                  </a:lnTo>
                  <a:lnTo>
                    <a:pt x="1576" y="676"/>
                  </a:lnTo>
                  <a:lnTo>
                    <a:pt x="1555" y="682"/>
                  </a:lnTo>
                  <a:lnTo>
                    <a:pt x="1544" y="690"/>
                  </a:lnTo>
                  <a:lnTo>
                    <a:pt x="1519" y="691"/>
                  </a:lnTo>
                  <a:lnTo>
                    <a:pt x="1504" y="691"/>
                  </a:lnTo>
                  <a:lnTo>
                    <a:pt x="1495" y="692"/>
                  </a:lnTo>
                  <a:lnTo>
                    <a:pt x="1484" y="697"/>
                  </a:lnTo>
                  <a:lnTo>
                    <a:pt x="1474" y="699"/>
                  </a:lnTo>
                  <a:lnTo>
                    <a:pt x="1464" y="708"/>
                  </a:lnTo>
                  <a:lnTo>
                    <a:pt x="1459" y="720"/>
                  </a:lnTo>
                  <a:lnTo>
                    <a:pt x="1457" y="750"/>
                  </a:lnTo>
                  <a:lnTo>
                    <a:pt x="1453" y="767"/>
                  </a:lnTo>
                  <a:lnTo>
                    <a:pt x="1449" y="779"/>
                  </a:lnTo>
                  <a:lnTo>
                    <a:pt x="1443" y="788"/>
                  </a:lnTo>
                  <a:lnTo>
                    <a:pt x="1441" y="801"/>
                  </a:lnTo>
                  <a:lnTo>
                    <a:pt x="1436" y="812"/>
                  </a:lnTo>
                  <a:lnTo>
                    <a:pt x="1426" y="823"/>
                  </a:lnTo>
                  <a:lnTo>
                    <a:pt x="1411" y="830"/>
                  </a:lnTo>
                  <a:lnTo>
                    <a:pt x="1414" y="849"/>
                  </a:lnTo>
                  <a:lnTo>
                    <a:pt x="1395" y="859"/>
                  </a:lnTo>
                  <a:lnTo>
                    <a:pt x="1387" y="860"/>
                  </a:lnTo>
                  <a:lnTo>
                    <a:pt x="1380" y="859"/>
                  </a:lnTo>
                  <a:lnTo>
                    <a:pt x="1377" y="854"/>
                  </a:lnTo>
                  <a:lnTo>
                    <a:pt x="1377" y="848"/>
                  </a:lnTo>
                  <a:lnTo>
                    <a:pt x="1368" y="846"/>
                  </a:lnTo>
                  <a:lnTo>
                    <a:pt x="1351" y="846"/>
                  </a:lnTo>
                  <a:lnTo>
                    <a:pt x="1345" y="848"/>
                  </a:lnTo>
                  <a:lnTo>
                    <a:pt x="1335" y="850"/>
                  </a:lnTo>
                  <a:lnTo>
                    <a:pt x="1321" y="858"/>
                  </a:lnTo>
                  <a:lnTo>
                    <a:pt x="1312" y="860"/>
                  </a:lnTo>
                  <a:lnTo>
                    <a:pt x="1303" y="859"/>
                  </a:lnTo>
                  <a:lnTo>
                    <a:pt x="1275" y="864"/>
                  </a:lnTo>
                  <a:lnTo>
                    <a:pt x="1251" y="876"/>
                  </a:lnTo>
                  <a:lnTo>
                    <a:pt x="1238" y="876"/>
                  </a:lnTo>
                  <a:lnTo>
                    <a:pt x="1226" y="868"/>
                  </a:lnTo>
                  <a:lnTo>
                    <a:pt x="1215" y="853"/>
                  </a:lnTo>
                  <a:lnTo>
                    <a:pt x="1210" y="849"/>
                  </a:lnTo>
                  <a:lnTo>
                    <a:pt x="1210" y="852"/>
                  </a:lnTo>
                  <a:lnTo>
                    <a:pt x="1195" y="850"/>
                  </a:lnTo>
                  <a:lnTo>
                    <a:pt x="1183" y="846"/>
                  </a:lnTo>
                  <a:lnTo>
                    <a:pt x="1175" y="843"/>
                  </a:lnTo>
                  <a:lnTo>
                    <a:pt x="1169" y="839"/>
                  </a:lnTo>
                  <a:lnTo>
                    <a:pt x="1164" y="832"/>
                  </a:lnTo>
                  <a:lnTo>
                    <a:pt x="1160" y="830"/>
                  </a:lnTo>
                  <a:lnTo>
                    <a:pt x="1154" y="822"/>
                  </a:lnTo>
                  <a:lnTo>
                    <a:pt x="1152" y="820"/>
                  </a:lnTo>
                  <a:lnTo>
                    <a:pt x="1149" y="820"/>
                  </a:lnTo>
                  <a:lnTo>
                    <a:pt x="1148" y="818"/>
                  </a:lnTo>
                  <a:lnTo>
                    <a:pt x="1146" y="809"/>
                  </a:lnTo>
                  <a:lnTo>
                    <a:pt x="1130" y="773"/>
                  </a:lnTo>
                  <a:lnTo>
                    <a:pt x="1126" y="766"/>
                  </a:lnTo>
                  <a:lnTo>
                    <a:pt x="1120" y="761"/>
                  </a:lnTo>
                  <a:lnTo>
                    <a:pt x="1108" y="747"/>
                  </a:lnTo>
                  <a:lnTo>
                    <a:pt x="1103" y="741"/>
                  </a:lnTo>
                  <a:lnTo>
                    <a:pt x="1088" y="717"/>
                  </a:lnTo>
                  <a:lnTo>
                    <a:pt x="1084" y="705"/>
                  </a:lnTo>
                  <a:lnTo>
                    <a:pt x="1086" y="703"/>
                  </a:lnTo>
                  <a:lnTo>
                    <a:pt x="1090" y="696"/>
                  </a:lnTo>
                  <a:lnTo>
                    <a:pt x="1090" y="690"/>
                  </a:lnTo>
                  <a:lnTo>
                    <a:pt x="1089" y="686"/>
                  </a:lnTo>
                  <a:lnTo>
                    <a:pt x="1071" y="664"/>
                  </a:lnTo>
                  <a:lnTo>
                    <a:pt x="1063" y="645"/>
                  </a:lnTo>
                  <a:lnTo>
                    <a:pt x="1063" y="634"/>
                  </a:lnTo>
                  <a:lnTo>
                    <a:pt x="1068" y="611"/>
                  </a:lnTo>
                  <a:lnTo>
                    <a:pt x="1067" y="574"/>
                  </a:lnTo>
                  <a:lnTo>
                    <a:pt x="1067" y="562"/>
                  </a:lnTo>
                  <a:lnTo>
                    <a:pt x="1065" y="552"/>
                  </a:lnTo>
                  <a:lnTo>
                    <a:pt x="1061" y="547"/>
                  </a:lnTo>
                  <a:lnTo>
                    <a:pt x="1060" y="529"/>
                  </a:lnTo>
                  <a:lnTo>
                    <a:pt x="1060" y="505"/>
                  </a:lnTo>
                  <a:lnTo>
                    <a:pt x="1057" y="502"/>
                  </a:lnTo>
                  <a:lnTo>
                    <a:pt x="1057" y="498"/>
                  </a:lnTo>
                  <a:lnTo>
                    <a:pt x="1062" y="484"/>
                  </a:lnTo>
                  <a:lnTo>
                    <a:pt x="1068" y="479"/>
                  </a:lnTo>
                  <a:lnTo>
                    <a:pt x="1071" y="467"/>
                  </a:lnTo>
                  <a:lnTo>
                    <a:pt x="1071" y="459"/>
                  </a:lnTo>
                  <a:lnTo>
                    <a:pt x="1073" y="455"/>
                  </a:lnTo>
                  <a:lnTo>
                    <a:pt x="1086" y="459"/>
                  </a:lnTo>
                  <a:lnTo>
                    <a:pt x="1089" y="457"/>
                  </a:lnTo>
                  <a:lnTo>
                    <a:pt x="1095" y="450"/>
                  </a:lnTo>
                  <a:lnTo>
                    <a:pt x="1098" y="444"/>
                  </a:lnTo>
                  <a:lnTo>
                    <a:pt x="1099" y="434"/>
                  </a:lnTo>
                  <a:lnTo>
                    <a:pt x="1098" y="433"/>
                  </a:lnTo>
                  <a:lnTo>
                    <a:pt x="1095" y="439"/>
                  </a:lnTo>
                  <a:lnTo>
                    <a:pt x="1093" y="443"/>
                  </a:lnTo>
                  <a:lnTo>
                    <a:pt x="1090" y="444"/>
                  </a:lnTo>
                  <a:lnTo>
                    <a:pt x="1089" y="444"/>
                  </a:lnTo>
                  <a:lnTo>
                    <a:pt x="1090" y="438"/>
                  </a:lnTo>
                  <a:lnTo>
                    <a:pt x="1095" y="425"/>
                  </a:lnTo>
                  <a:lnTo>
                    <a:pt x="1078" y="424"/>
                  </a:lnTo>
                  <a:lnTo>
                    <a:pt x="1060" y="416"/>
                  </a:lnTo>
                  <a:lnTo>
                    <a:pt x="1033" y="413"/>
                  </a:lnTo>
                  <a:lnTo>
                    <a:pt x="1018" y="405"/>
                  </a:lnTo>
                  <a:lnTo>
                    <a:pt x="1004" y="403"/>
                  </a:lnTo>
                  <a:lnTo>
                    <a:pt x="987" y="392"/>
                  </a:lnTo>
                  <a:lnTo>
                    <a:pt x="970" y="366"/>
                  </a:lnTo>
                  <a:lnTo>
                    <a:pt x="955" y="319"/>
                  </a:lnTo>
                  <a:lnTo>
                    <a:pt x="938" y="308"/>
                  </a:lnTo>
                  <a:lnTo>
                    <a:pt x="930" y="288"/>
                  </a:lnTo>
                  <a:lnTo>
                    <a:pt x="914" y="271"/>
                  </a:lnTo>
                  <a:lnTo>
                    <a:pt x="894" y="225"/>
                  </a:lnTo>
                  <a:lnTo>
                    <a:pt x="883" y="217"/>
                  </a:lnTo>
                  <a:lnTo>
                    <a:pt x="877" y="207"/>
                  </a:lnTo>
                  <a:lnTo>
                    <a:pt x="860" y="191"/>
                  </a:lnTo>
                  <a:lnTo>
                    <a:pt x="852" y="181"/>
                  </a:lnTo>
                  <a:lnTo>
                    <a:pt x="807" y="183"/>
                  </a:lnTo>
                  <a:lnTo>
                    <a:pt x="796" y="180"/>
                  </a:lnTo>
                  <a:lnTo>
                    <a:pt x="785" y="185"/>
                  </a:lnTo>
                  <a:lnTo>
                    <a:pt x="782" y="188"/>
                  </a:lnTo>
                  <a:lnTo>
                    <a:pt x="759" y="235"/>
                  </a:lnTo>
                  <a:lnTo>
                    <a:pt x="735" y="230"/>
                  </a:lnTo>
                  <a:lnTo>
                    <a:pt x="711" y="214"/>
                  </a:lnTo>
                  <a:lnTo>
                    <a:pt x="692" y="198"/>
                  </a:lnTo>
                  <a:lnTo>
                    <a:pt x="678" y="180"/>
                  </a:lnTo>
                  <a:lnTo>
                    <a:pt x="664" y="129"/>
                  </a:lnTo>
                  <a:lnTo>
                    <a:pt x="635" y="110"/>
                  </a:lnTo>
                  <a:lnTo>
                    <a:pt x="615" y="93"/>
                  </a:lnTo>
                  <a:lnTo>
                    <a:pt x="606" y="80"/>
                  </a:lnTo>
                  <a:lnTo>
                    <a:pt x="594" y="74"/>
                  </a:lnTo>
                  <a:lnTo>
                    <a:pt x="587" y="62"/>
                  </a:lnTo>
                  <a:lnTo>
                    <a:pt x="582" y="59"/>
                  </a:lnTo>
                  <a:lnTo>
                    <a:pt x="572" y="53"/>
                  </a:lnTo>
                  <a:lnTo>
                    <a:pt x="482" y="54"/>
                  </a:lnTo>
                  <a:lnTo>
                    <a:pt x="481" y="84"/>
                  </a:lnTo>
                  <a:lnTo>
                    <a:pt x="437" y="84"/>
                  </a:lnTo>
                  <a:lnTo>
                    <a:pt x="334" y="84"/>
                  </a:lnTo>
                  <a:lnTo>
                    <a:pt x="125" y="7"/>
                  </a:lnTo>
                  <a:lnTo>
                    <a:pt x="124" y="0"/>
                  </a:lnTo>
                  <a:lnTo>
                    <a:pt x="0" y="10"/>
                  </a:lnTo>
                  <a:lnTo>
                    <a:pt x="7" y="18"/>
                  </a:lnTo>
                  <a:lnTo>
                    <a:pt x="8" y="25"/>
                  </a:lnTo>
                  <a:lnTo>
                    <a:pt x="12" y="31"/>
                  </a:lnTo>
                  <a:lnTo>
                    <a:pt x="16" y="41"/>
                  </a:lnTo>
                  <a:lnTo>
                    <a:pt x="22" y="47"/>
                  </a:lnTo>
                  <a:lnTo>
                    <a:pt x="22" y="52"/>
                  </a:lnTo>
                  <a:lnTo>
                    <a:pt x="25" y="52"/>
                  </a:lnTo>
                  <a:lnTo>
                    <a:pt x="29" y="57"/>
                  </a:lnTo>
                  <a:lnTo>
                    <a:pt x="30" y="73"/>
                  </a:lnTo>
                  <a:lnTo>
                    <a:pt x="48" y="99"/>
                  </a:lnTo>
                  <a:lnTo>
                    <a:pt x="50" y="106"/>
                  </a:lnTo>
                  <a:lnTo>
                    <a:pt x="50" y="111"/>
                  </a:lnTo>
                  <a:lnTo>
                    <a:pt x="52" y="112"/>
                  </a:lnTo>
                  <a:lnTo>
                    <a:pt x="54" y="117"/>
                  </a:lnTo>
                  <a:lnTo>
                    <a:pt x="57" y="120"/>
                  </a:lnTo>
                  <a:lnTo>
                    <a:pt x="65" y="137"/>
                  </a:lnTo>
                  <a:lnTo>
                    <a:pt x="65" y="147"/>
                  </a:lnTo>
                  <a:lnTo>
                    <a:pt x="66" y="149"/>
                  </a:lnTo>
                  <a:lnTo>
                    <a:pt x="70" y="145"/>
                  </a:lnTo>
                  <a:lnTo>
                    <a:pt x="72" y="147"/>
                  </a:lnTo>
                  <a:lnTo>
                    <a:pt x="75" y="155"/>
                  </a:lnTo>
                  <a:lnTo>
                    <a:pt x="78" y="176"/>
                  </a:lnTo>
                  <a:lnTo>
                    <a:pt x="82" y="187"/>
                  </a:lnTo>
                  <a:lnTo>
                    <a:pt x="84" y="191"/>
                  </a:lnTo>
                  <a:lnTo>
                    <a:pt x="94" y="195"/>
                  </a:lnTo>
                  <a:lnTo>
                    <a:pt x="98" y="197"/>
                  </a:lnTo>
                  <a:lnTo>
                    <a:pt x="104" y="198"/>
                  </a:lnTo>
                  <a:lnTo>
                    <a:pt x="111" y="208"/>
                  </a:lnTo>
                  <a:lnTo>
                    <a:pt x="121" y="209"/>
                  </a:lnTo>
                  <a:lnTo>
                    <a:pt x="126" y="217"/>
                  </a:lnTo>
                  <a:lnTo>
                    <a:pt x="132" y="228"/>
                  </a:lnTo>
                  <a:lnTo>
                    <a:pt x="136" y="230"/>
                  </a:lnTo>
                  <a:lnTo>
                    <a:pt x="147" y="241"/>
                  </a:lnTo>
                  <a:lnTo>
                    <a:pt x="151" y="244"/>
                  </a:lnTo>
                  <a:lnTo>
                    <a:pt x="170" y="268"/>
                  </a:lnTo>
                  <a:lnTo>
                    <a:pt x="172" y="276"/>
                  </a:lnTo>
                  <a:lnTo>
                    <a:pt x="172" y="284"/>
                  </a:lnTo>
                  <a:lnTo>
                    <a:pt x="173" y="287"/>
                  </a:lnTo>
                  <a:lnTo>
                    <a:pt x="172" y="290"/>
                  </a:lnTo>
                  <a:lnTo>
                    <a:pt x="173" y="295"/>
                  </a:lnTo>
                  <a:lnTo>
                    <a:pt x="168" y="296"/>
                  </a:lnTo>
                  <a:lnTo>
                    <a:pt x="164" y="300"/>
                  </a:lnTo>
                  <a:lnTo>
                    <a:pt x="164" y="305"/>
                  </a:lnTo>
                  <a:lnTo>
                    <a:pt x="167" y="306"/>
                  </a:lnTo>
                  <a:lnTo>
                    <a:pt x="165" y="311"/>
                  </a:lnTo>
                  <a:lnTo>
                    <a:pt x="159" y="306"/>
                  </a:lnTo>
                  <a:lnTo>
                    <a:pt x="142" y="311"/>
                  </a:lnTo>
                  <a:lnTo>
                    <a:pt x="120" y="309"/>
                  </a:lnTo>
                  <a:lnTo>
                    <a:pt x="120" y="317"/>
                  </a:lnTo>
                  <a:lnTo>
                    <a:pt x="122" y="319"/>
                  </a:lnTo>
                  <a:lnTo>
                    <a:pt x="126" y="315"/>
                  </a:lnTo>
                  <a:lnTo>
                    <a:pt x="137" y="326"/>
                  </a:lnTo>
                  <a:lnTo>
                    <a:pt x="147" y="330"/>
                  </a:lnTo>
                  <a:lnTo>
                    <a:pt x="149" y="333"/>
                  </a:lnTo>
                  <a:lnTo>
                    <a:pt x="152" y="344"/>
                  </a:lnTo>
                  <a:lnTo>
                    <a:pt x="156" y="347"/>
                  </a:lnTo>
                  <a:lnTo>
                    <a:pt x="165" y="348"/>
                  </a:lnTo>
                  <a:lnTo>
                    <a:pt x="170" y="351"/>
                  </a:lnTo>
                  <a:lnTo>
                    <a:pt x="173" y="357"/>
                  </a:lnTo>
                  <a:lnTo>
                    <a:pt x="179" y="358"/>
                  </a:lnTo>
                  <a:lnTo>
                    <a:pt x="188" y="363"/>
                  </a:lnTo>
                  <a:lnTo>
                    <a:pt x="192" y="369"/>
                  </a:lnTo>
                  <a:lnTo>
                    <a:pt x="199" y="373"/>
                  </a:lnTo>
                  <a:lnTo>
                    <a:pt x="212" y="375"/>
                  </a:lnTo>
                  <a:lnTo>
                    <a:pt x="222" y="363"/>
                  </a:lnTo>
                  <a:lnTo>
                    <a:pt x="224" y="368"/>
                  </a:lnTo>
                  <a:lnTo>
                    <a:pt x="223" y="375"/>
                  </a:lnTo>
                  <a:lnTo>
                    <a:pt x="227" y="380"/>
                  </a:lnTo>
                  <a:lnTo>
                    <a:pt x="239" y="397"/>
                  </a:lnTo>
                  <a:lnTo>
                    <a:pt x="251" y="405"/>
                  </a:lnTo>
                  <a:lnTo>
                    <a:pt x="258" y="408"/>
                  </a:lnTo>
                  <a:lnTo>
                    <a:pt x="264" y="408"/>
                  </a:lnTo>
                  <a:lnTo>
                    <a:pt x="267" y="414"/>
                  </a:lnTo>
                  <a:lnTo>
                    <a:pt x="277" y="436"/>
                  </a:lnTo>
                  <a:lnTo>
                    <a:pt x="278" y="444"/>
                  </a:lnTo>
                  <a:lnTo>
                    <a:pt x="280" y="466"/>
                  </a:lnTo>
                  <a:lnTo>
                    <a:pt x="276" y="483"/>
                  </a:lnTo>
                  <a:lnTo>
                    <a:pt x="272" y="491"/>
                  </a:lnTo>
                  <a:lnTo>
                    <a:pt x="272" y="497"/>
                  </a:lnTo>
                  <a:lnTo>
                    <a:pt x="275" y="492"/>
                  </a:lnTo>
                  <a:lnTo>
                    <a:pt x="277" y="491"/>
                  </a:lnTo>
                  <a:lnTo>
                    <a:pt x="280" y="495"/>
                  </a:lnTo>
                  <a:lnTo>
                    <a:pt x="286" y="494"/>
                  </a:lnTo>
                  <a:lnTo>
                    <a:pt x="291" y="498"/>
                  </a:lnTo>
                  <a:lnTo>
                    <a:pt x="292" y="504"/>
                  </a:lnTo>
                  <a:lnTo>
                    <a:pt x="294" y="508"/>
                  </a:lnTo>
                  <a:lnTo>
                    <a:pt x="305" y="509"/>
                  </a:lnTo>
                  <a:lnTo>
                    <a:pt x="305" y="514"/>
                  </a:lnTo>
                  <a:lnTo>
                    <a:pt x="315" y="524"/>
                  </a:lnTo>
                  <a:lnTo>
                    <a:pt x="334" y="534"/>
                  </a:lnTo>
                  <a:lnTo>
                    <a:pt x="340" y="541"/>
                  </a:lnTo>
                  <a:lnTo>
                    <a:pt x="361" y="559"/>
                  </a:lnTo>
                  <a:lnTo>
                    <a:pt x="368" y="562"/>
                  </a:lnTo>
                  <a:lnTo>
                    <a:pt x="379" y="575"/>
                  </a:lnTo>
                  <a:lnTo>
                    <a:pt x="388" y="600"/>
                  </a:lnTo>
                  <a:lnTo>
                    <a:pt x="394" y="606"/>
                  </a:lnTo>
                  <a:lnTo>
                    <a:pt x="399" y="607"/>
                  </a:lnTo>
                  <a:lnTo>
                    <a:pt x="404" y="601"/>
                  </a:lnTo>
                  <a:lnTo>
                    <a:pt x="412" y="597"/>
                  </a:lnTo>
                  <a:lnTo>
                    <a:pt x="419" y="590"/>
                  </a:lnTo>
                  <a:lnTo>
                    <a:pt x="422" y="584"/>
                  </a:lnTo>
                  <a:lnTo>
                    <a:pt x="423" y="575"/>
                  </a:lnTo>
                  <a:lnTo>
                    <a:pt x="421" y="569"/>
                  </a:lnTo>
                  <a:lnTo>
                    <a:pt x="415" y="563"/>
                  </a:lnTo>
                  <a:lnTo>
                    <a:pt x="412" y="557"/>
                  </a:lnTo>
                  <a:lnTo>
                    <a:pt x="404" y="546"/>
                  </a:lnTo>
                  <a:lnTo>
                    <a:pt x="404" y="541"/>
                  </a:lnTo>
                  <a:lnTo>
                    <a:pt x="390" y="532"/>
                  </a:lnTo>
                  <a:lnTo>
                    <a:pt x="382" y="524"/>
                  </a:lnTo>
                  <a:lnTo>
                    <a:pt x="373" y="531"/>
                  </a:lnTo>
                  <a:lnTo>
                    <a:pt x="367" y="529"/>
                  </a:lnTo>
                  <a:lnTo>
                    <a:pt x="362" y="524"/>
                  </a:lnTo>
                  <a:lnTo>
                    <a:pt x="355" y="511"/>
                  </a:lnTo>
                  <a:lnTo>
                    <a:pt x="353" y="507"/>
                  </a:lnTo>
                  <a:lnTo>
                    <a:pt x="353" y="488"/>
                  </a:lnTo>
                  <a:lnTo>
                    <a:pt x="346" y="475"/>
                  </a:lnTo>
                  <a:lnTo>
                    <a:pt x="342" y="468"/>
                  </a:lnTo>
                  <a:lnTo>
                    <a:pt x="341" y="470"/>
                  </a:lnTo>
                  <a:lnTo>
                    <a:pt x="341" y="451"/>
                  </a:lnTo>
                  <a:lnTo>
                    <a:pt x="333" y="445"/>
                  </a:lnTo>
                  <a:lnTo>
                    <a:pt x="330" y="441"/>
                  </a:lnTo>
                  <a:lnTo>
                    <a:pt x="324" y="434"/>
                  </a:lnTo>
                  <a:lnTo>
                    <a:pt x="323" y="424"/>
                  </a:lnTo>
                  <a:lnTo>
                    <a:pt x="320" y="405"/>
                  </a:lnTo>
                  <a:lnTo>
                    <a:pt x="317" y="402"/>
                  </a:lnTo>
                  <a:lnTo>
                    <a:pt x="315" y="395"/>
                  </a:lnTo>
                  <a:lnTo>
                    <a:pt x="308" y="379"/>
                  </a:lnTo>
                  <a:lnTo>
                    <a:pt x="299" y="370"/>
                  </a:lnTo>
                  <a:lnTo>
                    <a:pt x="294" y="370"/>
                  </a:lnTo>
                  <a:lnTo>
                    <a:pt x="296" y="382"/>
                  </a:lnTo>
                  <a:lnTo>
                    <a:pt x="299" y="387"/>
                  </a:lnTo>
                  <a:lnTo>
                    <a:pt x="298" y="387"/>
                  </a:lnTo>
                  <a:lnTo>
                    <a:pt x="292" y="380"/>
                  </a:lnTo>
                  <a:lnTo>
                    <a:pt x="292" y="375"/>
                  </a:lnTo>
                  <a:lnTo>
                    <a:pt x="287" y="368"/>
                  </a:lnTo>
                  <a:lnTo>
                    <a:pt x="285" y="360"/>
                  </a:lnTo>
                  <a:lnTo>
                    <a:pt x="285" y="358"/>
                  </a:lnTo>
                  <a:lnTo>
                    <a:pt x="282" y="353"/>
                  </a:lnTo>
                  <a:lnTo>
                    <a:pt x="274" y="349"/>
                  </a:lnTo>
                  <a:lnTo>
                    <a:pt x="272" y="341"/>
                  </a:lnTo>
                  <a:lnTo>
                    <a:pt x="266" y="330"/>
                  </a:lnTo>
                  <a:lnTo>
                    <a:pt x="247" y="309"/>
                  </a:lnTo>
                  <a:lnTo>
                    <a:pt x="244" y="298"/>
                  </a:lnTo>
                  <a:lnTo>
                    <a:pt x="243" y="289"/>
                  </a:lnTo>
                  <a:lnTo>
                    <a:pt x="240" y="282"/>
                  </a:lnTo>
                  <a:lnTo>
                    <a:pt x="239" y="274"/>
                  </a:lnTo>
                  <a:lnTo>
                    <a:pt x="238" y="274"/>
                  </a:lnTo>
                  <a:lnTo>
                    <a:pt x="237" y="271"/>
                  </a:lnTo>
                  <a:lnTo>
                    <a:pt x="234" y="269"/>
                  </a:lnTo>
                  <a:lnTo>
                    <a:pt x="231" y="271"/>
                  </a:lnTo>
                  <a:lnTo>
                    <a:pt x="229" y="269"/>
                  </a:lnTo>
                  <a:lnTo>
                    <a:pt x="224" y="261"/>
                  </a:lnTo>
                  <a:lnTo>
                    <a:pt x="219" y="246"/>
                  </a:lnTo>
                  <a:lnTo>
                    <a:pt x="217" y="247"/>
                  </a:lnTo>
                  <a:lnTo>
                    <a:pt x="215" y="246"/>
                  </a:lnTo>
                  <a:lnTo>
                    <a:pt x="208" y="241"/>
                  </a:lnTo>
                  <a:lnTo>
                    <a:pt x="204" y="242"/>
                  </a:lnTo>
                  <a:lnTo>
                    <a:pt x="197" y="229"/>
                  </a:lnTo>
                  <a:lnTo>
                    <a:pt x="195" y="218"/>
                  </a:lnTo>
                  <a:lnTo>
                    <a:pt x="175" y="202"/>
                  </a:lnTo>
                  <a:lnTo>
                    <a:pt x="170" y="197"/>
                  </a:lnTo>
                  <a:lnTo>
                    <a:pt x="168" y="192"/>
                  </a:lnTo>
                  <a:lnTo>
                    <a:pt x="164" y="190"/>
                  </a:lnTo>
                  <a:lnTo>
                    <a:pt x="157" y="188"/>
                  </a:lnTo>
                  <a:lnTo>
                    <a:pt x="156" y="183"/>
                  </a:lnTo>
                  <a:lnTo>
                    <a:pt x="152" y="176"/>
                  </a:lnTo>
                  <a:lnTo>
                    <a:pt x="148" y="169"/>
                  </a:lnTo>
                  <a:lnTo>
                    <a:pt x="143" y="164"/>
                  </a:lnTo>
                  <a:lnTo>
                    <a:pt x="140" y="143"/>
                  </a:lnTo>
                  <a:lnTo>
                    <a:pt x="138" y="125"/>
                  </a:lnTo>
                  <a:lnTo>
                    <a:pt x="137" y="115"/>
                  </a:lnTo>
                  <a:lnTo>
                    <a:pt x="132" y="107"/>
                  </a:lnTo>
                  <a:lnTo>
                    <a:pt x="130" y="100"/>
                  </a:lnTo>
                  <a:lnTo>
                    <a:pt x="127" y="82"/>
                  </a:lnTo>
                  <a:lnTo>
                    <a:pt x="127" y="72"/>
                  </a:lnTo>
                  <a:lnTo>
                    <a:pt x="129" y="64"/>
                  </a:lnTo>
                  <a:lnTo>
                    <a:pt x="127" y="5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44" name="Freeform 267">
              <a:extLst>
                <a:ext uri="{FF2B5EF4-FFF2-40B4-BE49-F238E27FC236}">
                  <a16:creationId xmlns:a16="http://schemas.microsoft.com/office/drawing/2014/main" id="{34EA5832-B3E5-3FB1-131A-FD337C2DFF5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128515" y="2210745"/>
              <a:ext cx="8008" cy="19909"/>
            </a:xfrm>
            <a:custGeom>
              <a:avLst/>
              <a:gdLst>
                <a:gd name="T0" fmla="*/ 0 w 12"/>
                <a:gd name="T1" fmla="*/ 0 h 33"/>
                <a:gd name="T2" fmla="*/ 0 w 12"/>
                <a:gd name="T3" fmla="*/ 0 h 33"/>
                <a:gd name="T4" fmla="*/ 0 w 12"/>
                <a:gd name="T5" fmla="*/ 0 h 33"/>
                <a:gd name="T6" fmla="*/ 0 w 12"/>
                <a:gd name="T7" fmla="*/ 0 h 33"/>
                <a:gd name="T8" fmla="*/ 0 w 12"/>
                <a:gd name="T9" fmla="*/ 0 h 33"/>
                <a:gd name="T10" fmla="*/ 0 w 12"/>
                <a:gd name="T11" fmla="*/ 0 h 33"/>
                <a:gd name="T12" fmla="*/ 0 w 12"/>
                <a:gd name="T13" fmla="*/ 0 h 33"/>
                <a:gd name="T14" fmla="*/ 0 w 12"/>
                <a:gd name="T15" fmla="*/ 0 h 33"/>
                <a:gd name="T16" fmla="*/ 0 w 12"/>
                <a:gd name="T17" fmla="*/ 0 h 33"/>
                <a:gd name="T18" fmla="*/ 0 w 12"/>
                <a:gd name="T19" fmla="*/ 0 h 33"/>
                <a:gd name="T20" fmla="*/ 0 w 12"/>
                <a:gd name="T21" fmla="*/ 0 h 33"/>
                <a:gd name="T22" fmla="*/ 0 w 12"/>
                <a:gd name="T23" fmla="*/ 0 h 3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2"/>
                <a:gd name="T37" fmla="*/ 0 h 33"/>
                <a:gd name="T38" fmla="*/ 12 w 12"/>
                <a:gd name="T39" fmla="*/ 33 h 3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2" h="33">
                  <a:moveTo>
                    <a:pt x="3" y="0"/>
                  </a:moveTo>
                  <a:lnTo>
                    <a:pt x="0" y="5"/>
                  </a:lnTo>
                  <a:lnTo>
                    <a:pt x="1" y="3"/>
                  </a:lnTo>
                  <a:lnTo>
                    <a:pt x="7" y="3"/>
                  </a:lnTo>
                  <a:lnTo>
                    <a:pt x="12" y="6"/>
                  </a:lnTo>
                  <a:lnTo>
                    <a:pt x="9" y="10"/>
                  </a:lnTo>
                  <a:lnTo>
                    <a:pt x="11" y="13"/>
                  </a:lnTo>
                  <a:lnTo>
                    <a:pt x="5" y="33"/>
                  </a:lnTo>
                  <a:lnTo>
                    <a:pt x="4" y="29"/>
                  </a:lnTo>
                  <a:lnTo>
                    <a:pt x="4" y="9"/>
                  </a:lnTo>
                  <a:lnTo>
                    <a:pt x="3" y="6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45" name="Freeform 268">
              <a:extLst>
                <a:ext uri="{FF2B5EF4-FFF2-40B4-BE49-F238E27FC236}">
                  <a16:creationId xmlns:a16="http://schemas.microsoft.com/office/drawing/2014/main" id="{3A9B24B9-8F5C-8D19-1DAE-44735E02617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80669" y="2162395"/>
              <a:ext cx="16017" cy="11377"/>
            </a:xfrm>
            <a:custGeom>
              <a:avLst/>
              <a:gdLst>
                <a:gd name="T0" fmla="*/ 0 w 27"/>
                <a:gd name="T1" fmla="*/ 0 h 18"/>
                <a:gd name="T2" fmla="*/ 0 w 27"/>
                <a:gd name="T3" fmla="*/ 0 h 18"/>
                <a:gd name="T4" fmla="*/ 0 w 27"/>
                <a:gd name="T5" fmla="*/ 0 h 18"/>
                <a:gd name="T6" fmla="*/ 0 w 27"/>
                <a:gd name="T7" fmla="*/ 0 h 18"/>
                <a:gd name="T8" fmla="*/ 0 w 27"/>
                <a:gd name="T9" fmla="*/ 0 h 18"/>
                <a:gd name="T10" fmla="*/ 0 w 27"/>
                <a:gd name="T11" fmla="*/ 0 h 18"/>
                <a:gd name="T12" fmla="*/ 0 w 27"/>
                <a:gd name="T13" fmla="*/ 0 h 18"/>
                <a:gd name="T14" fmla="*/ 0 w 27"/>
                <a:gd name="T15" fmla="*/ 0 h 18"/>
                <a:gd name="T16" fmla="*/ 0 w 27"/>
                <a:gd name="T17" fmla="*/ 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7"/>
                <a:gd name="T28" fmla="*/ 0 h 18"/>
                <a:gd name="T29" fmla="*/ 27 w 27"/>
                <a:gd name="T30" fmla="*/ 18 h 1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7" h="18">
                  <a:moveTo>
                    <a:pt x="13" y="9"/>
                  </a:moveTo>
                  <a:lnTo>
                    <a:pt x="5" y="18"/>
                  </a:lnTo>
                  <a:lnTo>
                    <a:pt x="0" y="9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3" y="1"/>
                  </a:lnTo>
                  <a:lnTo>
                    <a:pt x="26" y="1"/>
                  </a:lnTo>
                  <a:lnTo>
                    <a:pt x="27" y="3"/>
                  </a:lnTo>
                  <a:lnTo>
                    <a:pt x="13" y="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46" name="Freeform 269">
              <a:extLst>
                <a:ext uri="{FF2B5EF4-FFF2-40B4-BE49-F238E27FC236}">
                  <a16:creationId xmlns:a16="http://schemas.microsoft.com/office/drawing/2014/main" id="{918D85F5-5581-98CA-7633-97458F7D18B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37959" y="2119733"/>
              <a:ext cx="77412" cy="68259"/>
            </a:xfrm>
            <a:custGeom>
              <a:avLst/>
              <a:gdLst>
                <a:gd name="T0" fmla="*/ 0 w 145"/>
                <a:gd name="T1" fmla="*/ 0 h 117"/>
                <a:gd name="T2" fmla="*/ 0 w 145"/>
                <a:gd name="T3" fmla="*/ 0 h 117"/>
                <a:gd name="T4" fmla="*/ 0 w 145"/>
                <a:gd name="T5" fmla="*/ 0 h 117"/>
                <a:gd name="T6" fmla="*/ 0 w 145"/>
                <a:gd name="T7" fmla="*/ 0 h 117"/>
                <a:gd name="T8" fmla="*/ 0 w 145"/>
                <a:gd name="T9" fmla="*/ 0 h 117"/>
                <a:gd name="T10" fmla="*/ 0 w 145"/>
                <a:gd name="T11" fmla="*/ 0 h 117"/>
                <a:gd name="T12" fmla="*/ 0 w 145"/>
                <a:gd name="T13" fmla="*/ 0 h 117"/>
                <a:gd name="T14" fmla="*/ 0 w 145"/>
                <a:gd name="T15" fmla="*/ 0 h 117"/>
                <a:gd name="T16" fmla="*/ 0 w 145"/>
                <a:gd name="T17" fmla="*/ 0 h 117"/>
                <a:gd name="T18" fmla="*/ 0 w 145"/>
                <a:gd name="T19" fmla="*/ 0 h 117"/>
                <a:gd name="T20" fmla="*/ 0 w 145"/>
                <a:gd name="T21" fmla="*/ 0 h 117"/>
                <a:gd name="T22" fmla="*/ 0 w 145"/>
                <a:gd name="T23" fmla="*/ 0 h 117"/>
                <a:gd name="T24" fmla="*/ 0 w 145"/>
                <a:gd name="T25" fmla="*/ 0 h 117"/>
                <a:gd name="T26" fmla="*/ 0 w 145"/>
                <a:gd name="T27" fmla="*/ 0 h 117"/>
                <a:gd name="T28" fmla="*/ 0 w 145"/>
                <a:gd name="T29" fmla="*/ 0 h 117"/>
                <a:gd name="T30" fmla="*/ 0 w 145"/>
                <a:gd name="T31" fmla="*/ 0 h 117"/>
                <a:gd name="T32" fmla="*/ 0 w 145"/>
                <a:gd name="T33" fmla="*/ 0 h 117"/>
                <a:gd name="T34" fmla="*/ 0 w 145"/>
                <a:gd name="T35" fmla="*/ 0 h 117"/>
                <a:gd name="T36" fmla="*/ 0 w 145"/>
                <a:gd name="T37" fmla="*/ 0 h 117"/>
                <a:gd name="T38" fmla="*/ 0 w 145"/>
                <a:gd name="T39" fmla="*/ 0 h 117"/>
                <a:gd name="T40" fmla="*/ 0 w 145"/>
                <a:gd name="T41" fmla="*/ 0 h 117"/>
                <a:gd name="T42" fmla="*/ 0 w 145"/>
                <a:gd name="T43" fmla="*/ 0 h 117"/>
                <a:gd name="T44" fmla="*/ 0 w 145"/>
                <a:gd name="T45" fmla="*/ 0 h 117"/>
                <a:gd name="T46" fmla="*/ 0 w 145"/>
                <a:gd name="T47" fmla="*/ 0 h 117"/>
                <a:gd name="T48" fmla="*/ 0 w 145"/>
                <a:gd name="T49" fmla="*/ 0 h 117"/>
                <a:gd name="T50" fmla="*/ 0 w 145"/>
                <a:gd name="T51" fmla="*/ 0 h 117"/>
                <a:gd name="T52" fmla="*/ 0 w 145"/>
                <a:gd name="T53" fmla="*/ 0 h 117"/>
                <a:gd name="T54" fmla="*/ 0 w 145"/>
                <a:gd name="T55" fmla="*/ 0 h 117"/>
                <a:gd name="T56" fmla="*/ 0 w 145"/>
                <a:gd name="T57" fmla="*/ 0 h 117"/>
                <a:gd name="T58" fmla="*/ 0 w 145"/>
                <a:gd name="T59" fmla="*/ 0 h 117"/>
                <a:gd name="T60" fmla="*/ 0 w 145"/>
                <a:gd name="T61" fmla="*/ 0 h 117"/>
                <a:gd name="T62" fmla="*/ 0 w 145"/>
                <a:gd name="T63" fmla="*/ 0 h 117"/>
                <a:gd name="T64" fmla="*/ 0 w 145"/>
                <a:gd name="T65" fmla="*/ 0 h 117"/>
                <a:gd name="T66" fmla="*/ 0 w 145"/>
                <a:gd name="T67" fmla="*/ 0 h 117"/>
                <a:gd name="T68" fmla="*/ 0 w 145"/>
                <a:gd name="T69" fmla="*/ 0 h 117"/>
                <a:gd name="T70" fmla="*/ 0 w 145"/>
                <a:gd name="T71" fmla="*/ 0 h 117"/>
                <a:gd name="T72" fmla="*/ 0 w 145"/>
                <a:gd name="T73" fmla="*/ 0 h 117"/>
                <a:gd name="T74" fmla="*/ 0 w 145"/>
                <a:gd name="T75" fmla="*/ 0 h 117"/>
                <a:gd name="T76" fmla="*/ 0 w 145"/>
                <a:gd name="T77" fmla="*/ 0 h 117"/>
                <a:gd name="T78" fmla="*/ 0 w 145"/>
                <a:gd name="T79" fmla="*/ 0 h 117"/>
                <a:gd name="T80" fmla="*/ 0 w 145"/>
                <a:gd name="T81" fmla="*/ 0 h 117"/>
                <a:gd name="T82" fmla="*/ 0 w 145"/>
                <a:gd name="T83" fmla="*/ 0 h 117"/>
                <a:gd name="T84" fmla="*/ 0 w 145"/>
                <a:gd name="T85" fmla="*/ 0 h 117"/>
                <a:gd name="T86" fmla="*/ 0 w 145"/>
                <a:gd name="T87" fmla="*/ 0 h 11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5"/>
                <a:gd name="T133" fmla="*/ 0 h 117"/>
                <a:gd name="T134" fmla="*/ 145 w 145"/>
                <a:gd name="T135" fmla="*/ 117 h 117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5" h="117">
                  <a:moveTo>
                    <a:pt x="4" y="59"/>
                  </a:moveTo>
                  <a:lnTo>
                    <a:pt x="0" y="60"/>
                  </a:lnTo>
                  <a:lnTo>
                    <a:pt x="0" y="56"/>
                  </a:lnTo>
                  <a:lnTo>
                    <a:pt x="9" y="56"/>
                  </a:lnTo>
                  <a:lnTo>
                    <a:pt x="9" y="47"/>
                  </a:lnTo>
                  <a:lnTo>
                    <a:pt x="21" y="33"/>
                  </a:lnTo>
                  <a:lnTo>
                    <a:pt x="25" y="34"/>
                  </a:lnTo>
                  <a:lnTo>
                    <a:pt x="28" y="30"/>
                  </a:lnTo>
                  <a:lnTo>
                    <a:pt x="39" y="29"/>
                  </a:lnTo>
                  <a:lnTo>
                    <a:pt x="45" y="29"/>
                  </a:lnTo>
                  <a:lnTo>
                    <a:pt x="39" y="38"/>
                  </a:lnTo>
                  <a:lnTo>
                    <a:pt x="44" y="39"/>
                  </a:lnTo>
                  <a:lnTo>
                    <a:pt x="47" y="44"/>
                  </a:lnTo>
                  <a:lnTo>
                    <a:pt x="48" y="51"/>
                  </a:lnTo>
                  <a:lnTo>
                    <a:pt x="57" y="54"/>
                  </a:lnTo>
                  <a:lnTo>
                    <a:pt x="58" y="43"/>
                  </a:lnTo>
                  <a:lnTo>
                    <a:pt x="60" y="39"/>
                  </a:lnTo>
                  <a:lnTo>
                    <a:pt x="58" y="34"/>
                  </a:lnTo>
                  <a:lnTo>
                    <a:pt x="63" y="32"/>
                  </a:lnTo>
                  <a:lnTo>
                    <a:pt x="50" y="16"/>
                  </a:lnTo>
                  <a:lnTo>
                    <a:pt x="49" y="9"/>
                  </a:lnTo>
                  <a:lnTo>
                    <a:pt x="53" y="6"/>
                  </a:lnTo>
                  <a:lnTo>
                    <a:pt x="61" y="4"/>
                  </a:lnTo>
                  <a:lnTo>
                    <a:pt x="66" y="14"/>
                  </a:lnTo>
                  <a:lnTo>
                    <a:pt x="68" y="24"/>
                  </a:lnTo>
                  <a:lnTo>
                    <a:pt x="70" y="25"/>
                  </a:lnTo>
                  <a:lnTo>
                    <a:pt x="75" y="16"/>
                  </a:lnTo>
                  <a:lnTo>
                    <a:pt x="80" y="12"/>
                  </a:lnTo>
                  <a:lnTo>
                    <a:pt x="90" y="14"/>
                  </a:lnTo>
                  <a:lnTo>
                    <a:pt x="93" y="9"/>
                  </a:lnTo>
                  <a:lnTo>
                    <a:pt x="95" y="6"/>
                  </a:lnTo>
                  <a:lnTo>
                    <a:pt x="90" y="0"/>
                  </a:lnTo>
                  <a:lnTo>
                    <a:pt x="96" y="2"/>
                  </a:lnTo>
                  <a:lnTo>
                    <a:pt x="100" y="1"/>
                  </a:lnTo>
                  <a:lnTo>
                    <a:pt x="104" y="2"/>
                  </a:lnTo>
                  <a:lnTo>
                    <a:pt x="104" y="14"/>
                  </a:lnTo>
                  <a:lnTo>
                    <a:pt x="108" y="18"/>
                  </a:lnTo>
                  <a:lnTo>
                    <a:pt x="117" y="4"/>
                  </a:lnTo>
                  <a:lnTo>
                    <a:pt x="125" y="2"/>
                  </a:lnTo>
                  <a:lnTo>
                    <a:pt x="128" y="7"/>
                  </a:lnTo>
                  <a:lnTo>
                    <a:pt x="127" y="20"/>
                  </a:lnTo>
                  <a:lnTo>
                    <a:pt x="125" y="23"/>
                  </a:lnTo>
                  <a:lnTo>
                    <a:pt x="125" y="29"/>
                  </a:lnTo>
                  <a:lnTo>
                    <a:pt x="127" y="29"/>
                  </a:lnTo>
                  <a:lnTo>
                    <a:pt x="128" y="34"/>
                  </a:lnTo>
                  <a:lnTo>
                    <a:pt x="145" y="34"/>
                  </a:lnTo>
                  <a:lnTo>
                    <a:pt x="138" y="49"/>
                  </a:lnTo>
                  <a:lnTo>
                    <a:pt x="129" y="49"/>
                  </a:lnTo>
                  <a:lnTo>
                    <a:pt x="111" y="39"/>
                  </a:lnTo>
                  <a:lnTo>
                    <a:pt x="104" y="40"/>
                  </a:lnTo>
                  <a:lnTo>
                    <a:pt x="102" y="49"/>
                  </a:lnTo>
                  <a:lnTo>
                    <a:pt x="118" y="52"/>
                  </a:lnTo>
                  <a:lnTo>
                    <a:pt x="122" y="56"/>
                  </a:lnTo>
                  <a:lnTo>
                    <a:pt x="122" y="65"/>
                  </a:lnTo>
                  <a:lnTo>
                    <a:pt x="112" y="63"/>
                  </a:lnTo>
                  <a:lnTo>
                    <a:pt x="112" y="56"/>
                  </a:lnTo>
                  <a:lnTo>
                    <a:pt x="108" y="56"/>
                  </a:lnTo>
                  <a:lnTo>
                    <a:pt x="103" y="61"/>
                  </a:lnTo>
                  <a:lnTo>
                    <a:pt x="93" y="63"/>
                  </a:lnTo>
                  <a:lnTo>
                    <a:pt x="96" y="63"/>
                  </a:lnTo>
                  <a:lnTo>
                    <a:pt x="100" y="68"/>
                  </a:lnTo>
                  <a:lnTo>
                    <a:pt x="95" y="68"/>
                  </a:lnTo>
                  <a:lnTo>
                    <a:pt x="84" y="72"/>
                  </a:lnTo>
                  <a:lnTo>
                    <a:pt x="74" y="86"/>
                  </a:lnTo>
                  <a:lnTo>
                    <a:pt x="66" y="87"/>
                  </a:lnTo>
                  <a:lnTo>
                    <a:pt x="65" y="90"/>
                  </a:lnTo>
                  <a:lnTo>
                    <a:pt x="66" y="94"/>
                  </a:lnTo>
                  <a:lnTo>
                    <a:pt x="66" y="102"/>
                  </a:lnTo>
                  <a:lnTo>
                    <a:pt x="63" y="109"/>
                  </a:lnTo>
                  <a:lnTo>
                    <a:pt x="43" y="117"/>
                  </a:lnTo>
                  <a:lnTo>
                    <a:pt x="47" y="108"/>
                  </a:lnTo>
                  <a:lnTo>
                    <a:pt x="53" y="100"/>
                  </a:lnTo>
                  <a:lnTo>
                    <a:pt x="53" y="95"/>
                  </a:lnTo>
                  <a:lnTo>
                    <a:pt x="44" y="93"/>
                  </a:lnTo>
                  <a:lnTo>
                    <a:pt x="43" y="87"/>
                  </a:lnTo>
                  <a:lnTo>
                    <a:pt x="44" y="83"/>
                  </a:lnTo>
                  <a:lnTo>
                    <a:pt x="39" y="79"/>
                  </a:lnTo>
                  <a:lnTo>
                    <a:pt x="31" y="77"/>
                  </a:lnTo>
                  <a:lnTo>
                    <a:pt x="27" y="79"/>
                  </a:lnTo>
                  <a:lnTo>
                    <a:pt x="29" y="82"/>
                  </a:lnTo>
                  <a:lnTo>
                    <a:pt x="36" y="83"/>
                  </a:lnTo>
                  <a:lnTo>
                    <a:pt x="37" y="102"/>
                  </a:lnTo>
                  <a:lnTo>
                    <a:pt x="29" y="106"/>
                  </a:lnTo>
                  <a:lnTo>
                    <a:pt x="20" y="98"/>
                  </a:lnTo>
                  <a:lnTo>
                    <a:pt x="17" y="88"/>
                  </a:lnTo>
                  <a:lnTo>
                    <a:pt x="16" y="78"/>
                  </a:lnTo>
                  <a:lnTo>
                    <a:pt x="14" y="68"/>
                  </a:lnTo>
                  <a:lnTo>
                    <a:pt x="7" y="66"/>
                  </a:lnTo>
                  <a:lnTo>
                    <a:pt x="4" y="5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47" name="Freeform 270">
              <a:extLst>
                <a:ext uri="{FF2B5EF4-FFF2-40B4-BE49-F238E27FC236}">
                  <a16:creationId xmlns:a16="http://schemas.microsoft.com/office/drawing/2014/main" id="{0CCF0DC3-1EC0-1EA3-7CF5-13B244F3F09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50900" y="1124298"/>
              <a:ext cx="875555" cy="1168926"/>
            </a:xfrm>
            <a:custGeom>
              <a:avLst/>
              <a:gdLst>
                <a:gd name="T0" fmla="*/ 0 w 1638"/>
                <a:gd name="T1" fmla="*/ 0 h 2054"/>
                <a:gd name="T2" fmla="*/ 0 w 1638"/>
                <a:gd name="T3" fmla="*/ 0 h 2054"/>
                <a:gd name="T4" fmla="*/ 0 w 1638"/>
                <a:gd name="T5" fmla="*/ 0 h 2054"/>
                <a:gd name="T6" fmla="*/ 0 w 1638"/>
                <a:gd name="T7" fmla="*/ 0 h 2054"/>
                <a:gd name="T8" fmla="*/ 0 w 1638"/>
                <a:gd name="T9" fmla="*/ 0 h 2054"/>
                <a:gd name="T10" fmla="*/ 0 w 1638"/>
                <a:gd name="T11" fmla="*/ 0 h 2054"/>
                <a:gd name="T12" fmla="*/ 0 w 1638"/>
                <a:gd name="T13" fmla="*/ 0 h 2054"/>
                <a:gd name="T14" fmla="*/ 0 w 1638"/>
                <a:gd name="T15" fmla="*/ 0 h 2054"/>
                <a:gd name="T16" fmla="*/ 0 w 1638"/>
                <a:gd name="T17" fmla="*/ 0 h 2054"/>
                <a:gd name="T18" fmla="*/ 0 w 1638"/>
                <a:gd name="T19" fmla="*/ 0 h 2054"/>
                <a:gd name="T20" fmla="*/ 0 w 1638"/>
                <a:gd name="T21" fmla="*/ 0 h 2054"/>
                <a:gd name="T22" fmla="*/ 0 w 1638"/>
                <a:gd name="T23" fmla="*/ 0 h 2054"/>
                <a:gd name="T24" fmla="*/ 0 w 1638"/>
                <a:gd name="T25" fmla="*/ 0 h 2054"/>
                <a:gd name="T26" fmla="*/ 0 w 1638"/>
                <a:gd name="T27" fmla="*/ 0 h 2054"/>
                <a:gd name="T28" fmla="*/ 0 w 1638"/>
                <a:gd name="T29" fmla="*/ 0 h 2054"/>
                <a:gd name="T30" fmla="*/ 0 w 1638"/>
                <a:gd name="T31" fmla="*/ 0 h 2054"/>
                <a:gd name="T32" fmla="*/ 0 w 1638"/>
                <a:gd name="T33" fmla="*/ 0 h 2054"/>
                <a:gd name="T34" fmla="*/ 0 w 1638"/>
                <a:gd name="T35" fmla="*/ 0 h 2054"/>
                <a:gd name="T36" fmla="*/ 0 w 1638"/>
                <a:gd name="T37" fmla="*/ 0 h 2054"/>
                <a:gd name="T38" fmla="*/ 0 w 1638"/>
                <a:gd name="T39" fmla="*/ 0 h 2054"/>
                <a:gd name="T40" fmla="*/ 0 w 1638"/>
                <a:gd name="T41" fmla="*/ 0 h 2054"/>
                <a:gd name="T42" fmla="*/ 0 w 1638"/>
                <a:gd name="T43" fmla="*/ 0 h 2054"/>
                <a:gd name="T44" fmla="*/ 0 w 1638"/>
                <a:gd name="T45" fmla="*/ 0 h 2054"/>
                <a:gd name="T46" fmla="*/ 0 w 1638"/>
                <a:gd name="T47" fmla="*/ 0 h 2054"/>
                <a:gd name="T48" fmla="*/ 0 w 1638"/>
                <a:gd name="T49" fmla="*/ 0 h 2054"/>
                <a:gd name="T50" fmla="*/ 0 w 1638"/>
                <a:gd name="T51" fmla="*/ 0 h 2054"/>
                <a:gd name="T52" fmla="*/ 0 w 1638"/>
                <a:gd name="T53" fmla="*/ 0 h 2054"/>
                <a:gd name="T54" fmla="*/ 0 w 1638"/>
                <a:gd name="T55" fmla="*/ 0 h 2054"/>
                <a:gd name="T56" fmla="*/ 0 w 1638"/>
                <a:gd name="T57" fmla="*/ 0 h 2054"/>
                <a:gd name="T58" fmla="*/ 0 w 1638"/>
                <a:gd name="T59" fmla="*/ 0 h 2054"/>
                <a:gd name="T60" fmla="*/ 0 w 1638"/>
                <a:gd name="T61" fmla="*/ 0 h 2054"/>
                <a:gd name="T62" fmla="*/ 0 w 1638"/>
                <a:gd name="T63" fmla="*/ 0 h 2054"/>
                <a:gd name="T64" fmla="*/ 0 w 1638"/>
                <a:gd name="T65" fmla="*/ 0 h 2054"/>
                <a:gd name="T66" fmla="*/ 0 w 1638"/>
                <a:gd name="T67" fmla="*/ 0 h 2054"/>
                <a:gd name="T68" fmla="*/ 0 w 1638"/>
                <a:gd name="T69" fmla="*/ 0 h 2054"/>
                <a:gd name="T70" fmla="*/ 0 w 1638"/>
                <a:gd name="T71" fmla="*/ 0 h 2054"/>
                <a:gd name="T72" fmla="*/ 0 w 1638"/>
                <a:gd name="T73" fmla="*/ 0 h 2054"/>
                <a:gd name="T74" fmla="*/ 0 w 1638"/>
                <a:gd name="T75" fmla="*/ 0 h 2054"/>
                <a:gd name="T76" fmla="*/ 0 w 1638"/>
                <a:gd name="T77" fmla="*/ 0 h 2054"/>
                <a:gd name="T78" fmla="*/ 0 w 1638"/>
                <a:gd name="T79" fmla="*/ 0 h 2054"/>
                <a:gd name="T80" fmla="*/ 0 w 1638"/>
                <a:gd name="T81" fmla="*/ 0 h 2054"/>
                <a:gd name="T82" fmla="*/ 0 w 1638"/>
                <a:gd name="T83" fmla="*/ 0 h 2054"/>
                <a:gd name="T84" fmla="*/ 0 w 1638"/>
                <a:gd name="T85" fmla="*/ 0 h 2054"/>
                <a:gd name="T86" fmla="*/ 0 w 1638"/>
                <a:gd name="T87" fmla="*/ 0 h 2054"/>
                <a:gd name="T88" fmla="*/ 0 w 1638"/>
                <a:gd name="T89" fmla="*/ 0 h 2054"/>
                <a:gd name="T90" fmla="*/ 0 w 1638"/>
                <a:gd name="T91" fmla="*/ 0 h 2054"/>
                <a:gd name="T92" fmla="*/ 0 w 1638"/>
                <a:gd name="T93" fmla="*/ 0 h 2054"/>
                <a:gd name="T94" fmla="*/ 0 w 1638"/>
                <a:gd name="T95" fmla="*/ 0 h 2054"/>
                <a:gd name="T96" fmla="*/ 0 w 1638"/>
                <a:gd name="T97" fmla="*/ 0 h 2054"/>
                <a:gd name="T98" fmla="*/ 0 w 1638"/>
                <a:gd name="T99" fmla="*/ 0 h 2054"/>
                <a:gd name="T100" fmla="*/ 0 w 1638"/>
                <a:gd name="T101" fmla="*/ 0 h 2054"/>
                <a:gd name="T102" fmla="*/ 0 w 1638"/>
                <a:gd name="T103" fmla="*/ 0 h 2054"/>
                <a:gd name="T104" fmla="*/ 0 w 1638"/>
                <a:gd name="T105" fmla="*/ 0 h 2054"/>
                <a:gd name="T106" fmla="*/ 0 w 1638"/>
                <a:gd name="T107" fmla="*/ 0 h 2054"/>
                <a:gd name="T108" fmla="*/ 0 w 1638"/>
                <a:gd name="T109" fmla="*/ 0 h 2054"/>
                <a:gd name="T110" fmla="*/ 0 w 1638"/>
                <a:gd name="T111" fmla="*/ 0 h 2054"/>
                <a:gd name="T112" fmla="*/ 0 w 1638"/>
                <a:gd name="T113" fmla="*/ 0 h 2054"/>
                <a:gd name="T114" fmla="*/ 0 w 1638"/>
                <a:gd name="T115" fmla="*/ 0 h 2054"/>
                <a:gd name="T116" fmla="*/ 0 w 1638"/>
                <a:gd name="T117" fmla="*/ 0 h 2054"/>
                <a:gd name="T118" fmla="*/ 0 w 1638"/>
                <a:gd name="T119" fmla="*/ 0 h 205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638"/>
                <a:gd name="T181" fmla="*/ 0 h 2054"/>
                <a:gd name="T182" fmla="*/ 1638 w 1638"/>
                <a:gd name="T183" fmla="*/ 2054 h 205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638" h="2054">
                  <a:moveTo>
                    <a:pt x="1486" y="1466"/>
                  </a:moveTo>
                  <a:lnTo>
                    <a:pt x="1486" y="1356"/>
                  </a:lnTo>
                  <a:lnTo>
                    <a:pt x="1486" y="1249"/>
                  </a:lnTo>
                  <a:lnTo>
                    <a:pt x="1486" y="1148"/>
                  </a:lnTo>
                  <a:lnTo>
                    <a:pt x="1486" y="1039"/>
                  </a:lnTo>
                  <a:lnTo>
                    <a:pt x="1486" y="915"/>
                  </a:lnTo>
                  <a:lnTo>
                    <a:pt x="1486" y="793"/>
                  </a:lnTo>
                  <a:lnTo>
                    <a:pt x="1486" y="678"/>
                  </a:lnTo>
                  <a:lnTo>
                    <a:pt x="1486" y="553"/>
                  </a:lnTo>
                  <a:lnTo>
                    <a:pt x="1486" y="409"/>
                  </a:lnTo>
                  <a:lnTo>
                    <a:pt x="1486" y="266"/>
                  </a:lnTo>
                  <a:lnTo>
                    <a:pt x="1484" y="263"/>
                  </a:lnTo>
                  <a:lnTo>
                    <a:pt x="1477" y="263"/>
                  </a:lnTo>
                  <a:lnTo>
                    <a:pt x="1475" y="270"/>
                  </a:lnTo>
                  <a:lnTo>
                    <a:pt x="1470" y="280"/>
                  </a:lnTo>
                  <a:lnTo>
                    <a:pt x="1467" y="276"/>
                  </a:lnTo>
                  <a:lnTo>
                    <a:pt x="1456" y="259"/>
                  </a:lnTo>
                  <a:lnTo>
                    <a:pt x="1429" y="248"/>
                  </a:lnTo>
                  <a:lnTo>
                    <a:pt x="1427" y="242"/>
                  </a:lnTo>
                  <a:lnTo>
                    <a:pt x="1408" y="232"/>
                  </a:lnTo>
                  <a:lnTo>
                    <a:pt x="1408" y="228"/>
                  </a:lnTo>
                  <a:lnTo>
                    <a:pt x="1403" y="221"/>
                  </a:lnTo>
                  <a:lnTo>
                    <a:pt x="1365" y="201"/>
                  </a:lnTo>
                  <a:lnTo>
                    <a:pt x="1361" y="205"/>
                  </a:lnTo>
                  <a:lnTo>
                    <a:pt x="1355" y="206"/>
                  </a:lnTo>
                  <a:lnTo>
                    <a:pt x="1350" y="202"/>
                  </a:lnTo>
                  <a:lnTo>
                    <a:pt x="1351" y="214"/>
                  </a:lnTo>
                  <a:lnTo>
                    <a:pt x="1349" y="220"/>
                  </a:lnTo>
                  <a:lnTo>
                    <a:pt x="1341" y="209"/>
                  </a:lnTo>
                  <a:lnTo>
                    <a:pt x="1335" y="205"/>
                  </a:lnTo>
                  <a:lnTo>
                    <a:pt x="1330" y="209"/>
                  </a:lnTo>
                  <a:lnTo>
                    <a:pt x="1303" y="214"/>
                  </a:lnTo>
                  <a:lnTo>
                    <a:pt x="1302" y="217"/>
                  </a:lnTo>
                  <a:lnTo>
                    <a:pt x="1290" y="225"/>
                  </a:lnTo>
                  <a:lnTo>
                    <a:pt x="1280" y="225"/>
                  </a:lnTo>
                  <a:lnTo>
                    <a:pt x="1273" y="217"/>
                  </a:lnTo>
                  <a:lnTo>
                    <a:pt x="1271" y="225"/>
                  </a:lnTo>
                  <a:lnTo>
                    <a:pt x="1252" y="223"/>
                  </a:lnTo>
                  <a:lnTo>
                    <a:pt x="1251" y="221"/>
                  </a:lnTo>
                  <a:lnTo>
                    <a:pt x="1253" y="215"/>
                  </a:lnTo>
                  <a:lnTo>
                    <a:pt x="1232" y="211"/>
                  </a:lnTo>
                  <a:lnTo>
                    <a:pt x="1222" y="201"/>
                  </a:lnTo>
                  <a:lnTo>
                    <a:pt x="1211" y="194"/>
                  </a:lnTo>
                  <a:lnTo>
                    <a:pt x="1178" y="194"/>
                  </a:lnTo>
                  <a:lnTo>
                    <a:pt x="1158" y="199"/>
                  </a:lnTo>
                  <a:lnTo>
                    <a:pt x="1128" y="183"/>
                  </a:lnTo>
                  <a:lnTo>
                    <a:pt x="1115" y="180"/>
                  </a:lnTo>
                  <a:lnTo>
                    <a:pt x="1107" y="172"/>
                  </a:lnTo>
                  <a:lnTo>
                    <a:pt x="1091" y="167"/>
                  </a:lnTo>
                  <a:lnTo>
                    <a:pt x="1074" y="166"/>
                  </a:lnTo>
                  <a:lnTo>
                    <a:pt x="1072" y="156"/>
                  </a:lnTo>
                  <a:lnTo>
                    <a:pt x="1054" y="152"/>
                  </a:lnTo>
                  <a:lnTo>
                    <a:pt x="1032" y="142"/>
                  </a:lnTo>
                  <a:lnTo>
                    <a:pt x="1010" y="142"/>
                  </a:lnTo>
                  <a:lnTo>
                    <a:pt x="1001" y="148"/>
                  </a:lnTo>
                  <a:lnTo>
                    <a:pt x="975" y="158"/>
                  </a:lnTo>
                  <a:lnTo>
                    <a:pt x="977" y="152"/>
                  </a:lnTo>
                  <a:lnTo>
                    <a:pt x="985" y="151"/>
                  </a:lnTo>
                  <a:lnTo>
                    <a:pt x="983" y="144"/>
                  </a:lnTo>
                  <a:lnTo>
                    <a:pt x="977" y="141"/>
                  </a:lnTo>
                  <a:lnTo>
                    <a:pt x="967" y="140"/>
                  </a:lnTo>
                  <a:lnTo>
                    <a:pt x="929" y="151"/>
                  </a:lnTo>
                  <a:lnTo>
                    <a:pt x="899" y="148"/>
                  </a:lnTo>
                  <a:lnTo>
                    <a:pt x="908" y="140"/>
                  </a:lnTo>
                  <a:lnTo>
                    <a:pt x="909" y="132"/>
                  </a:lnTo>
                  <a:lnTo>
                    <a:pt x="872" y="132"/>
                  </a:lnTo>
                  <a:lnTo>
                    <a:pt x="866" y="129"/>
                  </a:lnTo>
                  <a:lnTo>
                    <a:pt x="887" y="128"/>
                  </a:lnTo>
                  <a:lnTo>
                    <a:pt x="882" y="120"/>
                  </a:lnTo>
                  <a:lnTo>
                    <a:pt x="872" y="120"/>
                  </a:lnTo>
                  <a:lnTo>
                    <a:pt x="870" y="114"/>
                  </a:lnTo>
                  <a:lnTo>
                    <a:pt x="877" y="99"/>
                  </a:lnTo>
                  <a:lnTo>
                    <a:pt x="877" y="87"/>
                  </a:lnTo>
                  <a:lnTo>
                    <a:pt x="859" y="80"/>
                  </a:lnTo>
                  <a:lnTo>
                    <a:pt x="843" y="80"/>
                  </a:lnTo>
                  <a:lnTo>
                    <a:pt x="845" y="94"/>
                  </a:lnTo>
                  <a:lnTo>
                    <a:pt x="843" y="91"/>
                  </a:lnTo>
                  <a:lnTo>
                    <a:pt x="835" y="94"/>
                  </a:lnTo>
                  <a:lnTo>
                    <a:pt x="832" y="81"/>
                  </a:lnTo>
                  <a:lnTo>
                    <a:pt x="827" y="69"/>
                  </a:lnTo>
                  <a:lnTo>
                    <a:pt x="817" y="69"/>
                  </a:lnTo>
                  <a:lnTo>
                    <a:pt x="807" y="71"/>
                  </a:lnTo>
                  <a:lnTo>
                    <a:pt x="790" y="83"/>
                  </a:lnTo>
                  <a:lnTo>
                    <a:pt x="785" y="75"/>
                  </a:lnTo>
                  <a:lnTo>
                    <a:pt x="778" y="80"/>
                  </a:lnTo>
                  <a:lnTo>
                    <a:pt x="771" y="91"/>
                  </a:lnTo>
                  <a:lnTo>
                    <a:pt x="763" y="91"/>
                  </a:lnTo>
                  <a:lnTo>
                    <a:pt x="757" y="83"/>
                  </a:lnTo>
                  <a:lnTo>
                    <a:pt x="747" y="83"/>
                  </a:lnTo>
                  <a:lnTo>
                    <a:pt x="740" y="78"/>
                  </a:lnTo>
                  <a:lnTo>
                    <a:pt x="744" y="70"/>
                  </a:lnTo>
                  <a:lnTo>
                    <a:pt x="733" y="45"/>
                  </a:lnTo>
                  <a:lnTo>
                    <a:pt x="716" y="39"/>
                  </a:lnTo>
                  <a:lnTo>
                    <a:pt x="716" y="48"/>
                  </a:lnTo>
                  <a:lnTo>
                    <a:pt x="709" y="40"/>
                  </a:lnTo>
                  <a:lnTo>
                    <a:pt x="710" y="51"/>
                  </a:lnTo>
                  <a:lnTo>
                    <a:pt x="704" y="51"/>
                  </a:lnTo>
                  <a:lnTo>
                    <a:pt x="697" y="58"/>
                  </a:lnTo>
                  <a:lnTo>
                    <a:pt x="695" y="72"/>
                  </a:lnTo>
                  <a:lnTo>
                    <a:pt x="704" y="83"/>
                  </a:lnTo>
                  <a:lnTo>
                    <a:pt x="704" y="91"/>
                  </a:lnTo>
                  <a:lnTo>
                    <a:pt x="705" y="103"/>
                  </a:lnTo>
                  <a:lnTo>
                    <a:pt x="695" y="103"/>
                  </a:lnTo>
                  <a:lnTo>
                    <a:pt x="694" y="94"/>
                  </a:lnTo>
                  <a:lnTo>
                    <a:pt x="688" y="87"/>
                  </a:lnTo>
                  <a:lnTo>
                    <a:pt x="683" y="94"/>
                  </a:lnTo>
                  <a:lnTo>
                    <a:pt x="678" y="83"/>
                  </a:lnTo>
                  <a:lnTo>
                    <a:pt x="676" y="96"/>
                  </a:lnTo>
                  <a:lnTo>
                    <a:pt x="657" y="83"/>
                  </a:lnTo>
                  <a:lnTo>
                    <a:pt x="649" y="82"/>
                  </a:lnTo>
                  <a:lnTo>
                    <a:pt x="646" y="85"/>
                  </a:lnTo>
                  <a:lnTo>
                    <a:pt x="654" y="66"/>
                  </a:lnTo>
                  <a:lnTo>
                    <a:pt x="660" y="70"/>
                  </a:lnTo>
                  <a:lnTo>
                    <a:pt x="672" y="64"/>
                  </a:lnTo>
                  <a:lnTo>
                    <a:pt x="689" y="49"/>
                  </a:lnTo>
                  <a:lnTo>
                    <a:pt x="690" y="42"/>
                  </a:lnTo>
                  <a:lnTo>
                    <a:pt x="689" y="33"/>
                  </a:lnTo>
                  <a:lnTo>
                    <a:pt x="681" y="26"/>
                  </a:lnTo>
                  <a:lnTo>
                    <a:pt x="661" y="30"/>
                  </a:lnTo>
                  <a:lnTo>
                    <a:pt x="660" y="27"/>
                  </a:lnTo>
                  <a:lnTo>
                    <a:pt x="658" y="16"/>
                  </a:lnTo>
                  <a:lnTo>
                    <a:pt x="650" y="11"/>
                  </a:lnTo>
                  <a:lnTo>
                    <a:pt x="642" y="15"/>
                  </a:lnTo>
                  <a:lnTo>
                    <a:pt x="635" y="10"/>
                  </a:lnTo>
                  <a:lnTo>
                    <a:pt x="627" y="0"/>
                  </a:lnTo>
                  <a:lnTo>
                    <a:pt x="622" y="3"/>
                  </a:lnTo>
                  <a:lnTo>
                    <a:pt x="619" y="10"/>
                  </a:lnTo>
                  <a:lnTo>
                    <a:pt x="613" y="17"/>
                  </a:lnTo>
                  <a:lnTo>
                    <a:pt x="612" y="24"/>
                  </a:lnTo>
                  <a:lnTo>
                    <a:pt x="609" y="22"/>
                  </a:lnTo>
                  <a:lnTo>
                    <a:pt x="612" y="33"/>
                  </a:lnTo>
                  <a:lnTo>
                    <a:pt x="608" y="37"/>
                  </a:lnTo>
                  <a:lnTo>
                    <a:pt x="602" y="33"/>
                  </a:lnTo>
                  <a:lnTo>
                    <a:pt x="598" y="35"/>
                  </a:lnTo>
                  <a:lnTo>
                    <a:pt x="597" y="40"/>
                  </a:lnTo>
                  <a:lnTo>
                    <a:pt x="591" y="48"/>
                  </a:lnTo>
                  <a:lnTo>
                    <a:pt x="584" y="60"/>
                  </a:lnTo>
                  <a:lnTo>
                    <a:pt x="558" y="86"/>
                  </a:lnTo>
                  <a:lnTo>
                    <a:pt x="536" y="86"/>
                  </a:lnTo>
                  <a:lnTo>
                    <a:pt x="537" y="91"/>
                  </a:lnTo>
                  <a:lnTo>
                    <a:pt x="511" y="96"/>
                  </a:lnTo>
                  <a:lnTo>
                    <a:pt x="491" y="91"/>
                  </a:lnTo>
                  <a:lnTo>
                    <a:pt x="495" y="96"/>
                  </a:lnTo>
                  <a:lnTo>
                    <a:pt x="486" y="101"/>
                  </a:lnTo>
                  <a:lnTo>
                    <a:pt x="489" y="113"/>
                  </a:lnTo>
                  <a:lnTo>
                    <a:pt x="472" y="103"/>
                  </a:lnTo>
                  <a:lnTo>
                    <a:pt x="480" y="92"/>
                  </a:lnTo>
                  <a:lnTo>
                    <a:pt x="483" y="83"/>
                  </a:lnTo>
                  <a:lnTo>
                    <a:pt x="496" y="78"/>
                  </a:lnTo>
                  <a:lnTo>
                    <a:pt x="500" y="73"/>
                  </a:lnTo>
                  <a:lnTo>
                    <a:pt x="478" y="81"/>
                  </a:lnTo>
                  <a:lnTo>
                    <a:pt x="466" y="88"/>
                  </a:lnTo>
                  <a:lnTo>
                    <a:pt x="452" y="101"/>
                  </a:lnTo>
                  <a:lnTo>
                    <a:pt x="448" y="109"/>
                  </a:lnTo>
                  <a:lnTo>
                    <a:pt x="448" y="113"/>
                  </a:lnTo>
                  <a:lnTo>
                    <a:pt x="440" y="116"/>
                  </a:lnTo>
                  <a:lnTo>
                    <a:pt x="445" y="121"/>
                  </a:lnTo>
                  <a:lnTo>
                    <a:pt x="452" y="124"/>
                  </a:lnTo>
                  <a:lnTo>
                    <a:pt x="457" y="136"/>
                  </a:lnTo>
                  <a:lnTo>
                    <a:pt x="464" y="141"/>
                  </a:lnTo>
                  <a:lnTo>
                    <a:pt x="474" y="139"/>
                  </a:lnTo>
                  <a:lnTo>
                    <a:pt x="461" y="145"/>
                  </a:lnTo>
                  <a:lnTo>
                    <a:pt x="453" y="145"/>
                  </a:lnTo>
                  <a:lnTo>
                    <a:pt x="450" y="155"/>
                  </a:lnTo>
                  <a:lnTo>
                    <a:pt x="453" y="162"/>
                  </a:lnTo>
                  <a:lnTo>
                    <a:pt x="452" y="174"/>
                  </a:lnTo>
                  <a:lnTo>
                    <a:pt x="447" y="182"/>
                  </a:lnTo>
                  <a:lnTo>
                    <a:pt x="442" y="175"/>
                  </a:lnTo>
                  <a:lnTo>
                    <a:pt x="442" y="162"/>
                  </a:lnTo>
                  <a:lnTo>
                    <a:pt x="434" y="168"/>
                  </a:lnTo>
                  <a:lnTo>
                    <a:pt x="440" y="158"/>
                  </a:lnTo>
                  <a:lnTo>
                    <a:pt x="439" y="146"/>
                  </a:lnTo>
                  <a:lnTo>
                    <a:pt x="445" y="140"/>
                  </a:lnTo>
                  <a:lnTo>
                    <a:pt x="442" y="131"/>
                  </a:lnTo>
                  <a:lnTo>
                    <a:pt x="432" y="128"/>
                  </a:lnTo>
                  <a:lnTo>
                    <a:pt x="405" y="148"/>
                  </a:lnTo>
                  <a:lnTo>
                    <a:pt x="405" y="152"/>
                  </a:lnTo>
                  <a:lnTo>
                    <a:pt x="418" y="145"/>
                  </a:lnTo>
                  <a:lnTo>
                    <a:pt x="408" y="156"/>
                  </a:lnTo>
                  <a:lnTo>
                    <a:pt x="366" y="184"/>
                  </a:lnTo>
                  <a:lnTo>
                    <a:pt x="348" y="188"/>
                  </a:lnTo>
                  <a:lnTo>
                    <a:pt x="338" y="200"/>
                  </a:lnTo>
                  <a:lnTo>
                    <a:pt x="342" y="191"/>
                  </a:lnTo>
                  <a:lnTo>
                    <a:pt x="342" y="183"/>
                  </a:lnTo>
                  <a:lnTo>
                    <a:pt x="348" y="177"/>
                  </a:lnTo>
                  <a:lnTo>
                    <a:pt x="337" y="175"/>
                  </a:lnTo>
                  <a:lnTo>
                    <a:pt x="326" y="200"/>
                  </a:lnTo>
                  <a:lnTo>
                    <a:pt x="323" y="211"/>
                  </a:lnTo>
                  <a:lnTo>
                    <a:pt x="342" y="228"/>
                  </a:lnTo>
                  <a:lnTo>
                    <a:pt x="353" y="233"/>
                  </a:lnTo>
                  <a:lnTo>
                    <a:pt x="353" y="239"/>
                  </a:lnTo>
                  <a:lnTo>
                    <a:pt x="324" y="225"/>
                  </a:lnTo>
                  <a:lnTo>
                    <a:pt x="321" y="218"/>
                  </a:lnTo>
                  <a:lnTo>
                    <a:pt x="312" y="217"/>
                  </a:lnTo>
                  <a:lnTo>
                    <a:pt x="307" y="227"/>
                  </a:lnTo>
                  <a:lnTo>
                    <a:pt x="285" y="253"/>
                  </a:lnTo>
                  <a:lnTo>
                    <a:pt x="295" y="258"/>
                  </a:lnTo>
                  <a:lnTo>
                    <a:pt x="318" y="259"/>
                  </a:lnTo>
                  <a:lnTo>
                    <a:pt x="314" y="261"/>
                  </a:lnTo>
                  <a:lnTo>
                    <a:pt x="287" y="261"/>
                  </a:lnTo>
                  <a:lnTo>
                    <a:pt x="280" y="264"/>
                  </a:lnTo>
                  <a:lnTo>
                    <a:pt x="279" y="268"/>
                  </a:lnTo>
                  <a:lnTo>
                    <a:pt x="291" y="282"/>
                  </a:lnTo>
                  <a:lnTo>
                    <a:pt x="302" y="288"/>
                  </a:lnTo>
                  <a:lnTo>
                    <a:pt x="299" y="293"/>
                  </a:lnTo>
                  <a:lnTo>
                    <a:pt x="279" y="279"/>
                  </a:lnTo>
                  <a:lnTo>
                    <a:pt x="280" y="287"/>
                  </a:lnTo>
                  <a:lnTo>
                    <a:pt x="273" y="318"/>
                  </a:lnTo>
                  <a:lnTo>
                    <a:pt x="270" y="323"/>
                  </a:lnTo>
                  <a:lnTo>
                    <a:pt x="269" y="306"/>
                  </a:lnTo>
                  <a:lnTo>
                    <a:pt x="263" y="331"/>
                  </a:lnTo>
                  <a:lnTo>
                    <a:pt x="251" y="356"/>
                  </a:lnTo>
                  <a:lnTo>
                    <a:pt x="226" y="379"/>
                  </a:lnTo>
                  <a:lnTo>
                    <a:pt x="189" y="388"/>
                  </a:lnTo>
                  <a:lnTo>
                    <a:pt x="155" y="393"/>
                  </a:lnTo>
                  <a:lnTo>
                    <a:pt x="127" y="401"/>
                  </a:lnTo>
                  <a:lnTo>
                    <a:pt x="117" y="400"/>
                  </a:lnTo>
                  <a:lnTo>
                    <a:pt x="125" y="397"/>
                  </a:lnTo>
                  <a:lnTo>
                    <a:pt x="124" y="393"/>
                  </a:lnTo>
                  <a:lnTo>
                    <a:pt x="102" y="395"/>
                  </a:lnTo>
                  <a:lnTo>
                    <a:pt x="102" y="397"/>
                  </a:lnTo>
                  <a:lnTo>
                    <a:pt x="103" y="401"/>
                  </a:lnTo>
                  <a:lnTo>
                    <a:pt x="101" y="419"/>
                  </a:lnTo>
                  <a:lnTo>
                    <a:pt x="101" y="435"/>
                  </a:lnTo>
                  <a:lnTo>
                    <a:pt x="98" y="453"/>
                  </a:lnTo>
                  <a:lnTo>
                    <a:pt x="103" y="455"/>
                  </a:lnTo>
                  <a:lnTo>
                    <a:pt x="108" y="452"/>
                  </a:lnTo>
                  <a:lnTo>
                    <a:pt x="102" y="459"/>
                  </a:lnTo>
                  <a:lnTo>
                    <a:pt x="88" y="465"/>
                  </a:lnTo>
                  <a:lnTo>
                    <a:pt x="85" y="471"/>
                  </a:lnTo>
                  <a:lnTo>
                    <a:pt x="79" y="471"/>
                  </a:lnTo>
                  <a:lnTo>
                    <a:pt x="86" y="465"/>
                  </a:lnTo>
                  <a:lnTo>
                    <a:pt x="88" y="457"/>
                  </a:lnTo>
                  <a:lnTo>
                    <a:pt x="86" y="458"/>
                  </a:lnTo>
                  <a:lnTo>
                    <a:pt x="71" y="468"/>
                  </a:lnTo>
                  <a:lnTo>
                    <a:pt x="69" y="474"/>
                  </a:lnTo>
                  <a:lnTo>
                    <a:pt x="102" y="489"/>
                  </a:lnTo>
                  <a:lnTo>
                    <a:pt x="112" y="500"/>
                  </a:lnTo>
                  <a:lnTo>
                    <a:pt x="118" y="511"/>
                  </a:lnTo>
                  <a:lnTo>
                    <a:pt x="140" y="524"/>
                  </a:lnTo>
                  <a:lnTo>
                    <a:pt x="152" y="527"/>
                  </a:lnTo>
                  <a:lnTo>
                    <a:pt x="182" y="556"/>
                  </a:lnTo>
                  <a:lnTo>
                    <a:pt x="206" y="572"/>
                  </a:lnTo>
                  <a:lnTo>
                    <a:pt x="221" y="587"/>
                  </a:lnTo>
                  <a:lnTo>
                    <a:pt x="221" y="592"/>
                  </a:lnTo>
                  <a:lnTo>
                    <a:pt x="230" y="599"/>
                  </a:lnTo>
                  <a:lnTo>
                    <a:pt x="233" y="608"/>
                  </a:lnTo>
                  <a:lnTo>
                    <a:pt x="237" y="621"/>
                  </a:lnTo>
                  <a:lnTo>
                    <a:pt x="241" y="626"/>
                  </a:lnTo>
                  <a:lnTo>
                    <a:pt x="238" y="629"/>
                  </a:lnTo>
                  <a:lnTo>
                    <a:pt x="240" y="641"/>
                  </a:lnTo>
                  <a:lnTo>
                    <a:pt x="244" y="657"/>
                  </a:lnTo>
                  <a:lnTo>
                    <a:pt x="259" y="659"/>
                  </a:lnTo>
                  <a:lnTo>
                    <a:pt x="268" y="666"/>
                  </a:lnTo>
                  <a:lnTo>
                    <a:pt x="291" y="675"/>
                  </a:lnTo>
                  <a:lnTo>
                    <a:pt x="287" y="670"/>
                  </a:lnTo>
                  <a:lnTo>
                    <a:pt x="292" y="666"/>
                  </a:lnTo>
                  <a:lnTo>
                    <a:pt x="294" y="658"/>
                  </a:lnTo>
                  <a:lnTo>
                    <a:pt x="308" y="659"/>
                  </a:lnTo>
                  <a:lnTo>
                    <a:pt x="310" y="657"/>
                  </a:lnTo>
                  <a:lnTo>
                    <a:pt x="307" y="651"/>
                  </a:lnTo>
                  <a:lnTo>
                    <a:pt x="313" y="648"/>
                  </a:lnTo>
                  <a:lnTo>
                    <a:pt x="317" y="648"/>
                  </a:lnTo>
                  <a:lnTo>
                    <a:pt x="305" y="673"/>
                  </a:lnTo>
                  <a:lnTo>
                    <a:pt x="310" y="677"/>
                  </a:lnTo>
                  <a:lnTo>
                    <a:pt x="319" y="670"/>
                  </a:lnTo>
                  <a:lnTo>
                    <a:pt x="335" y="666"/>
                  </a:lnTo>
                  <a:lnTo>
                    <a:pt x="348" y="667"/>
                  </a:lnTo>
                  <a:lnTo>
                    <a:pt x="354" y="669"/>
                  </a:lnTo>
                  <a:lnTo>
                    <a:pt x="362" y="678"/>
                  </a:lnTo>
                  <a:lnTo>
                    <a:pt x="359" y="683"/>
                  </a:lnTo>
                  <a:lnTo>
                    <a:pt x="349" y="686"/>
                  </a:lnTo>
                  <a:lnTo>
                    <a:pt x="343" y="705"/>
                  </a:lnTo>
                  <a:lnTo>
                    <a:pt x="355" y="723"/>
                  </a:lnTo>
                  <a:lnTo>
                    <a:pt x="372" y="736"/>
                  </a:lnTo>
                  <a:lnTo>
                    <a:pt x="375" y="729"/>
                  </a:lnTo>
                  <a:lnTo>
                    <a:pt x="375" y="718"/>
                  </a:lnTo>
                  <a:lnTo>
                    <a:pt x="378" y="713"/>
                  </a:lnTo>
                  <a:lnTo>
                    <a:pt x="377" y="724"/>
                  </a:lnTo>
                  <a:lnTo>
                    <a:pt x="381" y="727"/>
                  </a:lnTo>
                  <a:lnTo>
                    <a:pt x="383" y="721"/>
                  </a:lnTo>
                  <a:lnTo>
                    <a:pt x="399" y="720"/>
                  </a:lnTo>
                  <a:lnTo>
                    <a:pt x="415" y="731"/>
                  </a:lnTo>
                  <a:lnTo>
                    <a:pt x="427" y="727"/>
                  </a:lnTo>
                  <a:lnTo>
                    <a:pt x="436" y="717"/>
                  </a:lnTo>
                  <a:lnTo>
                    <a:pt x="446" y="720"/>
                  </a:lnTo>
                  <a:lnTo>
                    <a:pt x="453" y="713"/>
                  </a:lnTo>
                  <a:lnTo>
                    <a:pt x="469" y="716"/>
                  </a:lnTo>
                  <a:lnTo>
                    <a:pt x="464" y="722"/>
                  </a:lnTo>
                  <a:lnTo>
                    <a:pt x="440" y="731"/>
                  </a:lnTo>
                  <a:lnTo>
                    <a:pt x="435" y="739"/>
                  </a:lnTo>
                  <a:lnTo>
                    <a:pt x="441" y="742"/>
                  </a:lnTo>
                  <a:lnTo>
                    <a:pt x="443" y="736"/>
                  </a:lnTo>
                  <a:lnTo>
                    <a:pt x="467" y="728"/>
                  </a:lnTo>
                  <a:lnTo>
                    <a:pt x="472" y="732"/>
                  </a:lnTo>
                  <a:lnTo>
                    <a:pt x="472" y="739"/>
                  </a:lnTo>
                  <a:lnTo>
                    <a:pt x="464" y="745"/>
                  </a:lnTo>
                  <a:lnTo>
                    <a:pt x="442" y="747"/>
                  </a:lnTo>
                  <a:lnTo>
                    <a:pt x="434" y="750"/>
                  </a:lnTo>
                  <a:lnTo>
                    <a:pt x="430" y="756"/>
                  </a:lnTo>
                  <a:lnTo>
                    <a:pt x="410" y="759"/>
                  </a:lnTo>
                  <a:lnTo>
                    <a:pt x="403" y="758"/>
                  </a:lnTo>
                  <a:lnTo>
                    <a:pt x="398" y="750"/>
                  </a:lnTo>
                  <a:lnTo>
                    <a:pt x="392" y="748"/>
                  </a:lnTo>
                  <a:lnTo>
                    <a:pt x="389" y="744"/>
                  </a:lnTo>
                  <a:lnTo>
                    <a:pt x="382" y="743"/>
                  </a:lnTo>
                  <a:lnTo>
                    <a:pt x="381" y="737"/>
                  </a:lnTo>
                  <a:lnTo>
                    <a:pt x="376" y="738"/>
                  </a:lnTo>
                  <a:lnTo>
                    <a:pt x="369" y="744"/>
                  </a:lnTo>
                  <a:lnTo>
                    <a:pt x="351" y="744"/>
                  </a:lnTo>
                  <a:lnTo>
                    <a:pt x="342" y="736"/>
                  </a:lnTo>
                  <a:lnTo>
                    <a:pt x="332" y="717"/>
                  </a:lnTo>
                  <a:lnTo>
                    <a:pt x="338" y="734"/>
                  </a:lnTo>
                  <a:lnTo>
                    <a:pt x="344" y="744"/>
                  </a:lnTo>
                  <a:lnTo>
                    <a:pt x="339" y="755"/>
                  </a:lnTo>
                  <a:lnTo>
                    <a:pt x="339" y="766"/>
                  </a:lnTo>
                  <a:lnTo>
                    <a:pt x="346" y="769"/>
                  </a:lnTo>
                  <a:lnTo>
                    <a:pt x="344" y="764"/>
                  </a:lnTo>
                  <a:lnTo>
                    <a:pt x="349" y="753"/>
                  </a:lnTo>
                  <a:lnTo>
                    <a:pt x="361" y="755"/>
                  </a:lnTo>
                  <a:lnTo>
                    <a:pt x="388" y="764"/>
                  </a:lnTo>
                  <a:lnTo>
                    <a:pt x="394" y="771"/>
                  </a:lnTo>
                  <a:lnTo>
                    <a:pt x="393" y="780"/>
                  </a:lnTo>
                  <a:lnTo>
                    <a:pt x="385" y="791"/>
                  </a:lnTo>
                  <a:lnTo>
                    <a:pt x="386" y="785"/>
                  </a:lnTo>
                  <a:lnTo>
                    <a:pt x="383" y="779"/>
                  </a:lnTo>
                  <a:lnTo>
                    <a:pt x="364" y="771"/>
                  </a:lnTo>
                  <a:lnTo>
                    <a:pt x="354" y="793"/>
                  </a:lnTo>
                  <a:lnTo>
                    <a:pt x="350" y="802"/>
                  </a:lnTo>
                  <a:lnTo>
                    <a:pt x="350" y="809"/>
                  </a:lnTo>
                  <a:lnTo>
                    <a:pt x="346" y="814"/>
                  </a:lnTo>
                  <a:lnTo>
                    <a:pt x="339" y="810"/>
                  </a:lnTo>
                  <a:lnTo>
                    <a:pt x="337" y="804"/>
                  </a:lnTo>
                  <a:lnTo>
                    <a:pt x="332" y="798"/>
                  </a:lnTo>
                  <a:lnTo>
                    <a:pt x="322" y="801"/>
                  </a:lnTo>
                  <a:lnTo>
                    <a:pt x="321" y="803"/>
                  </a:lnTo>
                  <a:lnTo>
                    <a:pt x="314" y="799"/>
                  </a:lnTo>
                  <a:lnTo>
                    <a:pt x="302" y="802"/>
                  </a:lnTo>
                  <a:lnTo>
                    <a:pt x="300" y="797"/>
                  </a:lnTo>
                  <a:lnTo>
                    <a:pt x="296" y="801"/>
                  </a:lnTo>
                  <a:lnTo>
                    <a:pt x="297" y="795"/>
                  </a:lnTo>
                  <a:lnTo>
                    <a:pt x="289" y="796"/>
                  </a:lnTo>
                  <a:lnTo>
                    <a:pt x="285" y="802"/>
                  </a:lnTo>
                  <a:lnTo>
                    <a:pt x="280" y="799"/>
                  </a:lnTo>
                  <a:lnTo>
                    <a:pt x="269" y="797"/>
                  </a:lnTo>
                  <a:lnTo>
                    <a:pt x="246" y="799"/>
                  </a:lnTo>
                  <a:lnTo>
                    <a:pt x="237" y="792"/>
                  </a:lnTo>
                  <a:lnTo>
                    <a:pt x="237" y="782"/>
                  </a:lnTo>
                  <a:lnTo>
                    <a:pt x="221" y="781"/>
                  </a:lnTo>
                  <a:lnTo>
                    <a:pt x="238" y="767"/>
                  </a:lnTo>
                  <a:lnTo>
                    <a:pt x="237" y="756"/>
                  </a:lnTo>
                  <a:lnTo>
                    <a:pt x="238" y="744"/>
                  </a:lnTo>
                  <a:lnTo>
                    <a:pt x="237" y="736"/>
                  </a:lnTo>
                  <a:lnTo>
                    <a:pt x="227" y="729"/>
                  </a:lnTo>
                  <a:lnTo>
                    <a:pt x="230" y="727"/>
                  </a:lnTo>
                  <a:lnTo>
                    <a:pt x="246" y="724"/>
                  </a:lnTo>
                  <a:lnTo>
                    <a:pt x="227" y="723"/>
                  </a:lnTo>
                  <a:lnTo>
                    <a:pt x="215" y="727"/>
                  </a:lnTo>
                  <a:lnTo>
                    <a:pt x="188" y="728"/>
                  </a:lnTo>
                  <a:lnTo>
                    <a:pt x="172" y="747"/>
                  </a:lnTo>
                  <a:lnTo>
                    <a:pt x="160" y="749"/>
                  </a:lnTo>
                  <a:lnTo>
                    <a:pt x="154" y="753"/>
                  </a:lnTo>
                  <a:lnTo>
                    <a:pt x="149" y="752"/>
                  </a:lnTo>
                  <a:lnTo>
                    <a:pt x="136" y="761"/>
                  </a:lnTo>
                  <a:lnTo>
                    <a:pt x="125" y="772"/>
                  </a:lnTo>
                  <a:lnTo>
                    <a:pt x="135" y="780"/>
                  </a:lnTo>
                  <a:lnTo>
                    <a:pt x="141" y="790"/>
                  </a:lnTo>
                  <a:lnTo>
                    <a:pt x="136" y="792"/>
                  </a:lnTo>
                  <a:lnTo>
                    <a:pt x="115" y="793"/>
                  </a:lnTo>
                  <a:lnTo>
                    <a:pt x="111" y="790"/>
                  </a:lnTo>
                  <a:lnTo>
                    <a:pt x="109" y="783"/>
                  </a:lnTo>
                  <a:lnTo>
                    <a:pt x="101" y="787"/>
                  </a:lnTo>
                  <a:lnTo>
                    <a:pt x="77" y="802"/>
                  </a:lnTo>
                  <a:lnTo>
                    <a:pt x="71" y="810"/>
                  </a:lnTo>
                  <a:lnTo>
                    <a:pt x="68" y="808"/>
                  </a:lnTo>
                  <a:lnTo>
                    <a:pt x="66" y="814"/>
                  </a:lnTo>
                  <a:lnTo>
                    <a:pt x="61" y="823"/>
                  </a:lnTo>
                  <a:lnTo>
                    <a:pt x="50" y="828"/>
                  </a:lnTo>
                  <a:lnTo>
                    <a:pt x="45" y="822"/>
                  </a:lnTo>
                  <a:lnTo>
                    <a:pt x="36" y="829"/>
                  </a:lnTo>
                  <a:lnTo>
                    <a:pt x="32" y="835"/>
                  </a:lnTo>
                  <a:lnTo>
                    <a:pt x="32" y="840"/>
                  </a:lnTo>
                  <a:lnTo>
                    <a:pt x="34" y="842"/>
                  </a:lnTo>
                  <a:lnTo>
                    <a:pt x="11" y="855"/>
                  </a:lnTo>
                  <a:lnTo>
                    <a:pt x="6" y="856"/>
                  </a:lnTo>
                  <a:lnTo>
                    <a:pt x="12" y="842"/>
                  </a:lnTo>
                  <a:lnTo>
                    <a:pt x="0" y="850"/>
                  </a:lnTo>
                  <a:lnTo>
                    <a:pt x="0" y="858"/>
                  </a:lnTo>
                  <a:lnTo>
                    <a:pt x="6" y="865"/>
                  </a:lnTo>
                  <a:lnTo>
                    <a:pt x="43" y="889"/>
                  </a:lnTo>
                  <a:lnTo>
                    <a:pt x="71" y="899"/>
                  </a:lnTo>
                  <a:lnTo>
                    <a:pt x="75" y="898"/>
                  </a:lnTo>
                  <a:lnTo>
                    <a:pt x="70" y="890"/>
                  </a:lnTo>
                  <a:lnTo>
                    <a:pt x="107" y="903"/>
                  </a:lnTo>
                  <a:lnTo>
                    <a:pt x="90" y="910"/>
                  </a:lnTo>
                  <a:lnTo>
                    <a:pt x="81" y="922"/>
                  </a:lnTo>
                  <a:lnTo>
                    <a:pt x="72" y="919"/>
                  </a:lnTo>
                  <a:lnTo>
                    <a:pt x="74" y="911"/>
                  </a:lnTo>
                  <a:lnTo>
                    <a:pt x="70" y="906"/>
                  </a:lnTo>
                  <a:lnTo>
                    <a:pt x="68" y="915"/>
                  </a:lnTo>
                  <a:lnTo>
                    <a:pt x="80" y="941"/>
                  </a:lnTo>
                  <a:lnTo>
                    <a:pt x="91" y="952"/>
                  </a:lnTo>
                  <a:lnTo>
                    <a:pt x="91" y="963"/>
                  </a:lnTo>
                  <a:lnTo>
                    <a:pt x="88" y="976"/>
                  </a:lnTo>
                  <a:lnTo>
                    <a:pt x="100" y="990"/>
                  </a:lnTo>
                  <a:lnTo>
                    <a:pt x="104" y="991"/>
                  </a:lnTo>
                  <a:lnTo>
                    <a:pt x="108" y="996"/>
                  </a:lnTo>
                  <a:lnTo>
                    <a:pt x="150" y="1005"/>
                  </a:lnTo>
                  <a:lnTo>
                    <a:pt x="160" y="1003"/>
                  </a:lnTo>
                  <a:lnTo>
                    <a:pt x="179" y="1013"/>
                  </a:lnTo>
                  <a:lnTo>
                    <a:pt x="210" y="997"/>
                  </a:lnTo>
                  <a:lnTo>
                    <a:pt x="231" y="1001"/>
                  </a:lnTo>
                  <a:lnTo>
                    <a:pt x="247" y="996"/>
                  </a:lnTo>
                  <a:lnTo>
                    <a:pt x="263" y="1003"/>
                  </a:lnTo>
                  <a:lnTo>
                    <a:pt x="275" y="1017"/>
                  </a:lnTo>
                  <a:lnTo>
                    <a:pt x="278" y="1013"/>
                  </a:lnTo>
                  <a:lnTo>
                    <a:pt x="279" y="1003"/>
                  </a:lnTo>
                  <a:lnTo>
                    <a:pt x="270" y="1001"/>
                  </a:lnTo>
                  <a:lnTo>
                    <a:pt x="263" y="995"/>
                  </a:lnTo>
                  <a:lnTo>
                    <a:pt x="260" y="990"/>
                  </a:lnTo>
                  <a:lnTo>
                    <a:pt x="275" y="989"/>
                  </a:lnTo>
                  <a:lnTo>
                    <a:pt x="280" y="997"/>
                  </a:lnTo>
                  <a:lnTo>
                    <a:pt x="290" y="1005"/>
                  </a:lnTo>
                  <a:lnTo>
                    <a:pt x="294" y="1033"/>
                  </a:lnTo>
                  <a:lnTo>
                    <a:pt x="297" y="1033"/>
                  </a:lnTo>
                  <a:lnTo>
                    <a:pt x="303" y="1017"/>
                  </a:lnTo>
                  <a:lnTo>
                    <a:pt x="312" y="1002"/>
                  </a:lnTo>
                  <a:lnTo>
                    <a:pt x="324" y="990"/>
                  </a:lnTo>
                  <a:lnTo>
                    <a:pt x="330" y="981"/>
                  </a:lnTo>
                  <a:lnTo>
                    <a:pt x="351" y="971"/>
                  </a:lnTo>
                  <a:lnTo>
                    <a:pt x="350" y="964"/>
                  </a:lnTo>
                  <a:lnTo>
                    <a:pt x="365" y="970"/>
                  </a:lnTo>
                  <a:lnTo>
                    <a:pt x="371" y="969"/>
                  </a:lnTo>
                  <a:lnTo>
                    <a:pt x="377" y="962"/>
                  </a:lnTo>
                  <a:lnTo>
                    <a:pt x="389" y="954"/>
                  </a:lnTo>
                  <a:lnTo>
                    <a:pt x="400" y="968"/>
                  </a:lnTo>
                  <a:lnTo>
                    <a:pt x="405" y="970"/>
                  </a:lnTo>
                  <a:lnTo>
                    <a:pt x="405" y="984"/>
                  </a:lnTo>
                  <a:lnTo>
                    <a:pt x="400" y="995"/>
                  </a:lnTo>
                  <a:lnTo>
                    <a:pt x="394" y="1003"/>
                  </a:lnTo>
                  <a:lnTo>
                    <a:pt x="382" y="1008"/>
                  </a:lnTo>
                  <a:lnTo>
                    <a:pt x="373" y="1003"/>
                  </a:lnTo>
                  <a:lnTo>
                    <a:pt x="365" y="1003"/>
                  </a:lnTo>
                  <a:lnTo>
                    <a:pt x="365" y="1014"/>
                  </a:lnTo>
                  <a:lnTo>
                    <a:pt x="367" y="1021"/>
                  </a:lnTo>
                  <a:lnTo>
                    <a:pt x="372" y="1016"/>
                  </a:lnTo>
                  <a:lnTo>
                    <a:pt x="382" y="1019"/>
                  </a:lnTo>
                  <a:lnTo>
                    <a:pt x="387" y="1033"/>
                  </a:lnTo>
                  <a:lnTo>
                    <a:pt x="397" y="1052"/>
                  </a:lnTo>
                  <a:lnTo>
                    <a:pt x="396" y="1061"/>
                  </a:lnTo>
                  <a:lnTo>
                    <a:pt x="394" y="1065"/>
                  </a:lnTo>
                  <a:lnTo>
                    <a:pt x="400" y="1070"/>
                  </a:lnTo>
                  <a:lnTo>
                    <a:pt x="403" y="1077"/>
                  </a:lnTo>
                  <a:lnTo>
                    <a:pt x="404" y="1084"/>
                  </a:lnTo>
                  <a:lnTo>
                    <a:pt x="403" y="1098"/>
                  </a:lnTo>
                  <a:lnTo>
                    <a:pt x="394" y="1115"/>
                  </a:lnTo>
                  <a:lnTo>
                    <a:pt x="387" y="1125"/>
                  </a:lnTo>
                  <a:lnTo>
                    <a:pt x="380" y="1132"/>
                  </a:lnTo>
                  <a:lnTo>
                    <a:pt x="371" y="1135"/>
                  </a:lnTo>
                  <a:lnTo>
                    <a:pt x="360" y="1135"/>
                  </a:lnTo>
                  <a:lnTo>
                    <a:pt x="353" y="1140"/>
                  </a:lnTo>
                  <a:lnTo>
                    <a:pt x="344" y="1138"/>
                  </a:lnTo>
                  <a:lnTo>
                    <a:pt x="326" y="1143"/>
                  </a:lnTo>
                  <a:lnTo>
                    <a:pt x="322" y="1143"/>
                  </a:lnTo>
                  <a:lnTo>
                    <a:pt x="332" y="1132"/>
                  </a:lnTo>
                  <a:lnTo>
                    <a:pt x="330" y="1130"/>
                  </a:lnTo>
                  <a:lnTo>
                    <a:pt x="321" y="1131"/>
                  </a:lnTo>
                  <a:lnTo>
                    <a:pt x="317" y="1135"/>
                  </a:lnTo>
                  <a:lnTo>
                    <a:pt x="312" y="1147"/>
                  </a:lnTo>
                  <a:lnTo>
                    <a:pt x="303" y="1158"/>
                  </a:lnTo>
                  <a:lnTo>
                    <a:pt x="286" y="1174"/>
                  </a:lnTo>
                  <a:lnTo>
                    <a:pt x="280" y="1183"/>
                  </a:lnTo>
                  <a:lnTo>
                    <a:pt x="271" y="1186"/>
                  </a:lnTo>
                  <a:lnTo>
                    <a:pt x="260" y="1183"/>
                  </a:lnTo>
                  <a:lnTo>
                    <a:pt x="256" y="1179"/>
                  </a:lnTo>
                  <a:lnTo>
                    <a:pt x="240" y="1191"/>
                  </a:lnTo>
                  <a:lnTo>
                    <a:pt x="222" y="1197"/>
                  </a:lnTo>
                  <a:lnTo>
                    <a:pt x="219" y="1202"/>
                  </a:lnTo>
                  <a:lnTo>
                    <a:pt x="217" y="1207"/>
                  </a:lnTo>
                  <a:lnTo>
                    <a:pt x="220" y="1211"/>
                  </a:lnTo>
                  <a:lnTo>
                    <a:pt x="222" y="1219"/>
                  </a:lnTo>
                  <a:lnTo>
                    <a:pt x="219" y="1224"/>
                  </a:lnTo>
                  <a:lnTo>
                    <a:pt x="201" y="1221"/>
                  </a:lnTo>
                  <a:lnTo>
                    <a:pt x="190" y="1223"/>
                  </a:lnTo>
                  <a:lnTo>
                    <a:pt x="178" y="1237"/>
                  </a:lnTo>
                  <a:lnTo>
                    <a:pt x="174" y="1245"/>
                  </a:lnTo>
                  <a:lnTo>
                    <a:pt x="170" y="1243"/>
                  </a:lnTo>
                  <a:lnTo>
                    <a:pt x="162" y="1244"/>
                  </a:lnTo>
                  <a:lnTo>
                    <a:pt x="145" y="1266"/>
                  </a:lnTo>
                  <a:lnTo>
                    <a:pt x="142" y="1267"/>
                  </a:lnTo>
                  <a:lnTo>
                    <a:pt x="139" y="1271"/>
                  </a:lnTo>
                  <a:lnTo>
                    <a:pt x="138" y="1277"/>
                  </a:lnTo>
                  <a:lnTo>
                    <a:pt x="128" y="1299"/>
                  </a:lnTo>
                  <a:lnTo>
                    <a:pt x="127" y="1305"/>
                  </a:lnTo>
                  <a:lnTo>
                    <a:pt x="128" y="1323"/>
                  </a:lnTo>
                  <a:lnTo>
                    <a:pt x="125" y="1328"/>
                  </a:lnTo>
                  <a:lnTo>
                    <a:pt x="117" y="1330"/>
                  </a:lnTo>
                  <a:lnTo>
                    <a:pt x="111" y="1329"/>
                  </a:lnTo>
                  <a:lnTo>
                    <a:pt x="107" y="1330"/>
                  </a:lnTo>
                  <a:lnTo>
                    <a:pt x="107" y="1336"/>
                  </a:lnTo>
                  <a:lnTo>
                    <a:pt x="118" y="1345"/>
                  </a:lnTo>
                  <a:lnTo>
                    <a:pt x="115" y="1348"/>
                  </a:lnTo>
                  <a:lnTo>
                    <a:pt x="104" y="1351"/>
                  </a:lnTo>
                  <a:lnTo>
                    <a:pt x="102" y="1358"/>
                  </a:lnTo>
                  <a:lnTo>
                    <a:pt x="101" y="1366"/>
                  </a:lnTo>
                  <a:lnTo>
                    <a:pt x="104" y="1363"/>
                  </a:lnTo>
                  <a:lnTo>
                    <a:pt x="124" y="1360"/>
                  </a:lnTo>
                  <a:lnTo>
                    <a:pt x="131" y="1357"/>
                  </a:lnTo>
                  <a:lnTo>
                    <a:pt x="138" y="1351"/>
                  </a:lnTo>
                  <a:lnTo>
                    <a:pt x="156" y="1348"/>
                  </a:lnTo>
                  <a:lnTo>
                    <a:pt x="157" y="1352"/>
                  </a:lnTo>
                  <a:lnTo>
                    <a:pt x="151" y="1355"/>
                  </a:lnTo>
                  <a:lnTo>
                    <a:pt x="155" y="1358"/>
                  </a:lnTo>
                  <a:lnTo>
                    <a:pt x="134" y="1362"/>
                  </a:lnTo>
                  <a:lnTo>
                    <a:pt x="125" y="1366"/>
                  </a:lnTo>
                  <a:lnTo>
                    <a:pt x="119" y="1373"/>
                  </a:lnTo>
                  <a:lnTo>
                    <a:pt x="118" y="1378"/>
                  </a:lnTo>
                  <a:lnTo>
                    <a:pt x="133" y="1388"/>
                  </a:lnTo>
                  <a:lnTo>
                    <a:pt x="145" y="1378"/>
                  </a:lnTo>
                  <a:lnTo>
                    <a:pt x="151" y="1379"/>
                  </a:lnTo>
                  <a:lnTo>
                    <a:pt x="146" y="1385"/>
                  </a:lnTo>
                  <a:lnTo>
                    <a:pt x="144" y="1394"/>
                  </a:lnTo>
                  <a:lnTo>
                    <a:pt x="147" y="1405"/>
                  </a:lnTo>
                  <a:lnTo>
                    <a:pt x="151" y="1410"/>
                  </a:lnTo>
                  <a:lnTo>
                    <a:pt x="152" y="1417"/>
                  </a:lnTo>
                  <a:lnTo>
                    <a:pt x="156" y="1423"/>
                  </a:lnTo>
                  <a:lnTo>
                    <a:pt x="161" y="1427"/>
                  </a:lnTo>
                  <a:lnTo>
                    <a:pt x="165" y="1425"/>
                  </a:lnTo>
                  <a:lnTo>
                    <a:pt x="174" y="1411"/>
                  </a:lnTo>
                  <a:lnTo>
                    <a:pt x="176" y="1420"/>
                  </a:lnTo>
                  <a:lnTo>
                    <a:pt x="179" y="1422"/>
                  </a:lnTo>
                  <a:lnTo>
                    <a:pt x="193" y="1420"/>
                  </a:lnTo>
                  <a:lnTo>
                    <a:pt x="184" y="1436"/>
                  </a:lnTo>
                  <a:lnTo>
                    <a:pt x="197" y="1441"/>
                  </a:lnTo>
                  <a:lnTo>
                    <a:pt x="219" y="1446"/>
                  </a:lnTo>
                  <a:lnTo>
                    <a:pt x="230" y="1439"/>
                  </a:lnTo>
                  <a:lnTo>
                    <a:pt x="238" y="1439"/>
                  </a:lnTo>
                  <a:lnTo>
                    <a:pt x="242" y="1449"/>
                  </a:lnTo>
                  <a:lnTo>
                    <a:pt x="237" y="1457"/>
                  </a:lnTo>
                  <a:lnTo>
                    <a:pt x="220" y="1463"/>
                  </a:lnTo>
                  <a:lnTo>
                    <a:pt x="214" y="1474"/>
                  </a:lnTo>
                  <a:lnTo>
                    <a:pt x="203" y="1487"/>
                  </a:lnTo>
                  <a:lnTo>
                    <a:pt x="197" y="1497"/>
                  </a:lnTo>
                  <a:lnTo>
                    <a:pt x="194" y="1506"/>
                  </a:lnTo>
                  <a:lnTo>
                    <a:pt x="194" y="1514"/>
                  </a:lnTo>
                  <a:lnTo>
                    <a:pt x="204" y="1533"/>
                  </a:lnTo>
                  <a:lnTo>
                    <a:pt x="209" y="1534"/>
                  </a:lnTo>
                  <a:lnTo>
                    <a:pt x="216" y="1529"/>
                  </a:lnTo>
                  <a:lnTo>
                    <a:pt x="224" y="1527"/>
                  </a:lnTo>
                  <a:lnTo>
                    <a:pt x="226" y="1531"/>
                  </a:lnTo>
                  <a:lnTo>
                    <a:pt x="222" y="1535"/>
                  </a:lnTo>
                  <a:lnTo>
                    <a:pt x="224" y="1538"/>
                  </a:lnTo>
                  <a:lnTo>
                    <a:pt x="237" y="1538"/>
                  </a:lnTo>
                  <a:lnTo>
                    <a:pt x="235" y="1540"/>
                  </a:lnTo>
                  <a:lnTo>
                    <a:pt x="222" y="1541"/>
                  </a:lnTo>
                  <a:lnTo>
                    <a:pt x="215" y="1546"/>
                  </a:lnTo>
                  <a:lnTo>
                    <a:pt x="220" y="1554"/>
                  </a:lnTo>
                  <a:lnTo>
                    <a:pt x="232" y="1563"/>
                  </a:lnTo>
                  <a:lnTo>
                    <a:pt x="238" y="1563"/>
                  </a:lnTo>
                  <a:lnTo>
                    <a:pt x="243" y="1566"/>
                  </a:lnTo>
                  <a:lnTo>
                    <a:pt x="248" y="1565"/>
                  </a:lnTo>
                  <a:lnTo>
                    <a:pt x="254" y="1568"/>
                  </a:lnTo>
                  <a:lnTo>
                    <a:pt x="262" y="1567"/>
                  </a:lnTo>
                  <a:lnTo>
                    <a:pt x="269" y="1571"/>
                  </a:lnTo>
                  <a:lnTo>
                    <a:pt x="276" y="1571"/>
                  </a:lnTo>
                  <a:lnTo>
                    <a:pt x="278" y="1565"/>
                  </a:lnTo>
                  <a:lnTo>
                    <a:pt x="285" y="1559"/>
                  </a:lnTo>
                  <a:lnTo>
                    <a:pt x="301" y="1536"/>
                  </a:lnTo>
                  <a:lnTo>
                    <a:pt x="307" y="1519"/>
                  </a:lnTo>
                  <a:lnTo>
                    <a:pt x="313" y="1517"/>
                  </a:lnTo>
                  <a:lnTo>
                    <a:pt x="312" y="1512"/>
                  </a:lnTo>
                  <a:lnTo>
                    <a:pt x="305" y="1507"/>
                  </a:lnTo>
                  <a:lnTo>
                    <a:pt x="301" y="1496"/>
                  </a:lnTo>
                  <a:lnTo>
                    <a:pt x="318" y="1468"/>
                  </a:lnTo>
                  <a:lnTo>
                    <a:pt x="334" y="1457"/>
                  </a:lnTo>
                  <a:lnTo>
                    <a:pt x="342" y="1447"/>
                  </a:lnTo>
                  <a:lnTo>
                    <a:pt x="348" y="1442"/>
                  </a:lnTo>
                  <a:lnTo>
                    <a:pt x="361" y="1441"/>
                  </a:lnTo>
                  <a:lnTo>
                    <a:pt x="328" y="1471"/>
                  </a:lnTo>
                  <a:lnTo>
                    <a:pt x="312" y="1495"/>
                  </a:lnTo>
                  <a:lnTo>
                    <a:pt x="311" y="1501"/>
                  </a:lnTo>
                  <a:lnTo>
                    <a:pt x="312" y="1504"/>
                  </a:lnTo>
                  <a:lnTo>
                    <a:pt x="318" y="1509"/>
                  </a:lnTo>
                  <a:lnTo>
                    <a:pt x="321" y="1519"/>
                  </a:lnTo>
                  <a:lnTo>
                    <a:pt x="322" y="1528"/>
                  </a:lnTo>
                  <a:lnTo>
                    <a:pt x="326" y="1538"/>
                  </a:lnTo>
                  <a:lnTo>
                    <a:pt x="333" y="1546"/>
                  </a:lnTo>
                  <a:lnTo>
                    <a:pt x="343" y="1576"/>
                  </a:lnTo>
                  <a:lnTo>
                    <a:pt x="349" y="1583"/>
                  </a:lnTo>
                  <a:lnTo>
                    <a:pt x="349" y="1589"/>
                  </a:lnTo>
                  <a:lnTo>
                    <a:pt x="338" y="1604"/>
                  </a:lnTo>
                  <a:lnTo>
                    <a:pt x="337" y="1608"/>
                  </a:lnTo>
                  <a:lnTo>
                    <a:pt x="333" y="1609"/>
                  </a:lnTo>
                  <a:lnTo>
                    <a:pt x="332" y="1617"/>
                  </a:lnTo>
                  <a:lnTo>
                    <a:pt x="338" y="1631"/>
                  </a:lnTo>
                  <a:lnTo>
                    <a:pt x="343" y="1627"/>
                  </a:lnTo>
                  <a:lnTo>
                    <a:pt x="350" y="1627"/>
                  </a:lnTo>
                  <a:lnTo>
                    <a:pt x="356" y="1631"/>
                  </a:lnTo>
                  <a:lnTo>
                    <a:pt x="351" y="1633"/>
                  </a:lnTo>
                  <a:lnTo>
                    <a:pt x="345" y="1641"/>
                  </a:lnTo>
                  <a:lnTo>
                    <a:pt x="346" y="1657"/>
                  </a:lnTo>
                  <a:lnTo>
                    <a:pt x="351" y="1657"/>
                  </a:lnTo>
                  <a:lnTo>
                    <a:pt x="355" y="1660"/>
                  </a:lnTo>
                  <a:lnTo>
                    <a:pt x="351" y="1662"/>
                  </a:lnTo>
                  <a:lnTo>
                    <a:pt x="342" y="1673"/>
                  </a:lnTo>
                  <a:lnTo>
                    <a:pt x="333" y="1673"/>
                  </a:lnTo>
                  <a:lnTo>
                    <a:pt x="326" y="1680"/>
                  </a:lnTo>
                  <a:lnTo>
                    <a:pt x="345" y="1683"/>
                  </a:lnTo>
                  <a:lnTo>
                    <a:pt x="357" y="1676"/>
                  </a:lnTo>
                  <a:lnTo>
                    <a:pt x="366" y="1664"/>
                  </a:lnTo>
                  <a:lnTo>
                    <a:pt x="373" y="1662"/>
                  </a:lnTo>
                  <a:lnTo>
                    <a:pt x="388" y="1649"/>
                  </a:lnTo>
                  <a:lnTo>
                    <a:pt x="399" y="1649"/>
                  </a:lnTo>
                  <a:lnTo>
                    <a:pt x="413" y="1637"/>
                  </a:lnTo>
                  <a:lnTo>
                    <a:pt x="426" y="1611"/>
                  </a:lnTo>
                  <a:lnTo>
                    <a:pt x="429" y="1620"/>
                  </a:lnTo>
                  <a:lnTo>
                    <a:pt x="429" y="1630"/>
                  </a:lnTo>
                  <a:lnTo>
                    <a:pt x="425" y="1635"/>
                  </a:lnTo>
                  <a:lnTo>
                    <a:pt x="425" y="1642"/>
                  </a:lnTo>
                  <a:lnTo>
                    <a:pt x="426" y="1648"/>
                  </a:lnTo>
                  <a:lnTo>
                    <a:pt x="432" y="1654"/>
                  </a:lnTo>
                  <a:lnTo>
                    <a:pt x="436" y="1653"/>
                  </a:lnTo>
                  <a:lnTo>
                    <a:pt x="440" y="1659"/>
                  </a:lnTo>
                  <a:lnTo>
                    <a:pt x="446" y="1662"/>
                  </a:lnTo>
                  <a:lnTo>
                    <a:pt x="456" y="1653"/>
                  </a:lnTo>
                  <a:lnTo>
                    <a:pt x="458" y="1648"/>
                  </a:lnTo>
                  <a:lnTo>
                    <a:pt x="461" y="1652"/>
                  </a:lnTo>
                  <a:lnTo>
                    <a:pt x="466" y="1652"/>
                  </a:lnTo>
                  <a:lnTo>
                    <a:pt x="464" y="1658"/>
                  </a:lnTo>
                  <a:lnTo>
                    <a:pt x="470" y="1662"/>
                  </a:lnTo>
                  <a:lnTo>
                    <a:pt x="477" y="1670"/>
                  </a:lnTo>
                  <a:lnTo>
                    <a:pt x="491" y="1699"/>
                  </a:lnTo>
                  <a:lnTo>
                    <a:pt x="498" y="1703"/>
                  </a:lnTo>
                  <a:lnTo>
                    <a:pt x="501" y="1702"/>
                  </a:lnTo>
                  <a:lnTo>
                    <a:pt x="509" y="1694"/>
                  </a:lnTo>
                  <a:lnTo>
                    <a:pt x="509" y="1678"/>
                  </a:lnTo>
                  <a:lnTo>
                    <a:pt x="504" y="1668"/>
                  </a:lnTo>
                  <a:lnTo>
                    <a:pt x="506" y="1664"/>
                  </a:lnTo>
                  <a:lnTo>
                    <a:pt x="511" y="1654"/>
                  </a:lnTo>
                  <a:lnTo>
                    <a:pt x="520" y="1647"/>
                  </a:lnTo>
                  <a:lnTo>
                    <a:pt x="522" y="1641"/>
                  </a:lnTo>
                  <a:lnTo>
                    <a:pt x="526" y="1640"/>
                  </a:lnTo>
                  <a:lnTo>
                    <a:pt x="526" y="1647"/>
                  </a:lnTo>
                  <a:lnTo>
                    <a:pt x="522" y="1660"/>
                  </a:lnTo>
                  <a:lnTo>
                    <a:pt x="538" y="1676"/>
                  </a:lnTo>
                  <a:lnTo>
                    <a:pt x="548" y="1679"/>
                  </a:lnTo>
                  <a:lnTo>
                    <a:pt x="572" y="1667"/>
                  </a:lnTo>
                  <a:lnTo>
                    <a:pt x="590" y="1653"/>
                  </a:lnTo>
                  <a:lnTo>
                    <a:pt x="607" y="1636"/>
                  </a:lnTo>
                  <a:lnTo>
                    <a:pt x="619" y="1629"/>
                  </a:lnTo>
                  <a:lnTo>
                    <a:pt x="620" y="1632"/>
                  </a:lnTo>
                  <a:lnTo>
                    <a:pt x="606" y="1658"/>
                  </a:lnTo>
                  <a:lnTo>
                    <a:pt x="599" y="1663"/>
                  </a:lnTo>
                  <a:lnTo>
                    <a:pt x="603" y="1664"/>
                  </a:lnTo>
                  <a:lnTo>
                    <a:pt x="603" y="1667"/>
                  </a:lnTo>
                  <a:lnTo>
                    <a:pt x="595" y="1679"/>
                  </a:lnTo>
                  <a:lnTo>
                    <a:pt x="584" y="1686"/>
                  </a:lnTo>
                  <a:lnTo>
                    <a:pt x="579" y="1713"/>
                  </a:lnTo>
                  <a:lnTo>
                    <a:pt x="588" y="1714"/>
                  </a:lnTo>
                  <a:lnTo>
                    <a:pt x="575" y="1729"/>
                  </a:lnTo>
                  <a:lnTo>
                    <a:pt x="570" y="1760"/>
                  </a:lnTo>
                  <a:lnTo>
                    <a:pt x="569" y="1775"/>
                  </a:lnTo>
                  <a:lnTo>
                    <a:pt x="566" y="1783"/>
                  </a:lnTo>
                  <a:lnTo>
                    <a:pt x="560" y="1792"/>
                  </a:lnTo>
                  <a:lnTo>
                    <a:pt x="549" y="1814"/>
                  </a:lnTo>
                  <a:lnTo>
                    <a:pt x="545" y="1810"/>
                  </a:lnTo>
                  <a:lnTo>
                    <a:pt x="541" y="1812"/>
                  </a:lnTo>
                  <a:lnTo>
                    <a:pt x="538" y="1819"/>
                  </a:lnTo>
                  <a:lnTo>
                    <a:pt x="525" y="1837"/>
                  </a:lnTo>
                  <a:lnTo>
                    <a:pt x="522" y="1837"/>
                  </a:lnTo>
                  <a:lnTo>
                    <a:pt x="518" y="1846"/>
                  </a:lnTo>
                  <a:lnTo>
                    <a:pt x="516" y="1858"/>
                  </a:lnTo>
                  <a:lnTo>
                    <a:pt x="512" y="1866"/>
                  </a:lnTo>
                  <a:lnTo>
                    <a:pt x="506" y="1863"/>
                  </a:lnTo>
                  <a:lnTo>
                    <a:pt x="502" y="1867"/>
                  </a:lnTo>
                  <a:lnTo>
                    <a:pt x="498" y="1863"/>
                  </a:lnTo>
                  <a:lnTo>
                    <a:pt x="484" y="1877"/>
                  </a:lnTo>
                  <a:lnTo>
                    <a:pt x="472" y="1879"/>
                  </a:lnTo>
                  <a:lnTo>
                    <a:pt x="456" y="1891"/>
                  </a:lnTo>
                  <a:lnTo>
                    <a:pt x="451" y="1890"/>
                  </a:lnTo>
                  <a:lnTo>
                    <a:pt x="431" y="1910"/>
                  </a:lnTo>
                  <a:lnTo>
                    <a:pt x="423" y="1925"/>
                  </a:lnTo>
                  <a:lnTo>
                    <a:pt x="416" y="1932"/>
                  </a:lnTo>
                  <a:lnTo>
                    <a:pt x="414" y="1939"/>
                  </a:lnTo>
                  <a:lnTo>
                    <a:pt x="412" y="1952"/>
                  </a:lnTo>
                  <a:lnTo>
                    <a:pt x="410" y="1953"/>
                  </a:lnTo>
                  <a:lnTo>
                    <a:pt x="424" y="1958"/>
                  </a:lnTo>
                  <a:lnTo>
                    <a:pt x="427" y="1964"/>
                  </a:lnTo>
                  <a:lnTo>
                    <a:pt x="418" y="1963"/>
                  </a:lnTo>
                  <a:lnTo>
                    <a:pt x="412" y="1958"/>
                  </a:lnTo>
                  <a:lnTo>
                    <a:pt x="404" y="1955"/>
                  </a:lnTo>
                  <a:lnTo>
                    <a:pt x="403" y="1960"/>
                  </a:lnTo>
                  <a:lnTo>
                    <a:pt x="399" y="1963"/>
                  </a:lnTo>
                  <a:lnTo>
                    <a:pt x="394" y="1960"/>
                  </a:lnTo>
                  <a:lnTo>
                    <a:pt x="389" y="1953"/>
                  </a:lnTo>
                  <a:lnTo>
                    <a:pt x="393" y="1948"/>
                  </a:lnTo>
                  <a:lnTo>
                    <a:pt x="393" y="1943"/>
                  </a:lnTo>
                  <a:lnTo>
                    <a:pt x="383" y="1945"/>
                  </a:lnTo>
                  <a:lnTo>
                    <a:pt x="375" y="1942"/>
                  </a:lnTo>
                  <a:lnTo>
                    <a:pt x="370" y="1943"/>
                  </a:lnTo>
                  <a:lnTo>
                    <a:pt x="365" y="1947"/>
                  </a:lnTo>
                  <a:lnTo>
                    <a:pt x="349" y="1953"/>
                  </a:lnTo>
                  <a:lnTo>
                    <a:pt x="326" y="1968"/>
                  </a:lnTo>
                  <a:lnTo>
                    <a:pt x="310" y="1982"/>
                  </a:lnTo>
                  <a:lnTo>
                    <a:pt x="303" y="1992"/>
                  </a:lnTo>
                  <a:lnTo>
                    <a:pt x="301" y="1995"/>
                  </a:lnTo>
                  <a:lnTo>
                    <a:pt x="300" y="1997"/>
                  </a:lnTo>
                  <a:lnTo>
                    <a:pt x="300" y="2006"/>
                  </a:lnTo>
                  <a:lnTo>
                    <a:pt x="286" y="2013"/>
                  </a:lnTo>
                  <a:lnTo>
                    <a:pt x="286" y="2018"/>
                  </a:lnTo>
                  <a:lnTo>
                    <a:pt x="281" y="2022"/>
                  </a:lnTo>
                  <a:lnTo>
                    <a:pt x="276" y="2018"/>
                  </a:lnTo>
                  <a:lnTo>
                    <a:pt x="274" y="2018"/>
                  </a:lnTo>
                  <a:lnTo>
                    <a:pt x="270" y="2022"/>
                  </a:lnTo>
                  <a:lnTo>
                    <a:pt x="263" y="2026"/>
                  </a:lnTo>
                  <a:lnTo>
                    <a:pt x="258" y="2028"/>
                  </a:lnTo>
                  <a:lnTo>
                    <a:pt x="252" y="2031"/>
                  </a:lnTo>
                  <a:lnTo>
                    <a:pt x="252" y="2033"/>
                  </a:lnTo>
                  <a:lnTo>
                    <a:pt x="257" y="2033"/>
                  </a:lnTo>
                  <a:lnTo>
                    <a:pt x="260" y="2042"/>
                  </a:lnTo>
                  <a:lnTo>
                    <a:pt x="259" y="2054"/>
                  </a:lnTo>
                  <a:lnTo>
                    <a:pt x="263" y="2054"/>
                  </a:lnTo>
                  <a:lnTo>
                    <a:pt x="269" y="2050"/>
                  </a:lnTo>
                  <a:lnTo>
                    <a:pt x="271" y="2044"/>
                  </a:lnTo>
                  <a:lnTo>
                    <a:pt x="269" y="2031"/>
                  </a:lnTo>
                  <a:lnTo>
                    <a:pt x="274" y="2031"/>
                  </a:lnTo>
                  <a:lnTo>
                    <a:pt x="278" y="2040"/>
                  </a:lnTo>
                  <a:lnTo>
                    <a:pt x="284" y="2045"/>
                  </a:lnTo>
                  <a:lnTo>
                    <a:pt x="301" y="2038"/>
                  </a:lnTo>
                  <a:lnTo>
                    <a:pt x="297" y="2019"/>
                  </a:lnTo>
                  <a:lnTo>
                    <a:pt x="299" y="2017"/>
                  </a:lnTo>
                  <a:lnTo>
                    <a:pt x="305" y="2023"/>
                  </a:lnTo>
                  <a:lnTo>
                    <a:pt x="307" y="2028"/>
                  </a:lnTo>
                  <a:lnTo>
                    <a:pt x="306" y="2034"/>
                  </a:lnTo>
                  <a:lnTo>
                    <a:pt x="312" y="2034"/>
                  </a:lnTo>
                  <a:lnTo>
                    <a:pt x="316" y="2036"/>
                  </a:lnTo>
                  <a:lnTo>
                    <a:pt x="322" y="2033"/>
                  </a:lnTo>
                  <a:lnTo>
                    <a:pt x="324" y="2029"/>
                  </a:lnTo>
                  <a:lnTo>
                    <a:pt x="328" y="2031"/>
                  </a:lnTo>
                  <a:lnTo>
                    <a:pt x="332" y="2028"/>
                  </a:lnTo>
                  <a:lnTo>
                    <a:pt x="334" y="2020"/>
                  </a:lnTo>
                  <a:lnTo>
                    <a:pt x="342" y="2013"/>
                  </a:lnTo>
                  <a:lnTo>
                    <a:pt x="344" y="2001"/>
                  </a:lnTo>
                  <a:lnTo>
                    <a:pt x="349" y="1987"/>
                  </a:lnTo>
                  <a:lnTo>
                    <a:pt x="356" y="1982"/>
                  </a:lnTo>
                  <a:lnTo>
                    <a:pt x="364" y="1981"/>
                  </a:lnTo>
                  <a:lnTo>
                    <a:pt x="365" y="1992"/>
                  </a:lnTo>
                  <a:lnTo>
                    <a:pt x="357" y="2001"/>
                  </a:lnTo>
                  <a:lnTo>
                    <a:pt x="360" y="2006"/>
                  </a:lnTo>
                  <a:lnTo>
                    <a:pt x="373" y="2002"/>
                  </a:lnTo>
                  <a:lnTo>
                    <a:pt x="388" y="1993"/>
                  </a:lnTo>
                  <a:lnTo>
                    <a:pt x="402" y="1996"/>
                  </a:lnTo>
                  <a:lnTo>
                    <a:pt x="402" y="1990"/>
                  </a:lnTo>
                  <a:lnTo>
                    <a:pt x="404" y="1988"/>
                  </a:lnTo>
                  <a:lnTo>
                    <a:pt x="405" y="1983"/>
                  </a:lnTo>
                  <a:lnTo>
                    <a:pt x="413" y="1991"/>
                  </a:lnTo>
                  <a:lnTo>
                    <a:pt x="418" y="1982"/>
                  </a:lnTo>
                  <a:lnTo>
                    <a:pt x="419" y="1980"/>
                  </a:lnTo>
                  <a:lnTo>
                    <a:pt x="423" y="1976"/>
                  </a:lnTo>
                  <a:lnTo>
                    <a:pt x="432" y="1975"/>
                  </a:lnTo>
                  <a:lnTo>
                    <a:pt x="436" y="1969"/>
                  </a:lnTo>
                  <a:lnTo>
                    <a:pt x="441" y="1966"/>
                  </a:lnTo>
                  <a:lnTo>
                    <a:pt x="446" y="1966"/>
                  </a:lnTo>
                  <a:lnTo>
                    <a:pt x="450" y="1961"/>
                  </a:lnTo>
                  <a:lnTo>
                    <a:pt x="457" y="1961"/>
                  </a:lnTo>
                  <a:lnTo>
                    <a:pt x="459" y="1968"/>
                  </a:lnTo>
                  <a:lnTo>
                    <a:pt x="459" y="1979"/>
                  </a:lnTo>
                  <a:lnTo>
                    <a:pt x="458" y="1986"/>
                  </a:lnTo>
                  <a:lnTo>
                    <a:pt x="459" y="1987"/>
                  </a:lnTo>
                  <a:lnTo>
                    <a:pt x="468" y="1969"/>
                  </a:lnTo>
                  <a:lnTo>
                    <a:pt x="470" y="1955"/>
                  </a:lnTo>
                  <a:lnTo>
                    <a:pt x="473" y="1958"/>
                  </a:lnTo>
                  <a:lnTo>
                    <a:pt x="478" y="1958"/>
                  </a:lnTo>
                  <a:lnTo>
                    <a:pt x="495" y="1954"/>
                  </a:lnTo>
                  <a:lnTo>
                    <a:pt x="506" y="1945"/>
                  </a:lnTo>
                  <a:lnTo>
                    <a:pt x="512" y="1945"/>
                  </a:lnTo>
                  <a:lnTo>
                    <a:pt x="516" y="1941"/>
                  </a:lnTo>
                  <a:lnTo>
                    <a:pt x="515" y="1931"/>
                  </a:lnTo>
                  <a:lnTo>
                    <a:pt x="515" y="1925"/>
                  </a:lnTo>
                  <a:lnTo>
                    <a:pt x="506" y="1922"/>
                  </a:lnTo>
                  <a:lnTo>
                    <a:pt x="498" y="1915"/>
                  </a:lnTo>
                  <a:lnTo>
                    <a:pt x="493" y="1907"/>
                  </a:lnTo>
                  <a:lnTo>
                    <a:pt x="490" y="1898"/>
                  </a:lnTo>
                  <a:lnTo>
                    <a:pt x="495" y="1898"/>
                  </a:lnTo>
                  <a:lnTo>
                    <a:pt x="499" y="1909"/>
                  </a:lnTo>
                  <a:lnTo>
                    <a:pt x="504" y="1915"/>
                  </a:lnTo>
                  <a:lnTo>
                    <a:pt x="513" y="1916"/>
                  </a:lnTo>
                  <a:lnTo>
                    <a:pt x="528" y="1902"/>
                  </a:lnTo>
                  <a:lnTo>
                    <a:pt x="538" y="1899"/>
                  </a:lnTo>
                  <a:lnTo>
                    <a:pt x="556" y="1899"/>
                  </a:lnTo>
                  <a:lnTo>
                    <a:pt x="560" y="1890"/>
                  </a:lnTo>
                  <a:lnTo>
                    <a:pt x="558" y="1889"/>
                  </a:lnTo>
                  <a:lnTo>
                    <a:pt x="548" y="1891"/>
                  </a:lnTo>
                  <a:lnTo>
                    <a:pt x="552" y="1886"/>
                  </a:lnTo>
                  <a:lnTo>
                    <a:pt x="564" y="1879"/>
                  </a:lnTo>
                  <a:lnTo>
                    <a:pt x="569" y="1884"/>
                  </a:lnTo>
                  <a:lnTo>
                    <a:pt x="577" y="1884"/>
                  </a:lnTo>
                  <a:lnTo>
                    <a:pt x="576" y="1872"/>
                  </a:lnTo>
                  <a:lnTo>
                    <a:pt x="577" y="1864"/>
                  </a:lnTo>
                  <a:lnTo>
                    <a:pt x="584" y="1862"/>
                  </a:lnTo>
                  <a:lnTo>
                    <a:pt x="596" y="1867"/>
                  </a:lnTo>
                  <a:lnTo>
                    <a:pt x="609" y="1855"/>
                  </a:lnTo>
                  <a:lnTo>
                    <a:pt x="611" y="1850"/>
                  </a:lnTo>
                  <a:lnTo>
                    <a:pt x="615" y="1851"/>
                  </a:lnTo>
                  <a:lnTo>
                    <a:pt x="618" y="1848"/>
                  </a:lnTo>
                  <a:lnTo>
                    <a:pt x="619" y="1843"/>
                  </a:lnTo>
                  <a:lnTo>
                    <a:pt x="625" y="1847"/>
                  </a:lnTo>
                  <a:lnTo>
                    <a:pt x="627" y="1843"/>
                  </a:lnTo>
                  <a:lnTo>
                    <a:pt x="634" y="1839"/>
                  </a:lnTo>
                  <a:lnTo>
                    <a:pt x="639" y="1831"/>
                  </a:lnTo>
                  <a:lnTo>
                    <a:pt x="639" y="1818"/>
                  </a:lnTo>
                  <a:lnTo>
                    <a:pt x="633" y="1818"/>
                  </a:lnTo>
                  <a:lnTo>
                    <a:pt x="630" y="1815"/>
                  </a:lnTo>
                  <a:lnTo>
                    <a:pt x="635" y="1809"/>
                  </a:lnTo>
                  <a:lnTo>
                    <a:pt x="652" y="1797"/>
                  </a:lnTo>
                  <a:lnTo>
                    <a:pt x="655" y="1800"/>
                  </a:lnTo>
                  <a:lnTo>
                    <a:pt x="658" y="1788"/>
                  </a:lnTo>
                  <a:lnTo>
                    <a:pt x="672" y="1788"/>
                  </a:lnTo>
                  <a:lnTo>
                    <a:pt x="673" y="1783"/>
                  </a:lnTo>
                  <a:lnTo>
                    <a:pt x="676" y="1778"/>
                  </a:lnTo>
                  <a:lnTo>
                    <a:pt x="677" y="1770"/>
                  </a:lnTo>
                  <a:lnTo>
                    <a:pt x="684" y="1770"/>
                  </a:lnTo>
                  <a:lnTo>
                    <a:pt x="693" y="1775"/>
                  </a:lnTo>
                  <a:lnTo>
                    <a:pt x="698" y="1764"/>
                  </a:lnTo>
                  <a:lnTo>
                    <a:pt x="701" y="1762"/>
                  </a:lnTo>
                  <a:lnTo>
                    <a:pt x="708" y="1757"/>
                  </a:lnTo>
                  <a:lnTo>
                    <a:pt x="712" y="1751"/>
                  </a:lnTo>
                  <a:lnTo>
                    <a:pt x="714" y="1746"/>
                  </a:lnTo>
                  <a:lnTo>
                    <a:pt x="726" y="1742"/>
                  </a:lnTo>
                  <a:lnTo>
                    <a:pt x="740" y="1739"/>
                  </a:lnTo>
                  <a:lnTo>
                    <a:pt x="746" y="1729"/>
                  </a:lnTo>
                  <a:lnTo>
                    <a:pt x="752" y="1732"/>
                  </a:lnTo>
                  <a:lnTo>
                    <a:pt x="763" y="1726"/>
                  </a:lnTo>
                  <a:lnTo>
                    <a:pt x="764" y="1717"/>
                  </a:lnTo>
                  <a:lnTo>
                    <a:pt x="757" y="1712"/>
                  </a:lnTo>
                  <a:lnTo>
                    <a:pt x="767" y="1707"/>
                  </a:lnTo>
                  <a:lnTo>
                    <a:pt x="767" y="1703"/>
                  </a:lnTo>
                  <a:lnTo>
                    <a:pt x="765" y="1699"/>
                  </a:lnTo>
                  <a:lnTo>
                    <a:pt x="767" y="1692"/>
                  </a:lnTo>
                  <a:lnTo>
                    <a:pt x="773" y="1691"/>
                  </a:lnTo>
                  <a:lnTo>
                    <a:pt x="779" y="1681"/>
                  </a:lnTo>
                  <a:lnTo>
                    <a:pt x="796" y="1675"/>
                  </a:lnTo>
                  <a:lnTo>
                    <a:pt x="803" y="1668"/>
                  </a:lnTo>
                  <a:lnTo>
                    <a:pt x="805" y="1660"/>
                  </a:lnTo>
                  <a:lnTo>
                    <a:pt x="805" y="1653"/>
                  </a:lnTo>
                  <a:lnTo>
                    <a:pt x="801" y="1649"/>
                  </a:lnTo>
                  <a:lnTo>
                    <a:pt x="787" y="1642"/>
                  </a:lnTo>
                  <a:lnTo>
                    <a:pt x="785" y="1637"/>
                  </a:lnTo>
                  <a:lnTo>
                    <a:pt x="776" y="1633"/>
                  </a:lnTo>
                  <a:lnTo>
                    <a:pt x="762" y="1638"/>
                  </a:lnTo>
                  <a:lnTo>
                    <a:pt x="757" y="1636"/>
                  </a:lnTo>
                  <a:lnTo>
                    <a:pt x="765" y="1605"/>
                  </a:lnTo>
                  <a:lnTo>
                    <a:pt x="765" y="1600"/>
                  </a:lnTo>
                  <a:lnTo>
                    <a:pt x="779" y="1598"/>
                  </a:lnTo>
                  <a:lnTo>
                    <a:pt x="785" y="1592"/>
                  </a:lnTo>
                  <a:lnTo>
                    <a:pt x="785" y="1586"/>
                  </a:lnTo>
                  <a:lnTo>
                    <a:pt x="791" y="1582"/>
                  </a:lnTo>
                  <a:lnTo>
                    <a:pt x="791" y="1574"/>
                  </a:lnTo>
                  <a:lnTo>
                    <a:pt x="790" y="1566"/>
                  </a:lnTo>
                  <a:lnTo>
                    <a:pt x="795" y="1570"/>
                  </a:lnTo>
                  <a:lnTo>
                    <a:pt x="797" y="1561"/>
                  </a:lnTo>
                  <a:lnTo>
                    <a:pt x="805" y="1559"/>
                  </a:lnTo>
                  <a:lnTo>
                    <a:pt x="805" y="1568"/>
                  </a:lnTo>
                  <a:lnTo>
                    <a:pt x="816" y="1566"/>
                  </a:lnTo>
                  <a:lnTo>
                    <a:pt x="822" y="1561"/>
                  </a:lnTo>
                  <a:lnTo>
                    <a:pt x="822" y="1554"/>
                  </a:lnTo>
                  <a:lnTo>
                    <a:pt x="812" y="1550"/>
                  </a:lnTo>
                  <a:lnTo>
                    <a:pt x="818" y="1546"/>
                  </a:lnTo>
                  <a:lnTo>
                    <a:pt x="834" y="1545"/>
                  </a:lnTo>
                  <a:lnTo>
                    <a:pt x="843" y="1533"/>
                  </a:lnTo>
                  <a:lnTo>
                    <a:pt x="843" y="1525"/>
                  </a:lnTo>
                  <a:lnTo>
                    <a:pt x="840" y="1519"/>
                  </a:lnTo>
                  <a:lnTo>
                    <a:pt x="821" y="1502"/>
                  </a:lnTo>
                  <a:lnTo>
                    <a:pt x="827" y="1501"/>
                  </a:lnTo>
                  <a:lnTo>
                    <a:pt x="833" y="1508"/>
                  </a:lnTo>
                  <a:lnTo>
                    <a:pt x="846" y="1508"/>
                  </a:lnTo>
                  <a:lnTo>
                    <a:pt x="864" y="1490"/>
                  </a:lnTo>
                  <a:lnTo>
                    <a:pt x="870" y="1470"/>
                  </a:lnTo>
                  <a:lnTo>
                    <a:pt x="889" y="1447"/>
                  </a:lnTo>
                  <a:lnTo>
                    <a:pt x="892" y="1433"/>
                  </a:lnTo>
                  <a:lnTo>
                    <a:pt x="925" y="1415"/>
                  </a:lnTo>
                  <a:lnTo>
                    <a:pt x="950" y="1390"/>
                  </a:lnTo>
                  <a:lnTo>
                    <a:pt x="950" y="1383"/>
                  </a:lnTo>
                  <a:lnTo>
                    <a:pt x="948" y="1374"/>
                  </a:lnTo>
                  <a:lnTo>
                    <a:pt x="950" y="1362"/>
                  </a:lnTo>
                  <a:lnTo>
                    <a:pt x="953" y="1353"/>
                  </a:lnTo>
                  <a:lnTo>
                    <a:pt x="959" y="1342"/>
                  </a:lnTo>
                  <a:lnTo>
                    <a:pt x="973" y="1305"/>
                  </a:lnTo>
                  <a:lnTo>
                    <a:pt x="974" y="1296"/>
                  </a:lnTo>
                  <a:lnTo>
                    <a:pt x="974" y="1287"/>
                  </a:lnTo>
                  <a:lnTo>
                    <a:pt x="977" y="1276"/>
                  </a:lnTo>
                  <a:lnTo>
                    <a:pt x="982" y="1278"/>
                  </a:lnTo>
                  <a:lnTo>
                    <a:pt x="983" y="1287"/>
                  </a:lnTo>
                  <a:lnTo>
                    <a:pt x="978" y="1329"/>
                  </a:lnTo>
                  <a:lnTo>
                    <a:pt x="973" y="1342"/>
                  </a:lnTo>
                  <a:lnTo>
                    <a:pt x="961" y="1364"/>
                  </a:lnTo>
                  <a:lnTo>
                    <a:pt x="957" y="1378"/>
                  </a:lnTo>
                  <a:lnTo>
                    <a:pt x="957" y="1390"/>
                  </a:lnTo>
                  <a:lnTo>
                    <a:pt x="962" y="1395"/>
                  </a:lnTo>
                  <a:lnTo>
                    <a:pt x="983" y="1394"/>
                  </a:lnTo>
                  <a:lnTo>
                    <a:pt x="1002" y="1373"/>
                  </a:lnTo>
                  <a:lnTo>
                    <a:pt x="1017" y="1366"/>
                  </a:lnTo>
                  <a:lnTo>
                    <a:pt x="1027" y="1364"/>
                  </a:lnTo>
                  <a:lnTo>
                    <a:pt x="1018" y="1374"/>
                  </a:lnTo>
                  <a:lnTo>
                    <a:pt x="1011" y="1378"/>
                  </a:lnTo>
                  <a:lnTo>
                    <a:pt x="1001" y="1385"/>
                  </a:lnTo>
                  <a:lnTo>
                    <a:pt x="996" y="1395"/>
                  </a:lnTo>
                  <a:lnTo>
                    <a:pt x="988" y="1401"/>
                  </a:lnTo>
                  <a:lnTo>
                    <a:pt x="988" y="1411"/>
                  </a:lnTo>
                  <a:lnTo>
                    <a:pt x="995" y="1418"/>
                  </a:lnTo>
                  <a:lnTo>
                    <a:pt x="1021" y="1425"/>
                  </a:lnTo>
                  <a:lnTo>
                    <a:pt x="1042" y="1436"/>
                  </a:lnTo>
                  <a:lnTo>
                    <a:pt x="999" y="1428"/>
                  </a:lnTo>
                  <a:lnTo>
                    <a:pt x="983" y="1436"/>
                  </a:lnTo>
                  <a:lnTo>
                    <a:pt x="975" y="1434"/>
                  </a:lnTo>
                  <a:lnTo>
                    <a:pt x="968" y="1422"/>
                  </a:lnTo>
                  <a:lnTo>
                    <a:pt x="962" y="1423"/>
                  </a:lnTo>
                  <a:lnTo>
                    <a:pt x="954" y="1428"/>
                  </a:lnTo>
                  <a:lnTo>
                    <a:pt x="946" y="1437"/>
                  </a:lnTo>
                  <a:lnTo>
                    <a:pt x="918" y="1450"/>
                  </a:lnTo>
                  <a:lnTo>
                    <a:pt x="913" y="1459"/>
                  </a:lnTo>
                  <a:lnTo>
                    <a:pt x="916" y="1471"/>
                  </a:lnTo>
                  <a:lnTo>
                    <a:pt x="916" y="1487"/>
                  </a:lnTo>
                  <a:lnTo>
                    <a:pt x="914" y="1504"/>
                  </a:lnTo>
                  <a:lnTo>
                    <a:pt x="910" y="1513"/>
                  </a:lnTo>
                  <a:lnTo>
                    <a:pt x="902" y="1522"/>
                  </a:lnTo>
                  <a:lnTo>
                    <a:pt x="897" y="1534"/>
                  </a:lnTo>
                  <a:lnTo>
                    <a:pt x="896" y="1541"/>
                  </a:lnTo>
                  <a:lnTo>
                    <a:pt x="891" y="1551"/>
                  </a:lnTo>
                  <a:lnTo>
                    <a:pt x="888" y="1561"/>
                  </a:lnTo>
                  <a:lnTo>
                    <a:pt x="892" y="1567"/>
                  </a:lnTo>
                  <a:lnTo>
                    <a:pt x="904" y="1574"/>
                  </a:lnTo>
                  <a:lnTo>
                    <a:pt x="931" y="1557"/>
                  </a:lnTo>
                  <a:lnTo>
                    <a:pt x="936" y="1559"/>
                  </a:lnTo>
                  <a:lnTo>
                    <a:pt x="931" y="1571"/>
                  </a:lnTo>
                  <a:lnTo>
                    <a:pt x="926" y="1579"/>
                  </a:lnTo>
                  <a:lnTo>
                    <a:pt x="919" y="1586"/>
                  </a:lnTo>
                  <a:lnTo>
                    <a:pt x="913" y="1586"/>
                  </a:lnTo>
                  <a:lnTo>
                    <a:pt x="912" y="1589"/>
                  </a:lnTo>
                  <a:lnTo>
                    <a:pt x="916" y="1593"/>
                  </a:lnTo>
                  <a:lnTo>
                    <a:pt x="904" y="1589"/>
                  </a:lnTo>
                  <a:lnTo>
                    <a:pt x="902" y="1589"/>
                  </a:lnTo>
                  <a:lnTo>
                    <a:pt x="899" y="1592"/>
                  </a:lnTo>
                  <a:lnTo>
                    <a:pt x="898" y="1598"/>
                  </a:lnTo>
                  <a:lnTo>
                    <a:pt x="892" y="1592"/>
                  </a:lnTo>
                  <a:lnTo>
                    <a:pt x="888" y="1598"/>
                  </a:lnTo>
                  <a:lnTo>
                    <a:pt x="889" y="1604"/>
                  </a:lnTo>
                  <a:lnTo>
                    <a:pt x="883" y="1606"/>
                  </a:lnTo>
                  <a:lnTo>
                    <a:pt x="883" y="1615"/>
                  </a:lnTo>
                  <a:lnTo>
                    <a:pt x="892" y="1617"/>
                  </a:lnTo>
                  <a:lnTo>
                    <a:pt x="896" y="1622"/>
                  </a:lnTo>
                  <a:lnTo>
                    <a:pt x="907" y="1619"/>
                  </a:lnTo>
                  <a:lnTo>
                    <a:pt x="923" y="1617"/>
                  </a:lnTo>
                  <a:lnTo>
                    <a:pt x="923" y="1608"/>
                  </a:lnTo>
                  <a:lnTo>
                    <a:pt x="924" y="1605"/>
                  </a:lnTo>
                  <a:lnTo>
                    <a:pt x="932" y="1609"/>
                  </a:lnTo>
                  <a:lnTo>
                    <a:pt x="939" y="1614"/>
                  </a:lnTo>
                  <a:lnTo>
                    <a:pt x="948" y="1595"/>
                  </a:lnTo>
                  <a:lnTo>
                    <a:pt x="957" y="1584"/>
                  </a:lnTo>
                  <a:lnTo>
                    <a:pt x="963" y="1586"/>
                  </a:lnTo>
                  <a:lnTo>
                    <a:pt x="970" y="1581"/>
                  </a:lnTo>
                  <a:lnTo>
                    <a:pt x="970" y="1592"/>
                  </a:lnTo>
                  <a:lnTo>
                    <a:pt x="968" y="1603"/>
                  </a:lnTo>
                  <a:lnTo>
                    <a:pt x="980" y="1583"/>
                  </a:lnTo>
                  <a:lnTo>
                    <a:pt x="980" y="1572"/>
                  </a:lnTo>
                  <a:lnTo>
                    <a:pt x="993" y="1565"/>
                  </a:lnTo>
                  <a:lnTo>
                    <a:pt x="997" y="1568"/>
                  </a:lnTo>
                  <a:lnTo>
                    <a:pt x="1002" y="1560"/>
                  </a:lnTo>
                  <a:lnTo>
                    <a:pt x="1000" y="1550"/>
                  </a:lnTo>
                  <a:lnTo>
                    <a:pt x="1001" y="1546"/>
                  </a:lnTo>
                  <a:lnTo>
                    <a:pt x="1005" y="1540"/>
                  </a:lnTo>
                  <a:lnTo>
                    <a:pt x="1007" y="1554"/>
                  </a:lnTo>
                  <a:lnTo>
                    <a:pt x="1011" y="1566"/>
                  </a:lnTo>
                  <a:lnTo>
                    <a:pt x="1013" y="1551"/>
                  </a:lnTo>
                  <a:lnTo>
                    <a:pt x="1015" y="1540"/>
                  </a:lnTo>
                  <a:lnTo>
                    <a:pt x="1020" y="1534"/>
                  </a:lnTo>
                  <a:lnTo>
                    <a:pt x="1020" y="1524"/>
                  </a:lnTo>
                  <a:lnTo>
                    <a:pt x="1023" y="1536"/>
                  </a:lnTo>
                  <a:lnTo>
                    <a:pt x="1028" y="1534"/>
                  </a:lnTo>
                  <a:lnTo>
                    <a:pt x="1033" y="1534"/>
                  </a:lnTo>
                  <a:lnTo>
                    <a:pt x="1038" y="1538"/>
                  </a:lnTo>
                  <a:lnTo>
                    <a:pt x="1055" y="1540"/>
                  </a:lnTo>
                  <a:lnTo>
                    <a:pt x="1064" y="1534"/>
                  </a:lnTo>
                  <a:lnTo>
                    <a:pt x="1069" y="1533"/>
                  </a:lnTo>
                  <a:lnTo>
                    <a:pt x="1074" y="1518"/>
                  </a:lnTo>
                  <a:lnTo>
                    <a:pt x="1077" y="1519"/>
                  </a:lnTo>
                  <a:lnTo>
                    <a:pt x="1083" y="1517"/>
                  </a:lnTo>
                  <a:lnTo>
                    <a:pt x="1088" y="1509"/>
                  </a:lnTo>
                  <a:lnTo>
                    <a:pt x="1085" y="1508"/>
                  </a:lnTo>
                  <a:lnTo>
                    <a:pt x="1082" y="1504"/>
                  </a:lnTo>
                  <a:lnTo>
                    <a:pt x="1076" y="1506"/>
                  </a:lnTo>
                  <a:lnTo>
                    <a:pt x="1081" y="1496"/>
                  </a:lnTo>
                  <a:lnTo>
                    <a:pt x="1088" y="1486"/>
                  </a:lnTo>
                  <a:lnTo>
                    <a:pt x="1093" y="1486"/>
                  </a:lnTo>
                  <a:lnTo>
                    <a:pt x="1096" y="1476"/>
                  </a:lnTo>
                  <a:lnTo>
                    <a:pt x="1091" y="1469"/>
                  </a:lnTo>
                  <a:lnTo>
                    <a:pt x="1082" y="1477"/>
                  </a:lnTo>
                  <a:lnTo>
                    <a:pt x="1076" y="1477"/>
                  </a:lnTo>
                  <a:lnTo>
                    <a:pt x="1065" y="1482"/>
                  </a:lnTo>
                  <a:lnTo>
                    <a:pt x="1064" y="1474"/>
                  </a:lnTo>
                  <a:lnTo>
                    <a:pt x="1074" y="1470"/>
                  </a:lnTo>
                  <a:lnTo>
                    <a:pt x="1082" y="1463"/>
                  </a:lnTo>
                  <a:lnTo>
                    <a:pt x="1083" y="1453"/>
                  </a:lnTo>
                  <a:lnTo>
                    <a:pt x="1076" y="1458"/>
                  </a:lnTo>
                  <a:lnTo>
                    <a:pt x="1076" y="1453"/>
                  </a:lnTo>
                  <a:lnTo>
                    <a:pt x="1066" y="1454"/>
                  </a:lnTo>
                  <a:lnTo>
                    <a:pt x="1066" y="1448"/>
                  </a:lnTo>
                  <a:lnTo>
                    <a:pt x="1063" y="1447"/>
                  </a:lnTo>
                  <a:lnTo>
                    <a:pt x="1066" y="1439"/>
                  </a:lnTo>
                  <a:lnTo>
                    <a:pt x="1077" y="1436"/>
                  </a:lnTo>
                  <a:lnTo>
                    <a:pt x="1083" y="1425"/>
                  </a:lnTo>
                  <a:lnTo>
                    <a:pt x="1074" y="1423"/>
                  </a:lnTo>
                  <a:lnTo>
                    <a:pt x="1082" y="1411"/>
                  </a:lnTo>
                  <a:lnTo>
                    <a:pt x="1086" y="1409"/>
                  </a:lnTo>
                  <a:lnTo>
                    <a:pt x="1090" y="1417"/>
                  </a:lnTo>
                  <a:lnTo>
                    <a:pt x="1093" y="1416"/>
                  </a:lnTo>
                  <a:lnTo>
                    <a:pt x="1098" y="1405"/>
                  </a:lnTo>
                  <a:lnTo>
                    <a:pt x="1109" y="1394"/>
                  </a:lnTo>
                  <a:lnTo>
                    <a:pt x="1109" y="1404"/>
                  </a:lnTo>
                  <a:lnTo>
                    <a:pt x="1099" y="1421"/>
                  </a:lnTo>
                  <a:lnTo>
                    <a:pt x="1096" y="1431"/>
                  </a:lnTo>
                  <a:lnTo>
                    <a:pt x="1102" y="1437"/>
                  </a:lnTo>
                  <a:lnTo>
                    <a:pt x="1111" y="1436"/>
                  </a:lnTo>
                  <a:lnTo>
                    <a:pt x="1114" y="1431"/>
                  </a:lnTo>
                  <a:lnTo>
                    <a:pt x="1114" y="1415"/>
                  </a:lnTo>
                  <a:lnTo>
                    <a:pt x="1115" y="1405"/>
                  </a:lnTo>
                  <a:lnTo>
                    <a:pt x="1120" y="1418"/>
                  </a:lnTo>
                  <a:lnTo>
                    <a:pt x="1120" y="1426"/>
                  </a:lnTo>
                  <a:lnTo>
                    <a:pt x="1128" y="1427"/>
                  </a:lnTo>
                  <a:lnTo>
                    <a:pt x="1144" y="1425"/>
                  </a:lnTo>
                  <a:lnTo>
                    <a:pt x="1150" y="1426"/>
                  </a:lnTo>
                  <a:lnTo>
                    <a:pt x="1160" y="1423"/>
                  </a:lnTo>
                  <a:lnTo>
                    <a:pt x="1166" y="1414"/>
                  </a:lnTo>
                  <a:lnTo>
                    <a:pt x="1178" y="1409"/>
                  </a:lnTo>
                  <a:lnTo>
                    <a:pt x="1190" y="1409"/>
                  </a:lnTo>
                  <a:lnTo>
                    <a:pt x="1189" y="1412"/>
                  </a:lnTo>
                  <a:lnTo>
                    <a:pt x="1173" y="1415"/>
                  </a:lnTo>
                  <a:lnTo>
                    <a:pt x="1173" y="1422"/>
                  </a:lnTo>
                  <a:lnTo>
                    <a:pt x="1171" y="1432"/>
                  </a:lnTo>
                  <a:lnTo>
                    <a:pt x="1171" y="1439"/>
                  </a:lnTo>
                  <a:lnTo>
                    <a:pt x="1177" y="1442"/>
                  </a:lnTo>
                  <a:lnTo>
                    <a:pt x="1194" y="1436"/>
                  </a:lnTo>
                  <a:lnTo>
                    <a:pt x="1195" y="1441"/>
                  </a:lnTo>
                  <a:lnTo>
                    <a:pt x="1179" y="1450"/>
                  </a:lnTo>
                  <a:lnTo>
                    <a:pt x="1168" y="1454"/>
                  </a:lnTo>
                  <a:lnTo>
                    <a:pt x="1183" y="1457"/>
                  </a:lnTo>
                  <a:lnTo>
                    <a:pt x="1190" y="1448"/>
                  </a:lnTo>
                  <a:lnTo>
                    <a:pt x="1200" y="1443"/>
                  </a:lnTo>
                  <a:lnTo>
                    <a:pt x="1204" y="1446"/>
                  </a:lnTo>
                  <a:lnTo>
                    <a:pt x="1190" y="1463"/>
                  </a:lnTo>
                  <a:lnTo>
                    <a:pt x="1208" y="1458"/>
                  </a:lnTo>
                  <a:lnTo>
                    <a:pt x="1212" y="1461"/>
                  </a:lnTo>
                  <a:lnTo>
                    <a:pt x="1222" y="1460"/>
                  </a:lnTo>
                  <a:lnTo>
                    <a:pt x="1224" y="1463"/>
                  </a:lnTo>
                  <a:lnTo>
                    <a:pt x="1216" y="1475"/>
                  </a:lnTo>
                  <a:lnTo>
                    <a:pt x="1224" y="1477"/>
                  </a:lnTo>
                  <a:lnTo>
                    <a:pt x="1238" y="1495"/>
                  </a:lnTo>
                  <a:lnTo>
                    <a:pt x="1246" y="1498"/>
                  </a:lnTo>
                  <a:lnTo>
                    <a:pt x="1253" y="1497"/>
                  </a:lnTo>
                  <a:lnTo>
                    <a:pt x="1253" y="1493"/>
                  </a:lnTo>
                  <a:lnTo>
                    <a:pt x="1254" y="1490"/>
                  </a:lnTo>
                  <a:lnTo>
                    <a:pt x="1254" y="1485"/>
                  </a:lnTo>
                  <a:lnTo>
                    <a:pt x="1258" y="1482"/>
                  </a:lnTo>
                  <a:lnTo>
                    <a:pt x="1263" y="1481"/>
                  </a:lnTo>
                  <a:lnTo>
                    <a:pt x="1268" y="1485"/>
                  </a:lnTo>
                  <a:lnTo>
                    <a:pt x="1270" y="1491"/>
                  </a:lnTo>
                  <a:lnTo>
                    <a:pt x="1270" y="1500"/>
                  </a:lnTo>
                  <a:lnTo>
                    <a:pt x="1279" y="1506"/>
                  </a:lnTo>
                  <a:lnTo>
                    <a:pt x="1284" y="1512"/>
                  </a:lnTo>
                  <a:lnTo>
                    <a:pt x="1287" y="1514"/>
                  </a:lnTo>
                  <a:lnTo>
                    <a:pt x="1289" y="1509"/>
                  </a:lnTo>
                  <a:lnTo>
                    <a:pt x="1296" y="1514"/>
                  </a:lnTo>
                  <a:lnTo>
                    <a:pt x="1301" y="1513"/>
                  </a:lnTo>
                  <a:lnTo>
                    <a:pt x="1307" y="1517"/>
                  </a:lnTo>
                  <a:lnTo>
                    <a:pt x="1313" y="1524"/>
                  </a:lnTo>
                  <a:lnTo>
                    <a:pt x="1313" y="1528"/>
                  </a:lnTo>
                  <a:lnTo>
                    <a:pt x="1312" y="1531"/>
                  </a:lnTo>
                  <a:lnTo>
                    <a:pt x="1316" y="1534"/>
                  </a:lnTo>
                  <a:lnTo>
                    <a:pt x="1324" y="1535"/>
                  </a:lnTo>
                  <a:lnTo>
                    <a:pt x="1337" y="1530"/>
                  </a:lnTo>
                  <a:lnTo>
                    <a:pt x="1370" y="1529"/>
                  </a:lnTo>
                  <a:lnTo>
                    <a:pt x="1373" y="1523"/>
                  </a:lnTo>
                  <a:lnTo>
                    <a:pt x="1383" y="1528"/>
                  </a:lnTo>
                  <a:lnTo>
                    <a:pt x="1387" y="1523"/>
                  </a:lnTo>
                  <a:lnTo>
                    <a:pt x="1399" y="1525"/>
                  </a:lnTo>
                  <a:lnTo>
                    <a:pt x="1405" y="1531"/>
                  </a:lnTo>
                  <a:lnTo>
                    <a:pt x="1437" y="1538"/>
                  </a:lnTo>
                  <a:lnTo>
                    <a:pt x="1445" y="1539"/>
                  </a:lnTo>
                  <a:lnTo>
                    <a:pt x="1459" y="1531"/>
                  </a:lnTo>
                  <a:lnTo>
                    <a:pt x="1466" y="1536"/>
                  </a:lnTo>
                  <a:lnTo>
                    <a:pt x="1467" y="1539"/>
                  </a:lnTo>
                  <a:lnTo>
                    <a:pt x="1459" y="1541"/>
                  </a:lnTo>
                  <a:lnTo>
                    <a:pt x="1458" y="1545"/>
                  </a:lnTo>
                  <a:lnTo>
                    <a:pt x="1463" y="1549"/>
                  </a:lnTo>
                  <a:lnTo>
                    <a:pt x="1483" y="1557"/>
                  </a:lnTo>
                  <a:lnTo>
                    <a:pt x="1504" y="1562"/>
                  </a:lnTo>
                  <a:lnTo>
                    <a:pt x="1522" y="1565"/>
                  </a:lnTo>
                  <a:lnTo>
                    <a:pt x="1540" y="1556"/>
                  </a:lnTo>
                  <a:lnTo>
                    <a:pt x="1555" y="1538"/>
                  </a:lnTo>
                  <a:lnTo>
                    <a:pt x="1559" y="1529"/>
                  </a:lnTo>
                  <a:lnTo>
                    <a:pt x="1563" y="1525"/>
                  </a:lnTo>
                  <a:lnTo>
                    <a:pt x="1574" y="1540"/>
                  </a:lnTo>
                  <a:lnTo>
                    <a:pt x="1580" y="1546"/>
                  </a:lnTo>
                  <a:lnTo>
                    <a:pt x="1590" y="1550"/>
                  </a:lnTo>
                  <a:lnTo>
                    <a:pt x="1586" y="1551"/>
                  </a:lnTo>
                  <a:lnTo>
                    <a:pt x="1579" y="1557"/>
                  </a:lnTo>
                  <a:lnTo>
                    <a:pt x="1579" y="1565"/>
                  </a:lnTo>
                  <a:lnTo>
                    <a:pt x="1580" y="1571"/>
                  </a:lnTo>
                  <a:lnTo>
                    <a:pt x="1581" y="1578"/>
                  </a:lnTo>
                  <a:lnTo>
                    <a:pt x="1579" y="1582"/>
                  </a:lnTo>
                  <a:lnTo>
                    <a:pt x="1574" y="1577"/>
                  </a:lnTo>
                  <a:lnTo>
                    <a:pt x="1572" y="1557"/>
                  </a:lnTo>
                  <a:lnTo>
                    <a:pt x="1574" y="1552"/>
                  </a:lnTo>
                  <a:lnTo>
                    <a:pt x="1574" y="1545"/>
                  </a:lnTo>
                  <a:lnTo>
                    <a:pt x="1570" y="1539"/>
                  </a:lnTo>
                  <a:lnTo>
                    <a:pt x="1567" y="1536"/>
                  </a:lnTo>
                  <a:lnTo>
                    <a:pt x="1563" y="1541"/>
                  </a:lnTo>
                  <a:lnTo>
                    <a:pt x="1561" y="1546"/>
                  </a:lnTo>
                  <a:lnTo>
                    <a:pt x="1561" y="1560"/>
                  </a:lnTo>
                  <a:lnTo>
                    <a:pt x="1564" y="1563"/>
                  </a:lnTo>
                  <a:lnTo>
                    <a:pt x="1564" y="1570"/>
                  </a:lnTo>
                  <a:lnTo>
                    <a:pt x="1563" y="1574"/>
                  </a:lnTo>
                  <a:lnTo>
                    <a:pt x="1560" y="1578"/>
                  </a:lnTo>
                  <a:lnTo>
                    <a:pt x="1555" y="1579"/>
                  </a:lnTo>
                  <a:lnTo>
                    <a:pt x="1548" y="1587"/>
                  </a:lnTo>
                  <a:lnTo>
                    <a:pt x="1552" y="1592"/>
                  </a:lnTo>
                  <a:lnTo>
                    <a:pt x="1567" y="1595"/>
                  </a:lnTo>
                  <a:lnTo>
                    <a:pt x="1567" y="1599"/>
                  </a:lnTo>
                  <a:lnTo>
                    <a:pt x="1572" y="1601"/>
                  </a:lnTo>
                  <a:lnTo>
                    <a:pt x="1579" y="1601"/>
                  </a:lnTo>
                  <a:lnTo>
                    <a:pt x="1581" y="1603"/>
                  </a:lnTo>
                  <a:lnTo>
                    <a:pt x="1580" y="1606"/>
                  </a:lnTo>
                  <a:lnTo>
                    <a:pt x="1598" y="1614"/>
                  </a:lnTo>
                  <a:lnTo>
                    <a:pt x="1612" y="1627"/>
                  </a:lnTo>
                  <a:lnTo>
                    <a:pt x="1612" y="1624"/>
                  </a:lnTo>
                  <a:lnTo>
                    <a:pt x="1615" y="1620"/>
                  </a:lnTo>
                  <a:lnTo>
                    <a:pt x="1629" y="1620"/>
                  </a:lnTo>
                  <a:lnTo>
                    <a:pt x="1630" y="1619"/>
                  </a:lnTo>
                  <a:lnTo>
                    <a:pt x="1631" y="1608"/>
                  </a:lnTo>
                  <a:lnTo>
                    <a:pt x="1628" y="1599"/>
                  </a:lnTo>
                  <a:lnTo>
                    <a:pt x="1630" y="1598"/>
                  </a:lnTo>
                  <a:lnTo>
                    <a:pt x="1635" y="1600"/>
                  </a:lnTo>
                  <a:lnTo>
                    <a:pt x="1638" y="1595"/>
                  </a:lnTo>
                  <a:lnTo>
                    <a:pt x="1635" y="1592"/>
                  </a:lnTo>
                  <a:lnTo>
                    <a:pt x="1608" y="1557"/>
                  </a:lnTo>
                  <a:lnTo>
                    <a:pt x="1603" y="1546"/>
                  </a:lnTo>
                  <a:lnTo>
                    <a:pt x="1590" y="1535"/>
                  </a:lnTo>
                  <a:lnTo>
                    <a:pt x="1583" y="1529"/>
                  </a:lnTo>
                  <a:lnTo>
                    <a:pt x="1587" y="1529"/>
                  </a:lnTo>
                  <a:lnTo>
                    <a:pt x="1587" y="1523"/>
                  </a:lnTo>
                  <a:lnTo>
                    <a:pt x="1587" y="1501"/>
                  </a:lnTo>
                  <a:lnTo>
                    <a:pt x="1554" y="1502"/>
                  </a:lnTo>
                  <a:lnTo>
                    <a:pt x="1542" y="1517"/>
                  </a:lnTo>
                  <a:lnTo>
                    <a:pt x="1536" y="1514"/>
                  </a:lnTo>
                  <a:lnTo>
                    <a:pt x="1521" y="1503"/>
                  </a:lnTo>
                  <a:lnTo>
                    <a:pt x="1506" y="1514"/>
                  </a:lnTo>
                  <a:lnTo>
                    <a:pt x="1486" y="1502"/>
                  </a:lnTo>
                  <a:lnTo>
                    <a:pt x="1486" y="146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48" name="Freeform 271">
              <a:extLst>
                <a:ext uri="{FF2B5EF4-FFF2-40B4-BE49-F238E27FC236}">
                  <a16:creationId xmlns:a16="http://schemas.microsoft.com/office/drawing/2014/main" id="{89B7FB3D-B805-F89D-3375-3F081CB0E33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723786" y="2011658"/>
              <a:ext cx="242913" cy="287254"/>
            </a:xfrm>
            <a:custGeom>
              <a:avLst/>
              <a:gdLst>
                <a:gd name="T0" fmla="*/ 0 w 456"/>
                <a:gd name="T1" fmla="*/ 0 h 507"/>
                <a:gd name="T2" fmla="*/ 0 w 456"/>
                <a:gd name="T3" fmla="*/ 0 h 507"/>
                <a:gd name="T4" fmla="*/ 0 w 456"/>
                <a:gd name="T5" fmla="*/ 0 h 507"/>
                <a:gd name="T6" fmla="*/ 0 w 456"/>
                <a:gd name="T7" fmla="*/ 0 h 507"/>
                <a:gd name="T8" fmla="*/ 0 w 456"/>
                <a:gd name="T9" fmla="*/ 0 h 507"/>
                <a:gd name="T10" fmla="*/ 0 w 456"/>
                <a:gd name="T11" fmla="*/ 0 h 507"/>
                <a:gd name="T12" fmla="*/ 0 w 456"/>
                <a:gd name="T13" fmla="*/ 0 h 507"/>
                <a:gd name="T14" fmla="*/ 0 w 456"/>
                <a:gd name="T15" fmla="*/ 0 h 507"/>
                <a:gd name="T16" fmla="*/ 0 w 456"/>
                <a:gd name="T17" fmla="*/ 0 h 507"/>
                <a:gd name="T18" fmla="*/ 0 w 456"/>
                <a:gd name="T19" fmla="*/ 0 h 507"/>
                <a:gd name="T20" fmla="*/ 0 w 456"/>
                <a:gd name="T21" fmla="*/ 0 h 507"/>
                <a:gd name="T22" fmla="*/ 0 w 456"/>
                <a:gd name="T23" fmla="*/ 0 h 507"/>
                <a:gd name="T24" fmla="*/ 0 w 456"/>
                <a:gd name="T25" fmla="*/ 0 h 507"/>
                <a:gd name="T26" fmla="*/ 0 w 456"/>
                <a:gd name="T27" fmla="*/ 0 h 507"/>
                <a:gd name="T28" fmla="*/ 0 w 456"/>
                <a:gd name="T29" fmla="*/ 0 h 507"/>
                <a:gd name="T30" fmla="*/ 0 w 456"/>
                <a:gd name="T31" fmla="*/ 0 h 507"/>
                <a:gd name="T32" fmla="*/ 0 w 456"/>
                <a:gd name="T33" fmla="*/ 0 h 507"/>
                <a:gd name="T34" fmla="*/ 0 w 456"/>
                <a:gd name="T35" fmla="*/ 0 h 507"/>
                <a:gd name="T36" fmla="*/ 0 w 456"/>
                <a:gd name="T37" fmla="*/ 0 h 507"/>
                <a:gd name="T38" fmla="*/ 0 w 456"/>
                <a:gd name="T39" fmla="*/ 0 h 507"/>
                <a:gd name="T40" fmla="*/ 0 w 456"/>
                <a:gd name="T41" fmla="*/ 0 h 507"/>
                <a:gd name="T42" fmla="*/ 0 w 456"/>
                <a:gd name="T43" fmla="*/ 0 h 507"/>
                <a:gd name="T44" fmla="*/ 0 w 456"/>
                <a:gd name="T45" fmla="*/ 0 h 507"/>
                <a:gd name="T46" fmla="*/ 0 w 456"/>
                <a:gd name="T47" fmla="*/ 0 h 507"/>
                <a:gd name="T48" fmla="*/ 0 w 456"/>
                <a:gd name="T49" fmla="*/ 0 h 507"/>
                <a:gd name="T50" fmla="*/ 0 w 456"/>
                <a:gd name="T51" fmla="*/ 0 h 507"/>
                <a:gd name="T52" fmla="*/ 0 w 456"/>
                <a:gd name="T53" fmla="*/ 0 h 507"/>
                <a:gd name="T54" fmla="*/ 0 w 456"/>
                <a:gd name="T55" fmla="*/ 0 h 507"/>
                <a:gd name="T56" fmla="*/ 0 w 456"/>
                <a:gd name="T57" fmla="*/ 0 h 507"/>
                <a:gd name="T58" fmla="*/ 0 w 456"/>
                <a:gd name="T59" fmla="*/ 0 h 507"/>
                <a:gd name="T60" fmla="*/ 0 w 456"/>
                <a:gd name="T61" fmla="*/ 0 h 507"/>
                <a:gd name="T62" fmla="*/ 0 w 456"/>
                <a:gd name="T63" fmla="*/ 0 h 507"/>
                <a:gd name="T64" fmla="*/ 0 w 456"/>
                <a:gd name="T65" fmla="*/ 0 h 507"/>
                <a:gd name="T66" fmla="*/ 0 w 456"/>
                <a:gd name="T67" fmla="*/ 0 h 507"/>
                <a:gd name="T68" fmla="*/ 0 w 456"/>
                <a:gd name="T69" fmla="*/ 0 h 507"/>
                <a:gd name="T70" fmla="*/ 0 w 456"/>
                <a:gd name="T71" fmla="*/ 0 h 507"/>
                <a:gd name="T72" fmla="*/ 0 w 456"/>
                <a:gd name="T73" fmla="*/ 0 h 507"/>
                <a:gd name="T74" fmla="*/ 0 w 456"/>
                <a:gd name="T75" fmla="*/ 0 h 507"/>
                <a:gd name="T76" fmla="*/ 0 w 456"/>
                <a:gd name="T77" fmla="*/ 0 h 507"/>
                <a:gd name="T78" fmla="*/ 0 w 456"/>
                <a:gd name="T79" fmla="*/ 0 h 507"/>
                <a:gd name="T80" fmla="*/ 0 w 456"/>
                <a:gd name="T81" fmla="*/ 0 h 507"/>
                <a:gd name="T82" fmla="*/ 0 w 456"/>
                <a:gd name="T83" fmla="*/ 0 h 507"/>
                <a:gd name="T84" fmla="*/ 0 w 456"/>
                <a:gd name="T85" fmla="*/ 0 h 507"/>
                <a:gd name="T86" fmla="*/ 0 w 456"/>
                <a:gd name="T87" fmla="*/ 0 h 507"/>
                <a:gd name="T88" fmla="*/ 0 w 456"/>
                <a:gd name="T89" fmla="*/ 0 h 507"/>
                <a:gd name="T90" fmla="*/ 0 w 456"/>
                <a:gd name="T91" fmla="*/ 0 h 507"/>
                <a:gd name="T92" fmla="*/ 0 w 456"/>
                <a:gd name="T93" fmla="*/ 0 h 507"/>
                <a:gd name="T94" fmla="*/ 0 w 456"/>
                <a:gd name="T95" fmla="*/ 0 h 507"/>
                <a:gd name="T96" fmla="*/ 0 w 456"/>
                <a:gd name="T97" fmla="*/ 0 h 507"/>
                <a:gd name="T98" fmla="*/ 0 w 456"/>
                <a:gd name="T99" fmla="*/ 0 h 507"/>
                <a:gd name="T100" fmla="*/ 0 w 456"/>
                <a:gd name="T101" fmla="*/ 0 h 507"/>
                <a:gd name="T102" fmla="*/ 0 w 456"/>
                <a:gd name="T103" fmla="*/ 0 h 507"/>
                <a:gd name="T104" fmla="*/ 0 w 456"/>
                <a:gd name="T105" fmla="*/ 0 h 507"/>
                <a:gd name="T106" fmla="*/ 0 w 456"/>
                <a:gd name="T107" fmla="*/ 0 h 507"/>
                <a:gd name="T108" fmla="*/ 0 w 456"/>
                <a:gd name="T109" fmla="*/ 0 h 507"/>
                <a:gd name="T110" fmla="*/ 0 w 456"/>
                <a:gd name="T111" fmla="*/ 0 h 507"/>
                <a:gd name="T112" fmla="*/ 0 w 456"/>
                <a:gd name="T113" fmla="*/ 0 h 507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56"/>
                <a:gd name="T172" fmla="*/ 0 h 507"/>
                <a:gd name="T173" fmla="*/ 456 w 456"/>
                <a:gd name="T174" fmla="*/ 507 h 507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56" h="507">
                  <a:moveTo>
                    <a:pt x="10" y="44"/>
                  </a:moveTo>
                  <a:lnTo>
                    <a:pt x="26" y="57"/>
                  </a:lnTo>
                  <a:lnTo>
                    <a:pt x="36" y="81"/>
                  </a:lnTo>
                  <a:lnTo>
                    <a:pt x="39" y="87"/>
                  </a:lnTo>
                  <a:lnTo>
                    <a:pt x="39" y="90"/>
                  </a:lnTo>
                  <a:lnTo>
                    <a:pt x="42" y="92"/>
                  </a:lnTo>
                  <a:lnTo>
                    <a:pt x="55" y="87"/>
                  </a:lnTo>
                  <a:lnTo>
                    <a:pt x="71" y="73"/>
                  </a:lnTo>
                  <a:lnTo>
                    <a:pt x="87" y="68"/>
                  </a:lnTo>
                  <a:lnTo>
                    <a:pt x="91" y="60"/>
                  </a:lnTo>
                  <a:lnTo>
                    <a:pt x="91" y="51"/>
                  </a:lnTo>
                  <a:lnTo>
                    <a:pt x="93" y="47"/>
                  </a:lnTo>
                  <a:lnTo>
                    <a:pt x="100" y="44"/>
                  </a:lnTo>
                  <a:lnTo>
                    <a:pt x="102" y="41"/>
                  </a:lnTo>
                  <a:lnTo>
                    <a:pt x="103" y="29"/>
                  </a:lnTo>
                  <a:lnTo>
                    <a:pt x="108" y="23"/>
                  </a:lnTo>
                  <a:lnTo>
                    <a:pt x="129" y="17"/>
                  </a:lnTo>
                  <a:lnTo>
                    <a:pt x="151" y="0"/>
                  </a:lnTo>
                  <a:lnTo>
                    <a:pt x="156" y="1"/>
                  </a:lnTo>
                  <a:lnTo>
                    <a:pt x="162" y="7"/>
                  </a:lnTo>
                  <a:lnTo>
                    <a:pt x="171" y="25"/>
                  </a:lnTo>
                  <a:lnTo>
                    <a:pt x="174" y="29"/>
                  </a:lnTo>
                  <a:lnTo>
                    <a:pt x="179" y="29"/>
                  </a:lnTo>
                  <a:lnTo>
                    <a:pt x="183" y="41"/>
                  </a:lnTo>
                  <a:lnTo>
                    <a:pt x="192" y="55"/>
                  </a:lnTo>
                  <a:lnTo>
                    <a:pt x="194" y="63"/>
                  </a:lnTo>
                  <a:lnTo>
                    <a:pt x="206" y="74"/>
                  </a:lnTo>
                  <a:lnTo>
                    <a:pt x="210" y="90"/>
                  </a:lnTo>
                  <a:lnTo>
                    <a:pt x="210" y="93"/>
                  </a:lnTo>
                  <a:lnTo>
                    <a:pt x="214" y="100"/>
                  </a:lnTo>
                  <a:lnTo>
                    <a:pt x="235" y="109"/>
                  </a:lnTo>
                  <a:lnTo>
                    <a:pt x="246" y="120"/>
                  </a:lnTo>
                  <a:lnTo>
                    <a:pt x="253" y="141"/>
                  </a:lnTo>
                  <a:lnTo>
                    <a:pt x="264" y="160"/>
                  </a:lnTo>
                  <a:lnTo>
                    <a:pt x="292" y="206"/>
                  </a:lnTo>
                  <a:lnTo>
                    <a:pt x="299" y="224"/>
                  </a:lnTo>
                  <a:lnTo>
                    <a:pt x="300" y="227"/>
                  </a:lnTo>
                  <a:lnTo>
                    <a:pt x="303" y="227"/>
                  </a:lnTo>
                  <a:lnTo>
                    <a:pt x="308" y="245"/>
                  </a:lnTo>
                  <a:lnTo>
                    <a:pt x="322" y="262"/>
                  </a:lnTo>
                  <a:lnTo>
                    <a:pt x="326" y="270"/>
                  </a:lnTo>
                  <a:lnTo>
                    <a:pt x="326" y="273"/>
                  </a:lnTo>
                  <a:lnTo>
                    <a:pt x="323" y="278"/>
                  </a:lnTo>
                  <a:lnTo>
                    <a:pt x="324" y="283"/>
                  </a:lnTo>
                  <a:lnTo>
                    <a:pt x="334" y="292"/>
                  </a:lnTo>
                  <a:lnTo>
                    <a:pt x="338" y="299"/>
                  </a:lnTo>
                  <a:lnTo>
                    <a:pt x="338" y="303"/>
                  </a:lnTo>
                  <a:lnTo>
                    <a:pt x="343" y="320"/>
                  </a:lnTo>
                  <a:lnTo>
                    <a:pt x="348" y="329"/>
                  </a:lnTo>
                  <a:lnTo>
                    <a:pt x="353" y="335"/>
                  </a:lnTo>
                  <a:lnTo>
                    <a:pt x="365" y="342"/>
                  </a:lnTo>
                  <a:lnTo>
                    <a:pt x="401" y="352"/>
                  </a:lnTo>
                  <a:lnTo>
                    <a:pt x="426" y="373"/>
                  </a:lnTo>
                  <a:lnTo>
                    <a:pt x="431" y="379"/>
                  </a:lnTo>
                  <a:lnTo>
                    <a:pt x="450" y="384"/>
                  </a:lnTo>
                  <a:lnTo>
                    <a:pt x="452" y="388"/>
                  </a:lnTo>
                  <a:lnTo>
                    <a:pt x="456" y="394"/>
                  </a:lnTo>
                  <a:lnTo>
                    <a:pt x="456" y="396"/>
                  </a:lnTo>
                  <a:lnTo>
                    <a:pt x="453" y="401"/>
                  </a:lnTo>
                  <a:lnTo>
                    <a:pt x="451" y="416"/>
                  </a:lnTo>
                  <a:lnTo>
                    <a:pt x="451" y="443"/>
                  </a:lnTo>
                  <a:lnTo>
                    <a:pt x="456" y="459"/>
                  </a:lnTo>
                  <a:lnTo>
                    <a:pt x="456" y="464"/>
                  </a:lnTo>
                  <a:lnTo>
                    <a:pt x="453" y="470"/>
                  </a:lnTo>
                  <a:lnTo>
                    <a:pt x="451" y="474"/>
                  </a:lnTo>
                  <a:lnTo>
                    <a:pt x="450" y="481"/>
                  </a:lnTo>
                  <a:lnTo>
                    <a:pt x="441" y="480"/>
                  </a:lnTo>
                  <a:lnTo>
                    <a:pt x="435" y="488"/>
                  </a:lnTo>
                  <a:lnTo>
                    <a:pt x="429" y="496"/>
                  </a:lnTo>
                  <a:lnTo>
                    <a:pt x="424" y="498"/>
                  </a:lnTo>
                  <a:lnTo>
                    <a:pt x="419" y="498"/>
                  </a:lnTo>
                  <a:lnTo>
                    <a:pt x="415" y="503"/>
                  </a:lnTo>
                  <a:lnTo>
                    <a:pt x="410" y="496"/>
                  </a:lnTo>
                  <a:lnTo>
                    <a:pt x="409" y="507"/>
                  </a:lnTo>
                  <a:lnTo>
                    <a:pt x="404" y="506"/>
                  </a:lnTo>
                  <a:lnTo>
                    <a:pt x="403" y="496"/>
                  </a:lnTo>
                  <a:lnTo>
                    <a:pt x="403" y="482"/>
                  </a:lnTo>
                  <a:lnTo>
                    <a:pt x="409" y="480"/>
                  </a:lnTo>
                  <a:lnTo>
                    <a:pt x="413" y="482"/>
                  </a:lnTo>
                  <a:lnTo>
                    <a:pt x="416" y="479"/>
                  </a:lnTo>
                  <a:lnTo>
                    <a:pt x="419" y="480"/>
                  </a:lnTo>
                  <a:lnTo>
                    <a:pt x="421" y="475"/>
                  </a:lnTo>
                  <a:lnTo>
                    <a:pt x="425" y="474"/>
                  </a:lnTo>
                  <a:lnTo>
                    <a:pt x="423" y="467"/>
                  </a:lnTo>
                  <a:lnTo>
                    <a:pt x="421" y="454"/>
                  </a:lnTo>
                  <a:lnTo>
                    <a:pt x="416" y="453"/>
                  </a:lnTo>
                  <a:lnTo>
                    <a:pt x="414" y="456"/>
                  </a:lnTo>
                  <a:lnTo>
                    <a:pt x="410" y="456"/>
                  </a:lnTo>
                  <a:lnTo>
                    <a:pt x="408" y="454"/>
                  </a:lnTo>
                  <a:lnTo>
                    <a:pt x="407" y="439"/>
                  </a:lnTo>
                  <a:lnTo>
                    <a:pt x="408" y="432"/>
                  </a:lnTo>
                  <a:lnTo>
                    <a:pt x="405" y="426"/>
                  </a:lnTo>
                  <a:lnTo>
                    <a:pt x="404" y="416"/>
                  </a:lnTo>
                  <a:lnTo>
                    <a:pt x="397" y="402"/>
                  </a:lnTo>
                  <a:lnTo>
                    <a:pt x="394" y="390"/>
                  </a:lnTo>
                  <a:lnTo>
                    <a:pt x="392" y="395"/>
                  </a:lnTo>
                  <a:lnTo>
                    <a:pt x="393" y="388"/>
                  </a:lnTo>
                  <a:lnTo>
                    <a:pt x="397" y="382"/>
                  </a:lnTo>
                  <a:lnTo>
                    <a:pt x="394" y="377"/>
                  </a:lnTo>
                  <a:lnTo>
                    <a:pt x="389" y="378"/>
                  </a:lnTo>
                  <a:lnTo>
                    <a:pt x="382" y="386"/>
                  </a:lnTo>
                  <a:lnTo>
                    <a:pt x="377" y="390"/>
                  </a:lnTo>
                  <a:lnTo>
                    <a:pt x="375" y="396"/>
                  </a:lnTo>
                  <a:lnTo>
                    <a:pt x="367" y="393"/>
                  </a:lnTo>
                  <a:lnTo>
                    <a:pt x="362" y="396"/>
                  </a:lnTo>
                  <a:lnTo>
                    <a:pt x="356" y="400"/>
                  </a:lnTo>
                  <a:lnTo>
                    <a:pt x="358" y="404"/>
                  </a:lnTo>
                  <a:lnTo>
                    <a:pt x="355" y="411"/>
                  </a:lnTo>
                  <a:lnTo>
                    <a:pt x="354" y="415"/>
                  </a:lnTo>
                  <a:lnTo>
                    <a:pt x="354" y="418"/>
                  </a:lnTo>
                  <a:lnTo>
                    <a:pt x="350" y="423"/>
                  </a:lnTo>
                  <a:lnTo>
                    <a:pt x="346" y="423"/>
                  </a:lnTo>
                  <a:lnTo>
                    <a:pt x="346" y="429"/>
                  </a:lnTo>
                  <a:lnTo>
                    <a:pt x="342" y="434"/>
                  </a:lnTo>
                  <a:lnTo>
                    <a:pt x="338" y="431"/>
                  </a:lnTo>
                  <a:lnTo>
                    <a:pt x="333" y="423"/>
                  </a:lnTo>
                  <a:lnTo>
                    <a:pt x="331" y="416"/>
                  </a:lnTo>
                  <a:lnTo>
                    <a:pt x="332" y="411"/>
                  </a:lnTo>
                  <a:lnTo>
                    <a:pt x="337" y="410"/>
                  </a:lnTo>
                  <a:lnTo>
                    <a:pt x="342" y="405"/>
                  </a:lnTo>
                  <a:lnTo>
                    <a:pt x="346" y="389"/>
                  </a:lnTo>
                  <a:lnTo>
                    <a:pt x="346" y="375"/>
                  </a:lnTo>
                  <a:lnTo>
                    <a:pt x="351" y="370"/>
                  </a:lnTo>
                  <a:lnTo>
                    <a:pt x="367" y="369"/>
                  </a:lnTo>
                  <a:lnTo>
                    <a:pt x="369" y="366"/>
                  </a:lnTo>
                  <a:lnTo>
                    <a:pt x="350" y="359"/>
                  </a:lnTo>
                  <a:lnTo>
                    <a:pt x="344" y="352"/>
                  </a:lnTo>
                  <a:lnTo>
                    <a:pt x="335" y="348"/>
                  </a:lnTo>
                  <a:lnTo>
                    <a:pt x="329" y="339"/>
                  </a:lnTo>
                  <a:lnTo>
                    <a:pt x="328" y="320"/>
                  </a:lnTo>
                  <a:lnTo>
                    <a:pt x="318" y="319"/>
                  </a:lnTo>
                  <a:lnTo>
                    <a:pt x="317" y="315"/>
                  </a:lnTo>
                  <a:lnTo>
                    <a:pt x="317" y="310"/>
                  </a:lnTo>
                  <a:lnTo>
                    <a:pt x="315" y="307"/>
                  </a:lnTo>
                  <a:lnTo>
                    <a:pt x="302" y="305"/>
                  </a:lnTo>
                  <a:lnTo>
                    <a:pt x="299" y="302"/>
                  </a:lnTo>
                  <a:lnTo>
                    <a:pt x="290" y="288"/>
                  </a:lnTo>
                  <a:lnTo>
                    <a:pt x="289" y="283"/>
                  </a:lnTo>
                  <a:lnTo>
                    <a:pt x="303" y="296"/>
                  </a:lnTo>
                  <a:lnTo>
                    <a:pt x="305" y="299"/>
                  </a:lnTo>
                  <a:lnTo>
                    <a:pt x="300" y="287"/>
                  </a:lnTo>
                  <a:lnTo>
                    <a:pt x="300" y="278"/>
                  </a:lnTo>
                  <a:lnTo>
                    <a:pt x="296" y="278"/>
                  </a:lnTo>
                  <a:lnTo>
                    <a:pt x="291" y="282"/>
                  </a:lnTo>
                  <a:lnTo>
                    <a:pt x="286" y="282"/>
                  </a:lnTo>
                  <a:lnTo>
                    <a:pt x="281" y="278"/>
                  </a:lnTo>
                  <a:lnTo>
                    <a:pt x="281" y="275"/>
                  </a:lnTo>
                  <a:lnTo>
                    <a:pt x="280" y="273"/>
                  </a:lnTo>
                  <a:lnTo>
                    <a:pt x="276" y="273"/>
                  </a:lnTo>
                  <a:lnTo>
                    <a:pt x="275" y="276"/>
                  </a:lnTo>
                  <a:lnTo>
                    <a:pt x="270" y="278"/>
                  </a:lnTo>
                  <a:lnTo>
                    <a:pt x="264" y="271"/>
                  </a:lnTo>
                  <a:lnTo>
                    <a:pt x="263" y="267"/>
                  </a:lnTo>
                  <a:lnTo>
                    <a:pt x="264" y="261"/>
                  </a:lnTo>
                  <a:lnTo>
                    <a:pt x="279" y="260"/>
                  </a:lnTo>
                  <a:lnTo>
                    <a:pt x="281" y="255"/>
                  </a:lnTo>
                  <a:lnTo>
                    <a:pt x="270" y="255"/>
                  </a:lnTo>
                  <a:lnTo>
                    <a:pt x="265" y="253"/>
                  </a:lnTo>
                  <a:lnTo>
                    <a:pt x="265" y="250"/>
                  </a:lnTo>
                  <a:lnTo>
                    <a:pt x="268" y="246"/>
                  </a:lnTo>
                  <a:lnTo>
                    <a:pt x="267" y="244"/>
                  </a:lnTo>
                  <a:lnTo>
                    <a:pt x="262" y="244"/>
                  </a:lnTo>
                  <a:lnTo>
                    <a:pt x="262" y="237"/>
                  </a:lnTo>
                  <a:lnTo>
                    <a:pt x="268" y="233"/>
                  </a:lnTo>
                  <a:lnTo>
                    <a:pt x="267" y="229"/>
                  </a:lnTo>
                  <a:lnTo>
                    <a:pt x="256" y="233"/>
                  </a:lnTo>
                  <a:lnTo>
                    <a:pt x="253" y="229"/>
                  </a:lnTo>
                  <a:lnTo>
                    <a:pt x="257" y="219"/>
                  </a:lnTo>
                  <a:lnTo>
                    <a:pt x="279" y="230"/>
                  </a:lnTo>
                  <a:lnTo>
                    <a:pt x="284" y="238"/>
                  </a:lnTo>
                  <a:lnTo>
                    <a:pt x="289" y="239"/>
                  </a:lnTo>
                  <a:lnTo>
                    <a:pt x="286" y="239"/>
                  </a:lnTo>
                  <a:lnTo>
                    <a:pt x="281" y="232"/>
                  </a:lnTo>
                  <a:lnTo>
                    <a:pt x="280" y="222"/>
                  </a:lnTo>
                  <a:lnTo>
                    <a:pt x="276" y="219"/>
                  </a:lnTo>
                  <a:lnTo>
                    <a:pt x="276" y="223"/>
                  </a:lnTo>
                  <a:lnTo>
                    <a:pt x="272" y="219"/>
                  </a:lnTo>
                  <a:lnTo>
                    <a:pt x="263" y="208"/>
                  </a:lnTo>
                  <a:lnTo>
                    <a:pt x="260" y="203"/>
                  </a:lnTo>
                  <a:lnTo>
                    <a:pt x="264" y="198"/>
                  </a:lnTo>
                  <a:lnTo>
                    <a:pt x="275" y="201"/>
                  </a:lnTo>
                  <a:lnTo>
                    <a:pt x="279" y="198"/>
                  </a:lnTo>
                  <a:lnTo>
                    <a:pt x="273" y="196"/>
                  </a:lnTo>
                  <a:lnTo>
                    <a:pt x="254" y="196"/>
                  </a:lnTo>
                  <a:lnTo>
                    <a:pt x="254" y="203"/>
                  </a:lnTo>
                  <a:lnTo>
                    <a:pt x="249" y="208"/>
                  </a:lnTo>
                  <a:lnTo>
                    <a:pt x="247" y="203"/>
                  </a:lnTo>
                  <a:lnTo>
                    <a:pt x="243" y="196"/>
                  </a:lnTo>
                  <a:lnTo>
                    <a:pt x="245" y="190"/>
                  </a:lnTo>
                  <a:lnTo>
                    <a:pt x="251" y="190"/>
                  </a:lnTo>
                  <a:lnTo>
                    <a:pt x="262" y="181"/>
                  </a:lnTo>
                  <a:lnTo>
                    <a:pt x="259" y="178"/>
                  </a:lnTo>
                  <a:lnTo>
                    <a:pt x="251" y="184"/>
                  </a:lnTo>
                  <a:lnTo>
                    <a:pt x="249" y="180"/>
                  </a:lnTo>
                  <a:lnTo>
                    <a:pt x="256" y="169"/>
                  </a:lnTo>
                  <a:lnTo>
                    <a:pt x="249" y="169"/>
                  </a:lnTo>
                  <a:lnTo>
                    <a:pt x="246" y="173"/>
                  </a:lnTo>
                  <a:lnTo>
                    <a:pt x="243" y="180"/>
                  </a:lnTo>
                  <a:lnTo>
                    <a:pt x="238" y="186"/>
                  </a:lnTo>
                  <a:lnTo>
                    <a:pt x="233" y="183"/>
                  </a:lnTo>
                  <a:lnTo>
                    <a:pt x="230" y="171"/>
                  </a:lnTo>
                  <a:lnTo>
                    <a:pt x="230" y="165"/>
                  </a:lnTo>
                  <a:lnTo>
                    <a:pt x="226" y="162"/>
                  </a:lnTo>
                  <a:lnTo>
                    <a:pt x="224" y="162"/>
                  </a:lnTo>
                  <a:lnTo>
                    <a:pt x="219" y="165"/>
                  </a:lnTo>
                  <a:lnTo>
                    <a:pt x="215" y="159"/>
                  </a:lnTo>
                  <a:lnTo>
                    <a:pt x="202" y="148"/>
                  </a:lnTo>
                  <a:lnTo>
                    <a:pt x="190" y="146"/>
                  </a:lnTo>
                  <a:lnTo>
                    <a:pt x="183" y="130"/>
                  </a:lnTo>
                  <a:lnTo>
                    <a:pt x="178" y="124"/>
                  </a:lnTo>
                  <a:lnTo>
                    <a:pt x="181" y="117"/>
                  </a:lnTo>
                  <a:lnTo>
                    <a:pt x="178" y="104"/>
                  </a:lnTo>
                  <a:lnTo>
                    <a:pt x="173" y="108"/>
                  </a:lnTo>
                  <a:lnTo>
                    <a:pt x="162" y="68"/>
                  </a:lnTo>
                  <a:lnTo>
                    <a:pt x="156" y="52"/>
                  </a:lnTo>
                  <a:lnTo>
                    <a:pt x="154" y="40"/>
                  </a:lnTo>
                  <a:lnTo>
                    <a:pt x="149" y="49"/>
                  </a:lnTo>
                  <a:lnTo>
                    <a:pt x="155" y="63"/>
                  </a:lnTo>
                  <a:lnTo>
                    <a:pt x="154" y="67"/>
                  </a:lnTo>
                  <a:lnTo>
                    <a:pt x="150" y="63"/>
                  </a:lnTo>
                  <a:lnTo>
                    <a:pt x="155" y="81"/>
                  </a:lnTo>
                  <a:lnTo>
                    <a:pt x="155" y="85"/>
                  </a:lnTo>
                  <a:lnTo>
                    <a:pt x="163" y="105"/>
                  </a:lnTo>
                  <a:lnTo>
                    <a:pt x="166" y="126"/>
                  </a:lnTo>
                  <a:lnTo>
                    <a:pt x="172" y="142"/>
                  </a:lnTo>
                  <a:lnTo>
                    <a:pt x="173" y="149"/>
                  </a:lnTo>
                  <a:lnTo>
                    <a:pt x="168" y="160"/>
                  </a:lnTo>
                  <a:lnTo>
                    <a:pt x="166" y="165"/>
                  </a:lnTo>
                  <a:lnTo>
                    <a:pt x="157" y="163"/>
                  </a:lnTo>
                  <a:lnTo>
                    <a:pt x="152" y="142"/>
                  </a:lnTo>
                  <a:lnTo>
                    <a:pt x="147" y="136"/>
                  </a:lnTo>
                  <a:lnTo>
                    <a:pt x="146" y="147"/>
                  </a:lnTo>
                  <a:lnTo>
                    <a:pt x="129" y="146"/>
                  </a:lnTo>
                  <a:lnTo>
                    <a:pt x="129" y="128"/>
                  </a:lnTo>
                  <a:lnTo>
                    <a:pt x="133" y="127"/>
                  </a:lnTo>
                  <a:lnTo>
                    <a:pt x="127" y="122"/>
                  </a:lnTo>
                  <a:lnTo>
                    <a:pt x="120" y="110"/>
                  </a:lnTo>
                  <a:lnTo>
                    <a:pt x="120" y="100"/>
                  </a:lnTo>
                  <a:lnTo>
                    <a:pt x="123" y="98"/>
                  </a:lnTo>
                  <a:lnTo>
                    <a:pt x="117" y="90"/>
                  </a:lnTo>
                  <a:lnTo>
                    <a:pt x="113" y="92"/>
                  </a:lnTo>
                  <a:lnTo>
                    <a:pt x="112" y="104"/>
                  </a:lnTo>
                  <a:lnTo>
                    <a:pt x="106" y="106"/>
                  </a:lnTo>
                  <a:lnTo>
                    <a:pt x="98" y="100"/>
                  </a:lnTo>
                  <a:lnTo>
                    <a:pt x="90" y="85"/>
                  </a:lnTo>
                  <a:lnTo>
                    <a:pt x="86" y="84"/>
                  </a:lnTo>
                  <a:lnTo>
                    <a:pt x="87" y="90"/>
                  </a:lnTo>
                  <a:lnTo>
                    <a:pt x="85" y="93"/>
                  </a:lnTo>
                  <a:lnTo>
                    <a:pt x="77" y="88"/>
                  </a:lnTo>
                  <a:lnTo>
                    <a:pt x="71" y="82"/>
                  </a:lnTo>
                  <a:lnTo>
                    <a:pt x="75" y="88"/>
                  </a:lnTo>
                  <a:lnTo>
                    <a:pt x="73" y="92"/>
                  </a:lnTo>
                  <a:lnTo>
                    <a:pt x="66" y="93"/>
                  </a:lnTo>
                  <a:lnTo>
                    <a:pt x="66" y="94"/>
                  </a:lnTo>
                  <a:lnTo>
                    <a:pt x="77" y="95"/>
                  </a:lnTo>
                  <a:lnTo>
                    <a:pt x="86" y="101"/>
                  </a:lnTo>
                  <a:lnTo>
                    <a:pt x="88" y="106"/>
                  </a:lnTo>
                  <a:lnTo>
                    <a:pt x="87" y="108"/>
                  </a:lnTo>
                  <a:lnTo>
                    <a:pt x="98" y="115"/>
                  </a:lnTo>
                  <a:lnTo>
                    <a:pt x="98" y="121"/>
                  </a:lnTo>
                  <a:lnTo>
                    <a:pt x="101" y="122"/>
                  </a:lnTo>
                  <a:lnTo>
                    <a:pt x="103" y="121"/>
                  </a:lnTo>
                  <a:lnTo>
                    <a:pt x="108" y="121"/>
                  </a:lnTo>
                  <a:lnTo>
                    <a:pt x="116" y="135"/>
                  </a:lnTo>
                  <a:lnTo>
                    <a:pt x="117" y="141"/>
                  </a:lnTo>
                  <a:lnTo>
                    <a:pt x="116" y="148"/>
                  </a:lnTo>
                  <a:lnTo>
                    <a:pt x="108" y="153"/>
                  </a:lnTo>
                  <a:lnTo>
                    <a:pt x="98" y="154"/>
                  </a:lnTo>
                  <a:lnTo>
                    <a:pt x="96" y="148"/>
                  </a:lnTo>
                  <a:lnTo>
                    <a:pt x="97" y="149"/>
                  </a:lnTo>
                  <a:lnTo>
                    <a:pt x="97" y="158"/>
                  </a:lnTo>
                  <a:lnTo>
                    <a:pt x="86" y="162"/>
                  </a:lnTo>
                  <a:lnTo>
                    <a:pt x="66" y="144"/>
                  </a:lnTo>
                  <a:lnTo>
                    <a:pt x="54" y="141"/>
                  </a:lnTo>
                  <a:lnTo>
                    <a:pt x="48" y="135"/>
                  </a:lnTo>
                  <a:lnTo>
                    <a:pt x="41" y="130"/>
                  </a:lnTo>
                  <a:lnTo>
                    <a:pt x="33" y="127"/>
                  </a:lnTo>
                  <a:lnTo>
                    <a:pt x="38" y="115"/>
                  </a:lnTo>
                  <a:lnTo>
                    <a:pt x="33" y="114"/>
                  </a:lnTo>
                  <a:lnTo>
                    <a:pt x="27" y="116"/>
                  </a:lnTo>
                  <a:lnTo>
                    <a:pt x="17" y="105"/>
                  </a:lnTo>
                  <a:lnTo>
                    <a:pt x="1" y="82"/>
                  </a:lnTo>
                  <a:lnTo>
                    <a:pt x="0" y="73"/>
                  </a:lnTo>
                  <a:lnTo>
                    <a:pt x="3" y="66"/>
                  </a:lnTo>
                  <a:lnTo>
                    <a:pt x="5" y="47"/>
                  </a:lnTo>
                  <a:lnTo>
                    <a:pt x="10" y="4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49" name="Freeform 273">
              <a:extLst>
                <a:ext uri="{FF2B5EF4-FFF2-40B4-BE49-F238E27FC236}">
                  <a16:creationId xmlns:a16="http://schemas.microsoft.com/office/drawing/2014/main" id="{0A05CB69-FF4D-4C93-24B0-AA2B74CB64F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813446" y="2782546"/>
              <a:ext cx="5338" cy="8545"/>
            </a:xfrm>
            <a:custGeom>
              <a:avLst/>
              <a:gdLst>
                <a:gd name="T0" fmla="*/ 0 w 10"/>
                <a:gd name="T1" fmla="*/ 0 h 15"/>
                <a:gd name="T2" fmla="*/ 0 w 10"/>
                <a:gd name="T3" fmla="*/ 0 h 15"/>
                <a:gd name="T4" fmla="*/ 0 w 10"/>
                <a:gd name="T5" fmla="*/ 0 h 15"/>
                <a:gd name="T6" fmla="*/ 0 w 10"/>
                <a:gd name="T7" fmla="*/ 0 h 15"/>
                <a:gd name="T8" fmla="*/ 0 w 10"/>
                <a:gd name="T9" fmla="*/ 0 h 15"/>
                <a:gd name="T10" fmla="*/ 0 w 10"/>
                <a:gd name="T11" fmla="*/ 0 h 15"/>
                <a:gd name="T12" fmla="*/ 0 w 10"/>
                <a:gd name="T13" fmla="*/ 0 h 15"/>
                <a:gd name="T14" fmla="*/ 0 w 10"/>
                <a:gd name="T15" fmla="*/ 0 h 15"/>
                <a:gd name="T16" fmla="*/ 0 w 10"/>
                <a:gd name="T17" fmla="*/ 0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15"/>
                <a:gd name="T29" fmla="*/ 10 w 10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15">
                  <a:moveTo>
                    <a:pt x="5" y="0"/>
                  </a:moveTo>
                  <a:lnTo>
                    <a:pt x="2" y="3"/>
                  </a:lnTo>
                  <a:lnTo>
                    <a:pt x="1" y="10"/>
                  </a:lnTo>
                  <a:lnTo>
                    <a:pt x="0" y="15"/>
                  </a:lnTo>
                  <a:lnTo>
                    <a:pt x="5" y="10"/>
                  </a:lnTo>
                  <a:lnTo>
                    <a:pt x="8" y="10"/>
                  </a:lnTo>
                  <a:lnTo>
                    <a:pt x="8" y="6"/>
                  </a:lnTo>
                  <a:lnTo>
                    <a:pt x="10" y="1"/>
                  </a:lnTo>
                  <a:lnTo>
                    <a:pt x="5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50" name="Freeform 274">
              <a:extLst>
                <a:ext uri="{FF2B5EF4-FFF2-40B4-BE49-F238E27FC236}">
                  <a16:creationId xmlns:a16="http://schemas.microsoft.com/office/drawing/2014/main" id="{44B8E008-ED78-A646-5261-96B3D3B78EB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813446" y="2782546"/>
              <a:ext cx="5338" cy="8545"/>
            </a:xfrm>
            <a:custGeom>
              <a:avLst/>
              <a:gdLst>
                <a:gd name="T0" fmla="*/ 0 w 10"/>
                <a:gd name="T1" fmla="*/ 0 h 15"/>
                <a:gd name="T2" fmla="*/ 0 w 10"/>
                <a:gd name="T3" fmla="*/ 0 h 15"/>
                <a:gd name="T4" fmla="*/ 0 w 10"/>
                <a:gd name="T5" fmla="*/ 0 h 15"/>
                <a:gd name="T6" fmla="*/ 0 w 10"/>
                <a:gd name="T7" fmla="*/ 0 h 15"/>
                <a:gd name="T8" fmla="*/ 0 w 10"/>
                <a:gd name="T9" fmla="*/ 0 h 15"/>
                <a:gd name="T10" fmla="*/ 0 w 10"/>
                <a:gd name="T11" fmla="*/ 0 h 15"/>
                <a:gd name="T12" fmla="*/ 0 w 10"/>
                <a:gd name="T13" fmla="*/ 0 h 15"/>
                <a:gd name="T14" fmla="*/ 0 w 10"/>
                <a:gd name="T15" fmla="*/ 0 h 15"/>
                <a:gd name="T16" fmla="*/ 0 w 10"/>
                <a:gd name="T17" fmla="*/ 0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15"/>
                <a:gd name="T29" fmla="*/ 10 w 10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15">
                  <a:moveTo>
                    <a:pt x="5" y="0"/>
                  </a:moveTo>
                  <a:lnTo>
                    <a:pt x="2" y="3"/>
                  </a:lnTo>
                  <a:lnTo>
                    <a:pt x="1" y="10"/>
                  </a:lnTo>
                  <a:lnTo>
                    <a:pt x="0" y="15"/>
                  </a:lnTo>
                  <a:lnTo>
                    <a:pt x="5" y="10"/>
                  </a:lnTo>
                  <a:lnTo>
                    <a:pt x="8" y="10"/>
                  </a:lnTo>
                  <a:lnTo>
                    <a:pt x="8" y="6"/>
                  </a:lnTo>
                  <a:lnTo>
                    <a:pt x="10" y="1"/>
                  </a:lnTo>
                  <a:lnTo>
                    <a:pt x="5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51" name="Freeform 275">
              <a:extLst>
                <a:ext uri="{FF2B5EF4-FFF2-40B4-BE49-F238E27FC236}">
                  <a16:creationId xmlns:a16="http://schemas.microsoft.com/office/drawing/2014/main" id="{083F4DA8-B14B-31DB-4DC0-1748847D8D7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517210" y="3033208"/>
              <a:ext cx="2669" cy="2848"/>
            </a:xfrm>
            <a:custGeom>
              <a:avLst/>
              <a:gdLst>
                <a:gd name="T0" fmla="*/ 0 w 1"/>
                <a:gd name="T1" fmla="*/ 0 h 3"/>
                <a:gd name="T2" fmla="*/ 0 w 1"/>
                <a:gd name="T3" fmla="*/ 0 h 3"/>
                <a:gd name="T4" fmla="*/ 0 w 1"/>
                <a:gd name="T5" fmla="*/ 0 h 3"/>
                <a:gd name="T6" fmla="*/ 0 60000 65536"/>
                <a:gd name="T7" fmla="*/ 0 60000 65536"/>
                <a:gd name="T8" fmla="*/ 0 60000 65536"/>
                <a:gd name="T9" fmla="*/ 0 w 1"/>
                <a:gd name="T10" fmla="*/ 0 h 3"/>
                <a:gd name="T11" fmla="*/ 1 w 1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3">
                  <a:moveTo>
                    <a:pt x="0" y="3"/>
                  </a:move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52" name="Freeform 276">
              <a:extLst>
                <a:ext uri="{FF2B5EF4-FFF2-40B4-BE49-F238E27FC236}">
                  <a16:creationId xmlns:a16="http://schemas.microsoft.com/office/drawing/2014/main" id="{9B6FC5A8-7AB9-2A99-F910-73B5664E86B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514541" y="3027512"/>
              <a:ext cx="2669" cy="2848"/>
            </a:xfrm>
            <a:custGeom>
              <a:avLst/>
              <a:gdLst>
                <a:gd name="T0" fmla="*/ 0 w 5"/>
                <a:gd name="T1" fmla="*/ 0 h 6"/>
                <a:gd name="T2" fmla="*/ 0 w 5"/>
                <a:gd name="T3" fmla="*/ 0 h 6"/>
                <a:gd name="T4" fmla="*/ 0 w 5"/>
                <a:gd name="T5" fmla="*/ 0 h 6"/>
                <a:gd name="T6" fmla="*/ 0 w 5"/>
                <a:gd name="T7" fmla="*/ 0 h 6"/>
                <a:gd name="T8" fmla="*/ 0 w 5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3" y="2"/>
                  </a:moveTo>
                  <a:lnTo>
                    <a:pt x="0" y="0"/>
                  </a:lnTo>
                  <a:lnTo>
                    <a:pt x="3" y="2"/>
                  </a:lnTo>
                  <a:lnTo>
                    <a:pt x="5" y="6"/>
                  </a:lnTo>
                  <a:lnTo>
                    <a:pt x="3" y="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53" name="Freeform 277">
              <a:extLst>
                <a:ext uri="{FF2B5EF4-FFF2-40B4-BE49-F238E27FC236}">
                  <a16:creationId xmlns:a16="http://schemas.microsoft.com/office/drawing/2014/main" id="{D124591B-3521-ADD7-1C56-DAB39D549D9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124098" y="2571761"/>
              <a:ext cx="1689348" cy="965621"/>
            </a:xfrm>
            <a:custGeom>
              <a:avLst/>
              <a:gdLst>
                <a:gd name="T0" fmla="*/ 0 w 3166"/>
                <a:gd name="T1" fmla="*/ 0 h 1693"/>
                <a:gd name="T2" fmla="*/ 0 w 3166"/>
                <a:gd name="T3" fmla="*/ 0 h 1693"/>
                <a:gd name="T4" fmla="*/ 0 w 3166"/>
                <a:gd name="T5" fmla="*/ 0 h 1693"/>
                <a:gd name="T6" fmla="*/ 0 w 3166"/>
                <a:gd name="T7" fmla="*/ 0 h 1693"/>
                <a:gd name="T8" fmla="*/ 0 w 3166"/>
                <a:gd name="T9" fmla="*/ 0 h 1693"/>
                <a:gd name="T10" fmla="*/ 0 w 3166"/>
                <a:gd name="T11" fmla="*/ 0 h 1693"/>
                <a:gd name="T12" fmla="*/ 0 w 3166"/>
                <a:gd name="T13" fmla="*/ 0 h 1693"/>
                <a:gd name="T14" fmla="*/ 0 w 3166"/>
                <a:gd name="T15" fmla="*/ 0 h 1693"/>
                <a:gd name="T16" fmla="*/ 0 w 3166"/>
                <a:gd name="T17" fmla="*/ 0 h 1693"/>
                <a:gd name="T18" fmla="*/ 0 w 3166"/>
                <a:gd name="T19" fmla="*/ 0 h 1693"/>
                <a:gd name="T20" fmla="*/ 0 w 3166"/>
                <a:gd name="T21" fmla="*/ 0 h 1693"/>
                <a:gd name="T22" fmla="*/ 0 w 3166"/>
                <a:gd name="T23" fmla="*/ 0 h 1693"/>
                <a:gd name="T24" fmla="*/ 0 w 3166"/>
                <a:gd name="T25" fmla="*/ 0 h 1693"/>
                <a:gd name="T26" fmla="*/ 0 w 3166"/>
                <a:gd name="T27" fmla="*/ 0 h 1693"/>
                <a:gd name="T28" fmla="*/ 0 w 3166"/>
                <a:gd name="T29" fmla="*/ 0 h 1693"/>
                <a:gd name="T30" fmla="*/ 0 w 3166"/>
                <a:gd name="T31" fmla="*/ 0 h 1693"/>
                <a:gd name="T32" fmla="*/ 0 w 3166"/>
                <a:gd name="T33" fmla="*/ 0 h 1693"/>
                <a:gd name="T34" fmla="*/ 0 w 3166"/>
                <a:gd name="T35" fmla="*/ 0 h 1693"/>
                <a:gd name="T36" fmla="*/ 0 w 3166"/>
                <a:gd name="T37" fmla="*/ 0 h 1693"/>
                <a:gd name="T38" fmla="*/ 0 w 3166"/>
                <a:gd name="T39" fmla="*/ 0 h 1693"/>
                <a:gd name="T40" fmla="*/ 0 w 3166"/>
                <a:gd name="T41" fmla="*/ 0 h 1693"/>
                <a:gd name="T42" fmla="*/ 0 w 3166"/>
                <a:gd name="T43" fmla="*/ 0 h 1693"/>
                <a:gd name="T44" fmla="*/ 0 w 3166"/>
                <a:gd name="T45" fmla="*/ 0 h 1693"/>
                <a:gd name="T46" fmla="*/ 0 w 3166"/>
                <a:gd name="T47" fmla="*/ 0 h 1693"/>
                <a:gd name="T48" fmla="*/ 0 w 3166"/>
                <a:gd name="T49" fmla="*/ 0 h 1693"/>
                <a:gd name="T50" fmla="*/ 0 w 3166"/>
                <a:gd name="T51" fmla="*/ 0 h 1693"/>
                <a:gd name="T52" fmla="*/ 0 w 3166"/>
                <a:gd name="T53" fmla="*/ 0 h 1693"/>
                <a:gd name="T54" fmla="*/ 0 w 3166"/>
                <a:gd name="T55" fmla="*/ 0 h 1693"/>
                <a:gd name="T56" fmla="*/ 0 w 3166"/>
                <a:gd name="T57" fmla="*/ 0 h 1693"/>
                <a:gd name="T58" fmla="*/ 0 w 3166"/>
                <a:gd name="T59" fmla="*/ 0 h 1693"/>
                <a:gd name="T60" fmla="*/ 0 w 3166"/>
                <a:gd name="T61" fmla="*/ 0 h 1693"/>
                <a:gd name="T62" fmla="*/ 0 w 3166"/>
                <a:gd name="T63" fmla="*/ 0 h 1693"/>
                <a:gd name="T64" fmla="*/ 0 w 3166"/>
                <a:gd name="T65" fmla="*/ 0 h 1693"/>
                <a:gd name="T66" fmla="*/ 0 w 3166"/>
                <a:gd name="T67" fmla="*/ 0 h 1693"/>
                <a:gd name="T68" fmla="*/ 0 w 3166"/>
                <a:gd name="T69" fmla="*/ 0 h 1693"/>
                <a:gd name="T70" fmla="*/ 0 w 3166"/>
                <a:gd name="T71" fmla="*/ 0 h 1693"/>
                <a:gd name="T72" fmla="*/ 0 w 3166"/>
                <a:gd name="T73" fmla="*/ 0 h 1693"/>
                <a:gd name="T74" fmla="*/ 0 w 3166"/>
                <a:gd name="T75" fmla="*/ 0 h 1693"/>
                <a:gd name="T76" fmla="*/ 0 w 3166"/>
                <a:gd name="T77" fmla="*/ 0 h 1693"/>
                <a:gd name="T78" fmla="*/ 0 w 3166"/>
                <a:gd name="T79" fmla="*/ 0 h 1693"/>
                <a:gd name="T80" fmla="*/ 0 w 3166"/>
                <a:gd name="T81" fmla="*/ 0 h 1693"/>
                <a:gd name="T82" fmla="*/ 0 w 3166"/>
                <a:gd name="T83" fmla="*/ 0 h 1693"/>
                <a:gd name="T84" fmla="*/ 0 w 3166"/>
                <a:gd name="T85" fmla="*/ 0 h 1693"/>
                <a:gd name="T86" fmla="*/ 0 w 3166"/>
                <a:gd name="T87" fmla="*/ 0 h 1693"/>
                <a:gd name="T88" fmla="*/ 0 w 3166"/>
                <a:gd name="T89" fmla="*/ 0 h 1693"/>
                <a:gd name="T90" fmla="*/ 0 w 3166"/>
                <a:gd name="T91" fmla="*/ 0 h 1693"/>
                <a:gd name="T92" fmla="*/ 0 w 3166"/>
                <a:gd name="T93" fmla="*/ 0 h 1693"/>
                <a:gd name="T94" fmla="*/ 0 w 3166"/>
                <a:gd name="T95" fmla="*/ 0 h 1693"/>
                <a:gd name="T96" fmla="*/ 0 w 3166"/>
                <a:gd name="T97" fmla="*/ 0 h 1693"/>
                <a:gd name="T98" fmla="*/ 0 w 3166"/>
                <a:gd name="T99" fmla="*/ 0 h 1693"/>
                <a:gd name="T100" fmla="*/ 0 w 3166"/>
                <a:gd name="T101" fmla="*/ 0 h 1693"/>
                <a:gd name="T102" fmla="*/ 0 w 3166"/>
                <a:gd name="T103" fmla="*/ 0 h 1693"/>
                <a:gd name="T104" fmla="*/ 0 w 3166"/>
                <a:gd name="T105" fmla="*/ 0 h 1693"/>
                <a:gd name="T106" fmla="*/ 0 w 3166"/>
                <a:gd name="T107" fmla="*/ 0 h 1693"/>
                <a:gd name="T108" fmla="*/ 0 w 3166"/>
                <a:gd name="T109" fmla="*/ 0 h 1693"/>
                <a:gd name="T110" fmla="*/ 0 w 3166"/>
                <a:gd name="T111" fmla="*/ 0 h 1693"/>
                <a:gd name="T112" fmla="*/ 0 w 3166"/>
                <a:gd name="T113" fmla="*/ 0 h 1693"/>
                <a:gd name="T114" fmla="*/ 0 w 3166"/>
                <a:gd name="T115" fmla="*/ 0 h 1693"/>
                <a:gd name="T116" fmla="*/ 0 w 3166"/>
                <a:gd name="T117" fmla="*/ 0 h 1693"/>
                <a:gd name="T118" fmla="*/ 0 w 3166"/>
                <a:gd name="T119" fmla="*/ 0 h 169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166"/>
                <a:gd name="T181" fmla="*/ 0 h 1693"/>
                <a:gd name="T182" fmla="*/ 3166 w 3166"/>
                <a:gd name="T183" fmla="*/ 1693 h 169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166" h="1693">
                  <a:moveTo>
                    <a:pt x="3165" y="365"/>
                  </a:moveTo>
                  <a:lnTo>
                    <a:pt x="3158" y="364"/>
                  </a:lnTo>
                  <a:lnTo>
                    <a:pt x="3160" y="361"/>
                  </a:lnTo>
                  <a:lnTo>
                    <a:pt x="3162" y="355"/>
                  </a:lnTo>
                  <a:lnTo>
                    <a:pt x="3162" y="344"/>
                  </a:lnTo>
                  <a:lnTo>
                    <a:pt x="3161" y="339"/>
                  </a:lnTo>
                  <a:lnTo>
                    <a:pt x="3160" y="343"/>
                  </a:lnTo>
                  <a:lnTo>
                    <a:pt x="3155" y="343"/>
                  </a:lnTo>
                  <a:lnTo>
                    <a:pt x="3146" y="342"/>
                  </a:lnTo>
                  <a:lnTo>
                    <a:pt x="3138" y="335"/>
                  </a:lnTo>
                  <a:lnTo>
                    <a:pt x="3135" y="330"/>
                  </a:lnTo>
                  <a:lnTo>
                    <a:pt x="3134" y="326"/>
                  </a:lnTo>
                  <a:lnTo>
                    <a:pt x="3134" y="310"/>
                  </a:lnTo>
                  <a:lnTo>
                    <a:pt x="3119" y="302"/>
                  </a:lnTo>
                  <a:lnTo>
                    <a:pt x="3119" y="246"/>
                  </a:lnTo>
                  <a:lnTo>
                    <a:pt x="3119" y="195"/>
                  </a:lnTo>
                  <a:lnTo>
                    <a:pt x="3093" y="170"/>
                  </a:lnTo>
                  <a:lnTo>
                    <a:pt x="3086" y="170"/>
                  </a:lnTo>
                  <a:lnTo>
                    <a:pt x="3079" y="181"/>
                  </a:lnTo>
                  <a:lnTo>
                    <a:pt x="3061" y="184"/>
                  </a:lnTo>
                  <a:lnTo>
                    <a:pt x="3049" y="179"/>
                  </a:lnTo>
                  <a:lnTo>
                    <a:pt x="3047" y="176"/>
                  </a:lnTo>
                  <a:lnTo>
                    <a:pt x="3044" y="170"/>
                  </a:lnTo>
                  <a:lnTo>
                    <a:pt x="3037" y="163"/>
                  </a:lnTo>
                  <a:lnTo>
                    <a:pt x="3031" y="162"/>
                  </a:lnTo>
                  <a:lnTo>
                    <a:pt x="3025" y="166"/>
                  </a:lnTo>
                  <a:lnTo>
                    <a:pt x="2998" y="211"/>
                  </a:lnTo>
                  <a:lnTo>
                    <a:pt x="2994" y="235"/>
                  </a:lnTo>
                  <a:lnTo>
                    <a:pt x="2988" y="247"/>
                  </a:lnTo>
                  <a:lnTo>
                    <a:pt x="2987" y="253"/>
                  </a:lnTo>
                  <a:lnTo>
                    <a:pt x="2982" y="262"/>
                  </a:lnTo>
                  <a:lnTo>
                    <a:pt x="2979" y="269"/>
                  </a:lnTo>
                  <a:lnTo>
                    <a:pt x="2975" y="305"/>
                  </a:lnTo>
                  <a:lnTo>
                    <a:pt x="2974" y="307"/>
                  </a:lnTo>
                  <a:lnTo>
                    <a:pt x="2967" y="312"/>
                  </a:lnTo>
                  <a:lnTo>
                    <a:pt x="2964" y="317"/>
                  </a:lnTo>
                  <a:lnTo>
                    <a:pt x="2963" y="322"/>
                  </a:lnTo>
                  <a:lnTo>
                    <a:pt x="2964" y="328"/>
                  </a:lnTo>
                  <a:lnTo>
                    <a:pt x="2964" y="330"/>
                  </a:lnTo>
                  <a:lnTo>
                    <a:pt x="2957" y="327"/>
                  </a:lnTo>
                  <a:lnTo>
                    <a:pt x="2956" y="328"/>
                  </a:lnTo>
                  <a:lnTo>
                    <a:pt x="2956" y="334"/>
                  </a:lnTo>
                  <a:lnTo>
                    <a:pt x="2945" y="330"/>
                  </a:lnTo>
                  <a:lnTo>
                    <a:pt x="2936" y="333"/>
                  </a:lnTo>
                  <a:lnTo>
                    <a:pt x="2934" y="335"/>
                  </a:lnTo>
                  <a:lnTo>
                    <a:pt x="2921" y="337"/>
                  </a:lnTo>
                  <a:lnTo>
                    <a:pt x="2918" y="340"/>
                  </a:lnTo>
                  <a:lnTo>
                    <a:pt x="2912" y="356"/>
                  </a:lnTo>
                  <a:lnTo>
                    <a:pt x="2910" y="356"/>
                  </a:lnTo>
                  <a:lnTo>
                    <a:pt x="2812" y="356"/>
                  </a:lnTo>
                  <a:lnTo>
                    <a:pt x="2737" y="356"/>
                  </a:lnTo>
                  <a:lnTo>
                    <a:pt x="2722" y="356"/>
                  </a:lnTo>
                  <a:lnTo>
                    <a:pt x="2706" y="371"/>
                  </a:lnTo>
                  <a:lnTo>
                    <a:pt x="2687" y="382"/>
                  </a:lnTo>
                  <a:lnTo>
                    <a:pt x="2684" y="387"/>
                  </a:lnTo>
                  <a:lnTo>
                    <a:pt x="2683" y="388"/>
                  </a:lnTo>
                  <a:lnTo>
                    <a:pt x="2682" y="394"/>
                  </a:lnTo>
                  <a:lnTo>
                    <a:pt x="2676" y="404"/>
                  </a:lnTo>
                  <a:lnTo>
                    <a:pt x="2655" y="418"/>
                  </a:lnTo>
                  <a:lnTo>
                    <a:pt x="2651" y="423"/>
                  </a:lnTo>
                  <a:lnTo>
                    <a:pt x="2652" y="428"/>
                  </a:lnTo>
                  <a:lnTo>
                    <a:pt x="2660" y="428"/>
                  </a:lnTo>
                  <a:lnTo>
                    <a:pt x="2663" y="431"/>
                  </a:lnTo>
                  <a:lnTo>
                    <a:pt x="2662" y="436"/>
                  </a:lnTo>
                  <a:lnTo>
                    <a:pt x="2659" y="439"/>
                  </a:lnTo>
                  <a:lnTo>
                    <a:pt x="2655" y="437"/>
                  </a:lnTo>
                  <a:lnTo>
                    <a:pt x="2654" y="440"/>
                  </a:lnTo>
                  <a:lnTo>
                    <a:pt x="2655" y="442"/>
                  </a:lnTo>
                  <a:lnTo>
                    <a:pt x="2660" y="448"/>
                  </a:lnTo>
                  <a:lnTo>
                    <a:pt x="2661" y="458"/>
                  </a:lnTo>
                  <a:lnTo>
                    <a:pt x="2660" y="466"/>
                  </a:lnTo>
                  <a:lnTo>
                    <a:pt x="2643" y="468"/>
                  </a:lnTo>
                  <a:lnTo>
                    <a:pt x="2627" y="480"/>
                  </a:lnTo>
                  <a:lnTo>
                    <a:pt x="2617" y="484"/>
                  </a:lnTo>
                  <a:lnTo>
                    <a:pt x="2597" y="484"/>
                  </a:lnTo>
                  <a:lnTo>
                    <a:pt x="2593" y="483"/>
                  </a:lnTo>
                  <a:lnTo>
                    <a:pt x="2582" y="486"/>
                  </a:lnTo>
                  <a:lnTo>
                    <a:pt x="2575" y="480"/>
                  </a:lnTo>
                  <a:lnTo>
                    <a:pt x="2560" y="477"/>
                  </a:lnTo>
                  <a:lnTo>
                    <a:pt x="2553" y="477"/>
                  </a:lnTo>
                  <a:lnTo>
                    <a:pt x="2532" y="479"/>
                  </a:lnTo>
                  <a:lnTo>
                    <a:pt x="2511" y="484"/>
                  </a:lnTo>
                  <a:lnTo>
                    <a:pt x="2501" y="489"/>
                  </a:lnTo>
                  <a:lnTo>
                    <a:pt x="2504" y="499"/>
                  </a:lnTo>
                  <a:lnTo>
                    <a:pt x="2509" y="506"/>
                  </a:lnTo>
                  <a:lnTo>
                    <a:pt x="2511" y="518"/>
                  </a:lnTo>
                  <a:lnTo>
                    <a:pt x="2499" y="531"/>
                  </a:lnTo>
                  <a:lnTo>
                    <a:pt x="2495" y="536"/>
                  </a:lnTo>
                  <a:lnTo>
                    <a:pt x="2491" y="538"/>
                  </a:lnTo>
                  <a:lnTo>
                    <a:pt x="2488" y="539"/>
                  </a:lnTo>
                  <a:lnTo>
                    <a:pt x="2478" y="549"/>
                  </a:lnTo>
                  <a:lnTo>
                    <a:pt x="2461" y="560"/>
                  </a:lnTo>
                  <a:lnTo>
                    <a:pt x="2452" y="566"/>
                  </a:lnTo>
                  <a:lnTo>
                    <a:pt x="2441" y="568"/>
                  </a:lnTo>
                  <a:lnTo>
                    <a:pt x="2432" y="575"/>
                  </a:lnTo>
                  <a:lnTo>
                    <a:pt x="2419" y="582"/>
                  </a:lnTo>
                  <a:lnTo>
                    <a:pt x="2404" y="585"/>
                  </a:lnTo>
                  <a:lnTo>
                    <a:pt x="2386" y="593"/>
                  </a:lnTo>
                  <a:lnTo>
                    <a:pt x="2350" y="614"/>
                  </a:lnTo>
                  <a:lnTo>
                    <a:pt x="2334" y="614"/>
                  </a:lnTo>
                  <a:lnTo>
                    <a:pt x="2316" y="620"/>
                  </a:lnTo>
                  <a:lnTo>
                    <a:pt x="2296" y="618"/>
                  </a:lnTo>
                  <a:lnTo>
                    <a:pt x="2294" y="614"/>
                  </a:lnTo>
                  <a:lnTo>
                    <a:pt x="2286" y="614"/>
                  </a:lnTo>
                  <a:lnTo>
                    <a:pt x="2281" y="613"/>
                  </a:lnTo>
                  <a:lnTo>
                    <a:pt x="2274" y="607"/>
                  </a:lnTo>
                  <a:lnTo>
                    <a:pt x="2259" y="602"/>
                  </a:lnTo>
                  <a:lnTo>
                    <a:pt x="2264" y="595"/>
                  </a:lnTo>
                  <a:lnTo>
                    <a:pt x="2278" y="581"/>
                  </a:lnTo>
                  <a:lnTo>
                    <a:pt x="2278" y="570"/>
                  </a:lnTo>
                  <a:lnTo>
                    <a:pt x="2283" y="558"/>
                  </a:lnTo>
                  <a:lnTo>
                    <a:pt x="2289" y="553"/>
                  </a:lnTo>
                  <a:lnTo>
                    <a:pt x="2289" y="545"/>
                  </a:lnTo>
                  <a:lnTo>
                    <a:pt x="2290" y="541"/>
                  </a:lnTo>
                  <a:lnTo>
                    <a:pt x="2296" y="534"/>
                  </a:lnTo>
                  <a:lnTo>
                    <a:pt x="2308" y="534"/>
                  </a:lnTo>
                  <a:lnTo>
                    <a:pt x="2316" y="507"/>
                  </a:lnTo>
                  <a:lnTo>
                    <a:pt x="2316" y="500"/>
                  </a:lnTo>
                  <a:lnTo>
                    <a:pt x="2315" y="502"/>
                  </a:lnTo>
                  <a:lnTo>
                    <a:pt x="2312" y="496"/>
                  </a:lnTo>
                  <a:lnTo>
                    <a:pt x="2308" y="489"/>
                  </a:lnTo>
                  <a:lnTo>
                    <a:pt x="2306" y="467"/>
                  </a:lnTo>
                  <a:lnTo>
                    <a:pt x="2305" y="456"/>
                  </a:lnTo>
                  <a:lnTo>
                    <a:pt x="2301" y="445"/>
                  </a:lnTo>
                  <a:lnTo>
                    <a:pt x="2289" y="425"/>
                  </a:lnTo>
                  <a:lnTo>
                    <a:pt x="2280" y="426"/>
                  </a:lnTo>
                  <a:lnTo>
                    <a:pt x="2263" y="434"/>
                  </a:lnTo>
                  <a:lnTo>
                    <a:pt x="2262" y="435"/>
                  </a:lnTo>
                  <a:lnTo>
                    <a:pt x="2256" y="451"/>
                  </a:lnTo>
                  <a:lnTo>
                    <a:pt x="2248" y="456"/>
                  </a:lnTo>
                  <a:lnTo>
                    <a:pt x="2242" y="458"/>
                  </a:lnTo>
                  <a:lnTo>
                    <a:pt x="2235" y="456"/>
                  </a:lnTo>
                  <a:lnTo>
                    <a:pt x="2232" y="451"/>
                  </a:lnTo>
                  <a:lnTo>
                    <a:pt x="2235" y="442"/>
                  </a:lnTo>
                  <a:lnTo>
                    <a:pt x="2240" y="432"/>
                  </a:lnTo>
                  <a:lnTo>
                    <a:pt x="2254" y="421"/>
                  </a:lnTo>
                  <a:lnTo>
                    <a:pt x="2258" y="412"/>
                  </a:lnTo>
                  <a:lnTo>
                    <a:pt x="2264" y="404"/>
                  </a:lnTo>
                  <a:lnTo>
                    <a:pt x="2267" y="398"/>
                  </a:lnTo>
                  <a:lnTo>
                    <a:pt x="2267" y="388"/>
                  </a:lnTo>
                  <a:lnTo>
                    <a:pt x="2263" y="367"/>
                  </a:lnTo>
                  <a:lnTo>
                    <a:pt x="2259" y="360"/>
                  </a:lnTo>
                  <a:lnTo>
                    <a:pt x="2259" y="353"/>
                  </a:lnTo>
                  <a:lnTo>
                    <a:pt x="2262" y="349"/>
                  </a:lnTo>
                  <a:lnTo>
                    <a:pt x="2263" y="348"/>
                  </a:lnTo>
                  <a:lnTo>
                    <a:pt x="2257" y="334"/>
                  </a:lnTo>
                  <a:lnTo>
                    <a:pt x="2251" y="328"/>
                  </a:lnTo>
                  <a:lnTo>
                    <a:pt x="2235" y="323"/>
                  </a:lnTo>
                  <a:lnTo>
                    <a:pt x="2229" y="318"/>
                  </a:lnTo>
                  <a:lnTo>
                    <a:pt x="2225" y="316"/>
                  </a:lnTo>
                  <a:lnTo>
                    <a:pt x="2211" y="306"/>
                  </a:lnTo>
                  <a:lnTo>
                    <a:pt x="2206" y="303"/>
                  </a:lnTo>
                  <a:lnTo>
                    <a:pt x="2199" y="305"/>
                  </a:lnTo>
                  <a:lnTo>
                    <a:pt x="2198" y="302"/>
                  </a:lnTo>
                  <a:lnTo>
                    <a:pt x="2186" y="299"/>
                  </a:lnTo>
                  <a:lnTo>
                    <a:pt x="2175" y="300"/>
                  </a:lnTo>
                  <a:lnTo>
                    <a:pt x="2170" y="307"/>
                  </a:lnTo>
                  <a:lnTo>
                    <a:pt x="2170" y="312"/>
                  </a:lnTo>
                  <a:lnTo>
                    <a:pt x="2171" y="318"/>
                  </a:lnTo>
                  <a:lnTo>
                    <a:pt x="2176" y="324"/>
                  </a:lnTo>
                  <a:lnTo>
                    <a:pt x="2173" y="327"/>
                  </a:lnTo>
                  <a:lnTo>
                    <a:pt x="2160" y="333"/>
                  </a:lnTo>
                  <a:lnTo>
                    <a:pt x="2151" y="334"/>
                  </a:lnTo>
                  <a:lnTo>
                    <a:pt x="2150" y="349"/>
                  </a:lnTo>
                  <a:lnTo>
                    <a:pt x="2149" y="360"/>
                  </a:lnTo>
                  <a:lnTo>
                    <a:pt x="2144" y="361"/>
                  </a:lnTo>
                  <a:lnTo>
                    <a:pt x="2140" y="367"/>
                  </a:lnTo>
                  <a:lnTo>
                    <a:pt x="2139" y="364"/>
                  </a:lnTo>
                  <a:lnTo>
                    <a:pt x="2138" y="351"/>
                  </a:lnTo>
                  <a:lnTo>
                    <a:pt x="2135" y="345"/>
                  </a:lnTo>
                  <a:lnTo>
                    <a:pt x="2130" y="349"/>
                  </a:lnTo>
                  <a:lnTo>
                    <a:pt x="2125" y="355"/>
                  </a:lnTo>
                  <a:lnTo>
                    <a:pt x="2112" y="362"/>
                  </a:lnTo>
                  <a:lnTo>
                    <a:pt x="2109" y="372"/>
                  </a:lnTo>
                  <a:lnTo>
                    <a:pt x="2104" y="378"/>
                  </a:lnTo>
                  <a:lnTo>
                    <a:pt x="2104" y="389"/>
                  </a:lnTo>
                  <a:lnTo>
                    <a:pt x="2103" y="396"/>
                  </a:lnTo>
                  <a:lnTo>
                    <a:pt x="2102" y="408"/>
                  </a:lnTo>
                  <a:lnTo>
                    <a:pt x="2103" y="412"/>
                  </a:lnTo>
                  <a:lnTo>
                    <a:pt x="2097" y="416"/>
                  </a:lnTo>
                  <a:lnTo>
                    <a:pt x="2095" y="435"/>
                  </a:lnTo>
                  <a:lnTo>
                    <a:pt x="2090" y="457"/>
                  </a:lnTo>
                  <a:lnTo>
                    <a:pt x="2097" y="480"/>
                  </a:lnTo>
                  <a:lnTo>
                    <a:pt x="2103" y="490"/>
                  </a:lnTo>
                  <a:lnTo>
                    <a:pt x="2106" y="499"/>
                  </a:lnTo>
                  <a:lnTo>
                    <a:pt x="2104" y="533"/>
                  </a:lnTo>
                  <a:lnTo>
                    <a:pt x="2095" y="559"/>
                  </a:lnTo>
                  <a:lnTo>
                    <a:pt x="2084" y="580"/>
                  </a:lnTo>
                  <a:lnTo>
                    <a:pt x="2081" y="588"/>
                  </a:lnTo>
                  <a:lnTo>
                    <a:pt x="2068" y="597"/>
                  </a:lnTo>
                  <a:lnTo>
                    <a:pt x="2054" y="606"/>
                  </a:lnTo>
                  <a:lnTo>
                    <a:pt x="2046" y="606"/>
                  </a:lnTo>
                  <a:lnTo>
                    <a:pt x="2039" y="602"/>
                  </a:lnTo>
                  <a:lnTo>
                    <a:pt x="2034" y="601"/>
                  </a:lnTo>
                  <a:lnTo>
                    <a:pt x="2032" y="595"/>
                  </a:lnTo>
                  <a:lnTo>
                    <a:pt x="2028" y="582"/>
                  </a:lnTo>
                  <a:lnTo>
                    <a:pt x="2020" y="560"/>
                  </a:lnTo>
                  <a:lnTo>
                    <a:pt x="2020" y="545"/>
                  </a:lnTo>
                  <a:lnTo>
                    <a:pt x="2020" y="533"/>
                  </a:lnTo>
                  <a:lnTo>
                    <a:pt x="2020" y="525"/>
                  </a:lnTo>
                  <a:lnTo>
                    <a:pt x="2016" y="506"/>
                  </a:lnTo>
                  <a:lnTo>
                    <a:pt x="2015" y="490"/>
                  </a:lnTo>
                  <a:lnTo>
                    <a:pt x="2018" y="477"/>
                  </a:lnTo>
                  <a:lnTo>
                    <a:pt x="2027" y="456"/>
                  </a:lnTo>
                  <a:lnTo>
                    <a:pt x="2027" y="442"/>
                  </a:lnTo>
                  <a:lnTo>
                    <a:pt x="2030" y="432"/>
                  </a:lnTo>
                  <a:lnTo>
                    <a:pt x="2036" y="413"/>
                  </a:lnTo>
                  <a:lnTo>
                    <a:pt x="2036" y="404"/>
                  </a:lnTo>
                  <a:lnTo>
                    <a:pt x="2038" y="391"/>
                  </a:lnTo>
                  <a:lnTo>
                    <a:pt x="2043" y="378"/>
                  </a:lnTo>
                  <a:lnTo>
                    <a:pt x="2053" y="362"/>
                  </a:lnTo>
                  <a:lnTo>
                    <a:pt x="2060" y="344"/>
                  </a:lnTo>
                  <a:lnTo>
                    <a:pt x="2058" y="334"/>
                  </a:lnTo>
                  <a:lnTo>
                    <a:pt x="2044" y="350"/>
                  </a:lnTo>
                  <a:lnTo>
                    <a:pt x="2043" y="359"/>
                  </a:lnTo>
                  <a:lnTo>
                    <a:pt x="2041" y="367"/>
                  </a:lnTo>
                  <a:lnTo>
                    <a:pt x="2034" y="369"/>
                  </a:lnTo>
                  <a:lnTo>
                    <a:pt x="2011" y="389"/>
                  </a:lnTo>
                  <a:lnTo>
                    <a:pt x="2011" y="385"/>
                  </a:lnTo>
                  <a:lnTo>
                    <a:pt x="2018" y="369"/>
                  </a:lnTo>
                  <a:lnTo>
                    <a:pt x="2021" y="364"/>
                  </a:lnTo>
                  <a:lnTo>
                    <a:pt x="2027" y="359"/>
                  </a:lnTo>
                  <a:lnTo>
                    <a:pt x="2034" y="346"/>
                  </a:lnTo>
                  <a:lnTo>
                    <a:pt x="2057" y="308"/>
                  </a:lnTo>
                  <a:lnTo>
                    <a:pt x="2066" y="296"/>
                  </a:lnTo>
                  <a:lnTo>
                    <a:pt x="2070" y="297"/>
                  </a:lnTo>
                  <a:lnTo>
                    <a:pt x="2077" y="294"/>
                  </a:lnTo>
                  <a:lnTo>
                    <a:pt x="2085" y="287"/>
                  </a:lnTo>
                  <a:lnTo>
                    <a:pt x="2084" y="307"/>
                  </a:lnTo>
                  <a:lnTo>
                    <a:pt x="2090" y="306"/>
                  </a:lnTo>
                  <a:lnTo>
                    <a:pt x="2107" y="287"/>
                  </a:lnTo>
                  <a:lnTo>
                    <a:pt x="2120" y="284"/>
                  </a:lnTo>
                  <a:lnTo>
                    <a:pt x="2136" y="281"/>
                  </a:lnTo>
                  <a:lnTo>
                    <a:pt x="2144" y="273"/>
                  </a:lnTo>
                  <a:lnTo>
                    <a:pt x="2155" y="270"/>
                  </a:lnTo>
                  <a:lnTo>
                    <a:pt x="2167" y="274"/>
                  </a:lnTo>
                  <a:lnTo>
                    <a:pt x="2178" y="279"/>
                  </a:lnTo>
                  <a:lnTo>
                    <a:pt x="2181" y="281"/>
                  </a:lnTo>
                  <a:lnTo>
                    <a:pt x="2184" y="286"/>
                  </a:lnTo>
                  <a:lnTo>
                    <a:pt x="2193" y="286"/>
                  </a:lnTo>
                  <a:lnTo>
                    <a:pt x="2194" y="279"/>
                  </a:lnTo>
                  <a:lnTo>
                    <a:pt x="2197" y="275"/>
                  </a:lnTo>
                  <a:lnTo>
                    <a:pt x="2202" y="278"/>
                  </a:lnTo>
                  <a:lnTo>
                    <a:pt x="2205" y="284"/>
                  </a:lnTo>
                  <a:lnTo>
                    <a:pt x="2224" y="279"/>
                  </a:lnTo>
                  <a:lnTo>
                    <a:pt x="2231" y="279"/>
                  </a:lnTo>
                  <a:lnTo>
                    <a:pt x="2231" y="278"/>
                  </a:lnTo>
                  <a:lnTo>
                    <a:pt x="2230" y="275"/>
                  </a:lnTo>
                  <a:lnTo>
                    <a:pt x="2225" y="272"/>
                  </a:lnTo>
                  <a:lnTo>
                    <a:pt x="2221" y="267"/>
                  </a:lnTo>
                  <a:lnTo>
                    <a:pt x="2215" y="263"/>
                  </a:lnTo>
                  <a:lnTo>
                    <a:pt x="2215" y="252"/>
                  </a:lnTo>
                  <a:lnTo>
                    <a:pt x="2213" y="246"/>
                  </a:lnTo>
                  <a:lnTo>
                    <a:pt x="2211" y="242"/>
                  </a:lnTo>
                  <a:lnTo>
                    <a:pt x="2209" y="238"/>
                  </a:lnTo>
                  <a:lnTo>
                    <a:pt x="2202" y="238"/>
                  </a:lnTo>
                  <a:lnTo>
                    <a:pt x="2187" y="240"/>
                  </a:lnTo>
                  <a:lnTo>
                    <a:pt x="2179" y="238"/>
                  </a:lnTo>
                  <a:lnTo>
                    <a:pt x="2171" y="233"/>
                  </a:lnTo>
                  <a:lnTo>
                    <a:pt x="2171" y="222"/>
                  </a:lnTo>
                  <a:lnTo>
                    <a:pt x="2168" y="216"/>
                  </a:lnTo>
                  <a:lnTo>
                    <a:pt x="2160" y="216"/>
                  </a:lnTo>
                  <a:lnTo>
                    <a:pt x="2150" y="221"/>
                  </a:lnTo>
                  <a:lnTo>
                    <a:pt x="2141" y="224"/>
                  </a:lnTo>
                  <a:lnTo>
                    <a:pt x="2111" y="222"/>
                  </a:lnTo>
                  <a:lnTo>
                    <a:pt x="2101" y="229"/>
                  </a:lnTo>
                  <a:lnTo>
                    <a:pt x="2092" y="232"/>
                  </a:lnTo>
                  <a:lnTo>
                    <a:pt x="2085" y="240"/>
                  </a:lnTo>
                  <a:lnTo>
                    <a:pt x="2080" y="242"/>
                  </a:lnTo>
                  <a:lnTo>
                    <a:pt x="2055" y="237"/>
                  </a:lnTo>
                  <a:lnTo>
                    <a:pt x="2047" y="238"/>
                  </a:lnTo>
                  <a:lnTo>
                    <a:pt x="2036" y="227"/>
                  </a:lnTo>
                  <a:lnTo>
                    <a:pt x="2030" y="217"/>
                  </a:lnTo>
                  <a:lnTo>
                    <a:pt x="2011" y="208"/>
                  </a:lnTo>
                  <a:lnTo>
                    <a:pt x="1995" y="210"/>
                  </a:lnTo>
                  <a:lnTo>
                    <a:pt x="1990" y="209"/>
                  </a:lnTo>
                  <a:lnTo>
                    <a:pt x="1983" y="216"/>
                  </a:lnTo>
                  <a:lnTo>
                    <a:pt x="1982" y="213"/>
                  </a:lnTo>
                  <a:lnTo>
                    <a:pt x="1983" y="200"/>
                  </a:lnTo>
                  <a:lnTo>
                    <a:pt x="1988" y="194"/>
                  </a:lnTo>
                  <a:lnTo>
                    <a:pt x="1995" y="190"/>
                  </a:lnTo>
                  <a:lnTo>
                    <a:pt x="2011" y="171"/>
                  </a:lnTo>
                  <a:lnTo>
                    <a:pt x="2020" y="165"/>
                  </a:lnTo>
                  <a:lnTo>
                    <a:pt x="2021" y="160"/>
                  </a:lnTo>
                  <a:lnTo>
                    <a:pt x="2018" y="159"/>
                  </a:lnTo>
                  <a:lnTo>
                    <a:pt x="2007" y="160"/>
                  </a:lnTo>
                  <a:lnTo>
                    <a:pt x="1996" y="163"/>
                  </a:lnTo>
                  <a:lnTo>
                    <a:pt x="1985" y="170"/>
                  </a:lnTo>
                  <a:lnTo>
                    <a:pt x="1969" y="179"/>
                  </a:lnTo>
                  <a:lnTo>
                    <a:pt x="1958" y="193"/>
                  </a:lnTo>
                  <a:lnTo>
                    <a:pt x="1947" y="199"/>
                  </a:lnTo>
                  <a:lnTo>
                    <a:pt x="1936" y="208"/>
                  </a:lnTo>
                  <a:lnTo>
                    <a:pt x="1921" y="211"/>
                  </a:lnTo>
                  <a:lnTo>
                    <a:pt x="1909" y="215"/>
                  </a:lnTo>
                  <a:lnTo>
                    <a:pt x="1890" y="229"/>
                  </a:lnTo>
                  <a:lnTo>
                    <a:pt x="1877" y="230"/>
                  </a:lnTo>
                  <a:lnTo>
                    <a:pt x="1856" y="227"/>
                  </a:lnTo>
                  <a:lnTo>
                    <a:pt x="1853" y="232"/>
                  </a:lnTo>
                  <a:lnTo>
                    <a:pt x="1851" y="230"/>
                  </a:lnTo>
                  <a:lnTo>
                    <a:pt x="1854" y="219"/>
                  </a:lnTo>
                  <a:lnTo>
                    <a:pt x="1854" y="209"/>
                  </a:lnTo>
                  <a:lnTo>
                    <a:pt x="1848" y="203"/>
                  </a:lnTo>
                  <a:lnTo>
                    <a:pt x="1811" y="226"/>
                  </a:lnTo>
                  <a:lnTo>
                    <a:pt x="1799" y="229"/>
                  </a:lnTo>
                  <a:lnTo>
                    <a:pt x="1790" y="227"/>
                  </a:lnTo>
                  <a:lnTo>
                    <a:pt x="1785" y="221"/>
                  </a:lnTo>
                  <a:lnTo>
                    <a:pt x="1792" y="213"/>
                  </a:lnTo>
                  <a:lnTo>
                    <a:pt x="1831" y="179"/>
                  </a:lnTo>
                  <a:lnTo>
                    <a:pt x="1872" y="145"/>
                  </a:lnTo>
                  <a:lnTo>
                    <a:pt x="1892" y="138"/>
                  </a:lnTo>
                  <a:lnTo>
                    <a:pt x="1915" y="118"/>
                  </a:lnTo>
                  <a:lnTo>
                    <a:pt x="1910" y="118"/>
                  </a:lnTo>
                  <a:lnTo>
                    <a:pt x="1896" y="111"/>
                  </a:lnTo>
                  <a:lnTo>
                    <a:pt x="1870" y="111"/>
                  </a:lnTo>
                  <a:lnTo>
                    <a:pt x="1853" y="103"/>
                  </a:lnTo>
                  <a:lnTo>
                    <a:pt x="1844" y="104"/>
                  </a:lnTo>
                  <a:lnTo>
                    <a:pt x="1831" y="111"/>
                  </a:lnTo>
                  <a:lnTo>
                    <a:pt x="1824" y="112"/>
                  </a:lnTo>
                  <a:lnTo>
                    <a:pt x="1812" y="106"/>
                  </a:lnTo>
                  <a:lnTo>
                    <a:pt x="1805" y="96"/>
                  </a:lnTo>
                  <a:lnTo>
                    <a:pt x="1792" y="92"/>
                  </a:lnTo>
                  <a:lnTo>
                    <a:pt x="1785" y="86"/>
                  </a:lnTo>
                  <a:lnTo>
                    <a:pt x="1776" y="84"/>
                  </a:lnTo>
                  <a:lnTo>
                    <a:pt x="1772" y="81"/>
                  </a:lnTo>
                  <a:lnTo>
                    <a:pt x="1765" y="74"/>
                  </a:lnTo>
                  <a:lnTo>
                    <a:pt x="1757" y="68"/>
                  </a:lnTo>
                  <a:lnTo>
                    <a:pt x="1747" y="64"/>
                  </a:lnTo>
                  <a:lnTo>
                    <a:pt x="1721" y="63"/>
                  </a:lnTo>
                  <a:lnTo>
                    <a:pt x="1713" y="68"/>
                  </a:lnTo>
                  <a:lnTo>
                    <a:pt x="1702" y="68"/>
                  </a:lnTo>
                  <a:lnTo>
                    <a:pt x="1695" y="66"/>
                  </a:lnTo>
                  <a:lnTo>
                    <a:pt x="1695" y="64"/>
                  </a:lnTo>
                  <a:lnTo>
                    <a:pt x="1693" y="63"/>
                  </a:lnTo>
                  <a:lnTo>
                    <a:pt x="1679" y="59"/>
                  </a:lnTo>
                  <a:lnTo>
                    <a:pt x="1675" y="55"/>
                  </a:lnTo>
                  <a:lnTo>
                    <a:pt x="1665" y="58"/>
                  </a:lnTo>
                  <a:lnTo>
                    <a:pt x="1661" y="58"/>
                  </a:lnTo>
                  <a:lnTo>
                    <a:pt x="1660" y="55"/>
                  </a:lnTo>
                  <a:lnTo>
                    <a:pt x="1651" y="57"/>
                  </a:lnTo>
                  <a:lnTo>
                    <a:pt x="1643" y="34"/>
                  </a:lnTo>
                  <a:lnTo>
                    <a:pt x="1640" y="33"/>
                  </a:lnTo>
                  <a:lnTo>
                    <a:pt x="1629" y="1"/>
                  </a:lnTo>
                  <a:lnTo>
                    <a:pt x="1622" y="0"/>
                  </a:lnTo>
                  <a:lnTo>
                    <a:pt x="1617" y="0"/>
                  </a:lnTo>
                  <a:lnTo>
                    <a:pt x="1617" y="36"/>
                  </a:lnTo>
                  <a:lnTo>
                    <a:pt x="1558" y="36"/>
                  </a:lnTo>
                  <a:lnTo>
                    <a:pt x="1503" y="36"/>
                  </a:lnTo>
                  <a:lnTo>
                    <a:pt x="1491" y="36"/>
                  </a:lnTo>
                  <a:lnTo>
                    <a:pt x="1445" y="36"/>
                  </a:lnTo>
                  <a:lnTo>
                    <a:pt x="1397" y="36"/>
                  </a:lnTo>
                  <a:lnTo>
                    <a:pt x="1344" y="36"/>
                  </a:lnTo>
                  <a:lnTo>
                    <a:pt x="1294" y="36"/>
                  </a:lnTo>
                  <a:lnTo>
                    <a:pt x="1277" y="36"/>
                  </a:lnTo>
                  <a:lnTo>
                    <a:pt x="1130" y="36"/>
                  </a:lnTo>
                  <a:lnTo>
                    <a:pt x="1086" y="36"/>
                  </a:lnTo>
                  <a:lnTo>
                    <a:pt x="1032" y="36"/>
                  </a:lnTo>
                  <a:lnTo>
                    <a:pt x="983" y="36"/>
                  </a:lnTo>
                  <a:lnTo>
                    <a:pt x="936" y="36"/>
                  </a:lnTo>
                  <a:lnTo>
                    <a:pt x="888" y="36"/>
                  </a:lnTo>
                  <a:lnTo>
                    <a:pt x="834" y="36"/>
                  </a:lnTo>
                  <a:lnTo>
                    <a:pt x="802" y="36"/>
                  </a:lnTo>
                  <a:lnTo>
                    <a:pt x="753" y="34"/>
                  </a:lnTo>
                  <a:lnTo>
                    <a:pt x="699" y="34"/>
                  </a:lnTo>
                  <a:lnTo>
                    <a:pt x="649" y="34"/>
                  </a:lnTo>
                  <a:lnTo>
                    <a:pt x="580" y="34"/>
                  </a:lnTo>
                  <a:lnTo>
                    <a:pt x="471" y="34"/>
                  </a:lnTo>
                  <a:lnTo>
                    <a:pt x="418" y="34"/>
                  </a:lnTo>
                  <a:lnTo>
                    <a:pt x="365" y="34"/>
                  </a:lnTo>
                  <a:lnTo>
                    <a:pt x="320" y="34"/>
                  </a:lnTo>
                  <a:lnTo>
                    <a:pt x="270" y="34"/>
                  </a:lnTo>
                  <a:lnTo>
                    <a:pt x="218" y="34"/>
                  </a:lnTo>
                  <a:lnTo>
                    <a:pt x="167" y="34"/>
                  </a:lnTo>
                  <a:lnTo>
                    <a:pt x="105" y="34"/>
                  </a:lnTo>
                  <a:lnTo>
                    <a:pt x="108" y="43"/>
                  </a:lnTo>
                  <a:lnTo>
                    <a:pt x="113" y="50"/>
                  </a:lnTo>
                  <a:lnTo>
                    <a:pt x="121" y="50"/>
                  </a:lnTo>
                  <a:lnTo>
                    <a:pt x="129" y="53"/>
                  </a:lnTo>
                  <a:lnTo>
                    <a:pt x="133" y="58"/>
                  </a:lnTo>
                  <a:lnTo>
                    <a:pt x="132" y="59"/>
                  </a:lnTo>
                  <a:lnTo>
                    <a:pt x="128" y="57"/>
                  </a:lnTo>
                  <a:lnTo>
                    <a:pt x="124" y="58"/>
                  </a:lnTo>
                  <a:lnTo>
                    <a:pt x="124" y="66"/>
                  </a:lnTo>
                  <a:lnTo>
                    <a:pt x="119" y="74"/>
                  </a:lnTo>
                  <a:lnTo>
                    <a:pt x="116" y="75"/>
                  </a:lnTo>
                  <a:lnTo>
                    <a:pt x="116" y="76"/>
                  </a:lnTo>
                  <a:lnTo>
                    <a:pt x="122" y="81"/>
                  </a:lnTo>
                  <a:lnTo>
                    <a:pt x="127" y="84"/>
                  </a:lnTo>
                  <a:lnTo>
                    <a:pt x="128" y="87"/>
                  </a:lnTo>
                  <a:lnTo>
                    <a:pt x="133" y="103"/>
                  </a:lnTo>
                  <a:lnTo>
                    <a:pt x="133" y="119"/>
                  </a:lnTo>
                  <a:lnTo>
                    <a:pt x="132" y="133"/>
                  </a:lnTo>
                  <a:lnTo>
                    <a:pt x="130" y="133"/>
                  </a:lnTo>
                  <a:lnTo>
                    <a:pt x="127" y="125"/>
                  </a:lnTo>
                  <a:lnTo>
                    <a:pt x="124" y="125"/>
                  </a:lnTo>
                  <a:lnTo>
                    <a:pt x="118" y="127"/>
                  </a:lnTo>
                  <a:lnTo>
                    <a:pt x="111" y="143"/>
                  </a:lnTo>
                  <a:lnTo>
                    <a:pt x="101" y="150"/>
                  </a:lnTo>
                  <a:lnTo>
                    <a:pt x="98" y="155"/>
                  </a:lnTo>
                  <a:lnTo>
                    <a:pt x="101" y="156"/>
                  </a:lnTo>
                  <a:lnTo>
                    <a:pt x="101" y="162"/>
                  </a:lnTo>
                  <a:lnTo>
                    <a:pt x="92" y="162"/>
                  </a:lnTo>
                  <a:lnTo>
                    <a:pt x="92" y="151"/>
                  </a:lnTo>
                  <a:lnTo>
                    <a:pt x="101" y="130"/>
                  </a:lnTo>
                  <a:lnTo>
                    <a:pt x="103" y="127"/>
                  </a:lnTo>
                  <a:lnTo>
                    <a:pt x="109" y="124"/>
                  </a:lnTo>
                  <a:lnTo>
                    <a:pt x="111" y="122"/>
                  </a:lnTo>
                  <a:lnTo>
                    <a:pt x="112" y="112"/>
                  </a:lnTo>
                  <a:lnTo>
                    <a:pt x="109" y="104"/>
                  </a:lnTo>
                  <a:lnTo>
                    <a:pt x="98" y="106"/>
                  </a:lnTo>
                  <a:lnTo>
                    <a:pt x="84" y="100"/>
                  </a:lnTo>
                  <a:lnTo>
                    <a:pt x="70" y="101"/>
                  </a:lnTo>
                  <a:lnTo>
                    <a:pt x="58" y="98"/>
                  </a:lnTo>
                  <a:lnTo>
                    <a:pt x="48" y="98"/>
                  </a:lnTo>
                  <a:lnTo>
                    <a:pt x="19" y="87"/>
                  </a:lnTo>
                  <a:lnTo>
                    <a:pt x="9" y="81"/>
                  </a:lnTo>
                  <a:lnTo>
                    <a:pt x="4" y="86"/>
                  </a:lnTo>
                  <a:lnTo>
                    <a:pt x="1" y="96"/>
                  </a:lnTo>
                  <a:lnTo>
                    <a:pt x="0" y="106"/>
                  </a:lnTo>
                  <a:lnTo>
                    <a:pt x="3" y="113"/>
                  </a:lnTo>
                  <a:lnTo>
                    <a:pt x="6" y="122"/>
                  </a:lnTo>
                  <a:lnTo>
                    <a:pt x="15" y="131"/>
                  </a:lnTo>
                  <a:lnTo>
                    <a:pt x="21" y="147"/>
                  </a:lnTo>
                  <a:lnTo>
                    <a:pt x="28" y="181"/>
                  </a:lnTo>
                  <a:lnTo>
                    <a:pt x="32" y="193"/>
                  </a:lnTo>
                  <a:lnTo>
                    <a:pt x="33" y="194"/>
                  </a:lnTo>
                  <a:lnTo>
                    <a:pt x="38" y="188"/>
                  </a:lnTo>
                  <a:lnTo>
                    <a:pt x="42" y="193"/>
                  </a:lnTo>
                  <a:lnTo>
                    <a:pt x="41" y="199"/>
                  </a:lnTo>
                  <a:lnTo>
                    <a:pt x="37" y="205"/>
                  </a:lnTo>
                  <a:lnTo>
                    <a:pt x="37" y="211"/>
                  </a:lnTo>
                  <a:lnTo>
                    <a:pt x="38" y="215"/>
                  </a:lnTo>
                  <a:lnTo>
                    <a:pt x="42" y="216"/>
                  </a:lnTo>
                  <a:lnTo>
                    <a:pt x="46" y="215"/>
                  </a:lnTo>
                  <a:lnTo>
                    <a:pt x="47" y="217"/>
                  </a:lnTo>
                  <a:lnTo>
                    <a:pt x="46" y="225"/>
                  </a:lnTo>
                  <a:lnTo>
                    <a:pt x="47" y="236"/>
                  </a:lnTo>
                  <a:lnTo>
                    <a:pt x="46" y="240"/>
                  </a:lnTo>
                  <a:lnTo>
                    <a:pt x="43" y="238"/>
                  </a:lnTo>
                  <a:lnTo>
                    <a:pt x="42" y="229"/>
                  </a:lnTo>
                  <a:lnTo>
                    <a:pt x="38" y="225"/>
                  </a:lnTo>
                  <a:lnTo>
                    <a:pt x="37" y="238"/>
                  </a:lnTo>
                  <a:lnTo>
                    <a:pt x="39" y="246"/>
                  </a:lnTo>
                  <a:lnTo>
                    <a:pt x="47" y="252"/>
                  </a:lnTo>
                  <a:lnTo>
                    <a:pt x="68" y="251"/>
                  </a:lnTo>
                  <a:lnTo>
                    <a:pt x="74" y="257"/>
                  </a:lnTo>
                  <a:lnTo>
                    <a:pt x="81" y="260"/>
                  </a:lnTo>
                  <a:lnTo>
                    <a:pt x="80" y="264"/>
                  </a:lnTo>
                  <a:lnTo>
                    <a:pt x="68" y="259"/>
                  </a:lnTo>
                  <a:lnTo>
                    <a:pt x="48" y="262"/>
                  </a:lnTo>
                  <a:lnTo>
                    <a:pt x="46" y="264"/>
                  </a:lnTo>
                  <a:lnTo>
                    <a:pt x="44" y="269"/>
                  </a:lnTo>
                  <a:lnTo>
                    <a:pt x="43" y="285"/>
                  </a:lnTo>
                  <a:lnTo>
                    <a:pt x="43" y="291"/>
                  </a:lnTo>
                  <a:lnTo>
                    <a:pt x="47" y="295"/>
                  </a:lnTo>
                  <a:lnTo>
                    <a:pt x="44" y="301"/>
                  </a:lnTo>
                  <a:lnTo>
                    <a:pt x="46" y="312"/>
                  </a:lnTo>
                  <a:lnTo>
                    <a:pt x="42" y="321"/>
                  </a:lnTo>
                  <a:lnTo>
                    <a:pt x="41" y="353"/>
                  </a:lnTo>
                  <a:lnTo>
                    <a:pt x="37" y="366"/>
                  </a:lnTo>
                  <a:lnTo>
                    <a:pt x="38" y="409"/>
                  </a:lnTo>
                  <a:lnTo>
                    <a:pt x="36" y="419"/>
                  </a:lnTo>
                  <a:lnTo>
                    <a:pt x="36" y="431"/>
                  </a:lnTo>
                  <a:lnTo>
                    <a:pt x="30" y="457"/>
                  </a:lnTo>
                  <a:lnTo>
                    <a:pt x="28" y="464"/>
                  </a:lnTo>
                  <a:lnTo>
                    <a:pt x="30" y="466"/>
                  </a:lnTo>
                  <a:lnTo>
                    <a:pt x="31" y="466"/>
                  </a:lnTo>
                  <a:lnTo>
                    <a:pt x="32" y="474"/>
                  </a:lnTo>
                  <a:lnTo>
                    <a:pt x="26" y="478"/>
                  </a:lnTo>
                  <a:lnTo>
                    <a:pt x="20" y="488"/>
                  </a:lnTo>
                  <a:lnTo>
                    <a:pt x="15" y="515"/>
                  </a:lnTo>
                  <a:lnTo>
                    <a:pt x="17" y="529"/>
                  </a:lnTo>
                  <a:lnTo>
                    <a:pt x="20" y="555"/>
                  </a:lnTo>
                  <a:lnTo>
                    <a:pt x="27" y="576"/>
                  </a:lnTo>
                  <a:lnTo>
                    <a:pt x="28" y="580"/>
                  </a:lnTo>
                  <a:lnTo>
                    <a:pt x="31" y="590"/>
                  </a:lnTo>
                  <a:lnTo>
                    <a:pt x="39" y="624"/>
                  </a:lnTo>
                  <a:lnTo>
                    <a:pt x="36" y="646"/>
                  </a:lnTo>
                  <a:lnTo>
                    <a:pt x="36" y="667"/>
                  </a:lnTo>
                  <a:lnTo>
                    <a:pt x="30" y="678"/>
                  </a:lnTo>
                  <a:lnTo>
                    <a:pt x="22" y="688"/>
                  </a:lnTo>
                  <a:lnTo>
                    <a:pt x="22" y="697"/>
                  </a:lnTo>
                  <a:lnTo>
                    <a:pt x="24" y="701"/>
                  </a:lnTo>
                  <a:lnTo>
                    <a:pt x="30" y="706"/>
                  </a:lnTo>
                  <a:lnTo>
                    <a:pt x="54" y="747"/>
                  </a:lnTo>
                  <a:lnTo>
                    <a:pt x="55" y="752"/>
                  </a:lnTo>
                  <a:lnTo>
                    <a:pt x="54" y="758"/>
                  </a:lnTo>
                  <a:lnTo>
                    <a:pt x="54" y="769"/>
                  </a:lnTo>
                  <a:lnTo>
                    <a:pt x="63" y="806"/>
                  </a:lnTo>
                  <a:lnTo>
                    <a:pt x="69" y="813"/>
                  </a:lnTo>
                  <a:lnTo>
                    <a:pt x="78" y="824"/>
                  </a:lnTo>
                  <a:lnTo>
                    <a:pt x="95" y="841"/>
                  </a:lnTo>
                  <a:lnTo>
                    <a:pt x="98" y="850"/>
                  </a:lnTo>
                  <a:lnTo>
                    <a:pt x="98" y="857"/>
                  </a:lnTo>
                  <a:lnTo>
                    <a:pt x="100" y="862"/>
                  </a:lnTo>
                  <a:lnTo>
                    <a:pt x="108" y="868"/>
                  </a:lnTo>
                  <a:lnTo>
                    <a:pt x="114" y="868"/>
                  </a:lnTo>
                  <a:lnTo>
                    <a:pt x="116" y="872"/>
                  </a:lnTo>
                  <a:lnTo>
                    <a:pt x="119" y="872"/>
                  </a:lnTo>
                  <a:lnTo>
                    <a:pt x="122" y="870"/>
                  </a:lnTo>
                  <a:lnTo>
                    <a:pt x="123" y="868"/>
                  </a:lnTo>
                  <a:lnTo>
                    <a:pt x="124" y="854"/>
                  </a:lnTo>
                  <a:lnTo>
                    <a:pt x="138" y="854"/>
                  </a:lnTo>
                  <a:lnTo>
                    <a:pt x="150" y="859"/>
                  </a:lnTo>
                  <a:lnTo>
                    <a:pt x="144" y="864"/>
                  </a:lnTo>
                  <a:lnTo>
                    <a:pt x="138" y="865"/>
                  </a:lnTo>
                  <a:lnTo>
                    <a:pt x="133" y="870"/>
                  </a:lnTo>
                  <a:lnTo>
                    <a:pt x="134" y="876"/>
                  </a:lnTo>
                  <a:lnTo>
                    <a:pt x="144" y="894"/>
                  </a:lnTo>
                  <a:lnTo>
                    <a:pt x="145" y="899"/>
                  </a:lnTo>
                  <a:lnTo>
                    <a:pt x="137" y="893"/>
                  </a:lnTo>
                  <a:lnTo>
                    <a:pt x="130" y="886"/>
                  </a:lnTo>
                  <a:lnTo>
                    <a:pt x="129" y="881"/>
                  </a:lnTo>
                  <a:lnTo>
                    <a:pt x="124" y="880"/>
                  </a:lnTo>
                  <a:lnTo>
                    <a:pt x="123" y="887"/>
                  </a:lnTo>
                  <a:lnTo>
                    <a:pt x="124" y="894"/>
                  </a:lnTo>
                  <a:lnTo>
                    <a:pt x="129" y="905"/>
                  </a:lnTo>
                  <a:lnTo>
                    <a:pt x="133" y="925"/>
                  </a:lnTo>
                  <a:lnTo>
                    <a:pt x="143" y="934"/>
                  </a:lnTo>
                  <a:lnTo>
                    <a:pt x="155" y="936"/>
                  </a:lnTo>
                  <a:lnTo>
                    <a:pt x="161" y="946"/>
                  </a:lnTo>
                  <a:lnTo>
                    <a:pt x="161" y="958"/>
                  </a:lnTo>
                  <a:lnTo>
                    <a:pt x="155" y="963"/>
                  </a:lnTo>
                  <a:lnTo>
                    <a:pt x="155" y="977"/>
                  </a:lnTo>
                  <a:lnTo>
                    <a:pt x="157" y="980"/>
                  </a:lnTo>
                  <a:lnTo>
                    <a:pt x="180" y="1004"/>
                  </a:lnTo>
                  <a:lnTo>
                    <a:pt x="192" y="1023"/>
                  </a:lnTo>
                  <a:lnTo>
                    <a:pt x="207" y="1038"/>
                  </a:lnTo>
                  <a:lnTo>
                    <a:pt x="213" y="1042"/>
                  </a:lnTo>
                  <a:lnTo>
                    <a:pt x="214" y="1053"/>
                  </a:lnTo>
                  <a:lnTo>
                    <a:pt x="223" y="1056"/>
                  </a:lnTo>
                  <a:lnTo>
                    <a:pt x="227" y="1064"/>
                  </a:lnTo>
                  <a:lnTo>
                    <a:pt x="227" y="1066"/>
                  </a:lnTo>
                  <a:lnTo>
                    <a:pt x="226" y="1072"/>
                  </a:lnTo>
                  <a:lnTo>
                    <a:pt x="226" y="1081"/>
                  </a:lnTo>
                  <a:lnTo>
                    <a:pt x="229" y="1096"/>
                  </a:lnTo>
                  <a:lnTo>
                    <a:pt x="231" y="1099"/>
                  </a:lnTo>
                  <a:lnTo>
                    <a:pt x="238" y="1102"/>
                  </a:lnTo>
                  <a:lnTo>
                    <a:pt x="257" y="1104"/>
                  </a:lnTo>
                  <a:lnTo>
                    <a:pt x="268" y="1110"/>
                  </a:lnTo>
                  <a:lnTo>
                    <a:pt x="273" y="1108"/>
                  </a:lnTo>
                  <a:lnTo>
                    <a:pt x="280" y="1109"/>
                  </a:lnTo>
                  <a:lnTo>
                    <a:pt x="289" y="1114"/>
                  </a:lnTo>
                  <a:lnTo>
                    <a:pt x="299" y="1118"/>
                  </a:lnTo>
                  <a:lnTo>
                    <a:pt x="302" y="1124"/>
                  </a:lnTo>
                  <a:lnTo>
                    <a:pt x="318" y="1130"/>
                  </a:lnTo>
                  <a:lnTo>
                    <a:pt x="324" y="1134"/>
                  </a:lnTo>
                  <a:lnTo>
                    <a:pt x="328" y="1137"/>
                  </a:lnTo>
                  <a:lnTo>
                    <a:pt x="331" y="1131"/>
                  </a:lnTo>
                  <a:lnTo>
                    <a:pt x="336" y="1131"/>
                  </a:lnTo>
                  <a:lnTo>
                    <a:pt x="339" y="1134"/>
                  </a:lnTo>
                  <a:lnTo>
                    <a:pt x="348" y="1141"/>
                  </a:lnTo>
                  <a:lnTo>
                    <a:pt x="349" y="1151"/>
                  </a:lnTo>
                  <a:lnTo>
                    <a:pt x="350" y="1153"/>
                  </a:lnTo>
                  <a:lnTo>
                    <a:pt x="364" y="1155"/>
                  </a:lnTo>
                  <a:lnTo>
                    <a:pt x="376" y="1161"/>
                  </a:lnTo>
                  <a:lnTo>
                    <a:pt x="383" y="1167"/>
                  </a:lnTo>
                  <a:lnTo>
                    <a:pt x="397" y="1183"/>
                  </a:lnTo>
                  <a:lnTo>
                    <a:pt x="406" y="1192"/>
                  </a:lnTo>
                  <a:lnTo>
                    <a:pt x="412" y="1201"/>
                  </a:lnTo>
                  <a:lnTo>
                    <a:pt x="415" y="1227"/>
                  </a:lnTo>
                  <a:lnTo>
                    <a:pt x="417" y="1233"/>
                  </a:lnTo>
                  <a:lnTo>
                    <a:pt x="541" y="1223"/>
                  </a:lnTo>
                  <a:lnTo>
                    <a:pt x="542" y="1230"/>
                  </a:lnTo>
                  <a:lnTo>
                    <a:pt x="751" y="1307"/>
                  </a:lnTo>
                  <a:lnTo>
                    <a:pt x="854" y="1307"/>
                  </a:lnTo>
                  <a:lnTo>
                    <a:pt x="898" y="1307"/>
                  </a:lnTo>
                  <a:lnTo>
                    <a:pt x="899" y="1277"/>
                  </a:lnTo>
                  <a:lnTo>
                    <a:pt x="989" y="1276"/>
                  </a:lnTo>
                  <a:lnTo>
                    <a:pt x="999" y="1282"/>
                  </a:lnTo>
                  <a:lnTo>
                    <a:pt x="1004" y="1285"/>
                  </a:lnTo>
                  <a:lnTo>
                    <a:pt x="1011" y="1297"/>
                  </a:lnTo>
                  <a:lnTo>
                    <a:pt x="1023" y="1303"/>
                  </a:lnTo>
                  <a:lnTo>
                    <a:pt x="1032" y="1316"/>
                  </a:lnTo>
                  <a:lnTo>
                    <a:pt x="1052" y="1333"/>
                  </a:lnTo>
                  <a:lnTo>
                    <a:pt x="1081" y="1352"/>
                  </a:lnTo>
                  <a:lnTo>
                    <a:pt x="1095" y="1403"/>
                  </a:lnTo>
                  <a:lnTo>
                    <a:pt x="1109" y="1421"/>
                  </a:lnTo>
                  <a:lnTo>
                    <a:pt x="1128" y="1437"/>
                  </a:lnTo>
                  <a:lnTo>
                    <a:pt x="1152" y="1453"/>
                  </a:lnTo>
                  <a:lnTo>
                    <a:pt x="1176" y="1458"/>
                  </a:lnTo>
                  <a:lnTo>
                    <a:pt x="1199" y="1411"/>
                  </a:lnTo>
                  <a:lnTo>
                    <a:pt x="1202" y="1408"/>
                  </a:lnTo>
                  <a:lnTo>
                    <a:pt x="1213" y="1403"/>
                  </a:lnTo>
                  <a:lnTo>
                    <a:pt x="1224" y="1406"/>
                  </a:lnTo>
                  <a:lnTo>
                    <a:pt x="1269" y="1404"/>
                  </a:lnTo>
                  <a:lnTo>
                    <a:pt x="1277" y="1414"/>
                  </a:lnTo>
                  <a:lnTo>
                    <a:pt x="1294" y="1430"/>
                  </a:lnTo>
                  <a:lnTo>
                    <a:pt x="1300" y="1440"/>
                  </a:lnTo>
                  <a:lnTo>
                    <a:pt x="1311" y="1448"/>
                  </a:lnTo>
                  <a:lnTo>
                    <a:pt x="1331" y="1494"/>
                  </a:lnTo>
                  <a:lnTo>
                    <a:pt x="1347" y="1511"/>
                  </a:lnTo>
                  <a:lnTo>
                    <a:pt x="1355" y="1531"/>
                  </a:lnTo>
                  <a:lnTo>
                    <a:pt x="1372" y="1542"/>
                  </a:lnTo>
                  <a:lnTo>
                    <a:pt x="1387" y="1589"/>
                  </a:lnTo>
                  <a:lnTo>
                    <a:pt x="1404" y="1615"/>
                  </a:lnTo>
                  <a:lnTo>
                    <a:pt x="1421" y="1626"/>
                  </a:lnTo>
                  <a:lnTo>
                    <a:pt x="1435" y="1628"/>
                  </a:lnTo>
                  <a:lnTo>
                    <a:pt x="1450" y="1636"/>
                  </a:lnTo>
                  <a:lnTo>
                    <a:pt x="1477" y="1639"/>
                  </a:lnTo>
                  <a:lnTo>
                    <a:pt x="1495" y="1647"/>
                  </a:lnTo>
                  <a:lnTo>
                    <a:pt x="1512" y="1648"/>
                  </a:lnTo>
                  <a:lnTo>
                    <a:pt x="1514" y="1647"/>
                  </a:lnTo>
                  <a:lnTo>
                    <a:pt x="1509" y="1644"/>
                  </a:lnTo>
                  <a:lnTo>
                    <a:pt x="1505" y="1632"/>
                  </a:lnTo>
                  <a:lnTo>
                    <a:pt x="1503" y="1625"/>
                  </a:lnTo>
                  <a:lnTo>
                    <a:pt x="1501" y="1624"/>
                  </a:lnTo>
                  <a:lnTo>
                    <a:pt x="1495" y="1598"/>
                  </a:lnTo>
                  <a:lnTo>
                    <a:pt x="1494" y="1588"/>
                  </a:lnTo>
                  <a:lnTo>
                    <a:pt x="1499" y="1585"/>
                  </a:lnTo>
                  <a:lnTo>
                    <a:pt x="1499" y="1572"/>
                  </a:lnTo>
                  <a:lnTo>
                    <a:pt x="1498" y="1571"/>
                  </a:lnTo>
                  <a:lnTo>
                    <a:pt x="1491" y="1570"/>
                  </a:lnTo>
                  <a:lnTo>
                    <a:pt x="1489" y="1567"/>
                  </a:lnTo>
                  <a:lnTo>
                    <a:pt x="1490" y="1564"/>
                  </a:lnTo>
                  <a:lnTo>
                    <a:pt x="1498" y="1564"/>
                  </a:lnTo>
                  <a:lnTo>
                    <a:pt x="1500" y="1566"/>
                  </a:lnTo>
                  <a:lnTo>
                    <a:pt x="1505" y="1564"/>
                  </a:lnTo>
                  <a:lnTo>
                    <a:pt x="1506" y="1556"/>
                  </a:lnTo>
                  <a:lnTo>
                    <a:pt x="1506" y="1543"/>
                  </a:lnTo>
                  <a:lnTo>
                    <a:pt x="1501" y="1533"/>
                  </a:lnTo>
                  <a:lnTo>
                    <a:pt x="1516" y="1531"/>
                  </a:lnTo>
                  <a:lnTo>
                    <a:pt x="1521" y="1521"/>
                  </a:lnTo>
                  <a:lnTo>
                    <a:pt x="1520" y="1518"/>
                  </a:lnTo>
                  <a:lnTo>
                    <a:pt x="1515" y="1519"/>
                  </a:lnTo>
                  <a:lnTo>
                    <a:pt x="1515" y="1515"/>
                  </a:lnTo>
                  <a:lnTo>
                    <a:pt x="1525" y="1508"/>
                  </a:lnTo>
                  <a:lnTo>
                    <a:pt x="1528" y="1510"/>
                  </a:lnTo>
                  <a:lnTo>
                    <a:pt x="1533" y="1502"/>
                  </a:lnTo>
                  <a:lnTo>
                    <a:pt x="1534" y="1500"/>
                  </a:lnTo>
                  <a:lnTo>
                    <a:pt x="1537" y="1496"/>
                  </a:lnTo>
                  <a:lnTo>
                    <a:pt x="1547" y="1496"/>
                  </a:lnTo>
                  <a:lnTo>
                    <a:pt x="1550" y="1494"/>
                  </a:lnTo>
                  <a:lnTo>
                    <a:pt x="1552" y="1489"/>
                  </a:lnTo>
                  <a:lnTo>
                    <a:pt x="1546" y="1485"/>
                  </a:lnTo>
                  <a:lnTo>
                    <a:pt x="1546" y="1480"/>
                  </a:lnTo>
                  <a:lnTo>
                    <a:pt x="1547" y="1476"/>
                  </a:lnTo>
                  <a:lnTo>
                    <a:pt x="1552" y="1479"/>
                  </a:lnTo>
                  <a:lnTo>
                    <a:pt x="1555" y="1481"/>
                  </a:lnTo>
                  <a:lnTo>
                    <a:pt x="1557" y="1481"/>
                  </a:lnTo>
                  <a:lnTo>
                    <a:pt x="1557" y="1476"/>
                  </a:lnTo>
                  <a:lnTo>
                    <a:pt x="1558" y="1475"/>
                  </a:lnTo>
                  <a:lnTo>
                    <a:pt x="1559" y="1476"/>
                  </a:lnTo>
                  <a:lnTo>
                    <a:pt x="1563" y="1480"/>
                  </a:lnTo>
                  <a:lnTo>
                    <a:pt x="1564" y="1480"/>
                  </a:lnTo>
                  <a:lnTo>
                    <a:pt x="1566" y="1479"/>
                  </a:lnTo>
                  <a:lnTo>
                    <a:pt x="1569" y="1475"/>
                  </a:lnTo>
                  <a:lnTo>
                    <a:pt x="1570" y="1474"/>
                  </a:lnTo>
                  <a:lnTo>
                    <a:pt x="1571" y="1483"/>
                  </a:lnTo>
                  <a:lnTo>
                    <a:pt x="1587" y="1476"/>
                  </a:lnTo>
                  <a:lnTo>
                    <a:pt x="1590" y="1478"/>
                  </a:lnTo>
                  <a:lnTo>
                    <a:pt x="1590" y="1479"/>
                  </a:lnTo>
                  <a:lnTo>
                    <a:pt x="1585" y="1481"/>
                  </a:lnTo>
                  <a:lnTo>
                    <a:pt x="1575" y="1485"/>
                  </a:lnTo>
                  <a:lnTo>
                    <a:pt x="1566" y="1489"/>
                  </a:lnTo>
                  <a:lnTo>
                    <a:pt x="1565" y="1492"/>
                  </a:lnTo>
                  <a:lnTo>
                    <a:pt x="1568" y="1492"/>
                  </a:lnTo>
                  <a:lnTo>
                    <a:pt x="1584" y="1486"/>
                  </a:lnTo>
                  <a:lnTo>
                    <a:pt x="1598" y="1479"/>
                  </a:lnTo>
                  <a:lnTo>
                    <a:pt x="1606" y="1473"/>
                  </a:lnTo>
                  <a:lnTo>
                    <a:pt x="1619" y="1463"/>
                  </a:lnTo>
                  <a:lnTo>
                    <a:pt x="1622" y="1459"/>
                  </a:lnTo>
                  <a:lnTo>
                    <a:pt x="1628" y="1443"/>
                  </a:lnTo>
                  <a:lnTo>
                    <a:pt x="1629" y="1410"/>
                  </a:lnTo>
                  <a:lnTo>
                    <a:pt x="1632" y="1408"/>
                  </a:lnTo>
                  <a:lnTo>
                    <a:pt x="1635" y="1406"/>
                  </a:lnTo>
                  <a:lnTo>
                    <a:pt x="1638" y="1406"/>
                  </a:lnTo>
                  <a:lnTo>
                    <a:pt x="1638" y="1419"/>
                  </a:lnTo>
                  <a:lnTo>
                    <a:pt x="1645" y="1419"/>
                  </a:lnTo>
                  <a:lnTo>
                    <a:pt x="1643" y="1422"/>
                  </a:lnTo>
                  <a:lnTo>
                    <a:pt x="1636" y="1425"/>
                  </a:lnTo>
                  <a:lnTo>
                    <a:pt x="1639" y="1426"/>
                  </a:lnTo>
                  <a:lnTo>
                    <a:pt x="1659" y="1419"/>
                  </a:lnTo>
                  <a:lnTo>
                    <a:pt x="1671" y="1411"/>
                  </a:lnTo>
                  <a:lnTo>
                    <a:pt x="1688" y="1411"/>
                  </a:lnTo>
                  <a:lnTo>
                    <a:pt x="1719" y="1406"/>
                  </a:lnTo>
                  <a:lnTo>
                    <a:pt x="1740" y="1413"/>
                  </a:lnTo>
                  <a:lnTo>
                    <a:pt x="1751" y="1418"/>
                  </a:lnTo>
                  <a:lnTo>
                    <a:pt x="1763" y="1420"/>
                  </a:lnTo>
                  <a:lnTo>
                    <a:pt x="1775" y="1420"/>
                  </a:lnTo>
                  <a:lnTo>
                    <a:pt x="1781" y="1414"/>
                  </a:lnTo>
                  <a:lnTo>
                    <a:pt x="1781" y="1409"/>
                  </a:lnTo>
                  <a:lnTo>
                    <a:pt x="1784" y="1405"/>
                  </a:lnTo>
                  <a:lnTo>
                    <a:pt x="1794" y="1405"/>
                  </a:lnTo>
                  <a:lnTo>
                    <a:pt x="1810" y="1414"/>
                  </a:lnTo>
                  <a:lnTo>
                    <a:pt x="1816" y="1421"/>
                  </a:lnTo>
                  <a:lnTo>
                    <a:pt x="1822" y="1422"/>
                  </a:lnTo>
                  <a:lnTo>
                    <a:pt x="1833" y="1440"/>
                  </a:lnTo>
                  <a:lnTo>
                    <a:pt x="1845" y="1440"/>
                  </a:lnTo>
                  <a:lnTo>
                    <a:pt x="1848" y="1442"/>
                  </a:lnTo>
                  <a:lnTo>
                    <a:pt x="1856" y="1445"/>
                  </a:lnTo>
                  <a:lnTo>
                    <a:pt x="1864" y="1441"/>
                  </a:lnTo>
                  <a:lnTo>
                    <a:pt x="1870" y="1445"/>
                  </a:lnTo>
                  <a:lnTo>
                    <a:pt x="1875" y="1442"/>
                  </a:lnTo>
                  <a:lnTo>
                    <a:pt x="1880" y="1442"/>
                  </a:lnTo>
                  <a:lnTo>
                    <a:pt x="1890" y="1445"/>
                  </a:lnTo>
                  <a:lnTo>
                    <a:pt x="1897" y="1436"/>
                  </a:lnTo>
                  <a:lnTo>
                    <a:pt x="1898" y="1433"/>
                  </a:lnTo>
                  <a:lnTo>
                    <a:pt x="1897" y="1429"/>
                  </a:lnTo>
                  <a:lnTo>
                    <a:pt x="1899" y="1427"/>
                  </a:lnTo>
                  <a:lnTo>
                    <a:pt x="1904" y="1427"/>
                  </a:lnTo>
                  <a:lnTo>
                    <a:pt x="1912" y="1435"/>
                  </a:lnTo>
                  <a:lnTo>
                    <a:pt x="1923" y="1440"/>
                  </a:lnTo>
                  <a:lnTo>
                    <a:pt x="1934" y="1453"/>
                  </a:lnTo>
                  <a:lnTo>
                    <a:pt x="1937" y="1452"/>
                  </a:lnTo>
                  <a:lnTo>
                    <a:pt x="1945" y="1449"/>
                  </a:lnTo>
                  <a:lnTo>
                    <a:pt x="1946" y="1445"/>
                  </a:lnTo>
                  <a:lnTo>
                    <a:pt x="1941" y="1438"/>
                  </a:lnTo>
                  <a:lnTo>
                    <a:pt x="1925" y="1430"/>
                  </a:lnTo>
                  <a:lnTo>
                    <a:pt x="1918" y="1420"/>
                  </a:lnTo>
                  <a:lnTo>
                    <a:pt x="1918" y="1418"/>
                  </a:lnTo>
                  <a:lnTo>
                    <a:pt x="1923" y="1410"/>
                  </a:lnTo>
                  <a:lnTo>
                    <a:pt x="1934" y="1402"/>
                  </a:lnTo>
                  <a:lnTo>
                    <a:pt x="1936" y="1387"/>
                  </a:lnTo>
                  <a:lnTo>
                    <a:pt x="1934" y="1386"/>
                  </a:lnTo>
                  <a:lnTo>
                    <a:pt x="1933" y="1384"/>
                  </a:lnTo>
                  <a:lnTo>
                    <a:pt x="1920" y="1389"/>
                  </a:lnTo>
                  <a:lnTo>
                    <a:pt x="1914" y="1395"/>
                  </a:lnTo>
                  <a:lnTo>
                    <a:pt x="1910" y="1394"/>
                  </a:lnTo>
                  <a:lnTo>
                    <a:pt x="1908" y="1383"/>
                  </a:lnTo>
                  <a:lnTo>
                    <a:pt x="1905" y="1382"/>
                  </a:lnTo>
                  <a:lnTo>
                    <a:pt x="1902" y="1383"/>
                  </a:lnTo>
                  <a:lnTo>
                    <a:pt x="1893" y="1388"/>
                  </a:lnTo>
                  <a:lnTo>
                    <a:pt x="1883" y="1389"/>
                  </a:lnTo>
                  <a:lnTo>
                    <a:pt x="1876" y="1382"/>
                  </a:lnTo>
                  <a:lnTo>
                    <a:pt x="1878" y="1371"/>
                  </a:lnTo>
                  <a:lnTo>
                    <a:pt x="1891" y="1367"/>
                  </a:lnTo>
                  <a:lnTo>
                    <a:pt x="1905" y="1375"/>
                  </a:lnTo>
                  <a:lnTo>
                    <a:pt x="1921" y="1377"/>
                  </a:lnTo>
                  <a:lnTo>
                    <a:pt x="1934" y="1371"/>
                  </a:lnTo>
                  <a:lnTo>
                    <a:pt x="1942" y="1373"/>
                  </a:lnTo>
                  <a:lnTo>
                    <a:pt x="1953" y="1366"/>
                  </a:lnTo>
                  <a:lnTo>
                    <a:pt x="1987" y="1368"/>
                  </a:lnTo>
                  <a:lnTo>
                    <a:pt x="1995" y="1370"/>
                  </a:lnTo>
                  <a:lnTo>
                    <a:pt x="1999" y="1367"/>
                  </a:lnTo>
                  <a:lnTo>
                    <a:pt x="2007" y="1334"/>
                  </a:lnTo>
                  <a:lnTo>
                    <a:pt x="2010" y="1341"/>
                  </a:lnTo>
                  <a:lnTo>
                    <a:pt x="2010" y="1350"/>
                  </a:lnTo>
                  <a:lnTo>
                    <a:pt x="2012" y="1363"/>
                  </a:lnTo>
                  <a:lnTo>
                    <a:pt x="2012" y="1367"/>
                  </a:lnTo>
                  <a:lnTo>
                    <a:pt x="2010" y="1373"/>
                  </a:lnTo>
                  <a:lnTo>
                    <a:pt x="2011" y="1377"/>
                  </a:lnTo>
                  <a:lnTo>
                    <a:pt x="2020" y="1376"/>
                  </a:lnTo>
                  <a:lnTo>
                    <a:pt x="2041" y="1370"/>
                  </a:lnTo>
                  <a:lnTo>
                    <a:pt x="2049" y="1361"/>
                  </a:lnTo>
                  <a:lnTo>
                    <a:pt x="2054" y="1361"/>
                  </a:lnTo>
                  <a:lnTo>
                    <a:pt x="2059" y="1356"/>
                  </a:lnTo>
                  <a:lnTo>
                    <a:pt x="2061" y="1356"/>
                  </a:lnTo>
                  <a:lnTo>
                    <a:pt x="2061" y="1359"/>
                  </a:lnTo>
                  <a:lnTo>
                    <a:pt x="2058" y="1366"/>
                  </a:lnTo>
                  <a:lnTo>
                    <a:pt x="2065" y="1366"/>
                  </a:lnTo>
                  <a:lnTo>
                    <a:pt x="2087" y="1361"/>
                  </a:lnTo>
                  <a:lnTo>
                    <a:pt x="2098" y="1361"/>
                  </a:lnTo>
                  <a:lnTo>
                    <a:pt x="2103" y="1362"/>
                  </a:lnTo>
                  <a:lnTo>
                    <a:pt x="2102" y="1366"/>
                  </a:lnTo>
                  <a:lnTo>
                    <a:pt x="2100" y="1367"/>
                  </a:lnTo>
                  <a:lnTo>
                    <a:pt x="2100" y="1370"/>
                  </a:lnTo>
                  <a:lnTo>
                    <a:pt x="2107" y="1373"/>
                  </a:lnTo>
                  <a:lnTo>
                    <a:pt x="2117" y="1377"/>
                  </a:lnTo>
                  <a:lnTo>
                    <a:pt x="2143" y="1392"/>
                  </a:lnTo>
                  <a:lnTo>
                    <a:pt x="2147" y="1397"/>
                  </a:lnTo>
                  <a:lnTo>
                    <a:pt x="2152" y="1406"/>
                  </a:lnTo>
                  <a:lnTo>
                    <a:pt x="2157" y="1410"/>
                  </a:lnTo>
                  <a:lnTo>
                    <a:pt x="2171" y="1406"/>
                  </a:lnTo>
                  <a:lnTo>
                    <a:pt x="2186" y="1404"/>
                  </a:lnTo>
                  <a:lnTo>
                    <a:pt x="2199" y="1397"/>
                  </a:lnTo>
                  <a:lnTo>
                    <a:pt x="2205" y="1397"/>
                  </a:lnTo>
                  <a:lnTo>
                    <a:pt x="2206" y="1397"/>
                  </a:lnTo>
                  <a:lnTo>
                    <a:pt x="2208" y="1390"/>
                  </a:lnTo>
                  <a:lnTo>
                    <a:pt x="2213" y="1387"/>
                  </a:lnTo>
                  <a:lnTo>
                    <a:pt x="2221" y="1387"/>
                  </a:lnTo>
                  <a:lnTo>
                    <a:pt x="2226" y="1387"/>
                  </a:lnTo>
                  <a:lnTo>
                    <a:pt x="2236" y="1390"/>
                  </a:lnTo>
                  <a:lnTo>
                    <a:pt x="2243" y="1398"/>
                  </a:lnTo>
                  <a:lnTo>
                    <a:pt x="2253" y="1409"/>
                  </a:lnTo>
                  <a:lnTo>
                    <a:pt x="2258" y="1411"/>
                  </a:lnTo>
                  <a:lnTo>
                    <a:pt x="2259" y="1421"/>
                  </a:lnTo>
                  <a:lnTo>
                    <a:pt x="2264" y="1424"/>
                  </a:lnTo>
                  <a:lnTo>
                    <a:pt x="2274" y="1437"/>
                  </a:lnTo>
                  <a:lnTo>
                    <a:pt x="2280" y="1441"/>
                  </a:lnTo>
                  <a:lnTo>
                    <a:pt x="2292" y="1446"/>
                  </a:lnTo>
                  <a:lnTo>
                    <a:pt x="2295" y="1449"/>
                  </a:lnTo>
                  <a:lnTo>
                    <a:pt x="2296" y="1457"/>
                  </a:lnTo>
                  <a:lnTo>
                    <a:pt x="2297" y="1476"/>
                  </a:lnTo>
                  <a:lnTo>
                    <a:pt x="2292" y="1511"/>
                  </a:lnTo>
                  <a:lnTo>
                    <a:pt x="2292" y="1517"/>
                  </a:lnTo>
                  <a:lnTo>
                    <a:pt x="2295" y="1527"/>
                  </a:lnTo>
                  <a:lnTo>
                    <a:pt x="2295" y="1528"/>
                  </a:lnTo>
                  <a:lnTo>
                    <a:pt x="2300" y="1528"/>
                  </a:lnTo>
                  <a:lnTo>
                    <a:pt x="2301" y="1518"/>
                  </a:lnTo>
                  <a:lnTo>
                    <a:pt x="2305" y="1521"/>
                  </a:lnTo>
                  <a:lnTo>
                    <a:pt x="2308" y="1524"/>
                  </a:lnTo>
                  <a:lnTo>
                    <a:pt x="2305" y="1537"/>
                  </a:lnTo>
                  <a:lnTo>
                    <a:pt x="2303" y="1545"/>
                  </a:lnTo>
                  <a:lnTo>
                    <a:pt x="2305" y="1556"/>
                  </a:lnTo>
                  <a:lnTo>
                    <a:pt x="2310" y="1566"/>
                  </a:lnTo>
                  <a:lnTo>
                    <a:pt x="2323" y="1587"/>
                  </a:lnTo>
                  <a:lnTo>
                    <a:pt x="2326" y="1587"/>
                  </a:lnTo>
                  <a:lnTo>
                    <a:pt x="2333" y="1585"/>
                  </a:lnTo>
                  <a:lnTo>
                    <a:pt x="2335" y="1602"/>
                  </a:lnTo>
                  <a:lnTo>
                    <a:pt x="2340" y="1601"/>
                  </a:lnTo>
                  <a:lnTo>
                    <a:pt x="2338" y="1605"/>
                  </a:lnTo>
                  <a:lnTo>
                    <a:pt x="2337" y="1609"/>
                  </a:lnTo>
                  <a:lnTo>
                    <a:pt x="2345" y="1623"/>
                  </a:lnTo>
                  <a:lnTo>
                    <a:pt x="2349" y="1635"/>
                  </a:lnTo>
                  <a:lnTo>
                    <a:pt x="2353" y="1641"/>
                  </a:lnTo>
                  <a:lnTo>
                    <a:pt x="2358" y="1647"/>
                  </a:lnTo>
                  <a:lnTo>
                    <a:pt x="2366" y="1647"/>
                  </a:lnTo>
                  <a:lnTo>
                    <a:pt x="2371" y="1653"/>
                  </a:lnTo>
                  <a:lnTo>
                    <a:pt x="2381" y="1674"/>
                  </a:lnTo>
                  <a:lnTo>
                    <a:pt x="2381" y="1688"/>
                  </a:lnTo>
                  <a:lnTo>
                    <a:pt x="2382" y="1690"/>
                  </a:lnTo>
                  <a:lnTo>
                    <a:pt x="2386" y="1693"/>
                  </a:lnTo>
                  <a:lnTo>
                    <a:pt x="2399" y="1693"/>
                  </a:lnTo>
                  <a:lnTo>
                    <a:pt x="2409" y="1690"/>
                  </a:lnTo>
                  <a:lnTo>
                    <a:pt x="2421" y="1684"/>
                  </a:lnTo>
                  <a:lnTo>
                    <a:pt x="2429" y="1688"/>
                  </a:lnTo>
                  <a:lnTo>
                    <a:pt x="2432" y="1680"/>
                  </a:lnTo>
                  <a:lnTo>
                    <a:pt x="2429" y="1677"/>
                  </a:lnTo>
                  <a:lnTo>
                    <a:pt x="2434" y="1657"/>
                  </a:lnTo>
                  <a:lnTo>
                    <a:pt x="2440" y="1636"/>
                  </a:lnTo>
                  <a:lnTo>
                    <a:pt x="2442" y="1617"/>
                  </a:lnTo>
                  <a:lnTo>
                    <a:pt x="2440" y="1597"/>
                  </a:lnTo>
                  <a:lnTo>
                    <a:pt x="2441" y="1583"/>
                  </a:lnTo>
                  <a:lnTo>
                    <a:pt x="2424" y="1539"/>
                  </a:lnTo>
                  <a:lnTo>
                    <a:pt x="2414" y="1522"/>
                  </a:lnTo>
                  <a:lnTo>
                    <a:pt x="2412" y="1508"/>
                  </a:lnTo>
                  <a:lnTo>
                    <a:pt x="2414" y="1492"/>
                  </a:lnTo>
                  <a:lnTo>
                    <a:pt x="2412" y="1483"/>
                  </a:lnTo>
                  <a:lnTo>
                    <a:pt x="2404" y="1469"/>
                  </a:lnTo>
                  <a:lnTo>
                    <a:pt x="2387" y="1441"/>
                  </a:lnTo>
                  <a:lnTo>
                    <a:pt x="2374" y="1400"/>
                  </a:lnTo>
                  <a:lnTo>
                    <a:pt x="2362" y="1354"/>
                  </a:lnTo>
                  <a:lnTo>
                    <a:pt x="2365" y="1348"/>
                  </a:lnTo>
                  <a:lnTo>
                    <a:pt x="2365" y="1332"/>
                  </a:lnTo>
                  <a:lnTo>
                    <a:pt x="2371" y="1322"/>
                  </a:lnTo>
                  <a:lnTo>
                    <a:pt x="2374" y="1311"/>
                  </a:lnTo>
                  <a:lnTo>
                    <a:pt x="2377" y="1302"/>
                  </a:lnTo>
                  <a:lnTo>
                    <a:pt x="2389" y="1274"/>
                  </a:lnTo>
                  <a:lnTo>
                    <a:pt x="2396" y="1264"/>
                  </a:lnTo>
                  <a:lnTo>
                    <a:pt x="2398" y="1264"/>
                  </a:lnTo>
                  <a:lnTo>
                    <a:pt x="2398" y="1259"/>
                  </a:lnTo>
                  <a:lnTo>
                    <a:pt x="2399" y="1257"/>
                  </a:lnTo>
                  <a:lnTo>
                    <a:pt x="2408" y="1252"/>
                  </a:lnTo>
                  <a:lnTo>
                    <a:pt x="2413" y="1252"/>
                  </a:lnTo>
                  <a:lnTo>
                    <a:pt x="2417" y="1247"/>
                  </a:lnTo>
                  <a:lnTo>
                    <a:pt x="2414" y="1242"/>
                  </a:lnTo>
                  <a:lnTo>
                    <a:pt x="2409" y="1234"/>
                  </a:lnTo>
                  <a:lnTo>
                    <a:pt x="2409" y="1232"/>
                  </a:lnTo>
                  <a:lnTo>
                    <a:pt x="2409" y="1230"/>
                  </a:lnTo>
                  <a:lnTo>
                    <a:pt x="2425" y="1228"/>
                  </a:lnTo>
                  <a:lnTo>
                    <a:pt x="2441" y="1230"/>
                  </a:lnTo>
                  <a:lnTo>
                    <a:pt x="2446" y="1228"/>
                  </a:lnTo>
                  <a:lnTo>
                    <a:pt x="2468" y="1210"/>
                  </a:lnTo>
                  <a:lnTo>
                    <a:pt x="2471" y="1210"/>
                  </a:lnTo>
                  <a:lnTo>
                    <a:pt x="2475" y="1206"/>
                  </a:lnTo>
                  <a:lnTo>
                    <a:pt x="2478" y="1199"/>
                  </a:lnTo>
                  <a:lnTo>
                    <a:pt x="2487" y="1196"/>
                  </a:lnTo>
                  <a:lnTo>
                    <a:pt x="2493" y="1192"/>
                  </a:lnTo>
                  <a:lnTo>
                    <a:pt x="2495" y="1185"/>
                  </a:lnTo>
                  <a:lnTo>
                    <a:pt x="2493" y="1179"/>
                  </a:lnTo>
                  <a:lnTo>
                    <a:pt x="2499" y="1174"/>
                  </a:lnTo>
                  <a:lnTo>
                    <a:pt x="2505" y="1163"/>
                  </a:lnTo>
                  <a:lnTo>
                    <a:pt x="2512" y="1156"/>
                  </a:lnTo>
                  <a:lnTo>
                    <a:pt x="2526" y="1150"/>
                  </a:lnTo>
                  <a:lnTo>
                    <a:pt x="2527" y="1145"/>
                  </a:lnTo>
                  <a:lnTo>
                    <a:pt x="2533" y="1144"/>
                  </a:lnTo>
                  <a:lnTo>
                    <a:pt x="2550" y="1141"/>
                  </a:lnTo>
                  <a:lnTo>
                    <a:pt x="2569" y="1133"/>
                  </a:lnTo>
                  <a:lnTo>
                    <a:pt x="2571" y="1126"/>
                  </a:lnTo>
                  <a:lnTo>
                    <a:pt x="2574" y="1123"/>
                  </a:lnTo>
                  <a:lnTo>
                    <a:pt x="2579" y="1118"/>
                  </a:lnTo>
                  <a:lnTo>
                    <a:pt x="2585" y="1109"/>
                  </a:lnTo>
                  <a:lnTo>
                    <a:pt x="2592" y="1103"/>
                  </a:lnTo>
                  <a:lnTo>
                    <a:pt x="2611" y="1094"/>
                  </a:lnTo>
                  <a:lnTo>
                    <a:pt x="2631" y="1093"/>
                  </a:lnTo>
                  <a:lnTo>
                    <a:pt x="2646" y="1083"/>
                  </a:lnTo>
                  <a:lnTo>
                    <a:pt x="2649" y="1079"/>
                  </a:lnTo>
                  <a:lnTo>
                    <a:pt x="2649" y="1071"/>
                  </a:lnTo>
                  <a:lnTo>
                    <a:pt x="2640" y="1069"/>
                  </a:lnTo>
                  <a:lnTo>
                    <a:pt x="2635" y="1071"/>
                  </a:lnTo>
                  <a:lnTo>
                    <a:pt x="2634" y="1074"/>
                  </a:lnTo>
                  <a:lnTo>
                    <a:pt x="2634" y="1071"/>
                  </a:lnTo>
                  <a:lnTo>
                    <a:pt x="2634" y="1065"/>
                  </a:lnTo>
                  <a:lnTo>
                    <a:pt x="2639" y="1061"/>
                  </a:lnTo>
                  <a:lnTo>
                    <a:pt x="2640" y="1056"/>
                  </a:lnTo>
                  <a:lnTo>
                    <a:pt x="2645" y="1053"/>
                  </a:lnTo>
                  <a:lnTo>
                    <a:pt x="2641" y="1048"/>
                  </a:lnTo>
                  <a:lnTo>
                    <a:pt x="2625" y="1042"/>
                  </a:lnTo>
                  <a:lnTo>
                    <a:pt x="2639" y="1042"/>
                  </a:lnTo>
                  <a:lnTo>
                    <a:pt x="2645" y="1037"/>
                  </a:lnTo>
                  <a:lnTo>
                    <a:pt x="2647" y="1043"/>
                  </a:lnTo>
                  <a:lnTo>
                    <a:pt x="2651" y="1043"/>
                  </a:lnTo>
                  <a:lnTo>
                    <a:pt x="2655" y="1048"/>
                  </a:lnTo>
                  <a:lnTo>
                    <a:pt x="2665" y="1048"/>
                  </a:lnTo>
                  <a:lnTo>
                    <a:pt x="2671" y="1044"/>
                  </a:lnTo>
                  <a:lnTo>
                    <a:pt x="2679" y="1032"/>
                  </a:lnTo>
                  <a:lnTo>
                    <a:pt x="2686" y="1028"/>
                  </a:lnTo>
                  <a:lnTo>
                    <a:pt x="2686" y="1020"/>
                  </a:lnTo>
                  <a:lnTo>
                    <a:pt x="2684" y="1013"/>
                  </a:lnTo>
                  <a:lnTo>
                    <a:pt x="2679" y="1007"/>
                  </a:lnTo>
                  <a:lnTo>
                    <a:pt x="2674" y="1012"/>
                  </a:lnTo>
                  <a:lnTo>
                    <a:pt x="2670" y="1023"/>
                  </a:lnTo>
                  <a:lnTo>
                    <a:pt x="2667" y="1018"/>
                  </a:lnTo>
                  <a:lnTo>
                    <a:pt x="2666" y="1006"/>
                  </a:lnTo>
                  <a:lnTo>
                    <a:pt x="2641" y="1010"/>
                  </a:lnTo>
                  <a:lnTo>
                    <a:pt x="2635" y="1008"/>
                  </a:lnTo>
                  <a:lnTo>
                    <a:pt x="2634" y="1001"/>
                  </a:lnTo>
                  <a:lnTo>
                    <a:pt x="2634" y="986"/>
                  </a:lnTo>
                  <a:lnTo>
                    <a:pt x="2635" y="984"/>
                  </a:lnTo>
                  <a:lnTo>
                    <a:pt x="2639" y="997"/>
                  </a:lnTo>
                  <a:lnTo>
                    <a:pt x="2643" y="1000"/>
                  </a:lnTo>
                  <a:lnTo>
                    <a:pt x="2647" y="1000"/>
                  </a:lnTo>
                  <a:lnTo>
                    <a:pt x="2662" y="991"/>
                  </a:lnTo>
                  <a:lnTo>
                    <a:pt x="2666" y="993"/>
                  </a:lnTo>
                  <a:lnTo>
                    <a:pt x="2666" y="989"/>
                  </a:lnTo>
                  <a:lnTo>
                    <a:pt x="2672" y="991"/>
                  </a:lnTo>
                  <a:lnTo>
                    <a:pt x="2678" y="991"/>
                  </a:lnTo>
                  <a:lnTo>
                    <a:pt x="2682" y="999"/>
                  </a:lnTo>
                  <a:lnTo>
                    <a:pt x="2682" y="997"/>
                  </a:lnTo>
                  <a:lnTo>
                    <a:pt x="2679" y="990"/>
                  </a:lnTo>
                  <a:lnTo>
                    <a:pt x="2677" y="984"/>
                  </a:lnTo>
                  <a:lnTo>
                    <a:pt x="2674" y="975"/>
                  </a:lnTo>
                  <a:lnTo>
                    <a:pt x="2673" y="973"/>
                  </a:lnTo>
                  <a:lnTo>
                    <a:pt x="2676" y="957"/>
                  </a:lnTo>
                  <a:lnTo>
                    <a:pt x="2674" y="943"/>
                  </a:lnTo>
                  <a:lnTo>
                    <a:pt x="2657" y="938"/>
                  </a:lnTo>
                  <a:lnTo>
                    <a:pt x="2655" y="940"/>
                  </a:lnTo>
                  <a:lnTo>
                    <a:pt x="2654" y="942"/>
                  </a:lnTo>
                  <a:lnTo>
                    <a:pt x="2647" y="940"/>
                  </a:lnTo>
                  <a:lnTo>
                    <a:pt x="2643" y="936"/>
                  </a:lnTo>
                  <a:lnTo>
                    <a:pt x="2643" y="931"/>
                  </a:lnTo>
                  <a:lnTo>
                    <a:pt x="2652" y="931"/>
                  </a:lnTo>
                  <a:lnTo>
                    <a:pt x="2657" y="929"/>
                  </a:lnTo>
                  <a:lnTo>
                    <a:pt x="2656" y="925"/>
                  </a:lnTo>
                  <a:lnTo>
                    <a:pt x="2651" y="923"/>
                  </a:lnTo>
                  <a:lnTo>
                    <a:pt x="2649" y="916"/>
                  </a:lnTo>
                  <a:lnTo>
                    <a:pt x="2649" y="913"/>
                  </a:lnTo>
                  <a:lnTo>
                    <a:pt x="2654" y="910"/>
                  </a:lnTo>
                  <a:lnTo>
                    <a:pt x="2657" y="910"/>
                  </a:lnTo>
                  <a:lnTo>
                    <a:pt x="2654" y="903"/>
                  </a:lnTo>
                  <a:lnTo>
                    <a:pt x="2649" y="899"/>
                  </a:lnTo>
                  <a:lnTo>
                    <a:pt x="2647" y="892"/>
                  </a:lnTo>
                  <a:lnTo>
                    <a:pt x="2647" y="891"/>
                  </a:lnTo>
                  <a:lnTo>
                    <a:pt x="2651" y="889"/>
                  </a:lnTo>
                  <a:lnTo>
                    <a:pt x="2654" y="877"/>
                  </a:lnTo>
                  <a:lnTo>
                    <a:pt x="2654" y="871"/>
                  </a:lnTo>
                  <a:lnTo>
                    <a:pt x="2647" y="864"/>
                  </a:lnTo>
                  <a:lnTo>
                    <a:pt x="2635" y="857"/>
                  </a:lnTo>
                  <a:lnTo>
                    <a:pt x="2625" y="855"/>
                  </a:lnTo>
                  <a:lnTo>
                    <a:pt x="2616" y="846"/>
                  </a:lnTo>
                  <a:lnTo>
                    <a:pt x="2598" y="838"/>
                  </a:lnTo>
                  <a:lnTo>
                    <a:pt x="2597" y="835"/>
                  </a:lnTo>
                  <a:lnTo>
                    <a:pt x="2597" y="832"/>
                  </a:lnTo>
                  <a:lnTo>
                    <a:pt x="2600" y="825"/>
                  </a:lnTo>
                  <a:lnTo>
                    <a:pt x="2604" y="824"/>
                  </a:lnTo>
                  <a:lnTo>
                    <a:pt x="2604" y="827"/>
                  </a:lnTo>
                  <a:lnTo>
                    <a:pt x="2601" y="833"/>
                  </a:lnTo>
                  <a:lnTo>
                    <a:pt x="2603" y="835"/>
                  </a:lnTo>
                  <a:lnTo>
                    <a:pt x="2611" y="837"/>
                  </a:lnTo>
                  <a:lnTo>
                    <a:pt x="2622" y="843"/>
                  </a:lnTo>
                  <a:lnTo>
                    <a:pt x="2628" y="843"/>
                  </a:lnTo>
                  <a:lnTo>
                    <a:pt x="2631" y="846"/>
                  </a:lnTo>
                  <a:lnTo>
                    <a:pt x="2639" y="849"/>
                  </a:lnTo>
                  <a:lnTo>
                    <a:pt x="2644" y="854"/>
                  </a:lnTo>
                  <a:lnTo>
                    <a:pt x="2651" y="857"/>
                  </a:lnTo>
                  <a:lnTo>
                    <a:pt x="2646" y="841"/>
                  </a:lnTo>
                  <a:lnTo>
                    <a:pt x="2640" y="835"/>
                  </a:lnTo>
                  <a:lnTo>
                    <a:pt x="2645" y="834"/>
                  </a:lnTo>
                  <a:lnTo>
                    <a:pt x="2645" y="833"/>
                  </a:lnTo>
                  <a:lnTo>
                    <a:pt x="2643" y="828"/>
                  </a:lnTo>
                  <a:lnTo>
                    <a:pt x="2641" y="816"/>
                  </a:lnTo>
                  <a:lnTo>
                    <a:pt x="2644" y="790"/>
                  </a:lnTo>
                  <a:lnTo>
                    <a:pt x="2641" y="781"/>
                  </a:lnTo>
                  <a:lnTo>
                    <a:pt x="2649" y="778"/>
                  </a:lnTo>
                  <a:lnTo>
                    <a:pt x="2662" y="767"/>
                  </a:lnTo>
                  <a:lnTo>
                    <a:pt x="2666" y="760"/>
                  </a:lnTo>
                  <a:lnTo>
                    <a:pt x="2668" y="755"/>
                  </a:lnTo>
                  <a:lnTo>
                    <a:pt x="2671" y="755"/>
                  </a:lnTo>
                  <a:lnTo>
                    <a:pt x="2673" y="758"/>
                  </a:lnTo>
                  <a:lnTo>
                    <a:pt x="2674" y="760"/>
                  </a:lnTo>
                  <a:lnTo>
                    <a:pt x="2672" y="767"/>
                  </a:lnTo>
                  <a:lnTo>
                    <a:pt x="2670" y="770"/>
                  </a:lnTo>
                  <a:lnTo>
                    <a:pt x="2665" y="773"/>
                  </a:lnTo>
                  <a:lnTo>
                    <a:pt x="2661" y="778"/>
                  </a:lnTo>
                  <a:lnTo>
                    <a:pt x="2661" y="782"/>
                  </a:lnTo>
                  <a:lnTo>
                    <a:pt x="2663" y="789"/>
                  </a:lnTo>
                  <a:lnTo>
                    <a:pt x="2662" y="792"/>
                  </a:lnTo>
                  <a:lnTo>
                    <a:pt x="2655" y="801"/>
                  </a:lnTo>
                  <a:lnTo>
                    <a:pt x="2656" y="803"/>
                  </a:lnTo>
                  <a:lnTo>
                    <a:pt x="2662" y="803"/>
                  </a:lnTo>
                  <a:lnTo>
                    <a:pt x="2663" y="806"/>
                  </a:lnTo>
                  <a:lnTo>
                    <a:pt x="2663" y="812"/>
                  </a:lnTo>
                  <a:lnTo>
                    <a:pt x="2663" y="821"/>
                  </a:lnTo>
                  <a:lnTo>
                    <a:pt x="2660" y="823"/>
                  </a:lnTo>
                  <a:lnTo>
                    <a:pt x="2657" y="827"/>
                  </a:lnTo>
                  <a:lnTo>
                    <a:pt x="2656" y="832"/>
                  </a:lnTo>
                  <a:lnTo>
                    <a:pt x="2657" y="838"/>
                  </a:lnTo>
                  <a:lnTo>
                    <a:pt x="2663" y="845"/>
                  </a:lnTo>
                  <a:lnTo>
                    <a:pt x="2672" y="846"/>
                  </a:lnTo>
                  <a:lnTo>
                    <a:pt x="2676" y="848"/>
                  </a:lnTo>
                  <a:lnTo>
                    <a:pt x="2681" y="859"/>
                  </a:lnTo>
                  <a:lnTo>
                    <a:pt x="2682" y="865"/>
                  </a:lnTo>
                  <a:lnTo>
                    <a:pt x="2683" y="867"/>
                  </a:lnTo>
                  <a:lnTo>
                    <a:pt x="2688" y="870"/>
                  </a:lnTo>
                  <a:lnTo>
                    <a:pt x="2687" y="876"/>
                  </a:lnTo>
                  <a:lnTo>
                    <a:pt x="2682" y="877"/>
                  </a:lnTo>
                  <a:lnTo>
                    <a:pt x="2679" y="881"/>
                  </a:lnTo>
                  <a:lnTo>
                    <a:pt x="2671" y="903"/>
                  </a:lnTo>
                  <a:lnTo>
                    <a:pt x="2671" y="911"/>
                  </a:lnTo>
                  <a:lnTo>
                    <a:pt x="2672" y="923"/>
                  </a:lnTo>
                  <a:lnTo>
                    <a:pt x="2674" y="925"/>
                  </a:lnTo>
                  <a:lnTo>
                    <a:pt x="2679" y="924"/>
                  </a:lnTo>
                  <a:lnTo>
                    <a:pt x="2683" y="921"/>
                  </a:lnTo>
                  <a:lnTo>
                    <a:pt x="2686" y="916"/>
                  </a:lnTo>
                  <a:lnTo>
                    <a:pt x="2693" y="892"/>
                  </a:lnTo>
                  <a:lnTo>
                    <a:pt x="2709" y="862"/>
                  </a:lnTo>
                  <a:lnTo>
                    <a:pt x="2709" y="854"/>
                  </a:lnTo>
                  <a:lnTo>
                    <a:pt x="2717" y="843"/>
                  </a:lnTo>
                  <a:lnTo>
                    <a:pt x="2720" y="834"/>
                  </a:lnTo>
                  <a:lnTo>
                    <a:pt x="2722" y="828"/>
                  </a:lnTo>
                  <a:lnTo>
                    <a:pt x="2717" y="811"/>
                  </a:lnTo>
                  <a:lnTo>
                    <a:pt x="2708" y="796"/>
                  </a:lnTo>
                  <a:lnTo>
                    <a:pt x="2694" y="771"/>
                  </a:lnTo>
                  <a:lnTo>
                    <a:pt x="2692" y="763"/>
                  </a:lnTo>
                  <a:lnTo>
                    <a:pt x="2694" y="757"/>
                  </a:lnTo>
                  <a:lnTo>
                    <a:pt x="2700" y="764"/>
                  </a:lnTo>
                  <a:lnTo>
                    <a:pt x="2708" y="773"/>
                  </a:lnTo>
                  <a:lnTo>
                    <a:pt x="2715" y="775"/>
                  </a:lnTo>
                  <a:lnTo>
                    <a:pt x="2721" y="780"/>
                  </a:lnTo>
                  <a:lnTo>
                    <a:pt x="2732" y="781"/>
                  </a:lnTo>
                  <a:lnTo>
                    <a:pt x="2731" y="795"/>
                  </a:lnTo>
                  <a:lnTo>
                    <a:pt x="2732" y="797"/>
                  </a:lnTo>
                  <a:lnTo>
                    <a:pt x="2740" y="790"/>
                  </a:lnTo>
                  <a:lnTo>
                    <a:pt x="2751" y="773"/>
                  </a:lnTo>
                  <a:lnTo>
                    <a:pt x="2758" y="765"/>
                  </a:lnTo>
                  <a:lnTo>
                    <a:pt x="2762" y="759"/>
                  </a:lnTo>
                  <a:lnTo>
                    <a:pt x="2762" y="754"/>
                  </a:lnTo>
                  <a:lnTo>
                    <a:pt x="2767" y="752"/>
                  </a:lnTo>
                  <a:lnTo>
                    <a:pt x="2769" y="749"/>
                  </a:lnTo>
                  <a:lnTo>
                    <a:pt x="2773" y="730"/>
                  </a:lnTo>
                  <a:lnTo>
                    <a:pt x="2774" y="727"/>
                  </a:lnTo>
                  <a:lnTo>
                    <a:pt x="2776" y="728"/>
                  </a:lnTo>
                  <a:lnTo>
                    <a:pt x="2779" y="727"/>
                  </a:lnTo>
                  <a:lnTo>
                    <a:pt x="2783" y="712"/>
                  </a:lnTo>
                  <a:lnTo>
                    <a:pt x="2784" y="708"/>
                  </a:lnTo>
                  <a:lnTo>
                    <a:pt x="2781" y="703"/>
                  </a:lnTo>
                  <a:lnTo>
                    <a:pt x="2776" y="697"/>
                  </a:lnTo>
                  <a:lnTo>
                    <a:pt x="2769" y="693"/>
                  </a:lnTo>
                  <a:lnTo>
                    <a:pt x="2769" y="690"/>
                  </a:lnTo>
                  <a:lnTo>
                    <a:pt x="2769" y="687"/>
                  </a:lnTo>
                  <a:lnTo>
                    <a:pt x="2773" y="678"/>
                  </a:lnTo>
                  <a:lnTo>
                    <a:pt x="2775" y="674"/>
                  </a:lnTo>
                  <a:lnTo>
                    <a:pt x="2785" y="662"/>
                  </a:lnTo>
                  <a:lnTo>
                    <a:pt x="2790" y="662"/>
                  </a:lnTo>
                  <a:lnTo>
                    <a:pt x="2796" y="652"/>
                  </a:lnTo>
                  <a:lnTo>
                    <a:pt x="2807" y="650"/>
                  </a:lnTo>
                  <a:lnTo>
                    <a:pt x="2819" y="644"/>
                  </a:lnTo>
                  <a:lnTo>
                    <a:pt x="2830" y="641"/>
                  </a:lnTo>
                  <a:lnTo>
                    <a:pt x="2835" y="635"/>
                  </a:lnTo>
                  <a:lnTo>
                    <a:pt x="2843" y="631"/>
                  </a:lnTo>
                  <a:lnTo>
                    <a:pt x="2856" y="634"/>
                  </a:lnTo>
                  <a:lnTo>
                    <a:pt x="2869" y="631"/>
                  </a:lnTo>
                  <a:lnTo>
                    <a:pt x="2894" y="630"/>
                  </a:lnTo>
                  <a:lnTo>
                    <a:pt x="2913" y="625"/>
                  </a:lnTo>
                  <a:lnTo>
                    <a:pt x="2918" y="623"/>
                  </a:lnTo>
                  <a:lnTo>
                    <a:pt x="2923" y="619"/>
                  </a:lnTo>
                  <a:lnTo>
                    <a:pt x="2929" y="604"/>
                  </a:lnTo>
                  <a:lnTo>
                    <a:pt x="2931" y="602"/>
                  </a:lnTo>
                  <a:lnTo>
                    <a:pt x="2936" y="604"/>
                  </a:lnTo>
                  <a:lnTo>
                    <a:pt x="2937" y="614"/>
                  </a:lnTo>
                  <a:lnTo>
                    <a:pt x="2941" y="614"/>
                  </a:lnTo>
                  <a:lnTo>
                    <a:pt x="2948" y="613"/>
                  </a:lnTo>
                  <a:lnTo>
                    <a:pt x="2963" y="604"/>
                  </a:lnTo>
                  <a:lnTo>
                    <a:pt x="2967" y="604"/>
                  </a:lnTo>
                  <a:lnTo>
                    <a:pt x="2969" y="612"/>
                  </a:lnTo>
                  <a:lnTo>
                    <a:pt x="2974" y="613"/>
                  </a:lnTo>
                  <a:lnTo>
                    <a:pt x="2987" y="608"/>
                  </a:lnTo>
                  <a:lnTo>
                    <a:pt x="2993" y="609"/>
                  </a:lnTo>
                  <a:lnTo>
                    <a:pt x="3004" y="602"/>
                  </a:lnTo>
                  <a:lnTo>
                    <a:pt x="3006" y="599"/>
                  </a:lnTo>
                  <a:lnTo>
                    <a:pt x="3004" y="586"/>
                  </a:lnTo>
                  <a:lnTo>
                    <a:pt x="3002" y="583"/>
                  </a:lnTo>
                  <a:lnTo>
                    <a:pt x="3000" y="583"/>
                  </a:lnTo>
                  <a:lnTo>
                    <a:pt x="3000" y="596"/>
                  </a:lnTo>
                  <a:lnTo>
                    <a:pt x="2999" y="599"/>
                  </a:lnTo>
                  <a:lnTo>
                    <a:pt x="2991" y="602"/>
                  </a:lnTo>
                  <a:lnTo>
                    <a:pt x="2982" y="599"/>
                  </a:lnTo>
                  <a:lnTo>
                    <a:pt x="2972" y="593"/>
                  </a:lnTo>
                  <a:lnTo>
                    <a:pt x="2967" y="582"/>
                  </a:lnTo>
                  <a:lnTo>
                    <a:pt x="2963" y="580"/>
                  </a:lnTo>
                  <a:lnTo>
                    <a:pt x="2962" y="569"/>
                  </a:lnTo>
                  <a:lnTo>
                    <a:pt x="2957" y="564"/>
                  </a:lnTo>
                  <a:lnTo>
                    <a:pt x="2948" y="559"/>
                  </a:lnTo>
                  <a:lnTo>
                    <a:pt x="2947" y="558"/>
                  </a:lnTo>
                  <a:lnTo>
                    <a:pt x="2947" y="552"/>
                  </a:lnTo>
                  <a:lnTo>
                    <a:pt x="2950" y="548"/>
                  </a:lnTo>
                  <a:lnTo>
                    <a:pt x="2953" y="547"/>
                  </a:lnTo>
                  <a:lnTo>
                    <a:pt x="2957" y="538"/>
                  </a:lnTo>
                  <a:lnTo>
                    <a:pt x="2962" y="536"/>
                  </a:lnTo>
                  <a:lnTo>
                    <a:pt x="2957" y="528"/>
                  </a:lnTo>
                  <a:lnTo>
                    <a:pt x="2951" y="515"/>
                  </a:lnTo>
                  <a:lnTo>
                    <a:pt x="2956" y="500"/>
                  </a:lnTo>
                  <a:lnTo>
                    <a:pt x="2971" y="488"/>
                  </a:lnTo>
                  <a:lnTo>
                    <a:pt x="2982" y="470"/>
                  </a:lnTo>
                  <a:lnTo>
                    <a:pt x="2987" y="466"/>
                  </a:lnTo>
                  <a:lnTo>
                    <a:pt x="2989" y="455"/>
                  </a:lnTo>
                  <a:lnTo>
                    <a:pt x="2996" y="446"/>
                  </a:lnTo>
                  <a:lnTo>
                    <a:pt x="3005" y="442"/>
                  </a:lnTo>
                  <a:lnTo>
                    <a:pt x="3009" y="443"/>
                  </a:lnTo>
                  <a:lnTo>
                    <a:pt x="3011" y="451"/>
                  </a:lnTo>
                  <a:lnTo>
                    <a:pt x="3014" y="451"/>
                  </a:lnTo>
                  <a:lnTo>
                    <a:pt x="3017" y="447"/>
                  </a:lnTo>
                  <a:lnTo>
                    <a:pt x="3020" y="437"/>
                  </a:lnTo>
                  <a:lnTo>
                    <a:pt x="3022" y="437"/>
                  </a:lnTo>
                  <a:lnTo>
                    <a:pt x="3025" y="441"/>
                  </a:lnTo>
                  <a:lnTo>
                    <a:pt x="3027" y="441"/>
                  </a:lnTo>
                  <a:lnTo>
                    <a:pt x="3032" y="440"/>
                  </a:lnTo>
                  <a:lnTo>
                    <a:pt x="3036" y="432"/>
                  </a:lnTo>
                  <a:lnTo>
                    <a:pt x="3039" y="429"/>
                  </a:lnTo>
                  <a:lnTo>
                    <a:pt x="3045" y="431"/>
                  </a:lnTo>
                  <a:lnTo>
                    <a:pt x="3048" y="430"/>
                  </a:lnTo>
                  <a:lnTo>
                    <a:pt x="3053" y="421"/>
                  </a:lnTo>
                  <a:lnTo>
                    <a:pt x="3054" y="414"/>
                  </a:lnTo>
                  <a:lnTo>
                    <a:pt x="3058" y="408"/>
                  </a:lnTo>
                  <a:lnTo>
                    <a:pt x="3059" y="398"/>
                  </a:lnTo>
                  <a:lnTo>
                    <a:pt x="3065" y="393"/>
                  </a:lnTo>
                  <a:lnTo>
                    <a:pt x="3068" y="392"/>
                  </a:lnTo>
                  <a:lnTo>
                    <a:pt x="3070" y="393"/>
                  </a:lnTo>
                  <a:lnTo>
                    <a:pt x="3071" y="400"/>
                  </a:lnTo>
                  <a:lnTo>
                    <a:pt x="3072" y="405"/>
                  </a:lnTo>
                  <a:lnTo>
                    <a:pt x="3077" y="407"/>
                  </a:lnTo>
                  <a:lnTo>
                    <a:pt x="3082" y="404"/>
                  </a:lnTo>
                  <a:lnTo>
                    <a:pt x="3092" y="412"/>
                  </a:lnTo>
                  <a:lnTo>
                    <a:pt x="3097" y="410"/>
                  </a:lnTo>
                  <a:lnTo>
                    <a:pt x="3100" y="405"/>
                  </a:lnTo>
                  <a:lnTo>
                    <a:pt x="3107" y="399"/>
                  </a:lnTo>
                  <a:lnTo>
                    <a:pt x="3112" y="399"/>
                  </a:lnTo>
                  <a:lnTo>
                    <a:pt x="3118" y="396"/>
                  </a:lnTo>
                  <a:lnTo>
                    <a:pt x="3120" y="389"/>
                  </a:lnTo>
                  <a:lnTo>
                    <a:pt x="3133" y="388"/>
                  </a:lnTo>
                  <a:lnTo>
                    <a:pt x="3136" y="387"/>
                  </a:lnTo>
                  <a:lnTo>
                    <a:pt x="3141" y="383"/>
                  </a:lnTo>
                  <a:lnTo>
                    <a:pt x="3147" y="383"/>
                  </a:lnTo>
                  <a:lnTo>
                    <a:pt x="3151" y="380"/>
                  </a:lnTo>
                  <a:lnTo>
                    <a:pt x="3158" y="380"/>
                  </a:lnTo>
                  <a:lnTo>
                    <a:pt x="3165" y="375"/>
                  </a:lnTo>
                  <a:lnTo>
                    <a:pt x="3166" y="370"/>
                  </a:lnTo>
                  <a:lnTo>
                    <a:pt x="3165" y="36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54" name="Freeform 279">
              <a:extLst>
                <a:ext uri="{FF2B5EF4-FFF2-40B4-BE49-F238E27FC236}">
                  <a16:creationId xmlns:a16="http://schemas.microsoft.com/office/drawing/2014/main" id="{A94008D7-B437-7451-ABA9-7F78C6CE7C3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4137566" y="2361037"/>
              <a:ext cx="1492" cy="3049"/>
            </a:xfrm>
            <a:custGeom>
              <a:avLst/>
              <a:gdLst>
                <a:gd name="T0" fmla="*/ 0 w 3"/>
                <a:gd name="T1" fmla="*/ 0 h 2"/>
                <a:gd name="T2" fmla="*/ 0 w 3"/>
                <a:gd name="T3" fmla="*/ 2147483647 h 2"/>
                <a:gd name="T4" fmla="*/ 0 w 3"/>
                <a:gd name="T5" fmla="*/ 2147483647 h 2"/>
                <a:gd name="T6" fmla="*/ 0 w 3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2"/>
                <a:gd name="T14" fmla="*/ 3 w 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2">
                  <a:moveTo>
                    <a:pt x="0" y="0"/>
                  </a:moveTo>
                  <a:lnTo>
                    <a:pt x="0" y="1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55" name="Freeform 280">
              <a:extLst>
                <a:ext uri="{FF2B5EF4-FFF2-40B4-BE49-F238E27FC236}">
                  <a16:creationId xmlns:a16="http://schemas.microsoft.com/office/drawing/2014/main" id="{D2C54985-CF94-142E-C0BA-FCFD471BB69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4036087" y="2461635"/>
              <a:ext cx="194004" cy="237778"/>
            </a:xfrm>
            <a:custGeom>
              <a:avLst/>
              <a:gdLst>
                <a:gd name="T0" fmla="*/ 0 w 362"/>
                <a:gd name="T1" fmla="*/ 0 h 420"/>
                <a:gd name="T2" fmla="*/ 0 w 362"/>
                <a:gd name="T3" fmla="*/ 0 h 420"/>
                <a:gd name="T4" fmla="*/ 0 w 362"/>
                <a:gd name="T5" fmla="*/ 0 h 420"/>
                <a:gd name="T6" fmla="*/ 0 w 362"/>
                <a:gd name="T7" fmla="*/ 0 h 420"/>
                <a:gd name="T8" fmla="*/ 0 w 362"/>
                <a:gd name="T9" fmla="*/ 0 h 420"/>
                <a:gd name="T10" fmla="*/ 0 w 362"/>
                <a:gd name="T11" fmla="*/ 0 h 420"/>
                <a:gd name="T12" fmla="*/ 0 w 362"/>
                <a:gd name="T13" fmla="*/ 0 h 420"/>
                <a:gd name="T14" fmla="*/ 0 w 362"/>
                <a:gd name="T15" fmla="*/ 0 h 420"/>
                <a:gd name="T16" fmla="*/ 0 w 362"/>
                <a:gd name="T17" fmla="*/ 0 h 420"/>
                <a:gd name="T18" fmla="*/ 0 w 362"/>
                <a:gd name="T19" fmla="*/ 0 h 420"/>
                <a:gd name="T20" fmla="*/ 0 w 362"/>
                <a:gd name="T21" fmla="*/ 0 h 420"/>
                <a:gd name="T22" fmla="*/ 0 w 362"/>
                <a:gd name="T23" fmla="*/ 0 h 420"/>
                <a:gd name="T24" fmla="*/ 0 w 362"/>
                <a:gd name="T25" fmla="*/ 0 h 420"/>
                <a:gd name="T26" fmla="*/ 0 w 362"/>
                <a:gd name="T27" fmla="*/ 0 h 420"/>
                <a:gd name="T28" fmla="*/ 0 w 362"/>
                <a:gd name="T29" fmla="*/ 2147483647 h 420"/>
                <a:gd name="T30" fmla="*/ 0 w 362"/>
                <a:gd name="T31" fmla="*/ 2147483647 h 420"/>
                <a:gd name="T32" fmla="*/ 0 w 362"/>
                <a:gd name="T33" fmla="*/ 2147483647 h 420"/>
                <a:gd name="T34" fmla="*/ 0 w 362"/>
                <a:gd name="T35" fmla="*/ 2147483647 h 420"/>
                <a:gd name="T36" fmla="*/ 0 w 362"/>
                <a:gd name="T37" fmla="*/ 2147483647 h 420"/>
                <a:gd name="T38" fmla="*/ 0 w 362"/>
                <a:gd name="T39" fmla="*/ 2147483647 h 420"/>
                <a:gd name="T40" fmla="*/ 0 w 362"/>
                <a:gd name="T41" fmla="*/ 2147483647 h 420"/>
                <a:gd name="T42" fmla="*/ 0 w 362"/>
                <a:gd name="T43" fmla="*/ 2147483647 h 420"/>
                <a:gd name="T44" fmla="*/ 0 w 362"/>
                <a:gd name="T45" fmla="*/ 2147483647 h 420"/>
                <a:gd name="T46" fmla="*/ 0 w 362"/>
                <a:gd name="T47" fmla="*/ 2147483647 h 420"/>
                <a:gd name="T48" fmla="*/ 0 w 362"/>
                <a:gd name="T49" fmla="*/ 2147483647 h 420"/>
                <a:gd name="T50" fmla="*/ 0 w 362"/>
                <a:gd name="T51" fmla="*/ 2147483647 h 420"/>
                <a:gd name="T52" fmla="*/ 0 w 362"/>
                <a:gd name="T53" fmla="*/ 2147483647 h 420"/>
                <a:gd name="T54" fmla="*/ 0 w 362"/>
                <a:gd name="T55" fmla="*/ 2147483647 h 420"/>
                <a:gd name="T56" fmla="*/ 0 w 362"/>
                <a:gd name="T57" fmla="*/ 2147483647 h 420"/>
                <a:gd name="T58" fmla="*/ 0 w 362"/>
                <a:gd name="T59" fmla="*/ 2147483647 h 420"/>
                <a:gd name="T60" fmla="*/ 2147483647 w 362"/>
                <a:gd name="T61" fmla="*/ 2147483647 h 420"/>
                <a:gd name="T62" fmla="*/ 2147483647 w 362"/>
                <a:gd name="T63" fmla="*/ 2147483647 h 420"/>
                <a:gd name="T64" fmla="*/ 2147483647 w 362"/>
                <a:gd name="T65" fmla="*/ 2147483647 h 420"/>
                <a:gd name="T66" fmla="*/ 2147483647 w 362"/>
                <a:gd name="T67" fmla="*/ 2147483647 h 420"/>
                <a:gd name="T68" fmla="*/ 2147483647 w 362"/>
                <a:gd name="T69" fmla="*/ 2147483647 h 420"/>
                <a:gd name="T70" fmla="*/ 2147483647 w 362"/>
                <a:gd name="T71" fmla="*/ 0 h 420"/>
                <a:gd name="T72" fmla="*/ 2147483647 w 362"/>
                <a:gd name="T73" fmla="*/ 0 h 420"/>
                <a:gd name="T74" fmla="*/ 2147483647 w 362"/>
                <a:gd name="T75" fmla="*/ 2147483647 h 420"/>
                <a:gd name="T76" fmla="*/ 2147483647 w 362"/>
                <a:gd name="T77" fmla="*/ 2147483647 h 420"/>
                <a:gd name="T78" fmla="*/ 2147483647 w 362"/>
                <a:gd name="T79" fmla="*/ 0 h 420"/>
                <a:gd name="T80" fmla="*/ 2147483647 w 362"/>
                <a:gd name="T81" fmla="*/ 0 h 420"/>
                <a:gd name="T82" fmla="*/ 2147483647 w 362"/>
                <a:gd name="T83" fmla="*/ 0 h 420"/>
                <a:gd name="T84" fmla="*/ 0 w 362"/>
                <a:gd name="T85" fmla="*/ 0 h 420"/>
                <a:gd name="T86" fmla="*/ 0 w 362"/>
                <a:gd name="T87" fmla="*/ 0 h 420"/>
                <a:gd name="T88" fmla="*/ 0 w 362"/>
                <a:gd name="T89" fmla="*/ 0 h 420"/>
                <a:gd name="T90" fmla="*/ 2147483647 w 362"/>
                <a:gd name="T91" fmla="*/ 0 h 420"/>
                <a:gd name="T92" fmla="*/ 0 w 362"/>
                <a:gd name="T93" fmla="*/ 0 h 420"/>
                <a:gd name="T94" fmla="*/ 0 w 362"/>
                <a:gd name="T95" fmla="*/ 0 h 420"/>
                <a:gd name="T96" fmla="*/ 0 w 362"/>
                <a:gd name="T97" fmla="*/ 0 h 420"/>
                <a:gd name="T98" fmla="*/ 0 w 362"/>
                <a:gd name="T99" fmla="*/ 0 h 420"/>
                <a:gd name="T100" fmla="*/ 0 w 362"/>
                <a:gd name="T101" fmla="*/ 0 h 420"/>
                <a:gd name="T102" fmla="*/ 0 w 362"/>
                <a:gd name="T103" fmla="*/ 0 h 420"/>
                <a:gd name="T104" fmla="*/ 0 w 362"/>
                <a:gd name="T105" fmla="*/ 0 h 420"/>
                <a:gd name="T106" fmla="*/ 0 w 362"/>
                <a:gd name="T107" fmla="*/ 0 h 420"/>
                <a:gd name="T108" fmla="*/ 0 w 362"/>
                <a:gd name="T109" fmla="*/ 0 h 420"/>
                <a:gd name="T110" fmla="*/ 0 w 362"/>
                <a:gd name="T111" fmla="*/ 0 h 420"/>
                <a:gd name="T112" fmla="*/ 0 w 362"/>
                <a:gd name="T113" fmla="*/ 0 h 420"/>
                <a:gd name="T114" fmla="*/ 0 w 362"/>
                <a:gd name="T115" fmla="*/ 0 h 420"/>
                <a:gd name="T116" fmla="*/ 0 w 362"/>
                <a:gd name="T117" fmla="*/ 0 h 420"/>
                <a:gd name="T118" fmla="*/ 0 w 362"/>
                <a:gd name="T119" fmla="*/ 0 h 42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62"/>
                <a:gd name="T181" fmla="*/ 0 h 420"/>
                <a:gd name="T182" fmla="*/ 362 w 362"/>
                <a:gd name="T183" fmla="*/ 420 h 42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62" h="420">
                  <a:moveTo>
                    <a:pt x="170" y="11"/>
                  </a:moveTo>
                  <a:lnTo>
                    <a:pt x="159" y="16"/>
                  </a:lnTo>
                  <a:lnTo>
                    <a:pt x="147" y="25"/>
                  </a:lnTo>
                  <a:lnTo>
                    <a:pt x="144" y="33"/>
                  </a:lnTo>
                  <a:lnTo>
                    <a:pt x="141" y="38"/>
                  </a:lnTo>
                  <a:lnTo>
                    <a:pt x="138" y="43"/>
                  </a:lnTo>
                  <a:lnTo>
                    <a:pt x="135" y="46"/>
                  </a:lnTo>
                  <a:lnTo>
                    <a:pt x="135" y="48"/>
                  </a:lnTo>
                  <a:lnTo>
                    <a:pt x="129" y="52"/>
                  </a:lnTo>
                  <a:lnTo>
                    <a:pt x="127" y="60"/>
                  </a:lnTo>
                  <a:lnTo>
                    <a:pt x="126" y="68"/>
                  </a:lnTo>
                  <a:lnTo>
                    <a:pt x="120" y="75"/>
                  </a:lnTo>
                  <a:lnTo>
                    <a:pt x="111" y="78"/>
                  </a:lnTo>
                  <a:lnTo>
                    <a:pt x="106" y="83"/>
                  </a:lnTo>
                  <a:lnTo>
                    <a:pt x="115" y="89"/>
                  </a:lnTo>
                  <a:lnTo>
                    <a:pt x="109" y="96"/>
                  </a:lnTo>
                  <a:lnTo>
                    <a:pt x="103" y="119"/>
                  </a:lnTo>
                  <a:lnTo>
                    <a:pt x="103" y="121"/>
                  </a:lnTo>
                  <a:lnTo>
                    <a:pt x="110" y="128"/>
                  </a:lnTo>
                  <a:lnTo>
                    <a:pt x="93" y="134"/>
                  </a:lnTo>
                  <a:lnTo>
                    <a:pt x="92" y="139"/>
                  </a:lnTo>
                  <a:lnTo>
                    <a:pt x="81" y="164"/>
                  </a:lnTo>
                  <a:lnTo>
                    <a:pt x="79" y="175"/>
                  </a:lnTo>
                  <a:lnTo>
                    <a:pt x="82" y="178"/>
                  </a:lnTo>
                  <a:lnTo>
                    <a:pt x="82" y="182"/>
                  </a:lnTo>
                  <a:lnTo>
                    <a:pt x="73" y="182"/>
                  </a:lnTo>
                  <a:lnTo>
                    <a:pt x="65" y="193"/>
                  </a:lnTo>
                  <a:lnTo>
                    <a:pt x="61" y="202"/>
                  </a:lnTo>
                  <a:lnTo>
                    <a:pt x="63" y="207"/>
                  </a:lnTo>
                  <a:lnTo>
                    <a:pt x="71" y="208"/>
                  </a:lnTo>
                  <a:lnTo>
                    <a:pt x="71" y="210"/>
                  </a:lnTo>
                  <a:lnTo>
                    <a:pt x="68" y="215"/>
                  </a:lnTo>
                  <a:lnTo>
                    <a:pt x="71" y="221"/>
                  </a:lnTo>
                  <a:lnTo>
                    <a:pt x="52" y="219"/>
                  </a:lnTo>
                  <a:lnTo>
                    <a:pt x="39" y="254"/>
                  </a:lnTo>
                  <a:lnTo>
                    <a:pt x="31" y="259"/>
                  </a:lnTo>
                  <a:lnTo>
                    <a:pt x="27" y="252"/>
                  </a:lnTo>
                  <a:lnTo>
                    <a:pt x="19" y="257"/>
                  </a:lnTo>
                  <a:lnTo>
                    <a:pt x="11" y="263"/>
                  </a:lnTo>
                  <a:lnTo>
                    <a:pt x="11" y="267"/>
                  </a:lnTo>
                  <a:lnTo>
                    <a:pt x="33" y="264"/>
                  </a:lnTo>
                  <a:lnTo>
                    <a:pt x="44" y="267"/>
                  </a:lnTo>
                  <a:lnTo>
                    <a:pt x="47" y="274"/>
                  </a:lnTo>
                  <a:lnTo>
                    <a:pt x="18" y="300"/>
                  </a:lnTo>
                  <a:lnTo>
                    <a:pt x="1" y="318"/>
                  </a:lnTo>
                  <a:lnTo>
                    <a:pt x="0" y="332"/>
                  </a:lnTo>
                  <a:lnTo>
                    <a:pt x="4" y="342"/>
                  </a:lnTo>
                  <a:lnTo>
                    <a:pt x="18" y="344"/>
                  </a:lnTo>
                  <a:lnTo>
                    <a:pt x="38" y="339"/>
                  </a:lnTo>
                  <a:lnTo>
                    <a:pt x="68" y="334"/>
                  </a:lnTo>
                  <a:lnTo>
                    <a:pt x="90" y="338"/>
                  </a:lnTo>
                  <a:lnTo>
                    <a:pt x="103" y="338"/>
                  </a:lnTo>
                  <a:lnTo>
                    <a:pt x="113" y="342"/>
                  </a:lnTo>
                  <a:lnTo>
                    <a:pt x="141" y="343"/>
                  </a:lnTo>
                  <a:lnTo>
                    <a:pt x="156" y="339"/>
                  </a:lnTo>
                  <a:lnTo>
                    <a:pt x="173" y="337"/>
                  </a:lnTo>
                  <a:lnTo>
                    <a:pt x="180" y="329"/>
                  </a:lnTo>
                  <a:lnTo>
                    <a:pt x="196" y="322"/>
                  </a:lnTo>
                  <a:lnTo>
                    <a:pt x="194" y="332"/>
                  </a:lnTo>
                  <a:lnTo>
                    <a:pt x="194" y="339"/>
                  </a:lnTo>
                  <a:lnTo>
                    <a:pt x="179" y="345"/>
                  </a:lnTo>
                  <a:lnTo>
                    <a:pt x="176" y="350"/>
                  </a:lnTo>
                  <a:lnTo>
                    <a:pt x="187" y="350"/>
                  </a:lnTo>
                  <a:lnTo>
                    <a:pt x="189" y="354"/>
                  </a:lnTo>
                  <a:lnTo>
                    <a:pt x="211" y="352"/>
                  </a:lnTo>
                  <a:lnTo>
                    <a:pt x="221" y="336"/>
                  </a:lnTo>
                  <a:lnTo>
                    <a:pt x="229" y="339"/>
                  </a:lnTo>
                  <a:lnTo>
                    <a:pt x="244" y="339"/>
                  </a:lnTo>
                  <a:lnTo>
                    <a:pt x="248" y="343"/>
                  </a:lnTo>
                  <a:lnTo>
                    <a:pt x="235" y="352"/>
                  </a:lnTo>
                  <a:lnTo>
                    <a:pt x="224" y="361"/>
                  </a:lnTo>
                  <a:lnTo>
                    <a:pt x="212" y="380"/>
                  </a:lnTo>
                  <a:lnTo>
                    <a:pt x="199" y="383"/>
                  </a:lnTo>
                  <a:lnTo>
                    <a:pt x="191" y="387"/>
                  </a:lnTo>
                  <a:lnTo>
                    <a:pt x="189" y="397"/>
                  </a:lnTo>
                  <a:lnTo>
                    <a:pt x="200" y="399"/>
                  </a:lnTo>
                  <a:lnTo>
                    <a:pt x="213" y="397"/>
                  </a:lnTo>
                  <a:lnTo>
                    <a:pt x="224" y="392"/>
                  </a:lnTo>
                  <a:lnTo>
                    <a:pt x="234" y="376"/>
                  </a:lnTo>
                  <a:lnTo>
                    <a:pt x="248" y="360"/>
                  </a:lnTo>
                  <a:lnTo>
                    <a:pt x="264" y="354"/>
                  </a:lnTo>
                  <a:lnTo>
                    <a:pt x="267" y="356"/>
                  </a:lnTo>
                  <a:lnTo>
                    <a:pt x="281" y="315"/>
                  </a:lnTo>
                  <a:lnTo>
                    <a:pt x="289" y="315"/>
                  </a:lnTo>
                  <a:lnTo>
                    <a:pt x="291" y="327"/>
                  </a:lnTo>
                  <a:lnTo>
                    <a:pt x="294" y="344"/>
                  </a:lnTo>
                  <a:lnTo>
                    <a:pt x="297" y="361"/>
                  </a:lnTo>
                  <a:lnTo>
                    <a:pt x="289" y="382"/>
                  </a:lnTo>
                  <a:lnTo>
                    <a:pt x="287" y="401"/>
                  </a:lnTo>
                  <a:lnTo>
                    <a:pt x="294" y="403"/>
                  </a:lnTo>
                  <a:lnTo>
                    <a:pt x="314" y="376"/>
                  </a:lnTo>
                  <a:lnTo>
                    <a:pt x="319" y="380"/>
                  </a:lnTo>
                  <a:lnTo>
                    <a:pt x="314" y="392"/>
                  </a:lnTo>
                  <a:lnTo>
                    <a:pt x="315" y="402"/>
                  </a:lnTo>
                  <a:lnTo>
                    <a:pt x="315" y="412"/>
                  </a:lnTo>
                  <a:lnTo>
                    <a:pt x="320" y="420"/>
                  </a:lnTo>
                  <a:lnTo>
                    <a:pt x="330" y="412"/>
                  </a:lnTo>
                  <a:lnTo>
                    <a:pt x="343" y="414"/>
                  </a:lnTo>
                  <a:lnTo>
                    <a:pt x="351" y="396"/>
                  </a:lnTo>
                  <a:lnTo>
                    <a:pt x="356" y="372"/>
                  </a:lnTo>
                  <a:lnTo>
                    <a:pt x="362" y="354"/>
                  </a:lnTo>
                  <a:lnTo>
                    <a:pt x="362" y="332"/>
                  </a:lnTo>
                  <a:lnTo>
                    <a:pt x="357" y="329"/>
                  </a:lnTo>
                  <a:lnTo>
                    <a:pt x="343" y="353"/>
                  </a:lnTo>
                  <a:lnTo>
                    <a:pt x="339" y="347"/>
                  </a:lnTo>
                  <a:lnTo>
                    <a:pt x="339" y="332"/>
                  </a:lnTo>
                  <a:lnTo>
                    <a:pt x="343" y="317"/>
                  </a:lnTo>
                  <a:lnTo>
                    <a:pt x="348" y="306"/>
                  </a:lnTo>
                  <a:lnTo>
                    <a:pt x="353" y="301"/>
                  </a:lnTo>
                  <a:lnTo>
                    <a:pt x="353" y="293"/>
                  </a:lnTo>
                  <a:lnTo>
                    <a:pt x="332" y="307"/>
                  </a:lnTo>
                  <a:lnTo>
                    <a:pt x="324" y="323"/>
                  </a:lnTo>
                  <a:lnTo>
                    <a:pt x="319" y="337"/>
                  </a:lnTo>
                  <a:lnTo>
                    <a:pt x="313" y="337"/>
                  </a:lnTo>
                  <a:lnTo>
                    <a:pt x="307" y="333"/>
                  </a:lnTo>
                  <a:lnTo>
                    <a:pt x="304" y="327"/>
                  </a:lnTo>
                  <a:lnTo>
                    <a:pt x="307" y="320"/>
                  </a:lnTo>
                  <a:lnTo>
                    <a:pt x="310" y="306"/>
                  </a:lnTo>
                  <a:lnTo>
                    <a:pt x="308" y="305"/>
                  </a:lnTo>
                  <a:lnTo>
                    <a:pt x="307" y="300"/>
                  </a:lnTo>
                  <a:lnTo>
                    <a:pt x="298" y="291"/>
                  </a:lnTo>
                  <a:lnTo>
                    <a:pt x="319" y="284"/>
                  </a:lnTo>
                  <a:lnTo>
                    <a:pt x="326" y="274"/>
                  </a:lnTo>
                  <a:lnTo>
                    <a:pt x="336" y="270"/>
                  </a:lnTo>
                  <a:lnTo>
                    <a:pt x="342" y="259"/>
                  </a:lnTo>
                  <a:lnTo>
                    <a:pt x="340" y="254"/>
                  </a:lnTo>
                  <a:lnTo>
                    <a:pt x="314" y="267"/>
                  </a:lnTo>
                  <a:lnTo>
                    <a:pt x="308" y="266"/>
                  </a:lnTo>
                  <a:lnTo>
                    <a:pt x="293" y="272"/>
                  </a:lnTo>
                  <a:lnTo>
                    <a:pt x="291" y="268"/>
                  </a:lnTo>
                  <a:lnTo>
                    <a:pt x="297" y="259"/>
                  </a:lnTo>
                  <a:lnTo>
                    <a:pt x="304" y="247"/>
                  </a:lnTo>
                  <a:lnTo>
                    <a:pt x="300" y="242"/>
                  </a:lnTo>
                  <a:lnTo>
                    <a:pt x="294" y="241"/>
                  </a:lnTo>
                  <a:lnTo>
                    <a:pt x="300" y="226"/>
                  </a:lnTo>
                  <a:lnTo>
                    <a:pt x="312" y="215"/>
                  </a:lnTo>
                  <a:lnTo>
                    <a:pt x="319" y="202"/>
                  </a:lnTo>
                  <a:lnTo>
                    <a:pt x="318" y="197"/>
                  </a:lnTo>
                  <a:lnTo>
                    <a:pt x="313" y="196"/>
                  </a:lnTo>
                  <a:lnTo>
                    <a:pt x="293" y="189"/>
                  </a:lnTo>
                  <a:lnTo>
                    <a:pt x="275" y="192"/>
                  </a:lnTo>
                  <a:lnTo>
                    <a:pt x="267" y="184"/>
                  </a:lnTo>
                  <a:lnTo>
                    <a:pt x="229" y="203"/>
                  </a:lnTo>
                  <a:lnTo>
                    <a:pt x="218" y="204"/>
                  </a:lnTo>
                  <a:lnTo>
                    <a:pt x="228" y="186"/>
                  </a:lnTo>
                  <a:lnTo>
                    <a:pt x="229" y="178"/>
                  </a:lnTo>
                  <a:lnTo>
                    <a:pt x="218" y="184"/>
                  </a:lnTo>
                  <a:lnTo>
                    <a:pt x="216" y="189"/>
                  </a:lnTo>
                  <a:lnTo>
                    <a:pt x="210" y="186"/>
                  </a:lnTo>
                  <a:lnTo>
                    <a:pt x="189" y="184"/>
                  </a:lnTo>
                  <a:lnTo>
                    <a:pt x="190" y="172"/>
                  </a:lnTo>
                  <a:lnTo>
                    <a:pt x="179" y="168"/>
                  </a:lnTo>
                  <a:lnTo>
                    <a:pt x="191" y="157"/>
                  </a:lnTo>
                  <a:lnTo>
                    <a:pt x="210" y="149"/>
                  </a:lnTo>
                  <a:lnTo>
                    <a:pt x="202" y="145"/>
                  </a:lnTo>
                  <a:lnTo>
                    <a:pt x="176" y="144"/>
                  </a:lnTo>
                  <a:lnTo>
                    <a:pt x="179" y="132"/>
                  </a:lnTo>
                  <a:lnTo>
                    <a:pt x="172" y="132"/>
                  </a:lnTo>
                  <a:lnTo>
                    <a:pt x="162" y="148"/>
                  </a:lnTo>
                  <a:lnTo>
                    <a:pt x="149" y="159"/>
                  </a:lnTo>
                  <a:lnTo>
                    <a:pt x="142" y="173"/>
                  </a:lnTo>
                  <a:lnTo>
                    <a:pt x="137" y="161"/>
                  </a:lnTo>
                  <a:lnTo>
                    <a:pt x="142" y="149"/>
                  </a:lnTo>
                  <a:lnTo>
                    <a:pt x="142" y="137"/>
                  </a:lnTo>
                  <a:lnTo>
                    <a:pt x="153" y="122"/>
                  </a:lnTo>
                  <a:lnTo>
                    <a:pt x="160" y="105"/>
                  </a:lnTo>
                  <a:lnTo>
                    <a:pt x="170" y="91"/>
                  </a:lnTo>
                  <a:lnTo>
                    <a:pt x="172" y="81"/>
                  </a:lnTo>
                  <a:lnTo>
                    <a:pt x="170" y="75"/>
                  </a:lnTo>
                  <a:lnTo>
                    <a:pt x="172" y="64"/>
                  </a:lnTo>
                  <a:lnTo>
                    <a:pt x="176" y="71"/>
                  </a:lnTo>
                  <a:lnTo>
                    <a:pt x="187" y="64"/>
                  </a:lnTo>
                  <a:lnTo>
                    <a:pt x="195" y="42"/>
                  </a:lnTo>
                  <a:lnTo>
                    <a:pt x="185" y="33"/>
                  </a:lnTo>
                  <a:lnTo>
                    <a:pt x="186" y="26"/>
                  </a:lnTo>
                  <a:lnTo>
                    <a:pt x="200" y="25"/>
                  </a:lnTo>
                  <a:lnTo>
                    <a:pt x="207" y="8"/>
                  </a:lnTo>
                  <a:lnTo>
                    <a:pt x="207" y="0"/>
                  </a:lnTo>
                  <a:lnTo>
                    <a:pt x="199" y="8"/>
                  </a:lnTo>
                  <a:lnTo>
                    <a:pt x="194" y="5"/>
                  </a:lnTo>
                  <a:lnTo>
                    <a:pt x="183" y="5"/>
                  </a:lnTo>
                  <a:lnTo>
                    <a:pt x="170" y="1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56" name="Freeform 281">
              <a:extLst>
                <a:ext uri="{FF2B5EF4-FFF2-40B4-BE49-F238E27FC236}">
                  <a16:creationId xmlns:a16="http://schemas.microsoft.com/office/drawing/2014/main" id="{93C1F92C-9D9F-4A18-779C-B64532B2C12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013963" y="2498217"/>
              <a:ext cx="146250" cy="121938"/>
            </a:xfrm>
            <a:custGeom>
              <a:avLst/>
              <a:gdLst>
                <a:gd name="T0" fmla="*/ 0 w 275"/>
                <a:gd name="T1" fmla="*/ 0 h 214"/>
                <a:gd name="T2" fmla="*/ 0 w 275"/>
                <a:gd name="T3" fmla="*/ 0 h 214"/>
                <a:gd name="T4" fmla="*/ 0 w 275"/>
                <a:gd name="T5" fmla="*/ 0 h 214"/>
                <a:gd name="T6" fmla="*/ 0 w 275"/>
                <a:gd name="T7" fmla="*/ 0 h 214"/>
                <a:gd name="T8" fmla="*/ 0 w 275"/>
                <a:gd name="T9" fmla="*/ 0 h 214"/>
                <a:gd name="T10" fmla="*/ 0 w 275"/>
                <a:gd name="T11" fmla="*/ 0 h 214"/>
                <a:gd name="T12" fmla="*/ 0 w 275"/>
                <a:gd name="T13" fmla="*/ 0 h 214"/>
                <a:gd name="T14" fmla="*/ 0 w 275"/>
                <a:gd name="T15" fmla="*/ 0 h 214"/>
                <a:gd name="T16" fmla="*/ 0 w 275"/>
                <a:gd name="T17" fmla="*/ 0 h 214"/>
                <a:gd name="T18" fmla="*/ 0 w 275"/>
                <a:gd name="T19" fmla="*/ 0 h 214"/>
                <a:gd name="T20" fmla="*/ 0 w 275"/>
                <a:gd name="T21" fmla="*/ 0 h 214"/>
                <a:gd name="T22" fmla="*/ 0 w 275"/>
                <a:gd name="T23" fmla="*/ 0 h 214"/>
                <a:gd name="T24" fmla="*/ 0 w 275"/>
                <a:gd name="T25" fmla="*/ 0 h 214"/>
                <a:gd name="T26" fmla="*/ 0 w 275"/>
                <a:gd name="T27" fmla="*/ 0 h 214"/>
                <a:gd name="T28" fmla="*/ 0 w 275"/>
                <a:gd name="T29" fmla="*/ 0 h 214"/>
                <a:gd name="T30" fmla="*/ 0 w 275"/>
                <a:gd name="T31" fmla="*/ 0 h 214"/>
                <a:gd name="T32" fmla="*/ 0 w 275"/>
                <a:gd name="T33" fmla="*/ 0 h 214"/>
                <a:gd name="T34" fmla="*/ 0 w 275"/>
                <a:gd name="T35" fmla="*/ 0 h 214"/>
                <a:gd name="T36" fmla="*/ 0 w 275"/>
                <a:gd name="T37" fmla="*/ 0 h 214"/>
                <a:gd name="T38" fmla="*/ 0 w 275"/>
                <a:gd name="T39" fmla="*/ 0 h 214"/>
                <a:gd name="T40" fmla="*/ 0 w 275"/>
                <a:gd name="T41" fmla="*/ 0 h 214"/>
                <a:gd name="T42" fmla="*/ 0 w 275"/>
                <a:gd name="T43" fmla="*/ 0 h 214"/>
                <a:gd name="T44" fmla="*/ 0 w 275"/>
                <a:gd name="T45" fmla="*/ 0 h 214"/>
                <a:gd name="T46" fmla="*/ 0 w 275"/>
                <a:gd name="T47" fmla="*/ 0 h 214"/>
                <a:gd name="T48" fmla="*/ 0 w 275"/>
                <a:gd name="T49" fmla="*/ 0 h 214"/>
                <a:gd name="T50" fmla="*/ 0 w 275"/>
                <a:gd name="T51" fmla="*/ 0 h 214"/>
                <a:gd name="T52" fmla="*/ 0 w 275"/>
                <a:gd name="T53" fmla="*/ 0 h 214"/>
                <a:gd name="T54" fmla="*/ 0 w 275"/>
                <a:gd name="T55" fmla="*/ 0 h 214"/>
                <a:gd name="T56" fmla="*/ 0 w 275"/>
                <a:gd name="T57" fmla="*/ 0 h 214"/>
                <a:gd name="T58" fmla="*/ 0 w 275"/>
                <a:gd name="T59" fmla="*/ 0 h 214"/>
                <a:gd name="T60" fmla="*/ 0 w 275"/>
                <a:gd name="T61" fmla="*/ 0 h 214"/>
                <a:gd name="T62" fmla="*/ 0 w 275"/>
                <a:gd name="T63" fmla="*/ 0 h 214"/>
                <a:gd name="T64" fmla="*/ 0 w 275"/>
                <a:gd name="T65" fmla="*/ 0 h 214"/>
                <a:gd name="T66" fmla="*/ 0 w 275"/>
                <a:gd name="T67" fmla="*/ 0 h 214"/>
                <a:gd name="T68" fmla="*/ 0 w 275"/>
                <a:gd name="T69" fmla="*/ 0 h 214"/>
                <a:gd name="T70" fmla="*/ 0 w 275"/>
                <a:gd name="T71" fmla="*/ 0 h 214"/>
                <a:gd name="T72" fmla="*/ 0 w 275"/>
                <a:gd name="T73" fmla="*/ 0 h 214"/>
                <a:gd name="T74" fmla="*/ 0 w 275"/>
                <a:gd name="T75" fmla="*/ 0 h 214"/>
                <a:gd name="T76" fmla="*/ 0 w 275"/>
                <a:gd name="T77" fmla="*/ 0 h 214"/>
                <a:gd name="T78" fmla="*/ 0 w 275"/>
                <a:gd name="T79" fmla="*/ 0 h 214"/>
                <a:gd name="T80" fmla="*/ 0 w 275"/>
                <a:gd name="T81" fmla="*/ 0 h 214"/>
                <a:gd name="T82" fmla="*/ 0 w 275"/>
                <a:gd name="T83" fmla="*/ 0 h 214"/>
                <a:gd name="T84" fmla="*/ 0 w 275"/>
                <a:gd name="T85" fmla="*/ 0 h 214"/>
                <a:gd name="T86" fmla="*/ 0 w 275"/>
                <a:gd name="T87" fmla="*/ 0 h 214"/>
                <a:gd name="T88" fmla="*/ 0 w 275"/>
                <a:gd name="T89" fmla="*/ 0 h 214"/>
                <a:gd name="T90" fmla="*/ 0 w 275"/>
                <a:gd name="T91" fmla="*/ 0 h 214"/>
                <a:gd name="T92" fmla="*/ 0 w 275"/>
                <a:gd name="T93" fmla="*/ 0 h 214"/>
                <a:gd name="T94" fmla="*/ 0 w 275"/>
                <a:gd name="T95" fmla="*/ 0 h 214"/>
                <a:gd name="T96" fmla="*/ 0 w 275"/>
                <a:gd name="T97" fmla="*/ 0 h 214"/>
                <a:gd name="T98" fmla="*/ 0 w 275"/>
                <a:gd name="T99" fmla="*/ 0 h 214"/>
                <a:gd name="T100" fmla="*/ 0 w 275"/>
                <a:gd name="T101" fmla="*/ 0 h 214"/>
                <a:gd name="T102" fmla="*/ 0 w 275"/>
                <a:gd name="T103" fmla="*/ 0 h 214"/>
                <a:gd name="T104" fmla="*/ 0 w 275"/>
                <a:gd name="T105" fmla="*/ 0 h 214"/>
                <a:gd name="T106" fmla="*/ 0 w 275"/>
                <a:gd name="T107" fmla="*/ 0 h 214"/>
                <a:gd name="T108" fmla="*/ 0 w 275"/>
                <a:gd name="T109" fmla="*/ 0 h 214"/>
                <a:gd name="T110" fmla="*/ 0 w 275"/>
                <a:gd name="T111" fmla="*/ 0 h 214"/>
                <a:gd name="T112" fmla="*/ 0 w 275"/>
                <a:gd name="T113" fmla="*/ 0 h 21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75"/>
                <a:gd name="T172" fmla="*/ 0 h 214"/>
                <a:gd name="T173" fmla="*/ 275 w 275"/>
                <a:gd name="T174" fmla="*/ 214 h 21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75" h="214">
                  <a:moveTo>
                    <a:pt x="45" y="41"/>
                  </a:moveTo>
                  <a:lnTo>
                    <a:pt x="48" y="41"/>
                  </a:lnTo>
                  <a:lnTo>
                    <a:pt x="48" y="42"/>
                  </a:lnTo>
                  <a:lnTo>
                    <a:pt x="48" y="41"/>
                  </a:lnTo>
                  <a:lnTo>
                    <a:pt x="45" y="31"/>
                  </a:lnTo>
                  <a:lnTo>
                    <a:pt x="45" y="22"/>
                  </a:lnTo>
                  <a:lnTo>
                    <a:pt x="24" y="20"/>
                  </a:lnTo>
                  <a:lnTo>
                    <a:pt x="19" y="15"/>
                  </a:lnTo>
                  <a:lnTo>
                    <a:pt x="16" y="21"/>
                  </a:lnTo>
                  <a:lnTo>
                    <a:pt x="13" y="27"/>
                  </a:lnTo>
                  <a:lnTo>
                    <a:pt x="6" y="24"/>
                  </a:lnTo>
                  <a:lnTo>
                    <a:pt x="0" y="19"/>
                  </a:lnTo>
                  <a:lnTo>
                    <a:pt x="0" y="11"/>
                  </a:lnTo>
                  <a:lnTo>
                    <a:pt x="2" y="6"/>
                  </a:lnTo>
                  <a:lnTo>
                    <a:pt x="8" y="2"/>
                  </a:lnTo>
                  <a:lnTo>
                    <a:pt x="18" y="0"/>
                  </a:lnTo>
                  <a:lnTo>
                    <a:pt x="28" y="4"/>
                  </a:lnTo>
                  <a:lnTo>
                    <a:pt x="38" y="9"/>
                  </a:lnTo>
                  <a:lnTo>
                    <a:pt x="46" y="10"/>
                  </a:lnTo>
                  <a:lnTo>
                    <a:pt x="56" y="18"/>
                  </a:lnTo>
                  <a:lnTo>
                    <a:pt x="89" y="31"/>
                  </a:lnTo>
                  <a:lnTo>
                    <a:pt x="119" y="38"/>
                  </a:lnTo>
                  <a:lnTo>
                    <a:pt x="134" y="43"/>
                  </a:lnTo>
                  <a:lnTo>
                    <a:pt x="148" y="46"/>
                  </a:lnTo>
                  <a:lnTo>
                    <a:pt x="153" y="51"/>
                  </a:lnTo>
                  <a:lnTo>
                    <a:pt x="157" y="57"/>
                  </a:lnTo>
                  <a:lnTo>
                    <a:pt x="158" y="65"/>
                  </a:lnTo>
                  <a:lnTo>
                    <a:pt x="188" y="99"/>
                  </a:lnTo>
                  <a:lnTo>
                    <a:pt x="189" y="101"/>
                  </a:lnTo>
                  <a:lnTo>
                    <a:pt x="188" y="106"/>
                  </a:lnTo>
                  <a:lnTo>
                    <a:pt x="190" y="112"/>
                  </a:lnTo>
                  <a:lnTo>
                    <a:pt x="194" y="116"/>
                  </a:lnTo>
                  <a:lnTo>
                    <a:pt x="206" y="126"/>
                  </a:lnTo>
                  <a:lnTo>
                    <a:pt x="215" y="129"/>
                  </a:lnTo>
                  <a:lnTo>
                    <a:pt x="225" y="131"/>
                  </a:lnTo>
                  <a:lnTo>
                    <a:pt x="228" y="134"/>
                  </a:lnTo>
                  <a:lnTo>
                    <a:pt x="236" y="137"/>
                  </a:lnTo>
                  <a:lnTo>
                    <a:pt x="250" y="151"/>
                  </a:lnTo>
                  <a:lnTo>
                    <a:pt x="253" y="160"/>
                  </a:lnTo>
                  <a:lnTo>
                    <a:pt x="260" y="174"/>
                  </a:lnTo>
                  <a:lnTo>
                    <a:pt x="261" y="180"/>
                  </a:lnTo>
                  <a:lnTo>
                    <a:pt x="264" y="189"/>
                  </a:lnTo>
                  <a:lnTo>
                    <a:pt x="266" y="194"/>
                  </a:lnTo>
                  <a:lnTo>
                    <a:pt x="269" y="188"/>
                  </a:lnTo>
                  <a:lnTo>
                    <a:pt x="275" y="202"/>
                  </a:lnTo>
                  <a:lnTo>
                    <a:pt x="272" y="203"/>
                  </a:lnTo>
                  <a:lnTo>
                    <a:pt x="271" y="209"/>
                  </a:lnTo>
                  <a:lnTo>
                    <a:pt x="264" y="214"/>
                  </a:lnTo>
                  <a:lnTo>
                    <a:pt x="258" y="214"/>
                  </a:lnTo>
                  <a:lnTo>
                    <a:pt x="239" y="207"/>
                  </a:lnTo>
                  <a:lnTo>
                    <a:pt x="222" y="198"/>
                  </a:lnTo>
                  <a:lnTo>
                    <a:pt x="222" y="196"/>
                  </a:lnTo>
                  <a:lnTo>
                    <a:pt x="217" y="193"/>
                  </a:lnTo>
                  <a:lnTo>
                    <a:pt x="211" y="196"/>
                  </a:lnTo>
                  <a:lnTo>
                    <a:pt x="196" y="189"/>
                  </a:lnTo>
                  <a:lnTo>
                    <a:pt x="196" y="185"/>
                  </a:lnTo>
                  <a:lnTo>
                    <a:pt x="200" y="180"/>
                  </a:lnTo>
                  <a:lnTo>
                    <a:pt x="202" y="175"/>
                  </a:lnTo>
                  <a:lnTo>
                    <a:pt x="199" y="176"/>
                  </a:lnTo>
                  <a:lnTo>
                    <a:pt x="196" y="182"/>
                  </a:lnTo>
                  <a:lnTo>
                    <a:pt x="190" y="183"/>
                  </a:lnTo>
                  <a:lnTo>
                    <a:pt x="182" y="176"/>
                  </a:lnTo>
                  <a:lnTo>
                    <a:pt x="179" y="172"/>
                  </a:lnTo>
                  <a:lnTo>
                    <a:pt x="179" y="167"/>
                  </a:lnTo>
                  <a:lnTo>
                    <a:pt x="184" y="165"/>
                  </a:lnTo>
                  <a:lnTo>
                    <a:pt x="190" y="160"/>
                  </a:lnTo>
                  <a:lnTo>
                    <a:pt x="184" y="159"/>
                  </a:lnTo>
                  <a:lnTo>
                    <a:pt x="178" y="155"/>
                  </a:lnTo>
                  <a:lnTo>
                    <a:pt x="173" y="161"/>
                  </a:lnTo>
                  <a:lnTo>
                    <a:pt x="166" y="160"/>
                  </a:lnTo>
                  <a:lnTo>
                    <a:pt x="153" y="162"/>
                  </a:lnTo>
                  <a:lnTo>
                    <a:pt x="143" y="154"/>
                  </a:lnTo>
                  <a:lnTo>
                    <a:pt x="147" y="155"/>
                  </a:lnTo>
                  <a:lnTo>
                    <a:pt x="157" y="153"/>
                  </a:lnTo>
                  <a:lnTo>
                    <a:pt x="153" y="145"/>
                  </a:lnTo>
                  <a:lnTo>
                    <a:pt x="143" y="135"/>
                  </a:lnTo>
                  <a:lnTo>
                    <a:pt x="132" y="134"/>
                  </a:lnTo>
                  <a:lnTo>
                    <a:pt x="130" y="129"/>
                  </a:lnTo>
                  <a:lnTo>
                    <a:pt x="120" y="124"/>
                  </a:lnTo>
                  <a:lnTo>
                    <a:pt x="109" y="126"/>
                  </a:lnTo>
                  <a:lnTo>
                    <a:pt x="104" y="124"/>
                  </a:lnTo>
                  <a:lnTo>
                    <a:pt x="100" y="112"/>
                  </a:lnTo>
                  <a:lnTo>
                    <a:pt x="105" y="108"/>
                  </a:lnTo>
                  <a:lnTo>
                    <a:pt x="118" y="110"/>
                  </a:lnTo>
                  <a:lnTo>
                    <a:pt x="129" y="105"/>
                  </a:lnTo>
                  <a:lnTo>
                    <a:pt x="119" y="100"/>
                  </a:lnTo>
                  <a:lnTo>
                    <a:pt x="109" y="102"/>
                  </a:lnTo>
                  <a:lnTo>
                    <a:pt x="107" y="100"/>
                  </a:lnTo>
                  <a:lnTo>
                    <a:pt x="105" y="94"/>
                  </a:lnTo>
                  <a:lnTo>
                    <a:pt x="99" y="99"/>
                  </a:lnTo>
                  <a:lnTo>
                    <a:pt x="96" y="89"/>
                  </a:lnTo>
                  <a:lnTo>
                    <a:pt x="86" y="83"/>
                  </a:lnTo>
                  <a:lnTo>
                    <a:pt x="82" y="84"/>
                  </a:lnTo>
                  <a:lnTo>
                    <a:pt x="80" y="80"/>
                  </a:lnTo>
                  <a:lnTo>
                    <a:pt x="72" y="86"/>
                  </a:lnTo>
                  <a:lnTo>
                    <a:pt x="65" y="80"/>
                  </a:lnTo>
                  <a:lnTo>
                    <a:pt x="66" y="70"/>
                  </a:lnTo>
                  <a:lnTo>
                    <a:pt x="70" y="65"/>
                  </a:lnTo>
                  <a:lnTo>
                    <a:pt x="66" y="65"/>
                  </a:lnTo>
                  <a:lnTo>
                    <a:pt x="60" y="61"/>
                  </a:lnTo>
                  <a:lnTo>
                    <a:pt x="56" y="70"/>
                  </a:lnTo>
                  <a:lnTo>
                    <a:pt x="49" y="61"/>
                  </a:lnTo>
                  <a:lnTo>
                    <a:pt x="45" y="62"/>
                  </a:lnTo>
                  <a:lnTo>
                    <a:pt x="40" y="59"/>
                  </a:lnTo>
                  <a:lnTo>
                    <a:pt x="34" y="67"/>
                  </a:lnTo>
                  <a:lnTo>
                    <a:pt x="29" y="64"/>
                  </a:lnTo>
                  <a:lnTo>
                    <a:pt x="27" y="62"/>
                  </a:lnTo>
                  <a:lnTo>
                    <a:pt x="29" y="57"/>
                  </a:lnTo>
                  <a:lnTo>
                    <a:pt x="30" y="48"/>
                  </a:lnTo>
                  <a:lnTo>
                    <a:pt x="24" y="45"/>
                  </a:lnTo>
                  <a:lnTo>
                    <a:pt x="23" y="37"/>
                  </a:lnTo>
                  <a:lnTo>
                    <a:pt x="33" y="35"/>
                  </a:lnTo>
                  <a:lnTo>
                    <a:pt x="41" y="36"/>
                  </a:lnTo>
                  <a:lnTo>
                    <a:pt x="45" y="4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57" name="Freeform 282">
              <a:extLst>
                <a:ext uri="{FF2B5EF4-FFF2-40B4-BE49-F238E27FC236}">
                  <a16:creationId xmlns:a16="http://schemas.microsoft.com/office/drawing/2014/main" id="{B40AC012-F95F-3020-8607-B769261F264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860121" y="1262076"/>
              <a:ext cx="126849" cy="124985"/>
            </a:xfrm>
            <a:custGeom>
              <a:avLst/>
              <a:gdLst>
                <a:gd name="T0" fmla="*/ 0 w 236"/>
                <a:gd name="T1" fmla="*/ 0 h 221"/>
                <a:gd name="T2" fmla="*/ 0 w 236"/>
                <a:gd name="T3" fmla="*/ 0 h 221"/>
                <a:gd name="T4" fmla="*/ 0 w 236"/>
                <a:gd name="T5" fmla="*/ 0 h 221"/>
                <a:gd name="T6" fmla="*/ 0 w 236"/>
                <a:gd name="T7" fmla="*/ 0 h 221"/>
                <a:gd name="T8" fmla="*/ 0 w 236"/>
                <a:gd name="T9" fmla="*/ 0 h 221"/>
                <a:gd name="T10" fmla="*/ 0 w 236"/>
                <a:gd name="T11" fmla="*/ 0 h 221"/>
                <a:gd name="T12" fmla="*/ 0 w 236"/>
                <a:gd name="T13" fmla="*/ 0 h 221"/>
                <a:gd name="T14" fmla="*/ 0 w 236"/>
                <a:gd name="T15" fmla="*/ 0 h 221"/>
                <a:gd name="T16" fmla="*/ 0 w 236"/>
                <a:gd name="T17" fmla="*/ 0 h 221"/>
                <a:gd name="T18" fmla="*/ 0 w 236"/>
                <a:gd name="T19" fmla="*/ 0 h 221"/>
                <a:gd name="T20" fmla="*/ 0 w 236"/>
                <a:gd name="T21" fmla="*/ 0 h 221"/>
                <a:gd name="T22" fmla="*/ 0 w 236"/>
                <a:gd name="T23" fmla="*/ 0 h 221"/>
                <a:gd name="T24" fmla="*/ 0 w 236"/>
                <a:gd name="T25" fmla="*/ 0 h 221"/>
                <a:gd name="T26" fmla="*/ 0 w 236"/>
                <a:gd name="T27" fmla="*/ 0 h 221"/>
                <a:gd name="T28" fmla="*/ 0 w 236"/>
                <a:gd name="T29" fmla="*/ 0 h 221"/>
                <a:gd name="T30" fmla="*/ 0 w 236"/>
                <a:gd name="T31" fmla="*/ 0 h 221"/>
                <a:gd name="T32" fmla="*/ 0 w 236"/>
                <a:gd name="T33" fmla="*/ 0 h 221"/>
                <a:gd name="T34" fmla="*/ 0 w 236"/>
                <a:gd name="T35" fmla="*/ 0 h 221"/>
                <a:gd name="T36" fmla="*/ 0 w 236"/>
                <a:gd name="T37" fmla="*/ 0 h 221"/>
                <a:gd name="T38" fmla="*/ 0 w 236"/>
                <a:gd name="T39" fmla="*/ 0 h 221"/>
                <a:gd name="T40" fmla="*/ 0 w 236"/>
                <a:gd name="T41" fmla="*/ 0 h 221"/>
                <a:gd name="T42" fmla="*/ 0 w 236"/>
                <a:gd name="T43" fmla="*/ 0 h 221"/>
                <a:gd name="T44" fmla="*/ 0 w 236"/>
                <a:gd name="T45" fmla="*/ 0 h 221"/>
                <a:gd name="T46" fmla="*/ 0 w 236"/>
                <a:gd name="T47" fmla="*/ 0 h 221"/>
                <a:gd name="T48" fmla="*/ 0 w 236"/>
                <a:gd name="T49" fmla="*/ 0 h 221"/>
                <a:gd name="T50" fmla="*/ 0 w 236"/>
                <a:gd name="T51" fmla="*/ 0 h 221"/>
                <a:gd name="T52" fmla="*/ 0 w 236"/>
                <a:gd name="T53" fmla="*/ 0 h 221"/>
                <a:gd name="T54" fmla="*/ 0 w 236"/>
                <a:gd name="T55" fmla="*/ 0 h 221"/>
                <a:gd name="T56" fmla="*/ 0 w 236"/>
                <a:gd name="T57" fmla="*/ 0 h 221"/>
                <a:gd name="T58" fmla="*/ 0 w 236"/>
                <a:gd name="T59" fmla="*/ 0 h 221"/>
                <a:gd name="T60" fmla="*/ 0 w 236"/>
                <a:gd name="T61" fmla="*/ 0 h 221"/>
                <a:gd name="T62" fmla="*/ 0 w 236"/>
                <a:gd name="T63" fmla="*/ 0 h 221"/>
                <a:gd name="T64" fmla="*/ 0 w 236"/>
                <a:gd name="T65" fmla="*/ 0 h 221"/>
                <a:gd name="T66" fmla="*/ 0 w 236"/>
                <a:gd name="T67" fmla="*/ 0 h 221"/>
                <a:gd name="T68" fmla="*/ 0 w 236"/>
                <a:gd name="T69" fmla="*/ 0 h 22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36"/>
                <a:gd name="T106" fmla="*/ 0 h 221"/>
                <a:gd name="T107" fmla="*/ 236 w 236"/>
                <a:gd name="T108" fmla="*/ 221 h 221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36" h="221">
                  <a:moveTo>
                    <a:pt x="141" y="55"/>
                  </a:moveTo>
                  <a:lnTo>
                    <a:pt x="132" y="38"/>
                  </a:lnTo>
                  <a:lnTo>
                    <a:pt x="126" y="33"/>
                  </a:lnTo>
                  <a:lnTo>
                    <a:pt x="118" y="33"/>
                  </a:lnTo>
                  <a:lnTo>
                    <a:pt x="120" y="24"/>
                  </a:lnTo>
                  <a:lnTo>
                    <a:pt x="118" y="18"/>
                  </a:lnTo>
                  <a:lnTo>
                    <a:pt x="108" y="14"/>
                  </a:lnTo>
                  <a:lnTo>
                    <a:pt x="104" y="4"/>
                  </a:lnTo>
                  <a:lnTo>
                    <a:pt x="96" y="0"/>
                  </a:lnTo>
                  <a:lnTo>
                    <a:pt x="86" y="0"/>
                  </a:lnTo>
                  <a:lnTo>
                    <a:pt x="84" y="11"/>
                  </a:lnTo>
                  <a:lnTo>
                    <a:pt x="73" y="20"/>
                  </a:lnTo>
                  <a:lnTo>
                    <a:pt x="65" y="44"/>
                  </a:lnTo>
                  <a:lnTo>
                    <a:pt x="71" y="52"/>
                  </a:lnTo>
                  <a:lnTo>
                    <a:pt x="71" y="57"/>
                  </a:lnTo>
                  <a:lnTo>
                    <a:pt x="66" y="51"/>
                  </a:lnTo>
                  <a:lnTo>
                    <a:pt x="56" y="51"/>
                  </a:lnTo>
                  <a:lnTo>
                    <a:pt x="53" y="57"/>
                  </a:lnTo>
                  <a:lnTo>
                    <a:pt x="54" y="62"/>
                  </a:lnTo>
                  <a:lnTo>
                    <a:pt x="53" y="73"/>
                  </a:lnTo>
                  <a:lnTo>
                    <a:pt x="57" y="90"/>
                  </a:lnTo>
                  <a:lnTo>
                    <a:pt x="50" y="98"/>
                  </a:lnTo>
                  <a:lnTo>
                    <a:pt x="48" y="108"/>
                  </a:lnTo>
                  <a:lnTo>
                    <a:pt x="40" y="109"/>
                  </a:lnTo>
                  <a:lnTo>
                    <a:pt x="24" y="117"/>
                  </a:lnTo>
                  <a:lnTo>
                    <a:pt x="11" y="119"/>
                  </a:lnTo>
                  <a:lnTo>
                    <a:pt x="2" y="125"/>
                  </a:lnTo>
                  <a:lnTo>
                    <a:pt x="0" y="136"/>
                  </a:lnTo>
                  <a:lnTo>
                    <a:pt x="0" y="152"/>
                  </a:lnTo>
                  <a:lnTo>
                    <a:pt x="10" y="163"/>
                  </a:lnTo>
                  <a:lnTo>
                    <a:pt x="21" y="168"/>
                  </a:lnTo>
                  <a:lnTo>
                    <a:pt x="21" y="158"/>
                  </a:lnTo>
                  <a:lnTo>
                    <a:pt x="24" y="153"/>
                  </a:lnTo>
                  <a:lnTo>
                    <a:pt x="32" y="152"/>
                  </a:lnTo>
                  <a:lnTo>
                    <a:pt x="41" y="158"/>
                  </a:lnTo>
                  <a:lnTo>
                    <a:pt x="44" y="167"/>
                  </a:lnTo>
                  <a:lnTo>
                    <a:pt x="51" y="170"/>
                  </a:lnTo>
                  <a:lnTo>
                    <a:pt x="55" y="175"/>
                  </a:lnTo>
                  <a:lnTo>
                    <a:pt x="60" y="172"/>
                  </a:lnTo>
                  <a:lnTo>
                    <a:pt x="62" y="165"/>
                  </a:lnTo>
                  <a:lnTo>
                    <a:pt x="71" y="172"/>
                  </a:lnTo>
                  <a:lnTo>
                    <a:pt x="71" y="180"/>
                  </a:lnTo>
                  <a:lnTo>
                    <a:pt x="77" y="183"/>
                  </a:lnTo>
                  <a:lnTo>
                    <a:pt x="89" y="180"/>
                  </a:lnTo>
                  <a:lnTo>
                    <a:pt x="99" y="196"/>
                  </a:lnTo>
                  <a:lnTo>
                    <a:pt x="109" y="202"/>
                  </a:lnTo>
                  <a:lnTo>
                    <a:pt x="129" y="206"/>
                  </a:lnTo>
                  <a:lnTo>
                    <a:pt x="132" y="210"/>
                  </a:lnTo>
                  <a:lnTo>
                    <a:pt x="134" y="202"/>
                  </a:lnTo>
                  <a:lnTo>
                    <a:pt x="136" y="202"/>
                  </a:lnTo>
                  <a:lnTo>
                    <a:pt x="152" y="213"/>
                  </a:lnTo>
                  <a:lnTo>
                    <a:pt x="167" y="221"/>
                  </a:lnTo>
                  <a:lnTo>
                    <a:pt x="177" y="216"/>
                  </a:lnTo>
                  <a:lnTo>
                    <a:pt x="186" y="195"/>
                  </a:lnTo>
                  <a:lnTo>
                    <a:pt x="194" y="194"/>
                  </a:lnTo>
                  <a:lnTo>
                    <a:pt x="209" y="179"/>
                  </a:lnTo>
                  <a:lnTo>
                    <a:pt x="216" y="178"/>
                  </a:lnTo>
                  <a:lnTo>
                    <a:pt x="216" y="186"/>
                  </a:lnTo>
                  <a:lnTo>
                    <a:pt x="223" y="183"/>
                  </a:lnTo>
                  <a:lnTo>
                    <a:pt x="233" y="174"/>
                  </a:lnTo>
                  <a:lnTo>
                    <a:pt x="236" y="164"/>
                  </a:lnTo>
                  <a:lnTo>
                    <a:pt x="231" y="163"/>
                  </a:lnTo>
                  <a:lnTo>
                    <a:pt x="220" y="169"/>
                  </a:lnTo>
                  <a:lnTo>
                    <a:pt x="207" y="153"/>
                  </a:lnTo>
                  <a:lnTo>
                    <a:pt x="202" y="142"/>
                  </a:lnTo>
                  <a:lnTo>
                    <a:pt x="202" y="132"/>
                  </a:lnTo>
                  <a:lnTo>
                    <a:pt x="190" y="110"/>
                  </a:lnTo>
                  <a:lnTo>
                    <a:pt x="179" y="100"/>
                  </a:lnTo>
                  <a:lnTo>
                    <a:pt x="174" y="89"/>
                  </a:lnTo>
                  <a:lnTo>
                    <a:pt x="143" y="60"/>
                  </a:lnTo>
                  <a:lnTo>
                    <a:pt x="141" y="5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58" name="Freeform 283">
              <a:extLst>
                <a:ext uri="{FF2B5EF4-FFF2-40B4-BE49-F238E27FC236}">
                  <a16:creationId xmlns:a16="http://schemas.microsoft.com/office/drawing/2014/main" id="{C17B1472-AEEE-1DDC-AA6B-A81BF964229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084104" y="777375"/>
              <a:ext cx="310407" cy="370385"/>
            </a:xfrm>
            <a:custGeom>
              <a:avLst/>
              <a:gdLst>
                <a:gd name="T0" fmla="*/ 0 w 582"/>
                <a:gd name="T1" fmla="*/ 0 h 653"/>
                <a:gd name="T2" fmla="*/ 0 w 582"/>
                <a:gd name="T3" fmla="*/ 0 h 653"/>
                <a:gd name="T4" fmla="*/ 0 w 582"/>
                <a:gd name="T5" fmla="*/ 0 h 653"/>
                <a:gd name="T6" fmla="*/ 0 w 582"/>
                <a:gd name="T7" fmla="*/ 0 h 653"/>
                <a:gd name="T8" fmla="*/ 0 w 582"/>
                <a:gd name="T9" fmla="*/ 0 h 653"/>
                <a:gd name="T10" fmla="*/ 0 w 582"/>
                <a:gd name="T11" fmla="*/ 0 h 653"/>
                <a:gd name="T12" fmla="*/ 0 w 582"/>
                <a:gd name="T13" fmla="*/ 0 h 653"/>
                <a:gd name="T14" fmla="*/ 0 w 582"/>
                <a:gd name="T15" fmla="*/ 2147483647 h 653"/>
                <a:gd name="T16" fmla="*/ 0 w 582"/>
                <a:gd name="T17" fmla="*/ 2147483647 h 653"/>
                <a:gd name="T18" fmla="*/ 0 w 582"/>
                <a:gd name="T19" fmla="*/ 2147483647 h 653"/>
                <a:gd name="T20" fmla="*/ 0 w 582"/>
                <a:gd name="T21" fmla="*/ 2147483647 h 653"/>
                <a:gd name="T22" fmla="*/ 0 w 582"/>
                <a:gd name="T23" fmla="*/ 2147483647 h 653"/>
                <a:gd name="T24" fmla="*/ 0 w 582"/>
                <a:gd name="T25" fmla="*/ 2147483647 h 653"/>
                <a:gd name="T26" fmla="*/ 0 w 582"/>
                <a:gd name="T27" fmla="*/ 2147483647 h 653"/>
                <a:gd name="T28" fmla="*/ 0 w 582"/>
                <a:gd name="T29" fmla="*/ 2147483647 h 653"/>
                <a:gd name="T30" fmla="*/ 0 w 582"/>
                <a:gd name="T31" fmla="*/ 2147483647 h 653"/>
                <a:gd name="T32" fmla="*/ 0 w 582"/>
                <a:gd name="T33" fmla="*/ 2147483647 h 653"/>
                <a:gd name="T34" fmla="*/ 0 w 582"/>
                <a:gd name="T35" fmla="*/ 2147483647 h 653"/>
                <a:gd name="T36" fmla="*/ 0 w 582"/>
                <a:gd name="T37" fmla="*/ 2147483647 h 653"/>
                <a:gd name="T38" fmla="*/ 0 w 582"/>
                <a:gd name="T39" fmla="*/ 2147483647 h 653"/>
                <a:gd name="T40" fmla="*/ 0 w 582"/>
                <a:gd name="T41" fmla="*/ 2147483647 h 653"/>
                <a:gd name="T42" fmla="*/ 0 w 582"/>
                <a:gd name="T43" fmla="*/ 2147483647 h 653"/>
                <a:gd name="T44" fmla="*/ 0 w 582"/>
                <a:gd name="T45" fmla="*/ 2147483647 h 653"/>
                <a:gd name="T46" fmla="*/ 0 w 582"/>
                <a:gd name="T47" fmla="*/ 2147483647 h 653"/>
                <a:gd name="T48" fmla="*/ 0 w 582"/>
                <a:gd name="T49" fmla="*/ 2147483647 h 653"/>
                <a:gd name="T50" fmla="*/ 0 w 582"/>
                <a:gd name="T51" fmla="*/ 2147483647 h 653"/>
                <a:gd name="T52" fmla="*/ 0 w 582"/>
                <a:gd name="T53" fmla="*/ 2147483647 h 653"/>
                <a:gd name="T54" fmla="*/ 0 w 582"/>
                <a:gd name="T55" fmla="*/ 2147483647 h 653"/>
                <a:gd name="T56" fmla="*/ 0 w 582"/>
                <a:gd name="T57" fmla="*/ 2147483647 h 653"/>
                <a:gd name="T58" fmla="*/ 0 w 582"/>
                <a:gd name="T59" fmla="*/ 2147483647 h 653"/>
                <a:gd name="T60" fmla="*/ 0 w 582"/>
                <a:gd name="T61" fmla="*/ 2147483647 h 653"/>
                <a:gd name="T62" fmla="*/ 2147483647 w 582"/>
                <a:gd name="T63" fmla="*/ 2147483647 h 653"/>
                <a:gd name="T64" fmla="*/ 2147483647 w 582"/>
                <a:gd name="T65" fmla="*/ 2147483647 h 653"/>
                <a:gd name="T66" fmla="*/ 2147483647 w 582"/>
                <a:gd name="T67" fmla="*/ 2147483647 h 653"/>
                <a:gd name="T68" fmla="*/ 2147483647 w 582"/>
                <a:gd name="T69" fmla="*/ 2147483647 h 653"/>
                <a:gd name="T70" fmla="*/ 2147483647 w 582"/>
                <a:gd name="T71" fmla="*/ 2147483647 h 653"/>
                <a:gd name="T72" fmla="*/ 2147483647 w 582"/>
                <a:gd name="T73" fmla="*/ 0 h 653"/>
                <a:gd name="T74" fmla="*/ 2147483647 w 582"/>
                <a:gd name="T75" fmla="*/ 0 h 653"/>
                <a:gd name="T76" fmla="*/ 2147483647 w 582"/>
                <a:gd name="T77" fmla="*/ 0 h 653"/>
                <a:gd name="T78" fmla="*/ 2147483647 w 582"/>
                <a:gd name="T79" fmla="*/ 0 h 653"/>
                <a:gd name="T80" fmla="*/ 2147483647 w 582"/>
                <a:gd name="T81" fmla="*/ 0 h 653"/>
                <a:gd name="T82" fmla="*/ 2147483647 w 582"/>
                <a:gd name="T83" fmla="*/ 0 h 653"/>
                <a:gd name="T84" fmla="*/ 2147483647 w 582"/>
                <a:gd name="T85" fmla="*/ 0 h 653"/>
                <a:gd name="T86" fmla="*/ 2147483647 w 582"/>
                <a:gd name="T87" fmla="*/ 0 h 653"/>
                <a:gd name="T88" fmla="*/ 2147483647 w 582"/>
                <a:gd name="T89" fmla="*/ 0 h 653"/>
                <a:gd name="T90" fmla="*/ 2147483647 w 582"/>
                <a:gd name="T91" fmla="*/ 0 h 653"/>
                <a:gd name="T92" fmla="*/ 2147483647 w 582"/>
                <a:gd name="T93" fmla="*/ 0 h 653"/>
                <a:gd name="T94" fmla="*/ 2147483647 w 582"/>
                <a:gd name="T95" fmla="*/ 0 h 653"/>
                <a:gd name="T96" fmla="*/ 0 w 582"/>
                <a:gd name="T97" fmla="*/ 0 h 653"/>
                <a:gd name="T98" fmla="*/ 0 w 582"/>
                <a:gd name="T99" fmla="*/ 0 h 653"/>
                <a:gd name="T100" fmla="*/ 0 w 582"/>
                <a:gd name="T101" fmla="*/ 0 h 653"/>
                <a:gd name="T102" fmla="*/ 0 w 582"/>
                <a:gd name="T103" fmla="*/ 0 h 653"/>
                <a:gd name="T104" fmla="*/ 0 w 582"/>
                <a:gd name="T105" fmla="*/ 0 h 653"/>
                <a:gd name="T106" fmla="*/ 0 w 582"/>
                <a:gd name="T107" fmla="*/ 0 h 653"/>
                <a:gd name="T108" fmla="*/ 0 w 582"/>
                <a:gd name="T109" fmla="*/ 0 h 653"/>
                <a:gd name="T110" fmla="*/ 0 w 582"/>
                <a:gd name="T111" fmla="*/ 0 h 653"/>
                <a:gd name="T112" fmla="*/ 0 w 582"/>
                <a:gd name="T113" fmla="*/ 0 h 653"/>
                <a:gd name="T114" fmla="*/ 0 w 582"/>
                <a:gd name="T115" fmla="*/ 0 h 653"/>
                <a:gd name="T116" fmla="*/ 0 w 582"/>
                <a:gd name="T117" fmla="*/ 0 h 65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82"/>
                <a:gd name="T178" fmla="*/ 0 h 653"/>
                <a:gd name="T179" fmla="*/ 582 w 582"/>
                <a:gd name="T180" fmla="*/ 653 h 65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582" h="653">
                  <a:moveTo>
                    <a:pt x="93" y="117"/>
                  </a:moveTo>
                  <a:lnTo>
                    <a:pt x="100" y="129"/>
                  </a:lnTo>
                  <a:lnTo>
                    <a:pt x="109" y="137"/>
                  </a:lnTo>
                  <a:lnTo>
                    <a:pt x="113" y="148"/>
                  </a:lnTo>
                  <a:lnTo>
                    <a:pt x="105" y="161"/>
                  </a:lnTo>
                  <a:lnTo>
                    <a:pt x="97" y="189"/>
                  </a:lnTo>
                  <a:lnTo>
                    <a:pt x="93" y="198"/>
                  </a:lnTo>
                  <a:lnTo>
                    <a:pt x="84" y="208"/>
                  </a:lnTo>
                  <a:lnTo>
                    <a:pt x="84" y="213"/>
                  </a:lnTo>
                  <a:lnTo>
                    <a:pt x="81" y="225"/>
                  </a:lnTo>
                  <a:lnTo>
                    <a:pt x="76" y="229"/>
                  </a:lnTo>
                  <a:lnTo>
                    <a:pt x="72" y="242"/>
                  </a:lnTo>
                  <a:lnTo>
                    <a:pt x="72" y="251"/>
                  </a:lnTo>
                  <a:lnTo>
                    <a:pt x="65" y="263"/>
                  </a:lnTo>
                  <a:lnTo>
                    <a:pt x="66" y="272"/>
                  </a:lnTo>
                  <a:lnTo>
                    <a:pt x="64" y="275"/>
                  </a:lnTo>
                  <a:lnTo>
                    <a:pt x="60" y="284"/>
                  </a:lnTo>
                  <a:lnTo>
                    <a:pt x="55" y="288"/>
                  </a:lnTo>
                  <a:lnTo>
                    <a:pt x="57" y="299"/>
                  </a:lnTo>
                  <a:lnTo>
                    <a:pt x="64" y="298"/>
                  </a:lnTo>
                  <a:lnTo>
                    <a:pt x="66" y="305"/>
                  </a:lnTo>
                  <a:lnTo>
                    <a:pt x="72" y="309"/>
                  </a:lnTo>
                  <a:lnTo>
                    <a:pt x="73" y="315"/>
                  </a:lnTo>
                  <a:lnTo>
                    <a:pt x="72" y="321"/>
                  </a:lnTo>
                  <a:lnTo>
                    <a:pt x="51" y="331"/>
                  </a:lnTo>
                  <a:lnTo>
                    <a:pt x="43" y="327"/>
                  </a:lnTo>
                  <a:lnTo>
                    <a:pt x="41" y="333"/>
                  </a:lnTo>
                  <a:lnTo>
                    <a:pt x="44" y="342"/>
                  </a:lnTo>
                  <a:lnTo>
                    <a:pt x="46" y="345"/>
                  </a:lnTo>
                  <a:lnTo>
                    <a:pt x="46" y="358"/>
                  </a:lnTo>
                  <a:lnTo>
                    <a:pt x="48" y="359"/>
                  </a:lnTo>
                  <a:lnTo>
                    <a:pt x="48" y="366"/>
                  </a:lnTo>
                  <a:lnTo>
                    <a:pt x="44" y="380"/>
                  </a:lnTo>
                  <a:lnTo>
                    <a:pt x="49" y="377"/>
                  </a:lnTo>
                  <a:lnTo>
                    <a:pt x="50" y="387"/>
                  </a:lnTo>
                  <a:lnTo>
                    <a:pt x="44" y="391"/>
                  </a:lnTo>
                  <a:lnTo>
                    <a:pt x="38" y="400"/>
                  </a:lnTo>
                  <a:lnTo>
                    <a:pt x="45" y="404"/>
                  </a:lnTo>
                  <a:lnTo>
                    <a:pt x="40" y="409"/>
                  </a:lnTo>
                  <a:lnTo>
                    <a:pt x="33" y="406"/>
                  </a:lnTo>
                  <a:lnTo>
                    <a:pt x="27" y="418"/>
                  </a:lnTo>
                  <a:lnTo>
                    <a:pt x="27" y="430"/>
                  </a:lnTo>
                  <a:lnTo>
                    <a:pt x="21" y="435"/>
                  </a:lnTo>
                  <a:lnTo>
                    <a:pt x="22" y="441"/>
                  </a:lnTo>
                  <a:lnTo>
                    <a:pt x="30" y="449"/>
                  </a:lnTo>
                  <a:lnTo>
                    <a:pt x="12" y="455"/>
                  </a:lnTo>
                  <a:lnTo>
                    <a:pt x="17" y="457"/>
                  </a:lnTo>
                  <a:lnTo>
                    <a:pt x="18" y="465"/>
                  </a:lnTo>
                  <a:lnTo>
                    <a:pt x="13" y="463"/>
                  </a:lnTo>
                  <a:lnTo>
                    <a:pt x="10" y="471"/>
                  </a:lnTo>
                  <a:lnTo>
                    <a:pt x="11" y="479"/>
                  </a:lnTo>
                  <a:lnTo>
                    <a:pt x="16" y="482"/>
                  </a:lnTo>
                  <a:lnTo>
                    <a:pt x="8" y="499"/>
                  </a:lnTo>
                  <a:lnTo>
                    <a:pt x="0" y="500"/>
                  </a:lnTo>
                  <a:lnTo>
                    <a:pt x="3" y="509"/>
                  </a:lnTo>
                  <a:lnTo>
                    <a:pt x="30" y="499"/>
                  </a:lnTo>
                  <a:lnTo>
                    <a:pt x="49" y="504"/>
                  </a:lnTo>
                  <a:lnTo>
                    <a:pt x="51" y="509"/>
                  </a:lnTo>
                  <a:lnTo>
                    <a:pt x="41" y="505"/>
                  </a:lnTo>
                  <a:lnTo>
                    <a:pt x="41" y="511"/>
                  </a:lnTo>
                  <a:lnTo>
                    <a:pt x="60" y="522"/>
                  </a:lnTo>
                  <a:lnTo>
                    <a:pt x="66" y="530"/>
                  </a:lnTo>
                  <a:lnTo>
                    <a:pt x="66" y="519"/>
                  </a:lnTo>
                  <a:lnTo>
                    <a:pt x="75" y="520"/>
                  </a:lnTo>
                  <a:lnTo>
                    <a:pt x="75" y="531"/>
                  </a:lnTo>
                  <a:lnTo>
                    <a:pt x="99" y="541"/>
                  </a:lnTo>
                  <a:lnTo>
                    <a:pt x="113" y="560"/>
                  </a:lnTo>
                  <a:lnTo>
                    <a:pt x="116" y="575"/>
                  </a:lnTo>
                  <a:lnTo>
                    <a:pt x="124" y="585"/>
                  </a:lnTo>
                  <a:lnTo>
                    <a:pt x="139" y="632"/>
                  </a:lnTo>
                  <a:lnTo>
                    <a:pt x="151" y="653"/>
                  </a:lnTo>
                  <a:lnTo>
                    <a:pt x="163" y="650"/>
                  </a:lnTo>
                  <a:lnTo>
                    <a:pt x="180" y="628"/>
                  </a:lnTo>
                  <a:lnTo>
                    <a:pt x="194" y="624"/>
                  </a:lnTo>
                  <a:lnTo>
                    <a:pt x="215" y="603"/>
                  </a:lnTo>
                  <a:lnTo>
                    <a:pt x="223" y="592"/>
                  </a:lnTo>
                  <a:lnTo>
                    <a:pt x="229" y="580"/>
                  </a:lnTo>
                  <a:lnTo>
                    <a:pt x="238" y="587"/>
                  </a:lnTo>
                  <a:lnTo>
                    <a:pt x="239" y="592"/>
                  </a:lnTo>
                  <a:lnTo>
                    <a:pt x="238" y="600"/>
                  </a:lnTo>
                  <a:lnTo>
                    <a:pt x="249" y="601"/>
                  </a:lnTo>
                  <a:lnTo>
                    <a:pt x="259" y="600"/>
                  </a:lnTo>
                  <a:lnTo>
                    <a:pt x="263" y="591"/>
                  </a:lnTo>
                  <a:lnTo>
                    <a:pt x="264" y="581"/>
                  </a:lnTo>
                  <a:lnTo>
                    <a:pt x="269" y="590"/>
                  </a:lnTo>
                  <a:lnTo>
                    <a:pt x="272" y="591"/>
                  </a:lnTo>
                  <a:lnTo>
                    <a:pt x="279" y="587"/>
                  </a:lnTo>
                  <a:lnTo>
                    <a:pt x="291" y="575"/>
                  </a:lnTo>
                  <a:lnTo>
                    <a:pt x="298" y="562"/>
                  </a:lnTo>
                  <a:lnTo>
                    <a:pt x="298" y="549"/>
                  </a:lnTo>
                  <a:lnTo>
                    <a:pt x="301" y="542"/>
                  </a:lnTo>
                  <a:lnTo>
                    <a:pt x="298" y="537"/>
                  </a:lnTo>
                  <a:lnTo>
                    <a:pt x="299" y="511"/>
                  </a:lnTo>
                  <a:lnTo>
                    <a:pt x="297" y="501"/>
                  </a:lnTo>
                  <a:lnTo>
                    <a:pt x="310" y="474"/>
                  </a:lnTo>
                  <a:lnTo>
                    <a:pt x="313" y="461"/>
                  </a:lnTo>
                  <a:lnTo>
                    <a:pt x="314" y="449"/>
                  </a:lnTo>
                  <a:lnTo>
                    <a:pt x="317" y="446"/>
                  </a:lnTo>
                  <a:lnTo>
                    <a:pt x="328" y="455"/>
                  </a:lnTo>
                  <a:lnTo>
                    <a:pt x="336" y="446"/>
                  </a:lnTo>
                  <a:lnTo>
                    <a:pt x="346" y="444"/>
                  </a:lnTo>
                  <a:lnTo>
                    <a:pt x="362" y="433"/>
                  </a:lnTo>
                  <a:lnTo>
                    <a:pt x="366" y="412"/>
                  </a:lnTo>
                  <a:lnTo>
                    <a:pt x="371" y="395"/>
                  </a:lnTo>
                  <a:lnTo>
                    <a:pt x="371" y="381"/>
                  </a:lnTo>
                  <a:lnTo>
                    <a:pt x="379" y="370"/>
                  </a:lnTo>
                  <a:lnTo>
                    <a:pt x="392" y="361"/>
                  </a:lnTo>
                  <a:lnTo>
                    <a:pt x="406" y="357"/>
                  </a:lnTo>
                  <a:lnTo>
                    <a:pt x="416" y="343"/>
                  </a:lnTo>
                  <a:lnTo>
                    <a:pt x="438" y="330"/>
                  </a:lnTo>
                  <a:lnTo>
                    <a:pt x="462" y="309"/>
                  </a:lnTo>
                  <a:lnTo>
                    <a:pt x="474" y="304"/>
                  </a:lnTo>
                  <a:lnTo>
                    <a:pt x="481" y="294"/>
                  </a:lnTo>
                  <a:lnTo>
                    <a:pt x="514" y="267"/>
                  </a:lnTo>
                  <a:lnTo>
                    <a:pt x="550" y="251"/>
                  </a:lnTo>
                  <a:lnTo>
                    <a:pt x="582" y="224"/>
                  </a:lnTo>
                  <a:lnTo>
                    <a:pt x="581" y="203"/>
                  </a:lnTo>
                  <a:lnTo>
                    <a:pt x="573" y="198"/>
                  </a:lnTo>
                  <a:lnTo>
                    <a:pt x="561" y="180"/>
                  </a:lnTo>
                  <a:lnTo>
                    <a:pt x="552" y="176"/>
                  </a:lnTo>
                  <a:lnTo>
                    <a:pt x="535" y="150"/>
                  </a:lnTo>
                  <a:lnTo>
                    <a:pt x="512" y="129"/>
                  </a:lnTo>
                  <a:lnTo>
                    <a:pt x="506" y="119"/>
                  </a:lnTo>
                  <a:lnTo>
                    <a:pt x="487" y="95"/>
                  </a:lnTo>
                  <a:lnTo>
                    <a:pt x="478" y="89"/>
                  </a:lnTo>
                  <a:lnTo>
                    <a:pt x="462" y="69"/>
                  </a:lnTo>
                  <a:lnTo>
                    <a:pt x="420" y="59"/>
                  </a:lnTo>
                  <a:lnTo>
                    <a:pt x="390" y="73"/>
                  </a:lnTo>
                  <a:lnTo>
                    <a:pt x="385" y="78"/>
                  </a:lnTo>
                  <a:lnTo>
                    <a:pt x="382" y="86"/>
                  </a:lnTo>
                  <a:lnTo>
                    <a:pt x="389" y="96"/>
                  </a:lnTo>
                  <a:lnTo>
                    <a:pt x="384" y="105"/>
                  </a:lnTo>
                  <a:lnTo>
                    <a:pt x="382" y="115"/>
                  </a:lnTo>
                  <a:lnTo>
                    <a:pt x="371" y="121"/>
                  </a:lnTo>
                  <a:lnTo>
                    <a:pt x="368" y="108"/>
                  </a:lnTo>
                  <a:lnTo>
                    <a:pt x="374" y="101"/>
                  </a:lnTo>
                  <a:lnTo>
                    <a:pt x="374" y="85"/>
                  </a:lnTo>
                  <a:lnTo>
                    <a:pt x="373" y="78"/>
                  </a:lnTo>
                  <a:lnTo>
                    <a:pt x="358" y="75"/>
                  </a:lnTo>
                  <a:lnTo>
                    <a:pt x="352" y="81"/>
                  </a:lnTo>
                  <a:lnTo>
                    <a:pt x="352" y="86"/>
                  </a:lnTo>
                  <a:lnTo>
                    <a:pt x="345" y="92"/>
                  </a:lnTo>
                  <a:lnTo>
                    <a:pt x="340" y="111"/>
                  </a:lnTo>
                  <a:lnTo>
                    <a:pt x="338" y="102"/>
                  </a:lnTo>
                  <a:lnTo>
                    <a:pt x="336" y="90"/>
                  </a:lnTo>
                  <a:lnTo>
                    <a:pt x="345" y="76"/>
                  </a:lnTo>
                  <a:lnTo>
                    <a:pt x="304" y="52"/>
                  </a:lnTo>
                  <a:lnTo>
                    <a:pt x="291" y="33"/>
                  </a:lnTo>
                  <a:lnTo>
                    <a:pt x="279" y="24"/>
                  </a:lnTo>
                  <a:lnTo>
                    <a:pt x="276" y="13"/>
                  </a:lnTo>
                  <a:lnTo>
                    <a:pt x="244" y="0"/>
                  </a:lnTo>
                  <a:lnTo>
                    <a:pt x="231" y="3"/>
                  </a:lnTo>
                  <a:lnTo>
                    <a:pt x="224" y="14"/>
                  </a:lnTo>
                  <a:lnTo>
                    <a:pt x="213" y="9"/>
                  </a:lnTo>
                  <a:lnTo>
                    <a:pt x="197" y="16"/>
                  </a:lnTo>
                  <a:lnTo>
                    <a:pt x="157" y="19"/>
                  </a:lnTo>
                  <a:lnTo>
                    <a:pt x="156" y="24"/>
                  </a:lnTo>
                  <a:lnTo>
                    <a:pt x="158" y="36"/>
                  </a:lnTo>
                  <a:lnTo>
                    <a:pt x="158" y="46"/>
                  </a:lnTo>
                  <a:lnTo>
                    <a:pt x="154" y="36"/>
                  </a:lnTo>
                  <a:lnTo>
                    <a:pt x="151" y="31"/>
                  </a:lnTo>
                  <a:lnTo>
                    <a:pt x="150" y="21"/>
                  </a:lnTo>
                  <a:lnTo>
                    <a:pt x="146" y="19"/>
                  </a:lnTo>
                  <a:lnTo>
                    <a:pt x="141" y="29"/>
                  </a:lnTo>
                  <a:lnTo>
                    <a:pt x="139" y="27"/>
                  </a:lnTo>
                  <a:lnTo>
                    <a:pt x="136" y="20"/>
                  </a:lnTo>
                  <a:lnTo>
                    <a:pt x="120" y="24"/>
                  </a:lnTo>
                  <a:lnTo>
                    <a:pt x="120" y="27"/>
                  </a:lnTo>
                  <a:lnTo>
                    <a:pt x="105" y="24"/>
                  </a:lnTo>
                  <a:lnTo>
                    <a:pt x="99" y="25"/>
                  </a:lnTo>
                  <a:lnTo>
                    <a:pt x="99" y="31"/>
                  </a:lnTo>
                  <a:lnTo>
                    <a:pt x="83" y="33"/>
                  </a:lnTo>
                  <a:lnTo>
                    <a:pt x="70" y="40"/>
                  </a:lnTo>
                  <a:lnTo>
                    <a:pt x="75" y="42"/>
                  </a:lnTo>
                  <a:lnTo>
                    <a:pt x="80" y="63"/>
                  </a:lnTo>
                  <a:lnTo>
                    <a:pt x="93" y="73"/>
                  </a:lnTo>
                  <a:lnTo>
                    <a:pt x="84" y="78"/>
                  </a:lnTo>
                  <a:lnTo>
                    <a:pt x="83" y="89"/>
                  </a:lnTo>
                  <a:lnTo>
                    <a:pt x="93" y="11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59" name="Freeform 284">
              <a:extLst>
                <a:ext uri="{FF2B5EF4-FFF2-40B4-BE49-F238E27FC236}">
                  <a16:creationId xmlns:a16="http://schemas.microsoft.com/office/drawing/2014/main" id="{A3AAD033-598F-70FD-FEF9-1F44EAD211A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287062" y="917603"/>
              <a:ext cx="532766" cy="466411"/>
            </a:xfrm>
            <a:custGeom>
              <a:avLst/>
              <a:gdLst>
                <a:gd name="T0" fmla="*/ 0 w 999"/>
                <a:gd name="T1" fmla="*/ 2147483647 h 819"/>
                <a:gd name="T2" fmla="*/ 0 w 999"/>
                <a:gd name="T3" fmla="*/ 2147483647 h 819"/>
                <a:gd name="T4" fmla="*/ 2147483647 w 999"/>
                <a:gd name="T5" fmla="*/ 2147483647 h 819"/>
                <a:gd name="T6" fmla="*/ 2147483647 w 999"/>
                <a:gd name="T7" fmla="*/ 2147483647 h 819"/>
                <a:gd name="T8" fmla="*/ 0 w 999"/>
                <a:gd name="T9" fmla="*/ 2147483647 h 819"/>
                <a:gd name="T10" fmla="*/ 0 w 999"/>
                <a:gd name="T11" fmla="*/ 2147483647 h 819"/>
                <a:gd name="T12" fmla="*/ 0 w 999"/>
                <a:gd name="T13" fmla="*/ 2147483647 h 819"/>
                <a:gd name="T14" fmla="*/ 0 w 999"/>
                <a:gd name="T15" fmla="*/ 2147483647 h 819"/>
                <a:gd name="T16" fmla="*/ 0 w 999"/>
                <a:gd name="T17" fmla="*/ 2147483647 h 819"/>
                <a:gd name="T18" fmla="*/ 0 w 999"/>
                <a:gd name="T19" fmla="*/ 2147483647 h 819"/>
                <a:gd name="T20" fmla="*/ 0 w 999"/>
                <a:gd name="T21" fmla="*/ 2147483647 h 819"/>
                <a:gd name="T22" fmla="*/ 0 w 999"/>
                <a:gd name="T23" fmla="*/ 0 h 819"/>
                <a:gd name="T24" fmla="*/ 0 w 999"/>
                <a:gd name="T25" fmla="*/ 0 h 819"/>
                <a:gd name="T26" fmla="*/ 0 w 999"/>
                <a:gd name="T27" fmla="*/ 0 h 819"/>
                <a:gd name="T28" fmla="*/ 0 w 999"/>
                <a:gd name="T29" fmla="*/ 0 h 819"/>
                <a:gd name="T30" fmla="*/ 0 w 999"/>
                <a:gd name="T31" fmla="*/ 0 h 819"/>
                <a:gd name="T32" fmla="*/ 0 w 999"/>
                <a:gd name="T33" fmla="*/ 0 h 819"/>
                <a:gd name="T34" fmla="*/ 0 w 999"/>
                <a:gd name="T35" fmla="*/ 0 h 819"/>
                <a:gd name="T36" fmla="*/ 2147483647 w 999"/>
                <a:gd name="T37" fmla="*/ 0 h 819"/>
                <a:gd name="T38" fmla="*/ 2147483647 w 999"/>
                <a:gd name="T39" fmla="*/ 0 h 819"/>
                <a:gd name="T40" fmla="*/ 2147483647 w 999"/>
                <a:gd name="T41" fmla="*/ 0 h 819"/>
                <a:gd name="T42" fmla="*/ 2147483647 w 999"/>
                <a:gd name="T43" fmla="*/ 0 h 819"/>
                <a:gd name="T44" fmla="*/ 2147483647 w 999"/>
                <a:gd name="T45" fmla="*/ 0 h 819"/>
                <a:gd name="T46" fmla="*/ 2147483647 w 999"/>
                <a:gd name="T47" fmla="*/ 0 h 819"/>
                <a:gd name="T48" fmla="*/ 2147483647 w 999"/>
                <a:gd name="T49" fmla="*/ 0 h 819"/>
                <a:gd name="T50" fmla="*/ 2147483647 w 999"/>
                <a:gd name="T51" fmla="*/ 0 h 819"/>
                <a:gd name="T52" fmla="*/ 2147483647 w 999"/>
                <a:gd name="T53" fmla="*/ 0 h 819"/>
                <a:gd name="T54" fmla="*/ 2147483647 w 999"/>
                <a:gd name="T55" fmla="*/ 0 h 819"/>
                <a:gd name="T56" fmla="*/ 2147483647 w 999"/>
                <a:gd name="T57" fmla="*/ 0 h 819"/>
                <a:gd name="T58" fmla="*/ 2147483647 w 999"/>
                <a:gd name="T59" fmla="*/ 0 h 819"/>
                <a:gd name="T60" fmla="*/ 2147483647 w 999"/>
                <a:gd name="T61" fmla="*/ 0 h 819"/>
                <a:gd name="T62" fmla="*/ 2147483647 w 999"/>
                <a:gd name="T63" fmla="*/ 0 h 819"/>
                <a:gd name="T64" fmla="*/ 2147483647 w 999"/>
                <a:gd name="T65" fmla="*/ 0 h 819"/>
                <a:gd name="T66" fmla="*/ 2147483647 w 999"/>
                <a:gd name="T67" fmla="*/ 0 h 819"/>
                <a:gd name="T68" fmla="*/ 2147483647 w 999"/>
                <a:gd name="T69" fmla="*/ 0 h 819"/>
                <a:gd name="T70" fmla="*/ 2147483647 w 999"/>
                <a:gd name="T71" fmla="*/ 2147483647 h 819"/>
                <a:gd name="T72" fmla="*/ 2147483647 w 999"/>
                <a:gd name="T73" fmla="*/ 2147483647 h 819"/>
                <a:gd name="T74" fmla="*/ 2147483647 w 999"/>
                <a:gd name="T75" fmla="*/ 2147483647 h 819"/>
                <a:gd name="T76" fmla="*/ 2147483647 w 999"/>
                <a:gd name="T77" fmla="*/ 2147483647 h 819"/>
                <a:gd name="T78" fmla="*/ 2147483647 w 999"/>
                <a:gd name="T79" fmla="*/ 2147483647 h 819"/>
                <a:gd name="T80" fmla="*/ 2147483647 w 999"/>
                <a:gd name="T81" fmla="*/ 2147483647 h 819"/>
                <a:gd name="T82" fmla="*/ 2147483647 w 999"/>
                <a:gd name="T83" fmla="*/ 2147483647 h 819"/>
                <a:gd name="T84" fmla="*/ 2147483647 w 999"/>
                <a:gd name="T85" fmla="*/ 2147483647 h 819"/>
                <a:gd name="T86" fmla="*/ 2147483647 w 999"/>
                <a:gd name="T87" fmla="*/ 2147483647 h 819"/>
                <a:gd name="T88" fmla="*/ 2147483647 w 999"/>
                <a:gd name="T89" fmla="*/ 2147483647 h 819"/>
                <a:gd name="T90" fmla="*/ 2147483647 w 999"/>
                <a:gd name="T91" fmla="*/ 2147483647 h 819"/>
                <a:gd name="T92" fmla="*/ 2147483647 w 999"/>
                <a:gd name="T93" fmla="*/ 2147483647 h 819"/>
                <a:gd name="T94" fmla="*/ 2147483647 w 999"/>
                <a:gd name="T95" fmla="*/ 2147483647 h 819"/>
                <a:gd name="T96" fmla="*/ 2147483647 w 999"/>
                <a:gd name="T97" fmla="*/ 2147483647 h 819"/>
                <a:gd name="T98" fmla="*/ 2147483647 w 999"/>
                <a:gd name="T99" fmla="*/ 2147483647 h 819"/>
                <a:gd name="T100" fmla="*/ 2147483647 w 999"/>
                <a:gd name="T101" fmla="*/ 2147483647 h 819"/>
                <a:gd name="T102" fmla="*/ 2147483647 w 999"/>
                <a:gd name="T103" fmla="*/ 2147483647 h 819"/>
                <a:gd name="T104" fmla="*/ 2147483647 w 999"/>
                <a:gd name="T105" fmla="*/ 2147483647 h 819"/>
                <a:gd name="T106" fmla="*/ 2147483647 w 999"/>
                <a:gd name="T107" fmla="*/ 2147483647 h 819"/>
                <a:gd name="T108" fmla="*/ 2147483647 w 999"/>
                <a:gd name="T109" fmla="*/ 2147483647 h 819"/>
                <a:gd name="T110" fmla="*/ 0 w 999"/>
                <a:gd name="T111" fmla="*/ 2147483647 h 819"/>
                <a:gd name="T112" fmla="*/ 0 w 999"/>
                <a:gd name="T113" fmla="*/ 2147483647 h 81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999"/>
                <a:gd name="T172" fmla="*/ 0 h 819"/>
                <a:gd name="T173" fmla="*/ 999 w 999"/>
                <a:gd name="T174" fmla="*/ 819 h 819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999" h="819">
                  <a:moveTo>
                    <a:pt x="230" y="698"/>
                  </a:moveTo>
                  <a:lnTo>
                    <a:pt x="225" y="704"/>
                  </a:lnTo>
                  <a:lnTo>
                    <a:pt x="203" y="704"/>
                  </a:lnTo>
                  <a:lnTo>
                    <a:pt x="196" y="698"/>
                  </a:lnTo>
                  <a:lnTo>
                    <a:pt x="173" y="697"/>
                  </a:lnTo>
                  <a:lnTo>
                    <a:pt x="137" y="671"/>
                  </a:lnTo>
                  <a:lnTo>
                    <a:pt x="137" y="660"/>
                  </a:lnTo>
                  <a:lnTo>
                    <a:pt x="126" y="657"/>
                  </a:lnTo>
                  <a:lnTo>
                    <a:pt x="118" y="650"/>
                  </a:lnTo>
                  <a:lnTo>
                    <a:pt x="116" y="630"/>
                  </a:lnTo>
                  <a:lnTo>
                    <a:pt x="105" y="622"/>
                  </a:lnTo>
                  <a:lnTo>
                    <a:pt x="101" y="613"/>
                  </a:lnTo>
                  <a:lnTo>
                    <a:pt x="94" y="593"/>
                  </a:lnTo>
                  <a:lnTo>
                    <a:pt x="91" y="581"/>
                  </a:lnTo>
                  <a:lnTo>
                    <a:pt x="112" y="571"/>
                  </a:lnTo>
                  <a:lnTo>
                    <a:pt x="169" y="549"/>
                  </a:lnTo>
                  <a:lnTo>
                    <a:pt x="209" y="539"/>
                  </a:lnTo>
                  <a:lnTo>
                    <a:pt x="232" y="538"/>
                  </a:lnTo>
                  <a:lnTo>
                    <a:pt x="253" y="530"/>
                  </a:lnTo>
                  <a:lnTo>
                    <a:pt x="266" y="528"/>
                  </a:lnTo>
                  <a:lnTo>
                    <a:pt x="279" y="536"/>
                  </a:lnTo>
                  <a:lnTo>
                    <a:pt x="318" y="539"/>
                  </a:lnTo>
                  <a:lnTo>
                    <a:pt x="339" y="546"/>
                  </a:lnTo>
                  <a:lnTo>
                    <a:pt x="358" y="544"/>
                  </a:lnTo>
                  <a:lnTo>
                    <a:pt x="369" y="533"/>
                  </a:lnTo>
                  <a:lnTo>
                    <a:pt x="365" y="526"/>
                  </a:lnTo>
                  <a:lnTo>
                    <a:pt x="365" y="522"/>
                  </a:lnTo>
                  <a:lnTo>
                    <a:pt x="374" y="527"/>
                  </a:lnTo>
                  <a:lnTo>
                    <a:pt x="382" y="525"/>
                  </a:lnTo>
                  <a:lnTo>
                    <a:pt x="381" y="520"/>
                  </a:lnTo>
                  <a:lnTo>
                    <a:pt x="375" y="510"/>
                  </a:lnTo>
                  <a:lnTo>
                    <a:pt x="368" y="506"/>
                  </a:lnTo>
                  <a:lnTo>
                    <a:pt x="348" y="503"/>
                  </a:lnTo>
                  <a:lnTo>
                    <a:pt x="344" y="495"/>
                  </a:lnTo>
                  <a:lnTo>
                    <a:pt x="332" y="495"/>
                  </a:lnTo>
                  <a:lnTo>
                    <a:pt x="317" y="488"/>
                  </a:lnTo>
                  <a:lnTo>
                    <a:pt x="312" y="482"/>
                  </a:lnTo>
                  <a:lnTo>
                    <a:pt x="296" y="479"/>
                  </a:lnTo>
                  <a:lnTo>
                    <a:pt x="289" y="480"/>
                  </a:lnTo>
                  <a:lnTo>
                    <a:pt x="282" y="473"/>
                  </a:lnTo>
                  <a:lnTo>
                    <a:pt x="248" y="479"/>
                  </a:lnTo>
                  <a:lnTo>
                    <a:pt x="196" y="499"/>
                  </a:lnTo>
                  <a:lnTo>
                    <a:pt x="188" y="493"/>
                  </a:lnTo>
                  <a:lnTo>
                    <a:pt x="172" y="493"/>
                  </a:lnTo>
                  <a:lnTo>
                    <a:pt x="162" y="488"/>
                  </a:lnTo>
                  <a:lnTo>
                    <a:pt x="158" y="480"/>
                  </a:lnTo>
                  <a:lnTo>
                    <a:pt x="118" y="489"/>
                  </a:lnTo>
                  <a:lnTo>
                    <a:pt x="101" y="478"/>
                  </a:lnTo>
                  <a:lnTo>
                    <a:pt x="83" y="482"/>
                  </a:lnTo>
                  <a:lnTo>
                    <a:pt x="81" y="476"/>
                  </a:lnTo>
                  <a:lnTo>
                    <a:pt x="81" y="472"/>
                  </a:lnTo>
                  <a:lnTo>
                    <a:pt x="68" y="467"/>
                  </a:lnTo>
                  <a:lnTo>
                    <a:pt x="57" y="452"/>
                  </a:lnTo>
                  <a:lnTo>
                    <a:pt x="46" y="434"/>
                  </a:lnTo>
                  <a:lnTo>
                    <a:pt x="42" y="418"/>
                  </a:lnTo>
                  <a:lnTo>
                    <a:pt x="62" y="396"/>
                  </a:lnTo>
                  <a:lnTo>
                    <a:pt x="83" y="387"/>
                  </a:lnTo>
                  <a:lnTo>
                    <a:pt x="103" y="385"/>
                  </a:lnTo>
                  <a:lnTo>
                    <a:pt x="122" y="377"/>
                  </a:lnTo>
                  <a:lnTo>
                    <a:pt x="142" y="363"/>
                  </a:lnTo>
                  <a:lnTo>
                    <a:pt x="161" y="358"/>
                  </a:lnTo>
                  <a:lnTo>
                    <a:pt x="160" y="361"/>
                  </a:lnTo>
                  <a:lnTo>
                    <a:pt x="165" y="364"/>
                  </a:lnTo>
                  <a:lnTo>
                    <a:pt x="178" y="361"/>
                  </a:lnTo>
                  <a:lnTo>
                    <a:pt x="185" y="358"/>
                  </a:lnTo>
                  <a:lnTo>
                    <a:pt x="181" y="353"/>
                  </a:lnTo>
                  <a:lnTo>
                    <a:pt x="165" y="352"/>
                  </a:lnTo>
                  <a:lnTo>
                    <a:pt x="173" y="342"/>
                  </a:lnTo>
                  <a:lnTo>
                    <a:pt x="187" y="339"/>
                  </a:lnTo>
                  <a:lnTo>
                    <a:pt x="193" y="334"/>
                  </a:lnTo>
                  <a:lnTo>
                    <a:pt x="194" y="329"/>
                  </a:lnTo>
                  <a:lnTo>
                    <a:pt x="133" y="340"/>
                  </a:lnTo>
                  <a:lnTo>
                    <a:pt x="122" y="345"/>
                  </a:lnTo>
                  <a:lnTo>
                    <a:pt x="111" y="347"/>
                  </a:lnTo>
                  <a:lnTo>
                    <a:pt x="105" y="352"/>
                  </a:lnTo>
                  <a:lnTo>
                    <a:pt x="96" y="352"/>
                  </a:lnTo>
                  <a:lnTo>
                    <a:pt x="91" y="348"/>
                  </a:lnTo>
                  <a:lnTo>
                    <a:pt x="90" y="344"/>
                  </a:lnTo>
                  <a:lnTo>
                    <a:pt x="83" y="343"/>
                  </a:lnTo>
                  <a:lnTo>
                    <a:pt x="79" y="345"/>
                  </a:lnTo>
                  <a:lnTo>
                    <a:pt x="83" y="348"/>
                  </a:lnTo>
                  <a:lnTo>
                    <a:pt x="83" y="354"/>
                  </a:lnTo>
                  <a:lnTo>
                    <a:pt x="68" y="354"/>
                  </a:lnTo>
                  <a:lnTo>
                    <a:pt x="64" y="359"/>
                  </a:lnTo>
                  <a:lnTo>
                    <a:pt x="51" y="360"/>
                  </a:lnTo>
                  <a:lnTo>
                    <a:pt x="45" y="355"/>
                  </a:lnTo>
                  <a:lnTo>
                    <a:pt x="43" y="347"/>
                  </a:lnTo>
                  <a:lnTo>
                    <a:pt x="47" y="338"/>
                  </a:lnTo>
                  <a:lnTo>
                    <a:pt x="53" y="333"/>
                  </a:lnTo>
                  <a:lnTo>
                    <a:pt x="69" y="332"/>
                  </a:lnTo>
                  <a:lnTo>
                    <a:pt x="67" y="310"/>
                  </a:lnTo>
                  <a:lnTo>
                    <a:pt x="53" y="313"/>
                  </a:lnTo>
                  <a:lnTo>
                    <a:pt x="41" y="322"/>
                  </a:lnTo>
                  <a:lnTo>
                    <a:pt x="35" y="320"/>
                  </a:lnTo>
                  <a:lnTo>
                    <a:pt x="33" y="311"/>
                  </a:lnTo>
                  <a:lnTo>
                    <a:pt x="29" y="309"/>
                  </a:lnTo>
                  <a:lnTo>
                    <a:pt x="8" y="313"/>
                  </a:lnTo>
                  <a:lnTo>
                    <a:pt x="6" y="304"/>
                  </a:lnTo>
                  <a:lnTo>
                    <a:pt x="2" y="290"/>
                  </a:lnTo>
                  <a:lnTo>
                    <a:pt x="0" y="273"/>
                  </a:lnTo>
                  <a:lnTo>
                    <a:pt x="6" y="256"/>
                  </a:lnTo>
                  <a:lnTo>
                    <a:pt x="22" y="234"/>
                  </a:lnTo>
                  <a:lnTo>
                    <a:pt x="32" y="218"/>
                  </a:lnTo>
                  <a:lnTo>
                    <a:pt x="52" y="209"/>
                  </a:lnTo>
                  <a:lnTo>
                    <a:pt x="53" y="202"/>
                  </a:lnTo>
                  <a:lnTo>
                    <a:pt x="51" y="194"/>
                  </a:lnTo>
                  <a:lnTo>
                    <a:pt x="48" y="189"/>
                  </a:lnTo>
                  <a:lnTo>
                    <a:pt x="36" y="189"/>
                  </a:lnTo>
                  <a:lnTo>
                    <a:pt x="32" y="182"/>
                  </a:lnTo>
                  <a:lnTo>
                    <a:pt x="31" y="165"/>
                  </a:lnTo>
                  <a:lnTo>
                    <a:pt x="36" y="151"/>
                  </a:lnTo>
                  <a:lnTo>
                    <a:pt x="46" y="135"/>
                  </a:lnTo>
                  <a:lnTo>
                    <a:pt x="85" y="94"/>
                  </a:lnTo>
                  <a:lnTo>
                    <a:pt x="122" y="68"/>
                  </a:lnTo>
                  <a:lnTo>
                    <a:pt x="129" y="59"/>
                  </a:lnTo>
                  <a:lnTo>
                    <a:pt x="142" y="55"/>
                  </a:lnTo>
                  <a:lnTo>
                    <a:pt x="148" y="44"/>
                  </a:lnTo>
                  <a:lnTo>
                    <a:pt x="162" y="42"/>
                  </a:lnTo>
                  <a:lnTo>
                    <a:pt x="194" y="22"/>
                  </a:lnTo>
                  <a:lnTo>
                    <a:pt x="239" y="0"/>
                  </a:lnTo>
                  <a:lnTo>
                    <a:pt x="252" y="3"/>
                  </a:lnTo>
                  <a:lnTo>
                    <a:pt x="255" y="10"/>
                  </a:lnTo>
                  <a:lnTo>
                    <a:pt x="261" y="14"/>
                  </a:lnTo>
                  <a:lnTo>
                    <a:pt x="262" y="21"/>
                  </a:lnTo>
                  <a:lnTo>
                    <a:pt x="269" y="31"/>
                  </a:lnTo>
                  <a:lnTo>
                    <a:pt x="272" y="43"/>
                  </a:lnTo>
                  <a:lnTo>
                    <a:pt x="273" y="71"/>
                  </a:lnTo>
                  <a:lnTo>
                    <a:pt x="272" y="94"/>
                  </a:lnTo>
                  <a:lnTo>
                    <a:pt x="259" y="101"/>
                  </a:lnTo>
                  <a:lnTo>
                    <a:pt x="255" y="111"/>
                  </a:lnTo>
                  <a:lnTo>
                    <a:pt x="253" y="117"/>
                  </a:lnTo>
                  <a:lnTo>
                    <a:pt x="255" y="121"/>
                  </a:lnTo>
                  <a:lnTo>
                    <a:pt x="252" y="127"/>
                  </a:lnTo>
                  <a:lnTo>
                    <a:pt x="239" y="133"/>
                  </a:lnTo>
                  <a:lnTo>
                    <a:pt x="237" y="138"/>
                  </a:lnTo>
                  <a:lnTo>
                    <a:pt x="244" y="146"/>
                  </a:lnTo>
                  <a:lnTo>
                    <a:pt x="268" y="126"/>
                  </a:lnTo>
                  <a:lnTo>
                    <a:pt x="274" y="126"/>
                  </a:lnTo>
                  <a:lnTo>
                    <a:pt x="277" y="135"/>
                  </a:lnTo>
                  <a:lnTo>
                    <a:pt x="295" y="127"/>
                  </a:lnTo>
                  <a:lnTo>
                    <a:pt x="300" y="113"/>
                  </a:lnTo>
                  <a:lnTo>
                    <a:pt x="294" y="110"/>
                  </a:lnTo>
                  <a:lnTo>
                    <a:pt x="294" y="97"/>
                  </a:lnTo>
                  <a:lnTo>
                    <a:pt x="300" y="81"/>
                  </a:lnTo>
                  <a:lnTo>
                    <a:pt x="309" y="76"/>
                  </a:lnTo>
                  <a:lnTo>
                    <a:pt x="310" y="69"/>
                  </a:lnTo>
                  <a:lnTo>
                    <a:pt x="315" y="64"/>
                  </a:lnTo>
                  <a:lnTo>
                    <a:pt x="329" y="62"/>
                  </a:lnTo>
                  <a:lnTo>
                    <a:pt x="355" y="80"/>
                  </a:lnTo>
                  <a:lnTo>
                    <a:pt x="388" y="91"/>
                  </a:lnTo>
                  <a:lnTo>
                    <a:pt x="396" y="101"/>
                  </a:lnTo>
                  <a:lnTo>
                    <a:pt x="406" y="106"/>
                  </a:lnTo>
                  <a:lnTo>
                    <a:pt x="415" y="113"/>
                  </a:lnTo>
                  <a:lnTo>
                    <a:pt x="424" y="128"/>
                  </a:lnTo>
                  <a:lnTo>
                    <a:pt x="427" y="145"/>
                  </a:lnTo>
                  <a:lnTo>
                    <a:pt x="408" y="171"/>
                  </a:lnTo>
                  <a:lnTo>
                    <a:pt x="388" y="189"/>
                  </a:lnTo>
                  <a:lnTo>
                    <a:pt x="388" y="192"/>
                  </a:lnTo>
                  <a:lnTo>
                    <a:pt x="406" y="188"/>
                  </a:lnTo>
                  <a:lnTo>
                    <a:pt x="415" y="173"/>
                  </a:lnTo>
                  <a:lnTo>
                    <a:pt x="427" y="166"/>
                  </a:lnTo>
                  <a:lnTo>
                    <a:pt x="425" y="173"/>
                  </a:lnTo>
                  <a:lnTo>
                    <a:pt x="420" y="187"/>
                  </a:lnTo>
                  <a:lnTo>
                    <a:pt x="433" y="192"/>
                  </a:lnTo>
                  <a:lnTo>
                    <a:pt x="435" y="187"/>
                  </a:lnTo>
                  <a:lnTo>
                    <a:pt x="439" y="167"/>
                  </a:lnTo>
                  <a:lnTo>
                    <a:pt x="440" y="161"/>
                  </a:lnTo>
                  <a:lnTo>
                    <a:pt x="446" y="157"/>
                  </a:lnTo>
                  <a:lnTo>
                    <a:pt x="454" y="148"/>
                  </a:lnTo>
                  <a:lnTo>
                    <a:pt x="465" y="150"/>
                  </a:lnTo>
                  <a:lnTo>
                    <a:pt x="472" y="146"/>
                  </a:lnTo>
                  <a:lnTo>
                    <a:pt x="486" y="164"/>
                  </a:lnTo>
                  <a:lnTo>
                    <a:pt x="488" y="157"/>
                  </a:lnTo>
                  <a:lnTo>
                    <a:pt x="486" y="148"/>
                  </a:lnTo>
                  <a:lnTo>
                    <a:pt x="483" y="145"/>
                  </a:lnTo>
                  <a:lnTo>
                    <a:pt x="486" y="144"/>
                  </a:lnTo>
                  <a:lnTo>
                    <a:pt x="494" y="151"/>
                  </a:lnTo>
                  <a:lnTo>
                    <a:pt x="499" y="148"/>
                  </a:lnTo>
                  <a:lnTo>
                    <a:pt x="497" y="138"/>
                  </a:lnTo>
                  <a:lnTo>
                    <a:pt x="484" y="129"/>
                  </a:lnTo>
                  <a:lnTo>
                    <a:pt x="484" y="123"/>
                  </a:lnTo>
                  <a:lnTo>
                    <a:pt x="486" y="122"/>
                  </a:lnTo>
                  <a:lnTo>
                    <a:pt x="498" y="132"/>
                  </a:lnTo>
                  <a:lnTo>
                    <a:pt x="503" y="123"/>
                  </a:lnTo>
                  <a:lnTo>
                    <a:pt x="488" y="103"/>
                  </a:lnTo>
                  <a:lnTo>
                    <a:pt x="481" y="100"/>
                  </a:lnTo>
                  <a:lnTo>
                    <a:pt x="473" y="90"/>
                  </a:lnTo>
                  <a:lnTo>
                    <a:pt x="470" y="78"/>
                  </a:lnTo>
                  <a:lnTo>
                    <a:pt x="468" y="68"/>
                  </a:lnTo>
                  <a:lnTo>
                    <a:pt x="477" y="67"/>
                  </a:lnTo>
                  <a:lnTo>
                    <a:pt x="494" y="71"/>
                  </a:lnTo>
                  <a:lnTo>
                    <a:pt x="504" y="76"/>
                  </a:lnTo>
                  <a:lnTo>
                    <a:pt x="508" y="87"/>
                  </a:lnTo>
                  <a:lnTo>
                    <a:pt x="519" y="86"/>
                  </a:lnTo>
                  <a:lnTo>
                    <a:pt x="519" y="92"/>
                  </a:lnTo>
                  <a:lnTo>
                    <a:pt x="526" y="108"/>
                  </a:lnTo>
                  <a:lnTo>
                    <a:pt x="533" y="113"/>
                  </a:lnTo>
                  <a:lnTo>
                    <a:pt x="540" y="111"/>
                  </a:lnTo>
                  <a:lnTo>
                    <a:pt x="546" y="117"/>
                  </a:lnTo>
                  <a:lnTo>
                    <a:pt x="546" y="121"/>
                  </a:lnTo>
                  <a:lnTo>
                    <a:pt x="554" y="127"/>
                  </a:lnTo>
                  <a:lnTo>
                    <a:pt x="553" y="133"/>
                  </a:lnTo>
                  <a:lnTo>
                    <a:pt x="551" y="135"/>
                  </a:lnTo>
                  <a:lnTo>
                    <a:pt x="560" y="139"/>
                  </a:lnTo>
                  <a:lnTo>
                    <a:pt x="568" y="155"/>
                  </a:lnTo>
                  <a:lnTo>
                    <a:pt x="567" y="186"/>
                  </a:lnTo>
                  <a:lnTo>
                    <a:pt x="568" y="197"/>
                  </a:lnTo>
                  <a:lnTo>
                    <a:pt x="570" y="205"/>
                  </a:lnTo>
                  <a:lnTo>
                    <a:pt x="575" y="214"/>
                  </a:lnTo>
                  <a:lnTo>
                    <a:pt x="578" y="243"/>
                  </a:lnTo>
                  <a:lnTo>
                    <a:pt x="592" y="258"/>
                  </a:lnTo>
                  <a:lnTo>
                    <a:pt x="585" y="273"/>
                  </a:lnTo>
                  <a:lnTo>
                    <a:pt x="585" y="295"/>
                  </a:lnTo>
                  <a:lnTo>
                    <a:pt x="591" y="296"/>
                  </a:lnTo>
                  <a:lnTo>
                    <a:pt x="600" y="311"/>
                  </a:lnTo>
                  <a:lnTo>
                    <a:pt x="606" y="310"/>
                  </a:lnTo>
                  <a:lnTo>
                    <a:pt x="608" y="301"/>
                  </a:lnTo>
                  <a:lnTo>
                    <a:pt x="616" y="297"/>
                  </a:lnTo>
                  <a:lnTo>
                    <a:pt x="622" y="295"/>
                  </a:lnTo>
                  <a:lnTo>
                    <a:pt x="629" y="285"/>
                  </a:lnTo>
                  <a:lnTo>
                    <a:pt x="630" y="274"/>
                  </a:lnTo>
                  <a:lnTo>
                    <a:pt x="639" y="270"/>
                  </a:lnTo>
                  <a:lnTo>
                    <a:pt x="639" y="264"/>
                  </a:lnTo>
                  <a:lnTo>
                    <a:pt x="627" y="247"/>
                  </a:lnTo>
                  <a:lnTo>
                    <a:pt x="624" y="236"/>
                  </a:lnTo>
                  <a:lnTo>
                    <a:pt x="624" y="225"/>
                  </a:lnTo>
                  <a:lnTo>
                    <a:pt x="619" y="220"/>
                  </a:lnTo>
                  <a:lnTo>
                    <a:pt x="617" y="203"/>
                  </a:lnTo>
                  <a:lnTo>
                    <a:pt x="614" y="187"/>
                  </a:lnTo>
                  <a:lnTo>
                    <a:pt x="618" y="186"/>
                  </a:lnTo>
                  <a:lnTo>
                    <a:pt x="617" y="177"/>
                  </a:lnTo>
                  <a:lnTo>
                    <a:pt x="617" y="166"/>
                  </a:lnTo>
                  <a:lnTo>
                    <a:pt x="613" y="160"/>
                  </a:lnTo>
                  <a:lnTo>
                    <a:pt x="612" y="139"/>
                  </a:lnTo>
                  <a:lnTo>
                    <a:pt x="610" y="121"/>
                  </a:lnTo>
                  <a:lnTo>
                    <a:pt x="605" y="103"/>
                  </a:lnTo>
                  <a:lnTo>
                    <a:pt x="597" y="68"/>
                  </a:lnTo>
                  <a:lnTo>
                    <a:pt x="595" y="62"/>
                  </a:lnTo>
                  <a:lnTo>
                    <a:pt x="599" y="62"/>
                  </a:lnTo>
                  <a:lnTo>
                    <a:pt x="600" y="49"/>
                  </a:lnTo>
                  <a:lnTo>
                    <a:pt x="596" y="49"/>
                  </a:lnTo>
                  <a:lnTo>
                    <a:pt x="592" y="38"/>
                  </a:lnTo>
                  <a:lnTo>
                    <a:pt x="596" y="33"/>
                  </a:lnTo>
                  <a:lnTo>
                    <a:pt x="606" y="33"/>
                  </a:lnTo>
                  <a:lnTo>
                    <a:pt x="608" y="27"/>
                  </a:lnTo>
                  <a:lnTo>
                    <a:pt x="597" y="16"/>
                  </a:lnTo>
                  <a:lnTo>
                    <a:pt x="599" y="8"/>
                  </a:lnTo>
                  <a:lnTo>
                    <a:pt x="602" y="8"/>
                  </a:lnTo>
                  <a:lnTo>
                    <a:pt x="602" y="3"/>
                  </a:lnTo>
                  <a:lnTo>
                    <a:pt x="608" y="3"/>
                  </a:lnTo>
                  <a:lnTo>
                    <a:pt x="630" y="9"/>
                  </a:lnTo>
                  <a:lnTo>
                    <a:pt x="632" y="15"/>
                  </a:lnTo>
                  <a:lnTo>
                    <a:pt x="650" y="33"/>
                  </a:lnTo>
                  <a:lnTo>
                    <a:pt x="665" y="40"/>
                  </a:lnTo>
                  <a:lnTo>
                    <a:pt x="667" y="37"/>
                  </a:lnTo>
                  <a:lnTo>
                    <a:pt x="669" y="31"/>
                  </a:lnTo>
                  <a:lnTo>
                    <a:pt x="662" y="28"/>
                  </a:lnTo>
                  <a:lnTo>
                    <a:pt x="661" y="21"/>
                  </a:lnTo>
                  <a:lnTo>
                    <a:pt x="661" y="15"/>
                  </a:lnTo>
                  <a:lnTo>
                    <a:pt x="666" y="14"/>
                  </a:lnTo>
                  <a:lnTo>
                    <a:pt x="676" y="19"/>
                  </a:lnTo>
                  <a:lnTo>
                    <a:pt x="678" y="25"/>
                  </a:lnTo>
                  <a:lnTo>
                    <a:pt x="687" y="28"/>
                  </a:lnTo>
                  <a:lnTo>
                    <a:pt x="691" y="44"/>
                  </a:lnTo>
                  <a:lnTo>
                    <a:pt x="696" y="52"/>
                  </a:lnTo>
                  <a:lnTo>
                    <a:pt x="720" y="67"/>
                  </a:lnTo>
                  <a:lnTo>
                    <a:pt x="720" y="74"/>
                  </a:lnTo>
                  <a:lnTo>
                    <a:pt x="734" y="81"/>
                  </a:lnTo>
                  <a:lnTo>
                    <a:pt x="741" y="91"/>
                  </a:lnTo>
                  <a:lnTo>
                    <a:pt x="742" y="96"/>
                  </a:lnTo>
                  <a:lnTo>
                    <a:pt x="750" y="102"/>
                  </a:lnTo>
                  <a:lnTo>
                    <a:pt x="751" y="110"/>
                  </a:lnTo>
                  <a:lnTo>
                    <a:pt x="745" y="123"/>
                  </a:lnTo>
                  <a:lnTo>
                    <a:pt x="751" y="123"/>
                  </a:lnTo>
                  <a:lnTo>
                    <a:pt x="756" y="140"/>
                  </a:lnTo>
                  <a:lnTo>
                    <a:pt x="756" y="151"/>
                  </a:lnTo>
                  <a:lnTo>
                    <a:pt x="755" y="156"/>
                  </a:lnTo>
                  <a:lnTo>
                    <a:pt x="758" y="166"/>
                  </a:lnTo>
                  <a:lnTo>
                    <a:pt x="759" y="177"/>
                  </a:lnTo>
                  <a:lnTo>
                    <a:pt x="766" y="200"/>
                  </a:lnTo>
                  <a:lnTo>
                    <a:pt x="768" y="246"/>
                  </a:lnTo>
                  <a:lnTo>
                    <a:pt x="771" y="250"/>
                  </a:lnTo>
                  <a:lnTo>
                    <a:pt x="775" y="273"/>
                  </a:lnTo>
                  <a:lnTo>
                    <a:pt x="791" y="294"/>
                  </a:lnTo>
                  <a:lnTo>
                    <a:pt x="799" y="306"/>
                  </a:lnTo>
                  <a:lnTo>
                    <a:pt x="804" y="322"/>
                  </a:lnTo>
                  <a:lnTo>
                    <a:pt x="802" y="329"/>
                  </a:lnTo>
                  <a:lnTo>
                    <a:pt x="805" y="336"/>
                  </a:lnTo>
                  <a:lnTo>
                    <a:pt x="806" y="353"/>
                  </a:lnTo>
                  <a:lnTo>
                    <a:pt x="804" y="353"/>
                  </a:lnTo>
                  <a:lnTo>
                    <a:pt x="796" y="358"/>
                  </a:lnTo>
                  <a:lnTo>
                    <a:pt x="798" y="383"/>
                  </a:lnTo>
                  <a:lnTo>
                    <a:pt x="794" y="396"/>
                  </a:lnTo>
                  <a:lnTo>
                    <a:pt x="798" y="409"/>
                  </a:lnTo>
                  <a:lnTo>
                    <a:pt x="812" y="419"/>
                  </a:lnTo>
                  <a:lnTo>
                    <a:pt x="815" y="428"/>
                  </a:lnTo>
                  <a:lnTo>
                    <a:pt x="829" y="455"/>
                  </a:lnTo>
                  <a:lnTo>
                    <a:pt x="847" y="460"/>
                  </a:lnTo>
                  <a:lnTo>
                    <a:pt x="854" y="479"/>
                  </a:lnTo>
                  <a:lnTo>
                    <a:pt x="860" y="483"/>
                  </a:lnTo>
                  <a:lnTo>
                    <a:pt x="870" y="484"/>
                  </a:lnTo>
                  <a:lnTo>
                    <a:pt x="876" y="492"/>
                  </a:lnTo>
                  <a:lnTo>
                    <a:pt x="881" y="487"/>
                  </a:lnTo>
                  <a:lnTo>
                    <a:pt x="881" y="478"/>
                  </a:lnTo>
                  <a:lnTo>
                    <a:pt x="885" y="476"/>
                  </a:lnTo>
                  <a:lnTo>
                    <a:pt x="896" y="480"/>
                  </a:lnTo>
                  <a:lnTo>
                    <a:pt x="901" y="485"/>
                  </a:lnTo>
                  <a:lnTo>
                    <a:pt x="898" y="494"/>
                  </a:lnTo>
                  <a:lnTo>
                    <a:pt x="938" y="531"/>
                  </a:lnTo>
                  <a:lnTo>
                    <a:pt x="946" y="536"/>
                  </a:lnTo>
                  <a:lnTo>
                    <a:pt x="958" y="536"/>
                  </a:lnTo>
                  <a:lnTo>
                    <a:pt x="963" y="543"/>
                  </a:lnTo>
                  <a:lnTo>
                    <a:pt x="962" y="552"/>
                  </a:lnTo>
                  <a:lnTo>
                    <a:pt x="963" y="560"/>
                  </a:lnTo>
                  <a:lnTo>
                    <a:pt x="972" y="562"/>
                  </a:lnTo>
                  <a:lnTo>
                    <a:pt x="978" y="558"/>
                  </a:lnTo>
                  <a:lnTo>
                    <a:pt x="981" y="562"/>
                  </a:lnTo>
                  <a:lnTo>
                    <a:pt x="989" y="558"/>
                  </a:lnTo>
                  <a:lnTo>
                    <a:pt x="994" y="560"/>
                  </a:lnTo>
                  <a:lnTo>
                    <a:pt x="999" y="584"/>
                  </a:lnTo>
                  <a:lnTo>
                    <a:pt x="994" y="596"/>
                  </a:lnTo>
                  <a:lnTo>
                    <a:pt x="997" y="622"/>
                  </a:lnTo>
                  <a:lnTo>
                    <a:pt x="992" y="635"/>
                  </a:lnTo>
                  <a:lnTo>
                    <a:pt x="984" y="638"/>
                  </a:lnTo>
                  <a:lnTo>
                    <a:pt x="977" y="635"/>
                  </a:lnTo>
                  <a:lnTo>
                    <a:pt x="967" y="617"/>
                  </a:lnTo>
                  <a:lnTo>
                    <a:pt x="967" y="595"/>
                  </a:lnTo>
                  <a:lnTo>
                    <a:pt x="961" y="616"/>
                  </a:lnTo>
                  <a:lnTo>
                    <a:pt x="958" y="635"/>
                  </a:lnTo>
                  <a:lnTo>
                    <a:pt x="956" y="640"/>
                  </a:lnTo>
                  <a:lnTo>
                    <a:pt x="952" y="629"/>
                  </a:lnTo>
                  <a:lnTo>
                    <a:pt x="946" y="627"/>
                  </a:lnTo>
                  <a:lnTo>
                    <a:pt x="944" y="633"/>
                  </a:lnTo>
                  <a:lnTo>
                    <a:pt x="938" y="623"/>
                  </a:lnTo>
                  <a:lnTo>
                    <a:pt x="934" y="611"/>
                  </a:lnTo>
                  <a:lnTo>
                    <a:pt x="934" y="597"/>
                  </a:lnTo>
                  <a:lnTo>
                    <a:pt x="931" y="605"/>
                  </a:lnTo>
                  <a:lnTo>
                    <a:pt x="925" y="606"/>
                  </a:lnTo>
                  <a:lnTo>
                    <a:pt x="924" y="602"/>
                  </a:lnTo>
                  <a:lnTo>
                    <a:pt x="918" y="617"/>
                  </a:lnTo>
                  <a:lnTo>
                    <a:pt x="914" y="617"/>
                  </a:lnTo>
                  <a:lnTo>
                    <a:pt x="902" y="624"/>
                  </a:lnTo>
                  <a:lnTo>
                    <a:pt x="902" y="632"/>
                  </a:lnTo>
                  <a:lnTo>
                    <a:pt x="906" y="632"/>
                  </a:lnTo>
                  <a:lnTo>
                    <a:pt x="907" y="656"/>
                  </a:lnTo>
                  <a:lnTo>
                    <a:pt x="899" y="657"/>
                  </a:lnTo>
                  <a:lnTo>
                    <a:pt x="895" y="652"/>
                  </a:lnTo>
                  <a:lnTo>
                    <a:pt x="881" y="651"/>
                  </a:lnTo>
                  <a:lnTo>
                    <a:pt x="874" y="654"/>
                  </a:lnTo>
                  <a:lnTo>
                    <a:pt x="872" y="657"/>
                  </a:lnTo>
                  <a:lnTo>
                    <a:pt x="879" y="670"/>
                  </a:lnTo>
                  <a:lnTo>
                    <a:pt x="880" y="677"/>
                  </a:lnTo>
                  <a:lnTo>
                    <a:pt x="877" y="694"/>
                  </a:lnTo>
                  <a:lnTo>
                    <a:pt x="879" y="700"/>
                  </a:lnTo>
                  <a:lnTo>
                    <a:pt x="888" y="681"/>
                  </a:lnTo>
                  <a:lnTo>
                    <a:pt x="902" y="672"/>
                  </a:lnTo>
                  <a:lnTo>
                    <a:pt x="906" y="663"/>
                  </a:lnTo>
                  <a:lnTo>
                    <a:pt x="929" y="662"/>
                  </a:lnTo>
                  <a:lnTo>
                    <a:pt x="931" y="668"/>
                  </a:lnTo>
                  <a:lnTo>
                    <a:pt x="940" y="671"/>
                  </a:lnTo>
                  <a:lnTo>
                    <a:pt x="936" y="677"/>
                  </a:lnTo>
                  <a:lnTo>
                    <a:pt x="935" y="684"/>
                  </a:lnTo>
                  <a:lnTo>
                    <a:pt x="929" y="691"/>
                  </a:lnTo>
                  <a:lnTo>
                    <a:pt x="930" y="695"/>
                  </a:lnTo>
                  <a:lnTo>
                    <a:pt x="925" y="694"/>
                  </a:lnTo>
                  <a:lnTo>
                    <a:pt x="923" y="700"/>
                  </a:lnTo>
                  <a:lnTo>
                    <a:pt x="927" y="710"/>
                  </a:lnTo>
                  <a:lnTo>
                    <a:pt x="933" y="711"/>
                  </a:lnTo>
                  <a:lnTo>
                    <a:pt x="935" y="700"/>
                  </a:lnTo>
                  <a:lnTo>
                    <a:pt x="947" y="706"/>
                  </a:lnTo>
                  <a:lnTo>
                    <a:pt x="958" y="708"/>
                  </a:lnTo>
                  <a:lnTo>
                    <a:pt x="961" y="719"/>
                  </a:lnTo>
                  <a:lnTo>
                    <a:pt x="960" y="727"/>
                  </a:lnTo>
                  <a:lnTo>
                    <a:pt x="954" y="729"/>
                  </a:lnTo>
                  <a:lnTo>
                    <a:pt x="951" y="726"/>
                  </a:lnTo>
                  <a:lnTo>
                    <a:pt x="949" y="734"/>
                  </a:lnTo>
                  <a:lnTo>
                    <a:pt x="944" y="740"/>
                  </a:lnTo>
                  <a:lnTo>
                    <a:pt x="944" y="745"/>
                  </a:lnTo>
                  <a:lnTo>
                    <a:pt x="936" y="743"/>
                  </a:lnTo>
                  <a:lnTo>
                    <a:pt x="917" y="751"/>
                  </a:lnTo>
                  <a:lnTo>
                    <a:pt x="914" y="761"/>
                  </a:lnTo>
                  <a:lnTo>
                    <a:pt x="901" y="761"/>
                  </a:lnTo>
                  <a:lnTo>
                    <a:pt x="895" y="757"/>
                  </a:lnTo>
                  <a:lnTo>
                    <a:pt x="893" y="767"/>
                  </a:lnTo>
                  <a:lnTo>
                    <a:pt x="887" y="770"/>
                  </a:lnTo>
                  <a:lnTo>
                    <a:pt x="885" y="774"/>
                  </a:lnTo>
                  <a:lnTo>
                    <a:pt x="876" y="769"/>
                  </a:lnTo>
                  <a:lnTo>
                    <a:pt x="861" y="775"/>
                  </a:lnTo>
                  <a:lnTo>
                    <a:pt x="836" y="769"/>
                  </a:lnTo>
                  <a:lnTo>
                    <a:pt x="831" y="761"/>
                  </a:lnTo>
                  <a:lnTo>
                    <a:pt x="814" y="756"/>
                  </a:lnTo>
                  <a:lnTo>
                    <a:pt x="809" y="749"/>
                  </a:lnTo>
                  <a:lnTo>
                    <a:pt x="800" y="749"/>
                  </a:lnTo>
                  <a:lnTo>
                    <a:pt x="795" y="758"/>
                  </a:lnTo>
                  <a:lnTo>
                    <a:pt x="771" y="754"/>
                  </a:lnTo>
                  <a:lnTo>
                    <a:pt x="758" y="749"/>
                  </a:lnTo>
                  <a:lnTo>
                    <a:pt x="757" y="742"/>
                  </a:lnTo>
                  <a:lnTo>
                    <a:pt x="773" y="726"/>
                  </a:lnTo>
                  <a:lnTo>
                    <a:pt x="768" y="720"/>
                  </a:lnTo>
                  <a:lnTo>
                    <a:pt x="758" y="724"/>
                  </a:lnTo>
                  <a:lnTo>
                    <a:pt x="742" y="722"/>
                  </a:lnTo>
                  <a:lnTo>
                    <a:pt x="740" y="715"/>
                  </a:lnTo>
                  <a:lnTo>
                    <a:pt x="726" y="711"/>
                  </a:lnTo>
                  <a:lnTo>
                    <a:pt x="721" y="714"/>
                  </a:lnTo>
                  <a:lnTo>
                    <a:pt x="697" y="710"/>
                  </a:lnTo>
                  <a:lnTo>
                    <a:pt x="696" y="700"/>
                  </a:lnTo>
                  <a:lnTo>
                    <a:pt x="699" y="693"/>
                  </a:lnTo>
                  <a:lnTo>
                    <a:pt x="697" y="677"/>
                  </a:lnTo>
                  <a:lnTo>
                    <a:pt x="693" y="666"/>
                  </a:lnTo>
                  <a:lnTo>
                    <a:pt x="682" y="662"/>
                  </a:lnTo>
                  <a:lnTo>
                    <a:pt x="678" y="670"/>
                  </a:lnTo>
                  <a:lnTo>
                    <a:pt x="673" y="678"/>
                  </a:lnTo>
                  <a:lnTo>
                    <a:pt x="660" y="684"/>
                  </a:lnTo>
                  <a:lnTo>
                    <a:pt x="665" y="702"/>
                  </a:lnTo>
                  <a:lnTo>
                    <a:pt x="665" y="710"/>
                  </a:lnTo>
                  <a:lnTo>
                    <a:pt x="655" y="718"/>
                  </a:lnTo>
                  <a:lnTo>
                    <a:pt x="639" y="741"/>
                  </a:lnTo>
                  <a:lnTo>
                    <a:pt x="612" y="748"/>
                  </a:lnTo>
                  <a:lnTo>
                    <a:pt x="572" y="748"/>
                  </a:lnTo>
                  <a:lnTo>
                    <a:pt x="578" y="753"/>
                  </a:lnTo>
                  <a:lnTo>
                    <a:pt x="567" y="770"/>
                  </a:lnTo>
                  <a:lnTo>
                    <a:pt x="552" y="781"/>
                  </a:lnTo>
                  <a:lnTo>
                    <a:pt x="535" y="788"/>
                  </a:lnTo>
                  <a:lnTo>
                    <a:pt x="521" y="796"/>
                  </a:lnTo>
                  <a:lnTo>
                    <a:pt x="503" y="799"/>
                  </a:lnTo>
                  <a:lnTo>
                    <a:pt x="495" y="795"/>
                  </a:lnTo>
                  <a:lnTo>
                    <a:pt x="482" y="801"/>
                  </a:lnTo>
                  <a:lnTo>
                    <a:pt x="467" y="797"/>
                  </a:lnTo>
                  <a:lnTo>
                    <a:pt x="460" y="802"/>
                  </a:lnTo>
                  <a:lnTo>
                    <a:pt x="455" y="796"/>
                  </a:lnTo>
                  <a:lnTo>
                    <a:pt x="440" y="802"/>
                  </a:lnTo>
                  <a:lnTo>
                    <a:pt x="425" y="805"/>
                  </a:lnTo>
                  <a:lnTo>
                    <a:pt x="423" y="807"/>
                  </a:lnTo>
                  <a:lnTo>
                    <a:pt x="430" y="807"/>
                  </a:lnTo>
                  <a:lnTo>
                    <a:pt x="429" y="812"/>
                  </a:lnTo>
                  <a:lnTo>
                    <a:pt x="415" y="812"/>
                  </a:lnTo>
                  <a:lnTo>
                    <a:pt x="393" y="818"/>
                  </a:lnTo>
                  <a:lnTo>
                    <a:pt x="387" y="815"/>
                  </a:lnTo>
                  <a:lnTo>
                    <a:pt x="369" y="815"/>
                  </a:lnTo>
                  <a:lnTo>
                    <a:pt x="320" y="819"/>
                  </a:lnTo>
                  <a:lnTo>
                    <a:pt x="321" y="816"/>
                  </a:lnTo>
                  <a:lnTo>
                    <a:pt x="332" y="807"/>
                  </a:lnTo>
                  <a:lnTo>
                    <a:pt x="314" y="796"/>
                  </a:lnTo>
                  <a:lnTo>
                    <a:pt x="305" y="783"/>
                  </a:lnTo>
                  <a:lnTo>
                    <a:pt x="301" y="770"/>
                  </a:lnTo>
                  <a:lnTo>
                    <a:pt x="296" y="758"/>
                  </a:lnTo>
                  <a:lnTo>
                    <a:pt x="296" y="743"/>
                  </a:lnTo>
                  <a:lnTo>
                    <a:pt x="300" y="732"/>
                  </a:lnTo>
                  <a:lnTo>
                    <a:pt x="300" y="729"/>
                  </a:lnTo>
                  <a:lnTo>
                    <a:pt x="291" y="724"/>
                  </a:lnTo>
                  <a:lnTo>
                    <a:pt x="290" y="719"/>
                  </a:lnTo>
                  <a:lnTo>
                    <a:pt x="287" y="713"/>
                  </a:lnTo>
                  <a:lnTo>
                    <a:pt x="277" y="706"/>
                  </a:lnTo>
                  <a:lnTo>
                    <a:pt x="277" y="702"/>
                  </a:lnTo>
                  <a:lnTo>
                    <a:pt x="259" y="697"/>
                  </a:lnTo>
                  <a:lnTo>
                    <a:pt x="230" y="69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60" name="Freeform 285">
              <a:extLst>
                <a:ext uri="{FF2B5EF4-FFF2-40B4-BE49-F238E27FC236}">
                  <a16:creationId xmlns:a16="http://schemas.microsoft.com/office/drawing/2014/main" id="{DE49C59B-7D4F-6819-7BE4-4DBD842A499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637762" y="873400"/>
              <a:ext cx="74617" cy="96026"/>
            </a:xfrm>
            <a:custGeom>
              <a:avLst/>
              <a:gdLst>
                <a:gd name="T0" fmla="*/ 0 w 137"/>
                <a:gd name="T1" fmla="*/ 0 h 167"/>
                <a:gd name="T2" fmla="*/ 0 w 137"/>
                <a:gd name="T3" fmla="*/ 0 h 167"/>
                <a:gd name="T4" fmla="*/ 0 w 137"/>
                <a:gd name="T5" fmla="*/ 0 h 167"/>
                <a:gd name="T6" fmla="*/ 0 w 137"/>
                <a:gd name="T7" fmla="*/ 0 h 167"/>
                <a:gd name="T8" fmla="*/ 0 w 137"/>
                <a:gd name="T9" fmla="*/ 0 h 167"/>
                <a:gd name="T10" fmla="*/ 0 w 137"/>
                <a:gd name="T11" fmla="*/ 0 h 167"/>
                <a:gd name="T12" fmla="*/ 0 w 137"/>
                <a:gd name="T13" fmla="*/ 0 h 167"/>
                <a:gd name="T14" fmla="*/ 0 w 137"/>
                <a:gd name="T15" fmla="*/ 0 h 167"/>
                <a:gd name="T16" fmla="*/ 0 w 137"/>
                <a:gd name="T17" fmla="*/ 0 h 167"/>
                <a:gd name="T18" fmla="*/ 0 w 137"/>
                <a:gd name="T19" fmla="*/ 0 h 167"/>
                <a:gd name="T20" fmla="*/ 0 w 137"/>
                <a:gd name="T21" fmla="*/ 0 h 167"/>
                <a:gd name="T22" fmla="*/ 0 w 137"/>
                <a:gd name="T23" fmla="*/ 0 h 167"/>
                <a:gd name="T24" fmla="*/ 0 w 137"/>
                <a:gd name="T25" fmla="*/ 0 h 167"/>
                <a:gd name="T26" fmla="*/ 0 w 137"/>
                <a:gd name="T27" fmla="*/ 0 h 167"/>
                <a:gd name="T28" fmla="*/ 0 w 137"/>
                <a:gd name="T29" fmla="*/ 0 h 167"/>
                <a:gd name="T30" fmla="*/ 0 w 137"/>
                <a:gd name="T31" fmla="*/ 0 h 167"/>
                <a:gd name="T32" fmla="*/ 0 w 137"/>
                <a:gd name="T33" fmla="*/ 0 h 167"/>
                <a:gd name="T34" fmla="*/ 0 w 137"/>
                <a:gd name="T35" fmla="*/ 0 h 167"/>
                <a:gd name="T36" fmla="*/ 0 w 137"/>
                <a:gd name="T37" fmla="*/ 0 h 167"/>
                <a:gd name="T38" fmla="*/ 0 w 137"/>
                <a:gd name="T39" fmla="*/ 0 h 167"/>
                <a:gd name="T40" fmla="*/ 0 w 137"/>
                <a:gd name="T41" fmla="*/ 0 h 167"/>
                <a:gd name="T42" fmla="*/ 0 w 137"/>
                <a:gd name="T43" fmla="*/ 0 h 167"/>
                <a:gd name="T44" fmla="*/ 0 w 137"/>
                <a:gd name="T45" fmla="*/ 0 h 167"/>
                <a:gd name="T46" fmla="*/ 0 w 137"/>
                <a:gd name="T47" fmla="*/ 0 h 167"/>
                <a:gd name="T48" fmla="*/ 0 w 137"/>
                <a:gd name="T49" fmla="*/ 0 h 167"/>
                <a:gd name="T50" fmla="*/ 0 w 137"/>
                <a:gd name="T51" fmla="*/ 0 h 167"/>
                <a:gd name="T52" fmla="*/ 0 w 137"/>
                <a:gd name="T53" fmla="*/ 0 h 167"/>
                <a:gd name="T54" fmla="*/ 0 w 137"/>
                <a:gd name="T55" fmla="*/ 0 h 167"/>
                <a:gd name="T56" fmla="*/ 0 w 137"/>
                <a:gd name="T57" fmla="*/ 0 h 167"/>
                <a:gd name="T58" fmla="*/ 0 w 137"/>
                <a:gd name="T59" fmla="*/ 0 h 167"/>
                <a:gd name="T60" fmla="*/ 0 w 137"/>
                <a:gd name="T61" fmla="*/ 0 h 167"/>
                <a:gd name="T62" fmla="*/ 0 w 137"/>
                <a:gd name="T63" fmla="*/ 0 h 167"/>
                <a:gd name="T64" fmla="*/ 0 w 137"/>
                <a:gd name="T65" fmla="*/ 0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7"/>
                <a:gd name="T100" fmla="*/ 0 h 167"/>
                <a:gd name="T101" fmla="*/ 137 w 137"/>
                <a:gd name="T102" fmla="*/ 167 h 16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7" h="167">
                  <a:moveTo>
                    <a:pt x="114" y="130"/>
                  </a:moveTo>
                  <a:lnTo>
                    <a:pt x="114" y="121"/>
                  </a:lnTo>
                  <a:lnTo>
                    <a:pt x="118" y="111"/>
                  </a:lnTo>
                  <a:lnTo>
                    <a:pt x="127" y="95"/>
                  </a:lnTo>
                  <a:lnTo>
                    <a:pt x="132" y="76"/>
                  </a:lnTo>
                  <a:lnTo>
                    <a:pt x="135" y="59"/>
                  </a:lnTo>
                  <a:lnTo>
                    <a:pt x="135" y="46"/>
                  </a:lnTo>
                  <a:lnTo>
                    <a:pt x="137" y="39"/>
                  </a:lnTo>
                  <a:lnTo>
                    <a:pt x="134" y="29"/>
                  </a:lnTo>
                  <a:lnTo>
                    <a:pt x="126" y="28"/>
                  </a:lnTo>
                  <a:lnTo>
                    <a:pt x="120" y="16"/>
                  </a:lnTo>
                  <a:lnTo>
                    <a:pt x="99" y="2"/>
                  </a:lnTo>
                  <a:lnTo>
                    <a:pt x="88" y="0"/>
                  </a:lnTo>
                  <a:lnTo>
                    <a:pt x="69" y="6"/>
                  </a:lnTo>
                  <a:lnTo>
                    <a:pt x="34" y="6"/>
                  </a:lnTo>
                  <a:lnTo>
                    <a:pt x="23" y="12"/>
                  </a:lnTo>
                  <a:lnTo>
                    <a:pt x="13" y="32"/>
                  </a:lnTo>
                  <a:lnTo>
                    <a:pt x="2" y="48"/>
                  </a:lnTo>
                  <a:lnTo>
                    <a:pt x="0" y="57"/>
                  </a:lnTo>
                  <a:lnTo>
                    <a:pt x="26" y="71"/>
                  </a:lnTo>
                  <a:lnTo>
                    <a:pt x="32" y="81"/>
                  </a:lnTo>
                  <a:lnTo>
                    <a:pt x="44" y="92"/>
                  </a:lnTo>
                  <a:lnTo>
                    <a:pt x="54" y="109"/>
                  </a:lnTo>
                  <a:lnTo>
                    <a:pt x="60" y="115"/>
                  </a:lnTo>
                  <a:lnTo>
                    <a:pt x="71" y="132"/>
                  </a:lnTo>
                  <a:lnTo>
                    <a:pt x="72" y="141"/>
                  </a:lnTo>
                  <a:lnTo>
                    <a:pt x="93" y="167"/>
                  </a:lnTo>
                  <a:lnTo>
                    <a:pt x="96" y="163"/>
                  </a:lnTo>
                  <a:lnTo>
                    <a:pt x="96" y="158"/>
                  </a:lnTo>
                  <a:lnTo>
                    <a:pt x="100" y="158"/>
                  </a:lnTo>
                  <a:lnTo>
                    <a:pt x="110" y="145"/>
                  </a:lnTo>
                  <a:lnTo>
                    <a:pt x="114" y="136"/>
                  </a:lnTo>
                  <a:lnTo>
                    <a:pt x="114" y="13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61" name="Freeform 286">
              <a:extLst>
                <a:ext uri="{FF2B5EF4-FFF2-40B4-BE49-F238E27FC236}">
                  <a16:creationId xmlns:a16="http://schemas.microsoft.com/office/drawing/2014/main" id="{C01A06FA-B056-A88E-DDB4-B2A41BF8A36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773566" y="859683"/>
              <a:ext cx="177588" cy="274359"/>
            </a:xfrm>
            <a:custGeom>
              <a:avLst/>
              <a:gdLst>
                <a:gd name="T0" fmla="*/ 0 w 331"/>
                <a:gd name="T1" fmla="*/ 2147483647 h 484"/>
                <a:gd name="T2" fmla="*/ 0 w 331"/>
                <a:gd name="T3" fmla="*/ 2147483647 h 484"/>
                <a:gd name="T4" fmla="*/ 0 w 331"/>
                <a:gd name="T5" fmla="*/ 2147483647 h 484"/>
                <a:gd name="T6" fmla="*/ 0 w 331"/>
                <a:gd name="T7" fmla="*/ 2147483647 h 484"/>
                <a:gd name="T8" fmla="*/ 0 w 331"/>
                <a:gd name="T9" fmla="*/ 0 h 484"/>
                <a:gd name="T10" fmla="*/ 0 w 331"/>
                <a:gd name="T11" fmla="*/ 0 h 484"/>
                <a:gd name="T12" fmla="*/ 0 w 331"/>
                <a:gd name="T13" fmla="*/ 0 h 484"/>
                <a:gd name="T14" fmla="*/ 0 w 331"/>
                <a:gd name="T15" fmla="*/ 0 h 484"/>
                <a:gd name="T16" fmla="*/ 0 w 331"/>
                <a:gd name="T17" fmla="*/ 0 h 484"/>
                <a:gd name="T18" fmla="*/ 0 w 331"/>
                <a:gd name="T19" fmla="*/ 0 h 484"/>
                <a:gd name="T20" fmla="*/ 0 w 331"/>
                <a:gd name="T21" fmla="*/ 0 h 484"/>
                <a:gd name="T22" fmla="*/ 0 w 331"/>
                <a:gd name="T23" fmla="*/ 0 h 484"/>
                <a:gd name="T24" fmla="*/ 0 w 331"/>
                <a:gd name="T25" fmla="*/ 0 h 484"/>
                <a:gd name="T26" fmla="*/ 0 w 331"/>
                <a:gd name="T27" fmla="*/ 0 h 484"/>
                <a:gd name="T28" fmla="*/ 0 w 331"/>
                <a:gd name="T29" fmla="*/ 0 h 484"/>
                <a:gd name="T30" fmla="*/ 0 w 331"/>
                <a:gd name="T31" fmla="*/ 0 h 484"/>
                <a:gd name="T32" fmla="*/ 0 w 331"/>
                <a:gd name="T33" fmla="*/ 0 h 484"/>
                <a:gd name="T34" fmla="*/ 0 w 331"/>
                <a:gd name="T35" fmla="*/ 0 h 484"/>
                <a:gd name="T36" fmla="*/ 0 w 331"/>
                <a:gd name="T37" fmla="*/ 0 h 484"/>
                <a:gd name="T38" fmla="*/ 0 w 331"/>
                <a:gd name="T39" fmla="*/ 0 h 484"/>
                <a:gd name="T40" fmla="*/ 0 w 331"/>
                <a:gd name="T41" fmla="*/ 0 h 484"/>
                <a:gd name="T42" fmla="*/ 0 w 331"/>
                <a:gd name="T43" fmla="*/ 0 h 484"/>
                <a:gd name="T44" fmla="*/ 0 w 331"/>
                <a:gd name="T45" fmla="*/ 0 h 484"/>
                <a:gd name="T46" fmla="*/ 0 w 331"/>
                <a:gd name="T47" fmla="*/ 0 h 484"/>
                <a:gd name="T48" fmla="*/ 0 w 331"/>
                <a:gd name="T49" fmla="*/ 0 h 484"/>
                <a:gd name="T50" fmla="*/ 0 w 331"/>
                <a:gd name="T51" fmla="*/ 0 h 484"/>
                <a:gd name="T52" fmla="*/ 0 w 331"/>
                <a:gd name="T53" fmla="*/ 0 h 484"/>
                <a:gd name="T54" fmla="*/ 0 w 331"/>
                <a:gd name="T55" fmla="*/ 0 h 484"/>
                <a:gd name="T56" fmla="*/ 0 w 331"/>
                <a:gd name="T57" fmla="*/ 0 h 484"/>
                <a:gd name="T58" fmla="*/ 0 w 331"/>
                <a:gd name="T59" fmla="*/ 0 h 484"/>
                <a:gd name="T60" fmla="*/ 0 w 331"/>
                <a:gd name="T61" fmla="*/ 0 h 484"/>
                <a:gd name="T62" fmla="*/ 0 w 331"/>
                <a:gd name="T63" fmla="*/ 0 h 484"/>
                <a:gd name="T64" fmla="*/ 0 w 331"/>
                <a:gd name="T65" fmla="*/ 0 h 484"/>
                <a:gd name="T66" fmla="*/ 0 w 331"/>
                <a:gd name="T67" fmla="*/ 0 h 484"/>
                <a:gd name="T68" fmla="*/ 0 w 331"/>
                <a:gd name="T69" fmla="*/ 0 h 484"/>
                <a:gd name="T70" fmla="*/ 0 w 331"/>
                <a:gd name="T71" fmla="*/ 0 h 484"/>
                <a:gd name="T72" fmla="*/ 0 w 331"/>
                <a:gd name="T73" fmla="*/ 0 h 484"/>
                <a:gd name="T74" fmla="*/ 0 w 331"/>
                <a:gd name="T75" fmla="*/ 0 h 484"/>
                <a:gd name="T76" fmla="*/ 0 w 331"/>
                <a:gd name="T77" fmla="*/ 0 h 484"/>
                <a:gd name="T78" fmla="*/ 0 w 331"/>
                <a:gd name="T79" fmla="*/ 0 h 484"/>
                <a:gd name="T80" fmla="*/ 0 w 331"/>
                <a:gd name="T81" fmla="*/ 0 h 484"/>
                <a:gd name="T82" fmla="*/ 0 w 331"/>
                <a:gd name="T83" fmla="*/ 0 h 484"/>
                <a:gd name="T84" fmla="*/ 0 w 331"/>
                <a:gd name="T85" fmla="*/ 0 h 484"/>
                <a:gd name="T86" fmla="*/ 2147483647 w 331"/>
                <a:gd name="T87" fmla="*/ 0 h 484"/>
                <a:gd name="T88" fmla="*/ 2147483647 w 331"/>
                <a:gd name="T89" fmla="*/ 0 h 484"/>
                <a:gd name="T90" fmla="*/ 2147483647 w 331"/>
                <a:gd name="T91" fmla="*/ 0 h 484"/>
                <a:gd name="T92" fmla="*/ 2147483647 w 331"/>
                <a:gd name="T93" fmla="*/ 2147483647 h 484"/>
                <a:gd name="T94" fmla="*/ 2147483647 w 331"/>
                <a:gd name="T95" fmla="*/ 2147483647 h 484"/>
                <a:gd name="T96" fmla="*/ 2147483647 w 331"/>
                <a:gd name="T97" fmla="*/ 2147483647 h 484"/>
                <a:gd name="T98" fmla="*/ 2147483647 w 331"/>
                <a:gd name="T99" fmla="*/ 2147483647 h 484"/>
                <a:gd name="T100" fmla="*/ 0 w 331"/>
                <a:gd name="T101" fmla="*/ 2147483647 h 484"/>
                <a:gd name="T102" fmla="*/ 0 w 331"/>
                <a:gd name="T103" fmla="*/ 2147483647 h 484"/>
                <a:gd name="T104" fmla="*/ 0 w 331"/>
                <a:gd name="T105" fmla="*/ 2147483647 h 484"/>
                <a:gd name="T106" fmla="*/ 0 w 331"/>
                <a:gd name="T107" fmla="*/ 2147483647 h 484"/>
                <a:gd name="T108" fmla="*/ 0 w 331"/>
                <a:gd name="T109" fmla="*/ 2147483647 h 484"/>
                <a:gd name="T110" fmla="*/ 0 w 331"/>
                <a:gd name="T111" fmla="*/ 2147483647 h 484"/>
                <a:gd name="T112" fmla="*/ 0 w 331"/>
                <a:gd name="T113" fmla="*/ 2147483647 h 484"/>
                <a:gd name="T114" fmla="*/ 0 w 331"/>
                <a:gd name="T115" fmla="*/ 2147483647 h 48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31"/>
                <a:gd name="T175" fmla="*/ 0 h 484"/>
                <a:gd name="T176" fmla="*/ 331 w 331"/>
                <a:gd name="T177" fmla="*/ 484 h 48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31" h="484">
                  <a:moveTo>
                    <a:pt x="137" y="376"/>
                  </a:moveTo>
                  <a:lnTo>
                    <a:pt x="132" y="371"/>
                  </a:lnTo>
                  <a:lnTo>
                    <a:pt x="124" y="351"/>
                  </a:lnTo>
                  <a:lnTo>
                    <a:pt x="123" y="344"/>
                  </a:lnTo>
                  <a:lnTo>
                    <a:pt x="116" y="336"/>
                  </a:lnTo>
                  <a:lnTo>
                    <a:pt x="109" y="334"/>
                  </a:lnTo>
                  <a:lnTo>
                    <a:pt x="99" y="341"/>
                  </a:lnTo>
                  <a:lnTo>
                    <a:pt x="94" y="328"/>
                  </a:lnTo>
                  <a:lnTo>
                    <a:pt x="87" y="317"/>
                  </a:lnTo>
                  <a:lnTo>
                    <a:pt x="81" y="317"/>
                  </a:lnTo>
                  <a:lnTo>
                    <a:pt x="78" y="325"/>
                  </a:lnTo>
                  <a:lnTo>
                    <a:pt x="55" y="322"/>
                  </a:lnTo>
                  <a:lnTo>
                    <a:pt x="51" y="307"/>
                  </a:lnTo>
                  <a:lnTo>
                    <a:pt x="42" y="297"/>
                  </a:lnTo>
                  <a:lnTo>
                    <a:pt x="40" y="291"/>
                  </a:lnTo>
                  <a:lnTo>
                    <a:pt x="22" y="275"/>
                  </a:lnTo>
                  <a:lnTo>
                    <a:pt x="18" y="268"/>
                  </a:lnTo>
                  <a:lnTo>
                    <a:pt x="1" y="245"/>
                  </a:lnTo>
                  <a:lnTo>
                    <a:pt x="0" y="227"/>
                  </a:lnTo>
                  <a:lnTo>
                    <a:pt x="2" y="205"/>
                  </a:lnTo>
                  <a:lnTo>
                    <a:pt x="6" y="189"/>
                  </a:lnTo>
                  <a:lnTo>
                    <a:pt x="15" y="182"/>
                  </a:lnTo>
                  <a:lnTo>
                    <a:pt x="28" y="179"/>
                  </a:lnTo>
                  <a:lnTo>
                    <a:pt x="35" y="189"/>
                  </a:lnTo>
                  <a:lnTo>
                    <a:pt x="43" y="194"/>
                  </a:lnTo>
                  <a:lnTo>
                    <a:pt x="44" y="195"/>
                  </a:lnTo>
                  <a:lnTo>
                    <a:pt x="42" y="202"/>
                  </a:lnTo>
                  <a:lnTo>
                    <a:pt x="48" y="209"/>
                  </a:lnTo>
                  <a:lnTo>
                    <a:pt x="59" y="212"/>
                  </a:lnTo>
                  <a:lnTo>
                    <a:pt x="64" y="217"/>
                  </a:lnTo>
                  <a:lnTo>
                    <a:pt x="65" y="228"/>
                  </a:lnTo>
                  <a:lnTo>
                    <a:pt x="69" y="236"/>
                  </a:lnTo>
                  <a:lnTo>
                    <a:pt x="71" y="244"/>
                  </a:lnTo>
                  <a:lnTo>
                    <a:pt x="89" y="245"/>
                  </a:lnTo>
                  <a:lnTo>
                    <a:pt x="97" y="241"/>
                  </a:lnTo>
                  <a:lnTo>
                    <a:pt x="99" y="236"/>
                  </a:lnTo>
                  <a:lnTo>
                    <a:pt x="105" y="238"/>
                  </a:lnTo>
                  <a:lnTo>
                    <a:pt x="113" y="236"/>
                  </a:lnTo>
                  <a:lnTo>
                    <a:pt x="124" y="223"/>
                  </a:lnTo>
                  <a:lnTo>
                    <a:pt x="119" y="214"/>
                  </a:lnTo>
                  <a:lnTo>
                    <a:pt x="116" y="196"/>
                  </a:lnTo>
                  <a:lnTo>
                    <a:pt x="120" y="196"/>
                  </a:lnTo>
                  <a:lnTo>
                    <a:pt x="128" y="206"/>
                  </a:lnTo>
                  <a:lnTo>
                    <a:pt x="132" y="204"/>
                  </a:lnTo>
                  <a:lnTo>
                    <a:pt x="132" y="190"/>
                  </a:lnTo>
                  <a:lnTo>
                    <a:pt x="129" y="183"/>
                  </a:lnTo>
                  <a:lnTo>
                    <a:pt x="119" y="182"/>
                  </a:lnTo>
                  <a:lnTo>
                    <a:pt x="116" y="171"/>
                  </a:lnTo>
                  <a:lnTo>
                    <a:pt x="112" y="168"/>
                  </a:lnTo>
                  <a:lnTo>
                    <a:pt x="112" y="155"/>
                  </a:lnTo>
                  <a:lnTo>
                    <a:pt x="110" y="144"/>
                  </a:lnTo>
                  <a:lnTo>
                    <a:pt x="112" y="140"/>
                  </a:lnTo>
                  <a:lnTo>
                    <a:pt x="121" y="137"/>
                  </a:lnTo>
                  <a:lnTo>
                    <a:pt x="137" y="151"/>
                  </a:lnTo>
                  <a:lnTo>
                    <a:pt x="140" y="146"/>
                  </a:lnTo>
                  <a:lnTo>
                    <a:pt x="118" y="113"/>
                  </a:lnTo>
                  <a:lnTo>
                    <a:pt x="114" y="119"/>
                  </a:lnTo>
                  <a:lnTo>
                    <a:pt x="113" y="128"/>
                  </a:lnTo>
                  <a:lnTo>
                    <a:pt x="104" y="131"/>
                  </a:lnTo>
                  <a:lnTo>
                    <a:pt x="93" y="134"/>
                  </a:lnTo>
                  <a:lnTo>
                    <a:pt x="77" y="123"/>
                  </a:lnTo>
                  <a:lnTo>
                    <a:pt x="69" y="107"/>
                  </a:lnTo>
                  <a:lnTo>
                    <a:pt x="61" y="105"/>
                  </a:lnTo>
                  <a:lnTo>
                    <a:pt x="59" y="89"/>
                  </a:lnTo>
                  <a:lnTo>
                    <a:pt x="60" y="78"/>
                  </a:lnTo>
                  <a:lnTo>
                    <a:pt x="80" y="78"/>
                  </a:lnTo>
                  <a:lnTo>
                    <a:pt x="87" y="85"/>
                  </a:lnTo>
                  <a:lnTo>
                    <a:pt x="89" y="92"/>
                  </a:lnTo>
                  <a:lnTo>
                    <a:pt x="99" y="98"/>
                  </a:lnTo>
                  <a:lnTo>
                    <a:pt x="102" y="92"/>
                  </a:lnTo>
                  <a:lnTo>
                    <a:pt x="98" y="80"/>
                  </a:lnTo>
                  <a:lnTo>
                    <a:pt x="98" y="71"/>
                  </a:lnTo>
                  <a:lnTo>
                    <a:pt x="85" y="67"/>
                  </a:lnTo>
                  <a:lnTo>
                    <a:pt x="80" y="59"/>
                  </a:lnTo>
                  <a:lnTo>
                    <a:pt x="71" y="59"/>
                  </a:lnTo>
                  <a:lnTo>
                    <a:pt x="66" y="45"/>
                  </a:lnTo>
                  <a:lnTo>
                    <a:pt x="77" y="32"/>
                  </a:lnTo>
                  <a:lnTo>
                    <a:pt x="96" y="21"/>
                  </a:lnTo>
                  <a:lnTo>
                    <a:pt x="101" y="28"/>
                  </a:lnTo>
                  <a:lnTo>
                    <a:pt x="114" y="32"/>
                  </a:lnTo>
                  <a:lnTo>
                    <a:pt x="124" y="39"/>
                  </a:lnTo>
                  <a:lnTo>
                    <a:pt x="126" y="32"/>
                  </a:lnTo>
                  <a:lnTo>
                    <a:pt x="126" y="24"/>
                  </a:lnTo>
                  <a:lnTo>
                    <a:pt x="113" y="19"/>
                  </a:lnTo>
                  <a:lnTo>
                    <a:pt x="109" y="12"/>
                  </a:lnTo>
                  <a:lnTo>
                    <a:pt x="119" y="5"/>
                  </a:lnTo>
                  <a:lnTo>
                    <a:pt x="129" y="0"/>
                  </a:lnTo>
                  <a:lnTo>
                    <a:pt x="135" y="5"/>
                  </a:lnTo>
                  <a:lnTo>
                    <a:pt x="144" y="21"/>
                  </a:lnTo>
                  <a:lnTo>
                    <a:pt x="152" y="22"/>
                  </a:lnTo>
                  <a:lnTo>
                    <a:pt x="164" y="32"/>
                  </a:lnTo>
                  <a:lnTo>
                    <a:pt x="175" y="37"/>
                  </a:lnTo>
                  <a:lnTo>
                    <a:pt x="188" y="34"/>
                  </a:lnTo>
                  <a:lnTo>
                    <a:pt x="193" y="38"/>
                  </a:lnTo>
                  <a:lnTo>
                    <a:pt x="217" y="31"/>
                  </a:lnTo>
                  <a:lnTo>
                    <a:pt x="248" y="8"/>
                  </a:lnTo>
                  <a:lnTo>
                    <a:pt x="274" y="1"/>
                  </a:lnTo>
                  <a:lnTo>
                    <a:pt x="276" y="8"/>
                  </a:lnTo>
                  <a:lnTo>
                    <a:pt x="288" y="26"/>
                  </a:lnTo>
                  <a:lnTo>
                    <a:pt x="295" y="28"/>
                  </a:lnTo>
                  <a:lnTo>
                    <a:pt x="293" y="51"/>
                  </a:lnTo>
                  <a:lnTo>
                    <a:pt x="284" y="66"/>
                  </a:lnTo>
                  <a:lnTo>
                    <a:pt x="270" y="69"/>
                  </a:lnTo>
                  <a:lnTo>
                    <a:pt x="266" y="75"/>
                  </a:lnTo>
                  <a:lnTo>
                    <a:pt x="270" y="76"/>
                  </a:lnTo>
                  <a:lnTo>
                    <a:pt x="281" y="86"/>
                  </a:lnTo>
                  <a:lnTo>
                    <a:pt x="284" y="94"/>
                  </a:lnTo>
                  <a:lnTo>
                    <a:pt x="282" y="112"/>
                  </a:lnTo>
                  <a:lnTo>
                    <a:pt x="279" y="108"/>
                  </a:lnTo>
                  <a:lnTo>
                    <a:pt x="268" y="112"/>
                  </a:lnTo>
                  <a:lnTo>
                    <a:pt x="250" y="130"/>
                  </a:lnTo>
                  <a:lnTo>
                    <a:pt x="241" y="148"/>
                  </a:lnTo>
                  <a:lnTo>
                    <a:pt x="233" y="155"/>
                  </a:lnTo>
                  <a:lnTo>
                    <a:pt x="228" y="164"/>
                  </a:lnTo>
                  <a:lnTo>
                    <a:pt x="221" y="172"/>
                  </a:lnTo>
                  <a:lnTo>
                    <a:pt x="220" y="184"/>
                  </a:lnTo>
                  <a:lnTo>
                    <a:pt x="220" y="195"/>
                  </a:lnTo>
                  <a:lnTo>
                    <a:pt x="242" y="172"/>
                  </a:lnTo>
                  <a:lnTo>
                    <a:pt x="257" y="167"/>
                  </a:lnTo>
                  <a:lnTo>
                    <a:pt x="265" y="173"/>
                  </a:lnTo>
                  <a:lnTo>
                    <a:pt x="280" y="189"/>
                  </a:lnTo>
                  <a:lnTo>
                    <a:pt x="279" y="201"/>
                  </a:lnTo>
                  <a:lnTo>
                    <a:pt x="282" y="204"/>
                  </a:lnTo>
                  <a:lnTo>
                    <a:pt x="285" y="215"/>
                  </a:lnTo>
                  <a:lnTo>
                    <a:pt x="290" y="216"/>
                  </a:lnTo>
                  <a:lnTo>
                    <a:pt x="293" y="222"/>
                  </a:lnTo>
                  <a:lnTo>
                    <a:pt x="295" y="228"/>
                  </a:lnTo>
                  <a:lnTo>
                    <a:pt x="290" y="238"/>
                  </a:lnTo>
                  <a:lnTo>
                    <a:pt x="290" y="248"/>
                  </a:lnTo>
                  <a:lnTo>
                    <a:pt x="303" y="236"/>
                  </a:lnTo>
                  <a:lnTo>
                    <a:pt x="314" y="234"/>
                  </a:lnTo>
                  <a:lnTo>
                    <a:pt x="315" y="222"/>
                  </a:lnTo>
                  <a:lnTo>
                    <a:pt x="322" y="232"/>
                  </a:lnTo>
                  <a:lnTo>
                    <a:pt x="322" y="242"/>
                  </a:lnTo>
                  <a:lnTo>
                    <a:pt x="324" y="247"/>
                  </a:lnTo>
                  <a:lnTo>
                    <a:pt x="331" y="274"/>
                  </a:lnTo>
                  <a:lnTo>
                    <a:pt x="331" y="282"/>
                  </a:lnTo>
                  <a:lnTo>
                    <a:pt x="329" y="288"/>
                  </a:lnTo>
                  <a:lnTo>
                    <a:pt x="319" y="300"/>
                  </a:lnTo>
                  <a:lnTo>
                    <a:pt x="314" y="301"/>
                  </a:lnTo>
                  <a:lnTo>
                    <a:pt x="320" y="313"/>
                  </a:lnTo>
                  <a:lnTo>
                    <a:pt x="323" y="322"/>
                  </a:lnTo>
                  <a:lnTo>
                    <a:pt x="324" y="338"/>
                  </a:lnTo>
                  <a:lnTo>
                    <a:pt x="323" y="344"/>
                  </a:lnTo>
                  <a:lnTo>
                    <a:pt x="315" y="355"/>
                  </a:lnTo>
                  <a:lnTo>
                    <a:pt x="323" y="354"/>
                  </a:lnTo>
                  <a:lnTo>
                    <a:pt x="325" y="360"/>
                  </a:lnTo>
                  <a:lnTo>
                    <a:pt x="327" y="373"/>
                  </a:lnTo>
                  <a:lnTo>
                    <a:pt x="327" y="385"/>
                  </a:lnTo>
                  <a:lnTo>
                    <a:pt x="322" y="389"/>
                  </a:lnTo>
                  <a:lnTo>
                    <a:pt x="318" y="384"/>
                  </a:lnTo>
                  <a:lnTo>
                    <a:pt x="307" y="393"/>
                  </a:lnTo>
                  <a:lnTo>
                    <a:pt x="303" y="410"/>
                  </a:lnTo>
                  <a:lnTo>
                    <a:pt x="280" y="428"/>
                  </a:lnTo>
                  <a:lnTo>
                    <a:pt x="266" y="422"/>
                  </a:lnTo>
                  <a:lnTo>
                    <a:pt x="249" y="426"/>
                  </a:lnTo>
                  <a:lnTo>
                    <a:pt x="238" y="422"/>
                  </a:lnTo>
                  <a:lnTo>
                    <a:pt x="236" y="428"/>
                  </a:lnTo>
                  <a:lnTo>
                    <a:pt x="248" y="444"/>
                  </a:lnTo>
                  <a:lnTo>
                    <a:pt x="248" y="454"/>
                  </a:lnTo>
                  <a:lnTo>
                    <a:pt x="231" y="467"/>
                  </a:lnTo>
                  <a:lnTo>
                    <a:pt x="229" y="475"/>
                  </a:lnTo>
                  <a:lnTo>
                    <a:pt x="221" y="483"/>
                  </a:lnTo>
                  <a:lnTo>
                    <a:pt x="212" y="484"/>
                  </a:lnTo>
                  <a:lnTo>
                    <a:pt x="205" y="464"/>
                  </a:lnTo>
                  <a:lnTo>
                    <a:pt x="199" y="465"/>
                  </a:lnTo>
                  <a:lnTo>
                    <a:pt x="195" y="473"/>
                  </a:lnTo>
                  <a:lnTo>
                    <a:pt x="187" y="473"/>
                  </a:lnTo>
                  <a:lnTo>
                    <a:pt x="182" y="454"/>
                  </a:lnTo>
                  <a:lnTo>
                    <a:pt x="178" y="431"/>
                  </a:lnTo>
                  <a:lnTo>
                    <a:pt x="172" y="424"/>
                  </a:lnTo>
                  <a:lnTo>
                    <a:pt x="167" y="406"/>
                  </a:lnTo>
                  <a:lnTo>
                    <a:pt x="158" y="394"/>
                  </a:lnTo>
                  <a:lnTo>
                    <a:pt x="144" y="384"/>
                  </a:lnTo>
                  <a:lnTo>
                    <a:pt x="137" y="37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62" name="Freeform 287">
              <a:extLst>
                <a:ext uri="{FF2B5EF4-FFF2-40B4-BE49-F238E27FC236}">
                  <a16:creationId xmlns:a16="http://schemas.microsoft.com/office/drawing/2014/main" id="{B1ECF21C-41D9-D838-8D24-9BB4963F19F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763119" y="515209"/>
              <a:ext cx="156696" cy="214914"/>
            </a:xfrm>
            <a:custGeom>
              <a:avLst/>
              <a:gdLst>
                <a:gd name="T0" fmla="*/ 0 w 292"/>
                <a:gd name="T1" fmla="*/ 0 h 380"/>
                <a:gd name="T2" fmla="*/ 0 w 292"/>
                <a:gd name="T3" fmla="*/ 0 h 380"/>
                <a:gd name="T4" fmla="*/ 0 w 292"/>
                <a:gd name="T5" fmla="*/ 0 h 380"/>
                <a:gd name="T6" fmla="*/ 0 w 292"/>
                <a:gd name="T7" fmla="*/ 0 h 380"/>
                <a:gd name="T8" fmla="*/ 0 w 292"/>
                <a:gd name="T9" fmla="*/ 0 h 380"/>
                <a:gd name="T10" fmla="*/ 0 w 292"/>
                <a:gd name="T11" fmla="*/ 0 h 380"/>
                <a:gd name="T12" fmla="*/ 0 w 292"/>
                <a:gd name="T13" fmla="*/ 0 h 380"/>
                <a:gd name="T14" fmla="*/ 0 w 292"/>
                <a:gd name="T15" fmla="*/ 0 h 380"/>
                <a:gd name="T16" fmla="*/ 0 w 292"/>
                <a:gd name="T17" fmla="*/ 2147483647 h 380"/>
                <a:gd name="T18" fmla="*/ 0 w 292"/>
                <a:gd name="T19" fmla="*/ 2147483647 h 380"/>
                <a:gd name="T20" fmla="*/ 0 w 292"/>
                <a:gd name="T21" fmla="*/ 2147483647 h 380"/>
                <a:gd name="T22" fmla="*/ 0 w 292"/>
                <a:gd name="T23" fmla="*/ 2147483647 h 380"/>
                <a:gd name="T24" fmla="*/ 0 w 292"/>
                <a:gd name="T25" fmla="*/ 2147483647 h 380"/>
                <a:gd name="T26" fmla="*/ 0 w 292"/>
                <a:gd name="T27" fmla="*/ 2147483647 h 380"/>
                <a:gd name="T28" fmla="*/ 0 w 292"/>
                <a:gd name="T29" fmla="*/ 2147483647 h 380"/>
                <a:gd name="T30" fmla="*/ 0 w 292"/>
                <a:gd name="T31" fmla="*/ 2147483647 h 380"/>
                <a:gd name="T32" fmla="*/ 0 w 292"/>
                <a:gd name="T33" fmla="*/ 2147483647 h 380"/>
                <a:gd name="T34" fmla="*/ 0 w 292"/>
                <a:gd name="T35" fmla="*/ 0 h 380"/>
                <a:gd name="T36" fmla="*/ 0 w 292"/>
                <a:gd name="T37" fmla="*/ 0 h 380"/>
                <a:gd name="T38" fmla="*/ 0 w 292"/>
                <a:gd name="T39" fmla="*/ 0 h 380"/>
                <a:gd name="T40" fmla="*/ 0 w 292"/>
                <a:gd name="T41" fmla="*/ 0 h 380"/>
                <a:gd name="T42" fmla="*/ 0 w 292"/>
                <a:gd name="T43" fmla="*/ 0 h 380"/>
                <a:gd name="T44" fmla="*/ 0 w 292"/>
                <a:gd name="T45" fmla="*/ 0 h 380"/>
                <a:gd name="T46" fmla="*/ 0 w 292"/>
                <a:gd name="T47" fmla="*/ 0 h 380"/>
                <a:gd name="T48" fmla="*/ 0 w 292"/>
                <a:gd name="T49" fmla="*/ 0 h 380"/>
                <a:gd name="T50" fmla="*/ 0 w 292"/>
                <a:gd name="T51" fmla="*/ 0 h 380"/>
                <a:gd name="T52" fmla="*/ 0 w 292"/>
                <a:gd name="T53" fmla="*/ 0 h 380"/>
                <a:gd name="T54" fmla="*/ 0 w 292"/>
                <a:gd name="T55" fmla="*/ 0 h 380"/>
                <a:gd name="T56" fmla="*/ 0 w 292"/>
                <a:gd name="T57" fmla="*/ 0 h 380"/>
                <a:gd name="T58" fmla="*/ 0 w 292"/>
                <a:gd name="T59" fmla="*/ 0 h 380"/>
                <a:gd name="T60" fmla="*/ 0 w 292"/>
                <a:gd name="T61" fmla="*/ 0 h 380"/>
                <a:gd name="T62" fmla="*/ 0 w 292"/>
                <a:gd name="T63" fmla="*/ 0 h 380"/>
                <a:gd name="T64" fmla="*/ 0 w 292"/>
                <a:gd name="T65" fmla="*/ 0 h 380"/>
                <a:gd name="T66" fmla="*/ 0 w 292"/>
                <a:gd name="T67" fmla="*/ 0 h 380"/>
                <a:gd name="T68" fmla="*/ 0 w 292"/>
                <a:gd name="T69" fmla="*/ 0 h 380"/>
                <a:gd name="T70" fmla="*/ 0 w 292"/>
                <a:gd name="T71" fmla="*/ 0 h 380"/>
                <a:gd name="T72" fmla="*/ 0 w 292"/>
                <a:gd name="T73" fmla="*/ 0 h 380"/>
                <a:gd name="T74" fmla="*/ 0 w 292"/>
                <a:gd name="T75" fmla="*/ 0 h 380"/>
                <a:gd name="T76" fmla="*/ 0 w 292"/>
                <a:gd name="T77" fmla="*/ 0 h 380"/>
                <a:gd name="T78" fmla="*/ 0 w 292"/>
                <a:gd name="T79" fmla="*/ 0 h 380"/>
                <a:gd name="T80" fmla="*/ 0 w 292"/>
                <a:gd name="T81" fmla="*/ 0 h 380"/>
                <a:gd name="T82" fmla="*/ 0 w 292"/>
                <a:gd name="T83" fmla="*/ 0 h 380"/>
                <a:gd name="T84" fmla="*/ 0 w 292"/>
                <a:gd name="T85" fmla="*/ 0 h 380"/>
                <a:gd name="T86" fmla="*/ 0 w 292"/>
                <a:gd name="T87" fmla="*/ 0 h 380"/>
                <a:gd name="T88" fmla="*/ 0 w 292"/>
                <a:gd name="T89" fmla="*/ 0 h 380"/>
                <a:gd name="T90" fmla="*/ 0 w 292"/>
                <a:gd name="T91" fmla="*/ 0 h 380"/>
                <a:gd name="T92" fmla="*/ 0 w 292"/>
                <a:gd name="T93" fmla="*/ 0 h 380"/>
                <a:gd name="T94" fmla="*/ 0 w 292"/>
                <a:gd name="T95" fmla="*/ 0 h 380"/>
                <a:gd name="T96" fmla="*/ 0 w 292"/>
                <a:gd name="T97" fmla="*/ 0 h 380"/>
                <a:gd name="T98" fmla="*/ 0 w 292"/>
                <a:gd name="T99" fmla="*/ 0 h 380"/>
                <a:gd name="T100" fmla="*/ 0 w 292"/>
                <a:gd name="T101" fmla="*/ 0 h 380"/>
                <a:gd name="T102" fmla="*/ 0 w 292"/>
                <a:gd name="T103" fmla="*/ 0 h 38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92"/>
                <a:gd name="T157" fmla="*/ 0 h 380"/>
                <a:gd name="T158" fmla="*/ 292 w 292"/>
                <a:gd name="T159" fmla="*/ 380 h 38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92" h="380">
                  <a:moveTo>
                    <a:pt x="281" y="160"/>
                  </a:moveTo>
                  <a:lnTo>
                    <a:pt x="282" y="162"/>
                  </a:lnTo>
                  <a:lnTo>
                    <a:pt x="281" y="165"/>
                  </a:lnTo>
                  <a:lnTo>
                    <a:pt x="281" y="171"/>
                  </a:lnTo>
                  <a:lnTo>
                    <a:pt x="282" y="177"/>
                  </a:lnTo>
                  <a:lnTo>
                    <a:pt x="281" y="187"/>
                  </a:lnTo>
                  <a:lnTo>
                    <a:pt x="268" y="198"/>
                  </a:lnTo>
                  <a:lnTo>
                    <a:pt x="266" y="206"/>
                  </a:lnTo>
                  <a:lnTo>
                    <a:pt x="285" y="213"/>
                  </a:lnTo>
                  <a:lnTo>
                    <a:pt x="291" y="210"/>
                  </a:lnTo>
                  <a:lnTo>
                    <a:pt x="292" y="224"/>
                  </a:lnTo>
                  <a:lnTo>
                    <a:pt x="291" y="237"/>
                  </a:lnTo>
                  <a:lnTo>
                    <a:pt x="290" y="267"/>
                  </a:lnTo>
                  <a:lnTo>
                    <a:pt x="292" y="285"/>
                  </a:lnTo>
                  <a:lnTo>
                    <a:pt x="284" y="254"/>
                  </a:lnTo>
                  <a:lnTo>
                    <a:pt x="279" y="244"/>
                  </a:lnTo>
                  <a:lnTo>
                    <a:pt x="274" y="240"/>
                  </a:lnTo>
                  <a:lnTo>
                    <a:pt x="270" y="244"/>
                  </a:lnTo>
                  <a:lnTo>
                    <a:pt x="263" y="242"/>
                  </a:lnTo>
                  <a:lnTo>
                    <a:pt x="260" y="249"/>
                  </a:lnTo>
                  <a:lnTo>
                    <a:pt x="268" y="254"/>
                  </a:lnTo>
                  <a:lnTo>
                    <a:pt x="269" y="263"/>
                  </a:lnTo>
                  <a:lnTo>
                    <a:pt x="268" y="267"/>
                  </a:lnTo>
                  <a:lnTo>
                    <a:pt x="265" y="259"/>
                  </a:lnTo>
                  <a:lnTo>
                    <a:pt x="258" y="264"/>
                  </a:lnTo>
                  <a:lnTo>
                    <a:pt x="255" y="270"/>
                  </a:lnTo>
                  <a:lnTo>
                    <a:pt x="263" y="279"/>
                  </a:lnTo>
                  <a:lnTo>
                    <a:pt x="259" y="280"/>
                  </a:lnTo>
                  <a:lnTo>
                    <a:pt x="258" y="285"/>
                  </a:lnTo>
                  <a:lnTo>
                    <a:pt x="260" y="291"/>
                  </a:lnTo>
                  <a:lnTo>
                    <a:pt x="258" y="292"/>
                  </a:lnTo>
                  <a:lnTo>
                    <a:pt x="253" y="286"/>
                  </a:lnTo>
                  <a:lnTo>
                    <a:pt x="248" y="302"/>
                  </a:lnTo>
                  <a:lnTo>
                    <a:pt x="249" y="308"/>
                  </a:lnTo>
                  <a:lnTo>
                    <a:pt x="254" y="306"/>
                  </a:lnTo>
                  <a:lnTo>
                    <a:pt x="271" y="338"/>
                  </a:lnTo>
                  <a:lnTo>
                    <a:pt x="274" y="345"/>
                  </a:lnTo>
                  <a:lnTo>
                    <a:pt x="269" y="349"/>
                  </a:lnTo>
                  <a:lnTo>
                    <a:pt x="263" y="345"/>
                  </a:lnTo>
                  <a:lnTo>
                    <a:pt x="258" y="334"/>
                  </a:lnTo>
                  <a:lnTo>
                    <a:pt x="254" y="330"/>
                  </a:lnTo>
                  <a:lnTo>
                    <a:pt x="248" y="332"/>
                  </a:lnTo>
                  <a:lnTo>
                    <a:pt x="248" y="339"/>
                  </a:lnTo>
                  <a:lnTo>
                    <a:pt x="250" y="345"/>
                  </a:lnTo>
                  <a:lnTo>
                    <a:pt x="250" y="350"/>
                  </a:lnTo>
                  <a:lnTo>
                    <a:pt x="255" y="359"/>
                  </a:lnTo>
                  <a:lnTo>
                    <a:pt x="255" y="369"/>
                  </a:lnTo>
                  <a:lnTo>
                    <a:pt x="230" y="372"/>
                  </a:lnTo>
                  <a:lnTo>
                    <a:pt x="228" y="365"/>
                  </a:lnTo>
                  <a:lnTo>
                    <a:pt x="219" y="375"/>
                  </a:lnTo>
                  <a:lnTo>
                    <a:pt x="211" y="375"/>
                  </a:lnTo>
                  <a:lnTo>
                    <a:pt x="208" y="370"/>
                  </a:lnTo>
                  <a:lnTo>
                    <a:pt x="209" y="360"/>
                  </a:lnTo>
                  <a:lnTo>
                    <a:pt x="203" y="364"/>
                  </a:lnTo>
                  <a:lnTo>
                    <a:pt x="201" y="373"/>
                  </a:lnTo>
                  <a:lnTo>
                    <a:pt x="190" y="371"/>
                  </a:lnTo>
                  <a:lnTo>
                    <a:pt x="190" y="360"/>
                  </a:lnTo>
                  <a:lnTo>
                    <a:pt x="188" y="369"/>
                  </a:lnTo>
                  <a:lnTo>
                    <a:pt x="180" y="372"/>
                  </a:lnTo>
                  <a:lnTo>
                    <a:pt x="177" y="364"/>
                  </a:lnTo>
                  <a:lnTo>
                    <a:pt x="179" y="354"/>
                  </a:lnTo>
                  <a:lnTo>
                    <a:pt x="167" y="380"/>
                  </a:lnTo>
                  <a:lnTo>
                    <a:pt x="144" y="380"/>
                  </a:lnTo>
                  <a:lnTo>
                    <a:pt x="130" y="373"/>
                  </a:lnTo>
                  <a:lnTo>
                    <a:pt x="123" y="365"/>
                  </a:lnTo>
                  <a:lnTo>
                    <a:pt x="122" y="339"/>
                  </a:lnTo>
                  <a:lnTo>
                    <a:pt x="118" y="332"/>
                  </a:lnTo>
                  <a:lnTo>
                    <a:pt x="119" y="327"/>
                  </a:lnTo>
                  <a:lnTo>
                    <a:pt x="142" y="327"/>
                  </a:lnTo>
                  <a:lnTo>
                    <a:pt x="147" y="322"/>
                  </a:lnTo>
                  <a:lnTo>
                    <a:pt x="131" y="319"/>
                  </a:lnTo>
                  <a:lnTo>
                    <a:pt x="136" y="303"/>
                  </a:lnTo>
                  <a:lnTo>
                    <a:pt x="119" y="310"/>
                  </a:lnTo>
                  <a:lnTo>
                    <a:pt x="115" y="300"/>
                  </a:lnTo>
                  <a:lnTo>
                    <a:pt x="128" y="291"/>
                  </a:lnTo>
                  <a:lnTo>
                    <a:pt x="113" y="280"/>
                  </a:lnTo>
                  <a:lnTo>
                    <a:pt x="131" y="276"/>
                  </a:lnTo>
                  <a:lnTo>
                    <a:pt x="141" y="279"/>
                  </a:lnTo>
                  <a:lnTo>
                    <a:pt x="145" y="273"/>
                  </a:lnTo>
                  <a:lnTo>
                    <a:pt x="141" y="270"/>
                  </a:lnTo>
                  <a:lnTo>
                    <a:pt x="162" y="268"/>
                  </a:lnTo>
                  <a:lnTo>
                    <a:pt x="163" y="262"/>
                  </a:lnTo>
                  <a:lnTo>
                    <a:pt x="141" y="265"/>
                  </a:lnTo>
                  <a:lnTo>
                    <a:pt x="155" y="256"/>
                  </a:lnTo>
                  <a:lnTo>
                    <a:pt x="152" y="252"/>
                  </a:lnTo>
                  <a:lnTo>
                    <a:pt x="156" y="247"/>
                  </a:lnTo>
                  <a:lnTo>
                    <a:pt x="169" y="242"/>
                  </a:lnTo>
                  <a:lnTo>
                    <a:pt x="168" y="237"/>
                  </a:lnTo>
                  <a:lnTo>
                    <a:pt x="163" y="232"/>
                  </a:lnTo>
                  <a:lnTo>
                    <a:pt x="166" y="225"/>
                  </a:lnTo>
                  <a:lnTo>
                    <a:pt x="204" y="219"/>
                  </a:lnTo>
                  <a:lnTo>
                    <a:pt x="211" y="214"/>
                  </a:lnTo>
                  <a:lnTo>
                    <a:pt x="210" y="209"/>
                  </a:lnTo>
                  <a:lnTo>
                    <a:pt x="203" y="214"/>
                  </a:lnTo>
                  <a:lnTo>
                    <a:pt x="174" y="216"/>
                  </a:lnTo>
                  <a:lnTo>
                    <a:pt x="172" y="214"/>
                  </a:lnTo>
                  <a:lnTo>
                    <a:pt x="163" y="220"/>
                  </a:lnTo>
                  <a:lnTo>
                    <a:pt x="153" y="219"/>
                  </a:lnTo>
                  <a:lnTo>
                    <a:pt x="135" y="227"/>
                  </a:lnTo>
                  <a:lnTo>
                    <a:pt x="129" y="225"/>
                  </a:lnTo>
                  <a:lnTo>
                    <a:pt x="92" y="241"/>
                  </a:lnTo>
                  <a:lnTo>
                    <a:pt x="72" y="240"/>
                  </a:lnTo>
                  <a:lnTo>
                    <a:pt x="67" y="248"/>
                  </a:lnTo>
                  <a:lnTo>
                    <a:pt x="60" y="242"/>
                  </a:lnTo>
                  <a:lnTo>
                    <a:pt x="50" y="252"/>
                  </a:lnTo>
                  <a:lnTo>
                    <a:pt x="26" y="254"/>
                  </a:lnTo>
                  <a:lnTo>
                    <a:pt x="17" y="263"/>
                  </a:lnTo>
                  <a:lnTo>
                    <a:pt x="4" y="256"/>
                  </a:lnTo>
                  <a:lnTo>
                    <a:pt x="0" y="242"/>
                  </a:lnTo>
                  <a:lnTo>
                    <a:pt x="8" y="240"/>
                  </a:lnTo>
                  <a:lnTo>
                    <a:pt x="7" y="232"/>
                  </a:lnTo>
                  <a:lnTo>
                    <a:pt x="10" y="222"/>
                  </a:lnTo>
                  <a:lnTo>
                    <a:pt x="18" y="220"/>
                  </a:lnTo>
                  <a:lnTo>
                    <a:pt x="39" y="227"/>
                  </a:lnTo>
                  <a:lnTo>
                    <a:pt x="37" y="219"/>
                  </a:lnTo>
                  <a:lnTo>
                    <a:pt x="31" y="215"/>
                  </a:lnTo>
                  <a:lnTo>
                    <a:pt x="33" y="206"/>
                  </a:lnTo>
                  <a:lnTo>
                    <a:pt x="27" y="206"/>
                  </a:lnTo>
                  <a:lnTo>
                    <a:pt x="28" y="193"/>
                  </a:lnTo>
                  <a:lnTo>
                    <a:pt x="42" y="183"/>
                  </a:lnTo>
                  <a:lnTo>
                    <a:pt x="49" y="183"/>
                  </a:lnTo>
                  <a:lnTo>
                    <a:pt x="67" y="198"/>
                  </a:lnTo>
                  <a:lnTo>
                    <a:pt x="71" y="209"/>
                  </a:lnTo>
                  <a:lnTo>
                    <a:pt x="83" y="205"/>
                  </a:lnTo>
                  <a:lnTo>
                    <a:pt x="82" y="195"/>
                  </a:lnTo>
                  <a:lnTo>
                    <a:pt x="81" y="187"/>
                  </a:lnTo>
                  <a:lnTo>
                    <a:pt x="65" y="176"/>
                  </a:lnTo>
                  <a:lnTo>
                    <a:pt x="69" y="166"/>
                  </a:lnTo>
                  <a:lnTo>
                    <a:pt x="77" y="156"/>
                  </a:lnTo>
                  <a:lnTo>
                    <a:pt x="77" y="150"/>
                  </a:lnTo>
                  <a:lnTo>
                    <a:pt x="53" y="161"/>
                  </a:lnTo>
                  <a:lnTo>
                    <a:pt x="51" y="149"/>
                  </a:lnTo>
                  <a:lnTo>
                    <a:pt x="44" y="136"/>
                  </a:lnTo>
                  <a:lnTo>
                    <a:pt x="44" y="122"/>
                  </a:lnTo>
                  <a:lnTo>
                    <a:pt x="48" y="109"/>
                  </a:lnTo>
                  <a:lnTo>
                    <a:pt x="33" y="109"/>
                  </a:lnTo>
                  <a:lnTo>
                    <a:pt x="34" y="95"/>
                  </a:lnTo>
                  <a:lnTo>
                    <a:pt x="33" y="85"/>
                  </a:lnTo>
                  <a:lnTo>
                    <a:pt x="44" y="66"/>
                  </a:lnTo>
                  <a:lnTo>
                    <a:pt x="43" y="65"/>
                  </a:lnTo>
                  <a:lnTo>
                    <a:pt x="47" y="55"/>
                  </a:lnTo>
                  <a:lnTo>
                    <a:pt x="53" y="50"/>
                  </a:lnTo>
                  <a:lnTo>
                    <a:pt x="74" y="58"/>
                  </a:lnTo>
                  <a:lnTo>
                    <a:pt x="77" y="57"/>
                  </a:lnTo>
                  <a:lnTo>
                    <a:pt x="81" y="63"/>
                  </a:lnTo>
                  <a:lnTo>
                    <a:pt x="81" y="74"/>
                  </a:lnTo>
                  <a:lnTo>
                    <a:pt x="85" y="72"/>
                  </a:lnTo>
                  <a:lnTo>
                    <a:pt x="96" y="82"/>
                  </a:lnTo>
                  <a:lnTo>
                    <a:pt x="90" y="93"/>
                  </a:lnTo>
                  <a:lnTo>
                    <a:pt x="110" y="123"/>
                  </a:lnTo>
                  <a:lnTo>
                    <a:pt x="110" y="127"/>
                  </a:lnTo>
                  <a:lnTo>
                    <a:pt x="114" y="133"/>
                  </a:lnTo>
                  <a:lnTo>
                    <a:pt x="122" y="129"/>
                  </a:lnTo>
                  <a:lnTo>
                    <a:pt x="128" y="131"/>
                  </a:lnTo>
                  <a:lnTo>
                    <a:pt x="122" y="140"/>
                  </a:lnTo>
                  <a:lnTo>
                    <a:pt x="134" y="147"/>
                  </a:lnTo>
                  <a:lnTo>
                    <a:pt x="150" y="165"/>
                  </a:lnTo>
                  <a:lnTo>
                    <a:pt x="161" y="167"/>
                  </a:lnTo>
                  <a:lnTo>
                    <a:pt x="169" y="160"/>
                  </a:lnTo>
                  <a:lnTo>
                    <a:pt x="171" y="156"/>
                  </a:lnTo>
                  <a:lnTo>
                    <a:pt x="161" y="158"/>
                  </a:lnTo>
                  <a:lnTo>
                    <a:pt x="152" y="144"/>
                  </a:lnTo>
                  <a:lnTo>
                    <a:pt x="142" y="117"/>
                  </a:lnTo>
                  <a:lnTo>
                    <a:pt x="158" y="113"/>
                  </a:lnTo>
                  <a:lnTo>
                    <a:pt x="153" y="104"/>
                  </a:lnTo>
                  <a:lnTo>
                    <a:pt x="130" y="108"/>
                  </a:lnTo>
                  <a:lnTo>
                    <a:pt x="122" y="100"/>
                  </a:lnTo>
                  <a:lnTo>
                    <a:pt x="125" y="93"/>
                  </a:lnTo>
                  <a:lnTo>
                    <a:pt x="137" y="93"/>
                  </a:lnTo>
                  <a:lnTo>
                    <a:pt x="140" y="86"/>
                  </a:lnTo>
                  <a:lnTo>
                    <a:pt x="147" y="86"/>
                  </a:lnTo>
                  <a:lnTo>
                    <a:pt x="141" y="82"/>
                  </a:lnTo>
                  <a:lnTo>
                    <a:pt x="133" y="71"/>
                  </a:lnTo>
                  <a:lnTo>
                    <a:pt x="115" y="71"/>
                  </a:lnTo>
                  <a:lnTo>
                    <a:pt x="107" y="64"/>
                  </a:lnTo>
                  <a:lnTo>
                    <a:pt x="96" y="45"/>
                  </a:lnTo>
                  <a:lnTo>
                    <a:pt x="97" y="38"/>
                  </a:lnTo>
                  <a:lnTo>
                    <a:pt x="108" y="37"/>
                  </a:lnTo>
                  <a:lnTo>
                    <a:pt x="112" y="21"/>
                  </a:lnTo>
                  <a:lnTo>
                    <a:pt x="129" y="7"/>
                  </a:lnTo>
                  <a:lnTo>
                    <a:pt x="153" y="11"/>
                  </a:lnTo>
                  <a:lnTo>
                    <a:pt x="168" y="6"/>
                  </a:lnTo>
                  <a:lnTo>
                    <a:pt x="172" y="16"/>
                  </a:lnTo>
                  <a:lnTo>
                    <a:pt x="183" y="28"/>
                  </a:lnTo>
                  <a:lnTo>
                    <a:pt x="204" y="36"/>
                  </a:lnTo>
                  <a:lnTo>
                    <a:pt x="201" y="45"/>
                  </a:lnTo>
                  <a:lnTo>
                    <a:pt x="203" y="52"/>
                  </a:lnTo>
                  <a:lnTo>
                    <a:pt x="205" y="45"/>
                  </a:lnTo>
                  <a:lnTo>
                    <a:pt x="216" y="49"/>
                  </a:lnTo>
                  <a:lnTo>
                    <a:pt x="220" y="39"/>
                  </a:lnTo>
                  <a:lnTo>
                    <a:pt x="212" y="21"/>
                  </a:lnTo>
                  <a:lnTo>
                    <a:pt x="216" y="15"/>
                  </a:lnTo>
                  <a:lnTo>
                    <a:pt x="231" y="18"/>
                  </a:lnTo>
                  <a:lnTo>
                    <a:pt x="235" y="6"/>
                  </a:lnTo>
                  <a:lnTo>
                    <a:pt x="219" y="0"/>
                  </a:lnTo>
                  <a:lnTo>
                    <a:pt x="237" y="0"/>
                  </a:lnTo>
                  <a:lnTo>
                    <a:pt x="243" y="11"/>
                  </a:lnTo>
                  <a:lnTo>
                    <a:pt x="255" y="22"/>
                  </a:lnTo>
                  <a:lnTo>
                    <a:pt x="242" y="20"/>
                  </a:lnTo>
                  <a:lnTo>
                    <a:pt x="246" y="26"/>
                  </a:lnTo>
                  <a:lnTo>
                    <a:pt x="265" y="33"/>
                  </a:lnTo>
                  <a:lnTo>
                    <a:pt x="276" y="48"/>
                  </a:lnTo>
                  <a:lnTo>
                    <a:pt x="278" y="60"/>
                  </a:lnTo>
                  <a:lnTo>
                    <a:pt x="274" y="72"/>
                  </a:lnTo>
                  <a:lnTo>
                    <a:pt x="274" y="90"/>
                  </a:lnTo>
                  <a:lnTo>
                    <a:pt x="282" y="107"/>
                  </a:lnTo>
                  <a:lnTo>
                    <a:pt x="284" y="123"/>
                  </a:lnTo>
                  <a:lnTo>
                    <a:pt x="280" y="134"/>
                  </a:lnTo>
                  <a:lnTo>
                    <a:pt x="281" y="140"/>
                  </a:lnTo>
                  <a:lnTo>
                    <a:pt x="280" y="149"/>
                  </a:lnTo>
                  <a:lnTo>
                    <a:pt x="281" y="16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63" name="Freeform 288">
              <a:extLst>
                <a:ext uri="{FF2B5EF4-FFF2-40B4-BE49-F238E27FC236}">
                  <a16:creationId xmlns:a16="http://schemas.microsoft.com/office/drawing/2014/main" id="{EAD81BB7-1579-14AA-3C08-EBE5FF60198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327355" y="490822"/>
              <a:ext cx="356670" cy="304844"/>
            </a:xfrm>
            <a:custGeom>
              <a:avLst/>
              <a:gdLst>
                <a:gd name="T0" fmla="*/ 2147483647 w 672"/>
                <a:gd name="T1" fmla="*/ 0 h 534"/>
                <a:gd name="T2" fmla="*/ 2147483647 w 672"/>
                <a:gd name="T3" fmla="*/ 0 h 534"/>
                <a:gd name="T4" fmla="*/ 2147483647 w 672"/>
                <a:gd name="T5" fmla="*/ 0 h 534"/>
                <a:gd name="T6" fmla="*/ 2147483647 w 672"/>
                <a:gd name="T7" fmla="*/ 0 h 534"/>
                <a:gd name="T8" fmla="*/ 2147483647 w 672"/>
                <a:gd name="T9" fmla="*/ 0 h 534"/>
                <a:gd name="T10" fmla="*/ 2147483647 w 672"/>
                <a:gd name="T11" fmla="*/ 0 h 534"/>
                <a:gd name="T12" fmla="*/ 2147483647 w 672"/>
                <a:gd name="T13" fmla="*/ 0 h 534"/>
                <a:gd name="T14" fmla="*/ 2147483647 w 672"/>
                <a:gd name="T15" fmla="*/ 0 h 534"/>
                <a:gd name="T16" fmla="*/ 2147483647 w 672"/>
                <a:gd name="T17" fmla="*/ 0 h 534"/>
                <a:gd name="T18" fmla="*/ 2147483647 w 672"/>
                <a:gd name="T19" fmla="*/ 0 h 534"/>
                <a:gd name="T20" fmla="*/ 2147483647 w 672"/>
                <a:gd name="T21" fmla="*/ 2147483647 h 534"/>
                <a:gd name="T22" fmla="*/ 2147483647 w 672"/>
                <a:gd name="T23" fmla="*/ 2147483647 h 534"/>
                <a:gd name="T24" fmla="*/ 2147483647 w 672"/>
                <a:gd name="T25" fmla="*/ 2147483647 h 534"/>
                <a:gd name="T26" fmla="*/ 2147483647 w 672"/>
                <a:gd name="T27" fmla="*/ 2147483647 h 534"/>
                <a:gd name="T28" fmla="*/ 2147483647 w 672"/>
                <a:gd name="T29" fmla="*/ 2147483647 h 534"/>
                <a:gd name="T30" fmla="*/ 2147483647 w 672"/>
                <a:gd name="T31" fmla="*/ 2147483647 h 534"/>
                <a:gd name="T32" fmla="*/ 2147483647 w 672"/>
                <a:gd name="T33" fmla="*/ 2147483647 h 534"/>
                <a:gd name="T34" fmla="*/ 0 w 672"/>
                <a:gd name="T35" fmla="*/ 2147483647 h 534"/>
                <a:gd name="T36" fmla="*/ 0 w 672"/>
                <a:gd name="T37" fmla="*/ 2147483647 h 534"/>
                <a:gd name="T38" fmla="*/ 0 w 672"/>
                <a:gd name="T39" fmla="*/ 2147483647 h 534"/>
                <a:gd name="T40" fmla="*/ 0 w 672"/>
                <a:gd name="T41" fmla="*/ 2147483647 h 534"/>
                <a:gd name="T42" fmla="*/ 2147483647 w 672"/>
                <a:gd name="T43" fmla="*/ 2147483647 h 534"/>
                <a:gd name="T44" fmla="*/ 2147483647 w 672"/>
                <a:gd name="T45" fmla="*/ 2147483647 h 534"/>
                <a:gd name="T46" fmla="*/ 0 w 672"/>
                <a:gd name="T47" fmla="*/ 2147483647 h 534"/>
                <a:gd name="T48" fmla="*/ 0 w 672"/>
                <a:gd name="T49" fmla="*/ 2147483647 h 534"/>
                <a:gd name="T50" fmla="*/ 0 w 672"/>
                <a:gd name="T51" fmla="*/ 2147483647 h 534"/>
                <a:gd name="T52" fmla="*/ 0 w 672"/>
                <a:gd name="T53" fmla="*/ 2147483647 h 534"/>
                <a:gd name="T54" fmla="*/ 0 w 672"/>
                <a:gd name="T55" fmla="*/ 2147483647 h 534"/>
                <a:gd name="T56" fmla="*/ 0 w 672"/>
                <a:gd name="T57" fmla="*/ 2147483647 h 534"/>
                <a:gd name="T58" fmla="*/ 0 w 672"/>
                <a:gd name="T59" fmla="*/ 2147483647 h 534"/>
                <a:gd name="T60" fmla="*/ 0 w 672"/>
                <a:gd name="T61" fmla="*/ 2147483647 h 534"/>
                <a:gd name="T62" fmla="*/ 0 w 672"/>
                <a:gd name="T63" fmla="*/ 2147483647 h 534"/>
                <a:gd name="T64" fmla="*/ 0 w 672"/>
                <a:gd name="T65" fmla="*/ 2147483647 h 534"/>
                <a:gd name="T66" fmla="*/ 0 w 672"/>
                <a:gd name="T67" fmla="*/ 0 h 534"/>
                <a:gd name="T68" fmla="*/ 0 w 672"/>
                <a:gd name="T69" fmla="*/ 0 h 534"/>
                <a:gd name="T70" fmla="*/ 0 w 672"/>
                <a:gd name="T71" fmla="*/ 0 h 534"/>
                <a:gd name="T72" fmla="*/ 0 w 672"/>
                <a:gd name="T73" fmla="*/ 0 h 534"/>
                <a:gd name="T74" fmla="*/ 0 w 672"/>
                <a:gd name="T75" fmla="*/ 0 h 534"/>
                <a:gd name="T76" fmla="*/ 0 w 672"/>
                <a:gd name="T77" fmla="*/ 0 h 534"/>
                <a:gd name="T78" fmla="*/ 0 w 672"/>
                <a:gd name="T79" fmla="*/ 0 h 534"/>
                <a:gd name="T80" fmla="*/ 0 w 672"/>
                <a:gd name="T81" fmla="*/ 0 h 534"/>
                <a:gd name="T82" fmla="*/ 0 w 672"/>
                <a:gd name="T83" fmla="*/ 0 h 534"/>
                <a:gd name="T84" fmla="*/ 0 w 672"/>
                <a:gd name="T85" fmla="*/ 0 h 534"/>
                <a:gd name="T86" fmla="*/ 0 w 672"/>
                <a:gd name="T87" fmla="*/ 0 h 534"/>
                <a:gd name="T88" fmla="*/ 0 w 672"/>
                <a:gd name="T89" fmla="*/ 0 h 534"/>
                <a:gd name="T90" fmla="*/ 2147483647 w 672"/>
                <a:gd name="T91" fmla="*/ 0 h 534"/>
                <a:gd name="T92" fmla="*/ 2147483647 w 672"/>
                <a:gd name="T93" fmla="*/ 0 h 534"/>
                <a:gd name="T94" fmla="*/ 2147483647 w 672"/>
                <a:gd name="T95" fmla="*/ 0 h 534"/>
                <a:gd name="T96" fmla="*/ 2147483647 w 672"/>
                <a:gd name="T97" fmla="*/ 0 h 534"/>
                <a:gd name="T98" fmla="*/ 2147483647 w 672"/>
                <a:gd name="T99" fmla="*/ 0 h 534"/>
                <a:gd name="T100" fmla="*/ 2147483647 w 672"/>
                <a:gd name="T101" fmla="*/ 0 h 534"/>
                <a:gd name="T102" fmla="*/ 2147483647 w 672"/>
                <a:gd name="T103" fmla="*/ 0 h 534"/>
                <a:gd name="T104" fmla="*/ 2147483647 w 672"/>
                <a:gd name="T105" fmla="*/ 0 h 53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672"/>
                <a:gd name="T160" fmla="*/ 0 h 534"/>
                <a:gd name="T161" fmla="*/ 672 w 672"/>
                <a:gd name="T162" fmla="*/ 534 h 53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672" h="534">
                  <a:moveTo>
                    <a:pt x="420" y="83"/>
                  </a:moveTo>
                  <a:lnTo>
                    <a:pt x="420" y="80"/>
                  </a:lnTo>
                  <a:lnTo>
                    <a:pt x="420" y="82"/>
                  </a:lnTo>
                  <a:lnTo>
                    <a:pt x="433" y="81"/>
                  </a:lnTo>
                  <a:lnTo>
                    <a:pt x="439" y="71"/>
                  </a:lnTo>
                  <a:lnTo>
                    <a:pt x="439" y="59"/>
                  </a:lnTo>
                  <a:lnTo>
                    <a:pt x="458" y="8"/>
                  </a:lnTo>
                  <a:lnTo>
                    <a:pt x="466" y="3"/>
                  </a:lnTo>
                  <a:lnTo>
                    <a:pt x="478" y="6"/>
                  </a:lnTo>
                  <a:lnTo>
                    <a:pt x="489" y="0"/>
                  </a:lnTo>
                  <a:lnTo>
                    <a:pt x="503" y="26"/>
                  </a:lnTo>
                  <a:lnTo>
                    <a:pt x="503" y="37"/>
                  </a:lnTo>
                  <a:lnTo>
                    <a:pt x="493" y="49"/>
                  </a:lnTo>
                  <a:lnTo>
                    <a:pt x="495" y="61"/>
                  </a:lnTo>
                  <a:lnTo>
                    <a:pt x="501" y="69"/>
                  </a:lnTo>
                  <a:lnTo>
                    <a:pt x="500" y="76"/>
                  </a:lnTo>
                  <a:lnTo>
                    <a:pt x="501" y="94"/>
                  </a:lnTo>
                  <a:lnTo>
                    <a:pt x="504" y="99"/>
                  </a:lnTo>
                  <a:lnTo>
                    <a:pt x="511" y="102"/>
                  </a:lnTo>
                  <a:lnTo>
                    <a:pt x="525" y="120"/>
                  </a:lnTo>
                  <a:lnTo>
                    <a:pt x="526" y="129"/>
                  </a:lnTo>
                  <a:lnTo>
                    <a:pt x="525" y="139"/>
                  </a:lnTo>
                  <a:lnTo>
                    <a:pt x="527" y="143"/>
                  </a:lnTo>
                  <a:lnTo>
                    <a:pt x="519" y="152"/>
                  </a:lnTo>
                  <a:lnTo>
                    <a:pt x="510" y="172"/>
                  </a:lnTo>
                  <a:lnTo>
                    <a:pt x="500" y="178"/>
                  </a:lnTo>
                  <a:lnTo>
                    <a:pt x="512" y="183"/>
                  </a:lnTo>
                  <a:lnTo>
                    <a:pt x="536" y="178"/>
                  </a:lnTo>
                  <a:lnTo>
                    <a:pt x="554" y="196"/>
                  </a:lnTo>
                  <a:lnTo>
                    <a:pt x="548" y="213"/>
                  </a:lnTo>
                  <a:lnTo>
                    <a:pt x="541" y="215"/>
                  </a:lnTo>
                  <a:lnTo>
                    <a:pt x="531" y="234"/>
                  </a:lnTo>
                  <a:lnTo>
                    <a:pt x="533" y="243"/>
                  </a:lnTo>
                  <a:lnTo>
                    <a:pt x="543" y="222"/>
                  </a:lnTo>
                  <a:lnTo>
                    <a:pt x="551" y="218"/>
                  </a:lnTo>
                  <a:lnTo>
                    <a:pt x="560" y="215"/>
                  </a:lnTo>
                  <a:lnTo>
                    <a:pt x="579" y="218"/>
                  </a:lnTo>
                  <a:lnTo>
                    <a:pt x="594" y="266"/>
                  </a:lnTo>
                  <a:lnTo>
                    <a:pt x="600" y="242"/>
                  </a:lnTo>
                  <a:lnTo>
                    <a:pt x="605" y="240"/>
                  </a:lnTo>
                  <a:lnTo>
                    <a:pt x="600" y="236"/>
                  </a:lnTo>
                  <a:lnTo>
                    <a:pt x="595" y="207"/>
                  </a:lnTo>
                  <a:lnTo>
                    <a:pt x="601" y="196"/>
                  </a:lnTo>
                  <a:lnTo>
                    <a:pt x="606" y="184"/>
                  </a:lnTo>
                  <a:lnTo>
                    <a:pt x="637" y="191"/>
                  </a:lnTo>
                  <a:lnTo>
                    <a:pt x="659" y="215"/>
                  </a:lnTo>
                  <a:lnTo>
                    <a:pt x="671" y="245"/>
                  </a:lnTo>
                  <a:lnTo>
                    <a:pt x="670" y="258"/>
                  </a:lnTo>
                  <a:lnTo>
                    <a:pt x="672" y="265"/>
                  </a:lnTo>
                  <a:lnTo>
                    <a:pt x="672" y="281"/>
                  </a:lnTo>
                  <a:lnTo>
                    <a:pt x="670" y="296"/>
                  </a:lnTo>
                  <a:lnTo>
                    <a:pt x="660" y="304"/>
                  </a:lnTo>
                  <a:lnTo>
                    <a:pt x="654" y="347"/>
                  </a:lnTo>
                  <a:lnTo>
                    <a:pt x="649" y="357"/>
                  </a:lnTo>
                  <a:lnTo>
                    <a:pt x="643" y="385"/>
                  </a:lnTo>
                  <a:lnTo>
                    <a:pt x="635" y="404"/>
                  </a:lnTo>
                  <a:lnTo>
                    <a:pt x="618" y="405"/>
                  </a:lnTo>
                  <a:lnTo>
                    <a:pt x="611" y="410"/>
                  </a:lnTo>
                  <a:lnTo>
                    <a:pt x="600" y="425"/>
                  </a:lnTo>
                  <a:lnTo>
                    <a:pt x="575" y="430"/>
                  </a:lnTo>
                  <a:lnTo>
                    <a:pt x="560" y="423"/>
                  </a:lnTo>
                  <a:lnTo>
                    <a:pt x="552" y="416"/>
                  </a:lnTo>
                  <a:lnTo>
                    <a:pt x="546" y="409"/>
                  </a:lnTo>
                  <a:lnTo>
                    <a:pt x="547" y="395"/>
                  </a:lnTo>
                  <a:lnTo>
                    <a:pt x="526" y="423"/>
                  </a:lnTo>
                  <a:lnTo>
                    <a:pt x="509" y="425"/>
                  </a:lnTo>
                  <a:lnTo>
                    <a:pt x="490" y="421"/>
                  </a:lnTo>
                  <a:lnTo>
                    <a:pt x="500" y="411"/>
                  </a:lnTo>
                  <a:lnTo>
                    <a:pt x="492" y="398"/>
                  </a:lnTo>
                  <a:lnTo>
                    <a:pt x="492" y="389"/>
                  </a:lnTo>
                  <a:lnTo>
                    <a:pt x="484" y="394"/>
                  </a:lnTo>
                  <a:lnTo>
                    <a:pt x="481" y="405"/>
                  </a:lnTo>
                  <a:lnTo>
                    <a:pt x="472" y="416"/>
                  </a:lnTo>
                  <a:lnTo>
                    <a:pt x="461" y="421"/>
                  </a:lnTo>
                  <a:lnTo>
                    <a:pt x="450" y="435"/>
                  </a:lnTo>
                  <a:lnTo>
                    <a:pt x="425" y="442"/>
                  </a:lnTo>
                  <a:lnTo>
                    <a:pt x="414" y="442"/>
                  </a:lnTo>
                  <a:lnTo>
                    <a:pt x="386" y="457"/>
                  </a:lnTo>
                  <a:lnTo>
                    <a:pt x="387" y="466"/>
                  </a:lnTo>
                  <a:lnTo>
                    <a:pt x="383" y="475"/>
                  </a:lnTo>
                  <a:lnTo>
                    <a:pt x="376" y="480"/>
                  </a:lnTo>
                  <a:lnTo>
                    <a:pt x="375" y="485"/>
                  </a:lnTo>
                  <a:lnTo>
                    <a:pt x="358" y="495"/>
                  </a:lnTo>
                  <a:lnTo>
                    <a:pt x="348" y="497"/>
                  </a:lnTo>
                  <a:lnTo>
                    <a:pt x="347" y="502"/>
                  </a:lnTo>
                  <a:lnTo>
                    <a:pt x="332" y="503"/>
                  </a:lnTo>
                  <a:lnTo>
                    <a:pt x="325" y="514"/>
                  </a:lnTo>
                  <a:lnTo>
                    <a:pt x="299" y="528"/>
                  </a:lnTo>
                  <a:lnTo>
                    <a:pt x="277" y="534"/>
                  </a:lnTo>
                  <a:lnTo>
                    <a:pt x="231" y="530"/>
                  </a:lnTo>
                  <a:lnTo>
                    <a:pt x="202" y="512"/>
                  </a:lnTo>
                  <a:lnTo>
                    <a:pt x="184" y="495"/>
                  </a:lnTo>
                  <a:lnTo>
                    <a:pt x="177" y="482"/>
                  </a:lnTo>
                  <a:lnTo>
                    <a:pt x="177" y="478"/>
                  </a:lnTo>
                  <a:lnTo>
                    <a:pt x="181" y="466"/>
                  </a:lnTo>
                  <a:lnTo>
                    <a:pt x="191" y="455"/>
                  </a:lnTo>
                  <a:lnTo>
                    <a:pt x="198" y="454"/>
                  </a:lnTo>
                  <a:lnTo>
                    <a:pt x="212" y="446"/>
                  </a:lnTo>
                  <a:lnTo>
                    <a:pt x="224" y="443"/>
                  </a:lnTo>
                  <a:lnTo>
                    <a:pt x="229" y="448"/>
                  </a:lnTo>
                  <a:lnTo>
                    <a:pt x="235" y="447"/>
                  </a:lnTo>
                  <a:lnTo>
                    <a:pt x="242" y="441"/>
                  </a:lnTo>
                  <a:lnTo>
                    <a:pt x="242" y="431"/>
                  </a:lnTo>
                  <a:lnTo>
                    <a:pt x="253" y="415"/>
                  </a:lnTo>
                  <a:lnTo>
                    <a:pt x="304" y="408"/>
                  </a:lnTo>
                  <a:lnTo>
                    <a:pt x="315" y="409"/>
                  </a:lnTo>
                  <a:lnTo>
                    <a:pt x="317" y="420"/>
                  </a:lnTo>
                  <a:lnTo>
                    <a:pt x="327" y="420"/>
                  </a:lnTo>
                  <a:lnTo>
                    <a:pt x="334" y="404"/>
                  </a:lnTo>
                  <a:lnTo>
                    <a:pt x="344" y="396"/>
                  </a:lnTo>
                  <a:lnTo>
                    <a:pt x="350" y="383"/>
                  </a:lnTo>
                  <a:lnTo>
                    <a:pt x="363" y="372"/>
                  </a:lnTo>
                  <a:lnTo>
                    <a:pt x="368" y="362"/>
                  </a:lnTo>
                  <a:lnTo>
                    <a:pt x="366" y="352"/>
                  </a:lnTo>
                  <a:lnTo>
                    <a:pt x="355" y="352"/>
                  </a:lnTo>
                  <a:lnTo>
                    <a:pt x="343" y="376"/>
                  </a:lnTo>
                  <a:lnTo>
                    <a:pt x="331" y="372"/>
                  </a:lnTo>
                  <a:lnTo>
                    <a:pt x="294" y="383"/>
                  </a:lnTo>
                  <a:lnTo>
                    <a:pt x="289" y="372"/>
                  </a:lnTo>
                  <a:lnTo>
                    <a:pt x="293" y="361"/>
                  </a:lnTo>
                  <a:lnTo>
                    <a:pt x="278" y="372"/>
                  </a:lnTo>
                  <a:lnTo>
                    <a:pt x="277" y="358"/>
                  </a:lnTo>
                  <a:lnTo>
                    <a:pt x="272" y="356"/>
                  </a:lnTo>
                  <a:lnTo>
                    <a:pt x="270" y="376"/>
                  </a:lnTo>
                  <a:lnTo>
                    <a:pt x="263" y="389"/>
                  </a:lnTo>
                  <a:lnTo>
                    <a:pt x="251" y="392"/>
                  </a:lnTo>
                  <a:lnTo>
                    <a:pt x="247" y="379"/>
                  </a:lnTo>
                  <a:lnTo>
                    <a:pt x="239" y="394"/>
                  </a:lnTo>
                  <a:lnTo>
                    <a:pt x="224" y="398"/>
                  </a:lnTo>
                  <a:lnTo>
                    <a:pt x="207" y="408"/>
                  </a:lnTo>
                  <a:lnTo>
                    <a:pt x="200" y="396"/>
                  </a:lnTo>
                  <a:lnTo>
                    <a:pt x="202" y="389"/>
                  </a:lnTo>
                  <a:lnTo>
                    <a:pt x="215" y="373"/>
                  </a:lnTo>
                  <a:lnTo>
                    <a:pt x="212" y="372"/>
                  </a:lnTo>
                  <a:lnTo>
                    <a:pt x="209" y="357"/>
                  </a:lnTo>
                  <a:lnTo>
                    <a:pt x="210" y="340"/>
                  </a:lnTo>
                  <a:lnTo>
                    <a:pt x="225" y="330"/>
                  </a:lnTo>
                  <a:lnTo>
                    <a:pt x="235" y="319"/>
                  </a:lnTo>
                  <a:lnTo>
                    <a:pt x="227" y="319"/>
                  </a:lnTo>
                  <a:lnTo>
                    <a:pt x="218" y="329"/>
                  </a:lnTo>
                  <a:lnTo>
                    <a:pt x="199" y="324"/>
                  </a:lnTo>
                  <a:lnTo>
                    <a:pt x="191" y="363"/>
                  </a:lnTo>
                  <a:lnTo>
                    <a:pt x="186" y="367"/>
                  </a:lnTo>
                  <a:lnTo>
                    <a:pt x="180" y="349"/>
                  </a:lnTo>
                  <a:lnTo>
                    <a:pt x="171" y="346"/>
                  </a:lnTo>
                  <a:lnTo>
                    <a:pt x="170" y="363"/>
                  </a:lnTo>
                  <a:lnTo>
                    <a:pt x="178" y="376"/>
                  </a:lnTo>
                  <a:lnTo>
                    <a:pt x="177" y="394"/>
                  </a:lnTo>
                  <a:lnTo>
                    <a:pt x="171" y="396"/>
                  </a:lnTo>
                  <a:lnTo>
                    <a:pt x="155" y="416"/>
                  </a:lnTo>
                  <a:lnTo>
                    <a:pt x="143" y="415"/>
                  </a:lnTo>
                  <a:lnTo>
                    <a:pt x="138" y="396"/>
                  </a:lnTo>
                  <a:lnTo>
                    <a:pt x="138" y="378"/>
                  </a:lnTo>
                  <a:lnTo>
                    <a:pt x="124" y="389"/>
                  </a:lnTo>
                  <a:lnTo>
                    <a:pt x="113" y="388"/>
                  </a:lnTo>
                  <a:lnTo>
                    <a:pt x="114" y="405"/>
                  </a:lnTo>
                  <a:lnTo>
                    <a:pt x="114" y="420"/>
                  </a:lnTo>
                  <a:lnTo>
                    <a:pt x="102" y="417"/>
                  </a:lnTo>
                  <a:lnTo>
                    <a:pt x="80" y="399"/>
                  </a:lnTo>
                  <a:lnTo>
                    <a:pt x="85" y="389"/>
                  </a:lnTo>
                  <a:lnTo>
                    <a:pt x="76" y="383"/>
                  </a:lnTo>
                  <a:lnTo>
                    <a:pt x="78" y="369"/>
                  </a:lnTo>
                  <a:lnTo>
                    <a:pt x="64" y="374"/>
                  </a:lnTo>
                  <a:lnTo>
                    <a:pt x="58" y="388"/>
                  </a:lnTo>
                  <a:lnTo>
                    <a:pt x="25" y="379"/>
                  </a:lnTo>
                  <a:lnTo>
                    <a:pt x="10" y="372"/>
                  </a:lnTo>
                  <a:lnTo>
                    <a:pt x="0" y="358"/>
                  </a:lnTo>
                  <a:lnTo>
                    <a:pt x="1" y="351"/>
                  </a:lnTo>
                  <a:lnTo>
                    <a:pt x="11" y="325"/>
                  </a:lnTo>
                  <a:lnTo>
                    <a:pt x="24" y="309"/>
                  </a:lnTo>
                  <a:lnTo>
                    <a:pt x="51" y="307"/>
                  </a:lnTo>
                  <a:lnTo>
                    <a:pt x="87" y="309"/>
                  </a:lnTo>
                  <a:lnTo>
                    <a:pt x="94" y="306"/>
                  </a:lnTo>
                  <a:lnTo>
                    <a:pt x="105" y="291"/>
                  </a:lnTo>
                  <a:lnTo>
                    <a:pt x="130" y="276"/>
                  </a:lnTo>
                  <a:lnTo>
                    <a:pt x="140" y="259"/>
                  </a:lnTo>
                  <a:lnTo>
                    <a:pt x="122" y="272"/>
                  </a:lnTo>
                  <a:lnTo>
                    <a:pt x="101" y="276"/>
                  </a:lnTo>
                  <a:lnTo>
                    <a:pt x="86" y="288"/>
                  </a:lnTo>
                  <a:lnTo>
                    <a:pt x="60" y="297"/>
                  </a:lnTo>
                  <a:lnTo>
                    <a:pt x="22" y="293"/>
                  </a:lnTo>
                  <a:lnTo>
                    <a:pt x="22" y="270"/>
                  </a:lnTo>
                  <a:lnTo>
                    <a:pt x="33" y="245"/>
                  </a:lnTo>
                  <a:lnTo>
                    <a:pt x="76" y="240"/>
                  </a:lnTo>
                  <a:lnTo>
                    <a:pt x="103" y="231"/>
                  </a:lnTo>
                  <a:lnTo>
                    <a:pt x="144" y="226"/>
                  </a:lnTo>
                  <a:lnTo>
                    <a:pt x="157" y="212"/>
                  </a:lnTo>
                  <a:lnTo>
                    <a:pt x="134" y="222"/>
                  </a:lnTo>
                  <a:lnTo>
                    <a:pt x="55" y="231"/>
                  </a:lnTo>
                  <a:lnTo>
                    <a:pt x="47" y="225"/>
                  </a:lnTo>
                  <a:lnTo>
                    <a:pt x="47" y="210"/>
                  </a:lnTo>
                  <a:lnTo>
                    <a:pt x="53" y="200"/>
                  </a:lnTo>
                  <a:lnTo>
                    <a:pt x="60" y="196"/>
                  </a:lnTo>
                  <a:lnTo>
                    <a:pt x="58" y="188"/>
                  </a:lnTo>
                  <a:lnTo>
                    <a:pt x="51" y="179"/>
                  </a:lnTo>
                  <a:lnTo>
                    <a:pt x="62" y="158"/>
                  </a:lnTo>
                  <a:lnTo>
                    <a:pt x="76" y="151"/>
                  </a:lnTo>
                  <a:lnTo>
                    <a:pt x="103" y="153"/>
                  </a:lnTo>
                  <a:lnTo>
                    <a:pt x="118" y="151"/>
                  </a:lnTo>
                  <a:lnTo>
                    <a:pt x="156" y="159"/>
                  </a:lnTo>
                  <a:lnTo>
                    <a:pt x="161" y="154"/>
                  </a:lnTo>
                  <a:lnTo>
                    <a:pt x="151" y="154"/>
                  </a:lnTo>
                  <a:lnTo>
                    <a:pt x="144" y="143"/>
                  </a:lnTo>
                  <a:lnTo>
                    <a:pt x="100" y="139"/>
                  </a:lnTo>
                  <a:lnTo>
                    <a:pt x="92" y="129"/>
                  </a:lnTo>
                  <a:lnTo>
                    <a:pt x="101" y="103"/>
                  </a:lnTo>
                  <a:lnTo>
                    <a:pt x="113" y="88"/>
                  </a:lnTo>
                  <a:lnTo>
                    <a:pt x="138" y="88"/>
                  </a:lnTo>
                  <a:lnTo>
                    <a:pt x="146" y="78"/>
                  </a:lnTo>
                  <a:lnTo>
                    <a:pt x="166" y="78"/>
                  </a:lnTo>
                  <a:lnTo>
                    <a:pt x="180" y="83"/>
                  </a:lnTo>
                  <a:lnTo>
                    <a:pt x="191" y="97"/>
                  </a:lnTo>
                  <a:lnTo>
                    <a:pt x="191" y="116"/>
                  </a:lnTo>
                  <a:lnTo>
                    <a:pt x="186" y="124"/>
                  </a:lnTo>
                  <a:lnTo>
                    <a:pt x="192" y="147"/>
                  </a:lnTo>
                  <a:lnTo>
                    <a:pt x="219" y="147"/>
                  </a:lnTo>
                  <a:lnTo>
                    <a:pt x="234" y="136"/>
                  </a:lnTo>
                  <a:lnTo>
                    <a:pt x="258" y="135"/>
                  </a:lnTo>
                  <a:lnTo>
                    <a:pt x="258" y="148"/>
                  </a:lnTo>
                  <a:lnTo>
                    <a:pt x="280" y="152"/>
                  </a:lnTo>
                  <a:lnTo>
                    <a:pt x="288" y="179"/>
                  </a:lnTo>
                  <a:lnTo>
                    <a:pt x="302" y="200"/>
                  </a:lnTo>
                  <a:lnTo>
                    <a:pt x="312" y="200"/>
                  </a:lnTo>
                  <a:lnTo>
                    <a:pt x="321" y="210"/>
                  </a:lnTo>
                  <a:lnTo>
                    <a:pt x="301" y="223"/>
                  </a:lnTo>
                  <a:lnTo>
                    <a:pt x="300" y="234"/>
                  </a:lnTo>
                  <a:lnTo>
                    <a:pt x="310" y="237"/>
                  </a:lnTo>
                  <a:lnTo>
                    <a:pt x="336" y="227"/>
                  </a:lnTo>
                  <a:lnTo>
                    <a:pt x="336" y="232"/>
                  </a:lnTo>
                  <a:lnTo>
                    <a:pt x="339" y="239"/>
                  </a:lnTo>
                  <a:lnTo>
                    <a:pt x="342" y="250"/>
                  </a:lnTo>
                  <a:lnTo>
                    <a:pt x="336" y="258"/>
                  </a:lnTo>
                  <a:lnTo>
                    <a:pt x="340" y="256"/>
                  </a:lnTo>
                  <a:lnTo>
                    <a:pt x="344" y="271"/>
                  </a:lnTo>
                  <a:lnTo>
                    <a:pt x="343" y="287"/>
                  </a:lnTo>
                  <a:lnTo>
                    <a:pt x="349" y="297"/>
                  </a:lnTo>
                  <a:lnTo>
                    <a:pt x="359" y="298"/>
                  </a:lnTo>
                  <a:lnTo>
                    <a:pt x="366" y="297"/>
                  </a:lnTo>
                  <a:lnTo>
                    <a:pt x="371" y="292"/>
                  </a:lnTo>
                  <a:lnTo>
                    <a:pt x="377" y="293"/>
                  </a:lnTo>
                  <a:lnTo>
                    <a:pt x="395" y="288"/>
                  </a:lnTo>
                  <a:lnTo>
                    <a:pt x="399" y="297"/>
                  </a:lnTo>
                  <a:lnTo>
                    <a:pt x="419" y="293"/>
                  </a:lnTo>
                  <a:lnTo>
                    <a:pt x="469" y="303"/>
                  </a:lnTo>
                  <a:lnTo>
                    <a:pt x="478" y="301"/>
                  </a:lnTo>
                  <a:lnTo>
                    <a:pt x="482" y="283"/>
                  </a:lnTo>
                  <a:lnTo>
                    <a:pt x="482" y="261"/>
                  </a:lnTo>
                  <a:lnTo>
                    <a:pt x="468" y="245"/>
                  </a:lnTo>
                  <a:lnTo>
                    <a:pt x="462" y="233"/>
                  </a:lnTo>
                  <a:lnTo>
                    <a:pt x="450" y="236"/>
                  </a:lnTo>
                  <a:lnTo>
                    <a:pt x="444" y="229"/>
                  </a:lnTo>
                  <a:lnTo>
                    <a:pt x="440" y="221"/>
                  </a:lnTo>
                  <a:lnTo>
                    <a:pt x="431" y="227"/>
                  </a:lnTo>
                  <a:lnTo>
                    <a:pt x="425" y="218"/>
                  </a:lnTo>
                  <a:lnTo>
                    <a:pt x="449" y="204"/>
                  </a:lnTo>
                  <a:lnTo>
                    <a:pt x="451" y="193"/>
                  </a:lnTo>
                  <a:lnTo>
                    <a:pt x="462" y="190"/>
                  </a:lnTo>
                  <a:lnTo>
                    <a:pt x="456" y="163"/>
                  </a:lnTo>
                  <a:lnTo>
                    <a:pt x="450" y="152"/>
                  </a:lnTo>
                  <a:lnTo>
                    <a:pt x="440" y="148"/>
                  </a:lnTo>
                  <a:lnTo>
                    <a:pt x="438" y="142"/>
                  </a:lnTo>
                  <a:lnTo>
                    <a:pt x="424" y="139"/>
                  </a:lnTo>
                  <a:lnTo>
                    <a:pt x="402" y="120"/>
                  </a:lnTo>
                  <a:lnTo>
                    <a:pt x="401" y="110"/>
                  </a:lnTo>
                  <a:lnTo>
                    <a:pt x="401" y="100"/>
                  </a:lnTo>
                  <a:lnTo>
                    <a:pt x="396" y="93"/>
                  </a:lnTo>
                  <a:lnTo>
                    <a:pt x="412" y="89"/>
                  </a:lnTo>
                  <a:lnTo>
                    <a:pt x="420" y="8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64" name="Freeform 289">
              <a:extLst>
                <a:ext uri="{FF2B5EF4-FFF2-40B4-BE49-F238E27FC236}">
                  <a16:creationId xmlns:a16="http://schemas.microsoft.com/office/drawing/2014/main" id="{76DED15D-5EBF-37D2-95F9-B07F22B0142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175136" y="394796"/>
              <a:ext cx="213405" cy="234730"/>
            </a:xfrm>
            <a:custGeom>
              <a:avLst/>
              <a:gdLst>
                <a:gd name="T0" fmla="*/ 0 w 399"/>
                <a:gd name="T1" fmla="*/ 0 h 411"/>
                <a:gd name="T2" fmla="*/ 0 w 399"/>
                <a:gd name="T3" fmla="*/ 0 h 411"/>
                <a:gd name="T4" fmla="*/ 0 w 399"/>
                <a:gd name="T5" fmla="*/ 0 h 411"/>
                <a:gd name="T6" fmla="*/ 0 w 399"/>
                <a:gd name="T7" fmla="*/ 0 h 411"/>
                <a:gd name="T8" fmla="*/ 0 w 399"/>
                <a:gd name="T9" fmla="*/ 0 h 411"/>
                <a:gd name="T10" fmla="*/ 0 w 399"/>
                <a:gd name="T11" fmla="*/ 0 h 411"/>
                <a:gd name="T12" fmla="*/ 0 w 399"/>
                <a:gd name="T13" fmla="*/ 0 h 411"/>
                <a:gd name="T14" fmla="*/ 0 w 399"/>
                <a:gd name="T15" fmla="*/ 0 h 411"/>
                <a:gd name="T16" fmla="*/ 0 w 399"/>
                <a:gd name="T17" fmla="*/ 0 h 411"/>
                <a:gd name="T18" fmla="*/ 2147483647 w 399"/>
                <a:gd name="T19" fmla="*/ 0 h 411"/>
                <a:gd name="T20" fmla="*/ 0 w 399"/>
                <a:gd name="T21" fmla="*/ 0 h 411"/>
                <a:gd name="T22" fmla="*/ 2147483647 w 399"/>
                <a:gd name="T23" fmla="*/ 0 h 411"/>
                <a:gd name="T24" fmla="*/ 2147483647 w 399"/>
                <a:gd name="T25" fmla="*/ 0 h 411"/>
                <a:gd name="T26" fmla="*/ 2147483647 w 399"/>
                <a:gd name="T27" fmla="*/ 0 h 411"/>
                <a:gd name="T28" fmla="*/ 2147483647 w 399"/>
                <a:gd name="T29" fmla="*/ 0 h 411"/>
                <a:gd name="T30" fmla="*/ 2147483647 w 399"/>
                <a:gd name="T31" fmla="*/ 0 h 411"/>
                <a:gd name="T32" fmla="*/ 2147483647 w 399"/>
                <a:gd name="T33" fmla="*/ 0 h 411"/>
                <a:gd name="T34" fmla="*/ 2147483647 w 399"/>
                <a:gd name="T35" fmla="*/ 0 h 411"/>
                <a:gd name="T36" fmla="*/ 2147483647 w 399"/>
                <a:gd name="T37" fmla="*/ 0 h 411"/>
                <a:gd name="T38" fmla="*/ 2147483647 w 399"/>
                <a:gd name="T39" fmla="*/ 0 h 411"/>
                <a:gd name="T40" fmla="*/ 2147483647 w 399"/>
                <a:gd name="T41" fmla="*/ 0 h 411"/>
                <a:gd name="T42" fmla="*/ 0 w 399"/>
                <a:gd name="T43" fmla="*/ 0 h 411"/>
                <a:gd name="T44" fmla="*/ 0 w 399"/>
                <a:gd name="T45" fmla="*/ 0 h 411"/>
                <a:gd name="T46" fmla="*/ 0 w 399"/>
                <a:gd name="T47" fmla="*/ 0 h 411"/>
                <a:gd name="T48" fmla="*/ 0 w 399"/>
                <a:gd name="T49" fmla="*/ 0 h 411"/>
                <a:gd name="T50" fmla="*/ 0 w 399"/>
                <a:gd name="T51" fmla="*/ 0 h 411"/>
                <a:gd name="T52" fmla="*/ 0 w 399"/>
                <a:gd name="T53" fmla="*/ 0 h 411"/>
                <a:gd name="T54" fmla="*/ 0 w 399"/>
                <a:gd name="T55" fmla="*/ 0 h 411"/>
                <a:gd name="T56" fmla="*/ 0 w 399"/>
                <a:gd name="T57" fmla="*/ 0 h 411"/>
                <a:gd name="T58" fmla="*/ 0 w 399"/>
                <a:gd name="T59" fmla="*/ 0 h 411"/>
                <a:gd name="T60" fmla="*/ 0 w 399"/>
                <a:gd name="T61" fmla="*/ 2147483647 h 411"/>
                <a:gd name="T62" fmla="*/ 0 w 399"/>
                <a:gd name="T63" fmla="*/ 2147483647 h 411"/>
                <a:gd name="T64" fmla="*/ 0 w 399"/>
                <a:gd name="T65" fmla="*/ 0 h 411"/>
                <a:gd name="T66" fmla="*/ 0 w 399"/>
                <a:gd name="T67" fmla="*/ 2147483647 h 411"/>
                <a:gd name="T68" fmla="*/ 0 w 399"/>
                <a:gd name="T69" fmla="*/ 2147483647 h 411"/>
                <a:gd name="T70" fmla="*/ 0 w 399"/>
                <a:gd name="T71" fmla="*/ 2147483647 h 411"/>
                <a:gd name="T72" fmla="*/ 0 w 399"/>
                <a:gd name="T73" fmla="*/ 2147483647 h 411"/>
                <a:gd name="T74" fmla="*/ 0 w 399"/>
                <a:gd name="T75" fmla="*/ 2147483647 h 411"/>
                <a:gd name="T76" fmla="*/ 0 w 399"/>
                <a:gd name="T77" fmla="*/ 2147483647 h 411"/>
                <a:gd name="T78" fmla="*/ 0 w 399"/>
                <a:gd name="T79" fmla="*/ 2147483647 h 411"/>
                <a:gd name="T80" fmla="*/ 0 w 399"/>
                <a:gd name="T81" fmla="*/ 2147483647 h 411"/>
                <a:gd name="T82" fmla="*/ 0 w 399"/>
                <a:gd name="T83" fmla="*/ 2147483647 h 411"/>
                <a:gd name="T84" fmla="*/ 0 w 399"/>
                <a:gd name="T85" fmla="*/ 2147483647 h 411"/>
                <a:gd name="T86" fmla="*/ 0 w 399"/>
                <a:gd name="T87" fmla="*/ 2147483647 h 411"/>
                <a:gd name="T88" fmla="*/ 0 w 399"/>
                <a:gd name="T89" fmla="*/ 2147483647 h 411"/>
                <a:gd name="T90" fmla="*/ 0 w 399"/>
                <a:gd name="T91" fmla="*/ 2147483647 h 411"/>
                <a:gd name="T92" fmla="*/ 0 w 399"/>
                <a:gd name="T93" fmla="*/ 2147483647 h 411"/>
                <a:gd name="T94" fmla="*/ 0 w 399"/>
                <a:gd name="T95" fmla="*/ 0 h 411"/>
                <a:gd name="T96" fmla="*/ 0 w 399"/>
                <a:gd name="T97" fmla="*/ 0 h 411"/>
                <a:gd name="T98" fmla="*/ 0 w 399"/>
                <a:gd name="T99" fmla="*/ 0 h 411"/>
                <a:gd name="T100" fmla="*/ 0 w 399"/>
                <a:gd name="T101" fmla="*/ 0 h 411"/>
                <a:gd name="T102" fmla="*/ 0 w 399"/>
                <a:gd name="T103" fmla="*/ 0 h 411"/>
                <a:gd name="T104" fmla="*/ 0 w 399"/>
                <a:gd name="T105" fmla="*/ 0 h 411"/>
                <a:gd name="T106" fmla="*/ 0 w 399"/>
                <a:gd name="T107" fmla="*/ 0 h 411"/>
                <a:gd name="T108" fmla="*/ 0 w 399"/>
                <a:gd name="T109" fmla="*/ 0 h 41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99"/>
                <a:gd name="T166" fmla="*/ 0 h 411"/>
                <a:gd name="T167" fmla="*/ 399 w 399"/>
                <a:gd name="T168" fmla="*/ 411 h 41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99" h="411">
                  <a:moveTo>
                    <a:pt x="154" y="134"/>
                  </a:moveTo>
                  <a:lnTo>
                    <a:pt x="156" y="136"/>
                  </a:lnTo>
                  <a:lnTo>
                    <a:pt x="157" y="126"/>
                  </a:lnTo>
                  <a:lnTo>
                    <a:pt x="166" y="120"/>
                  </a:lnTo>
                  <a:lnTo>
                    <a:pt x="170" y="109"/>
                  </a:lnTo>
                  <a:lnTo>
                    <a:pt x="177" y="100"/>
                  </a:lnTo>
                  <a:lnTo>
                    <a:pt x="184" y="99"/>
                  </a:lnTo>
                  <a:lnTo>
                    <a:pt x="187" y="89"/>
                  </a:lnTo>
                  <a:lnTo>
                    <a:pt x="197" y="75"/>
                  </a:lnTo>
                  <a:lnTo>
                    <a:pt x="198" y="61"/>
                  </a:lnTo>
                  <a:lnTo>
                    <a:pt x="221" y="57"/>
                  </a:lnTo>
                  <a:lnTo>
                    <a:pt x="224" y="48"/>
                  </a:lnTo>
                  <a:lnTo>
                    <a:pt x="232" y="49"/>
                  </a:lnTo>
                  <a:lnTo>
                    <a:pt x="238" y="57"/>
                  </a:lnTo>
                  <a:lnTo>
                    <a:pt x="242" y="51"/>
                  </a:lnTo>
                  <a:lnTo>
                    <a:pt x="256" y="50"/>
                  </a:lnTo>
                  <a:lnTo>
                    <a:pt x="260" y="45"/>
                  </a:lnTo>
                  <a:lnTo>
                    <a:pt x="269" y="44"/>
                  </a:lnTo>
                  <a:lnTo>
                    <a:pt x="267" y="60"/>
                  </a:lnTo>
                  <a:lnTo>
                    <a:pt x="270" y="76"/>
                  </a:lnTo>
                  <a:lnTo>
                    <a:pt x="274" y="72"/>
                  </a:lnTo>
                  <a:lnTo>
                    <a:pt x="271" y="57"/>
                  </a:lnTo>
                  <a:lnTo>
                    <a:pt x="275" y="48"/>
                  </a:lnTo>
                  <a:lnTo>
                    <a:pt x="285" y="59"/>
                  </a:lnTo>
                  <a:lnTo>
                    <a:pt x="298" y="66"/>
                  </a:lnTo>
                  <a:lnTo>
                    <a:pt x="306" y="66"/>
                  </a:lnTo>
                  <a:lnTo>
                    <a:pt x="303" y="57"/>
                  </a:lnTo>
                  <a:lnTo>
                    <a:pt x="319" y="61"/>
                  </a:lnTo>
                  <a:lnTo>
                    <a:pt x="330" y="49"/>
                  </a:lnTo>
                  <a:lnTo>
                    <a:pt x="329" y="43"/>
                  </a:lnTo>
                  <a:lnTo>
                    <a:pt x="322" y="44"/>
                  </a:lnTo>
                  <a:lnTo>
                    <a:pt x="313" y="37"/>
                  </a:lnTo>
                  <a:lnTo>
                    <a:pt x="307" y="23"/>
                  </a:lnTo>
                  <a:lnTo>
                    <a:pt x="317" y="19"/>
                  </a:lnTo>
                  <a:lnTo>
                    <a:pt x="323" y="7"/>
                  </a:lnTo>
                  <a:lnTo>
                    <a:pt x="343" y="0"/>
                  </a:lnTo>
                  <a:lnTo>
                    <a:pt x="365" y="18"/>
                  </a:lnTo>
                  <a:lnTo>
                    <a:pt x="365" y="24"/>
                  </a:lnTo>
                  <a:lnTo>
                    <a:pt x="382" y="37"/>
                  </a:lnTo>
                  <a:lnTo>
                    <a:pt x="399" y="57"/>
                  </a:lnTo>
                  <a:lnTo>
                    <a:pt x="399" y="66"/>
                  </a:lnTo>
                  <a:lnTo>
                    <a:pt x="397" y="72"/>
                  </a:lnTo>
                  <a:lnTo>
                    <a:pt x="384" y="77"/>
                  </a:lnTo>
                  <a:lnTo>
                    <a:pt x="381" y="85"/>
                  </a:lnTo>
                  <a:lnTo>
                    <a:pt x="356" y="91"/>
                  </a:lnTo>
                  <a:lnTo>
                    <a:pt x="349" y="99"/>
                  </a:lnTo>
                  <a:lnTo>
                    <a:pt x="348" y="108"/>
                  </a:lnTo>
                  <a:lnTo>
                    <a:pt x="353" y="119"/>
                  </a:lnTo>
                  <a:lnTo>
                    <a:pt x="376" y="148"/>
                  </a:lnTo>
                  <a:lnTo>
                    <a:pt x="377" y="159"/>
                  </a:lnTo>
                  <a:lnTo>
                    <a:pt x="369" y="159"/>
                  </a:lnTo>
                  <a:lnTo>
                    <a:pt x="360" y="152"/>
                  </a:lnTo>
                  <a:lnTo>
                    <a:pt x="353" y="159"/>
                  </a:lnTo>
                  <a:lnTo>
                    <a:pt x="355" y="173"/>
                  </a:lnTo>
                  <a:lnTo>
                    <a:pt x="364" y="174"/>
                  </a:lnTo>
                  <a:lnTo>
                    <a:pt x="366" y="186"/>
                  </a:lnTo>
                  <a:lnTo>
                    <a:pt x="370" y="190"/>
                  </a:lnTo>
                  <a:lnTo>
                    <a:pt x="375" y="210"/>
                  </a:lnTo>
                  <a:lnTo>
                    <a:pt x="366" y="222"/>
                  </a:lnTo>
                  <a:lnTo>
                    <a:pt x="350" y="237"/>
                  </a:lnTo>
                  <a:lnTo>
                    <a:pt x="324" y="237"/>
                  </a:lnTo>
                  <a:lnTo>
                    <a:pt x="318" y="244"/>
                  </a:lnTo>
                  <a:lnTo>
                    <a:pt x="314" y="258"/>
                  </a:lnTo>
                  <a:lnTo>
                    <a:pt x="317" y="288"/>
                  </a:lnTo>
                  <a:lnTo>
                    <a:pt x="313" y="302"/>
                  </a:lnTo>
                  <a:lnTo>
                    <a:pt x="300" y="309"/>
                  </a:lnTo>
                  <a:lnTo>
                    <a:pt x="287" y="307"/>
                  </a:lnTo>
                  <a:lnTo>
                    <a:pt x="265" y="269"/>
                  </a:lnTo>
                  <a:lnTo>
                    <a:pt x="265" y="253"/>
                  </a:lnTo>
                  <a:lnTo>
                    <a:pt x="269" y="237"/>
                  </a:lnTo>
                  <a:lnTo>
                    <a:pt x="268" y="220"/>
                  </a:lnTo>
                  <a:lnTo>
                    <a:pt x="275" y="195"/>
                  </a:lnTo>
                  <a:lnTo>
                    <a:pt x="276" y="183"/>
                  </a:lnTo>
                  <a:lnTo>
                    <a:pt x="270" y="182"/>
                  </a:lnTo>
                  <a:lnTo>
                    <a:pt x="262" y="193"/>
                  </a:lnTo>
                  <a:lnTo>
                    <a:pt x="246" y="189"/>
                  </a:lnTo>
                  <a:lnTo>
                    <a:pt x="244" y="200"/>
                  </a:lnTo>
                  <a:lnTo>
                    <a:pt x="244" y="206"/>
                  </a:lnTo>
                  <a:lnTo>
                    <a:pt x="237" y="213"/>
                  </a:lnTo>
                  <a:lnTo>
                    <a:pt x="243" y="220"/>
                  </a:lnTo>
                  <a:lnTo>
                    <a:pt x="244" y="244"/>
                  </a:lnTo>
                  <a:lnTo>
                    <a:pt x="235" y="255"/>
                  </a:lnTo>
                  <a:lnTo>
                    <a:pt x="225" y="242"/>
                  </a:lnTo>
                  <a:lnTo>
                    <a:pt x="216" y="239"/>
                  </a:lnTo>
                  <a:lnTo>
                    <a:pt x="216" y="247"/>
                  </a:lnTo>
                  <a:lnTo>
                    <a:pt x="211" y="256"/>
                  </a:lnTo>
                  <a:lnTo>
                    <a:pt x="217" y="264"/>
                  </a:lnTo>
                  <a:lnTo>
                    <a:pt x="227" y="268"/>
                  </a:lnTo>
                  <a:lnTo>
                    <a:pt x="233" y="291"/>
                  </a:lnTo>
                  <a:lnTo>
                    <a:pt x="231" y="302"/>
                  </a:lnTo>
                  <a:lnTo>
                    <a:pt x="216" y="311"/>
                  </a:lnTo>
                  <a:lnTo>
                    <a:pt x="215" y="331"/>
                  </a:lnTo>
                  <a:lnTo>
                    <a:pt x="211" y="342"/>
                  </a:lnTo>
                  <a:lnTo>
                    <a:pt x="209" y="340"/>
                  </a:lnTo>
                  <a:lnTo>
                    <a:pt x="201" y="344"/>
                  </a:lnTo>
                  <a:lnTo>
                    <a:pt x="195" y="324"/>
                  </a:lnTo>
                  <a:lnTo>
                    <a:pt x="188" y="308"/>
                  </a:lnTo>
                  <a:lnTo>
                    <a:pt x="185" y="287"/>
                  </a:lnTo>
                  <a:lnTo>
                    <a:pt x="181" y="295"/>
                  </a:lnTo>
                  <a:lnTo>
                    <a:pt x="173" y="290"/>
                  </a:lnTo>
                  <a:lnTo>
                    <a:pt x="172" y="301"/>
                  </a:lnTo>
                  <a:lnTo>
                    <a:pt x="174" y="318"/>
                  </a:lnTo>
                  <a:lnTo>
                    <a:pt x="178" y="324"/>
                  </a:lnTo>
                  <a:lnTo>
                    <a:pt x="173" y="334"/>
                  </a:lnTo>
                  <a:lnTo>
                    <a:pt x="181" y="336"/>
                  </a:lnTo>
                  <a:lnTo>
                    <a:pt x="162" y="346"/>
                  </a:lnTo>
                  <a:lnTo>
                    <a:pt x="173" y="352"/>
                  </a:lnTo>
                  <a:lnTo>
                    <a:pt x="181" y="368"/>
                  </a:lnTo>
                  <a:lnTo>
                    <a:pt x="182" y="376"/>
                  </a:lnTo>
                  <a:lnTo>
                    <a:pt x="173" y="376"/>
                  </a:lnTo>
                  <a:lnTo>
                    <a:pt x="171" y="393"/>
                  </a:lnTo>
                  <a:lnTo>
                    <a:pt x="162" y="398"/>
                  </a:lnTo>
                  <a:lnTo>
                    <a:pt x="154" y="398"/>
                  </a:lnTo>
                  <a:lnTo>
                    <a:pt x="145" y="384"/>
                  </a:lnTo>
                  <a:lnTo>
                    <a:pt x="144" y="400"/>
                  </a:lnTo>
                  <a:lnTo>
                    <a:pt x="139" y="411"/>
                  </a:lnTo>
                  <a:lnTo>
                    <a:pt x="131" y="393"/>
                  </a:lnTo>
                  <a:lnTo>
                    <a:pt x="130" y="367"/>
                  </a:lnTo>
                  <a:lnTo>
                    <a:pt x="123" y="367"/>
                  </a:lnTo>
                  <a:lnTo>
                    <a:pt x="114" y="351"/>
                  </a:lnTo>
                  <a:lnTo>
                    <a:pt x="118" y="339"/>
                  </a:lnTo>
                  <a:lnTo>
                    <a:pt x="117" y="328"/>
                  </a:lnTo>
                  <a:lnTo>
                    <a:pt x="114" y="319"/>
                  </a:lnTo>
                  <a:lnTo>
                    <a:pt x="103" y="329"/>
                  </a:lnTo>
                  <a:lnTo>
                    <a:pt x="101" y="349"/>
                  </a:lnTo>
                  <a:lnTo>
                    <a:pt x="101" y="360"/>
                  </a:lnTo>
                  <a:lnTo>
                    <a:pt x="91" y="382"/>
                  </a:lnTo>
                  <a:lnTo>
                    <a:pt x="82" y="371"/>
                  </a:lnTo>
                  <a:lnTo>
                    <a:pt x="56" y="360"/>
                  </a:lnTo>
                  <a:lnTo>
                    <a:pt x="55" y="352"/>
                  </a:lnTo>
                  <a:lnTo>
                    <a:pt x="58" y="346"/>
                  </a:lnTo>
                  <a:lnTo>
                    <a:pt x="58" y="334"/>
                  </a:lnTo>
                  <a:lnTo>
                    <a:pt x="50" y="356"/>
                  </a:lnTo>
                  <a:lnTo>
                    <a:pt x="44" y="361"/>
                  </a:lnTo>
                  <a:lnTo>
                    <a:pt x="37" y="378"/>
                  </a:lnTo>
                  <a:lnTo>
                    <a:pt x="21" y="383"/>
                  </a:lnTo>
                  <a:lnTo>
                    <a:pt x="12" y="373"/>
                  </a:lnTo>
                  <a:lnTo>
                    <a:pt x="12" y="367"/>
                  </a:lnTo>
                  <a:lnTo>
                    <a:pt x="25" y="333"/>
                  </a:lnTo>
                  <a:lnTo>
                    <a:pt x="16" y="328"/>
                  </a:lnTo>
                  <a:lnTo>
                    <a:pt x="2" y="346"/>
                  </a:lnTo>
                  <a:lnTo>
                    <a:pt x="0" y="326"/>
                  </a:lnTo>
                  <a:lnTo>
                    <a:pt x="5" y="317"/>
                  </a:lnTo>
                  <a:lnTo>
                    <a:pt x="15" y="308"/>
                  </a:lnTo>
                  <a:lnTo>
                    <a:pt x="16" y="285"/>
                  </a:lnTo>
                  <a:lnTo>
                    <a:pt x="27" y="280"/>
                  </a:lnTo>
                  <a:lnTo>
                    <a:pt x="29" y="274"/>
                  </a:lnTo>
                  <a:lnTo>
                    <a:pt x="39" y="266"/>
                  </a:lnTo>
                  <a:lnTo>
                    <a:pt x="47" y="266"/>
                  </a:lnTo>
                  <a:lnTo>
                    <a:pt x="59" y="274"/>
                  </a:lnTo>
                  <a:lnTo>
                    <a:pt x="64" y="269"/>
                  </a:lnTo>
                  <a:lnTo>
                    <a:pt x="70" y="271"/>
                  </a:lnTo>
                  <a:lnTo>
                    <a:pt x="82" y="239"/>
                  </a:lnTo>
                  <a:lnTo>
                    <a:pt x="90" y="231"/>
                  </a:lnTo>
                  <a:lnTo>
                    <a:pt x="91" y="225"/>
                  </a:lnTo>
                  <a:lnTo>
                    <a:pt x="90" y="209"/>
                  </a:lnTo>
                  <a:lnTo>
                    <a:pt x="93" y="216"/>
                  </a:lnTo>
                  <a:lnTo>
                    <a:pt x="99" y="213"/>
                  </a:lnTo>
                  <a:lnTo>
                    <a:pt x="111" y="206"/>
                  </a:lnTo>
                  <a:lnTo>
                    <a:pt x="114" y="198"/>
                  </a:lnTo>
                  <a:lnTo>
                    <a:pt x="120" y="198"/>
                  </a:lnTo>
                  <a:lnTo>
                    <a:pt x="134" y="178"/>
                  </a:lnTo>
                  <a:lnTo>
                    <a:pt x="147" y="174"/>
                  </a:lnTo>
                  <a:lnTo>
                    <a:pt x="138" y="170"/>
                  </a:lnTo>
                  <a:lnTo>
                    <a:pt x="147" y="150"/>
                  </a:lnTo>
                  <a:lnTo>
                    <a:pt x="149" y="139"/>
                  </a:lnTo>
                  <a:lnTo>
                    <a:pt x="154" y="13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65" name="Freeform 290">
              <a:extLst>
                <a:ext uri="{FF2B5EF4-FFF2-40B4-BE49-F238E27FC236}">
                  <a16:creationId xmlns:a16="http://schemas.microsoft.com/office/drawing/2014/main" id="{E9C5C632-5BEE-9FF6-8C25-CA5C64588C1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449727" y="314013"/>
              <a:ext cx="105957" cy="109743"/>
            </a:xfrm>
            <a:custGeom>
              <a:avLst/>
              <a:gdLst>
                <a:gd name="T0" fmla="*/ 0 w 200"/>
                <a:gd name="T1" fmla="*/ 0 h 195"/>
                <a:gd name="T2" fmla="*/ 0 w 200"/>
                <a:gd name="T3" fmla="*/ 0 h 195"/>
                <a:gd name="T4" fmla="*/ 0 w 200"/>
                <a:gd name="T5" fmla="*/ 0 h 195"/>
                <a:gd name="T6" fmla="*/ 0 w 200"/>
                <a:gd name="T7" fmla="*/ 0 h 195"/>
                <a:gd name="T8" fmla="*/ 0 w 200"/>
                <a:gd name="T9" fmla="*/ 0 h 195"/>
                <a:gd name="T10" fmla="*/ 0 w 200"/>
                <a:gd name="T11" fmla="*/ 0 h 195"/>
                <a:gd name="T12" fmla="*/ 0 w 200"/>
                <a:gd name="T13" fmla="*/ 0 h 195"/>
                <a:gd name="T14" fmla="*/ 0 w 200"/>
                <a:gd name="T15" fmla="*/ 0 h 195"/>
                <a:gd name="T16" fmla="*/ 0 w 200"/>
                <a:gd name="T17" fmla="*/ 0 h 195"/>
                <a:gd name="T18" fmla="*/ 0 w 200"/>
                <a:gd name="T19" fmla="*/ 0 h 195"/>
                <a:gd name="T20" fmla="*/ 0 w 200"/>
                <a:gd name="T21" fmla="*/ 0 h 195"/>
                <a:gd name="T22" fmla="*/ 0 w 200"/>
                <a:gd name="T23" fmla="*/ 0 h 195"/>
                <a:gd name="T24" fmla="*/ 0 w 200"/>
                <a:gd name="T25" fmla="*/ 0 h 195"/>
                <a:gd name="T26" fmla="*/ 0 w 200"/>
                <a:gd name="T27" fmla="*/ 0 h 195"/>
                <a:gd name="T28" fmla="*/ 0 w 200"/>
                <a:gd name="T29" fmla="*/ 0 h 195"/>
                <a:gd name="T30" fmla="*/ 0 w 200"/>
                <a:gd name="T31" fmla="*/ 0 h 195"/>
                <a:gd name="T32" fmla="*/ 0 w 200"/>
                <a:gd name="T33" fmla="*/ 0 h 195"/>
                <a:gd name="T34" fmla="*/ 0 w 200"/>
                <a:gd name="T35" fmla="*/ 0 h 195"/>
                <a:gd name="T36" fmla="*/ 0 w 200"/>
                <a:gd name="T37" fmla="*/ 0 h 195"/>
                <a:gd name="T38" fmla="*/ 0 w 200"/>
                <a:gd name="T39" fmla="*/ 0 h 195"/>
                <a:gd name="T40" fmla="*/ 0 w 200"/>
                <a:gd name="T41" fmla="*/ 0 h 195"/>
                <a:gd name="T42" fmla="*/ 0 w 200"/>
                <a:gd name="T43" fmla="*/ 0 h 195"/>
                <a:gd name="T44" fmla="*/ 0 w 200"/>
                <a:gd name="T45" fmla="*/ 0 h 195"/>
                <a:gd name="T46" fmla="*/ 0 w 200"/>
                <a:gd name="T47" fmla="*/ 0 h 195"/>
                <a:gd name="T48" fmla="*/ 0 w 200"/>
                <a:gd name="T49" fmla="*/ 0 h 195"/>
                <a:gd name="T50" fmla="*/ 0 w 200"/>
                <a:gd name="T51" fmla="*/ 0 h 195"/>
                <a:gd name="T52" fmla="*/ 0 w 200"/>
                <a:gd name="T53" fmla="*/ 0 h 195"/>
                <a:gd name="T54" fmla="*/ 0 w 200"/>
                <a:gd name="T55" fmla="*/ 0 h 195"/>
                <a:gd name="T56" fmla="*/ 0 w 200"/>
                <a:gd name="T57" fmla="*/ 0 h 195"/>
                <a:gd name="T58" fmla="*/ 0 w 200"/>
                <a:gd name="T59" fmla="*/ 0 h 195"/>
                <a:gd name="T60" fmla="*/ 0 w 200"/>
                <a:gd name="T61" fmla="*/ 0 h 195"/>
                <a:gd name="T62" fmla="*/ 0 w 200"/>
                <a:gd name="T63" fmla="*/ 0 h 195"/>
                <a:gd name="T64" fmla="*/ 0 w 200"/>
                <a:gd name="T65" fmla="*/ 0 h 195"/>
                <a:gd name="T66" fmla="*/ 0 w 200"/>
                <a:gd name="T67" fmla="*/ 0 h 195"/>
                <a:gd name="T68" fmla="*/ 0 w 200"/>
                <a:gd name="T69" fmla="*/ 0 h 195"/>
                <a:gd name="T70" fmla="*/ 0 w 200"/>
                <a:gd name="T71" fmla="*/ 0 h 195"/>
                <a:gd name="T72" fmla="*/ 0 w 200"/>
                <a:gd name="T73" fmla="*/ 0 h 195"/>
                <a:gd name="T74" fmla="*/ 0 w 200"/>
                <a:gd name="T75" fmla="*/ 0 h 195"/>
                <a:gd name="T76" fmla="*/ 0 w 200"/>
                <a:gd name="T77" fmla="*/ 0 h 195"/>
                <a:gd name="T78" fmla="*/ 0 w 200"/>
                <a:gd name="T79" fmla="*/ 0 h 195"/>
                <a:gd name="T80" fmla="*/ 0 w 200"/>
                <a:gd name="T81" fmla="*/ 0 h 195"/>
                <a:gd name="T82" fmla="*/ 0 w 200"/>
                <a:gd name="T83" fmla="*/ 0 h 195"/>
                <a:gd name="T84" fmla="*/ 0 w 200"/>
                <a:gd name="T85" fmla="*/ 0 h 195"/>
                <a:gd name="T86" fmla="*/ 0 w 200"/>
                <a:gd name="T87" fmla="*/ 0 h 195"/>
                <a:gd name="T88" fmla="*/ 0 w 200"/>
                <a:gd name="T89" fmla="*/ 0 h 195"/>
                <a:gd name="T90" fmla="*/ 0 w 200"/>
                <a:gd name="T91" fmla="*/ 0 h 195"/>
                <a:gd name="T92" fmla="*/ 0 w 200"/>
                <a:gd name="T93" fmla="*/ 0 h 195"/>
                <a:gd name="T94" fmla="*/ 0 w 200"/>
                <a:gd name="T95" fmla="*/ 0 h 195"/>
                <a:gd name="T96" fmla="*/ 0 w 200"/>
                <a:gd name="T97" fmla="*/ 0 h 195"/>
                <a:gd name="T98" fmla="*/ 0 w 200"/>
                <a:gd name="T99" fmla="*/ 0 h 195"/>
                <a:gd name="T100" fmla="*/ 0 w 200"/>
                <a:gd name="T101" fmla="*/ 0 h 195"/>
                <a:gd name="T102" fmla="*/ 0 w 200"/>
                <a:gd name="T103" fmla="*/ 0 h 195"/>
                <a:gd name="T104" fmla="*/ 0 w 200"/>
                <a:gd name="T105" fmla="*/ 0 h 195"/>
                <a:gd name="T106" fmla="*/ 0 w 200"/>
                <a:gd name="T107" fmla="*/ 0 h 195"/>
                <a:gd name="T108" fmla="*/ 0 w 200"/>
                <a:gd name="T109" fmla="*/ 0 h 195"/>
                <a:gd name="T110" fmla="*/ 0 w 200"/>
                <a:gd name="T111" fmla="*/ 0 h 195"/>
                <a:gd name="T112" fmla="*/ 0 w 200"/>
                <a:gd name="T113" fmla="*/ 0 h 195"/>
                <a:gd name="T114" fmla="*/ 0 w 200"/>
                <a:gd name="T115" fmla="*/ 0 h 195"/>
                <a:gd name="T116" fmla="*/ 0 w 200"/>
                <a:gd name="T117" fmla="*/ 0 h 195"/>
                <a:gd name="T118" fmla="*/ 0 w 200"/>
                <a:gd name="T119" fmla="*/ 0 h 195"/>
                <a:gd name="T120" fmla="*/ 0 w 200"/>
                <a:gd name="T121" fmla="*/ 0 h 19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00"/>
                <a:gd name="T184" fmla="*/ 0 h 195"/>
                <a:gd name="T185" fmla="*/ 200 w 200"/>
                <a:gd name="T186" fmla="*/ 195 h 19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00" h="195">
                  <a:moveTo>
                    <a:pt x="76" y="19"/>
                  </a:moveTo>
                  <a:lnTo>
                    <a:pt x="84" y="23"/>
                  </a:lnTo>
                  <a:lnTo>
                    <a:pt x="84" y="19"/>
                  </a:lnTo>
                  <a:lnTo>
                    <a:pt x="95" y="13"/>
                  </a:lnTo>
                  <a:lnTo>
                    <a:pt x="127" y="7"/>
                  </a:lnTo>
                  <a:lnTo>
                    <a:pt x="128" y="13"/>
                  </a:lnTo>
                  <a:lnTo>
                    <a:pt x="138" y="16"/>
                  </a:lnTo>
                  <a:lnTo>
                    <a:pt x="145" y="5"/>
                  </a:lnTo>
                  <a:lnTo>
                    <a:pt x="172" y="0"/>
                  </a:lnTo>
                  <a:lnTo>
                    <a:pt x="198" y="8"/>
                  </a:lnTo>
                  <a:lnTo>
                    <a:pt x="200" y="21"/>
                  </a:lnTo>
                  <a:lnTo>
                    <a:pt x="199" y="37"/>
                  </a:lnTo>
                  <a:lnTo>
                    <a:pt x="194" y="46"/>
                  </a:lnTo>
                  <a:lnTo>
                    <a:pt x="149" y="60"/>
                  </a:lnTo>
                  <a:lnTo>
                    <a:pt x="135" y="60"/>
                  </a:lnTo>
                  <a:lnTo>
                    <a:pt x="134" y="65"/>
                  </a:lnTo>
                  <a:lnTo>
                    <a:pt x="127" y="70"/>
                  </a:lnTo>
                  <a:lnTo>
                    <a:pt x="134" y="76"/>
                  </a:lnTo>
                  <a:lnTo>
                    <a:pt x="129" y="80"/>
                  </a:lnTo>
                  <a:lnTo>
                    <a:pt x="105" y="81"/>
                  </a:lnTo>
                  <a:lnTo>
                    <a:pt x="107" y="85"/>
                  </a:lnTo>
                  <a:lnTo>
                    <a:pt x="107" y="97"/>
                  </a:lnTo>
                  <a:lnTo>
                    <a:pt x="114" y="87"/>
                  </a:lnTo>
                  <a:lnTo>
                    <a:pt x="116" y="94"/>
                  </a:lnTo>
                  <a:lnTo>
                    <a:pt x="111" y="104"/>
                  </a:lnTo>
                  <a:lnTo>
                    <a:pt x="123" y="92"/>
                  </a:lnTo>
                  <a:lnTo>
                    <a:pt x="129" y="92"/>
                  </a:lnTo>
                  <a:lnTo>
                    <a:pt x="129" y="104"/>
                  </a:lnTo>
                  <a:lnTo>
                    <a:pt x="134" y="99"/>
                  </a:lnTo>
                  <a:lnTo>
                    <a:pt x="135" y="87"/>
                  </a:lnTo>
                  <a:lnTo>
                    <a:pt x="140" y="81"/>
                  </a:lnTo>
                  <a:lnTo>
                    <a:pt x="144" y="89"/>
                  </a:lnTo>
                  <a:lnTo>
                    <a:pt x="155" y="92"/>
                  </a:lnTo>
                  <a:lnTo>
                    <a:pt x="173" y="87"/>
                  </a:lnTo>
                  <a:lnTo>
                    <a:pt x="177" y="115"/>
                  </a:lnTo>
                  <a:lnTo>
                    <a:pt x="173" y="150"/>
                  </a:lnTo>
                  <a:lnTo>
                    <a:pt x="168" y="157"/>
                  </a:lnTo>
                  <a:lnTo>
                    <a:pt x="161" y="163"/>
                  </a:lnTo>
                  <a:lnTo>
                    <a:pt x="125" y="177"/>
                  </a:lnTo>
                  <a:lnTo>
                    <a:pt x="117" y="172"/>
                  </a:lnTo>
                  <a:lnTo>
                    <a:pt x="76" y="195"/>
                  </a:lnTo>
                  <a:lnTo>
                    <a:pt x="64" y="195"/>
                  </a:lnTo>
                  <a:lnTo>
                    <a:pt x="52" y="190"/>
                  </a:lnTo>
                  <a:lnTo>
                    <a:pt x="46" y="179"/>
                  </a:lnTo>
                  <a:lnTo>
                    <a:pt x="44" y="169"/>
                  </a:lnTo>
                  <a:lnTo>
                    <a:pt x="14" y="158"/>
                  </a:lnTo>
                  <a:lnTo>
                    <a:pt x="6" y="148"/>
                  </a:lnTo>
                  <a:lnTo>
                    <a:pt x="6" y="136"/>
                  </a:lnTo>
                  <a:lnTo>
                    <a:pt x="9" y="129"/>
                  </a:lnTo>
                  <a:lnTo>
                    <a:pt x="6" y="118"/>
                  </a:lnTo>
                  <a:lnTo>
                    <a:pt x="6" y="102"/>
                  </a:lnTo>
                  <a:lnTo>
                    <a:pt x="0" y="83"/>
                  </a:lnTo>
                  <a:lnTo>
                    <a:pt x="4" y="61"/>
                  </a:lnTo>
                  <a:lnTo>
                    <a:pt x="8" y="56"/>
                  </a:lnTo>
                  <a:lnTo>
                    <a:pt x="32" y="49"/>
                  </a:lnTo>
                  <a:lnTo>
                    <a:pt x="37" y="39"/>
                  </a:lnTo>
                  <a:lnTo>
                    <a:pt x="46" y="33"/>
                  </a:lnTo>
                  <a:lnTo>
                    <a:pt x="54" y="37"/>
                  </a:lnTo>
                  <a:lnTo>
                    <a:pt x="63" y="23"/>
                  </a:lnTo>
                  <a:lnTo>
                    <a:pt x="71" y="23"/>
                  </a:lnTo>
                  <a:lnTo>
                    <a:pt x="76" y="1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66" name="Freeform 291">
              <a:extLst>
                <a:ext uri="{FF2B5EF4-FFF2-40B4-BE49-F238E27FC236}">
                  <a16:creationId xmlns:a16="http://schemas.microsoft.com/office/drawing/2014/main" id="{DA9E7D72-0AEF-AE05-123B-D4A214E25EC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449727" y="213415"/>
              <a:ext cx="116403" cy="73163"/>
            </a:xfrm>
            <a:custGeom>
              <a:avLst/>
              <a:gdLst>
                <a:gd name="T0" fmla="*/ 0 w 219"/>
                <a:gd name="T1" fmla="*/ 0 h 133"/>
                <a:gd name="T2" fmla="*/ 0 w 219"/>
                <a:gd name="T3" fmla="*/ 0 h 133"/>
                <a:gd name="T4" fmla="*/ 0 w 219"/>
                <a:gd name="T5" fmla="*/ 0 h 133"/>
                <a:gd name="T6" fmla="*/ 0 w 219"/>
                <a:gd name="T7" fmla="*/ 0 h 133"/>
                <a:gd name="T8" fmla="*/ 0 w 219"/>
                <a:gd name="T9" fmla="*/ 0 h 133"/>
                <a:gd name="T10" fmla="*/ 0 w 219"/>
                <a:gd name="T11" fmla="*/ 0 h 133"/>
                <a:gd name="T12" fmla="*/ 0 w 219"/>
                <a:gd name="T13" fmla="*/ 0 h 133"/>
                <a:gd name="T14" fmla="*/ 0 w 219"/>
                <a:gd name="T15" fmla="*/ 0 h 133"/>
                <a:gd name="T16" fmla="*/ 0 w 219"/>
                <a:gd name="T17" fmla="*/ 0 h 133"/>
                <a:gd name="T18" fmla="*/ 0 w 219"/>
                <a:gd name="T19" fmla="*/ 0 h 133"/>
                <a:gd name="T20" fmla="*/ 0 w 219"/>
                <a:gd name="T21" fmla="*/ 0 h 133"/>
                <a:gd name="T22" fmla="*/ 0 w 219"/>
                <a:gd name="T23" fmla="*/ 0 h 133"/>
                <a:gd name="T24" fmla="*/ 0 w 219"/>
                <a:gd name="T25" fmla="*/ 0 h 133"/>
                <a:gd name="T26" fmla="*/ 0 w 219"/>
                <a:gd name="T27" fmla="*/ 0 h 133"/>
                <a:gd name="T28" fmla="*/ 0 w 219"/>
                <a:gd name="T29" fmla="*/ 0 h 133"/>
                <a:gd name="T30" fmla="*/ 0 w 219"/>
                <a:gd name="T31" fmla="*/ 0 h 133"/>
                <a:gd name="T32" fmla="*/ 0 w 219"/>
                <a:gd name="T33" fmla="*/ 0 h 133"/>
                <a:gd name="T34" fmla="*/ 0 w 219"/>
                <a:gd name="T35" fmla="*/ 0 h 133"/>
                <a:gd name="T36" fmla="*/ 0 w 219"/>
                <a:gd name="T37" fmla="*/ 0 h 133"/>
                <a:gd name="T38" fmla="*/ 0 w 219"/>
                <a:gd name="T39" fmla="*/ 0 h 133"/>
                <a:gd name="T40" fmla="*/ 0 w 219"/>
                <a:gd name="T41" fmla="*/ 0 h 133"/>
                <a:gd name="T42" fmla="*/ 0 w 219"/>
                <a:gd name="T43" fmla="*/ 0 h 133"/>
                <a:gd name="T44" fmla="*/ 0 w 219"/>
                <a:gd name="T45" fmla="*/ 0 h 133"/>
                <a:gd name="T46" fmla="*/ 0 w 219"/>
                <a:gd name="T47" fmla="*/ 0 h 133"/>
                <a:gd name="T48" fmla="*/ 0 w 219"/>
                <a:gd name="T49" fmla="*/ 0 h 133"/>
                <a:gd name="T50" fmla="*/ 0 w 219"/>
                <a:gd name="T51" fmla="*/ 0 h 133"/>
                <a:gd name="T52" fmla="*/ 0 w 219"/>
                <a:gd name="T53" fmla="*/ 0 h 133"/>
                <a:gd name="T54" fmla="*/ 0 w 219"/>
                <a:gd name="T55" fmla="*/ 0 h 133"/>
                <a:gd name="T56" fmla="*/ 0 w 219"/>
                <a:gd name="T57" fmla="*/ 0 h 133"/>
                <a:gd name="T58" fmla="*/ 0 w 219"/>
                <a:gd name="T59" fmla="*/ 0 h 133"/>
                <a:gd name="T60" fmla="*/ 0 w 219"/>
                <a:gd name="T61" fmla="*/ 0 h 133"/>
                <a:gd name="T62" fmla="*/ 0 w 219"/>
                <a:gd name="T63" fmla="*/ 0 h 133"/>
                <a:gd name="T64" fmla="*/ 0 w 219"/>
                <a:gd name="T65" fmla="*/ 0 h 133"/>
                <a:gd name="T66" fmla="*/ 0 w 219"/>
                <a:gd name="T67" fmla="*/ 0 h 133"/>
                <a:gd name="T68" fmla="*/ 0 w 219"/>
                <a:gd name="T69" fmla="*/ 0 h 133"/>
                <a:gd name="T70" fmla="*/ 0 w 219"/>
                <a:gd name="T71" fmla="*/ 0 h 133"/>
                <a:gd name="T72" fmla="*/ 0 w 219"/>
                <a:gd name="T73" fmla="*/ 0 h 133"/>
                <a:gd name="T74" fmla="*/ 0 w 219"/>
                <a:gd name="T75" fmla="*/ 0 h 133"/>
                <a:gd name="T76" fmla="*/ 0 w 219"/>
                <a:gd name="T77" fmla="*/ 0 h 133"/>
                <a:gd name="T78" fmla="*/ 0 w 219"/>
                <a:gd name="T79" fmla="*/ 0 h 133"/>
                <a:gd name="T80" fmla="*/ 0 w 219"/>
                <a:gd name="T81" fmla="*/ 0 h 133"/>
                <a:gd name="T82" fmla="*/ 0 w 219"/>
                <a:gd name="T83" fmla="*/ 0 h 133"/>
                <a:gd name="T84" fmla="*/ 0 w 219"/>
                <a:gd name="T85" fmla="*/ 0 h 133"/>
                <a:gd name="T86" fmla="*/ 0 w 219"/>
                <a:gd name="T87" fmla="*/ 0 h 133"/>
                <a:gd name="T88" fmla="*/ 0 w 219"/>
                <a:gd name="T89" fmla="*/ 0 h 133"/>
                <a:gd name="T90" fmla="*/ 0 w 219"/>
                <a:gd name="T91" fmla="*/ 0 h 133"/>
                <a:gd name="T92" fmla="*/ 0 w 219"/>
                <a:gd name="T93" fmla="*/ 0 h 133"/>
                <a:gd name="T94" fmla="*/ 0 w 219"/>
                <a:gd name="T95" fmla="*/ 0 h 133"/>
                <a:gd name="T96" fmla="*/ 0 w 219"/>
                <a:gd name="T97" fmla="*/ 0 h 133"/>
                <a:gd name="T98" fmla="*/ 0 w 219"/>
                <a:gd name="T99" fmla="*/ 0 h 133"/>
                <a:gd name="T100" fmla="*/ 0 w 219"/>
                <a:gd name="T101" fmla="*/ 0 h 133"/>
                <a:gd name="T102" fmla="*/ 0 w 219"/>
                <a:gd name="T103" fmla="*/ 0 h 133"/>
                <a:gd name="T104" fmla="*/ 0 w 219"/>
                <a:gd name="T105" fmla="*/ 0 h 133"/>
                <a:gd name="T106" fmla="*/ 0 w 219"/>
                <a:gd name="T107" fmla="*/ 0 h 133"/>
                <a:gd name="T108" fmla="*/ 0 w 219"/>
                <a:gd name="T109" fmla="*/ 0 h 133"/>
                <a:gd name="T110" fmla="*/ 0 w 219"/>
                <a:gd name="T111" fmla="*/ 0 h 133"/>
                <a:gd name="T112" fmla="*/ 0 w 219"/>
                <a:gd name="T113" fmla="*/ 0 h 133"/>
                <a:gd name="T114" fmla="*/ 0 w 219"/>
                <a:gd name="T115" fmla="*/ 0 h 13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19"/>
                <a:gd name="T175" fmla="*/ 0 h 133"/>
                <a:gd name="T176" fmla="*/ 219 w 219"/>
                <a:gd name="T177" fmla="*/ 133 h 133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19" h="133">
                  <a:moveTo>
                    <a:pt x="184" y="32"/>
                  </a:moveTo>
                  <a:lnTo>
                    <a:pt x="188" y="31"/>
                  </a:lnTo>
                  <a:lnTo>
                    <a:pt x="192" y="46"/>
                  </a:lnTo>
                  <a:lnTo>
                    <a:pt x="207" y="47"/>
                  </a:lnTo>
                  <a:lnTo>
                    <a:pt x="208" y="57"/>
                  </a:lnTo>
                  <a:lnTo>
                    <a:pt x="216" y="66"/>
                  </a:lnTo>
                  <a:lnTo>
                    <a:pt x="216" y="74"/>
                  </a:lnTo>
                  <a:lnTo>
                    <a:pt x="219" y="80"/>
                  </a:lnTo>
                  <a:lnTo>
                    <a:pt x="219" y="101"/>
                  </a:lnTo>
                  <a:lnTo>
                    <a:pt x="216" y="117"/>
                  </a:lnTo>
                  <a:lnTo>
                    <a:pt x="208" y="122"/>
                  </a:lnTo>
                  <a:lnTo>
                    <a:pt x="195" y="126"/>
                  </a:lnTo>
                  <a:lnTo>
                    <a:pt x="188" y="121"/>
                  </a:lnTo>
                  <a:lnTo>
                    <a:pt x="160" y="131"/>
                  </a:lnTo>
                  <a:lnTo>
                    <a:pt x="148" y="127"/>
                  </a:lnTo>
                  <a:lnTo>
                    <a:pt x="130" y="105"/>
                  </a:lnTo>
                  <a:lnTo>
                    <a:pt x="121" y="104"/>
                  </a:lnTo>
                  <a:lnTo>
                    <a:pt x="114" y="94"/>
                  </a:lnTo>
                  <a:lnTo>
                    <a:pt x="109" y="97"/>
                  </a:lnTo>
                  <a:lnTo>
                    <a:pt x="107" y="90"/>
                  </a:lnTo>
                  <a:lnTo>
                    <a:pt x="107" y="105"/>
                  </a:lnTo>
                  <a:lnTo>
                    <a:pt x="111" y="117"/>
                  </a:lnTo>
                  <a:lnTo>
                    <a:pt x="105" y="120"/>
                  </a:lnTo>
                  <a:lnTo>
                    <a:pt x="107" y="131"/>
                  </a:lnTo>
                  <a:lnTo>
                    <a:pt x="86" y="133"/>
                  </a:lnTo>
                  <a:lnTo>
                    <a:pt x="78" y="111"/>
                  </a:lnTo>
                  <a:lnTo>
                    <a:pt x="60" y="107"/>
                  </a:lnTo>
                  <a:lnTo>
                    <a:pt x="57" y="99"/>
                  </a:lnTo>
                  <a:lnTo>
                    <a:pt x="49" y="101"/>
                  </a:lnTo>
                  <a:lnTo>
                    <a:pt x="51" y="107"/>
                  </a:lnTo>
                  <a:lnTo>
                    <a:pt x="51" y="110"/>
                  </a:lnTo>
                  <a:lnTo>
                    <a:pt x="43" y="107"/>
                  </a:lnTo>
                  <a:lnTo>
                    <a:pt x="31" y="115"/>
                  </a:lnTo>
                  <a:lnTo>
                    <a:pt x="32" y="124"/>
                  </a:lnTo>
                  <a:lnTo>
                    <a:pt x="31" y="132"/>
                  </a:lnTo>
                  <a:lnTo>
                    <a:pt x="28" y="126"/>
                  </a:lnTo>
                  <a:lnTo>
                    <a:pt x="15" y="133"/>
                  </a:lnTo>
                  <a:lnTo>
                    <a:pt x="8" y="131"/>
                  </a:lnTo>
                  <a:lnTo>
                    <a:pt x="6" y="120"/>
                  </a:lnTo>
                  <a:lnTo>
                    <a:pt x="0" y="120"/>
                  </a:lnTo>
                  <a:lnTo>
                    <a:pt x="8" y="94"/>
                  </a:lnTo>
                  <a:lnTo>
                    <a:pt x="23" y="79"/>
                  </a:lnTo>
                  <a:lnTo>
                    <a:pt x="27" y="84"/>
                  </a:lnTo>
                  <a:lnTo>
                    <a:pt x="36" y="81"/>
                  </a:lnTo>
                  <a:lnTo>
                    <a:pt x="36" y="75"/>
                  </a:lnTo>
                  <a:lnTo>
                    <a:pt x="53" y="62"/>
                  </a:lnTo>
                  <a:lnTo>
                    <a:pt x="85" y="54"/>
                  </a:lnTo>
                  <a:lnTo>
                    <a:pt x="105" y="45"/>
                  </a:lnTo>
                  <a:lnTo>
                    <a:pt x="117" y="19"/>
                  </a:lnTo>
                  <a:lnTo>
                    <a:pt x="121" y="26"/>
                  </a:lnTo>
                  <a:lnTo>
                    <a:pt x="140" y="3"/>
                  </a:lnTo>
                  <a:lnTo>
                    <a:pt x="159" y="0"/>
                  </a:lnTo>
                  <a:lnTo>
                    <a:pt x="164" y="5"/>
                  </a:lnTo>
                  <a:lnTo>
                    <a:pt x="164" y="13"/>
                  </a:lnTo>
                  <a:lnTo>
                    <a:pt x="168" y="13"/>
                  </a:lnTo>
                  <a:lnTo>
                    <a:pt x="171" y="21"/>
                  </a:lnTo>
                  <a:lnTo>
                    <a:pt x="184" y="26"/>
                  </a:lnTo>
                  <a:lnTo>
                    <a:pt x="184" y="3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67" name="Freeform 292">
              <a:extLst>
                <a:ext uri="{FF2B5EF4-FFF2-40B4-BE49-F238E27FC236}">
                  <a16:creationId xmlns:a16="http://schemas.microsoft.com/office/drawing/2014/main" id="{BF8A7E2C-ADA6-0441-BECC-015B486C525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957123" y="358215"/>
              <a:ext cx="86556" cy="59445"/>
            </a:xfrm>
            <a:custGeom>
              <a:avLst/>
              <a:gdLst>
                <a:gd name="T0" fmla="*/ 0 w 164"/>
                <a:gd name="T1" fmla="*/ 0 h 103"/>
                <a:gd name="T2" fmla="*/ 0 w 164"/>
                <a:gd name="T3" fmla="*/ 0 h 103"/>
                <a:gd name="T4" fmla="*/ 0 w 164"/>
                <a:gd name="T5" fmla="*/ 0 h 103"/>
                <a:gd name="T6" fmla="*/ 0 w 164"/>
                <a:gd name="T7" fmla="*/ 0 h 103"/>
                <a:gd name="T8" fmla="*/ 0 w 164"/>
                <a:gd name="T9" fmla="*/ 0 h 103"/>
                <a:gd name="T10" fmla="*/ 0 w 164"/>
                <a:gd name="T11" fmla="*/ 0 h 103"/>
                <a:gd name="T12" fmla="*/ 0 w 164"/>
                <a:gd name="T13" fmla="*/ 0 h 103"/>
                <a:gd name="T14" fmla="*/ 0 w 164"/>
                <a:gd name="T15" fmla="*/ 0 h 103"/>
                <a:gd name="T16" fmla="*/ 0 w 164"/>
                <a:gd name="T17" fmla="*/ 0 h 103"/>
                <a:gd name="T18" fmla="*/ 0 w 164"/>
                <a:gd name="T19" fmla="*/ 0 h 103"/>
                <a:gd name="T20" fmla="*/ 0 w 164"/>
                <a:gd name="T21" fmla="*/ 0 h 103"/>
                <a:gd name="T22" fmla="*/ 0 w 164"/>
                <a:gd name="T23" fmla="*/ 0 h 103"/>
                <a:gd name="T24" fmla="*/ 0 w 164"/>
                <a:gd name="T25" fmla="*/ 0 h 103"/>
                <a:gd name="T26" fmla="*/ 0 w 164"/>
                <a:gd name="T27" fmla="*/ 0 h 103"/>
                <a:gd name="T28" fmla="*/ 0 w 164"/>
                <a:gd name="T29" fmla="*/ 0 h 103"/>
                <a:gd name="T30" fmla="*/ 0 w 164"/>
                <a:gd name="T31" fmla="*/ 0 h 103"/>
                <a:gd name="T32" fmla="*/ 0 w 164"/>
                <a:gd name="T33" fmla="*/ 0 h 103"/>
                <a:gd name="T34" fmla="*/ 0 w 164"/>
                <a:gd name="T35" fmla="*/ 0 h 103"/>
                <a:gd name="T36" fmla="*/ 0 w 164"/>
                <a:gd name="T37" fmla="*/ 0 h 103"/>
                <a:gd name="T38" fmla="*/ 0 w 164"/>
                <a:gd name="T39" fmla="*/ 0 h 103"/>
                <a:gd name="T40" fmla="*/ 0 w 164"/>
                <a:gd name="T41" fmla="*/ 0 h 103"/>
                <a:gd name="T42" fmla="*/ 0 w 164"/>
                <a:gd name="T43" fmla="*/ 0 h 103"/>
                <a:gd name="T44" fmla="*/ 0 w 164"/>
                <a:gd name="T45" fmla="*/ 0 h 103"/>
                <a:gd name="T46" fmla="*/ 0 w 164"/>
                <a:gd name="T47" fmla="*/ 0 h 103"/>
                <a:gd name="T48" fmla="*/ 0 w 164"/>
                <a:gd name="T49" fmla="*/ 0 h 103"/>
                <a:gd name="T50" fmla="*/ 0 w 164"/>
                <a:gd name="T51" fmla="*/ 0 h 103"/>
                <a:gd name="T52" fmla="*/ 0 w 164"/>
                <a:gd name="T53" fmla="*/ 0 h 103"/>
                <a:gd name="T54" fmla="*/ 0 w 164"/>
                <a:gd name="T55" fmla="*/ 0 h 103"/>
                <a:gd name="T56" fmla="*/ 0 w 164"/>
                <a:gd name="T57" fmla="*/ 0 h 103"/>
                <a:gd name="T58" fmla="*/ 0 w 164"/>
                <a:gd name="T59" fmla="*/ 0 h 103"/>
                <a:gd name="T60" fmla="*/ 0 w 164"/>
                <a:gd name="T61" fmla="*/ 0 h 103"/>
                <a:gd name="T62" fmla="*/ 0 w 164"/>
                <a:gd name="T63" fmla="*/ 0 h 103"/>
                <a:gd name="T64" fmla="*/ 0 w 164"/>
                <a:gd name="T65" fmla="*/ 0 h 103"/>
                <a:gd name="T66" fmla="*/ 0 w 164"/>
                <a:gd name="T67" fmla="*/ 0 h 103"/>
                <a:gd name="T68" fmla="*/ 0 w 164"/>
                <a:gd name="T69" fmla="*/ 0 h 103"/>
                <a:gd name="T70" fmla="*/ 0 w 164"/>
                <a:gd name="T71" fmla="*/ 0 h 103"/>
                <a:gd name="T72" fmla="*/ 0 w 164"/>
                <a:gd name="T73" fmla="*/ 0 h 103"/>
                <a:gd name="T74" fmla="*/ 0 w 164"/>
                <a:gd name="T75" fmla="*/ 0 h 103"/>
                <a:gd name="T76" fmla="*/ 0 w 164"/>
                <a:gd name="T77" fmla="*/ 0 h 103"/>
                <a:gd name="T78" fmla="*/ 0 w 164"/>
                <a:gd name="T79" fmla="*/ 0 h 103"/>
                <a:gd name="T80" fmla="*/ 0 w 164"/>
                <a:gd name="T81" fmla="*/ 0 h 103"/>
                <a:gd name="T82" fmla="*/ 0 w 164"/>
                <a:gd name="T83" fmla="*/ 0 h 103"/>
                <a:gd name="T84" fmla="*/ 0 w 164"/>
                <a:gd name="T85" fmla="*/ 0 h 103"/>
                <a:gd name="T86" fmla="*/ 0 w 164"/>
                <a:gd name="T87" fmla="*/ 0 h 103"/>
                <a:gd name="T88" fmla="*/ 0 w 164"/>
                <a:gd name="T89" fmla="*/ 0 h 10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64"/>
                <a:gd name="T136" fmla="*/ 0 h 103"/>
                <a:gd name="T137" fmla="*/ 164 w 164"/>
                <a:gd name="T138" fmla="*/ 103 h 10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64" h="103">
                  <a:moveTo>
                    <a:pt x="61" y="15"/>
                  </a:moveTo>
                  <a:lnTo>
                    <a:pt x="70" y="20"/>
                  </a:lnTo>
                  <a:lnTo>
                    <a:pt x="73" y="12"/>
                  </a:lnTo>
                  <a:lnTo>
                    <a:pt x="89" y="10"/>
                  </a:lnTo>
                  <a:lnTo>
                    <a:pt x="89" y="15"/>
                  </a:lnTo>
                  <a:lnTo>
                    <a:pt x="103" y="20"/>
                  </a:lnTo>
                  <a:lnTo>
                    <a:pt x="106" y="15"/>
                  </a:lnTo>
                  <a:lnTo>
                    <a:pt x="124" y="26"/>
                  </a:lnTo>
                  <a:lnTo>
                    <a:pt x="135" y="25"/>
                  </a:lnTo>
                  <a:lnTo>
                    <a:pt x="140" y="15"/>
                  </a:lnTo>
                  <a:lnTo>
                    <a:pt x="147" y="25"/>
                  </a:lnTo>
                  <a:lnTo>
                    <a:pt x="158" y="30"/>
                  </a:lnTo>
                  <a:lnTo>
                    <a:pt x="164" y="44"/>
                  </a:lnTo>
                  <a:lnTo>
                    <a:pt x="162" y="49"/>
                  </a:lnTo>
                  <a:lnTo>
                    <a:pt x="151" y="52"/>
                  </a:lnTo>
                  <a:lnTo>
                    <a:pt x="148" y="57"/>
                  </a:lnTo>
                  <a:lnTo>
                    <a:pt x="151" y="62"/>
                  </a:lnTo>
                  <a:lnTo>
                    <a:pt x="152" y="71"/>
                  </a:lnTo>
                  <a:lnTo>
                    <a:pt x="149" y="85"/>
                  </a:lnTo>
                  <a:lnTo>
                    <a:pt x="151" y="91"/>
                  </a:lnTo>
                  <a:lnTo>
                    <a:pt x="146" y="101"/>
                  </a:lnTo>
                  <a:lnTo>
                    <a:pt x="126" y="103"/>
                  </a:lnTo>
                  <a:lnTo>
                    <a:pt x="105" y="98"/>
                  </a:lnTo>
                  <a:lnTo>
                    <a:pt x="99" y="91"/>
                  </a:lnTo>
                  <a:lnTo>
                    <a:pt x="82" y="93"/>
                  </a:lnTo>
                  <a:lnTo>
                    <a:pt x="81" y="89"/>
                  </a:lnTo>
                  <a:lnTo>
                    <a:pt x="65" y="97"/>
                  </a:lnTo>
                  <a:lnTo>
                    <a:pt x="63" y="92"/>
                  </a:lnTo>
                  <a:lnTo>
                    <a:pt x="54" y="87"/>
                  </a:lnTo>
                  <a:lnTo>
                    <a:pt x="34" y="87"/>
                  </a:lnTo>
                  <a:lnTo>
                    <a:pt x="24" y="76"/>
                  </a:lnTo>
                  <a:lnTo>
                    <a:pt x="17" y="76"/>
                  </a:lnTo>
                  <a:lnTo>
                    <a:pt x="7" y="63"/>
                  </a:lnTo>
                  <a:lnTo>
                    <a:pt x="3" y="52"/>
                  </a:lnTo>
                  <a:lnTo>
                    <a:pt x="3" y="44"/>
                  </a:lnTo>
                  <a:lnTo>
                    <a:pt x="0" y="42"/>
                  </a:lnTo>
                  <a:lnTo>
                    <a:pt x="2" y="30"/>
                  </a:lnTo>
                  <a:lnTo>
                    <a:pt x="13" y="20"/>
                  </a:lnTo>
                  <a:lnTo>
                    <a:pt x="30" y="15"/>
                  </a:lnTo>
                  <a:lnTo>
                    <a:pt x="35" y="0"/>
                  </a:lnTo>
                  <a:lnTo>
                    <a:pt x="41" y="0"/>
                  </a:lnTo>
                  <a:lnTo>
                    <a:pt x="45" y="15"/>
                  </a:lnTo>
                  <a:lnTo>
                    <a:pt x="50" y="12"/>
                  </a:lnTo>
                  <a:lnTo>
                    <a:pt x="54" y="17"/>
                  </a:lnTo>
                  <a:lnTo>
                    <a:pt x="61" y="1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68" name="Freeform 293">
              <a:extLst>
                <a:ext uri="{FF2B5EF4-FFF2-40B4-BE49-F238E27FC236}">
                  <a16:creationId xmlns:a16="http://schemas.microsoft.com/office/drawing/2014/main" id="{18540911-9DC1-CE61-83E3-41143AD8CF8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931754" y="457289"/>
              <a:ext cx="505903" cy="338377"/>
            </a:xfrm>
            <a:custGeom>
              <a:avLst/>
              <a:gdLst>
                <a:gd name="T0" fmla="*/ 0 w 946"/>
                <a:gd name="T1" fmla="*/ 0 h 593"/>
                <a:gd name="T2" fmla="*/ 0 w 946"/>
                <a:gd name="T3" fmla="*/ 0 h 593"/>
                <a:gd name="T4" fmla="*/ 0 w 946"/>
                <a:gd name="T5" fmla="*/ 0 h 593"/>
                <a:gd name="T6" fmla="*/ 0 w 946"/>
                <a:gd name="T7" fmla="*/ 0 h 593"/>
                <a:gd name="T8" fmla="*/ 0 w 946"/>
                <a:gd name="T9" fmla="*/ 0 h 593"/>
                <a:gd name="T10" fmla="*/ 0 w 946"/>
                <a:gd name="T11" fmla="*/ 0 h 593"/>
                <a:gd name="T12" fmla="*/ 0 w 946"/>
                <a:gd name="T13" fmla="*/ 0 h 593"/>
                <a:gd name="T14" fmla="*/ 0 w 946"/>
                <a:gd name="T15" fmla="*/ 0 h 593"/>
                <a:gd name="T16" fmla="*/ 0 w 946"/>
                <a:gd name="T17" fmla="*/ 2147483647 h 593"/>
                <a:gd name="T18" fmla="*/ 0 w 946"/>
                <a:gd name="T19" fmla="*/ 2147483647 h 593"/>
                <a:gd name="T20" fmla="*/ 0 w 946"/>
                <a:gd name="T21" fmla="*/ 2147483647 h 593"/>
                <a:gd name="T22" fmla="*/ 0 w 946"/>
                <a:gd name="T23" fmla="*/ 2147483647 h 593"/>
                <a:gd name="T24" fmla="*/ 2147483647 w 946"/>
                <a:gd name="T25" fmla="*/ 2147483647 h 593"/>
                <a:gd name="T26" fmla="*/ 2147483647 w 946"/>
                <a:gd name="T27" fmla="*/ 2147483647 h 593"/>
                <a:gd name="T28" fmla="*/ 2147483647 w 946"/>
                <a:gd name="T29" fmla="*/ 2147483647 h 593"/>
                <a:gd name="T30" fmla="*/ 2147483647 w 946"/>
                <a:gd name="T31" fmla="*/ 2147483647 h 593"/>
                <a:gd name="T32" fmla="*/ 2147483647 w 946"/>
                <a:gd name="T33" fmla="*/ 2147483647 h 593"/>
                <a:gd name="T34" fmla="*/ 2147483647 w 946"/>
                <a:gd name="T35" fmla="*/ 2147483647 h 593"/>
                <a:gd name="T36" fmla="*/ 2147483647 w 946"/>
                <a:gd name="T37" fmla="*/ 2147483647 h 593"/>
                <a:gd name="T38" fmla="*/ 2147483647 w 946"/>
                <a:gd name="T39" fmla="*/ 2147483647 h 593"/>
                <a:gd name="T40" fmla="*/ 2147483647 w 946"/>
                <a:gd name="T41" fmla="*/ 2147483647 h 593"/>
                <a:gd name="T42" fmla="*/ 2147483647 w 946"/>
                <a:gd name="T43" fmla="*/ 2147483647 h 593"/>
                <a:gd name="T44" fmla="*/ 2147483647 w 946"/>
                <a:gd name="T45" fmla="*/ 2147483647 h 593"/>
                <a:gd name="T46" fmla="*/ 2147483647 w 946"/>
                <a:gd name="T47" fmla="*/ 2147483647 h 593"/>
                <a:gd name="T48" fmla="*/ 2147483647 w 946"/>
                <a:gd name="T49" fmla="*/ 2147483647 h 593"/>
                <a:gd name="T50" fmla="*/ 2147483647 w 946"/>
                <a:gd name="T51" fmla="*/ 2147483647 h 593"/>
                <a:gd name="T52" fmla="*/ 2147483647 w 946"/>
                <a:gd name="T53" fmla="*/ 2147483647 h 593"/>
                <a:gd name="T54" fmla="*/ 2147483647 w 946"/>
                <a:gd name="T55" fmla="*/ 2147483647 h 593"/>
                <a:gd name="T56" fmla="*/ 2147483647 w 946"/>
                <a:gd name="T57" fmla="*/ 2147483647 h 593"/>
                <a:gd name="T58" fmla="*/ 2147483647 w 946"/>
                <a:gd name="T59" fmla="*/ 0 h 593"/>
                <a:gd name="T60" fmla="*/ 2147483647 w 946"/>
                <a:gd name="T61" fmla="*/ 0 h 593"/>
                <a:gd name="T62" fmla="*/ 2147483647 w 946"/>
                <a:gd name="T63" fmla="*/ 2147483647 h 593"/>
                <a:gd name="T64" fmla="*/ 2147483647 w 946"/>
                <a:gd name="T65" fmla="*/ 2147483647 h 593"/>
                <a:gd name="T66" fmla="*/ 2147483647 w 946"/>
                <a:gd name="T67" fmla="*/ 2147483647 h 593"/>
                <a:gd name="T68" fmla="*/ 2147483647 w 946"/>
                <a:gd name="T69" fmla="*/ 2147483647 h 593"/>
                <a:gd name="T70" fmla="*/ 2147483647 w 946"/>
                <a:gd name="T71" fmla="*/ 2147483647 h 593"/>
                <a:gd name="T72" fmla="*/ 2147483647 w 946"/>
                <a:gd name="T73" fmla="*/ 2147483647 h 593"/>
                <a:gd name="T74" fmla="*/ 2147483647 w 946"/>
                <a:gd name="T75" fmla="*/ 2147483647 h 593"/>
                <a:gd name="T76" fmla="*/ 2147483647 w 946"/>
                <a:gd name="T77" fmla="*/ 2147483647 h 593"/>
                <a:gd name="T78" fmla="*/ 2147483647 w 946"/>
                <a:gd name="T79" fmla="*/ 2147483647 h 593"/>
                <a:gd name="T80" fmla="*/ 2147483647 w 946"/>
                <a:gd name="T81" fmla="*/ 2147483647 h 593"/>
                <a:gd name="T82" fmla="*/ 2147483647 w 946"/>
                <a:gd name="T83" fmla="*/ 0 h 593"/>
                <a:gd name="T84" fmla="*/ 2147483647 w 946"/>
                <a:gd name="T85" fmla="*/ 0 h 593"/>
                <a:gd name="T86" fmla="*/ 2147483647 w 946"/>
                <a:gd name="T87" fmla="*/ 0 h 593"/>
                <a:gd name="T88" fmla="*/ 2147483647 w 946"/>
                <a:gd name="T89" fmla="*/ 0 h 593"/>
                <a:gd name="T90" fmla="*/ 2147483647 w 946"/>
                <a:gd name="T91" fmla="*/ 0 h 593"/>
                <a:gd name="T92" fmla="*/ 0 w 946"/>
                <a:gd name="T93" fmla="*/ 0 h 593"/>
                <a:gd name="T94" fmla="*/ 2147483647 w 946"/>
                <a:gd name="T95" fmla="*/ 0 h 593"/>
                <a:gd name="T96" fmla="*/ 2147483647 w 946"/>
                <a:gd name="T97" fmla="*/ 0 h 593"/>
                <a:gd name="T98" fmla="*/ 2147483647 w 946"/>
                <a:gd name="T99" fmla="*/ 0 h 593"/>
                <a:gd name="T100" fmla="*/ 2147483647 w 946"/>
                <a:gd name="T101" fmla="*/ 0 h 593"/>
                <a:gd name="T102" fmla="*/ 2147483647 w 946"/>
                <a:gd name="T103" fmla="*/ 0 h 593"/>
                <a:gd name="T104" fmla="*/ 0 w 946"/>
                <a:gd name="T105" fmla="*/ 0 h 593"/>
                <a:gd name="T106" fmla="*/ 0 w 946"/>
                <a:gd name="T107" fmla="*/ 0 h 593"/>
                <a:gd name="T108" fmla="*/ 0 w 946"/>
                <a:gd name="T109" fmla="*/ 0 h 593"/>
                <a:gd name="T110" fmla="*/ 0 w 946"/>
                <a:gd name="T111" fmla="*/ 0 h 593"/>
                <a:gd name="T112" fmla="*/ 0 w 946"/>
                <a:gd name="T113" fmla="*/ 0 h 59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946"/>
                <a:gd name="T172" fmla="*/ 0 h 593"/>
                <a:gd name="T173" fmla="*/ 946 w 946"/>
                <a:gd name="T174" fmla="*/ 593 h 59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946" h="593">
                  <a:moveTo>
                    <a:pt x="111" y="15"/>
                  </a:moveTo>
                  <a:lnTo>
                    <a:pt x="101" y="17"/>
                  </a:lnTo>
                  <a:lnTo>
                    <a:pt x="79" y="2"/>
                  </a:lnTo>
                  <a:lnTo>
                    <a:pt x="60" y="0"/>
                  </a:lnTo>
                  <a:lnTo>
                    <a:pt x="27" y="11"/>
                  </a:lnTo>
                  <a:lnTo>
                    <a:pt x="27" y="21"/>
                  </a:lnTo>
                  <a:lnTo>
                    <a:pt x="21" y="27"/>
                  </a:lnTo>
                  <a:lnTo>
                    <a:pt x="6" y="25"/>
                  </a:lnTo>
                  <a:lnTo>
                    <a:pt x="9" y="32"/>
                  </a:lnTo>
                  <a:lnTo>
                    <a:pt x="5" y="39"/>
                  </a:lnTo>
                  <a:lnTo>
                    <a:pt x="8" y="48"/>
                  </a:lnTo>
                  <a:lnTo>
                    <a:pt x="19" y="52"/>
                  </a:lnTo>
                  <a:lnTo>
                    <a:pt x="31" y="66"/>
                  </a:lnTo>
                  <a:lnTo>
                    <a:pt x="36" y="72"/>
                  </a:lnTo>
                  <a:lnTo>
                    <a:pt x="37" y="76"/>
                  </a:lnTo>
                  <a:lnTo>
                    <a:pt x="21" y="76"/>
                  </a:lnTo>
                  <a:lnTo>
                    <a:pt x="6" y="64"/>
                  </a:lnTo>
                  <a:lnTo>
                    <a:pt x="3" y="6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24" y="92"/>
                  </a:lnTo>
                  <a:lnTo>
                    <a:pt x="25" y="99"/>
                  </a:lnTo>
                  <a:lnTo>
                    <a:pt x="35" y="108"/>
                  </a:lnTo>
                  <a:lnTo>
                    <a:pt x="37" y="106"/>
                  </a:lnTo>
                  <a:lnTo>
                    <a:pt x="45" y="122"/>
                  </a:lnTo>
                  <a:lnTo>
                    <a:pt x="52" y="120"/>
                  </a:lnTo>
                  <a:lnTo>
                    <a:pt x="72" y="167"/>
                  </a:lnTo>
                  <a:lnTo>
                    <a:pt x="91" y="169"/>
                  </a:lnTo>
                  <a:lnTo>
                    <a:pt x="101" y="179"/>
                  </a:lnTo>
                  <a:lnTo>
                    <a:pt x="110" y="210"/>
                  </a:lnTo>
                  <a:lnTo>
                    <a:pt x="111" y="192"/>
                  </a:lnTo>
                  <a:lnTo>
                    <a:pt x="118" y="201"/>
                  </a:lnTo>
                  <a:lnTo>
                    <a:pt x="169" y="210"/>
                  </a:lnTo>
                  <a:lnTo>
                    <a:pt x="175" y="209"/>
                  </a:lnTo>
                  <a:lnTo>
                    <a:pt x="167" y="204"/>
                  </a:lnTo>
                  <a:lnTo>
                    <a:pt x="169" y="197"/>
                  </a:lnTo>
                  <a:lnTo>
                    <a:pt x="176" y="194"/>
                  </a:lnTo>
                  <a:lnTo>
                    <a:pt x="177" y="197"/>
                  </a:lnTo>
                  <a:lnTo>
                    <a:pt x="185" y="192"/>
                  </a:lnTo>
                  <a:lnTo>
                    <a:pt x="191" y="187"/>
                  </a:lnTo>
                  <a:lnTo>
                    <a:pt x="192" y="181"/>
                  </a:lnTo>
                  <a:lnTo>
                    <a:pt x="197" y="176"/>
                  </a:lnTo>
                  <a:lnTo>
                    <a:pt x="207" y="183"/>
                  </a:lnTo>
                  <a:lnTo>
                    <a:pt x="210" y="203"/>
                  </a:lnTo>
                  <a:lnTo>
                    <a:pt x="216" y="216"/>
                  </a:lnTo>
                  <a:lnTo>
                    <a:pt x="224" y="230"/>
                  </a:lnTo>
                  <a:lnTo>
                    <a:pt x="229" y="253"/>
                  </a:lnTo>
                  <a:lnTo>
                    <a:pt x="229" y="268"/>
                  </a:lnTo>
                  <a:lnTo>
                    <a:pt x="234" y="271"/>
                  </a:lnTo>
                  <a:lnTo>
                    <a:pt x="246" y="289"/>
                  </a:lnTo>
                  <a:lnTo>
                    <a:pt x="255" y="306"/>
                  </a:lnTo>
                  <a:lnTo>
                    <a:pt x="256" y="328"/>
                  </a:lnTo>
                  <a:lnTo>
                    <a:pt x="258" y="345"/>
                  </a:lnTo>
                  <a:lnTo>
                    <a:pt x="266" y="354"/>
                  </a:lnTo>
                  <a:lnTo>
                    <a:pt x="253" y="367"/>
                  </a:lnTo>
                  <a:lnTo>
                    <a:pt x="239" y="397"/>
                  </a:lnTo>
                  <a:lnTo>
                    <a:pt x="245" y="400"/>
                  </a:lnTo>
                  <a:lnTo>
                    <a:pt x="240" y="426"/>
                  </a:lnTo>
                  <a:lnTo>
                    <a:pt x="239" y="437"/>
                  </a:lnTo>
                  <a:lnTo>
                    <a:pt x="245" y="454"/>
                  </a:lnTo>
                  <a:lnTo>
                    <a:pt x="264" y="450"/>
                  </a:lnTo>
                  <a:lnTo>
                    <a:pt x="261" y="466"/>
                  </a:lnTo>
                  <a:lnTo>
                    <a:pt x="256" y="481"/>
                  </a:lnTo>
                  <a:lnTo>
                    <a:pt x="258" y="507"/>
                  </a:lnTo>
                  <a:lnTo>
                    <a:pt x="257" y="518"/>
                  </a:lnTo>
                  <a:lnTo>
                    <a:pt x="271" y="534"/>
                  </a:lnTo>
                  <a:lnTo>
                    <a:pt x="288" y="540"/>
                  </a:lnTo>
                  <a:lnTo>
                    <a:pt x="282" y="543"/>
                  </a:lnTo>
                  <a:lnTo>
                    <a:pt x="283" y="551"/>
                  </a:lnTo>
                  <a:lnTo>
                    <a:pt x="288" y="558"/>
                  </a:lnTo>
                  <a:lnTo>
                    <a:pt x="306" y="554"/>
                  </a:lnTo>
                  <a:lnTo>
                    <a:pt x="307" y="537"/>
                  </a:lnTo>
                  <a:lnTo>
                    <a:pt x="312" y="533"/>
                  </a:lnTo>
                  <a:lnTo>
                    <a:pt x="330" y="517"/>
                  </a:lnTo>
                  <a:lnTo>
                    <a:pt x="318" y="537"/>
                  </a:lnTo>
                  <a:lnTo>
                    <a:pt x="334" y="560"/>
                  </a:lnTo>
                  <a:lnTo>
                    <a:pt x="334" y="533"/>
                  </a:lnTo>
                  <a:lnTo>
                    <a:pt x="345" y="559"/>
                  </a:lnTo>
                  <a:lnTo>
                    <a:pt x="355" y="559"/>
                  </a:lnTo>
                  <a:lnTo>
                    <a:pt x="352" y="569"/>
                  </a:lnTo>
                  <a:lnTo>
                    <a:pt x="363" y="572"/>
                  </a:lnTo>
                  <a:lnTo>
                    <a:pt x="366" y="564"/>
                  </a:lnTo>
                  <a:lnTo>
                    <a:pt x="369" y="577"/>
                  </a:lnTo>
                  <a:lnTo>
                    <a:pt x="397" y="580"/>
                  </a:lnTo>
                  <a:lnTo>
                    <a:pt x="417" y="558"/>
                  </a:lnTo>
                  <a:lnTo>
                    <a:pt x="416" y="553"/>
                  </a:lnTo>
                  <a:lnTo>
                    <a:pt x="404" y="542"/>
                  </a:lnTo>
                  <a:lnTo>
                    <a:pt x="407" y="529"/>
                  </a:lnTo>
                  <a:lnTo>
                    <a:pt x="404" y="529"/>
                  </a:lnTo>
                  <a:lnTo>
                    <a:pt x="412" y="527"/>
                  </a:lnTo>
                  <a:lnTo>
                    <a:pt x="419" y="531"/>
                  </a:lnTo>
                  <a:lnTo>
                    <a:pt x="418" y="517"/>
                  </a:lnTo>
                  <a:lnTo>
                    <a:pt x="425" y="540"/>
                  </a:lnTo>
                  <a:lnTo>
                    <a:pt x="431" y="550"/>
                  </a:lnTo>
                  <a:lnTo>
                    <a:pt x="441" y="531"/>
                  </a:lnTo>
                  <a:lnTo>
                    <a:pt x="443" y="517"/>
                  </a:lnTo>
                  <a:lnTo>
                    <a:pt x="447" y="518"/>
                  </a:lnTo>
                  <a:lnTo>
                    <a:pt x="456" y="528"/>
                  </a:lnTo>
                  <a:lnTo>
                    <a:pt x="456" y="538"/>
                  </a:lnTo>
                  <a:lnTo>
                    <a:pt x="452" y="561"/>
                  </a:lnTo>
                  <a:lnTo>
                    <a:pt x="451" y="585"/>
                  </a:lnTo>
                  <a:lnTo>
                    <a:pt x="466" y="591"/>
                  </a:lnTo>
                  <a:lnTo>
                    <a:pt x="474" y="585"/>
                  </a:lnTo>
                  <a:lnTo>
                    <a:pt x="486" y="591"/>
                  </a:lnTo>
                  <a:lnTo>
                    <a:pt x="493" y="583"/>
                  </a:lnTo>
                  <a:lnTo>
                    <a:pt x="497" y="593"/>
                  </a:lnTo>
                  <a:lnTo>
                    <a:pt x="516" y="588"/>
                  </a:lnTo>
                  <a:lnTo>
                    <a:pt x="517" y="575"/>
                  </a:lnTo>
                  <a:lnTo>
                    <a:pt x="525" y="575"/>
                  </a:lnTo>
                  <a:lnTo>
                    <a:pt x="524" y="588"/>
                  </a:lnTo>
                  <a:lnTo>
                    <a:pt x="533" y="591"/>
                  </a:lnTo>
                  <a:lnTo>
                    <a:pt x="554" y="592"/>
                  </a:lnTo>
                  <a:lnTo>
                    <a:pt x="560" y="587"/>
                  </a:lnTo>
                  <a:lnTo>
                    <a:pt x="559" y="579"/>
                  </a:lnTo>
                  <a:lnTo>
                    <a:pt x="553" y="566"/>
                  </a:lnTo>
                  <a:lnTo>
                    <a:pt x="557" y="579"/>
                  </a:lnTo>
                  <a:lnTo>
                    <a:pt x="572" y="588"/>
                  </a:lnTo>
                  <a:lnTo>
                    <a:pt x="579" y="580"/>
                  </a:lnTo>
                  <a:lnTo>
                    <a:pt x="583" y="566"/>
                  </a:lnTo>
                  <a:lnTo>
                    <a:pt x="590" y="579"/>
                  </a:lnTo>
                  <a:lnTo>
                    <a:pt x="594" y="592"/>
                  </a:lnTo>
                  <a:lnTo>
                    <a:pt x="613" y="588"/>
                  </a:lnTo>
                  <a:lnTo>
                    <a:pt x="621" y="575"/>
                  </a:lnTo>
                  <a:lnTo>
                    <a:pt x="621" y="549"/>
                  </a:lnTo>
                  <a:lnTo>
                    <a:pt x="634" y="581"/>
                  </a:lnTo>
                  <a:lnTo>
                    <a:pt x="640" y="585"/>
                  </a:lnTo>
                  <a:lnTo>
                    <a:pt x="643" y="576"/>
                  </a:lnTo>
                  <a:lnTo>
                    <a:pt x="651" y="566"/>
                  </a:lnTo>
                  <a:lnTo>
                    <a:pt x="649" y="551"/>
                  </a:lnTo>
                  <a:lnTo>
                    <a:pt x="650" y="543"/>
                  </a:lnTo>
                  <a:lnTo>
                    <a:pt x="651" y="556"/>
                  </a:lnTo>
                  <a:lnTo>
                    <a:pt x="658" y="580"/>
                  </a:lnTo>
                  <a:lnTo>
                    <a:pt x="682" y="580"/>
                  </a:lnTo>
                  <a:lnTo>
                    <a:pt x="730" y="569"/>
                  </a:lnTo>
                  <a:lnTo>
                    <a:pt x="747" y="532"/>
                  </a:lnTo>
                  <a:lnTo>
                    <a:pt x="737" y="521"/>
                  </a:lnTo>
                  <a:lnTo>
                    <a:pt x="731" y="505"/>
                  </a:lnTo>
                  <a:lnTo>
                    <a:pt x="728" y="497"/>
                  </a:lnTo>
                  <a:lnTo>
                    <a:pt x="739" y="504"/>
                  </a:lnTo>
                  <a:lnTo>
                    <a:pt x="746" y="518"/>
                  </a:lnTo>
                  <a:lnTo>
                    <a:pt x="757" y="518"/>
                  </a:lnTo>
                  <a:lnTo>
                    <a:pt x="758" y="533"/>
                  </a:lnTo>
                  <a:lnTo>
                    <a:pt x="758" y="559"/>
                  </a:lnTo>
                  <a:lnTo>
                    <a:pt x="775" y="582"/>
                  </a:lnTo>
                  <a:lnTo>
                    <a:pt x="788" y="580"/>
                  </a:lnTo>
                  <a:lnTo>
                    <a:pt x="790" y="570"/>
                  </a:lnTo>
                  <a:lnTo>
                    <a:pt x="796" y="580"/>
                  </a:lnTo>
                  <a:lnTo>
                    <a:pt x="811" y="588"/>
                  </a:lnTo>
                  <a:lnTo>
                    <a:pt x="825" y="591"/>
                  </a:lnTo>
                  <a:lnTo>
                    <a:pt x="837" y="579"/>
                  </a:lnTo>
                  <a:lnTo>
                    <a:pt x="859" y="570"/>
                  </a:lnTo>
                  <a:lnTo>
                    <a:pt x="892" y="570"/>
                  </a:lnTo>
                  <a:lnTo>
                    <a:pt x="903" y="564"/>
                  </a:lnTo>
                  <a:lnTo>
                    <a:pt x="917" y="563"/>
                  </a:lnTo>
                  <a:lnTo>
                    <a:pt x="917" y="534"/>
                  </a:lnTo>
                  <a:lnTo>
                    <a:pt x="913" y="528"/>
                  </a:lnTo>
                  <a:lnTo>
                    <a:pt x="915" y="521"/>
                  </a:lnTo>
                  <a:lnTo>
                    <a:pt x="909" y="510"/>
                  </a:lnTo>
                  <a:lnTo>
                    <a:pt x="896" y="495"/>
                  </a:lnTo>
                  <a:lnTo>
                    <a:pt x="897" y="468"/>
                  </a:lnTo>
                  <a:lnTo>
                    <a:pt x="907" y="463"/>
                  </a:lnTo>
                  <a:lnTo>
                    <a:pt x="917" y="453"/>
                  </a:lnTo>
                  <a:lnTo>
                    <a:pt x="923" y="440"/>
                  </a:lnTo>
                  <a:lnTo>
                    <a:pt x="935" y="434"/>
                  </a:lnTo>
                  <a:lnTo>
                    <a:pt x="946" y="415"/>
                  </a:lnTo>
                  <a:lnTo>
                    <a:pt x="945" y="378"/>
                  </a:lnTo>
                  <a:lnTo>
                    <a:pt x="944" y="376"/>
                  </a:lnTo>
                  <a:lnTo>
                    <a:pt x="936" y="376"/>
                  </a:lnTo>
                  <a:lnTo>
                    <a:pt x="933" y="367"/>
                  </a:lnTo>
                  <a:lnTo>
                    <a:pt x="935" y="361"/>
                  </a:lnTo>
                  <a:lnTo>
                    <a:pt x="911" y="366"/>
                  </a:lnTo>
                  <a:lnTo>
                    <a:pt x="902" y="362"/>
                  </a:lnTo>
                  <a:lnTo>
                    <a:pt x="913" y="355"/>
                  </a:lnTo>
                  <a:lnTo>
                    <a:pt x="912" y="346"/>
                  </a:lnTo>
                  <a:lnTo>
                    <a:pt x="909" y="341"/>
                  </a:lnTo>
                  <a:lnTo>
                    <a:pt x="892" y="329"/>
                  </a:lnTo>
                  <a:lnTo>
                    <a:pt x="881" y="334"/>
                  </a:lnTo>
                  <a:lnTo>
                    <a:pt x="860" y="328"/>
                  </a:lnTo>
                  <a:lnTo>
                    <a:pt x="863" y="310"/>
                  </a:lnTo>
                  <a:lnTo>
                    <a:pt x="859" y="302"/>
                  </a:lnTo>
                  <a:lnTo>
                    <a:pt x="853" y="305"/>
                  </a:lnTo>
                  <a:lnTo>
                    <a:pt x="798" y="291"/>
                  </a:lnTo>
                  <a:lnTo>
                    <a:pt x="777" y="297"/>
                  </a:lnTo>
                  <a:lnTo>
                    <a:pt x="756" y="313"/>
                  </a:lnTo>
                  <a:lnTo>
                    <a:pt x="741" y="311"/>
                  </a:lnTo>
                  <a:lnTo>
                    <a:pt x="737" y="302"/>
                  </a:lnTo>
                  <a:lnTo>
                    <a:pt x="729" y="306"/>
                  </a:lnTo>
                  <a:lnTo>
                    <a:pt x="720" y="298"/>
                  </a:lnTo>
                  <a:lnTo>
                    <a:pt x="712" y="298"/>
                  </a:lnTo>
                  <a:lnTo>
                    <a:pt x="705" y="310"/>
                  </a:lnTo>
                  <a:lnTo>
                    <a:pt x="676" y="324"/>
                  </a:lnTo>
                  <a:lnTo>
                    <a:pt x="670" y="330"/>
                  </a:lnTo>
                  <a:lnTo>
                    <a:pt x="671" y="338"/>
                  </a:lnTo>
                  <a:lnTo>
                    <a:pt x="673" y="341"/>
                  </a:lnTo>
                  <a:lnTo>
                    <a:pt x="654" y="335"/>
                  </a:lnTo>
                  <a:lnTo>
                    <a:pt x="644" y="339"/>
                  </a:lnTo>
                  <a:lnTo>
                    <a:pt x="638" y="351"/>
                  </a:lnTo>
                  <a:lnTo>
                    <a:pt x="635" y="348"/>
                  </a:lnTo>
                  <a:lnTo>
                    <a:pt x="638" y="362"/>
                  </a:lnTo>
                  <a:lnTo>
                    <a:pt x="637" y="367"/>
                  </a:lnTo>
                  <a:lnTo>
                    <a:pt x="635" y="362"/>
                  </a:lnTo>
                  <a:lnTo>
                    <a:pt x="623" y="357"/>
                  </a:lnTo>
                  <a:lnTo>
                    <a:pt x="621" y="349"/>
                  </a:lnTo>
                  <a:lnTo>
                    <a:pt x="610" y="361"/>
                  </a:lnTo>
                  <a:lnTo>
                    <a:pt x="600" y="361"/>
                  </a:lnTo>
                  <a:lnTo>
                    <a:pt x="584" y="370"/>
                  </a:lnTo>
                  <a:lnTo>
                    <a:pt x="585" y="377"/>
                  </a:lnTo>
                  <a:lnTo>
                    <a:pt x="596" y="386"/>
                  </a:lnTo>
                  <a:lnTo>
                    <a:pt x="615" y="391"/>
                  </a:lnTo>
                  <a:lnTo>
                    <a:pt x="617" y="399"/>
                  </a:lnTo>
                  <a:lnTo>
                    <a:pt x="606" y="394"/>
                  </a:lnTo>
                  <a:lnTo>
                    <a:pt x="583" y="393"/>
                  </a:lnTo>
                  <a:lnTo>
                    <a:pt x="554" y="409"/>
                  </a:lnTo>
                  <a:lnTo>
                    <a:pt x="549" y="403"/>
                  </a:lnTo>
                  <a:lnTo>
                    <a:pt x="567" y="393"/>
                  </a:lnTo>
                  <a:lnTo>
                    <a:pt x="560" y="386"/>
                  </a:lnTo>
                  <a:lnTo>
                    <a:pt x="538" y="377"/>
                  </a:lnTo>
                  <a:lnTo>
                    <a:pt x="529" y="360"/>
                  </a:lnTo>
                  <a:lnTo>
                    <a:pt x="511" y="351"/>
                  </a:lnTo>
                  <a:lnTo>
                    <a:pt x="504" y="364"/>
                  </a:lnTo>
                  <a:lnTo>
                    <a:pt x="505" y="377"/>
                  </a:lnTo>
                  <a:lnTo>
                    <a:pt x="503" y="386"/>
                  </a:lnTo>
                  <a:lnTo>
                    <a:pt x="498" y="364"/>
                  </a:lnTo>
                  <a:lnTo>
                    <a:pt x="492" y="357"/>
                  </a:lnTo>
                  <a:lnTo>
                    <a:pt x="482" y="370"/>
                  </a:lnTo>
                  <a:lnTo>
                    <a:pt x="479" y="377"/>
                  </a:lnTo>
                  <a:lnTo>
                    <a:pt x="474" y="384"/>
                  </a:lnTo>
                  <a:lnTo>
                    <a:pt x="465" y="383"/>
                  </a:lnTo>
                  <a:lnTo>
                    <a:pt x="470" y="371"/>
                  </a:lnTo>
                  <a:lnTo>
                    <a:pt x="467" y="367"/>
                  </a:lnTo>
                  <a:lnTo>
                    <a:pt x="458" y="357"/>
                  </a:lnTo>
                  <a:lnTo>
                    <a:pt x="456" y="350"/>
                  </a:lnTo>
                  <a:lnTo>
                    <a:pt x="445" y="340"/>
                  </a:lnTo>
                  <a:lnTo>
                    <a:pt x="436" y="348"/>
                  </a:lnTo>
                  <a:lnTo>
                    <a:pt x="434" y="359"/>
                  </a:lnTo>
                  <a:lnTo>
                    <a:pt x="439" y="383"/>
                  </a:lnTo>
                  <a:lnTo>
                    <a:pt x="431" y="397"/>
                  </a:lnTo>
                  <a:lnTo>
                    <a:pt x="427" y="388"/>
                  </a:lnTo>
                  <a:lnTo>
                    <a:pt x="422" y="365"/>
                  </a:lnTo>
                  <a:lnTo>
                    <a:pt x="407" y="357"/>
                  </a:lnTo>
                  <a:lnTo>
                    <a:pt x="400" y="367"/>
                  </a:lnTo>
                  <a:lnTo>
                    <a:pt x="395" y="366"/>
                  </a:lnTo>
                  <a:lnTo>
                    <a:pt x="395" y="364"/>
                  </a:lnTo>
                  <a:lnTo>
                    <a:pt x="397" y="357"/>
                  </a:lnTo>
                  <a:lnTo>
                    <a:pt x="388" y="361"/>
                  </a:lnTo>
                  <a:lnTo>
                    <a:pt x="390" y="354"/>
                  </a:lnTo>
                  <a:lnTo>
                    <a:pt x="409" y="349"/>
                  </a:lnTo>
                  <a:lnTo>
                    <a:pt x="417" y="317"/>
                  </a:lnTo>
                  <a:lnTo>
                    <a:pt x="412" y="316"/>
                  </a:lnTo>
                  <a:lnTo>
                    <a:pt x="407" y="302"/>
                  </a:lnTo>
                  <a:lnTo>
                    <a:pt x="393" y="310"/>
                  </a:lnTo>
                  <a:lnTo>
                    <a:pt x="381" y="306"/>
                  </a:lnTo>
                  <a:lnTo>
                    <a:pt x="387" y="295"/>
                  </a:lnTo>
                  <a:lnTo>
                    <a:pt x="380" y="278"/>
                  </a:lnTo>
                  <a:lnTo>
                    <a:pt x="374" y="274"/>
                  </a:lnTo>
                  <a:lnTo>
                    <a:pt x="369" y="284"/>
                  </a:lnTo>
                  <a:lnTo>
                    <a:pt x="365" y="286"/>
                  </a:lnTo>
                  <a:lnTo>
                    <a:pt x="358" y="279"/>
                  </a:lnTo>
                  <a:lnTo>
                    <a:pt x="347" y="289"/>
                  </a:lnTo>
                  <a:lnTo>
                    <a:pt x="347" y="275"/>
                  </a:lnTo>
                  <a:lnTo>
                    <a:pt x="339" y="280"/>
                  </a:lnTo>
                  <a:lnTo>
                    <a:pt x="333" y="279"/>
                  </a:lnTo>
                  <a:lnTo>
                    <a:pt x="332" y="276"/>
                  </a:lnTo>
                  <a:lnTo>
                    <a:pt x="327" y="289"/>
                  </a:lnTo>
                  <a:lnTo>
                    <a:pt x="306" y="312"/>
                  </a:lnTo>
                  <a:lnTo>
                    <a:pt x="309" y="291"/>
                  </a:lnTo>
                  <a:lnTo>
                    <a:pt x="317" y="286"/>
                  </a:lnTo>
                  <a:lnTo>
                    <a:pt x="318" y="281"/>
                  </a:lnTo>
                  <a:lnTo>
                    <a:pt x="312" y="271"/>
                  </a:lnTo>
                  <a:lnTo>
                    <a:pt x="354" y="263"/>
                  </a:lnTo>
                  <a:lnTo>
                    <a:pt x="344" y="255"/>
                  </a:lnTo>
                  <a:lnTo>
                    <a:pt x="332" y="259"/>
                  </a:lnTo>
                  <a:lnTo>
                    <a:pt x="326" y="252"/>
                  </a:lnTo>
                  <a:lnTo>
                    <a:pt x="328" y="249"/>
                  </a:lnTo>
                  <a:lnTo>
                    <a:pt x="330" y="246"/>
                  </a:lnTo>
                  <a:lnTo>
                    <a:pt x="325" y="246"/>
                  </a:lnTo>
                  <a:lnTo>
                    <a:pt x="321" y="238"/>
                  </a:lnTo>
                  <a:lnTo>
                    <a:pt x="307" y="231"/>
                  </a:lnTo>
                  <a:lnTo>
                    <a:pt x="290" y="230"/>
                  </a:lnTo>
                  <a:lnTo>
                    <a:pt x="301" y="217"/>
                  </a:lnTo>
                  <a:lnTo>
                    <a:pt x="295" y="215"/>
                  </a:lnTo>
                  <a:lnTo>
                    <a:pt x="296" y="206"/>
                  </a:lnTo>
                  <a:lnTo>
                    <a:pt x="311" y="225"/>
                  </a:lnTo>
                  <a:lnTo>
                    <a:pt x="326" y="228"/>
                  </a:lnTo>
                  <a:lnTo>
                    <a:pt x="337" y="227"/>
                  </a:lnTo>
                  <a:lnTo>
                    <a:pt x="349" y="241"/>
                  </a:lnTo>
                  <a:lnTo>
                    <a:pt x="357" y="241"/>
                  </a:lnTo>
                  <a:lnTo>
                    <a:pt x="347" y="232"/>
                  </a:lnTo>
                  <a:lnTo>
                    <a:pt x="359" y="231"/>
                  </a:lnTo>
                  <a:lnTo>
                    <a:pt x="387" y="237"/>
                  </a:lnTo>
                  <a:lnTo>
                    <a:pt x="402" y="236"/>
                  </a:lnTo>
                  <a:lnTo>
                    <a:pt x="417" y="222"/>
                  </a:lnTo>
                  <a:lnTo>
                    <a:pt x="420" y="206"/>
                  </a:lnTo>
                  <a:lnTo>
                    <a:pt x="418" y="193"/>
                  </a:lnTo>
                  <a:lnTo>
                    <a:pt x="401" y="197"/>
                  </a:lnTo>
                  <a:lnTo>
                    <a:pt x="386" y="193"/>
                  </a:lnTo>
                  <a:lnTo>
                    <a:pt x="359" y="176"/>
                  </a:lnTo>
                  <a:lnTo>
                    <a:pt x="352" y="174"/>
                  </a:lnTo>
                  <a:lnTo>
                    <a:pt x="347" y="179"/>
                  </a:lnTo>
                  <a:lnTo>
                    <a:pt x="344" y="172"/>
                  </a:lnTo>
                  <a:lnTo>
                    <a:pt x="325" y="160"/>
                  </a:lnTo>
                  <a:lnTo>
                    <a:pt x="298" y="157"/>
                  </a:lnTo>
                  <a:lnTo>
                    <a:pt x="295" y="151"/>
                  </a:lnTo>
                  <a:lnTo>
                    <a:pt x="295" y="146"/>
                  </a:lnTo>
                  <a:lnTo>
                    <a:pt x="320" y="150"/>
                  </a:lnTo>
                  <a:lnTo>
                    <a:pt x="323" y="144"/>
                  </a:lnTo>
                  <a:lnTo>
                    <a:pt x="328" y="151"/>
                  </a:lnTo>
                  <a:lnTo>
                    <a:pt x="337" y="157"/>
                  </a:lnTo>
                  <a:lnTo>
                    <a:pt x="345" y="160"/>
                  </a:lnTo>
                  <a:lnTo>
                    <a:pt x="354" y="156"/>
                  </a:lnTo>
                  <a:lnTo>
                    <a:pt x="352" y="150"/>
                  </a:lnTo>
                  <a:lnTo>
                    <a:pt x="350" y="139"/>
                  </a:lnTo>
                  <a:lnTo>
                    <a:pt x="345" y="130"/>
                  </a:lnTo>
                  <a:lnTo>
                    <a:pt x="320" y="112"/>
                  </a:lnTo>
                  <a:lnTo>
                    <a:pt x="310" y="108"/>
                  </a:lnTo>
                  <a:lnTo>
                    <a:pt x="302" y="102"/>
                  </a:lnTo>
                  <a:lnTo>
                    <a:pt x="301" y="97"/>
                  </a:lnTo>
                  <a:lnTo>
                    <a:pt x="293" y="95"/>
                  </a:lnTo>
                  <a:lnTo>
                    <a:pt x="290" y="99"/>
                  </a:lnTo>
                  <a:lnTo>
                    <a:pt x="269" y="107"/>
                  </a:lnTo>
                  <a:lnTo>
                    <a:pt x="261" y="119"/>
                  </a:lnTo>
                  <a:lnTo>
                    <a:pt x="247" y="123"/>
                  </a:lnTo>
                  <a:lnTo>
                    <a:pt x="241" y="115"/>
                  </a:lnTo>
                  <a:lnTo>
                    <a:pt x="232" y="123"/>
                  </a:lnTo>
                  <a:lnTo>
                    <a:pt x="210" y="120"/>
                  </a:lnTo>
                  <a:lnTo>
                    <a:pt x="193" y="152"/>
                  </a:lnTo>
                  <a:lnTo>
                    <a:pt x="180" y="163"/>
                  </a:lnTo>
                  <a:lnTo>
                    <a:pt x="182" y="154"/>
                  </a:lnTo>
                  <a:lnTo>
                    <a:pt x="181" y="147"/>
                  </a:lnTo>
                  <a:lnTo>
                    <a:pt x="192" y="123"/>
                  </a:lnTo>
                  <a:lnTo>
                    <a:pt x="191" y="112"/>
                  </a:lnTo>
                  <a:lnTo>
                    <a:pt x="197" y="86"/>
                  </a:lnTo>
                  <a:lnTo>
                    <a:pt x="193" y="82"/>
                  </a:lnTo>
                  <a:lnTo>
                    <a:pt x="192" y="70"/>
                  </a:lnTo>
                  <a:lnTo>
                    <a:pt x="186" y="63"/>
                  </a:lnTo>
                  <a:lnTo>
                    <a:pt x="176" y="36"/>
                  </a:lnTo>
                  <a:lnTo>
                    <a:pt x="166" y="39"/>
                  </a:lnTo>
                  <a:lnTo>
                    <a:pt x="161" y="29"/>
                  </a:lnTo>
                  <a:lnTo>
                    <a:pt x="156" y="39"/>
                  </a:lnTo>
                  <a:lnTo>
                    <a:pt x="143" y="45"/>
                  </a:lnTo>
                  <a:lnTo>
                    <a:pt x="137" y="33"/>
                  </a:lnTo>
                  <a:lnTo>
                    <a:pt x="111" y="1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69" name="Freeform 294">
              <a:extLst>
                <a:ext uri="{FF2B5EF4-FFF2-40B4-BE49-F238E27FC236}">
                  <a16:creationId xmlns:a16="http://schemas.microsoft.com/office/drawing/2014/main" id="{69E32849-3438-CE5C-A311-85F6AFAC5E32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946677" y="644768"/>
              <a:ext cx="86556" cy="131083"/>
            </a:xfrm>
            <a:custGeom>
              <a:avLst/>
              <a:gdLst>
                <a:gd name="T0" fmla="*/ 0 w 163"/>
                <a:gd name="T1" fmla="*/ 0 h 229"/>
                <a:gd name="T2" fmla="*/ 0 w 163"/>
                <a:gd name="T3" fmla="*/ 0 h 229"/>
                <a:gd name="T4" fmla="*/ 0 w 163"/>
                <a:gd name="T5" fmla="*/ 0 h 229"/>
                <a:gd name="T6" fmla="*/ 0 w 163"/>
                <a:gd name="T7" fmla="*/ 0 h 229"/>
                <a:gd name="T8" fmla="*/ 0 w 163"/>
                <a:gd name="T9" fmla="*/ 0 h 229"/>
                <a:gd name="T10" fmla="*/ 0 w 163"/>
                <a:gd name="T11" fmla="*/ 0 h 229"/>
                <a:gd name="T12" fmla="*/ 0 w 163"/>
                <a:gd name="T13" fmla="*/ 0 h 229"/>
                <a:gd name="T14" fmla="*/ 0 w 163"/>
                <a:gd name="T15" fmla="*/ 0 h 229"/>
                <a:gd name="T16" fmla="*/ 0 w 163"/>
                <a:gd name="T17" fmla="*/ 0 h 229"/>
                <a:gd name="T18" fmla="*/ 0 w 163"/>
                <a:gd name="T19" fmla="*/ 0 h 229"/>
                <a:gd name="T20" fmla="*/ 0 w 163"/>
                <a:gd name="T21" fmla="*/ 0 h 229"/>
                <a:gd name="T22" fmla="*/ 0 w 163"/>
                <a:gd name="T23" fmla="*/ 0 h 229"/>
                <a:gd name="T24" fmla="*/ 0 w 163"/>
                <a:gd name="T25" fmla="*/ 0 h 229"/>
                <a:gd name="T26" fmla="*/ 0 w 163"/>
                <a:gd name="T27" fmla="*/ 0 h 229"/>
                <a:gd name="T28" fmla="*/ 0 w 163"/>
                <a:gd name="T29" fmla="*/ 0 h 229"/>
                <a:gd name="T30" fmla="*/ 0 w 163"/>
                <a:gd name="T31" fmla="*/ 0 h 229"/>
                <a:gd name="T32" fmla="*/ 0 w 163"/>
                <a:gd name="T33" fmla="*/ 0 h 229"/>
                <a:gd name="T34" fmla="*/ 0 w 163"/>
                <a:gd name="T35" fmla="*/ 0 h 229"/>
                <a:gd name="T36" fmla="*/ 0 w 163"/>
                <a:gd name="T37" fmla="*/ 0 h 229"/>
                <a:gd name="T38" fmla="*/ 0 w 163"/>
                <a:gd name="T39" fmla="*/ 0 h 229"/>
                <a:gd name="T40" fmla="*/ 0 w 163"/>
                <a:gd name="T41" fmla="*/ 0 h 229"/>
                <a:gd name="T42" fmla="*/ 0 w 163"/>
                <a:gd name="T43" fmla="*/ 0 h 229"/>
                <a:gd name="T44" fmla="*/ 0 w 163"/>
                <a:gd name="T45" fmla="*/ 0 h 229"/>
                <a:gd name="T46" fmla="*/ 0 w 163"/>
                <a:gd name="T47" fmla="*/ 0 h 229"/>
                <a:gd name="T48" fmla="*/ 0 w 163"/>
                <a:gd name="T49" fmla="*/ 0 h 229"/>
                <a:gd name="T50" fmla="*/ 0 w 163"/>
                <a:gd name="T51" fmla="*/ 0 h 229"/>
                <a:gd name="T52" fmla="*/ 0 w 163"/>
                <a:gd name="T53" fmla="*/ 0 h 229"/>
                <a:gd name="T54" fmla="*/ 0 w 163"/>
                <a:gd name="T55" fmla="*/ 0 h 229"/>
                <a:gd name="T56" fmla="*/ 0 w 163"/>
                <a:gd name="T57" fmla="*/ 0 h 229"/>
                <a:gd name="T58" fmla="*/ 0 w 163"/>
                <a:gd name="T59" fmla="*/ 0 h 229"/>
                <a:gd name="T60" fmla="*/ 0 w 163"/>
                <a:gd name="T61" fmla="*/ 0 h 229"/>
                <a:gd name="T62" fmla="*/ 0 w 163"/>
                <a:gd name="T63" fmla="*/ 0 h 229"/>
                <a:gd name="T64" fmla="*/ 0 w 163"/>
                <a:gd name="T65" fmla="*/ 0 h 229"/>
                <a:gd name="T66" fmla="*/ 0 w 163"/>
                <a:gd name="T67" fmla="*/ 0 h 229"/>
                <a:gd name="T68" fmla="*/ 0 w 163"/>
                <a:gd name="T69" fmla="*/ 0 h 229"/>
                <a:gd name="T70" fmla="*/ 0 w 163"/>
                <a:gd name="T71" fmla="*/ 0 h 229"/>
                <a:gd name="T72" fmla="*/ 0 w 163"/>
                <a:gd name="T73" fmla="*/ 0 h 229"/>
                <a:gd name="T74" fmla="*/ 0 w 163"/>
                <a:gd name="T75" fmla="*/ 0 h 22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63"/>
                <a:gd name="T115" fmla="*/ 0 h 229"/>
                <a:gd name="T116" fmla="*/ 163 w 163"/>
                <a:gd name="T117" fmla="*/ 229 h 229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63" h="229">
                  <a:moveTo>
                    <a:pt x="84" y="7"/>
                  </a:moveTo>
                  <a:lnTo>
                    <a:pt x="82" y="0"/>
                  </a:lnTo>
                  <a:lnTo>
                    <a:pt x="85" y="12"/>
                  </a:lnTo>
                  <a:lnTo>
                    <a:pt x="105" y="22"/>
                  </a:lnTo>
                  <a:lnTo>
                    <a:pt x="114" y="34"/>
                  </a:lnTo>
                  <a:lnTo>
                    <a:pt x="123" y="39"/>
                  </a:lnTo>
                  <a:lnTo>
                    <a:pt x="123" y="48"/>
                  </a:lnTo>
                  <a:lnTo>
                    <a:pt x="129" y="48"/>
                  </a:lnTo>
                  <a:lnTo>
                    <a:pt x="134" y="59"/>
                  </a:lnTo>
                  <a:lnTo>
                    <a:pt x="130" y="76"/>
                  </a:lnTo>
                  <a:lnTo>
                    <a:pt x="141" y="65"/>
                  </a:lnTo>
                  <a:lnTo>
                    <a:pt x="149" y="76"/>
                  </a:lnTo>
                  <a:lnTo>
                    <a:pt x="147" y="82"/>
                  </a:lnTo>
                  <a:lnTo>
                    <a:pt x="156" y="89"/>
                  </a:lnTo>
                  <a:lnTo>
                    <a:pt x="161" y="99"/>
                  </a:lnTo>
                  <a:lnTo>
                    <a:pt x="157" y="109"/>
                  </a:lnTo>
                  <a:lnTo>
                    <a:pt x="161" y="123"/>
                  </a:lnTo>
                  <a:lnTo>
                    <a:pt x="159" y="145"/>
                  </a:lnTo>
                  <a:lnTo>
                    <a:pt x="163" y="182"/>
                  </a:lnTo>
                  <a:lnTo>
                    <a:pt x="161" y="210"/>
                  </a:lnTo>
                  <a:lnTo>
                    <a:pt x="159" y="218"/>
                  </a:lnTo>
                  <a:lnTo>
                    <a:pt x="150" y="226"/>
                  </a:lnTo>
                  <a:lnTo>
                    <a:pt x="136" y="224"/>
                  </a:lnTo>
                  <a:lnTo>
                    <a:pt x="124" y="229"/>
                  </a:lnTo>
                  <a:lnTo>
                    <a:pt x="112" y="226"/>
                  </a:lnTo>
                  <a:lnTo>
                    <a:pt x="98" y="228"/>
                  </a:lnTo>
                  <a:lnTo>
                    <a:pt x="89" y="220"/>
                  </a:lnTo>
                  <a:lnTo>
                    <a:pt x="86" y="211"/>
                  </a:lnTo>
                  <a:lnTo>
                    <a:pt x="77" y="207"/>
                  </a:lnTo>
                  <a:lnTo>
                    <a:pt x="75" y="197"/>
                  </a:lnTo>
                  <a:lnTo>
                    <a:pt x="68" y="185"/>
                  </a:lnTo>
                  <a:lnTo>
                    <a:pt x="62" y="185"/>
                  </a:lnTo>
                  <a:lnTo>
                    <a:pt x="59" y="190"/>
                  </a:lnTo>
                  <a:lnTo>
                    <a:pt x="60" y="195"/>
                  </a:lnTo>
                  <a:lnTo>
                    <a:pt x="57" y="197"/>
                  </a:lnTo>
                  <a:lnTo>
                    <a:pt x="53" y="193"/>
                  </a:lnTo>
                  <a:lnTo>
                    <a:pt x="52" y="180"/>
                  </a:lnTo>
                  <a:lnTo>
                    <a:pt x="50" y="178"/>
                  </a:lnTo>
                  <a:lnTo>
                    <a:pt x="42" y="177"/>
                  </a:lnTo>
                  <a:lnTo>
                    <a:pt x="39" y="183"/>
                  </a:lnTo>
                  <a:lnTo>
                    <a:pt x="34" y="178"/>
                  </a:lnTo>
                  <a:lnTo>
                    <a:pt x="26" y="159"/>
                  </a:lnTo>
                  <a:lnTo>
                    <a:pt x="26" y="152"/>
                  </a:lnTo>
                  <a:lnTo>
                    <a:pt x="31" y="142"/>
                  </a:lnTo>
                  <a:lnTo>
                    <a:pt x="27" y="146"/>
                  </a:lnTo>
                  <a:lnTo>
                    <a:pt x="25" y="137"/>
                  </a:lnTo>
                  <a:lnTo>
                    <a:pt x="19" y="157"/>
                  </a:lnTo>
                  <a:lnTo>
                    <a:pt x="14" y="158"/>
                  </a:lnTo>
                  <a:lnTo>
                    <a:pt x="11" y="146"/>
                  </a:lnTo>
                  <a:lnTo>
                    <a:pt x="6" y="141"/>
                  </a:lnTo>
                  <a:lnTo>
                    <a:pt x="1" y="123"/>
                  </a:lnTo>
                  <a:lnTo>
                    <a:pt x="0" y="113"/>
                  </a:lnTo>
                  <a:lnTo>
                    <a:pt x="0" y="103"/>
                  </a:lnTo>
                  <a:lnTo>
                    <a:pt x="6" y="103"/>
                  </a:lnTo>
                  <a:lnTo>
                    <a:pt x="11" y="99"/>
                  </a:lnTo>
                  <a:lnTo>
                    <a:pt x="7" y="92"/>
                  </a:lnTo>
                  <a:lnTo>
                    <a:pt x="12" y="89"/>
                  </a:lnTo>
                  <a:lnTo>
                    <a:pt x="23" y="83"/>
                  </a:lnTo>
                  <a:lnTo>
                    <a:pt x="36" y="78"/>
                  </a:lnTo>
                  <a:lnTo>
                    <a:pt x="34" y="73"/>
                  </a:lnTo>
                  <a:lnTo>
                    <a:pt x="26" y="73"/>
                  </a:lnTo>
                  <a:lnTo>
                    <a:pt x="26" y="67"/>
                  </a:lnTo>
                  <a:lnTo>
                    <a:pt x="32" y="56"/>
                  </a:lnTo>
                  <a:lnTo>
                    <a:pt x="32" y="64"/>
                  </a:lnTo>
                  <a:lnTo>
                    <a:pt x="39" y="61"/>
                  </a:lnTo>
                  <a:lnTo>
                    <a:pt x="39" y="50"/>
                  </a:lnTo>
                  <a:lnTo>
                    <a:pt x="31" y="50"/>
                  </a:lnTo>
                  <a:lnTo>
                    <a:pt x="23" y="60"/>
                  </a:lnTo>
                  <a:lnTo>
                    <a:pt x="22" y="50"/>
                  </a:lnTo>
                  <a:lnTo>
                    <a:pt x="28" y="45"/>
                  </a:lnTo>
                  <a:lnTo>
                    <a:pt x="44" y="49"/>
                  </a:lnTo>
                  <a:lnTo>
                    <a:pt x="44" y="43"/>
                  </a:lnTo>
                  <a:lnTo>
                    <a:pt x="41" y="28"/>
                  </a:lnTo>
                  <a:lnTo>
                    <a:pt x="65" y="5"/>
                  </a:lnTo>
                  <a:lnTo>
                    <a:pt x="76" y="2"/>
                  </a:lnTo>
                  <a:lnTo>
                    <a:pt x="84" y="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70" name="Freeform 295">
              <a:extLst>
                <a:ext uri="{FF2B5EF4-FFF2-40B4-BE49-F238E27FC236}">
                  <a16:creationId xmlns:a16="http://schemas.microsoft.com/office/drawing/2014/main" id="{6360C2D8-6CB1-CF98-0629-0099328FA28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218284" y="1591308"/>
              <a:ext cx="205943" cy="198148"/>
            </a:xfrm>
            <a:custGeom>
              <a:avLst/>
              <a:gdLst>
                <a:gd name="T0" fmla="*/ 0 w 384"/>
                <a:gd name="T1" fmla="*/ 0 h 349"/>
                <a:gd name="T2" fmla="*/ 0 w 384"/>
                <a:gd name="T3" fmla="*/ 0 h 349"/>
                <a:gd name="T4" fmla="*/ 0 w 384"/>
                <a:gd name="T5" fmla="*/ 0 h 349"/>
                <a:gd name="T6" fmla="*/ 0 w 384"/>
                <a:gd name="T7" fmla="*/ 0 h 349"/>
                <a:gd name="T8" fmla="*/ 0 w 384"/>
                <a:gd name="T9" fmla="*/ 0 h 349"/>
                <a:gd name="T10" fmla="*/ 0 w 384"/>
                <a:gd name="T11" fmla="*/ 0 h 349"/>
                <a:gd name="T12" fmla="*/ 0 w 384"/>
                <a:gd name="T13" fmla="*/ 0 h 349"/>
                <a:gd name="T14" fmla="*/ 0 w 384"/>
                <a:gd name="T15" fmla="*/ 0 h 349"/>
                <a:gd name="T16" fmla="*/ 0 w 384"/>
                <a:gd name="T17" fmla="*/ 0 h 349"/>
                <a:gd name="T18" fmla="*/ 0 w 384"/>
                <a:gd name="T19" fmla="*/ 0 h 349"/>
                <a:gd name="T20" fmla="*/ 0 w 384"/>
                <a:gd name="T21" fmla="*/ 0 h 349"/>
                <a:gd name="T22" fmla="*/ 2147483647 w 384"/>
                <a:gd name="T23" fmla="*/ 0 h 349"/>
                <a:gd name="T24" fmla="*/ 2147483647 w 384"/>
                <a:gd name="T25" fmla="*/ 0 h 349"/>
                <a:gd name="T26" fmla="*/ 2147483647 w 384"/>
                <a:gd name="T27" fmla="*/ 0 h 349"/>
                <a:gd name="T28" fmla="*/ 2147483647 w 384"/>
                <a:gd name="T29" fmla="*/ 0 h 349"/>
                <a:gd name="T30" fmla="*/ 2147483647 w 384"/>
                <a:gd name="T31" fmla="*/ 0 h 349"/>
                <a:gd name="T32" fmla="*/ 2147483647 w 384"/>
                <a:gd name="T33" fmla="*/ 0 h 349"/>
                <a:gd name="T34" fmla="*/ 0 w 384"/>
                <a:gd name="T35" fmla="*/ 0 h 349"/>
                <a:gd name="T36" fmla="*/ 0 w 384"/>
                <a:gd name="T37" fmla="*/ 0 h 349"/>
                <a:gd name="T38" fmla="*/ 0 w 384"/>
                <a:gd name="T39" fmla="*/ 0 h 349"/>
                <a:gd name="T40" fmla="*/ 0 w 384"/>
                <a:gd name="T41" fmla="*/ 0 h 349"/>
                <a:gd name="T42" fmla="*/ 0 w 384"/>
                <a:gd name="T43" fmla="*/ 0 h 349"/>
                <a:gd name="T44" fmla="*/ 0 w 384"/>
                <a:gd name="T45" fmla="*/ 0 h 349"/>
                <a:gd name="T46" fmla="*/ 0 w 384"/>
                <a:gd name="T47" fmla="*/ 0 h 349"/>
                <a:gd name="T48" fmla="*/ 0 w 384"/>
                <a:gd name="T49" fmla="*/ 0 h 349"/>
                <a:gd name="T50" fmla="*/ 0 w 384"/>
                <a:gd name="T51" fmla="*/ 0 h 349"/>
                <a:gd name="T52" fmla="*/ 0 w 384"/>
                <a:gd name="T53" fmla="*/ 0 h 349"/>
                <a:gd name="T54" fmla="*/ 0 w 384"/>
                <a:gd name="T55" fmla="*/ 0 h 349"/>
                <a:gd name="T56" fmla="*/ 0 w 384"/>
                <a:gd name="T57" fmla="*/ 2147483647 h 349"/>
                <a:gd name="T58" fmla="*/ 0 w 384"/>
                <a:gd name="T59" fmla="*/ 2147483647 h 349"/>
                <a:gd name="T60" fmla="*/ 0 w 384"/>
                <a:gd name="T61" fmla="*/ 2147483647 h 349"/>
                <a:gd name="T62" fmla="*/ 0 w 384"/>
                <a:gd name="T63" fmla="*/ 0 h 349"/>
                <a:gd name="T64" fmla="*/ 0 w 384"/>
                <a:gd name="T65" fmla="*/ 0 h 349"/>
                <a:gd name="T66" fmla="*/ 0 w 384"/>
                <a:gd name="T67" fmla="*/ 0 h 349"/>
                <a:gd name="T68" fmla="*/ 0 w 384"/>
                <a:gd name="T69" fmla="*/ 0 h 349"/>
                <a:gd name="T70" fmla="*/ 0 w 384"/>
                <a:gd name="T71" fmla="*/ 0 h 349"/>
                <a:gd name="T72" fmla="*/ 0 w 384"/>
                <a:gd name="T73" fmla="*/ 0 h 349"/>
                <a:gd name="T74" fmla="*/ 0 w 384"/>
                <a:gd name="T75" fmla="*/ 0 h 349"/>
                <a:gd name="T76" fmla="*/ 0 w 384"/>
                <a:gd name="T77" fmla="*/ 0 h 349"/>
                <a:gd name="T78" fmla="*/ 0 w 384"/>
                <a:gd name="T79" fmla="*/ 0 h 349"/>
                <a:gd name="T80" fmla="*/ 0 w 384"/>
                <a:gd name="T81" fmla="*/ 0 h 349"/>
                <a:gd name="T82" fmla="*/ 0 w 384"/>
                <a:gd name="T83" fmla="*/ 0 h 34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384"/>
                <a:gd name="T127" fmla="*/ 0 h 349"/>
                <a:gd name="T128" fmla="*/ 384 w 384"/>
                <a:gd name="T129" fmla="*/ 349 h 34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384" h="349">
                  <a:moveTo>
                    <a:pt x="77" y="14"/>
                  </a:moveTo>
                  <a:lnTo>
                    <a:pt x="86" y="1"/>
                  </a:lnTo>
                  <a:lnTo>
                    <a:pt x="91" y="0"/>
                  </a:lnTo>
                  <a:lnTo>
                    <a:pt x="93" y="11"/>
                  </a:lnTo>
                  <a:lnTo>
                    <a:pt x="106" y="10"/>
                  </a:lnTo>
                  <a:lnTo>
                    <a:pt x="110" y="27"/>
                  </a:lnTo>
                  <a:lnTo>
                    <a:pt x="119" y="38"/>
                  </a:lnTo>
                  <a:lnTo>
                    <a:pt x="114" y="48"/>
                  </a:lnTo>
                  <a:lnTo>
                    <a:pt x="118" y="61"/>
                  </a:lnTo>
                  <a:lnTo>
                    <a:pt x="120" y="81"/>
                  </a:lnTo>
                  <a:lnTo>
                    <a:pt x="129" y="85"/>
                  </a:lnTo>
                  <a:lnTo>
                    <a:pt x="134" y="70"/>
                  </a:lnTo>
                  <a:lnTo>
                    <a:pt x="142" y="57"/>
                  </a:lnTo>
                  <a:lnTo>
                    <a:pt x="150" y="59"/>
                  </a:lnTo>
                  <a:lnTo>
                    <a:pt x="161" y="70"/>
                  </a:lnTo>
                  <a:lnTo>
                    <a:pt x="169" y="72"/>
                  </a:lnTo>
                  <a:lnTo>
                    <a:pt x="168" y="89"/>
                  </a:lnTo>
                  <a:lnTo>
                    <a:pt x="179" y="96"/>
                  </a:lnTo>
                  <a:lnTo>
                    <a:pt x="207" y="100"/>
                  </a:lnTo>
                  <a:lnTo>
                    <a:pt x="209" y="108"/>
                  </a:lnTo>
                  <a:lnTo>
                    <a:pt x="212" y="116"/>
                  </a:lnTo>
                  <a:lnTo>
                    <a:pt x="222" y="127"/>
                  </a:lnTo>
                  <a:lnTo>
                    <a:pt x="233" y="132"/>
                  </a:lnTo>
                  <a:lnTo>
                    <a:pt x="243" y="143"/>
                  </a:lnTo>
                  <a:lnTo>
                    <a:pt x="255" y="151"/>
                  </a:lnTo>
                  <a:lnTo>
                    <a:pt x="265" y="148"/>
                  </a:lnTo>
                  <a:lnTo>
                    <a:pt x="276" y="157"/>
                  </a:lnTo>
                  <a:lnTo>
                    <a:pt x="286" y="161"/>
                  </a:lnTo>
                  <a:lnTo>
                    <a:pt x="290" y="172"/>
                  </a:lnTo>
                  <a:lnTo>
                    <a:pt x="296" y="183"/>
                  </a:lnTo>
                  <a:lnTo>
                    <a:pt x="301" y="213"/>
                  </a:lnTo>
                  <a:lnTo>
                    <a:pt x="307" y="222"/>
                  </a:lnTo>
                  <a:lnTo>
                    <a:pt x="303" y="236"/>
                  </a:lnTo>
                  <a:lnTo>
                    <a:pt x="308" y="239"/>
                  </a:lnTo>
                  <a:lnTo>
                    <a:pt x="319" y="236"/>
                  </a:lnTo>
                  <a:lnTo>
                    <a:pt x="327" y="237"/>
                  </a:lnTo>
                  <a:lnTo>
                    <a:pt x="329" y="240"/>
                  </a:lnTo>
                  <a:lnTo>
                    <a:pt x="343" y="227"/>
                  </a:lnTo>
                  <a:lnTo>
                    <a:pt x="351" y="232"/>
                  </a:lnTo>
                  <a:lnTo>
                    <a:pt x="356" y="240"/>
                  </a:lnTo>
                  <a:lnTo>
                    <a:pt x="362" y="245"/>
                  </a:lnTo>
                  <a:lnTo>
                    <a:pt x="364" y="256"/>
                  </a:lnTo>
                  <a:lnTo>
                    <a:pt x="362" y="260"/>
                  </a:lnTo>
                  <a:lnTo>
                    <a:pt x="383" y="266"/>
                  </a:lnTo>
                  <a:lnTo>
                    <a:pt x="384" y="272"/>
                  </a:lnTo>
                  <a:lnTo>
                    <a:pt x="376" y="274"/>
                  </a:lnTo>
                  <a:lnTo>
                    <a:pt x="360" y="291"/>
                  </a:lnTo>
                  <a:lnTo>
                    <a:pt x="351" y="296"/>
                  </a:lnTo>
                  <a:lnTo>
                    <a:pt x="343" y="307"/>
                  </a:lnTo>
                  <a:lnTo>
                    <a:pt x="335" y="309"/>
                  </a:lnTo>
                  <a:lnTo>
                    <a:pt x="319" y="303"/>
                  </a:lnTo>
                  <a:lnTo>
                    <a:pt x="314" y="298"/>
                  </a:lnTo>
                  <a:lnTo>
                    <a:pt x="313" y="295"/>
                  </a:lnTo>
                  <a:lnTo>
                    <a:pt x="307" y="298"/>
                  </a:lnTo>
                  <a:lnTo>
                    <a:pt x="302" y="288"/>
                  </a:lnTo>
                  <a:lnTo>
                    <a:pt x="293" y="285"/>
                  </a:lnTo>
                  <a:lnTo>
                    <a:pt x="285" y="283"/>
                  </a:lnTo>
                  <a:lnTo>
                    <a:pt x="280" y="280"/>
                  </a:lnTo>
                  <a:lnTo>
                    <a:pt x="275" y="283"/>
                  </a:lnTo>
                  <a:lnTo>
                    <a:pt x="263" y="282"/>
                  </a:lnTo>
                  <a:lnTo>
                    <a:pt x="260" y="275"/>
                  </a:lnTo>
                  <a:lnTo>
                    <a:pt x="265" y="264"/>
                  </a:lnTo>
                  <a:lnTo>
                    <a:pt x="263" y="253"/>
                  </a:lnTo>
                  <a:lnTo>
                    <a:pt x="255" y="249"/>
                  </a:lnTo>
                  <a:lnTo>
                    <a:pt x="236" y="244"/>
                  </a:lnTo>
                  <a:lnTo>
                    <a:pt x="233" y="247"/>
                  </a:lnTo>
                  <a:lnTo>
                    <a:pt x="233" y="249"/>
                  </a:lnTo>
                  <a:lnTo>
                    <a:pt x="225" y="245"/>
                  </a:lnTo>
                  <a:lnTo>
                    <a:pt x="230" y="232"/>
                  </a:lnTo>
                  <a:lnTo>
                    <a:pt x="236" y="226"/>
                  </a:lnTo>
                  <a:lnTo>
                    <a:pt x="233" y="222"/>
                  </a:lnTo>
                  <a:lnTo>
                    <a:pt x="212" y="227"/>
                  </a:lnTo>
                  <a:lnTo>
                    <a:pt x="198" y="233"/>
                  </a:lnTo>
                  <a:lnTo>
                    <a:pt x="198" y="239"/>
                  </a:lnTo>
                  <a:lnTo>
                    <a:pt x="195" y="256"/>
                  </a:lnTo>
                  <a:lnTo>
                    <a:pt x="198" y="263"/>
                  </a:lnTo>
                  <a:lnTo>
                    <a:pt x="196" y="274"/>
                  </a:lnTo>
                  <a:lnTo>
                    <a:pt x="189" y="274"/>
                  </a:lnTo>
                  <a:lnTo>
                    <a:pt x="185" y="281"/>
                  </a:lnTo>
                  <a:lnTo>
                    <a:pt x="178" y="283"/>
                  </a:lnTo>
                  <a:lnTo>
                    <a:pt x="176" y="290"/>
                  </a:lnTo>
                  <a:lnTo>
                    <a:pt x="171" y="296"/>
                  </a:lnTo>
                  <a:lnTo>
                    <a:pt x="162" y="296"/>
                  </a:lnTo>
                  <a:lnTo>
                    <a:pt x="155" y="307"/>
                  </a:lnTo>
                  <a:lnTo>
                    <a:pt x="151" y="315"/>
                  </a:lnTo>
                  <a:lnTo>
                    <a:pt x="147" y="314"/>
                  </a:lnTo>
                  <a:lnTo>
                    <a:pt x="147" y="317"/>
                  </a:lnTo>
                  <a:lnTo>
                    <a:pt x="145" y="325"/>
                  </a:lnTo>
                  <a:lnTo>
                    <a:pt x="137" y="335"/>
                  </a:lnTo>
                  <a:lnTo>
                    <a:pt x="108" y="349"/>
                  </a:lnTo>
                  <a:lnTo>
                    <a:pt x="104" y="345"/>
                  </a:lnTo>
                  <a:lnTo>
                    <a:pt x="97" y="349"/>
                  </a:lnTo>
                  <a:lnTo>
                    <a:pt x="88" y="331"/>
                  </a:lnTo>
                  <a:lnTo>
                    <a:pt x="86" y="309"/>
                  </a:lnTo>
                  <a:lnTo>
                    <a:pt x="87" y="290"/>
                  </a:lnTo>
                  <a:lnTo>
                    <a:pt x="85" y="283"/>
                  </a:lnTo>
                  <a:lnTo>
                    <a:pt x="83" y="269"/>
                  </a:lnTo>
                  <a:lnTo>
                    <a:pt x="82" y="259"/>
                  </a:lnTo>
                  <a:lnTo>
                    <a:pt x="79" y="264"/>
                  </a:lnTo>
                  <a:lnTo>
                    <a:pt x="76" y="281"/>
                  </a:lnTo>
                  <a:lnTo>
                    <a:pt x="69" y="281"/>
                  </a:lnTo>
                  <a:lnTo>
                    <a:pt x="63" y="286"/>
                  </a:lnTo>
                  <a:lnTo>
                    <a:pt x="47" y="286"/>
                  </a:lnTo>
                  <a:lnTo>
                    <a:pt x="43" y="283"/>
                  </a:lnTo>
                  <a:lnTo>
                    <a:pt x="37" y="285"/>
                  </a:lnTo>
                  <a:lnTo>
                    <a:pt x="23" y="295"/>
                  </a:lnTo>
                  <a:lnTo>
                    <a:pt x="8" y="299"/>
                  </a:lnTo>
                  <a:lnTo>
                    <a:pt x="4" y="293"/>
                  </a:lnTo>
                  <a:lnTo>
                    <a:pt x="0" y="283"/>
                  </a:lnTo>
                  <a:lnTo>
                    <a:pt x="12" y="256"/>
                  </a:lnTo>
                  <a:lnTo>
                    <a:pt x="20" y="249"/>
                  </a:lnTo>
                  <a:lnTo>
                    <a:pt x="32" y="245"/>
                  </a:lnTo>
                  <a:lnTo>
                    <a:pt x="51" y="223"/>
                  </a:lnTo>
                  <a:lnTo>
                    <a:pt x="51" y="211"/>
                  </a:lnTo>
                  <a:lnTo>
                    <a:pt x="48" y="206"/>
                  </a:lnTo>
                  <a:lnTo>
                    <a:pt x="47" y="182"/>
                  </a:lnTo>
                  <a:lnTo>
                    <a:pt x="44" y="174"/>
                  </a:lnTo>
                  <a:lnTo>
                    <a:pt x="47" y="158"/>
                  </a:lnTo>
                  <a:lnTo>
                    <a:pt x="53" y="141"/>
                  </a:lnTo>
                  <a:lnTo>
                    <a:pt x="55" y="125"/>
                  </a:lnTo>
                  <a:lnTo>
                    <a:pt x="55" y="121"/>
                  </a:lnTo>
                  <a:lnTo>
                    <a:pt x="58" y="110"/>
                  </a:lnTo>
                  <a:lnTo>
                    <a:pt x="59" y="72"/>
                  </a:lnTo>
                  <a:lnTo>
                    <a:pt x="59" y="60"/>
                  </a:lnTo>
                  <a:lnTo>
                    <a:pt x="63" y="49"/>
                  </a:lnTo>
                  <a:lnTo>
                    <a:pt x="66" y="29"/>
                  </a:lnTo>
                  <a:lnTo>
                    <a:pt x="72" y="19"/>
                  </a:lnTo>
                  <a:lnTo>
                    <a:pt x="77" y="1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71" name="Freeform 296">
              <a:extLst>
                <a:ext uri="{FF2B5EF4-FFF2-40B4-BE49-F238E27FC236}">
                  <a16:creationId xmlns:a16="http://schemas.microsoft.com/office/drawing/2014/main" id="{77762006-4421-28FA-6DDE-F95416469AB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509290" y="1399256"/>
              <a:ext cx="64171" cy="91453"/>
            </a:xfrm>
            <a:custGeom>
              <a:avLst/>
              <a:gdLst>
                <a:gd name="T0" fmla="*/ 0 w 122"/>
                <a:gd name="T1" fmla="*/ 0 h 161"/>
                <a:gd name="T2" fmla="*/ 0 w 122"/>
                <a:gd name="T3" fmla="*/ 0 h 161"/>
                <a:gd name="T4" fmla="*/ 0 w 122"/>
                <a:gd name="T5" fmla="*/ 0 h 161"/>
                <a:gd name="T6" fmla="*/ 0 w 122"/>
                <a:gd name="T7" fmla="*/ 0 h 161"/>
                <a:gd name="T8" fmla="*/ 0 w 122"/>
                <a:gd name="T9" fmla="*/ 0 h 161"/>
                <a:gd name="T10" fmla="*/ 0 w 122"/>
                <a:gd name="T11" fmla="*/ 0 h 161"/>
                <a:gd name="T12" fmla="*/ 0 w 122"/>
                <a:gd name="T13" fmla="*/ 0 h 161"/>
                <a:gd name="T14" fmla="*/ 0 w 122"/>
                <a:gd name="T15" fmla="*/ 0 h 161"/>
                <a:gd name="T16" fmla="*/ 0 w 122"/>
                <a:gd name="T17" fmla="*/ 0 h 161"/>
                <a:gd name="T18" fmla="*/ 0 w 122"/>
                <a:gd name="T19" fmla="*/ 0 h 161"/>
                <a:gd name="T20" fmla="*/ 0 w 122"/>
                <a:gd name="T21" fmla="*/ 0 h 161"/>
                <a:gd name="T22" fmla="*/ 0 w 122"/>
                <a:gd name="T23" fmla="*/ 0 h 161"/>
                <a:gd name="T24" fmla="*/ 0 w 122"/>
                <a:gd name="T25" fmla="*/ 0 h 161"/>
                <a:gd name="T26" fmla="*/ 0 w 122"/>
                <a:gd name="T27" fmla="*/ 0 h 161"/>
                <a:gd name="T28" fmla="*/ 0 w 122"/>
                <a:gd name="T29" fmla="*/ 0 h 161"/>
                <a:gd name="T30" fmla="*/ 0 w 122"/>
                <a:gd name="T31" fmla="*/ 0 h 161"/>
                <a:gd name="T32" fmla="*/ 0 w 122"/>
                <a:gd name="T33" fmla="*/ 0 h 161"/>
                <a:gd name="T34" fmla="*/ 0 w 122"/>
                <a:gd name="T35" fmla="*/ 0 h 161"/>
                <a:gd name="T36" fmla="*/ 0 w 122"/>
                <a:gd name="T37" fmla="*/ 0 h 161"/>
                <a:gd name="T38" fmla="*/ 0 w 122"/>
                <a:gd name="T39" fmla="*/ 0 h 161"/>
                <a:gd name="T40" fmla="*/ 0 w 122"/>
                <a:gd name="T41" fmla="*/ 0 h 161"/>
                <a:gd name="T42" fmla="*/ 0 w 122"/>
                <a:gd name="T43" fmla="*/ 0 h 161"/>
                <a:gd name="T44" fmla="*/ 0 w 122"/>
                <a:gd name="T45" fmla="*/ 0 h 161"/>
                <a:gd name="T46" fmla="*/ 0 w 122"/>
                <a:gd name="T47" fmla="*/ 0 h 161"/>
                <a:gd name="T48" fmla="*/ 0 w 122"/>
                <a:gd name="T49" fmla="*/ 0 h 161"/>
                <a:gd name="T50" fmla="*/ 0 w 122"/>
                <a:gd name="T51" fmla="*/ 0 h 161"/>
                <a:gd name="T52" fmla="*/ 0 w 122"/>
                <a:gd name="T53" fmla="*/ 0 h 161"/>
                <a:gd name="T54" fmla="*/ 0 w 122"/>
                <a:gd name="T55" fmla="*/ 0 h 161"/>
                <a:gd name="T56" fmla="*/ 0 w 122"/>
                <a:gd name="T57" fmla="*/ 0 h 16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22"/>
                <a:gd name="T88" fmla="*/ 0 h 161"/>
                <a:gd name="T89" fmla="*/ 122 w 122"/>
                <a:gd name="T90" fmla="*/ 161 h 161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22" h="161">
                  <a:moveTo>
                    <a:pt x="52" y="4"/>
                  </a:moveTo>
                  <a:lnTo>
                    <a:pt x="56" y="0"/>
                  </a:lnTo>
                  <a:lnTo>
                    <a:pt x="59" y="5"/>
                  </a:lnTo>
                  <a:lnTo>
                    <a:pt x="65" y="11"/>
                  </a:lnTo>
                  <a:lnTo>
                    <a:pt x="75" y="3"/>
                  </a:lnTo>
                  <a:lnTo>
                    <a:pt x="87" y="5"/>
                  </a:lnTo>
                  <a:lnTo>
                    <a:pt x="92" y="17"/>
                  </a:lnTo>
                  <a:lnTo>
                    <a:pt x="100" y="19"/>
                  </a:lnTo>
                  <a:lnTo>
                    <a:pt x="111" y="17"/>
                  </a:lnTo>
                  <a:lnTo>
                    <a:pt x="119" y="33"/>
                  </a:lnTo>
                  <a:lnTo>
                    <a:pt x="120" y="49"/>
                  </a:lnTo>
                  <a:lnTo>
                    <a:pt x="119" y="74"/>
                  </a:lnTo>
                  <a:lnTo>
                    <a:pt x="122" y="97"/>
                  </a:lnTo>
                  <a:lnTo>
                    <a:pt x="119" y="119"/>
                  </a:lnTo>
                  <a:lnTo>
                    <a:pt x="104" y="139"/>
                  </a:lnTo>
                  <a:lnTo>
                    <a:pt x="88" y="151"/>
                  </a:lnTo>
                  <a:lnTo>
                    <a:pt x="39" y="161"/>
                  </a:lnTo>
                  <a:lnTo>
                    <a:pt x="33" y="158"/>
                  </a:lnTo>
                  <a:lnTo>
                    <a:pt x="17" y="153"/>
                  </a:lnTo>
                  <a:lnTo>
                    <a:pt x="6" y="132"/>
                  </a:lnTo>
                  <a:lnTo>
                    <a:pt x="1" y="110"/>
                  </a:lnTo>
                  <a:lnTo>
                    <a:pt x="0" y="90"/>
                  </a:lnTo>
                  <a:lnTo>
                    <a:pt x="2" y="72"/>
                  </a:lnTo>
                  <a:lnTo>
                    <a:pt x="8" y="62"/>
                  </a:lnTo>
                  <a:lnTo>
                    <a:pt x="13" y="46"/>
                  </a:lnTo>
                  <a:lnTo>
                    <a:pt x="22" y="27"/>
                  </a:lnTo>
                  <a:lnTo>
                    <a:pt x="33" y="13"/>
                  </a:lnTo>
                  <a:lnTo>
                    <a:pt x="44" y="10"/>
                  </a:lnTo>
                  <a:lnTo>
                    <a:pt x="52" y="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72" name="Freeform 297">
              <a:extLst>
                <a:ext uri="{FF2B5EF4-FFF2-40B4-BE49-F238E27FC236}">
                  <a16:creationId xmlns:a16="http://schemas.microsoft.com/office/drawing/2014/main" id="{12CC81E2-98DA-8ECB-DFD6-6E34DE122B5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401841" y="881021"/>
              <a:ext cx="141773" cy="108219"/>
            </a:xfrm>
            <a:custGeom>
              <a:avLst/>
              <a:gdLst>
                <a:gd name="T0" fmla="*/ 0 w 265"/>
                <a:gd name="T1" fmla="*/ 0 h 190"/>
                <a:gd name="T2" fmla="*/ 0 w 265"/>
                <a:gd name="T3" fmla="*/ 0 h 190"/>
                <a:gd name="T4" fmla="*/ 0 w 265"/>
                <a:gd name="T5" fmla="*/ 0 h 190"/>
                <a:gd name="T6" fmla="*/ 0 w 265"/>
                <a:gd name="T7" fmla="*/ 0 h 190"/>
                <a:gd name="T8" fmla="*/ 0 w 265"/>
                <a:gd name="T9" fmla="*/ 0 h 190"/>
                <a:gd name="T10" fmla="*/ 0 w 265"/>
                <a:gd name="T11" fmla="*/ 0 h 190"/>
                <a:gd name="T12" fmla="*/ 0 w 265"/>
                <a:gd name="T13" fmla="*/ 0 h 190"/>
                <a:gd name="T14" fmla="*/ 0 w 265"/>
                <a:gd name="T15" fmla="*/ 0 h 190"/>
                <a:gd name="T16" fmla="*/ 0 w 265"/>
                <a:gd name="T17" fmla="*/ 0 h 190"/>
                <a:gd name="T18" fmla="*/ 0 w 265"/>
                <a:gd name="T19" fmla="*/ 0 h 190"/>
                <a:gd name="T20" fmla="*/ 0 w 265"/>
                <a:gd name="T21" fmla="*/ 0 h 190"/>
                <a:gd name="T22" fmla="*/ 0 w 265"/>
                <a:gd name="T23" fmla="*/ 0 h 190"/>
                <a:gd name="T24" fmla="*/ 0 w 265"/>
                <a:gd name="T25" fmla="*/ 0 h 190"/>
                <a:gd name="T26" fmla="*/ 0 w 265"/>
                <a:gd name="T27" fmla="*/ 0 h 190"/>
                <a:gd name="T28" fmla="*/ 0 w 265"/>
                <a:gd name="T29" fmla="*/ 0 h 190"/>
                <a:gd name="T30" fmla="*/ 0 w 265"/>
                <a:gd name="T31" fmla="*/ 0 h 190"/>
                <a:gd name="T32" fmla="*/ 0 w 265"/>
                <a:gd name="T33" fmla="*/ 0 h 190"/>
                <a:gd name="T34" fmla="*/ 0 w 265"/>
                <a:gd name="T35" fmla="*/ 0 h 190"/>
                <a:gd name="T36" fmla="*/ 0 w 265"/>
                <a:gd name="T37" fmla="*/ 0 h 190"/>
                <a:gd name="T38" fmla="*/ 0 w 265"/>
                <a:gd name="T39" fmla="*/ 0 h 190"/>
                <a:gd name="T40" fmla="*/ 0 w 265"/>
                <a:gd name="T41" fmla="*/ 0 h 190"/>
                <a:gd name="T42" fmla="*/ 0 w 265"/>
                <a:gd name="T43" fmla="*/ 0 h 190"/>
                <a:gd name="T44" fmla="*/ 0 w 265"/>
                <a:gd name="T45" fmla="*/ 0 h 190"/>
                <a:gd name="T46" fmla="*/ 0 w 265"/>
                <a:gd name="T47" fmla="*/ 0 h 190"/>
                <a:gd name="T48" fmla="*/ 0 w 265"/>
                <a:gd name="T49" fmla="*/ 0 h 190"/>
                <a:gd name="T50" fmla="*/ 0 w 265"/>
                <a:gd name="T51" fmla="*/ 0 h 190"/>
                <a:gd name="T52" fmla="*/ 0 w 265"/>
                <a:gd name="T53" fmla="*/ 0 h 190"/>
                <a:gd name="T54" fmla="*/ 0 w 265"/>
                <a:gd name="T55" fmla="*/ 0 h 190"/>
                <a:gd name="T56" fmla="*/ 0 w 265"/>
                <a:gd name="T57" fmla="*/ 0 h 190"/>
                <a:gd name="T58" fmla="*/ 0 w 265"/>
                <a:gd name="T59" fmla="*/ 0 h 190"/>
                <a:gd name="T60" fmla="*/ 0 w 265"/>
                <a:gd name="T61" fmla="*/ 0 h 190"/>
                <a:gd name="T62" fmla="*/ 0 w 265"/>
                <a:gd name="T63" fmla="*/ 0 h 190"/>
                <a:gd name="T64" fmla="*/ 0 w 265"/>
                <a:gd name="T65" fmla="*/ 0 h 190"/>
                <a:gd name="T66" fmla="*/ 0 w 265"/>
                <a:gd name="T67" fmla="*/ 0 h 190"/>
                <a:gd name="T68" fmla="*/ 0 w 265"/>
                <a:gd name="T69" fmla="*/ 0 h 190"/>
                <a:gd name="T70" fmla="*/ 0 w 265"/>
                <a:gd name="T71" fmla="*/ 0 h 19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65"/>
                <a:gd name="T109" fmla="*/ 0 h 190"/>
                <a:gd name="T110" fmla="*/ 265 w 265"/>
                <a:gd name="T111" fmla="*/ 190 h 19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65" h="190">
                  <a:moveTo>
                    <a:pt x="110" y="18"/>
                  </a:moveTo>
                  <a:lnTo>
                    <a:pt x="129" y="14"/>
                  </a:lnTo>
                  <a:lnTo>
                    <a:pt x="149" y="16"/>
                  </a:lnTo>
                  <a:lnTo>
                    <a:pt x="200" y="45"/>
                  </a:lnTo>
                  <a:lnTo>
                    <a:pt x="207" y="57"/>
                  </a:lnTo>
                  <a:lnTo>
                    <a:pt x="208" y="68"/>
                  </a:lnTo>
                  <a:lnTo>
                    <a:pt x="217" y="81"/>
                  </a:lnTo>
                  <a:lnTo>
                    <a:pt x="227" y="87"/>
                  </a:lnTo>
                  <a:lnTo>
                    <a:pt x="243" y="118"/>
                  </a:lnTo>
                  <a:lnTo>
                    <a:pt x="254" y="129"/>
                  </a:lnTo>
                  <a:lnTo>
                    <a:pt x="253" y="136"/>
                  </a:lnTo>
                  <a:lnTo>
                    <a:pt x="255" y="147"/>
                  </a:lnTo>
                  <a:lnTo>
                    <a:pt x="265" y="158"/>
                  </a:lnTo>
                  <a:lnTo>
                    <a:pt x="256" y="172"/>
                  </a:lnTo>
                  <a:lnTo>
                    <a:pt x="238" y="173"/>
                  </a:lnTo>
                  <a:lnTo>
                    <a:pt x="213" y="170"/>
                  </a:lnTo>
                  <a:lnTo>
                    <a:pt x="186" y="159"/>
                  </a:lnTo>
                  <a:lnTo>
                    <a:pt x="148" y="158"/>
                  </a:lnTo>
                  <a:lnTo>
                    <a:pt x="109" y="183"/>
                  </a:lnTo>
                  <a:lnTo>
                    <a:pt x="86" y="190"/>
                  </a:lnTo>
                  <a:lnTo>
                    <a:pt x="65" y="179"/>
                  </a:lnTo>
                  <a:lnTo>
                    <a:pt x="49" y="165"/>
                  </a:lnTo>
                  <a:lnTo>
                    <a:pt x="41" y="145"/>
                  </a:lnTo>
                  <a:lnTo>
                    <a:pt x="39" y="100"/>
                  </a:lnTo>
                  <a:lnTo>
                    <a:pt x="11" y="92"/>
                  </a:lnTo>
                  <a:lnTo>
                    <a:pt x="0" y="72"/>
                  </a:lnTo>
                  <a:lnTo>
                    <a:pt x="1" y="51"/>
                  </a:lnTo>
                  <a:lnTo>
                    <a:pt x="6" y="44"/>
                  </a:lnTo>
                  <a:lnTo>
                    <a:pt x="6" y="18"/>
                  </a:lnTo>
                  <a:lnTo>
                    <a:pt x="14" y="1"/>
                  </a:lnTo>
                  <a:lnTo>
                    <a:pt x="28" y="0"/>
                  </a:lnTo>
                  <a:lnTo>
                    <a:pt x="40" y="8"/>
                  </a:lnTo>
                  <a:lnTo>
                    <a:pt x="49" y="7"/>
                  </a:lnTo>
                  <a:lnTo>
                    <a:pt x="73" y="17"/>
                  </a:lnTo>
                  <a:lnTo>
                    <a:pt x="102" y="23"/>
                  </a:lnTo>
                  <a:lnTo>
                    <a:pt x="110" y="1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73" name="Freeform 298">
              <a:extLst>
                <a:ext uri="{FF2B5EF4-FFF2-40B4-BE49-F238E27FC236}">
                  <a16:creationId xmlns:a16="http://schemas.microsoft.com/office/drawing/2014/main" id="{7DF71A10-C8B1-1040-4DD7-E44E560B953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133220" y="867303"/>
              <a:ext cx="843174" cy="1012081"/>
            </a:xfrm>
            <a:custGeom>
              <a:avLst/>
              <a:gdLst>
                <a:gd name="T0" fmla="*/ 2147483647 w 1581"/>
                <a:gd name="T1" fmla="*/ 2147483647 h 1779"/>
                <a:gd name="T2" fmla="*/ 2147483647 w 1581"/>
                <a:gd name="T3" fmla="*/ 2147483647 h 1779"/>
                <a:gd name="T4" fmla="*/ 2147483647 w 1581"/>
                <a:gd name="T5" fmla="*/ 2147483647 h 1779"/>
                <a:gd name="T6" fmla="*/ 2147483647 w 1581"/>
                <a:gd name="T7" fmla="*/ 2147483647 h 1779"/>
                <a:gd name="T8" fmla="*/ 2147483647 w 1581"/>
                <a:gd name="T9" fmla="*/ 2147483647 h 1779"/>
                <a:gd name="T10" fmla="*/ 2147483647 w 1581"/>
                <a:gd name="T11" fmla="*/ 2147483647 h 1779"/>
                <a:gd name="T12" fmla="*/ 2147483647 w 1581"/>
                <a:gd name="T13" fmla="*/ 2147483647 h 1779"/>
                <a:gd name="T14" fmla="*/ 2147483647 w 1581"/>
                <a:gd name="T15" fmla="*/ 2147483647 h 1779"/>
                <a:gd name="T16" fmla="*/ 2147483647 w 1581"/>
                <a:gd name="T17" fmla="*/ 2147483647 h 1779"/>
                <a:gd name="T18" fmla="*/ 2147483647 w 1581"/>
                <a:gd name="T19" fmla="*/ 2147483647 h 1779"/>
                <a:gd name="T20" fmla="*/ 2147483647 w 1581"/>
                <a:gd name="T21" fmla="*/ 2147483647 h 1779"/>
                <a:gd name="T22" fmla="*/ 2147483647 w 1581"/>
                <a:gd name="T23" fmla="*/ 2147483647 h 1779"/>
                <a:gd name="T24" fmla="*/ 2147483647 w 1581"/>
                <a:gd name="T25" fmla="*/ 2147483647 h 1779"/>
                <a:gd name="T26" fmla="*/ 2147483647 w 1581"/>
                <a:gd name="T27" fmla="*/ 2147483647 h 1779"/>
                <a:gd name="T28" fmla="*/ 2147483647 w 1581"/>
                <a:gd name="T29" fmla="*/ 2147483647 h 1779"/>
                <a:gd name="T30" fmla="*/ 2147483647 w 1581"/>
                <a:gd name="T31" fmla="*/ 2147483647 h 1779"/>
                <a:gd name="T32" fmla="*/ 2147483647 w 1581"/>
                <a:gd name="T33" fmla="*/ 2147483647 h 1779"/>
                <a:gd name="T34" fmla="*/ 2147483647 w 1581"/>
                <a:gd name="T35" fmla="*/ 2147483647 h 1779"/>
                <a:gd name="T36" fmla="*/ 2147483647 w 1581"/>
                <a:gd name="T37" fmla="*/ 2147483647 h 1779"/>
                <a:gd name="T38" fmla="*/ 2147483647 w 1581"/>
                <a:gd name="T39" fmla="*/ 2147483647 h 1779"/>
                <a:gd name="T40" fmla="*/ 2147483647 w 1581"/>
                <a:gd name="T41" fmla="*/ 2147483647 h 1779"/>
                <a:gd name="T42" fmla="*/ 2147483647 w 1581"/>
                <a:gd name="T43" fmla="*/ 2147483647 h 1779"/>
                <a:gd name="T44" fmla="*/ 2147483647 w 1581"/>
                <a:gd name="T45" fmla="*/ 2147483647 h 1779"/>
                <a:gd name="T46" fmla="*/ 2147483647 w 1581"/>
                <a:gd name="T47" fmla="*/ 2147483647 h 1779"/>
                <a:gd name="T48" fmla="*/ 2147483647 w 1581"/>
                <a:gd name="T49" fmla="*/ 2147483647 h 1779"/>
                <a:gd name="T50" fmla="*/ 2147483647 w 1581"/>
                <a:gd name="T51" fmla="*/ 2147483647 h 1779"/>
                <a:gd name="T52" fmla="*/ 2147483647 w 1581"/>
                <a:gd name="T53" fmla="*/ 2147483647 h 1779"/>
                <a:gd name="T54" fmla="*/ 2147483647 w 1581"/>
                <a:gd name="T55" fmla="*/ 2147483647 h 1779"/>
                <a:gd name="T56" fmla="*/ 2147483647 w 1581"/>
                <a:gd name="T57" fmla="*/ 2147483647 h 1779"/>
                <a:gd name="T58" fmla="*/ 2147483647 w 1581"/>
                <a:gd name="T59" fmla="*/ 0 h 1779"/>
                <a:gd name="T60" fmla="*/ 2147483647 w 1581"/>
                <a:gd name="T61" fmla="*/ 0 h 1779"/>
                <a:gd name="T62" fmla="*/ 2147483647 w 1581"/>
                <a:gd name="T63" fmla="*/ 2147483647 h 1779"/>
                <a:gd name="T64" fmla="*/ 2147483647 w 1581"/>
                <a:gd name="T65" fmla="*/ 0 h 1779"/>
                <a:gd name="T66" fmla="*/ 2147483647 w 1581"/>
                <a:gd name="T67" fmla="*/ 0 h 1779"/>
                <a:gd name="T68" fmla="*/ 0 w 1581"/>
                <a:gd name="T69" fmla="*/ 0 h 1779"/>
                <a:gd name="T70" fmla="*/ 0 w 1581"/>
                <a:gd name="T71" fmla="*/ 0 h 1779"/>
                <a:gd name="T72" fmla="*/ 0 w 1581"/>
                <a:gd name="T73" fmla="*/ 0 h 1779"/>
                <a:gd name="T74" fmla="*/ 0 w 1581"/>
                <a:gd name="T75" fmla="*/ 2147483647 h 1779"/>
                <a:gd name="T76" fmla="*/ 0 w 1581"/>
                <a:gd name="T77" fmla="*/ 2147483647 h 1779"/>
                <a:gd name="T78" fmla="*/ 0 w 1581"/>
                <a:gd name="T79" fmla="*/ 2147483647 h 1779"/>
                <a:gd name="T80" fmla="*/ 0 w 1581"/>
                <a:gd name="T81" fmla="*/ 0 h 1779"/>
                <a:gd name="T82" fmla="*/ 0 w 1581"/>
                <a:gd name="T83" fmla="*/ 0 h 1779"/>
                <a:gd name="T84" fmla="*/ 0 w 1581"/>
                <a:gd name="T85" fmla="*/ 0 h 1779"/>
                <a:gd name="T86" fmla="*/ 0 w 1581"/>
                <a:gd name="T87" fmla="*/ 2147483647 h 1779"/>
                <a:gd name="T88" fmla="*/ 0 w 1581"/>
                <a:gd name="T89" fmla="*/ 2147483647 h 1779"/>
                <a:gd name="T90" fmla="*/ 0 w 1581"/>
                <a:gd name="T91" fmla="*/ 2147483647 h 1779"/>
                <a:gd name="T92" fmla="*/ 2147483647 w 1581"/>
                <a:gd name="T93" fmla="*/ 2147483647 h 1779"/>
                <a:gd name="T94" fmla="*/ 2147483647 w 1581"/>
                <a:gd name="T95" fmla="*/ 2147483647 h 1779"/>
                <a:gd name="T96" fmla="*/ 2147483647 w 1581"/>
                <a:gd name="T97" fmla="*/ 2147483647 h 1779"/>
                <a:gd name="T98" fmla="*/ 2147483647 w 1581"/>
                <a:gd name="T99" fmla="*/ 2147483647 h 1779"/>
                <a:gd name="T100" fmla="*/ 2147483647 w 1581"/>
                <a:gd name="T101" fmla="*/ 2147483647 h 1779"/>
                <a:gd name="T102" fmla="*/ 2147483647 w 1581"/>
                <a:gd name="T103" fmla="*/ 2147483647 h 1779"/>
                <a:gd name="T104" fmla="*/ 2147483647 w 1581"/>
                <a:gd name="T105" fmla="*/ 2147483647 h 1779"/>
                <a:gd name="T106" fmla="*/ 2147483647 w 1581"/>
                <a:gd name="T107" fmla="*/ 2147483647 h 1779"/>
                <a:gd name="T108" fmla="*/ 2147483647 w 1581"/>
                <a:gd name="T109" fmla="*/ 2147483647 h 1779"/>
                <a:gd name="T110" fmla="*/ 2147483647 w 1581"/>
                <a:gd name="T111" fmla="*/ 2147483647 h 1779"/>
                <a:gd name="T112" fmla="*/ 2147483647 w 1581"/>
                <a:gd name="T113" fmla="*/ 2147483647 h 1779"/>
                <a:gd name="T114" fmla="*/ 2147483647 w 1581"/>
                <a:gd name="T115" fmla="*/ 2147483647 h 1779"/>
                <a:gd name="T116" fmla="*/ 2147483647 w 1581"/>
                <a:gd name="T117" fmla="*/ 2147483647 h 1779"/>
                <a:gd name="T118" fmla="*/ 2147483647 w 1581"/>
                <a:gd name="T119" fmla="*/ 2147483647 h 1779"/>
                <a:gd name="T120" fmla="*/ 2147483647 w 1581"/>
                <a:gd name="T121" fmla="*/ 2147483647 h 177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81"/>
                <a:gd name="T184" fmla="*/ 0 h 1779"/>
                <a:gd name="T185" fmla="*/ 1581 w 1581"/>
                <a:gd name="T186" fmla="*/ 1779 h 177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81" h="1779">
                  <a:moveTo>
                    <a:pt x="1037" y="1646"/>
                  </a:moveTo>
                  <a:lnTo>
                    <a:pt x="1053" y="1650"/>
                  </a:lnTo>
                  <a:lnTo>
                    <a:pt x="1071" y="1657"/>
                  </a:lnTo>
                  <a:lnTo>
                    <a:pt x="1072" y="1665"/>
                  </a:lnTo>
                  <a:lnTo>
                    <a:pt x="1078" y="1665"/>
                  </a:lnTo>
                  <a:lnTo>
                    <a:pt x="1091" y="1673"/>
                  </a:lnTo>
                  <a:lnTo>
                    <a:pt x="1102" y="1667"/>
                  </a:lnTo>
                  <a:lnTo>
                    <a:pt x="1109" y="1654"/>
                  </a:lnTo>
                  <a:lnTo>
                    <a:pt x="1111" y="1659"/>
                  </a:lnTo>
                  <a:lnTo>
                    <a:pt x="1109" y="1672"/>
                  </a:lnTo>
                  <a:lnTo>
                    <a:pt x="1118" y="1677"/>
                  </a:lnTo>
                  <a:lnTo>
                    <a:pt x="1121" y="1668"/>
                  </a:lnTo>
                  <a:lnTo>
                    <a:pt x="1131" y="1671"/>
                  </a:lnTo>
                  <a:lnTo>
                    <a:pt x="1137" y="1667"/>
                  </a:lnTo>
                  <a:lnTo>
                    <a:pt x="1135" y="1678"/>
                  </a:lnTo>
                  <a:lnTo>
                    <a:pt x="1138" y="1688"/>
                  </a:lnTo>
                  <a:lnTo>
                    <a:pt x="1145" y="1688"/>
                  </a:lnTo>
                  <a:lnTo>
                    <a:pt x="1148" y="1693"/>
                  </a:lnTo>
                  <a:lnTo>
                    <a:pt x="1150" y="1703"/>
                  </a:lnTo>
                  <a:lnTo>
                    <a:pt x="1159" y="1716"/>
                  </a:lnTo>
                  <a:lnTo>
                    <a:pt x="1170" y="1720"/>
                  </a:lnTo>
                  <a:lnTo>
                    <a:pt x="1175" y="1708"/>
                  </a:lnTo>
                  <a:lnTo>
                    <a:pt x="1175" y="1720"/>
                  </a:lnTo>
                  <a:lnTo>
                    <a:pt x="1181" y="1722"/>
                  </a:lnTo>
                  <a:lnTo>
                    <a:pt x="1185" y="1730"/>
                  </a:lnTo>
                  <a:lnTo>
                    <a:pt x="1196" y="1735"/>
                  </a:lnTo>
                  <a:lnTo>
                    <a:pt x="1205" y="1732"/>
                  </a:lnTo>
                  <a:lnTo>
                    <a:pt x="1213" y="1740"/>
                  </a:lnTo>
                  <a:lnTo>
                    <a:pt x="1236" y="1741"/>
                  </a:lnTo>
                  <a:lnTo>
                    <a:pt x="1238" y="1748"/>
                  </a:lnTo>
                  <a:lnTo>
                    <a:pt x="1249" y="1758"/>
                  </a:lnTo>
                  <a:lnTo>
                    <a:pt x="1254" y="1759"/>
                  </a:lnTo>
                  <a:lnTo>
                    <a:pt x="1267" y="1758"/>
                  </a:lnTo>
                  <a:lnTo>
                    <a:pt x="1280" y="1751"/>
                  </a:lnTo>
                  <a:lnTo>
                    <a:pt x="1306" y="1779"/>
                  </a:lnTo>
                  <a:lnTo>
                    <a:pt x="1325" y="1776"/>
                  </a:lnTo>
                  <a:lnTo>
                    <a:pt x="1323" y="1768"/>
                  </a:lnTo>
                  <a:lnTo>
                    <a:pt x="1317" y="1759"/>
                  </a:lnTo>
                  <a:lnTo>
                    <a:pt x="1317" y="1753"/>
                  </a:lnTo>
                  <a:lnTo>
                    <a:pt x="1320" y="1747"/>
                  </a:lnTo>
                  <a:lnTo>
                    <a:pt x="1322" y="1735"/>
                  </a:lnTo>
                  <a:lnTo>
                    <a:pt x="1319" y="1726"/>
                  </a:lnTo>
                  <a:lnTo>
                    <a:pt x="1301" y="1705"/>
                  </a:lnTo>
                  <a:lnTo>
                    <a:pt x="1285" y="1692"/>
                  </a:lnTo>
                  <a:lnTo>
                    <a:pt x="1279" y="1683"/>
                  </a:lnTo>
                  <a:lnTo>
                    <a:pt x="1270" y="1679"/>
                  </a:lnTo>
                  <a:lnTo>
                    <a:pt x="1253" y="1665"/>
                  </a:lnTo>
                  <a:lnTo>
                    <a:pt x="1249" y="1652"/>
                  </a:lnTo>
                  <a:lnTo>
                    <a:pt x="1236" y="1645"/>
                  </a:lnTo>
                  <a:lnTo>
                    <a:pt x="1236" y="1633"/>
                  </a:lnTo>
                  <a:lnTo>
                    <a:pt x="1224" y="1635"/>
                  </a:lnTo>
                  <a:lnTo>
                    <a:pt x="1220" y="1622"/>
                  </a:lnTo>
                  <a:lnTo>
                    <a:pt x="1216" y="1619"/>
                  </a:lnTo>
                  <a:lnTo>
                    <a:pt x="1213" y="1622"/>
                  </a:lnTo>
                  <a:lnTo>
                    <a:pt x="1210" y="1618"/>
                  </a:lnTo>
                  <a:lnTo>
                    <a:pt x="1188" y="1587"/>
                  </a:lnTo>
                  <a:lnTo>
                    <a:pt x="1178" y="1577"/>
                  </a:lnTo>
                  <a:lnTo>
                    <a:pt x="1167" y="1557"/>
                  </a:lnTo>
                  <a:lnTo>
                    <a:pt x="1180" y="1552"/>
                  </a:lnTo>
                  <a:lnTo>
                    <a:pt x="1197" y="1565"/>
                  </a:lnTo>
                  <a:lnTo>
                    <a:pt x="1216" y="1587"/>
                  </a:lnTo>
                  <a:lnTo>
                    <a:pt x="1231" y="1590"/>
                  </a:lnTo>
                  <a:lnTo>
                    <a:pt x="1227" y="1579"/>
                  </a:lnTo>
                  <a:lnTo>
                    <a:pt x="1236" y="1576"/>
                  </a:lnTo>
                  <a:lnTo>
                    <a:pt x="1258" y="1612"/>
                  </a:lnTo>
                  <a:lnTo>
                    <a:pt x="1269" y="1618"/>
                  </a:lnTo>
                  <a:lnTo>
                    <a:pt x="1280" y="1619"/>
                  </a:lnTo>
                  <a:lnTo>
                    <a:pt x="1287" y="1641"/>
                  </a:lnTo>
                  <a:lnTo>
                    <a:pt x="1318" y="1641"/>
                  </a:lnTo>
                  <a:lnTo>
                    <a:pt x="1330" y="1657"/>
                  </a:lnTo>
                  <a:lnTo>
                    <a:pt x="1335" y="1649"/>
                  </a:lnTo>
                  <a:lnTo>
                    <a:pt x="1341" y="1654"/>
                  </a:lnTo>
                  <a:lnTo>
                    <a:pt x="1350" y="1657"/>
                  </a:lnTo>
                  <a:lnTo>
                    <a:pt x="1356" y="1649"/>
                  </a:lnTo>
                  <a:lnTo>
                    <a:pt x="1360" y="1651"/>
                  </a:lnTo>
                  <a:lnTo>
                    <a:pt x="1361" y="1657"/>
                  </a:lnTo>
                  <a:lnTo>
                    <a:pt x="1367" y="1668"/>
                  </a:lnTo>
                  <a:lnTo>
                    <a:pt x="1376" y="1663"/>
                  </a:lnTo>
                  <a:lnTo>
                    <a:pt x="1376" y="1670"/>
                  </a:lnTo>
                  <a:lnTo>
                    <a:pt x="1372" y="1679"/>
                  </a:lnTo>
                  <a:lnTo>
                    <a:pt x="1371" y="1684"/>
                  </a:lnTo>
                  <a:lnTo>
                    <a:pt x="1382" y="1690"/>
                  </a:lnTo>
                  <a:lnTo>
                    <a:pt x="1387" y="1700"/>
                  </a:lnTo>
                  <a:lnTo>
                    <a:pt x="1394" y="1698"/>
                  </a:lnTo>
                  <a:lnTo>
                    <a:pt x="1390" y="1690"/>
                  </a:lnTo>
                  <a:lnTo>
                    <a:pt x="1389" y="1683"/>
                  </a:lnTo>
                  <a:lnTo>
                    <a:pt x="1382" y="1666"/>
                  </a:lnTo>
                  <a:lnTo>
                    <a:pt x="1380" y="1659"/>
                  </a:lnTo>
                  <a:lnTo>
                    <a:pt x="1384" y="1651"/>
                  </a:lnTo>
                  <a:lnTo>
                    <a:pt x="1393" y="1654"/>
                  </a:lnTo>
                  <a:lnTo>
                    <a:pt x="1400" y="1662"/>
                  </a:lnTo>
                  <a:lnTo>
                    <a:pt x="1410" y="1665"/>
                  </a:lnTo>
                  <a:lnTo>
                    <a:pt x="1412" y="1657"/>
                  </a:lnTo>
                  <a:lnTo>
                    <a:pt x="1411" y="1651"/>
                  </a:lnTo>
                  <a:lnTo>
                    <a:pt x="1408" y="1649"/>
                  </a:lnTo>
                  <a:lnTo>
                    <a:pt x="1408" y="1645"/>
                  </a:lnTo>
                  <a:lnTo>
                    <a:pt x="1403" y="1643"/>
                  </a:lnTo>
                  <a:lnTo>
                    <a:pt x="1393" y="1644"/>
                  </a:lnTo>
                  <a:lnTo>
                    <a:pt x="1387" y="1625"/>
                  </a:lnTo>
                  <a:lnTo>
                    <a:pt x="1380" y="1613"/>
                  </a:lnTo>
                  <a:lnTo>
                    <a:pt x="1383" y="1606"/>
                  </a:lnTo>
                  <a:lnTo>
                    <a:pt x="1383" y="1589"/>
                  </a:lnTo>
                  <a:lnTo>
                    <a:pt x="1395" y="1598"/>
                  </a:lnTo>
                  <a:lnTo>
                    <a:pt x="1406" y="1612"/>
                  </a:lnTo>
                  <a:lnTo>
                    <a:pt x="1408" y="1607"/>
                  </a:lnTo>
                  <a:lnTo>
                    <a:pt x="1405" y="1593"/>
                  </a:lnTo>
                  <a:lnTo>
                    <a:pt x="1409" y="1589"/>
                  </a:lnTo>
                  <a:lnTo>
                    <a:pt x="1409" y="1570"/>
                  </a:lnTo>
                  <a:lnTo>
                    <a:pt x="1411" y="1560"/>
                  </a:lnTo>
                  <a:lnTo>
                    <a:pt x="1405" y="1547"/>
                  </a:lnTo>
                  <a:lnTo>
                    <a:pt x="1401" y="1520"/>
                  </a:lnTo>
                  <a:lnTo>
                    <a:pt x="1388" y="1518"/>
                  </a:lnTo>
                  <a:lnTo>
                    <a:pt x="1374" y="1511"/>
                  </a:lnTo>
                  <a:lnTo>
                    <a:pt x="1368" y="1505"/>
                  </a:lnTo>
                  <a:lnTo>
                    <a:pt x="1367" y="1485"/>
                  </a:lnTo>
                  <a:lnTo>
                    <a:pt x="1379" y="1482"/>
                  </a:lnTo>
                  <a:lnTo>
                    <a:pt x="1383" y="1464"/>
                  </a:lnTo>
                  <a:lnTo>
                    <a:pt x="1380" y="1450"/>
                  </a:lnTo>
                  <a:lnTo>
                    <a:pt x="1367" y="1453"/>
                  </a:lnTo>
                  <a:lnTo>
                    <a:pt x="1368" y="1445"/>
                  </a:lnTo>
                  <a:lnTo>
                    <a:pt x="1366" y="1436"/>
                  </a:lnTo>
                  <a:lnTo>
                    <a:pt x="1362" y="1434"/>
                  </a:lnTo>
                  <a:lnTo>
                    <a:pt x="1346" y="1447"/>
                  </a:lnTo>
                  <a:lnTo>
                    <a:pt x="1346" y="1425"/>
                  </a:lnTo>
                  <a:lnTo>
                    <a:pt x="1344" y="1414"/>
                  </a:lnTo>
                  <a:lnTo>
                    <a:pt x="1331" y="1413"/>
                  </a:lnTo>
                  <a:lnTo>
                    <a:pt x="1315" y="1426"/>
                  </a:lnTo>
                  <a:lnTo>
                    <a:pt x="1308" y="1420"/>
                  </a:lnTo>
                  <a:lnTo>
                    <a:pt x="1320" y="1404"/>
                  </a:lnTo>
                  <a:lnTo>
                    <a:pt x="1312" y="1405"/>
                  </a:lnTo>
                  <a:lnTo>
                    <a:pt x="1299" y="1402"/>
                  </a:lnTo>
                  <a:lnTo>
                    <a:pt x="1291" y="1404"/>
                  </a:lnTo>
                  <a:lnTo>
                    <a:pt x="1288" y="1421"/>
                  </a:lnTo>
                  <a:lnTo>
                    <a:pt x="1283" y="1402"/>
                  </a:lnTo>
                  <a:lnTo>
                    <a:pt x="1275" y="1388"/>
                  </a:lnTo>
                  <a:lnTo>
                    <a:pt x="1275" y="1382"/>
                  </a:lnTo>
                  <a:lnTo>
                    <a:pt x="1271" y="1371"/>
                  </a:lnTo>
                  <a:lnTo>
                    <a:pt x="1258" y="1367"/>
                  </a:lnTo>
                  <a:lnTo>
                    <a:pt x="1258" y="1363"/>
                  </a:lnTo>
                  <a:lnTo>
                    <a:pt x="1263" y="1354"/>
                  </a:lnTo>
                  <a:lnTo>
                    <a:pt x="1256" y="1347"/>
                  </a:lnTo>
                  <a:lnTo>
                    <a:pt x="1263" y="1344"/>
                  </a:lnTo>
                  <a:lnTo>
                    <a:pt x="1253" y="1334"/>
                  </a:lnTo>
                  <a:lnTo>
                    <a:pt x="1252" y="1326"/>
                  </a:lnTo>
                  <a:lnTo>
                    <a:pt x="1256" y="1316"/>
                  </a:lnTo>
                  <a:lnTo>
                    <a:pt x="1240" y="1311"/>
                  </a:lnTo>
                  <a:lnTo>
                    <a:pt x="1221" y="1321"/>
                  </a:lnTo>
                  <a:lnTo>
                    <a:pt x="1220" y="1316"/>
                  </a:lnTo>
                  <a:lnTo>
                    <a:pt x="1224" y="1299"/>
                  </a:lnTo>
                  <a:lnTo>
                    <a:pt x="1221" y="1280"/>
                  </a:lnTo>
                  <a:lnTo>
                    <a:pt x="1229" y="1278"/>
                  </a:lnTo>
                  <a:lnTo>
                    <a:pt x="1236" y="1280"/>
                  </a:lnTo>
                  <a:lnTo>
                    <a:pt x="1252" y="1272"/>
                  </a:lnTo>
                  <a:lnTo>
                    <a:pt x="1263" y="1272"/>
                  </a:lnTo>
                  <a:lnTo>
                    <a:pt x="1256" y="1254"/>
                  </a:lnTo>
                  <a:lnTo>
                    <a:pt x="1242" y="1240"/>
                  </a:lnTo>
                  <a:lnTo>
                    <a:pt x="1222" y="1236"/>
                  </a:lnTo>
                  <a:lnTo>
                    <a:pt x="1215" y="1230"/>
                  </a:lnTo>
                  <a:lnTo>
                    <a:pt x="1209" y="1211"/>
                  </a:lnTo>
                  <a:lnTo>
                    <a:pt x="1226" y="1213"/>
                  </a:lnTo>
                  <a:lnTo>
                    <a:pt x="1221" y="1203"/>
                  </a:lnTo>
                  <a:lnTo>
                    <a:pt x="1231" y="1202"/>
                  </a:lnTo>
                  <a:lnTo>
                    <a:pt x="1253" y="1224"/>
                  </a:lnTo>
                  <a:lnTo>
                    <a:pt x="1260" y="1224"/>
                  </a:lnTo>
                  <a:lnTo>
                    <a:pt x="1252" y="1204"/>
                  </a:lnTo>
                  <a:lnTo>
                    <a:pt x="1260" y="1205"/>
                  </a:lnTo>
                  <a:lnTo>
                    <a:pt x="1247" y="1192"/>
                  </a:lnTo>
                  <a:lnTo>
                    <a:pt x="1253" y="1183"/>
                  </a:lnTo>
                  <a:lnTo>
                    <a:pt x="1265" y="1192"/>
                  </a:lnTo>
                  <a:lnTo>
                    <a:pt x="1277" y="1194"/>
                  </a:lnTo>
                  <a:lnTo>
                    <a:pt x="1279" y="1211"/>
                  </a:lnTo>
                  <a:lnTo>
                    <a:pt x="1272" y="1220"/>
                  </a:lnTo>
                  <a:lnTo>
                    <a:pt x="1288" y="1224"/>
                  </a:lnTo>
                  <a:lnTo>
                    <a:pt x="1317" y="1245"/>
                  </a:lnTo>
                  <a:lnTo>
                    <a:pt x="1329" y="1251"/>
                  </a:lnTo>
                  <a:lnTo>
                    <a:pt x="1333" y="1272"/>
                  </a:lnTo>
                  <a:lnTo>
                    <a:pt x="1350" y="1272"/>
                  </a:lnTo>
                  <a:lnTo>
                    <a:pt x="1362" y="1265"/>
                  </a:lnTo>
                  <a:lnTo>
                    <a:pt x="1358" y="1283"/>
                  </a:lnTo>
                  <a:lnTo>
                    <a:pt x="1362" y="1306"/>
                  </a:lnTo>
                  <a:lnTo>
                    <a:pt x="1366" y="1315"/>
                  </a:lnTo>
                  <a:lnTo>
                    <a:pt x="1384" y="1340"/>
                  </a:lnTo>
                  <a:lnTo>
                    <a:pt x="1400" y="1332"/>
                  </a:lnTo>
                  <a:lnTo>
                    <a:pt x="1403" y="1343"/>
                  </a:lnTo>
                  <a:lnTo>
                    <a:pt x="1395" y="1359"/>
                  </a:lnTo>
                  <a:lnTo>
                    <a:pt x="1405" y="1375"/>
                  </a:lnTo>
                  <a:lnTo>
                    <a:pt x="1422" y="1365"/>
                  </a:lnTo>
                  <a:lnTo>
                    <a:pt x="1430" y="1388"/>
                  </a:lnTo>
                  <a:lnTo>
                    <a:pt x="1442" y="1380"/>
                  </a:lnTo>
                  <a:lnTo>
                    <a:pt x="1446" y="1392"/>
                  </a:lnTo>
                  <a:lnTo>
                    <a:pt x="1451" y="1403"/>
                  </a:lnTo>
                  <a:lnTo>
                    <a:pt x="1459" y="1409"/>
                  </a:lnTo>
                  <a:lnTo>
                    <a:pt x="1465" y="1386"/>
                  </a:lnTo>
                  <a:lnTo>
                    <a:pt x="1466" y="1374"/>
                  </a:lnTo>
                  <a:lnTo>
                    <a:pt x="1470" y="1359"/>
                  </a:lnTo>
                  <a:lnTo>
                    <a:pt x="1479" y="1358"/>
                  </a:lnTo>
                  <a:lnTo>
                    <a:pt x="1475" y="1339"/>
                  </a:lnTo>
                  <a:lnTo>
                    <a:pt x="1466" y="1311"/>
                  </a:lnTo>
                  <a:lnTo>
                    <a:pt x="1468" y="1297"/>
                  </a:lnTo>
                  <a:lnTo>
                    <a:pt x="1491" y="1320"/>
                  </a:lnTo>
                  <a:lnTo>
                    <a:pt x="1506" y="1321"/>
                  </a:lnTo>
                  <a:lnTo>
                    <a:pt x="1508" y="1310"/>
                  </a:lnTo>
                  <a:lnTo>
                    <a:pt x="1512" y="1299"/>
                  </a:lnTo>
                  <a:lnTo>
                    <a:pt x="1523" y="1294"/>
                  </a:lnTo>
                  <a:lnTo>
                    <a:pt x="1524" y="1269"/>
                  </a:lnTo>
                  <a:lnTo>
                    <a:pt x="1541" y="1263"/>
                  </a:lnTo>
                  <a:lnTo>
                    <a:pt x="1533" y="1251"/>
                  </a:lnTo>
                  <a:lnTo>
                    <a:pt x="1512" y="1254"/>
                  </a:lnTo>
                  <a:lnTo>
                    <a:pt x="1514" y="1241"/>
                  </a:lnTo>
                  <a:lnTo>
                    <a:pt x="1527" y="1242"/>
                  </a:lnTo>
                  <a:lnTo>
                    <a:pt x="1529" y="1229"/>
                  </a:lnTo>
                  <a:lnTo>
                    <a:pt x="1513" y="1224"/>
                  </a:lnTo>
                  <a:lnTo>
                    <a:pt x="1525" y="1218"/>
                  </a:lnTo>
                  <a:lnTo>
                    <a:pt x="1549" y="1232"/>
                  </a:lnTo>
                  <a:lnTo>
                    <a:pt x="1562" y="1232"/>
                  </a:lnTo>
                  <a:lnTo>
                    <a:pt x="1567" y="1224"/>
                  </a:lnTo>
                  <a:lnTo>
                    <a:pt x="1557" y="1211"/>
                  </a:lnTo>
                  <a:lnTo>
                    <a:pt x="1560" y="1207"/>
                  </a:lnTo>
                  <a:lnTo>
                    <a:pt x="1564" y="1197"/>
                  </a:lnTo>
                  <a:lnTo>
                    <a:pt x="1573" y="1193"/>
                  </a:lnTo>
                  <a:lnTo>
                    <a:pt x="1581" y="1182"/>
                  </a:lnTo>
                  <a:lnTo>
                    <a:pt x="1573" y="1165"/>
                  </a:lnTo>
                  <a:lnTo>
                    <a:pt x="1555" y="1144"/>
                  </a:lnTo>
                  <a:lnTo>
                    <a:pt x="1544" y="1139"/>
                  </a:lnTo>
                  <a:lnTo>
                    <a:pt x="1535" y="1132"/>
                  </a:lnTo>
                  <a:lnTo>
                    <a:pt x="1523" y="1134"/>
                  </a:lnTo>
                  <a:lnTo>
                    <a:pt x="1513" y="1130"/>
                  </a:lnTo>
                  <a:lnTo>
                    <a:pt x="1496" y="1132"/>
                  </a:lnTo>
                  <a:lnTo>
                    <a:pt x="1474" y="1144"/>
                  </a:lnTo>
                  <a:lnTo>
                    <a:pt x="1480" y="1112"/>
                  </a:lnTo>
                  <a:lnTo>
                    <a:pt x="1490" y="1100"/>
                  </a:lnTo>
                  <a:lnTo>
                    <a:pt x="1489" y="1089"/>
                  </a:lnTo>
                  <a:lnTo>
                    <a:pt x="1478" y="1087"/>
                  </a:lnTo>
                  <a:lnTo>
                    <a:pt x="1471" y="1095"/>
                  </a:lnTo>
                  <a:lnTo>
                    <a:pt x="1439" y="1100"/>
                  </a:lnTo>
                  <a:lnTo>
                    <a:pt x="1426" y="1098"/>
                  </a:lnTo>
                  <a:lnTo>
                    <a:pt x="1435" y="1091"/>
                  </a:lnTo>
                  <a:lnTo>
                    <a:pt x="1422" y="1087"/>
                  </a:lnTo>
                  <a:lnTo>
                    <a:pt x="1427" y="1081"/>
                  </a:lnTo>
                  <a:lnTo>
                    <a:pt x="1441" y="1080"/>
                  </a:lnTo>
                  <a:lnTo>
                    <a:pt x="1441" y="1070"/>
                  </a:lnTo>
                  <a:lnTo>
                    <a:pt x="1423" y="1035"/>
                  </a:lnTo>
                  <a:lnTo>
                    <a:pt x="1416" y="1022"/>
                  </a:lnTo>
                  <a:lnTo>
                    <a:pt x="1410" y="1017"/>
                  </a:lnTo>
                  <a:lnTo>
                    <a:pt x="1401" y="1011"/>
                  </a:lnTo>
                  <a:lnTo>
                    <a:pt x="1379" y="1016"/>
                  </a:lnTo>
                  <a:lnTo>
                    <a:pt x="1374" y="1010"/>
                  </a:lnTo>
                  <a:lnTo>
                    <a:pt x="1377" y="999"/>
                  </a:lnTo>
                  <a:lnTo>
                    <a:pt x="1382" y="993"/>
                  </a:lnTo>
                  <a:lnTo>
                    <a:pt x="1383" y="979"/>
                  </a:lnTo>
                  <a:lnTo>
                    <a:pt x="1363" y="984"/>
                  </a:lnTo>
                  <a:lnTo>
                    <a:pt x="1342" y="985"/>
                  </a:lnTo>
                  <a:lnTo>
                    <a:pt x="1329" y="1000"/>
                  </a:lnTo>
                  <a:lnTo>
                    <a:pt x="1323" y="989"/>
                  </a:lnTo>
                  <a:lnTo>
                    <a:pt x="1312" y="985"/>
                  </a:lnTo>
                  <a:lnTo>
                    <a:pt x="1314" y="976"/>
                  </a:lnTo>
                  <a:lnTo>
                    <a:pt x="1324" y="968"/>
                  </a:lnTo>
                  <a:lnTo>
                    <a:pt x="1315" y="952"/>
                  </a:lnTo>
                  <a:lnTo>
                    <a:pt x="1297" y="957"/>
                  </a:lnTo>
                  <a:lnTo>
                    <a:pt x="1283" y="958"/>
                  </a:lnTo>
                  <a:lnTo>
                    <a:pt x="1279" y="952"/>
                  </a:lnTo>
                  <a:lnTo>
                    <a:pt x="1285" y="940"/>
                  </a:lnTo>
                  <a:lnTo>
                    <a:pt x="1288" y="929"/>
                  </a:lnTo>
                  <a:lnTo>
                    <a:pt x="1279" y="923"/>
                  </a:lnTo>
                  <a:lnTo>
                    <a:pt x="1252" y="918"/>
                  </a:lnTo>
                  <a:lnTo>
                    <a:pt x="1216" y="908"/>
                  </a:lnTo>
                  <a:lnTo>
                    <a:pt x="1204" y="902"/>
                  </a:lnTo>
                  <a:lnTo>
                    <a:pt x="1199" y="893"/>
                  </a:lnTo>
                  <a:lnTo>
                    <a:pt x="1215" y="893"/>
                  </a:lnTo>
                  <a:lnTo>
                    <a:pt x="1216" y="885"/>
                  </a:lnTo>
                  <a:lnTo>
                    <a:pt x="1233" y="882"/>
                  </a:lnTo>
                  <a:lnTo>
                    <a:pt x="1224" y="875"/>
                  </a:lnTo>
                  <a:lnTo>
                    <a:pt x="1226" y="870"/>
                  </a:lnTo>
                  <a:lnTo>
                    <a:pt x="1209" y="852"/>
                  </a:lnTo>
                  <a:lnTo>
                    <a:pt x="1210" y="842"/>
                  </a:lnTo>
                  <a:lnTo>
                    <a:pt x="1228" y="843"/>
                  </a:lnTo>
                  <a:lnTo>
                    <a:pt x="1231" y="836"/>
                  </a:lnTo>
                  <a:lnTo>
                    <a:pt x="1220" y="826"/>
                  </a:lnTo>
                  <a:lnTo>
                    <a:pt x="1202" y="815"/>
                  </a:lnTo>
                  <a:lnTo>
                    <a:pt x="1188" y="816"/>
                  </a:lnTo>
                  <a:lnTo>
                    <a:pt x="1186" y="807"/>
                  </a:lnTo>
                  <a:lnTo>
                    <a:pt x="1202" y="804"/>
                  </a:lnTo>
                  <a:lnTo>
                    <a:pt x="1207" y="807"/>
                  </a:lnTo>
                  <a:lnTo>
                    <a:pt x="1215" y="804"/>
                  </a:lnTo>
                  <a:lnTo>
                    <a:pt x="1215" y="791"/>
                  </a:lnTo>
                  <a:lnTo>
                    <a:pt x="1248" y="812"/>
                  </a:lnTo>
                  <a:lnTo>
                    <a:pt x="1263" y="812"/>
                  </a:lnTo>
                  <a:lnTo>
                    <a:pt x="1280" y="805"/>
                  </a:lnTo>
                  <a:lnTo>
                    <a:pt x="1295" y="811"/>
                  </a:lnTo>
                  <a:lnTo>
                    <a:pt x="1299" y="802"/>
                  </a:lnTo>
                  <a:lnTo>
                    <a:pt x="1299" y="793"/>
                  </a:lnTo>
                  <a:lnTo>
                    <a:pt x="1286" y="779"/>
                  </a:lnTo>
                  <a:lnTo>
                    <a:pt x="1269" y="768"/>
                  </a:lnTo>
                  <a:lnTo>
                    <a:pt x="1249" y="766"/>
                  </a:lnTo>
                  <a:lnTo>
                    <a:pt x="1228" y="767"/>
                  </a:lnTo>
                  <a:lnTo>
                    <a:pt x="1211" y="757"/>
                  </a:lnTo>
                  <a:lnTo>
                    <a:pt x="1206" y="769"/>
                  </a:lnTo>
                  <a:lnTo>
                    <a:pt x="1191" y="752"/>
                  </a:lnTo>
                  <a:lnTo>
                    <a:pt x="1178" y="743"/>
                  </a:lnTo>
                  <a:lnTo>
                    <a:pt x="1169" y="751"/>
                  </a:lnTo>
                  <a:lnTo>
                    <a:pt x="1180" y="735"/>
                  </a:lnTo>
                  <a:lnTo>
                    <a:pt x="1201" y="736"/>
                  </a:lnTo>
                  <a:lnTo>
                    <a:pt x="1215" y="729"/>
                  </a:lnTo>
                  <a:lnTo>
                    <a:pt x="1222" y="716"/>
                  </a:lnTo>
                  <a:lnTo>
                    <a:pt x="1238" y="713"/>
                  </a:lnTo>
                  <a:lnTo>
                    <a:pt x="1258" y="723"/>
                  </a:lnTo>
                  <a:lnTo>
                    <a:pt x="1267" y="705"/>
                  </a:lnTo>
                  <a:lnTo>
                    <a:pt x="1261" y="691"/>
                  </a:lnTo>
                  <a:lnTo>
                    <a:pt x="1226" y="641"/>
                  </a:lnTo>
                  <a:lnTo>
                    <a:pt x="1207" y="632"/>
                  </a:lnTo>
                  <a:lnTo>
                    <a:pt x="1200" y="646"/>
                  </a:lnTo>
                  <a:lnTo>
                    <a:pt x="1201" y="661"/>
                  </a:lnTo>
                  <a:lnTo>
                    <a:pt x="1185" y="673"/>
                  </a:lnTo>
                  <a:lnTo>
                    <a:pt x="1178" y="688"/>
                  </a:lnTo>
                  <a:lnTo>
                    <a:pt x="1161" y="687"/>
                  </a:lnTo>
                  <a:lnTo>
                    <a:pt x="1178" y="661"/>
                  </a:lnTo>
                  <a:lnTo>
                    <a:pt x="1178" y="649"/>
                  </a:lnTo>
                  <a:lnTo>
                    <a:pt x="1142" y="651"/>
                  </a:lnTo>
                  <a:lnTo>
                    <a:pt x="1130" y="660"/>
                  </a:lnTo>
                  <a:lnTo>
                    <a:pt x="1125" y="653"/>
                  </a:lnTo>
                  <a:lnTo>
                    <a:pt x="1140" y="640"/>
                  </a:lnTo>
                  <a:lnTo>
                    <a:pt x="1169" y="628"/>
                  </a:lnTo>
                  <a:lnTo>
                    <a:pt x="1178" y="606"/>
                  </a:lnTo>
                  <a:lnTo>
                    <a:pt x="1188" y="619"/>
                  </a:lnTo>
                  <a:lnTo>
                    <a:pt x="1190" y="606"/>
                  </a:lnTo>
                  <a:lnTo>
                    <a:pt x="1190" y="585"/>
                  </a:lnTo>
                  <a:lnTo>
                    <a:pt x="1154" y="570"/>
                  </a:lnTo>
                  <a:lnTo>
                    <a:pt x="1143" y="560"/>
                  </a:lnTo>
                  <a:lnTo>
                    <a:pt x="1131" y="557"/>
                  </a:lnTo>
                  <a:lnTo>
                    <a:pt x="1111" y="563"/>
                  </a:lnTo>
                  <a:lnTo>
                    <a:pt x="1099" y="580"/>
                  </a:lnTo>
                  <a:lnTo>
                    <a:pt x="1093" y="585"/>
                  </a:lnTo>
                  <a:lnTo>
                    <a:pt x="1083" y="597"/>
                  </a:lnTo>
                  <a:lnTo>
                    <a:pt x="1083" y="591"/>
                  </a:lnTo>
                  <a:lnTo>
                    <a:pt x="1089" y="575"/>
                  </a:lnTo>
                  <a:lnTo>
                    <a:pt x="1102" y="563"/>
                  </a:lnTo>
                  <a:lnTo>
                    <a:pt x="1110" y="542"/>
                  </a:lnTo>
                  <a:lnTo>
                    <a:pt x="1102" y="546"/>
                  </a:lnTo>
                  <a:lnTo>
                    <a:pt x="1091" y="556"/>
                  </a:lnTo>
                  <a:lnTo>
                    <a:pt x="1076" y="560"/>
                  </a:lnTo>
                  <a:lnTo>
                    <a:pt x="1057" y="575"/>
                  </a:lnTo>
                  <a:lnTo>
                    <a:pt x="1059" y="564"/>
                  </a:lnTo>
                  <a:lnTo>
                    <a:pt x="1066" y="552"/>
                  </a:lnTo>
                  <a:lnTo>
                    <a:pt x="1075" y="528"/>
                  </a:lnTo>
                  <a:lnTo>
                    <a:pt x="1071" y="509"/>
                  </a:lnTo>
                  <a:lnTo>
                    <a:pt x="1060" y="506"/>
                  </a:lnTo>
                  <a:lnTo>
                    <a:pt x="1044" y="520"/>
                  </a:lnTo>
                  <a:lnTo>
                    <a:pt x="1028" y="525"/>
                  </a:lnTo>
                  <a:lnTo>
                    <a:pt x="1021" y="513"/>
                  </a:lnTo>
                  <a:lnTo>
                    <a:pt x="990" y="506"/>
                  </a:lnTo>
                  <a:lnTo>
                    <a:pt x="1018" y="500"/>
                  </a:lnTo>
                  <a:lnTo>
                    <a:pt x="1034" y="501"/>
                  </a:lnTo>
                  <a:lnTo>
                    <a:pt x="1041" y="489"/>
                  </a:lnTo>
                  <a:lnTo>
                    <a:pt x="1048" y="477"/>
                  </a:lnTo>
                  <a:lnTo>
                    <a:pt x="1041" y="455"/>
                  </a:lnTo>
                  <a:lnTo>
                    <a:pt x="1028" y="431"/>
                  </a:lnTo>
                  <a:lnTo>
                    <a:pt x="986" y="412"/>
                  </a:lnTo>
                  <a:lnTo>
                    <a:pt x="968" y="393"/>
                  </a:lnTo>
                  <a:lnTo>
                    <a:pt x="965" y="395"/>
                  </a:lnTo>
                  <a:lnTo>
                    <a:pt x="962" y="412"/>
                  </a:lnTo>
                  <a:lnTo>
                    <a:pt x="949" y="425"/>
                  </a:lnTo>
                  <a:lnTo>
                    <a:pt x="935" y="419"/>
                  </a:lnTo>
                  <a:lnTo>
                    <a:pt x="922" y="423"/>
                  </a:lnTo>
                  <a:lnTo>
                    <a:pt x="928" y="454"/>
                  </a:lnTo>
                  <a:lnTo>
                    <a:pt x="927" y="463"/>
                  </a:lnTo>
                  <a:lnTo>
                    <a:pt x="926" y="455"/>
                  </a:lnTo>
                  <a:lnTo>
                    <a:pt x="914" y="457"/>
                  </a:lnTo>
                  <a:lnTo>
                    <a:pt x="912" y="452"/>
                  </a:lnTo>
                  <a:lnTo>
                    <a:pt x="904" y="443"/>
                  </a:lnTo>
                  <a:lnTo>
                    <a:pt x="906" y="419"/>
                  </a:lnTo>
                  <a:lnTo>
                    <a:pt x="896" y="418"/>
                  </a:lnTo>
                  <a:lnTo>
                    <a:pt x="882" y="438"/>
                  </a:lnTo>
                  <a:lnTo>
                    <a:pt x="895" y="408"/>
                  </a:lnTo>
                  <a:lnTo>
                    <a:pt x="912" y="385"/>
                  </a:lnTo>
                  <a:lnTo>
                    <a:pt x="910" y="379"/>
                  </a:lnTo>
                  <a:lnTo>
                    <a:pt x="883" y="385"/>
                  </a:lnTo>
                  <a:lnTo>
                    <a:pt x="867" y="385"/>
                  </a:lnTo>
                  <a:lnTo>
                    <a:pt x="851" y="406"/>
                  </a:lnTo>
                  <a:lnTo>
                    <a:pt x="844" y="411"/>
                  </a:lnTo>
                  <a:lnTo>
                    <a:pt x="845" y="391"/>
                  </a:lnTo>
                  <a:lnTo>
                    <a:pt x="829" y="401"/>
                  </a:lnTo>
                  <a:lnTo>
                    <a:pt x="846" y="381"/>
                  </a:lnTo>
                  <a:lnTo>
                    <a:pt x="863" y="370"/>
                  </a:lnTo>
                  <a:lnTo>
                    <a:pt x="871" y="357"/>
                  </a:lnTo>
                  <a:lnTo>
                    <a:pt x="867" y="334"/>
                  </a:lnTo>
                  <a:lnTo>
                    <a:pt x="846" y="328"/>
                  </a:lnTo>
                  <a:lnTo>
                    <a:pt x="825" y="328"/>
                  </a:lnTo>
                  <a:lnTo>
                    <a:pt x="819" y="322"/>
                  </a:lnTo>
                  <a:lnTo>
                    <a:pt x="831" y="305"/>
                  </a:lnTo>
                  <a:lnTo>
                    <a:pt x="828" y="289"/>
                  </a:lnTo>
                  <a:lnTo>
                    <a:pt x="818" y="266"/>
                  </a:lnTo>
                  <a:lnTo>
                    <a:pt x="808" y="259"/>
                  </a:lnTo>
                  <a:lnTo>
                    <a:pt x="812" y="250"/>
                  </a:lnTo>
                  <a:lnTo>
                    <a:pt x="791" y="240"/>
                  </a:lnTo>
                  <a:lnTo>
                    <a:pt x="771" y="239"/>
                  </a:lnTo>
                  <a:lnTo>
                    <a:pt x="712" y="209"/>
                  </a:lnTo>
                  <a:lnTo>
                    <a:pt x="685" y="208"/>
                  </a:lnTo>
                  <a:lnTo>
                    <a:pt x="656" y="221"/>
                  </a:lnTo>
                  <a:lnTo>
                    <a:pt x="631" y="245"/>
                  </a:lnTo>
                  <a:lnTo>
                    <a:pt x="630" y="266"/>
                  </a:lnTo>
                  <a:lnTo>
                    <a:pt x="646" y="280"/>
                  </a:lnTo>
                  <a:lnTo>
                    <a:pt x="634" y="285"/>
                  </a:lnTo>
                  <a:lnTo>
                    <a:pt x="618" y="285"/>
                  </a:lnTo>
                  <a:lnTo>
                    <a:pt x="607" y="300"/>
                  </a:lnTo>
                  <a:lnTo>
                    <a:pt x="588" y="274"/>
                  </a:lnTo>
                  <a:lnTo>
                    <a:pt x="575" y="289"/>
                  </a:lnTo>
                  <a:lnTo>
                    <a:pt x="565" y="283"/>
                  </a:lnTo>
                  <a:lnTo>
                    <a:pt x="566" y="267"/>
                  </a:lnTo>
                  <a:lnTo>
                    <a:pt x="562" y="251"/>
                  </a:lnTo>
                  <a:lnTo>
                    <a:pt x="550" y="275"/>
                  </a:lnTo>
                  <a:lnTo>
                    <a:pt x="550" y="283"/>
                  </a:lnTo>
                  <a:lnTo>
                    <a:pt x="545" y="306"/>
                  </a:lnTo>
                  <a:lnTo>
                    <a:pt x="537" y="304"/>
                  </a:lnTo>
                  <a:lnTo>
                    <a:pt x="533" y="322"/>
                  </a:lnTo>
                  <a:lnTo>
                    <a:pt x="519" y="344"/>
                  </a:lnTo>
                  <a:lnTo>
                    <a:pt x="503" y="357"/>
                  </a:lnTo>
                  <a:lnTo>
                    <a:pt x="506" y="347"/>
                  </a:lnTo>
                  <a:lnTo>
                    <a:pt x="498" y="336"/>
                  </a:lnTo>
                  <a:lnTo>
                    <a:pt x="503" y="325"/>
                  </a:lnTo>
                  <a:lnTo>
                    <a:pt x="517" y="328"/>
                  </a:lnTo>
                  <a:lnTo>
                    <a:pt x="519" y="323"/>
                  </a:lnTo>
                  <a:lnTo>
                    <a:pt x="511" y="312"/>
                  </a:lnTo>
                  <a:lnTo>
                    <a:pt x="506" y="312"/>
                  </a:lnTo>
                  <a:lnTo>
                    <a:pt x="512" y="289"/>
                  </a:lnTo>
                  <a:lnTo>
                    <a:pt x="518" y="274"/>
                  </a:lnTo>
                  <a:lnTo>
                    <a:pt x="528" y="230"/>
                  </a:lnTo>
                  <a:lnTo>
                    <a:pt x="534" y="212"/>
                  </a:lnTo>
                  <a:lnTo>
                    <a:pt x="518" y="196"/>
                  </a:lnTo>
                  <a:lnTo>
                    <a:pt x="510" y="176"/>
                  </a:lnTo>
                  <a:lnTo>
                    <a:pt x="508" y="167"/>
                  </a:lnTo>
                  <a:lnTo>
                    <a:pt x="518" y="159"/>
                  </a:lnTo>
                  <a:lnTo>
                    <a:pt x="519" y="148"/>
                  </a:lnTo>
                  <a:lnTo>
                    <a:pt x="512" y="134"/>
                  </a:lnTo>
                  <a:lnTo>
                    <a:pt x="496" y="122"/>
                  </a:lnTo>
                  <a:lnTo>
                    <a:pt x="475" y="115"/>
                  </a:lnTo>
                  <a:lnTo>
                    <a:pt x="489" y="99"/>
                  </a:lnTo>
                  <a:lnTo>
                    <a:pt x="484" y="47"/>
                  </a:lnTo>
                  <a:lnTo>
                    <a:pt x="475" y="33"/>
                  </a:lnTo>
                  <a:lnTo>
                    <a:pt x="470" y="22"/>
                  </a:lnTo>
                  <a:lnTo>
                    <a:pt x="417" y="26"/>
                  </a:lnTo>
                  <a:lnTo>
                    <a:pt x="401" y="25"/>
                  </a:lnTo>
                  <a:lnTo>
                    <a:pt x="390" y="33"/>
                  </a:lnTo>
                  <a:lnTo>
                    <a:pt x="378" y="37"/>
                  </a:lnTo>
                  <a:lnTo>
                    <a:pt x="358" y="49"/>
                  </a:lnTo>
                  <a:lnTo>
                    <a:pt x="339" y="68"/>
                  </a:lnTo>
                  <a:lnTo>
                    <a:pt x="355" y="84"/>
                  </a:lnTo>
                  <a:lnTo>
                    <a:pt x="351" y="103"/>
                  </a:lnTo>
                  <a:lnTo>
                    <a:pt x="347" y="92"/>
                  </a:lnTo>
                  <a:lnTo>
                    <a:pt x="340" y="80"/>
                  </a:lnTo>
                  <a:lnTo>
                    <a:pt x="325" y="73"/>
                  </a:lnTo>
                  <a:lnTo>
                    <a:pt x="307" y="81"/>
                  </a:lnTo>
                  <a:lnTo>
                    <a:pt x="304" y="94"/>
                  </a:lnTo>
                  <a:lnTo>
                    <a:pt x="313" y="118"/>
                  </a:lnTo>
                  <a:lnTo>
                    <a:pt x="303" y="112"/>
                  </a:lnTo>
                  <a:lnTo>
                    <a:pt x="291" y="94"/>
                  </a:lnTo>
                  <a:lnTo>
                    <a:pt x="277" y="97"/>
                  </a:lnTo>
                  <a:lnTo>
                    <a:pt x="272" y="115"/>
                  </a:lnTo>
                  <a:lnTo>
                    <a:pt x="285" y="131"/>
                  </a:lnTo>
                  <a:lnTo>
                    <a:pt x="344" y="153"/>
                  </a:lnTo>
                  <a:lnTo>
                    <a:pt x="341" y="160"/>
                  </a:lnTo>
                  <a:lnTo>
                    <a:pt x="324" y="156"/>
                  </a:lnTo>
                  <a:lnTo>
                    <a:pt x="266" y="138"/>
                  </a:lnTo>
                  <a:lnTo>
                    <a:pt x="264" y="148"/>
                  </a:lnTo>
                  <a:lnTo>
                    <a:pt x="258" y="144"/>
                  </a:lnTo>
                  <a:lnTo>
                    <a:pt x="250" y="148"/>
                  </a:lnTo>
                  <a:lnTo>
                    <a:pt x="261" y="156"/>
                  </a:lnTo>
                  <a:lnTo>
                    <a:pt x="276" y="160"/>
                  </a:lnTo>
                  <a:lnTo>
                    <a:pt x="293" y="177"/>
                  </a:lnTo>
                  <a:lnTo>
                    <a:pt x="312" y="186"/>
                  </a:lnTo>
                  <a:lnTo>
                    <a:pt x="331" y="204"/>
                  </a:lnTo>
                  <a:lnTo>
                    <a:pt x="319" y="207"/>
                  </a:lnTo>
                  <a:lnTo>
                    <a:pt x="280" y="176"/>
                  </a:lnTo>
                  <a:lnTo>
                    <a:pt x="255" y="170"/>
                  </a:lnTo>
                  <a:lnTo>
                    <a:pt x="243" y="171"/>
                  </a:lnTo>
                  <a:lnTo>
                    <a:pt x="238" y="181"/>
                  </a:lnTo>
                  <a:lnTo>
                    <a:pt x="239" y="210"/>
                  </a:lnTo>
                  <a:lnTo>
                    <a:pt x="248" y="237"/>
                  </a:lnTo>
                  <a:lnTo>
                    <a:pt x="243" y="246"/>
                  </a:lnTo>
                  <a:lnTo>
                    <a:pt x="250" y="263"/>
                  </a:lnTo>
                  <a:lnTo>
                    <a:pt x="269" y="274"/>
                  </a:lnTo>
                  <a:lnTo>
                    <a:pt x="279" y="274"/>
                  </a:lnTo>
                  <a:lnTo>
                    <a:pt x="285" y="268"/>
                  </a:lnTo>
                  <a:lnTo>
                    <a:pt x="288" y="273"/>
                  </a:lnTo>
                  <a:lnTo>
                    <a:pt x="282" y="291"/>
                  </a:lnTo>
                  <a:lnTo>
                    <a:pt x="272" y="302"/>
                  </a:lnTo>
                  <a:lnTo>
                    <a:pt x="254" y="299"/>
                  </a:lnTo>
                  <a:lnTo>
                    <a:pt x="249" y="314"/>
                  </a:lnTo>
                  <a:lnTo>
                    <a:pt x="248" y="325"/>
                  </a:lnTo>
                  <a:lnTo>
                    <a:pt x="226" y="343"/>
                  </a:lnTo>
                  <a:lnTo>
                    <a:pt x="229" y="354"/>
                  </a:lnTo>
                  <a:lnTo>
                    <a:pt x="245" y="364"/>
                  </a:lnTo>
                  <a:lnTo>
                    <a:pt x="245" y="381"/>
                  </a:lnTo>
                  <a:lnTo>
                    <a:pt x="259" y="398"/>
                  </a:lnTo>
                  <a:lnTo>
                    <a:pt x="280" y="406"/>
                  </a:lnTo>
                  <a:lnTo>
                    <a:pt x="295" y="406"/>
                  </a:lnTo>
                  <a:lnTo>
                    <a:pt x="298" y="419"/>
                  </a:lnTo>
                  <a:lnTo>
                    <a:pt x="295" y="441"/>
                  </a:lnTo>
                  <a:lnTo>
                    <a:pt x="295" y="447"/>
                  </a:lnTo>
                  <a:lnTo>
                    <a:pt x="290" y="455"/>
                  </a:lnTo>
                  <a:lnTo>
                    <a:pt x="291" y="471"/>
                  </a:lnTo>
                  <a:lnTo>
                    <a:pt x="290" y="485"/>
                  </a:lnTo>
                  <a:lnTo>
                    <a:pt x="288" y="504"/>
                  </a:lnTo>
                  <a:lnTo>
                    <a:pt x="281" y="525"/>
                  </a:lnTo>
                  <a:lnTo>
                    <a:pt x="275" y="519"/>
                  </a:lnTo>
                  <a:lnTo>
                    <a:pt x="277" y="500"/>
                  </a:lnTo>
                  <a:lnTo>
                    <a:pt x="281" y="490"/>
                  </a:lnTo>
                  <a:lnTo>
                    <a:pt x="277" y="485"/>
                  </a:lnTo>
                  <a:lnTo>
                    <a:pt x="271" y="489"/>
                  </a:lnTo>
                  <a:lnTo>
                    <a:pt x="254" y="487"/>
                  </a:lnTo>
                  <a:lnTo>
                    <a:pt x="242" y="490"/>
                  </a:lnTo>
                  <a:lnTo>
                    <a:pt x="227" y="498"/>
                  </a:lnTo>
                  <a:lnTo>
                    <a:pt x="207" y="515"/>
                  </a:lnTo>
                  <a:lnTo>
                    <a:pt x="190" y="513"/>
                  </a:lnTo>
                  <a:lnTo>
                    <a:pt x="215" y="495"/>
                  </a:lnTo>
                  <a:lnTo>
                    <a:pt x="227" y="481"/>
                  </a:lnTo>
                  <a:lnTo>
                    <a:pt x="252" y="476"/>
                  </a:lnTo>
                  <a:lnTo>
                    <a:pt x="256" y="470"/>
                  </a:lnTo>
                  <a:lnTo>
                    <a:pt x="268" y="465"/>
                  </a:lnTo>
                  <a:lnTo>
                    <a:pt x="281" y="467"/>
                  </a:lnTo>
                  <a:lnTo>
                    <a:pt x="281" y="460"/>
                  </a:lnTo>
                  <a:lnTo>
                    <a:pt x="277" y="446"/>
                  </a:lnTo>
                  <a:lnTo>
                    <a:pt x="274" y="438"/>
                  </a:lnTo>
                  <a:lnTo>
                    <a:pt x="255" y="433"/>
                  </a:lnTo>
                  <a:lnTo>
                    <a:pt x="205" y="361"/>
                  </a:lnTo>
                  <a:lnTo>
                    <a:pt x="196" y="334"/>
                  </a:lnTo>
                  <a:lnTo>
                    <a:pt x="198" y="306"/>
                  </a:lnTo>
                  <a:lnTo>
                    <a:pt x="206" y="274"/>
                  </a:lnTo>
                  <a:lnTo>
                    <a:pt x="198" y="252"/>
                  </a:lnTo>
                  <a:lnTo>
                    <a:pt x="185" y="229"/>
                  </a:lnTo>
                  <a:lnTo>
                    <a:pt x="186" y="198"/>
                  </a:lnTo>
                  <a:lnTo>
                    <a:pt x="207" y="155"/>
                  </a:lnTo>
                  <a:lnTo>
                    <a:pt x="211" y="124"/>
                  </a:lnTo>
                  <a:lnTo>
                    <a:pt x="222" y="102"/>
                  </a:lnTo>
                  <a:lnTo>
                    <a:pt x="236" y="88"/>
                  </a:lnTo>
                  <a:lnTo>
                    <a:pt x="247" y="67"/>
                  </a:lnTo>
                  <a:lnTo>
                    <a:pt x="275" y="38"/>
                  </a:lnTo>
                  <a:lnTo>
                    <a:pt x="285" y="25"/>
                  </a:lnTo>
                  <a:lnTo>
                    <a:pt x="285" y="21"/>
                  </a:lnTo>
                  <a:lnTo>
                    <a:pt x="279" y="16"/>
                  </a:lnTo>
                  <a:lnTo>
                    <a:pt x="270" y="8"/>
                  </a:lnTo>
                  <a:lnTo>
                    <a:pt x="206" y="0"/>
                  </a:lnTo>
                  <a:lnTo>
                    <a:pt x="190" y="3"/>
                  </a:lnTo>
                  <a:lnTo>
                    <a:pt x="146" y="20"/>
                  </a:lnTo>
                  <a:lnTo>
                    <a:pt x="114" y="42"/>
                  </a:lnTo>
                  <a:lnTo>
                    <a:pt x="81" y="76"/>
                  </a:lnTo>
                  <a:lnTo>
                    <a:pt x="75" y="101"/>
                  </a:lnTo>
                  <a:lnTo>
                    <a:pt x="61" y="118"/>
                  </a:lnTo>
                  <a:lnTo>
                    <a:pt x="55" y="123"/>
                  </a:lnTo>
                  <a:lnTo>
                    <a:pt x="49" y="134"/>
                  </a:lnTo>
                  <a:lnTo>
                    <a:pt x="44" y="149"/>
                  </a:lnTo>
                  <a:lnTo>
                    <a:pt x="51" y="164"/>
                  </a:lnTo>
                  <a:lnTo>
                    <a:pt x="39" y="172"/>
                  </a:lnTo>
                  <a:lnTo>
                    <a:pt x="38" y="199"/>
                  </a:lnTo>
                  <a:lnTo>
                    <a:pt x="48" y="204"/>
                  </a:lnTo>
                  <a:lnTo>
                    <a:pt x="29" y="204"/>
                  </a:lnTo>
                  <a:lnTo>
                    <a:pt x="24" y="230"/>
                  </a:lnTo>
                  <a:lnTo>
                    <a:pt x="16" y="236"/>
                  </a:lnTo>
                  <a:lnTo>
                    <a:pt x="14" y="261"/>
                  </a:lnTo>
                  <a:lnTo>
                    <a:pt x="7" y="274"/>
                  </a:lnTo>
                  <a:lnTo>
                    <a:pt x="12" y="310"/>
                  </a:lnTo>
                  <a:lnTo>
                    <a:pt x="27" y="310"/>
                  </a:lnTo>
                  <a:lnTo>
                    <a:pt x="17" y="316"/>
                  </a:lnTo>
                  <a:lnTo>
                    <a:pt x="7" y="330"/>
                  </a:lnTo>
                  <a:lnTo>
                    <a:pt x="0" y="347"/>
                  </a:lnTo>
                  <a:lnTo>
                    <a:pt x="7" y="369"/>
                  </a:lnTo>
                  <a:lnTo>
                    <a:pt x="13" y="381"/>
                  </a:lnTo>
                  <a:lnTo>
                    <a:pt x="3" y="401"/>
                  </a:lnTo>
                  <a:lnTo>
                    <a:pt x="3" y="441"/>
                  </a:lnTo>
                  <a:lnTo>
                    <a:pt x="8" y="454"/>
                  </a:lnTo>
                  <a:lnTo>
                    <a:pt x="12" y="460"/>
                  </a:lnTo>
                  <a:lnTo>
                    <a:pt x="62" y="471"/>
                  </a:lnTo>
                  <a:lnTo>
                    <a:pt x="115" y="476"/>
                  </a:lnTo>
                  <a:lnTo>
                    <a:pt x="126" y="490"/>
                  </a:lnTo>
                  <a:lnTo>
                    <a:pt x="145" y="506"/>
                  </a:lnTo>
                  <a:lnTo>
                    <a:pt x="162" y="516"/>
                  </a:lnTo>
                  <a:lnTo>
                    <a:pt x="131" y="528"/>
                  </a:lnTo>
                  <a:lnTo>
                    <a:pt x="107" y="530"/>
                  </a:lnTo>
                  <a:lnTo>
                    <a:pt x="73" y="510"/>
                  </a:lnTo>
                  <a:lnTo>
                    <a:pt x="53" y="509"/>
                  </a:lnTo>
                  <a:lnTo>
                    <a:pt x="37" y="504"/>
                  </a:lnTo>
                  <a:lnTo>
                    <a:pt x="45" y="515"/>
                  </a:lnTo>
                  <a:lnTo>
                    <a:pt x="38" y="532"/>
                  </a:lnTo>
                  <a:lnTo>
                    <a:pt x="48" y="548"/>
                  </a:lnTo>
                  <a:lnTo>
                    <a:pt x="61" y="575"/>
                  </a:lnTo>
                  <a:lnTo>
                    <a:pt x="83" y="602"/>
                  </a:lnTo>
                  <a:lnTo>
                    <a:pt x="118" y="624"/>
                  </a:lnTo>
                  <a:lnTo>
                    <a:pt x="105" y="627"/>
                  </a:lnTo>
                  <a:lnTo>
                    <a:pt x="124" y="634"/>
                  </a:lnTo>
                  <a:lnTo>
                    <a:pt x="126" y="628"/>
                  </a:lnTo>
                  <a:lnTo>
                    <a:pt x="141" y="627"/>
                  </a:lnTo>
                  <a:lnTo>
                    <a:pt x="167" y="632"/>
                  </a:lnTo>
                  <a:lnTo>
                    <a:pt x="186" y="627"/>
                  </a:lnTo>
                  <a:lnTo>
                    <a:pt x="194" y="606"/>
                  </a:lnTo>
                  <a:lnTo>
                    <a:pt x="196" y="635"/>
                  </a:lnTo>
                  <a:lnTo>
                    <a:pt x="209" y="656"/>
                  </a:lnTo>
                  <a:lnTo>
                    <a:pt x="226" y="673"/>
                  </a:lnTo>
                  <a:lnTo>
                    <a:pt x="253" y="682"/>
                  </a:lnTo>
                  <a:lnTo>
                    <a:pt x="265" y="682"/>
                  </a:lnTo>
                  <a:lnTo>
                    <a:pt x="250" y="672"/>
                  </a:lnTo>
                  <a:lnTo>
                    <a:pt x="265" y="670"/>
                  </a:lnTo>
                  <a:lnTo>
                    <a:pt x="292" y="680"/>
                  </a:lnTo>
                  <a:lnTo>
                    <a:pt x="344" y="688"/>
                  </a:lnTo>
                  <a:lnTo>
                    <a:pt x="358" y="696"/>
                  </a:lnTo>
                  <a:lnTo>
                    <a:pt x="360" y="689"/>
                  </a:lnTo>
                  <a:lnTo>
                    <a:pt x="384" y="678"/>
                  </a:lnTo>
                  <a:lnTo>
                    <a:pt x="419" y="702"/>
                  </a:lnTo>
                  <a:lnTo>
                    <a:pt x="435" y="703"/>
                  </a:lnTo>
                  <a:lnTo>
                    <a:pt x="437" y="708"/>
                  </a:lnTo>
                  <a:lnTo>
                    <a:pt x="442" y="700"/>
                  </a:lnTo>
                  <a:lnTo>
                    <a:pt x="441" y="702"/>
                  </a:lnTo>
                  <a:lnTo>
                    <a:pt x="448" y="709"/>
                  </a:lnTo>
                  <a:lnTo>
                    <a:pt x="455" y="693"/>
                  </a:lnTo>
                  <a:lnTo>
                    <a:pt x="469" y="687"/>
                  </a:lnTo>
                  <a:lnTo>
                    <a:pt x="483" y="696"/>
                  </a:lnTo>
                  <a:lnTo>
                    <a:pt x="496" y="718"/>
                  </a:lnTo>
                  <a:lnTo>
                    <a:pt x="506" y="718"/>
                  </a:lnTo>
                  <a:lnTo>
                    <a:pt x="501" y="704"/>
                  </a:lnTo>
                  <a:lnTo>
                    <a:pt x="481" y="680"/>
                  </a:lnTo>
                  <a:lnTo>
                    <a:pt x="462" y="672"/>
                  </a:lnTo>
                  <a:lnTo>
                    <a:pt x="464" y="659"/>
                  </a:lnTo>
                  <a:lnTo>
                    <a:pt x="517" y="676"/>
                  </a:lnTo>
                  <a:lnTo>
                    <a:pt x="530" y="682"/>
                  </a:lnTo>
                  <a:lnTo>
                    <a:pt x="543" y="676"/>
                  </a:lnTo>
                  <a:lnTo>
                    <a:pt x="549" y="682"/>
                  </a:lnTo>
                  <a:lnTo>
                    <a:pt x="556" y="682"/>
                  </a:lnTo>
                  <a:lnTo>
                    <a:pt x="569" y="707"/>
                  </a:lnTo>
                  <a:lnTo>
                    <a:pt x="596" y="698"/>
                  </a:lnTo>
                  <a:lnTo>
                    <a:pt x="618" y="696"/>
                  </a:lnTo>
                  <a:lnTo>
                    <a:pt x="625" y="684"/>
                  </a:lnTo>
                  <a:lnTo>
                    <a:pt x="620" y="659"/>
                  </a:lnTo>
                  <a:lnTo>
                    <a:pt x="605" y="624"/>
                  </a:lnTo>
                  <a:lnTo>
                    <a:pt x="591" y="626"/>
                  </a:lnTo>
                  <a:lnTo>
                    <a:pt x="581" y="618"/>
                  </a:lnTo>
                  <a:lnTo>
                    <a:pt x="593" y="607"/>
                  </a:lnTo>
                  <a:lnTo>
                    <a:pt x="620" y="614"/>
                  </a:lnTo>
                  <a:lnTo>
                    <a:pt x="653" y="649"/>
                  </a:lnTo>
                  <a:lnTo>
                    <a:pt x="658" y="638"/>
                  </a:lnTo>
                  <a:lnTo>
                    <a:pt x="670" y="646"/>
                  </a:lnTo>
                  <a:lnTo>
                    <a:pt x="684" y="643"/>
                  </a:lnTo>
                  <a:lnTo>
                    <a:pt x="685" y="707"/>
                  </a:lnTo>
                  <a:lnTo>
                    <a:pt x="694" y="716"/>
                  </a:lnTo>
                  <a:lnTo>
                    <a:pt x="701" y="700"/>
                  </a:lnTo>
                  <a:lnTo>
                    <a:pt x="711" y="708"/>
                  </a:lnTo>
                  <a:lnTo>
                    <a:pt x="723" y="707"/>
                  </a:lnTo>
                  <a:lnTo>
                    <a:pt x="728" y="714"/>
                  </a:lnTo>
                  <a:lnTo>
                    <a:pt x="727" y="726"/>
                  </a:lnTo>
                  <a:lnTo>
                    <a:pt x="715" y="736"/>
                  </a:lnTo>
                  <a:lnTo>
                    <a:pt x="727" y="737"/>
                  </a:lnTo>
                  <a:lnTo>
                    <a:pt x="738" y="745"/>
                  </a:lnTo>
                  <a:lnTo>
                    <a:pt x="750" y="759"/>
                  </a:lnTo>
                  <a:lnTo>
                    <a:pt x="787" y="793"/>
                  </a:lnTo>
                  <a:lnTo>
                    <a:pt x="792" y="816"/>
                  </a:lnTo>
                  <a:lnTo>
                    <a:pt x="772" y="833"/>
                  </a:lnTo>
                  <a:lnTo>
                    <a:pt x="752" y="828"/>
                  </a:lnTo>
                  <a:lnTo>
                    <a:pt x="737" y="828"/>
                  </a:lnTo>
                  <a:lnTo>
                    <a:pt x="743" y="854"/>
                  </a:lnTo>
                  <a:lnTo>
                    <a:pt x="740" y="887"/>
                  </a:lnTo>
                  <a:lnTo>
                    <a:pt x="761" y="880"/>
                  </a:lnTo>
                  <a:lnTo>
                    <a:pt x="791" y="859"/>
                  </a:lnTo>
                  <a:lnTo>
                    <a:pt x="798" y="843"/>
                  </a:lnTo>
                  <a:lnTo>
                    <a:pt x="812" y="849"/>
                  </a:lnTo>
                  <a:lnTo>
                    <a:pt x="829" y="834"/>
                  </a:lnTo>
                  <a:lnTo>
                    <a:pt x="849" y="829"/>
                  </a:lnTo>
                  <a:lnTo>
                    <a:pt x="868" y="833"/>
                  </a:lnTo>
                  <a:lnTo>
                    <a:pt x="836" y="843"/>
                  </a:lnTo>
                  <a:lnTo>
                    <a:pt x="842" y="848"/>
                  </a:lnTo>
                  <a:lnTo>
                    <a:pt x="835" y="863"/>
                  </a:lnTo>
                  <a:lnTo>
                    <a:pt x="858" y="892"/>
                  </a:lnTo>
                  <a:lnTo>
                    <a:pt x="872" y="906"/>
                  </a:lnTo>
                  <a:lnTo>
                    <a:pt x="878" y="901"/>
                  </a:lnTo>
                  <a:lnTo>
                    <a:pt x="871" y="887"/>
                  </a:lnTo>
                  <a:lnTo>
                    <a:pt x="872" y="877"/>
                  </a:lnTo>
                  <a:lnTo>
                    <a:pt x="892" y="883"/>
                  </a:lnTo>
                  <a:lnTo>
                    <a:pt x="890" y="920"/>
                  </a:lnTo>
                  <a:lnTo>
                    <a:pt x="895" y="936"/>
                  </a:lnTo>
                  <a:lnTo>
                    <a:pt x="912" y="949"/>
                  </a:lnTo>
                  <a:lnTo>
                    <a:pt x="925" y="941"/>
                  </a:lnTo>
                  <a:lnTo>
                    <a:pt x="939" y="963"/>
                  </a:lnTo>
                  <a:lnTo>
                    <a:pt x="942" y="988"/>
                  </a:lnTo>
                  <a:lnTo>
                    <a:pt x="948" y="1004"/>
                  </a:lnTo>
                  <a:lnTo>
                    <a:pt x="955" y="1014"/>
                  </a:lnTo>
                  <a:lnTo>
                    <a:pt x="958" y="1037"/>
                  </a:lnTo>
                  <a:lnTo>
                    <a:pt x="965" y="1049"/>
                  </a:lnTo>
                  <a:lnTo>
                    <a:pt x="967" y="1069"/>
                  </a:lnTo>
                  <a:lnTo>
                    <a:pt x="970" y="1085"/>
                  </a:lnTo>
                  <a:lnTo>
                    <a:pt x="976" y="1089"/>
                  </a:lnTo>
                  <a:lnTo>
                    <a:pt x="971" y="1103"/>
                  </a:lnTo>
                  <a:lnTo>
                    <a:pt x="964" y="1114"/>
                  </a:lnTo>
                  <a:lnTo>
                    <a:pt x="951" y="1121"/>
                  </a:lnTo>
                  <a:lnTo>
                    <a:pt x="942" y="1130"/>
                  </a:lnTo>
                  <a:lnTo>
                    <a:pt x="941" y="1166"/>
                  </a:lnTo>
                  <a:lnTo>
                    <a:pt x="937" y="1170"/>
                  </a:lnTo>
                  <a:lnTo>
                    <a:pt x="924" y="1173"/>
                  </a:lnTo>
                  <a:lnTo>
                    <a:pt x="911" y="1191"/>
                  </a:lnTo>
                  <a:lnTo>
                    <a:pt x="895" y="1204"/>
                  </a:lnTo>
                  <a:lnTo>
                    <a:pt x="882" y="1224"/>
                  </a:lnTo>
                  <a:lnTo>
                    <a:pt x="861" y="1242"/>
                  </a:lnTo>
                  <a:lnTo>
                    <a:pt x="863" y="1254"/>
                  </a:lnTo>
                  <a:lnTo>
                    <a:pt x="877" y="1275"/>
                  </a:lnTo>
                  <a:lnTo>
                    <a:pt x="894" y="1292"/>
                  </a:lnTo>
                  <a:lnTo>
                    <a:pt x="898" y="1310"/>
                  </a:lnTo>
                  <a:lnTo>
                    <a:pt x="908" y="1313"/>
                  </a:lnTo>
                  <a:lnTo>
                    <a:pt x="908" y="1338"/>
                  </a:lnTo>
                  <a:lnTo>
                    <a:pt x="889" y="1328"/>
                  </a:lnTo>
                  <a:lnTo>
                    <a:pt x="888" y="1333"/>
                  </a:lnTo>
                  <a:lnTo>
                    <a:pt x="874" y="1327"/>
                  </a:lnTo>
                  <a:lnTo>
                    <a:pt x="871" y="1334"/>
                  </a:lnTo>
                  <a:lnTo>
                    <a:pt x="862" y="1337"/>
                  </a:lnTo>
                  <a:lnTo>
                    <a:pt x="846" y="1347"/>
                  </a:lnTo>
                  <a:lnTo>
                    <a:pt x="822" y="1347"/>
                  </a:lnTo>
                  <a:lnTo>
                    <a:pt x="820" y="1360"/>
                  </a:lnTo>
                  <a:lnTo>
                    <a:pt x="811" y="1364"/>
                  </a:lnTo>
                  <a:lnTo>
                    <a:pt x="793" y="1354"/>
                  </a:lnTo>
                  <a:lnTo>
                    <a:pt x="765" y="1358"/>
                  </a:lnTo>
                  <a:lnTo>
                    <a:pt x="743" y="1348"/>
                  </a:lnTo>
                  <a:lnTo>
                    <a:pt x="731" y="1348"/>
                  </a:lnTo>
                  <a:lnTo>
                    <a:pt x="718" y="1344"/>
                  </a:lnTo>
                  <a:lnTo>
                    <a:pt x="711" y="1338"/>
                  </a:lnTo>
                  <a:lnTo>
                    <a:pt x="700" y="1339"/>
                  </a:lnTo>
                  <a:lnTo>
                    <a:pt x="707" y="1350"/>
                  </a:lnTo>
                  <a:lnTo>
                    <a:pt x="697" y="1350"/>
                  </a:lnTo>
                  <a:lnTo>
                    <a:pt x="700" y="1374"/>
                  </a:lnTo>
                  <a:lnTo>
                    <a:pt x="688" y="1378"/>
                  </a:lnTo>
                  <a:lnTo>
                    <a:pt x="668" y="1393"/>
                  </a:lnTo>
                  <a:lnTo>
                    <a:pt x="661" y="1408"/>
                  </a:lnTo>
                  <a:lnTo>
                    <a:pt x="658" y="1425"/>
                  </a:lnTo>
                  <a:lnTo>
                    <a:pt x="659" y="1441"/>
                  </a:lnTo>
                  <a:lnTo>
                    <a:pt x="668" y="1462"/>
                  </a:lnTo>
                  <a:lnTo>
                    <a:pt x="680" y="1473"/>
                  </a:lnTo>
                  <a:lnTo>
                    <a:pt x="690" y="1473"/>
                  </a:lnTo>
                  <a:lnTo>
                    <a:pt x="702" y="1488"/>
                  </a:lnTo>
                  <a:lnTo>
                    <a:pt x="710" y="1485"/>
                  </a:lnTo>
                  <a:lnTo>
                    <a:pt x="731" y="1491"/>
                  </a:lnTo>
                  <a:lnTo>
                    <a:pt x="737" y="1496"/>
                  </a:lnTo>
                  <a:lnTo>
                    <a:pt x="739" y="1493"/>
                  </a:lnTo>
                  <a:lnTo>
                    <a:pt x="761" y="1487"/>
                  </a:lnTo>
                  <a:lnTo>
                    <a:pt x="759" y="1478"/>
                  </a:lnTo>
                  <a:lnTo>
                    <a:pt x="776" y="1477"/>
                  </a:lnTo>
                  <a:lnTo>
                    <a:pt x="783" y="1473"/>
                  </a:lnTo>
                  <a:lnTo>
                    <a:pt x="785" y="1463"/>
                  </a:lnTo>
                  <a:lnTo>
                    <a:pt x="780" y="1452"/>
                  </a:lnTo>
                  <a:lnTo>
                    <a:pt x="792" y="1447"/>
                  </a:lnTo>
                  <a:lnTo>
                    <a:pt x="807" y="1447"/>
                  </a:lnTo>
                  <a:lnTo>
                    <a:pt x="812" y="1457"/>
                  </a:lnTo>
                  <a:lnTo>
                    <a:pt x="814" y="1467"/>
                  </a:lnTo>
                  <a:lnTo>
                    <a:pt x="840" y="1468"/>
                  </a:lnTo>
                  <a:lnTo>
                    <a:pt x="849" y="1472"/>
                  </a:lnTo>
                  <a:lnTo>
                    <a:pt x="847" y="1461"/>
                  </a:lnTo>
                  <a:lnTo>
                    <a:pt x="855" y="1453"/>
                  </a:lnTo>
                  <a:lnTo>
                    <a:pt x="857" y="1460"/>
                  </a:lnTo>
                  <a:lnTo>
                    <a:pt x="847" y="1441"/>
                  </a:lnTo>
                  <a:lnTo>
                    <a:pt x="835" y="1436"/>
                  </a:lnTo>
                  <a:lnTo>
                    <a:pt x="834" y="1423"/>
                  </a:lnTo>
                  <a:lnTo>
                    <a:pt x="846" y="1419"/>
                  </a:lnTo>
                  <a:lnTo>
                    <a:pt x="851" y="1413"/>
                  </a:lnTo>
                  <a:lnTo>
                    <a:pt x="851" y="1425"/>
                  </a:lnTo>
                  <a:lnTo>
                    <a:pt x="852" y="1435"/>
                  </a:lnTo>
                  <a:lnTo>
                    <a:pt x="860" y="1426"/>
                  </a:lnTo>
                  <a:lnTo>
                    <a:pt x="862" y="1435"/>
                  </a:lnTo>
                  <a:lnTo>
                    <a:pt x="871" y="1444"/>
                  </a:lnTo>
                  <a:lnTo>
                    <a:pt x="876" y="1439"/>
                  </a:lnTo>
                  <a:lnTo>
                    <a:pt x="885" y="1435"/>
                  </a:lnTo>
                  <a:lnTo>
                    <a:pt x="889" y="1436"/>
                  </a:lnTo>
                  <a:lnTo>
                    <a:pt x="898" y="1450"/>
                  </a:lnTo>
                  <a:lnTo>
                    <a:pt x="906" y="1444"/>
                  </a:lnTo>
                  <a:lnTo>
                    <a:pt x="914" y="1446"/>
                  </a:lnTo>
                  <a:lnTo>
                    <a:pt x="919" y="1456"/>
                  </a:lnTo>
                  <a:lnTo>
                    <a:pt x="916" y="1462"/>
                  </a:lnTo>
                  <a:lnTo>
                    <a:pt x="917" y="1473"/>
                  </a:lnTo>
                  <a:lnTo>
                    <a:pt x="921" y="1485"/>
                  </a:lnTo>
                  <a:lnTo>
                    <a:pt x="927" y="1482"/>
                  </a:lnTo>
                  <a:lnTo>
                    <a:pt x="938" y="1498"/>
                  </a:lnTo>
                  <a:lnTo>
                    <a:pt x="941" y="1507"/>
                  </a:lnTo>
                  <a:lnTo>
                    <a:pt x="939" y="1515"/>
                  </a:lnTo>
                  <a:lnTo>
                    <a:pt x="942" y="1518"/>
                  </a:lnTo>
                  <a:lnTo>
                    <a:pt x="943" y="1528"/>
                  </a:lnTo>
                  <a:lnTo>
                    <a:pt x="951" y="1526"/>
                  </a:lnTo>
                  <a:lnTo>
                    <a:pt x="955" y="1528"/>
                  </a:lnTo>
                  <a:lnTo>
                    <a:pt x="963" y="1544"/>
                  </a:lnTo>
                  <a:lnTo>
                    <a:pt x="968" y="1547"/>
                  </a:lnTo>
                  <a:lnTo>
                    <a:pt x="975" y="1541"/>
                  </a:lnTo>
                  <a:lnTo>
                    <a:pt x="980" y="1543"/>
                  </a:lnTo>
                  <a:lnTo>
                    <a:pt x="980" y="1550"/>
                  </a:lnTo>
                  <a:lnTo>
                    <a:pt x="986" y="1560"/>
                  </a:lnTo>
                  <a:lnTo>
                    <a:pt x="994" y="1563"/>
                  </a:lnTo>
                  <a:lnTo>
                    <a:pt x="995" y="1554"/>
                  </a:lnTo>
                  <a:lnTo>
                    <a:pt x="1001" y="1542"/>
                  </a:lnTo>
                  <a:lnTo>
                    <a:pt x="1012" y="1559"/>
                  </a:lnTo>
                  <a:lnTo>
                    <a:pt x="1018" y="1563"/>
                  </a:lnTo>
                  <a:lnTo>
                    <a:pt x="1022" y="1571"/>
                  </a:lnTo>
                  <a:lnTo>
                    <a:pt x="1033" y="1571"/>
                  </a:lnTo>
                  <a:lnTo>
                    <a:pt x="1019" y="1587"/>
                  </a:lnTo>
                  <a:lnTo>
                    <a:pt x="1003" y="1593"/>
                  </a:lnTo>
                  <a:lnTo>
                    <a:pt x="992" y="1579"/>
                  </a:lnTo>
                  <a:lnTo>
                    <a:pt x="998" y="1595"/>
                  </a:lnTo>
                  <a:lnTo>
                    <a:pt x="1014" y="1628"/>
                  </a:lnTo>
                  <a:lnTo>
                    <a:pt x="1024" y="1630"/>
                  </a:lnTo>
                  <a:lnTo>
                    <a:pt x="1035" y="1643"/>
                  </a:lnTo>
                  <a:lnTo>
                    <a:pt x="1037" y="164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74" name="Freeform 299">
              <a:extLst>
                <a:ext uri="{FF2B5EF4-FFF2-40B4-BE49-F238E27FC236}">
                  <a16:creationId xmlns:a16="http://schemas.microsoft.com/office/drawing/2014/main" id="{4999C4A4-9849-519E-4DA1-EE08AFD25B4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643862" y="1062404"/>
              <a:ext cx="2499673" cy="1842780"/>
            </a:xfrm>
            <a:custGeom>
              <a:avLst/>
              <a:gdLst>
                <a:gd name="T0" fmla="*/ 2147483647 w 4686"/>
                <a:gd name="T1" fmla="*/ 2147483647 h 3236"/>
                <a:gd name="T2" fmla="*/ 2147483647 w 4686"/>
                <a:gd name="T3" fmla="*/ 2147483647 h 3236"/>
                <a:gd name="T4" fmla="*/ 2147483647 w 4686"/>
                <a:gd name="T5" fmla="*/ 2147483647 h 3236"/>
                <a:gd name="T6" fmla="*/ 2147483647 w 4686"/>
                <a:gd name="T7" fmla="*/ 2147483647 h 3236"/>
                <a:gd name="T8" fmla="*/ 2147483647 w 4686"/>
                <a:gd name="T9" fmla="*/ 2147483647 h 3236"/>
                <a:gd name="T10" fmla="*/ 2147483647 w 4686"/>
                <a:gd name="T11" fmla="*/ 2147483647 h 3236"/>
                <a:gd name="T12" fmla="*/ 2147483647 w 4686"/>
                <a:gd name="T13" fmla="*/ 2147483647 h 3236"/>
                <a:gd name="T14" fmla="*/ 2147483647 w 4686"/>
                <a:gd name="T15" fmla="*/ 2147483647 h 3236"/>
                <a:gd name="T16" fmla="*/ 2147483647 w 4686"/>
                <a:gd name="T17" fmla="*/ 2147483647 h 3236"/>
                <a:gd name="T18" fmla="*/ 2147483647 w 4686"/>
                <a:gd name="T19" fmla="*/ 2147483647 h 3236"/>
                <a:gd name="T20" fmla="*/ 2147483647 w 4686"/>
                <a:gd name="T21" fmla="*/ 2147483647 h 3236"/>
                <a:gd name="T22" fmla="*/ 2147483647 w 4686"/>
                <a:gd name="T23" fmla="*/ 2147483647 h 3236"/>
                <a:gd name="T24" fmla="*/ 2147483647 w 4686"/>
                <a:gd name="T25" fmla="*/ 2147483647 h 3236"/>
                <a:gd name="T26" fmla="*/ 2147483647 w 4686"/>
                <a:gd name="T27" fmla="*/ 2147483647 h 3236"/>
                <a:gd name="T28" fmla="*/ 2147483647 w 4686"/>
                <a:gd name="T29" fmla="*/ 2147483647 h 3236"/>
                <a:gd name="T30" fmla="*/ 2147483647 w 4686"/>
                <a:gd name="T31" fmla="*/ 2147483647 h 3236"/>
                <a:gd name="T32" fmla="*/ 2147483647 w 4686"/>
                <a:gd name="T33" fmla="*/ 2147483647 h 3236"/>
                <a:gd name="T34" fmla="*/ 0 w 4686"/>
                <a:gd name="T35" fmla="*/ 2147483647 h 3236"/>
                <a:gd name="T36" fmla="*/ 0 w 4686"/>
                <a:gd name="T37" fmla="*/ 2147483647 h 3236"/>
                <a:gd name="T38" fmla="*/ 0 w 4686"/>
                <a:gd name="T39" fmla="*/ 2147483647 h 3236"/>
                <a:gd name="T40" fmla="*/ 2147483647 w 4686"/>
                <a:gd name="T41" fmla="*/ 2147483647 h 3236"/>
                <a:gd name="T42" fmla="*/ 2147483647 w 4686"/>
                <a:gd name="T43" fmla="*/ 2147483647 h 3236"/>
                <a:gd name="T44" fmla="*/ 2147483647 w 4686"/>
                <a:gd name="T45" fmla="*/ 2147483647 h 3236"/>
                <a:gd name="T46" fmla="*/ 2147483647 w 4686"/>
                <a:gd name="T47" fmla="*/ 0 h 3236"/>
                <a:gd name="T48" fmla="*/ 2147483647 w 4686"/>
                <a:gd name="T49" fmla="*/ 2147483647 h 3236"/>
                <a:gd name="T50" fmla="*/ 2147483647 w 4686"/>
                <a:gd name="T51" fmla="*/ 2147483647 h 3236"/>
                <a:gd name="T52" fmla="*/ 2147483647 w 4686"/>
                <a:gd name="T53" fmla="*/ 2147483647 h 3236"/>
                <a:gd name="T54" fmla="*/ 2147483647 w 4686"/>
                <a:gd name="T55" fmla="*/ 2147483647 h 3236"/>
                <a:gd name="T56" fmla="*/ 2147483647 w 4686"/>
                <a:gd name="T57" fmla="*/ 2147483647 h 3236"/>
                <a:gd name="T58" fmla="*/ 2147483647 w 4686"/>
                <a:gd name="T59" fmla="*/ 2147483647 h 3236"/>
                <a:gd name="T60" fmla="*/ 2147483647 w 4686"/>
                <a:gd name="T61" fmla="*/ 2147483647 h 3236"/>
                <a:gd name="T62" fmla="*/ 2147483647 w 4686"/>
                <a:gd name="T63" fmla="*/ 2147483647 h 3236"/>
                <a:gd name="T64" fmla="*/ 2147483647 w 4686"/>
                <a:gd name="T65" fmla="*/ 2147483647 h 3236"/>
                <a:gd name="T66" fmla="*/ 2147483647 w 4686"/>
                <a:gd name="T67" fmla="*/ 2147483647 h 3236"/>
                <a:gd name="T68" fmla="*/ 2147483647 w 4686"/>
                <a:gd name="T69" fmla="*/ 2147483647 h 3236"/>
                <a:gd name="T70" fmla="*/ 2147483647 w 4686"/>
                <a:gd name="T71" fmla="*/ 0 h 3236"/>
                <a:gd name="T72" fmla="*/ 2147483647 w 4686"/>
                <a:gd name="T73" fmla="*/ 0 h 3236"/>
                <a:gd name="T74" fmla="*/ 2147483647 w 4686"/>
                <a:gd name="T75" fmla="*/ 2147483647 h 3236"/>
                <a:gd name="T76" fmla="*/ 2147483647 w 4686"/>
                <a:gd name="T77" fmla="*/ 2147483647 h 3236"/>
                <a:gd name="T78" fmla="*/ 2147483647 w 4686"/>
                <a:gd name="T79" fmla="*/ 2147483647 h 3236"/>
                <a:gd name="T80" fmla="*/ 2147483647 w 4686"/>
                <a:gd name="T81" fmla="*/ 2147483647 h 3236"/>
                <a:gd name="T82" fmla="*/ 2147483647 w 4686"/>
                <a:gd name="T83" fmla="*/ 2147483647 h 3236"/>
                <a:gd name="T84" fmla="*/ 2147483647 w 4686"/>
                <a:gd name="T85" fmla="*/ 2147483647 h 3236"/>
                <a:gd name="T86" fmla="*/ 2147483647 w 4686"/>
                <a:gd name="T87" fmla="*/ 2147483647 h 3236"/>
                <a:gd name="T88" fmla="*/ 2147483647 w 4686"/>
                <a:gd name="T89" fmla="*/ 2147483647 h 3236"/>
                <a:gd name="T90" fmla="*/ 2147483647 w 4686"/>
                <a:gd name="T91" fmla="*/ 2147483647 h 3236"/>
                <a:gd name="T92" fmla="*/ 2147483647 w 4686"/>
                <a:gd name="T93" fmla="*/ 2147483647 h 3236"/>
                <a:gd name="T94" fmla="*/ 2147483647 w 4686"/>
                <a:gd name="T95" fmla="*/ 2147483647 h 3236"/>
                <a:gd name="T96" fmla="*/ 2147483647 w 4686"/>
                <a:gd name="T97" fmla="*/ 2147483647 h 3236"/>
                <a:gd name="T98" fmla="*/ 2147483647 w 4686"/>
                <a:gd name="T99" fmla="*/ 2147483647 h 3236"/>
                <a:gd name="T100" fmla="*/ 2147483647 w 4686"/>
                <a:gd name="T101" fmla="*/ 2147483647 h 3236"/>
                <a:gd name="T102" fmla="*/ 2147483647 w 4686"/>
                <a:gd name="T103" fmla="*/ 2147483647 h 3236"/>
                <a:gd name="T104" fmla="*/ 2147483647 w 4686"/>
                <a:gd name="T105" fmla="*/ 2147483647 h 3236"/>
                <a:gd name="T106" fmla="*/ 2147483647 w 4686"/>
                <a:gd name="T107" fmla="*/ 2147483647 h 3236"/>
                <a:gd name="T108" fmla="*/ 2147483647 w 4686"/>
                <a:gd name="T109" fmla="*/ 2147483647 h 3236"/>
                <a:gd name="T110" fmla="*/ 2147483647 w 4686"/>
                <a:gd name="T111" fmla="*/ 2147483647 h 3236"/>
                <a:gd name="T112" fmla="*/ 2147483647 w 4686"/>
                <a:gd name="T113" fmla="*/ 2147483647 h 3236"/>
                <a:gd name="T114" fmla="*/ 2147483647 w 4686"/>
                <a:gd name="T115" fmla="*/ 2147483647 h 3236"/>
                <a:gd name="T116" fmla="*/ 2147483647 w 4686"/>
                <a:gd name="T117" fmla="*/ 2147483647 h 3236"/>
                <a:gd name="T118" fmla="*/ 2147483647 w 4686"/>
                <a:gd name="T119" fmla="*/ 2147483647 h 3236"/>
                <a:gd name="T120" fmla="*/ 2147483647 w 4686"/>
                <a:gd name="T121" fmla="*/ 2147483647 h 3236"/>
                <a:gd name="T122" fmla="*/ 2147483647 w 4686"/>
                <a:gd name="T123" fmla="*/ 2147483647 h 3236"/>
                <a:gd name="T124" fmla="*/ 2147483647 w 4686"/>
                <a:gd name="T125" fmla="*/ 2147483647 h 32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6"/>
                <a:gd name="T190" fmla="*/ 0 h 3236"/>
                <a:gd name="T191" fmla="*/ 4686 w 4686"/>
                <a:gd name="T192" fmla="*/ 3236 h 32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6" h="3236">
                  <a:moveTo>
                    <a:pt x="4668" y="2398"/>
                  </a:moveTo>
                  <a:lnTo>
                    <a:pt x="4678" y="2405"/>
                  </a:lnTo>
                  <a:lnTo>
                    <a:pt x="4684" y="2412"/>
                  </a:lnTo>
                  <a:lnTo>
                    <a:pt x="4675" y="2423"/>
                  </a:lnTo>
                  <a:lnTo>
                    <a:pt x="4664" y="2437"/>
                  </a:lnTo>
                  <a:lnTo>
                    <a:pt x="4646" y="2449"/>
                  </a:lnTo>
                  <a:lnTo>
                    <a:pt x="4630" y="2469"/>
                  </a:lnTo>
                  <a:lnTo>
                    <a:pt x="4619" y="2470"/>
                  </a:lnTo>
                  <a:lnTo>
                    <a:pt x="4616" y="2475"/>
                  </a:lnTo>
                  <a:lnTo>
                    <a:pt x="4601" y="2475"/>
                  </a:lnTo>
                  <a:lnTo>
                    <a:pt x="4578" y="2474"/>
                  </a:lnTo>
                  <a:lnTo>
                    <a:pt x="4564" y="2481"/>
                  </a:lnTo>
                  <a:lnTo>
                    <a:pt x="4533" y="2487"/>
                  </a:lnTo>
                  <a:lnTo>
                    <a:pt x="4521" y="2496"/>
                  </a:lnTo>
                  <a:lnTo>
                    <a:pt x="4510" y="2512"/>
                  </a:lnTo>
                  <a:lnTo>
                    <a:pt x="4505" y="2511"/>
                  </a:lnTo>
                  <a:lnTo>
                    <a:pt x="4493" y="2531"/>
                  </a:lnTo>
                  <a:lnTo>
                    <a:pt x="4476" y="2554"/>
                  </a:lnTo>
                  <a:lnTo>
                    <a:pt x="4465" y="2560"/>
                  </a:lnTo>
                  <a:lnTo>
                    <a:pt x="4453" y="2574"/>
                  </a:lnTo>
                  <a:lnTo>
                    <a:pt x="4444" y="2579"/>
                  </a:lnTo>
                  <a:lnTo>
                    <a:pt x="4438" y="2579"/>
                  </a:lnTo>
                  <a:lnTo>
                    <a:pt x="4433" y="2574"/>
                  </a:lnTo>
                  <a:lnTo>
                    <a:pt x="4438" y="2563"/>
                  </a:lnTo>
                  <a:lnTo>
                    <a:pt x="4431" y="2566"/>
                  </a:lnTo>
                  <a:lnTo>
                    <a:pt x="4425" y="2577"/>
                  </a:lnTo>
                  <a:lnTo>
                    <a:pt x="4385" y="2583"/>
                  </a:lnTo>
                  <a:lnTo>
                    <a:pt x="4359" y="2593"/>
                  </a:lnTo>
                  <a:lnTo>
                    <a:pt x="4353" y="2590"/>
                  </a:lnTo>
                  <a:lnTo>
                    <a:pt x="4352" y="2584"/>
                  </a:lnTo>
                  <a:lnTo>
                    <a:pt x="4343" y="2579"/>
                  </a:lnTo>
                  <a:lnTo>
                    <a:pt x="4325" y="2577"/>
                  </a:lnTo>
                  <a:lnTo>
                    <a:pt x="4280" y="2577"/>
                  </a:lnTo>
                  <a:lnTo>
                    <a:pt x="4264" y="2581"/>
                  </a:lnTo>
                  <a:lnTo>
                    <a:pt x="4232" y="2574"/>
                  </a:lnTo>
                  <a:lnTo>
                    <a:pt x="4225" y="2574"/>
                  </a:lnTo>
                  <a:lnTo>
                    <a:pt x="4200" y="2572"/>
                  </a:lnTo>
                  <a:lnTo>
                    <a:pt x="4173" y="2579"/>
                  </a:lnTo>
                  <a:lnTo>
                    <a:pt x="4164" y="2577"/>
                  </a:lnTo>
                  <a:lnTo>
                    <a:pt x="4151" y="2577"/>
                  </a:lnTo>
                  <a:lnTo>
                    <a:pt x="4134" y="2579"/>
                  </a:lnTo>
                  <a:lnTo>
                    <a:pt x="4121" y="2577"/>
                  </a:lnTo>
                  <a:lnTo>
                    <a:pt x="4113" y="2581"/>
                  </a:lnTo>
                  <a:lnTo>
                    <a:pt x="4100" y="2581"/>
                  </a:lnTo>
                  <a:lnTo>
                    <a:pt x="4095" y="2583"/>
                  </a:lnTo>
                  <a:lnTo>
                    <a:pt x="4094" y="2590"/>
                  </a:lnTo>
                  <a:lnTo>
                    <a:pt x="4084" y="2589"/>
                  </a:lnTo>
                  <a:lnTo>
                    <a:pt x="4080" y="2593"/>
                  </a:lnTo>
                  <a:lnTo>
                    <a:pt x="4074" y="2597"/>
                  </a:lnTo>
                  <a:lnTo>
                    <a:pt x="4068" y="2604"/>
                  </a:lnTo>
                  <a:lnTo>
                    <a:pt x="4058" y="2617"/>
                  </a:lnTo>
                  <a:lnTo>
                    <a:pt x="4053" y="2635"/>
                  </a:lnTo>
                  <a:lnTo>
                    <a:pt x="4044" y="2654"/>
                  </a:lnTo>
                  <a:lnTo>
                    <a:pt x="4042" y="2657"/>
                  </a:lnTo>
                  <a:lnTo>
                    <a:pt x="4004" y="2659"/>
                  </a:lnTo>
                  <a:lnTo>
                    <a:pt x="3993" y="2670"/>
                  </a:lnTo>
                  <a:lnTo>
                    <a:pt x="3987" y="2670"/>
                  </a:lnTo>
                  <a:lnTo>
                    <a:pt x="3987" y="2675"/>
                  </a:lnTo>
                  <a:lnTo>
                    <a:pt x="3968" y="2694"/>
                  </a:lnTo>
                  <a:lnTo>
                    <a:pt x="3958" y="2699"/>
                  </a:lnTo>
                  <a:lnTo>
                    <a:pt x="3930" y="2743"/>
                  </a:lnTo>
                  <a:lnTo>
                    <a:pt x="3919" y="2751"/>
                  </a:lnTo>
                  <a:lnTo>
                    <a:pt x="3908" y="2753"/>
                  </a:lnTo>
                  <a:lnTo>
                    <a:pt x="3909" y="2769"/>
                  </a:lnTo>
                  <a:lnTo>
                    <a:pt x="3887" y="2810"/>
                  </a:lnTo>
                  <a:lnTo>
                    <a:pt x="3882" y="2810"/>
                  </a:lnTo>
                  <a:lnTo>
                    <a:pt x="3860" y="2832"/>
                  </a:lnTo>
                  <a:lnTo>
                    <a:pt x="3834" y="2858"/>
                  </a:lnTo>
                  <a:lnTo>
                    <a:pt x="3834" y="2861"/>
                  </a:lnTo>
                  <a:lnTo>
                    <a:pt x="3848" y="2858"/>
                  </a:lnTo>
                  <a:lnTo>
                    <a:pt x="3859" y="2851"/>
                  </a:lnTo>
                  <a:lnTo>
                    <a:pt x="3859" y="2847"/>
                  </a:lnTo>
                  <a:lnTo>
                    <a:pt x="3864" y="2845"/>
                  </a:lnTo>
                  <a:lnTo>
                    <a:pt x="3879" y="2827"/>
                  </a:lnTo>
                  <a:lnTo>
                    <a:pt x="3888" y="2814"/>
                  </a:lnTo>
                  <a:lnTo>
                    <a:pt x="3898" y="2805"/>
                  </a:lnTo>
                  <a:lnTo>
                    <a:pt x="3908" y="2794"/>
                  </a:lnTo>
                  <a:lnTo>
                    <a:pt x="3920" y="2770"/>
                  </a:lnTo>
                  <a:lnTo>
                    <a:pt x="3930" y="2761"/>
                  </a:lnTo>
                  <a:lnTo>
                    <a:pt x="3952" y="2739"/>
                  </a:lnTo>
                  <a:lnTo>
                    <a:pt x="3958" y="2735"/>
                  </a:lnTo>
                  <a:lnTo>
                    <a:pt x="3968" y="2733"/>
                  </a:lnTo>
                  <a:lnTo>
                    <a:pt x="3974" y="2726"/>
                  </a:lnTo>
                  <a:lnTo>
                    <a:pt x="3985" y="2718"/>
                  </a:lnTo>
                  <a:lnTo>
                    <a:pt x="3998" y="2713"/>
                  </a:lnTo>
                  <a:lnTo>
                    <a:pt x="4030" y="2694"/>
                  </a:lnTo>
                  <a:lnTo>
                    <a:pt x="4084" y="2670"/>
                  </a:lnTo>
                  <a:lnTo>
                    <a:pt x="4114" y="2663"/>
                  </a:lnTo>
                  <a:lnTo>
                    <a:pt x="4128" y="2664"/>
                  </a:lnTo>
                  <a:lnTo>
                    <a:pt x="4139" y="2662"/>
                  </a:lnTo>
                  <a:lnTo>
                    <a:pt x="4167" y="2664"/>
                  </a:lnTo>
                  <a:lnTo>
                    <a:pt x="4194" y="2676"/>
                  </a:lnTo>
                  <a:lnTo>
                    <a:pt x="4207" y="2685"/>
                  </a:lnTo>
                  <a:lnTo>
                    <a:pt x="4214" y="2701"/>
                  </a:lnTo>
                  <a:lnTo>
                    <a:pt x="4207" y="2697"/>
                  </a:lnTo>
                  <a:lnTo>
                    <a:pt x="4205" y="2700"/>
                  </a:lnTo>
                  <a:lnTo>
                    <a:pt x="4211" y="2707"/>
                  </a:lnTo>
                  <a:lnTo>
                    <a:pt x="4211" y="2723"/>
                  </a:lnTo>
                  <a:lnTo>
                    <a:pt x="4200" y="2733"/>
                  </a:lnTo>
                  <a:lnTo>
                    <a:pt x="4176" y="2753"/>
                  </a:lnTo>
                  <a:lnTo>
                    <a:pt x="4160" y="2761"/>
                  </a:lnTo>
                  <a:lnTo>
                    <a:pt x="4141" y="2760"/>
                  </a:lnTo>
                  <a:lnTo>
                    <a:pt x="4126" y="2753"/>
                  </a:lnTo>
                  <a:lnTo>
                    <a:pt x="4105" y="2756"/>
                  </a:lnTo>
                  <a:lnTo>
                    <a:pt x="4089" y="2762"/>
                  </a:lnTo>
                  <a:lnTo>
                    <a:pt x="4085" y="2765"/>
                  </a:lnTo>
                  <a:lnTo>
                    <a:pt x="4100" y="2765"/>
                  </a:lnTo>
                  <a:lnTo>
                    <a:pt x="4127" y="2773"/>
                  </a:lnTo>
                  <a:lnTo>
                    <a:pt x="4132" y="2787"/>
                  </a:lnTo>
                  <a:lnTo>
                    <a:pt x="4137" y="2791"/>
                  </a:lnTo>
                  <a:lnTo>
                    <a:pt x="4166" y="2776"/>
                  </a:lnTo>
                  <a:lnTo>
                    <a:pt x="4170" y="2777"/>
                  </a:lnTo>
                  <a:lnTo>
                    <a:pt x="4168" y="2782"/>
                  </a:lnTo>
                  <a:lnTo>
                    <a:pt x="4177" y="2783"/>
                  </a:lnTo>
                  <a:lnTo>
                    <a:pt x="4183" y="2788"/>
                  </a:lnTo>
                  <a:lnTo>
                    <a:pt x="4182" y="2798"/>
                  </a:lnTo>
                  <a:lnTo>
                    <a:pt x="4173" y="2823"/>
                  </a:lnTo>
                  <a:lnTo>
                    <a:pt x="4157" y="2839"/>
                  </a:lnTo>
                  <a:lnTo>
                    <a:pt x="4157" y="2841"/>
                  </a:lnTo>
                  <a:lnTo>
                    <a:pt x="4165" y="2840"/>
                  </a:lnTo>
                  <a:lnTo>
                    <a:pt x="4180" y="2842"/>
                  </a:lnTo>
                  <a:lnTo>
                    <a:pt x="4178" y="2862"/>
                  </a:lnTo>
                  <a:lnTo>
                    <a:pt x="4180" y="2870"/>
                  </a:lnTo>
                  <a:lnTo>
                    <a:pt x="4184" y="2879"/>
                  </a:lnTo>
                  <a:lnTo>
                    <a:pt x="4188" y="2889"/>
                  </a:lnTo>
                  <a:lnTo>
                    <a:pt x="4193" y="2896"/>
                  </a:lnTo>
                  <a:lnTo>
                    <a:pt x="4199" y="2902"/>
                  </a:lnTo>
                  <a:lnTo>
                    <a:pt x="4198" y="2906"/>
                  </a:lnTo>
                  <a:lnTo>
                    <a:pt x="4215" y="2907"/>
                  </a:lnTo>
                  <a:lnTo>
                    <a:pt x="4236" y="2917"/>
                  </a:lnTo>
                  <a:lnTo>
                    <a:pt x="4240" y="2921"/>
                  </a:lnTo>
                  <a:lnTo>
                    <a:pt x="4231" y="2926"/>
                  </a:lnTo>
                  <a:lnTo>
                    <a:pt x="4230" y="2932"/>
                  </a:lnTo>
                  <a:lnTo>
                    <a:pt x="4239" y="2936"/>
                  </a:lnTo>
                  <a:lnTo>
                    <a:pt x="4250" y="2937"/>
                  </a:lnTo>
                  <a:lnTo>
                    <a:pt x="4266" y="2943"/>
                  </a:lnTo>
                  <a:lnTo>
                    <a:pt x="4294" y="2947"/>
                  </a:lnTo>
                  <a:lnTo>
                    <a:pt x="4297" y="2953"/>
                  </a:lnTo>
                  <a:lnTo>
                    <a:pt x="4320" y="2950"/>
                  </a:lnTo>
                  <a:lnTo>
                    <a:pt x="4339" y="2937"/>
                  </a:lnTo>
                  <a:lnTo>
                    <a:pt x="4344" y="2947"/>
                  </a:lnTo>
                  <a:lnTo>
                    <a:pt x="4342" y="2955"/>
                  </a:lnTo>
                  <a:lnTo>
                    <a:pt x="4348" y="2954"/>
                  </a:lnTo>
                  <a:lnTo>
                    <a:pt x="4358" y="2955"/>
                  </a:lnTo>
                  <a:lnTo>
                    <a:pt x="4368" y="2954"/>
                  </a:lnTo>
                  <a:lnTo>
                    <a:pt x="4375" y="2963"/>
                  </a:lnTo>
                  <a:lnTo>
                    <a:pt x="4379" y="2968"/>
                  </a:lnTo>
                  <a:lnTo>
                    <a:pt x="4372" y="2971"/>
                  </a:lnTo>
                  <a:lnTo>
                    <a:pt x="4371" y="2977"/>
                  </a:lnTo>
                  <a:lnTo>
                    <a:pt x="4387" y="2979"/>
                  </a:lnTo>
                  <a:lnTo>
                    <a:pt x="4391" y="2981"/>
                  </a:lnTo>
                  <a:lnTo>
                    <a:pt x="4385" y="2986"/>
                  </a:lnTo>
                  <a:lnTo>
                    <a:pt x="4375" y="2985"/>
                  </a:lnTo>
                  <a:lnTo>
                    <a:pt x="4366" y="2991"/>
                  </a:lnTo>
                  <a:lnTo>
                    <a:pt x="4359" y="2988"/>
                  </a:lnTo>
                  <a:lnTo>
                    <a:pt x="4345" y="2997"/>
                  </a:lnTo>
                  <a:lnTo>
                    <a:pt x="4325" y="3006"/>
                  </a:lnTo>
                  <a:lnTo>
                    <a:pt x="4316" y="3012"/>
                  </a:lnTo>
                  <a:lnTo>
                    <a:pt x="4311" y="3013"/>
                  </a:lnTo>
                  <a:lnTo>
                    <a:pt x="4309" y="3018"/>
                  </a:lnTo>
                  <a:lnTo>
                    <a:pt x="4300" y="3017"/>
                  </a:lnTo>
                  <a:lnTo>
                    <a:pt x="4289" y="3025"/>
                  </a:lnTo>
                  <a:lnTo>
                    <a:pt x="4279" y="3026"/>
                  </a:lnTo>
                  <a:lnTo>
                    <a:pt x="4277" y="3024"/>
                  </a:lnTo>
                  <a:lnTo>
                    <a:pt x="4269" y="3028"/>
                  </a:lnTo>
                  <a:lnTo>
                    <a:pt x="4262" y="3033"/>
                  </a:lnTo>
                  <a:lnTo>
                    <a:pt x="4250" y="3028"/>
                  </a:lnTo>
                  <a:lnTo>
                    <a:pt x="4252" y="3041"/>
                  </a:lnTo>
                  <a:lnTo>
                    <a:pt x="4251" y="3046"/>
                  </a:lnTo>
                  <a:lnTo>
                    <a:pt x="4239" y="3046"/>
                  </a:lnTo>
                  <a:lnTo>
                    <a:pt x="4232" y="3038"/>
                  </a:lnTo>
                  <a:lnTo>
                    <a:pt x="4232" y="3033"/>
                  </a:lnTo>
                  <a:lnTo>
                    <a:pt x="4224" y="3046"/>
                  </a:lnTo>
                  <a:lnTo>
                    <a:pt x="4220" y="3038"/>
                  </a:lnTo>
                  <a:lnTo>
                    <a:pt x="4215" y="3047"/>
                  </a:lnTo>
                  <a:lnTo>
                    <a:pt x="4213" y="3061"/>
                  </a:lnTo>
                  <a:lnTo>
                    <a:pt x="4203" y="3068"/>
                  </a:lnTo>
                  <a:lnTo>
                    <a:pt x="4189" y="3085"/>
                  </a:lnTo>
                  <a:lnTo>
                    <a:pt x="4187" y="3090"/>
                  </a:lnTo>
                  <a:lnTo>
                    <a:pt x="4176" y="3095"/>
                  </a:lnTo>
                  <a:lnTo>
                    <a:pt x="4170" y="3108"/>
                  </a:lnTo>
                  <a:lnTo>
                    <a:pt x="4162" y="3104"/>
                  </a:lnTo>
                  <a:lnTo>
                    <a:pt x="4156" y="3106"/>
                  </a:lnTo>
                  <a:lnTo>
                    <a:pt x="4155" y="3117"/>
                  </a:lnTo>
                  <a:lnTo>
                    <a:pt x="4149" y="3121"/>
                  </a:lnTo>
                  <a:lnTo>
                    <a:pt x="4145" y="3121"/>
                  </a:lnTo>
                  <a:lnTo>
                    <a:pt x="4134" y="3119"/>
                  </a:lnTo>
                  <a:lnTo>
                    <a:pt x="4129" y="3105"/>
                  </a:lnTo>
                  <a:lnTo>
                    <a:pt x="4124" y="3098"/>
                  </a:lnTo>
                  <a:lnTo>
                    <a:pt x="4116" y="3098"/>
                  </a:lnTo>
                  <a:lnTo>
                    <a:pt x="4111" y="3083"/>
                  </a:lnTo>
                  <a:lnTo>
                    <a:pt x="4110" y="3068"/>
                  </a:lnTo>
                  <a:lnTo>
                    <a:pt x="4112" y="3056"/>
                  </a:lnTo>
                  <a:lnTo>
                    <a:pt x="4124" y="3038"/>
                  </a:lnTo>
                  <a:lnTo>
                    <a:pt x="4119" y="3044"/>
                  </a:lnTo>
                  <a:lnTo>
                    <a:pt x="4108" y="3050"/>
                  </a:lnTo>
                  <a:lnTo>
                    <a:pt x="4111" y="3042"/>
                  </a:lnTo>
                  <a:lnTo>
                    <a:pt x="4127" y="3030"/>
                  </a:lnTo>
                  <a:lnTo>
                    <a:pt x="4133" y="3031"/>
                  </a:lnTo>
                  <a:lnTo>
                    <a:pt x="4143" y="3026"/>
                  </a:lnTo>
                  <a:lnTo>
                    <a:pt x="4143" y="3020"/>
                  </a:lnTo>
                  <a:lnTo>
                    <a:pt x="4166" y="3004"/>
                  </a:lnTo>
                  <a:lnTo>
                    <a:pt x="4189" y="2990"/>
                  </a:lnTo>
                  <a:lnTo>
                    <a:pt x="4203" y="2982"/>
                  </a:lnTo>
                  <a:lnTo>
                    <a:pt x="4207" y="2987"/>
                  </a:lnTo>
                  <a:lnTo>
                    <a:pt x="4209" y="2995"/>
                  </a:lnTo>
                  <a:lnTo>
                    <a:pt x="4218" y="2999"/>
                  </a:lnTo>
                  <a:lnTo>
                    <a:pt x="4227" y="2988"/>
                  </a:lnTo>
                  <a:lnTo>
                    <a:pt x="4237" y="2983"/>
                  </a:lnTo>
                  <a:lnTo>
                    <a:pt x="4261" y="2980"/>
                  </a:lnTo>
                  <a:lnTo>
                    <a:pt x="4262" y="2975"/>
                  </a:lnTo>
                  <a:lnTo>
                    <a:pt x="4247" y="2974"/>
                  </a:lnTo>
                  <a:lnTo>
                    <a:pt x="4232" y="2977"/>
                  </a:lnTo>
                  <a:lnTo>
                    <a:pt x="4207" y="2972"/>
                  </a:lnTo>
                  <a:lnTo>
                    <a:pt x="4194" y="2979"/>
                  </a:lnTo>
                  <a:lnTo>
                    <a:pt x="4183" y="2980"/>
                  </a:lnTo>
                  <a:lnTo>
                    <a:pt x="4182" y="2968"/>
                  </a:lnTo>
                  <a:lnTo>
                    <a:pt x="4196" y="2958"/>
                  </a:lnTo>
                  <a:lnTo>
                    <a:pt x="4207" y="2943"/>
                  </a:lnTo>
                  <a:lnTo>
                    <a:pt x="4199" y="2943"/>
                  </a:lnTo>
                  <a:lnTo>
                    <a:pt x="4197" y="2936"/>
                  </a:lnTo>
                  <a:lnTo>
                    <a:pt x="4187" y="2953"/>
                  </a:lnTo>
                  <a:lnTo>
                    <a:pt x="4176" y="2955"/>
                  </a:lnTo>
                  <a:lnTo>
                    <a:pt x="4144" y="2980"/>
                  </a:lnTo>
                  <a:lnTo>
                    <a:pt x="4134" y="2985"/>
                  </a:lnTo>
                  <a:lnTo>
                    <a:pt x="4124" y="2986"/>
                  </a:lnTo>
                  <a:lnTo>
                    <a:pt x="4116" y="2985"/>
                  </a:lnTo>
                  <a:lnTo>
                    <a:pt x="4110" y="2991"/>
                  </a:lnTo>
                  <a:lnTo>
                    <a:pt x="4101" y="2996"/>
                  </a:lnTo>
                  <a:lnTo>
                    <a:pt x="4079" y="2999"/>
                  </a:lnTo>
                  <a:lnTo>
                    <a:pt x="4074" y="2998"/>
                  </a:lnTo>
                  <a:lnTo>
                    <a:pt x="4068" y="2995"/>
                  </a:lnTo>
                  <a:lnTo>
                    <a:pt x="4058" y="2992"/>
                  </a:lnTo>
                  <a:lnTo>
                    <a:pt x="4057" y="2996"/>
                  </a:lnTo>
                  <a:lnTo>
                    <a:pt x="4052" y="2996"/>
                  </a:lnTo>
                  <a:lnTo>
                    <a:pt x="4043" y="2995"/>
                  </a:lnTo>
                  <a:lnTo>
                    <a:pt x="4035" y="2988"/>
                  </a:lnTo>
                  <a:lnTo>
                    <a:pt x="4032" y="2983"/>
                  </a:lnTo>
                  <a:lnTo>
                    <a:pt x="4031" y="2979"/>
                  </a:lnTo>
                  <a:lnTo>
                    <a:pt x="4031" y="2963"/>
                  </a:lnTo>
                  <a:lnTo>
                    <a:pt x="4016" y="2955"/>
                  </a:lnTo>
                  <a:lnTo>
                    <a:pt x="4016" y="2899"/>
                  </a:lnTo>
                  <a:lnTo>
                    <a:pt x="4016" y="2848"/>
                  </a:lnTo>
                  <a:lnTo>
                    <a:pt x="3990" y="2823"/>
                  </a:lnTo>
                  <a:lnTo>
                    <a:pt x="3983" y="2823"/>
                  </a:lnTo>
                  <a:lnTo>
                    <a:pt x="3976" y="2834"/>
                  </a:lnTo>
                  <a:lnTo>
                    <a:pt x="3958" y="2837"/>
                  </a:lnTo>
                  <a:lnTo>
                    <a:pt x="3946" y="2832"/>
                  </a:lnTo>
                  <a:lnTo>
                    <a:pt x="3944" y="2829"/>
                  </a:lnTo>
                  <a:lnTo>
                    <a:pt x="3941" y="2823"/>
                  </a:lnTo>
                  <a:lnTo>
                    <a:pt x="3934" y="2816"/>
                  </a:lnTo>
                  <a:lnTo>
                    <a:pt x="3928" y="2815"/>
                  </a:lnTo>
                  <a:lnTo>
                    <a:pt x="3922" y="2819"/>
                  </a:lnTo>
                  <a:lnTo>
                    <a:pt x="3895" y="2864"/>
                  </a:lnTo>
                  <a:lnTo>
                    <a:pt x="3891" y="2888"/>
                  </a:lnTo>
                  <a:lnTo>
                    <a:pt x="3885" y="2900"/>
                  </a:lnTo>
                  <a:lnTo>
                    <a:pt x="3884" y="2906"/>
                  </a:lnTo>
                  <a:lnTo>
                    <a:pt x="3879" y="2915"/>
                  </a:lnTo>
                  <a:lnTo>
                    <a:pt x="3876" y="2922"/>
                  </a:lnTo>
                  <a:lnTo>
                    <a:pt x="3872" y="2958"/>
                  </a:lnTo>
                  <a:lnTo>
                    <a:pt x="3871" y="2960"/>
                  </a:lnTo>
                  <a:lnTo>
                    <a:pt x="3864" y="2965"/>
                  </a:lnTo>
                  <a:lnTo>
                    <a:pt x="3861" y="2970"/>
                  </a:lnTo>
                  <a:lnTo>
                    <a:pt x="3860" y="2975"/>
                  </a:lnTo>
                  <a:lnTo>
                    <a:pt x="3861" y="2981"/>
                  </a:lnTo>
                  <a:lnTo>
                    <a:pt x="3861" y="2983"/>
                  </a:lnTo>
                  <a:lnTo>
                    <a:pt x="3854" y="2980"/>
                  </a:lnTo>
                  <a:lnTo>
                    <a:pt x="3853" y="2981"/>
                  </a:lnTo>
                  <a:lnTo>
                    <a:pt x="3853" y="2987"/>
                  </a:lnTo>
                  <a:lnTo>
                    <a:pt x="3842" y="2983"/>
                  </a:lnTo>
                  <a:lnTo>
                    <a:pt x="3833" y="2986"/>
                  </a:lnTo>
                  <a:lnTo>
                    <a:pt x="3831" y="2988"/>
                  </a:lnTo>
                  <a:lnTo>
                    <a:pt x="3818" y="2990"/>
                  </a:lnTo>
                  <a:lnTo>
                    <a:pt x="3815" y="2993"/>
                  </a:lnTo>
                  <a:lnTo>
                    <a:pt x="3809" y="3009"/>
                  </a:lnTo>
                  <a:lnTo>
                    <a:pt x="3807" y="3009"/>
                  </a:lnTo>
                  <a:lnTo>
                    <a:pt x="3709" y="3009"/>
                  </a:lnTo>
                  <a:lnTo>
                    <a:pt x="3634" y="3009"/>
                  </a:lnTo>
                  <a:lnTo>
                    <a:pt x="3619" y="3009"/>
                  </a:lnTo>
                  <a:lnTo>
                    <a:pt x="3603" y="3024"/>
                  </a:lnTo>
                  <a:lnTo>
                    <a:pt x="3584" y="3035"/>
                  </a:lnTo>
                  <a:lnTo>
                    <a:pt x="3581" y="3040"/>
                  </a:lnTo>
                  <a:lnTo>
                    <a:pt x="3580" y="3041"/>
                  </a:lnTo>
                  <a:lnTo>
                    <a:pt x="3567" y="3056"/>
                  </a:lnTo>
                  <a:lnTo>
                    <a:pt x="3554" y="3058"/>
                  </a:lnTo>
                  <a:lnTo>
                    <a:pt x="3524" y="3072"/>
                  </a:lnTo>
                  <a:lnTo>
                    <a:pt x="3514" y="3078"/>
                  </a:lnTo>
                  <a:lnTo>
                    <a:pt x="3511" y="3071"/>
                  </a:lnTo>
                  <a:lnTo>
                    <a:pt x="3508" y="3071"/>
                  </a:lnTo>
                  <a:lnTo>
                    <a:pt x="3499" y="3072"/>
                  </a:lnTo>
                  <a:lnTo>
                    <a:pt x="3498" y="3076"/>
                  </a:lnTo>
                  <a:lnTo>
                    <a:pt x="3503" y="3076"/>
                  </a:lnTo>
                  <a:lnTo>
                    <a:pt x="3509" y="3087"/>
                  </a:lnTo>
                  <a:lnTo>
                    <a:pt x="3510" y="3092"/>
                  </a:lnTo>
                  <a:lnTo>
                    <a:pt x="3501" y="3093"/>
                  </a:lnTo>
                  <a:lnTo>
                    <a:pt x="3497" y="3089"/>
                  </a:lnTo>
                  <a:lnTo>
                    <a:pt x="3485" y="3088"/>
                  </a:lnTo>
                  <a:lnTo>
                    <a:pt x="3479" y="3085"/>
                  </a:lnTo>
                  <a:lnTo>
                    <a:pt x="3466" y="3084"/>
                  </a:lnTo>
                  <a:lnTo>
                    <a:pt x="3449" y="3085"/>
                  </a:lnTo>
                  <a:lnTo>
                    <a:pt x="3392" y="3103"/>
                  </a:lnTo>
                  <a:lnTo>
                    <a:pt x="3377" y="3114"/>
                  </a:lnTo>
                  <a:lnTo>
                    <a:pt x="3371" y="3119"/>
                  </a:lnTo>
                  <a:lnTo>
                    <a:pt x="3369" y="3125"/>
                  </a:lnTo>
                  <a:lnTo>
                    <a:pt x="3358" y="3138"/>
                  </a:lnTo>
                  <a:lnTo>
                    <a:pt x="3380" y="3146"/>
                  </a:lnTo>
                  <a:lnTo>
                    <a:pt x="3388" y="3143"/>
                  </a:lnTo>
                  <a:lnTo>
                    <a:pt x="3398" y="3142"/>
                  </a:lnTo>
                  <a:lnTo>
                    <a:pt x="3401" y="3152"/>
                  </a:lnTo>
                  <a:lnTo>
                    <a:pt x="3406" y="3159"/>
                  </a:lnTo>
                  <a:lnTo>
                    <a:pt x="3408" y="3171"/>
                  </a:lnTo>
                  <a:lnTo>
                    <a:pt x="3386" y="3168"/>
                  </a:lnTo>
                  <a:lnTo>
                    <a:pt x="3379" y="3168"/>
                  </a:lnTo>
                  <a:lnTo>
                    <a:pt x="3368" y="3169"/>
                  </a:lnTo>
                  <a:lnTo>
                    <a:pt x="3363" y="3169"/>
                  </a:lnTo>
                  <a:lnTo>
                    <a:pt x="3344" y="3173"/>
                  </a:lnTo>
                  <a:lnTo>
                    <a:pt x="3332" y="3178"/>
                  </a:lnTo>
                  <a:lnTo>
                    <a:pt x="3317" y="3191"/>
                  </a:lnTo>
                  <a:lnTo>
                    <a:pt x="3305" y="3187"/>
                  </a:lnTo>
                  <a:lnTo>
                    <a:pt x="3285" y="3184"/>
                  </a:lnTo>
                  <a:lnTo>
                    <a:pt x="3266" y="3190"/>
                  </a:lnTo>
                  <a:lnTo>
                    <a:pt x="3261" y="3194"/>
                  </a:lnTo>
                  <a:lnTo>
                    <a:pt x="3256" y="3196"/>
                  </a:lnTo>
                  <a:lnTo>
                    <a:pt x="3248" y="3211"/>
                  </a:lnTo>
                  <a:lnTo>
                    <a:pt x="3246" y="3209"/>
                  </a:lnTo>
                  <a:lnTo>
                    <a:pt x="3234" y="3214"/>
                  </a:lnTo>
                  <a:lnTo>
                    <a:pt x="3228" y="3219"/>
                  </a:lnTo>
                  <a:lnTo>
                    <a:pt x="3218" y="3227"/>
                  </a:lnTo>
                  <a:lnTo>
                    <a:pt x="3213" y="3232"/>
                  </a:lnTo>
                  <a:lnTo>
                    <a:pt x="3212" y="3236"/>
                  </a:lnTo>
                  <a:lnTo>
                    <a:pt x="3197" y="3233"/>
                  </a:lnTo>
                  <a:lnTo>
                    <a:pt x="3191" y="3235"/>
                  </a:lnTo>
                  <a:lnTo>
                    <a:pt x="3175" y="3234"/>
                  </a:lnTo>
                  <a:lnTo>
                    <a:pt x="3175" y="3223"/>
                  </a:lnTo>
                  <a:lnTo>
                    <a:pt x="3180" y="3211"/>
                  </a:lnTo>
                  <a:lnTo>
                    <a:pt x="3186" y="3206"/>
                  </a:lnTo>
                  <a:lnTo>
                    <a:pt x="3187" y="3209"/>
                  </a:lnTo>
                  <a:lnTo>
                    <a:pt x="3198" y="3212"/>
                  </a:lnTo>
                  <a:lnTo>
                    <a:pt x="3207" y="3211"/>
                  </a:lnTo>
                  <a:lnTo>
                    <a:pt x="3210" y="3208"/>
                  </a:lnTo>
                  <a:lnTo>
                    <a:pt x="3212" y="3205"/>
                  </a:lnTo>
                  <a:lnTo>
                    <a:pt x="3213" y="3201"/>
                  </a:lnTo>
                  <a:lnTo>
                    <a:pt x="3212" y="3197"/>
                  </a:lnTo>
                  <a:lnTo>
                    <a:pt x="3207" y="3195"/>
                  </a:lnTo>
                  <a:lnTo>
                    <a:pt x="3205" y="3187"/>
                  </a:lnTo>
                  <a:lnTo>
                    <a:pt x="3213" y="3160"/>
                  </a:lnTo>
                  <a:lnTo>
                    <a:pt x="3213" y="3153"/>
                  </a:lnTo>
                  <a:lnTo>
                    <a:pt x="3223" y="3153"/>
                  </a:lnTo>
                  <a:lnTo>
                    <a:pt x="3228" y="3148"/>
                  </a:lnTo>
                  <a:lnTo>
                    <a:pt x="3230" y="3143"/>
                  </a:lnTo>
                  <a:lnTo>
                    <a:pt x="3239" y="3142"/>
                  </a:lnTo>
                  <a:lnTo>
                    <a:pt x="3247" y="3132"/>
                  </a:lnTo>
                  <a:lnTo>
                    <a:pt x="3251" y="3116"/>
                  </a:lnTo>
                  <a:lnTo>
                    <a:pt x="3250" y="3100"/>
                  </a:lnTo>
                  <a:lnTo>
                    <a:pt x="3248" y="3084"/>
                  </a:lnTo>
                  <a:lnTo>
                    <a:pt x="3248" y="3072"/>
                  </a:lnTo>
                  <a:lnTo>
                    <a:pt x="3266" y="3044"/>
                  </a:lnTo>
                  <a:lnTo>
                    <a:pt x="3269" y="3035"/>
                  </a:lnTo>
                  <a:lnTo>
                    <a:pt x="3271" y="3028"/>
                  </a:lnTo>
                  <a:lnTo>
                    <a:pt x="3271" y="3020"/>
                  </a:lnTo>
                  <a:lnTo>
                    <a:pt x="3267" y="3008"/>
                  </a:lnTo>
                  <a:lnTo>
                    <a:pt x="3261" y="2995"/>
                  </a:lnTo>
                  <a:lnTo>
                    <a:pt x="3257" y="2993"/>
                  </a:lnTo>
                  <a:lnTo>
                    <a:pt x="3255" y="2987"/>
                  </a:lnTo>
                  <a:lnTo>
                    <a:pt x="3257" y="2986"/>
                  </a:lnTo>
                  <a:lnTo>
                    <a:pt x="3273" y="2988"/>
                  </a:lnTo>
                  <a:lnTo>
                    <a:pt x="3275" y="3002"/>
                  </a:lnTo>
                  <a:lnTo>
                    <a:pt x="3282" y="3014"/>
                  </a:lnTo>
                  <a:lnTo>
                    <a:pt x="3284" y="3015"/>
                  </a:lnTo>
                  <a:lnTo>
                    <a:pt x="3286" y="3012"/>
                  </a:lnTo>
                  <a:lnTo>
                    <a:pt x="3290" y="3009"/>
                  </a:lnTo>
                  <a:lnTo>
                    <a:pt x="3288" y="3023"/>
                  </a:lnTo>
                  <a:lnTo>
                    <a:pt x="3293" y="3023"/>
                  </a:lnTo>
                  <a:lnTo>
                    <a:pt x="3294" y="3031"/>
                  </a:lnTo>
                  <a:lnTo>
                    <a:pt x="3294" y="3038"/>
                  </a:lnTo>
                  <a:lnTo>
                    <a:pt x="3302" y="3029"/>
                  </a:lnTo>
                  <a:lnTo>
                    <a:pt x="3305" y="3028"/>
                  </a:lnTo>
                  <a:lnTo>
                    <a:pt x="3310" y="3036"/>
                  </a:lnTo>
                  <a:lnTo>
                    <a:pt x="3315" y="3039"/>
                  </a:lnTo>
                  <a:lnTo>
                    <a:pt x="3327" y="3044"/>
                  </a:lnTo>
                  <a:lnTo>
                    <a:pt x="3342" y="3044"/>
                  </a:lnTo>
                  <a:lnTo>
                    <a:pt x="3345" y="3038"/>
                  </a:lnTo>
                  <a:lnTo>
                    <a:pt x="3345" y="3033"/>
                  </a:lnTo>
                  <a:lnTo>
                    <a:pt x="3341" y="3023"/>
                  </a:lnTo>
                  <a:lnTo>
                    <a:pt x="3342" y="3018"/>
                  </a:lnTo>
                  <a:lnTo>
                    <a:pt x="3344" y="3017"/>
                  </a:lnTo>
                  <a:lnTo>
                    <a:pt x="3350" y="3023"/>
                  </a:lnTo>
                  <a:lnTo>
                    <a:pt x="3359" y="3023"/>
                  </a:lnTo>
                  <a:lnTo>
                    <a:pt x="3363" y="3020"/>
                  </a:lnTo>
                  <a:lnTo>
                    <a:pt x="3363" y="3019"/>
                  </a:lnTo>
                  <a:lnTo>
                    <a:pt x="3361" y="3015"/>
                  </a:lnTo>
                  <a:lnTo>
                    <a:pt x="3360" y="3013"/>
                  </a:lnTo>
                  <a:lnTo>
                    <a:pt x="3350" y="3009"/>
                  </a:lnTo>
                  <a:lnTo>
                    <a:pt x="3343" y="2997"/>
                  </a:lnTo>
                  <a:lnTo>
                    <a:pt x="3345" y="2995"/>
                  </a:lnTo>
                  <a:lnTo>
                    <a:pt x="3343" y="2986"/>
                  </a:lnTo>
                  <a:lnTo>
                    <a:pt x="3343" y="2979"/>
                  </a:lnTo>
                  <a:lnTo>
                    <a:pt x="3337" y="2979"/>
                  </a:lnTo>
                  <a:lnTo>
                    <a:pt x="3331" y="2975"/>
                  </a:lnTo>
                  <a:lnTo>
                    <a:pt x="3326" y="2968"/>
                  </a:lnTo>
                  <a:lnTo>
                    <a:pt x="3316" y="2960"/>
                  </a:lnTo>
                  <a:lnTo>
                    <a:pt x="3311" y="2942"/>
                  </a:lnTo>
                  <a:lnTo>
                    <a:pt x="3301" y="2936"/>
                  </a:lnTo>
                  <a:lnTo>
                    <a:pt x="3291" y="2933"/>
                  </a:lnTo>
                  <a:lnTo>
                    <a:pt x="3272" y="2931"/>
                  </a:lnTo>
                  <a:lnTo>
                    <a:pt x="3259" y="2933"/>
                  </a:lnTo>
                  <a:lnTo>
                    <a:pt x="3258" y="2928"/>
                  </a:lnTo>
                  <a:lnTo>
                    <a:pt x="3258" y="2923"/>
                  </a:lnTo>
                  <a:lnTo>
                    <a:pt x="3246" y="2925"/>
                  </a:lnTo>
                  <a:lnTo>
                    <a:pt x="3231" y="2923"/>
                  </a:lnTo>
                  <a:lnTo>
                    <a:pt x="3214" y="2920"/>
                  </a:lnTo>
                  <a:lnTo>
                    <a:pt x="3209" y="2917"/>
                  </a:lnTo>
                  <a:lnTo>
                    <a:pt x="3205" y="2918"/>
                  </a:lnTo>
                  <a:lnTo>
                    <a:pt x="3198" y="2917"/>
                  </a:lnTo>
                  <a:lnTo>
                    <a:pt x="3193" y="2912"/>
                  </a:lnTo>
                  <a:lnTo>
                    <a:pt x="3181" y="2915"/>
                  </a:lnTo>
                  <a:lnTo>
                    <a:pt x="3177" y="2917"/>
                  </a:lnTo>
                  <a:lnTo>
                    <a:pt x="3171" y="2916"/>
                  </a:lnTo>
                  <a:lnTo>
                    <a:pt x="3138" y="2904"/>
                  </a:lnTo>
                  <a:lnTo>
                    <a:pt x="3126" y="2905"/>
                  </a:lnTo>
                  <a:lnTo>
                    <a:pt x="3119" y="2906"/>
                  </a:lnTo>
                  <a:lnTo>
                    <a:pt x="3119" y="2899"/>
                  </a:lnTo>
                  <a:lnTo>
                    <a:pt x="3111" y="2884"/>
                  </a:lnTo>
                  <a:lnTo>
                    <a:pt x="3108" y="2882"/>
                  </a:lnTo>
                  <a:lnTo>
                    <a:pt x="3107" y="2883"/>
                  </a:lnTo>
                  <a:lnTo>
                    <a:pt x="3106" y="2886"/>
                  </a:lnTo>
                  <a:lnTo>
                    <a:pt x="3106" y="2891"/>
                  </a:lnTo>
                  <a:lnTo>
                    <a:pt x="3099" y="2891"/>
                  </a:lnTo>
                  <a:lnTo>
                    <a:pt x="3101" y="2890"/>
                  </a:lnTo>
                  <a:lnTo>
                    <a:pt x="3101" y="2889"/>
                  </a:lnTo>
                  <a:lnTo>
                    <a:pt x="3099" y="2888"/>
                  </a:lnTo>
                  <a:lnTo>
                    <a:pt x="3096" y="2880"/>
                  </a:lnTo>
                  <a:lnTo>
                    <a:pt x="3100" y="2873"/>
                  </a:lnTo>
                  <a:lnTo>
                    <a:pt x="3097" y="2873"/>
                  </a:lnTo>
                  <a:lnTo>
                    <a:pt x="3096" y="2868"/>
                  </a:lnTo>
                  <a:lnTo>
                    <a:pt x="3102" y="2861"/>
                  </a:lnTo>
                  <a:lnTo>
                    <a:pt x="3089" y="2853"/>
                  </a:lnTo>
                  <a:lnTo>
                    <a:pt x="3085" y="2840"/>
                  </a:lnTo>
                  <a:lnTo>
                    <a:pt x="3090" y="2824"/>
                  </a:lnTo>
                  <a:lnTo>
                    <a:pt x="3075" y="2805"/>
                  </a:lnTo>
                  <a:lnTo>
                    <a:pt x="3072" y="2798"/>
                  </a:lnTo>
                  <a:lnTo>
                    <a:pt x="3074" y="2781"/>
                  </a:lnTo>
                  <a:lnTo>
                    <a:pt x="3076" y="2770"/>
                  </a:lnTo>
                  <a:lnTo>
                    <a:pt x="3053" y="2773"/>
                  </a:lnTo>
                  <a:lnTo>
                    <a:pt x="3031" y="2775"/>
                  </a:lnTo>
                  <a:lnTo>
                    <a:pt x="3020" y="2766"/>
                  </a:lnTo>
                  <a:lnTo>
                    <a:pt x="3005" y="2733"/>
                  </a:lnTo>
                  <a:lnTo>
                    <a:pt x="2999" y="2717"/>
                  </a:lnTo>
                  <a:lnTo>
                    <a:pt x="2994" y="2710"/>
                  </a:lnTo>
                  <a:lnTo>
                    <a:pt x="2986" y="2710"/>
                  </a:lnTo>
                  <a:lnTo>
                    <a:pt x="2972" y="2705"/>
                  </a:lnTo>
                  <a:lnTo>
                    <a:pt x="2957" y="2705"/>
                  </a:lnTo>
                  <a:lnTo>
                    <a:pt x="2957" y="2744"/>
                  </a:lnTo>
                  <a:lnTo>
                    <a:pt x="2938" y="2699"/>
                  </a:lnTo>
                  <a:lnTo>
                    <a:pt x="2903" y="2686"/>
                  </a:lnTo>
                  <a:lnTo>
                    <a:pt x="2898" y="2690"/>
                  </a:lnTo>
                  <a:lnTo>
                    <a:pt x="2897" y="2692"/>
                  </a:lnTo>
                  <a:lnTo>
                    <a:pt x="2898" y="2712"/>
                  </a:lnTo>
                  <a:lnTo>
                    <a:pt x="2897" y="2716"/>
                  </a:lnTo>
                  <a:lnTo>
                    <a:pt x="2888" y="2722"/>
                  </a:lnTo>
                  <a:lnTo>
                    <a:pt x="2884" y="2730"/>
                  </a:lnTo>
                  <a:lnTo>
                    <a:pt x="2880" y="2733"/>
                  </a:lnTo>
                  <a:lnTo>
                    <a:pt x="2877" y="2726"/>
                  </a:lnTo>
                  <a:lnTo>
                    <a:pt x="2882" y="2716"/>
                  </a:lnTo>
                  <a:lnTo>
                    <a:pt x="2885" y="2707"/>
                  </a:lnTo>
                  <a:lnTo>
                    <a:pt x="2884" y="2702"/>
                  </a:lnTo>
                  <a:lnTo>
                    <a:pt x="2879" y="2711"/>
                  </a:lnTo>
                  <a:lnTo>
                    <a:pt x="2869" y="2734"/>
                  </a:lnTo>
                  <a:lnTo>
                    <a:pt x="2866" y="2738"/>
                  </a:lnTo>
                  <a:lnTo>
                    <a:pt x="2860" y="2740"/>
                  </a:lnTo>
                  <a:lnTo>
                    <a:pt x="2858" y="2732"/>
                  </a:lnTo>
                  <a:lnTo>
                    <a:pt x="2859" y="2721"/>
                  </a:lnTo>
                  <a:lnTo>
                    <a:pt x="2845" y="2738"/>
                  </a:lnTo>
                  <a:lnTo>
                    <a:pt x="2839" y="2753"/>
                  </a:lnTo>
                  <a:lnTo>
                    <a:pt x="2834" y="2756"/>
                  </a:lnTo>
                  <a:lnTo>
                    <a:pt x="2833" y="2761"/>
                  </a:lnTo>
                  <a:lnTo>
                    <a:pt x="2812" y="2771"/>
                  </a:lnTo>
                  <a:lnTo>
                    <a:pt x="2807" y="2771"/>
                  </a:lnTo>
                  <a:lnTo>
                    <a:pt x="2793" y="2764"/>
                  </a:lnTo>
                  <a:lnTo>
                    <a:pt x="2767" y="2764"/>
                  </a:lnTo>
                  <a:lnTo>
                    <a:pt x="2750" y="2756"/>
                  </a:lnTo>
                  <a:lnTo>
                    <a:pt x="2741" y="2757"/>
                  </a:lnTo>
                  <a:lnTo>
                    <a:pt x="2728" y="2764"/>
                  </a:lnTo>
                  <a:lnTo>
                    <a:pt x="2721" y="2765"/>
                  </a:lnTo>
                  <a:lnTo>
                    <a:pt x="2709" y="2759"/>
                  </a:lnTo>
                  <a:lnTo>
                    <a:pt x="2702" y="2749"/>
                  </a:lnTo>
                  <a:lnTo>
                    <a:pt x="2689" y="2745"/>
                  </a:lnTo>
                  <a:lnTo>
                    <a:pt x="2682" y="2739"/>
                  </a:lnTo>
                  <a:lnTo>
                    <a:pt x="2673" y="2737"/>
                  </a:lnTo>
                  <a:lnTo>
                    <a:pt x="2669" y="2734"/>
                  </a:lnTo>
                  <a:lnTo>
                    <a:pt x="2662" y="2727"/>
                  </a:lnTo>
                  <a:lnTo>
                    <a:pt x="2654" y="2721"/>
                  </a:lnTo>
                  <a:lnTo>
                    <a:pt x="2644" y="2717"/>
                  </a:lnTo>
                  <a:lnTo>
                    <a:pt x="2618" y="2716"/>
                  </a:lnTo>
                  <a:lnTo>
                    <a:pt x="2610" y="2721"/>
                  </a:lnTo>
                  <a:lnTo>
                    <a:pt x="2599" y="2721"/>
                  </a:lnTo>
                  <a:lnTo>
                    <a:pt x="2592" y="2719"/>
                  </a:lnTo>
                  <a:lnTo>
                    <a:pt x="2592" y="2717"/>
                  </a:lnTo>
                  <a:lnTo>
                    <a:pt x="2590" y="2716"/>
                  </a:lnTo>
                  <a:lnTo>
                    <a:pt x="2576" y="2712"/>
                  </a:lnTo>
                  <a:lnTo>
                    <a:pt x="2572" y="2708"/>
                  </a:lnTo>
                  <a:lnTo>
                    <a:pt x="2562" y="2711"/>
                  </a:lnTo>
                  <a:lnTo>
                    <a:pt x="2558" y="2711"/>
                  </a:lnTo>
                  <a:lnTo>
                    <a:pt x="2557" y="2708"/>
                  </a:lnTo>
                  <a:lnTo>
                    <a:pt x="2548" y="2710"/>
                  </a:lnTo>
                  <a:lnTo>
                    <a:pt x="2540" y="2687"/>
                  </a:lnTo>
                  <a:lnTo>
                    <a:pt x="2537" y="2686"/>
                  </a:lnTo>
                  <a:lnTo>
                    <a:pt x="2526" y="2654"/>
                  </a:lnTo>
                  <a:lnTo>
                    <a:pt x="2519" y="2653"/>
                  </a:lnTo>
                  <a:lnTo>
                    <a:pt x="2514" y="2653"/>
                  </a:lnTo>
                  <a:lnTo>
                    <a:pt x="2514" y="2689"/>
                  </a:lnTo>
                  <a:lnTo>
                    <a:pt x="2455" y="2689"/>
                  </a:lnTo>
                  <a:lnTo>
                    <a:pt x="2400" y="2689"/>
                  </a:lnTo>
                  <a:lnTo>
                    <a:pt x="2388" y="2689"/>
                  </a:lnTo>
                  <a:lnTo>
                    <a:pt x="2342" y="2689"/>
                  </a:lnTo>
                  <a:lnTo>
                    <a:pt x="2294" y="2689"/>
                  </a:lnTo>
                  <a:lnTo>
                    <a:pt x="2241" y="2689"/>
                  </a:lnTo>
                  <a:lnTo>
                    <a:pt x="2191" y="2689"/>
                  </a:lnTo>
                  <a:lnTo>
                    <a:pt x="2174" y="2689"/>
                  </a:lnTo>
                  <a:lnTo>
                    <a:pt x="2027" y="2689"/>
                  </a:lnTo>
                  <a:lnTo>
                    <a:pt x="1983" y="2689"/>
                  </a:lnTo>
                  <a:lnTo>
                    <a:pt x="1929" y="2689"/>
                  </a:lnTo>
                  <a:lnTo>
                    <a:pt x="1880" y="2689"/>
                  </a:lnTo>
                  <a:lnTo>
                    <a:pt x="1833" y="2689"/>
                  </a:lnTo>
                  <a:lnTo>
                    <a:pt x="1785" y="2689"/>
                  </a:lnTo>
                  <a:lnTo>
                    <a:pt x="1731" y="2689"/>
                  </a:lnTo>
                  <a:lnTo>
                    <a:pt x="1699" y="2689"/>
                  </a:lnTo>
                  <a:lnTo>
                    <a:pt x="1650" y="2687"/>
                  </a:lnTo>
                  <a:lnTo>
                    <a:pt x="1596" y="2687"/>
                  </a:lnTo>
                  <a:lnTo>
                    <a:pt x="1546" y="2687"/>
                  </a:lnTo>
                  <a:lnTo>
                    <a:pt x="1477" y="2687"/>
                  </a:lnTo>
                  <a:lnTo>
                    <a:pt x="1368" y="2687"/>
                  </a:lnTo>
                  <a:lnTo>
                    <a:pt x="1315" y="2687"/>
                  </a:lnTo>
                  <a:lnTo>
                    <a:pt x="1262" y="2687"/>
                  </a:lnTo>
                  <a:lnTo>
                    <a:pt x="1217" y="2687"/>
                  </a:lnTo>
                  <a:lnTo>
                    <a:pt x="1167" y="2687"/>
                  </a:lnTo>
                  <a:lnTo>
                    <a:pt x="1115" y="2687"/>
                  </a:lnTo>
                  <a:lnTo>
                    <a:pt x="1064" y="2687"/>
                  </a:lnTo>
                  <a:lnTo>
                    <a:pt x="1002" y="2687"/>
                  </a:lnTo>
                  <a:lnTo>
                    <a:pt x="1000" y="2683"/>
                  </a:lnTo>
                  <a:lnTo>
                    <a:pt x="994" y="2679"/>
                  </a:lnTo>
                  <a:lnTo>
                    <a:pt x="989" y="2680"/>
                  </a:lnTo>
                  <a:lnTo>
                    <a:pt x="988" y="2678"/>
                  </a:lnTo>
                  <a:lnTo>
                    <a:pt x="989" y="2674"/>
                  </a:lnTo>
                  <a:lnTo>
                    <a:pt x="999" y="2670"/>
                  </a:lnTo>
                  <a:lnTo>
                    <a:pt x="1011" y="2671"/>
                  </a:lnTo>
                  <a:lnTo>
                    <a:pt x="1010" y="2665"/>
                  </a:lnTo>
                  <a:lnTo>
                    <a:pt x="1008" y="2665"/>
                  </a:lnTo>
                  <a:lnTo>
                    <a:pt x="1006" y="2663"/>
                  </a:lnTo>
                  <a:lnTo>
                    <a:pt x="1004" y="2662"/>
                  </a:lnTo>
                  <a:lnTo>
                    <a:pt x="992" y="2665"/>
                  </a:lnTo>
                  <a:lnTo>
                    <a:pt x="981" y="2664"/>
                  </a:lnTo>
                  <a:lnTo>
                    <a:pt x="979" y="2660"/>
                  </a:lnTo>
                  <a:lnTo>
                    <a:pt x="979" y="2659"/>
                  </a:lnTo>
                  <a:lnTo>
                    <a:pt x="977" y="2656"/>
                  </a:lnTo>
                  <a:lnTo>
                    <a:pt x="977" y="2652"/>
                  </a:lnTo>
                  <a:lnTo>
                    <a:pt x="979" y="2651"/>
                  </a:lnTo>
                  <a:lnTo>
                    <a:pt x="981" y="2626"/>
                  </a:lnTo>
                  <a:lnTo>
                    <a:pt x="976" y="2625"/>
                  </a:lnTo>
                  <a:lnTo>
                    <a:pt x="975" y="2630"/>
                  </a:lnTo>
                  <a:lnTo>
                    <a:pt x="966" y="2638"/>
                  </a:lnTo>
                  <a:lnTo>
                    <a:pt x="960" y="2649"/>
                  </a:lnTo>
                  <a:lnTo>
                    <a:pt x="955" y="2648"/>
                  </a:lnTo>
                  <a:lnTo>
                    <a:pt x="952" y="2641"/>
                  </a:lnTo>
                  <a:lnTo>
                    <a:pt x="952" y="2637"/>
                  </a:lnTo>
                  <a:lnTo>
                    <a:pt x="955" y="2626"/>
                  </a:lnTo>
                  <a:lnTo>
                    <a:pt x="949" y="2626"/>
                  </a:lnTo>
                  <a:lnTo>
                    <a:pt x="949" y="2621"/>
                  </a:lnTo>
                  <a:lnTo>
                    <a:pt x="946" y="2621"/>
                  </a:lnTo>
                  <a:lnTo>
                    <a:pt x="944" y="2616"/>
                  </a:lnTo>
                  <a:lnTo>
                    <a:pt x="944" y="2611"/>
                  </a:lnTo>
                  <a:lnTo>
                    <a:pt x="939" y="2606"/>
                  </a:lnTo>
                  <a:lnTo>
                    <a:pt x="936" y="2598"/>
                  </a:lnTo>
                  <a:lnTo>
                    <a:pt x="935" y="2600"/>
                  </a:lnTo>
                  <a:lnTo>
                    <a:pt x="938" y="2609"/>
                  </a:lnTo>
                  <a:lnTo>
                    <a:pt x="936" y="2614"/>
                  </a:lnTo>
                  <a:lnTo>
                    <a:pt x="930" y="2605"/>
                  </a:lnTo>
                  <a:lnTo>
                    <a:pt x="927" y="2615"/>
                  </a:lnTo>
                  <a:lnTo>
                    <a:pt x="923" y="2617"/>
                  </a:lnTo>
                  <a:lnTo>
                    <a:pt x="911" y="2617"/>
                  </a:lnTo>
                  <a:lnTo>
                    <a:pt x="902" y="2610"/>
                  </a:lnTo>
                  <a:lnTo>
                    <a:pt x="898" y="2605"/>
                  </a:lnTo>
                  <a:lnTo>
                    <a:pt x="892" y="2599"/>
                  </a:lnTo>
                  <a:lnTo>
                    <a:pt x="891" y="2594"/>
                  </a:lnTo>
                  <a:lnTo>
                    <a:pt x="898" y="2588"/>
                  </a:lnTo>
                  <a:lnTo>
                    <a:pt x="900" y="2584"/>
                  </a:lnTo>
                  <a:lnTo>
                    <a:pt x="900" y="2578"/>
                  </a:lnTo>
                  <a:lnTo>
                    <a:pt x="897" y="2573"/>
                  </a:lnTo>
                  <a:lnTo>
                    <a:pt x="900" y="2565"/>
                  </a:lnTo>
                  <a:lnTo>
                    <a:pt x="896" y="2563"/>
                  </a:lnTo>
                  <a:lnTo>
                    <a:pt x="890" y="2568"/>
                  </a:lnTo>
                  <a:lnTo>
                    <a:pt x="884" y="2570"/>
                  </a:lnTo>
                  <a:lnTo>
                    <a:pt x="880" y="2565"/>
                  </a:lnTo>
                  <a:lnTo>
                    <a:pt x="878" y="2555"/>
                  </a:lnTo>
                  <a:lnTo>
                    <a:pt x="875" y="2555"/>
                  </a:lnTo>
                  <a:lnTo>
                    <a:pt x="864" y="2561"/>
                  </a:lnTo>
                  <a:lnTo>
                    <a:pt x="853" y="2557"/>
                  </a:lnTo>
                  <a:lnTo>
                    <a:pt x="849" y="2560"/>
                  </a:lnTo>
                  <a:lnTo>
                    <a:pt x="842" y="2554"/>
                  </a:lnTo>
                  <a:lnTo>
                    <a:pt x="841" y="2558"/>
                  </a:lnTo>
                  <a:lnTo>
                    <a:pt x="837" y="2561"/>
                  </a:lnTo>
                  <a:lnTo>
                    <a:pt x="833" y="2557"/>
                  </a:lnTo>
                  <a:lnTo>
                    <a:pt x="803" y="2556"/>
                  </a:lnTo>
                  <a:lnTo>
                    <a:pt x="800" y="2552"/>
                  </a:lnTo>
                  <a:lnTo>
                    <a:pt x="826" y="2545"/>
                  </a:lnTo>
                  <a:lnTo>
                    <a:pt x="828" y="2541"/>
                  </a:lnTo>
                  <a:lnTo>
                    <a:pt x="816" y="2541"/>
                  </a:lnTo>
                  <a:lnTo>
                    <a:pt x="819" y="2531"/>
                  </a:lnTo>
                  <a:lnTo>
                    <a:pt x="809" y="2528"/>
                  </a:lnTo>
                  <a:lnTo>
                    <a:pt x="803" y="2527"/>
                  </a:lnTo>
                  <a:lnTo>
                    <a:pt x="803" y="2525"/>
                  </a:lnTo>
                  <a:lnTo>
                    <a:pt x="810" y="2525"/>
                  </a:lnTo>
                  <a:lnTo>
                    <a:pt x="815" y="2523"/>
                  </a:lnTo>
                  <a:lnTo>
                    <a:pt x="810" y="2517"/>
                  </a:lnTo>
                  <a:lnTo>
                    <a:pt x="794" y="2514"/>
                  </a:lnTo>
                  <a:lnTo>
                    <a:pt x="787" y="2522"/>
                  </a:lnTo>
                  <a:lnTo>
                    <a:pt x="783" y="2518"/>
                  </a:lnTo>
                  <a:lnTo>
                    <a:pt x="766" y="2517"/>
                  </a:lnTo>
                  <a:lnTo>
                    <a:pt x="764" y="2520"/>
                  </a:lnTo>
                  <a:lnTo>
                    <a:pt x="767" y="2524"/>
                  </a:lnTo>
                  <a:lnTo>
                    <a:pt x="762" y="2525"/>
                  </a:lnTo>
                  <a:lnTo>
                    <a:pt x="740" y="2514"/>
                  </a:lnTo>
                  <a:lnTo>
                    <a:pt x="731" y="2504"/>
                  </a:lnTo>
                  <a:lnTo>
                    <a:pt x="729" y="2498"/>
                  </a:lnTo>
                  <a:lnTo>
                    <a:pt x="729" y="2492"/>
                  </a:lnTo>
                  <a:lnTo>
                    <a:pt x="735" y="2490"/>
                  </a:lnTo>
                  <a:lnTo>
                    <a:pt x="741" y="2490"/>
                  </a:lnTo>
                  <a:lnTo>
                    <a:pt x="747" y="2487"/>
                  </a:lnTo>
                  <a:lnTo>
                    <a:pt x="745" y="2484"/>
                  </a:lnTo>
                  <a:lnTo>
                    <a:pt x="740" y="2481"/>
                  </a:lnTo>
                  <a:lnTo>
                    <a:pt x="729" y="2484"/>
                  </a:lnTo>
                  <a:lnTo>
                    <a:pt x="730" y="2479"/>
                  </a:lnTo>
                  <a:lnTo>
                    <a:pt x="741" y="2474"/>
                  </a:lnTo>
                  <a:lnTo>
                    <a:pt x="752" y="2475"/>
                  </a:lnTo>
                  <a:lnTo>
                    <a:pt x="756" y="2472"/>
                  </a:lnTo>
                  <a:lnTo>
                    <a:pt x="745" y="2469"/>
                  </a:lnTo>
                  <a:lnTo>
                    <a:pt x="742" y="2465"/>
                  </a:lnTo>
                  <a:lnTo>
                    <a:pt x="750" y="2457"/>
                  </a:lnTo>
                  <a:lnTo>
                    <a:pt x="742" y="2448"/>
                  </a:lnTo>
                  <a:lnTo>
                    <a:pt x="734" y="2461"/>
                  </a:lnTo>
                  <a:lnTo>
                    <a:pt x="728" y="2463"/>
                  </a:lnTo>
                  <a:lnTo>
                    <a:pt x="725" y="2461"/>
                  </a:lnTo>
                  <a:lnTo>
                    <a:pt x="723" y="2454"/>
                  </a:lnTo>
                  <a:lnTo>
                    <a:pt x="723" y="2443"/>
                  </a:lnTo>
                  <a:lnTo>
                    <a:pt x="725" y="2430"/>
                  </a:lnTo>
                  <a:lnTo>
                    <a:pt x="723" y="2428"/>
                  </a:lnTo>
                  <a:lnTo>
                    <a:pt x="722" y="2425"/>
                  </a:lnTo>
                  <a:lnTo>
                    <a:pt x="722" y="2420"/>
                  </a:lnTo>
                  <a:lnTo>
                    <a:pt x="724" y="2409"/>
                  </a:lnTo>
                  <a:lnTo>
                    <a:pt x="723" y="2402"/>
                  </a:lnTo>
                  <a:lnTo>
                    <a:pt x="719" y="2400"/>
                  </a:lnTo>
                  <a:lnTo>
                    <a:pt x="719" y="2393"/>
                  </a:lnTo>
                  <a:lnTo>
                    <a:pt x="718" y="2388"/>
                  </a:lnTo>
                  <a:lnTo>
                    <a:pt x="707" y="2394"/>
                  </a:lnTo>
                  <a:lnTo>
                    <a:pt x="698" y="2395"/>
                  </a:lnTo>
                  <a:lnTo>
                    <a:pt x="699" y="2390"/>
                  </a:lnTo>
                  <a:lnTo>
                    <a:pt x="702" y="2388"/>
                  </a:lnTo>
                  <a:lnTo>
                    <a:pt x="702" y="2383"/>
                  </a:lnTo>
                  <a:lnTo>
                    <a:pt x="699" y="2378"/>
                  </a:lnTo>
                  <a:lnTo>
                    <a:pt x="693" y="2378"/>
                  </a:lnTo>
                  <a:lnTo>
                    <a:pt x="683" y="2382"/>
                  </a:lnTo>
                  <a:lnTo>
                    <a:pt x="674" y="2380"/>
                  </a:lnTo>
                  <a:lnTo>
                    <a:pt x="671" y="2377"/>
                  </a:lnTo>
                  <a:lnTo>
                    <a:pt x="669" y="2363"/>
                  </a:lnTo>
                  <a:lnTo>
                    <a:pt x="663" y="2361"/>
                  </a:lnTo>
                  <a:lnTo>
                    <a:pt x="656" y="2350"/>
                  </a:lnTo>
                  <a:lnTo>
                    <a:pt x="655" y="2345"/>
                  </a:lnTo>
                  <a:lnTo>
                    <a:pt x="651" y="2337"/>
                  </a:lnTo>
                  <a:lnTo>
                    <a:pt x="654" y="2326"/>
                  </a:lnTo>
                  <a:lnTo>
                    <a:pt x="658" y="2321"/>
                  </a:lnTo>
                  <a:lnTo>
                    <a:pt x="658" y="2308"/>
                  </a:lnTo>
                  <a:lnTo>
                    <a:pt x="658" y="2298"/>
                  </a:lnTo>
                  <a:lnTo>
                    <a:pt x="656" y="2296"/>
                  </a:lnTo>
                  <a:lnTo>
                    <a:pt x="653" y="2292"/>
                  </a:lnTo>
                  <a:lnTo>
                    <a:pt x="647" y="2297"/>
                  </a:lnTo>
                  <a:lnTo>
                    <a:pt x="645" y="2299"/>
                  </a:lnTo>
                  <a:lnTo>
                    <a:pt x="643" y="2298"/>
                  </a:lnTo>
                  <a:lnTo>
                    <a:pt x="642" y="2296"/>
                  </a:lnTo>
                  <a:lnTo>
                    <a:pt x="640" y="2296"/>
                  </a:lnTo>
                  <a:lnTo>
                    <a:pt x="624" y="2278"/>
                  </a:lnTo>
                  <a:lnTo>
                    <a:pt x="621" y="2270"/>
                  </a:lnTo>
                  <a:lnTo>
                    <a:pt x="616" y="2264"/>
                  </a:lnTo>
                  <a:lnTo>
                    <a:pt x="600" y="2250"/>
                  </a:lnTo>
                  <a:lnTo>
                    <a:pt x="599" y="2246"/>
                  </a:lnTo>
                  <a:lnTo>
                    <a:pt x="600" y="2238"/>
                  </a:lnTo>
                  <a:lnTo>
                    <a:pt x="605" y="2233"/>
                  </a:lnTo>
                  <a:lnTo>
                    <a:pt x="610" y="2231"/>
                  </a:lnTo>
                  <a:lnTo>
                    <a:pt x="608" y="2226"/>
                  </a:lnTo>
                  <a:lnTo>
                    <a:pt x="595" y="2227"/>
                  </a:lnTo>
                  <a:lnTo>
                    <a:pt x="590" y="2224"/>
                  </a:lnTo>
                  <a:lnTo>
                    <a:pt x="583" y="2211"/>
                  </a:lnTo>
                  <a:lnTo>
                    <a:pt x="580" y="2208"/>
                  </a:lnTo>
                  <a:lnTo>
                    <a:pt x="580" y="2195"/>
                  </a:lnTo>
                  <a:lnTo>
                    <a:pt x="584" y="2189"/>
                  </a:lnTo>
                  <a:lnTo>
                    <a:pt x="586" y="2181"/>
                  </a:lnTo>
                  <a:lnTo>
                    <a:pt x="591" y="2179"/>
                  </a:lnTo>
                  <a:lnTo>
                    <a:pt x="599" y="2185"/>
                  </a:lnTo>
                  <a:lnTo>
                    <a:pt x="600" y="2181"/>
                  </a:lnTo>
                  <a:lnTo>
                    <a:pt x="596" y="2175"/>
                  </a:lnTo>
                  <a:lnTo>
                    <a:pt x="596" y="2170"/>
                  </a:lnTo>
                  <a:lnTo>
                    <a:pt x="599" y="2161"/>
                  </a:lnTo>
                  <a:lnTo>
                    <a:pt x="604" y="2157"/>
                  </a:lnTo>
                  <a:lnTo>
                    <a:pt x="604" y="2153"/>
                  </a:lnTo>
                  <a:lnTo>
                    <a:pt x="601" y="2147"/>
                  </a:lnTo>
                  <a:lnTo>
                    <a:pt x="599" y="2147"/>
                  </a:lnTo>
                  <a:lnTo>
                    <a:pt x="600" y="2140"/>
                  </a:lnTo>
                  <a:lnTo>
                    <a:pt x="602" y="2136"/>
                  </a:lnTo>
                  <a:lnTo>
                    <a:pt x="605" y="2130"/>
                  </a:lnTo>
                  <a:lnTo>
                    <a:pt x="605" y="2125"/>
                  </a:lnTo>
                  <a:lnTo>
                    <a:pt x="600" y="2109"/>
                  </a:lnTo>
                  <a:lnTo>
                    <a:pt x="600" y="2082"/>
                  </a:lnTo>
                  <a:lnTo>
                    <a:pt x="602" y="2067"/>
                  </a:lnTo>
                  <a:lnTo>
                    <a:pt x="605" y="2062"/>
                  </a:lnTo>
                  <a:lnTo>
                    <a:pt x="605" y="2060"/>
                  </a:lnTo>
                  <a:lnTo>
                    <a:pt x="601" y="2054"/>
                  </a:lnTo>
                  <a:lnTo>
                    <a:pt x="599" y="2050"/>
                  </a:lnTo>
                  <a:lnTo>
                    <a:pt x="580" y="2045"/>
                  </a:lnTo>
                  <a:lnTo>
                    <a:pt x="575" y="2039"/>
                  </a:lnTo>
                  <a:lnTo>
                    <a:pt x="550" y="2018"/>
                  </a:lnTo>
                  <a:lnTo>
                    <a:pt x="514" y="2008"/>
                  </a:lnTo>
                  <a:lnTo>
                    <a:pt x="502" y="2001"/>
                  </a:lnTo>
                  <a:lnTo>
                    <a:pt x="497" y="1995"/>
                  </a:lnTo>
                  <a:lnTo>
                    <a:pt x="492" y="1986"/>
                  </a:lnTo>
                  <a:lnTo>
                    <a:pt x="487" y="1969"/>
                  </a:lnTo>
                  <a:lnTo>
                    <a:pt x="487" y="1965"/>
                  </a:lnTo>
                  <a:lnTo>
                    <a:pt x="483" y="1958"/>
                  </a:lnTo>
                  <a:lnTo>
                    <a:pt x="473" y="1949"/>
                  </a:lnTo>
                  <a:lnTo>
                    <a:pt x="472" y="1944"/>
                  </a:lnTo>
                  <a:lnTo>
                    <a:pt x="475" y="1939"/>
                  </a:lnTo>
                  <a:lnTo>
                    <a:pt x="475" y="1936"/>
                  </a:lnTo>
                  <a:lnTo>
                    <a:pt x="471" y="1928"/>
                  </a:lnTo>
                  <a:lnTo>
                    <a:pt x="457" y="1911"/>
                  </a:lnTo>
                  <a:lnTo>
                    <a:pt x="452" y="1893"/>
                  </a:lnTo>
                  <a:lnTo>
                    <a:pt x="449" y="1893"/>
                  </a:lnTo>
                  <a:lnTo>
                    <a:pt x="448" y="1890"/>
                  </a:lnTo>
                  <a:lnTo>
                    <a:pt x="441" y="1872"/>
                  </a:lnTo>
                  <a:lnTo>
                    <a:pt x="413" y="1826"/>
                  </a:lnTo>
                  <a:lnTo>
                    <a:pt x="402" y="1807"/>
                  </a:lnTo>
                  <a:lnTo>
                    <a:pt x="395" y="1786"/>
                  </a:lnTo>
                  <a:lnTo>
                    <a:pt x="384" y="1775"/>
                  </a:lnTo>
                  <a:lnTo>
                    <a:pt x="363" y="1766"/>
                  </a:lnTo>
                  <a:lnTo>
                    <a:pt x="359" y="1759"/>
                  </a:lnTo>
                  <a:lnTo>
                    <a:pt x="359" y="1756"/>
                  </a:lnTo>
                  <a:lnTo>
                    <a:pt x="355" y="1740"/>
                  </a:lnTo>
                  <a:lnTo>
                    <a:pt x="343" y="1729"/>
                  </a:lnTo>
                  <a:lnTo>
                    <a:pt x="341" y="1721"/>
                  </a:lnTo>
                  <a:lnTo>
                    <a:pt x="332" y="1707"/>
                  </a:lnTo>
                  <a:lnTo>
                    <a:pt x="328" y="1695"/>
                  </a:lnTo>
                  <a:lnTo>
                    <a:pt x="323" y="1695"/>
                  </a:lnTo>
                  <a:lnTo>
                    <a:pt x="320" y="1691"/>
                  </a:lnTo>
                  <a:lnTo>
                    <a:pt x="311" y="1673"/>
                  </a:lnTo>
                  <a:lnTo>
                    <a:pt x="305" y="1667"/>
                  </a:lnTo>
                  <a:lnTo>
                    <a:pt x="300" y="1666"/>
                  </a:lnTo>
                  <a:lnTo>
                    <a:pt x="278" y="1683"/>
                  </a:lnTo>
                  <a:lnTo>
                    <a:pt x="257" y="1689"/>
                  </a:lnTo>
                  <a:lnTo>
                    <a:pt x="252" y="1695"/>
                  </a:lnTo>
                  <a:lnTo>
                    <a:pt x="251" y="1707"/>
                  </a:lnTo>
                  <a:lnTo>
                    <a:pt x="249" y="1710"/>
                  </a:lnTo>
                  <a:lnTo>
                    <a:pt x="242" y="1713"/>
                  </a:lnTo>
                  <a:lnTo>
                    <a:pt x="240" y="1717"/>
                  </a:lnTo>
                  <a:lnTo>
                    <a:pt x="240" y="1726"/>
                  </a:lnTo>
                  <a:lnTo>
                    <a:pt x="236" y="1734"/>
                  </a:lnTo>
                  <a:lnTo>
                    <a:pt x="220" y="1739"/>
                  </a:lnTo>
                  <a:lnTo>
                    <a:pt x="204" y="1753"/>
                  </a:lnTo>
                  <a:lnTo>
                    <a:pt x="191" y="1758"/>
                  </a:lnTo>
                  <a:lnTo>
                    <a:pt x="188" y="1756"/>
                  </a:lnTo>
                  <a:lnTo>
                    <a:pt x="188" y="1753"/>
                  </a:lnTo>
                  <a:lnTo>
                    <a:pt x="185" y="1747"/>
                  </a:lnTo>
                  <a:lnTo>
                    <a:pt x="175" y="1723"/>
                  </a:lnTo>
                  <a:lnTo>
                    <a:pt x="159" y="1710"/>
                  </a:lnTo>
                  <a:lnTo>
                    <a:pt x="176" y="1695"/>
                  </a:lnTo>
                  <a:lnTo>
                    <a:pt x="174" y="1691"/>
                  </a:lnTo>
                  <a:lnTo>
                    <a:pt x="158" y="1681"/>
                  </a:lnTo>
                  <a:lnTo>
                    <a:pt x="169" y="1693"/>
                  </a:lnTo>
                  <a:lnTo>
                    <a:pt x="166" y="1697"/>
                  </a:lnTo>
                  <a:lnTo>
                    <a:pt x="155" y="1695"/>
                  </a:lnTo>
                  <a:lnTo>
                    <a:pt x="152" y="1702"/>
                  </a:lnTo>
                  <a:lnTo>
                    <a:pt x="149" y="1699"/>
                  </a:lnTo>
                  <a:lnTo>
                    <a:pt x="122" y="1664"/>
                  </a:lnTo>
                  <a:lnTo>
                    <a:pt x="117" y="1653"/>
                  </a:lnTo>
                  <a:lnTo>
                    <a:pt x="104" y="1642"/>
                  </a:lnTo>
                  <a:lnTo>
                    <a:pt x="97" y="1636"/>
                  </a:lnTo>
                  <a:lnTo>
                    <a:pt x="101" y="1636"/>
                  </a:lnTo>
                  <a:lnTo>
                    <a:pt x="101" y="1630"/>
                  </a:lnTo>
                  <a:lnTo>
                    <a:pt x="101" y="1608"/>
                  </a:lnTo>
                  <a:lnTo>
                    <a:pt x="68" y="1609"/>
                  </a:lnTo>
                  <a:lnTo>
                    <a:pt x="56" y="1624"/>
                  </a:lnTo>
                  <a:lnTo>
                    <a:pt x="50" y="1621"/>
                  </a:lnTo>
                  <a:lnTo>
                    <a:pt x="35" y="1610"/>
                  </a:lnTo>
                  <a:lnTo>
                    <a:pt x="20" y="1621"/>
                  </a:lnTo>
                  <a:lnTo>
                    <a:pt x="0" y="1609"/>
                  </a:lnTo>
                  <a:lnTo>
                    <a:pt x="0" y="1573"/>
                  </a:lnTo>
                  <a:lnTo>
                    <a:pt x="0" y="1463"/>
                  </a:lnTo>
                  <a:lnTo>
                    <a:pt x="0" y="1356"/>
                  </a:lnTo>
                  <a:lnTo>
                    <a:pt x="0" y="1255"/>
                  </a:lnTo>
                  <a:lnTo>
                    <a:pt x="0" y="1146"/>
                  </a:lnTo>
                  <a:lnTo>
                    <a:pt x="0" y="1022"/>
                  </a:lnTo>
                  <a:lnTo>
                    <a:pt x="0" y="900"/>
                  </a:lnTo>
                  <a:lnTo>
                    <a:pt x="0" y="785"/>
                  </a:lnTo>
                  <a:lnTo>
                    <a:pt x="0" y="660"/>
                  </a:lnTo>
                  <a:lnTo>
                    <a:pt x="0" y="516"/>
                  </a:lnTo>
                  <a:lnTo>
                    <a:pt x="0" y="373"/>
                  </a:lnTo>
                  <a:lnTo>
                    <a:pt x="2" y="376"/>
                  </a:lnTo>
                  <a:lnTo>
                    <a:pt x="11" y="381"/>
                  </a:lnTo>
                  <a:lnTo>
                    <a:pt x="21" y="384"/>
                  </a:lnTo>
                  <a:lnTo>
                    <a:pt x="62" y="383"/>
                  </a:lnTo>
                  <a:lnTo>
                    <a:pt x="70" y="386"/>
                  </a:lnTo>
                  <a:lnTo>
                    <a:pt x="74" y="393"/>
                  </a:lnTo>
                  <a:lnTo>
                    <a:pt x="91" y="394"/>
                  </a:lnTo>
                  <a:lnTo>
                    <a:pt x="110" y="413"/>
                  </a:lnTo>
                  <a:lnTo>
                    <a:pt x="132" y="447"/>
                  </a:lnTo>
                  <a:lnTo>
                    <a:pt x="139" y="447"/>
                  </a:lnTo>
                  <a:lnTo>
                    <a:pt x="143" y="451"/>
                  </a:lnTo>
                  <a:lnTo>
                    <a:pt x="145" y="445"/>
                  </a:lnTo>
                  <a:lnTo>
                    <a:pt x="149" y="454"/>
                  </a:lnTo>
                  <a:lnTo>
                    <a:pt x="159" y="465"/>
                  </a:lnTo>
                  <a:lnTo>
                    <a:pt x="170" y="475"/>
                  </a:lnTo>
                  <a:lnTo>
                    <a:pt x="179" y="480"/>
                  </a:lnTo>
                  <a:lnTo>
                    <a:pt x="191" y="492"/>
                  </a:lnTo>
                  <a:lnTo>
                    <a:pt x="198" y="491"/>
                  </a:lnTo>
                  <a:lnTo>
                    <a:pt x="214" y="495"/>
                  </a:lnTo>
                  <a:lnTo>
                    <a:pt x="228" y="502"/>
                  </a:lnTo>
                  <a:lnTo>
                    <a:pt x="235" y="504"/>
                  </a:lnTo>
                  <a:lnTo>
                    <a:pt x="241" y="501"/>
                  </a:lnTo>
                  <a:lnTo>
                    <a:pt x="246" y="505"/>
                  </a:lnTo>
                  <a:lnTo>
                    <a:pt x="246" y="500"/>
                  </a:lnTo>
                  <a:lnTo>
                    <a:pt x="244" y="492"/>
                  </a:lnTo>
                  <a:lnTo>
                    <a:pt x="255" y="497"/>
                  </a:lnTo>
                  <a:lnTo>
                    <a:pt x="265" y="501"/>
                  </a:lnTo>
                  <a:lnTo>
                    <a:pt x="269" y="506"/>
                  </a:lnTo>
                  <a:lnTo>
                    <a:pt x="277" y="507"/>
                  </a:lnTo>
                  <a:lnTo>
                    <a:pt x="288" y="516"/>
                  </a:lnTo>
                  <a:lnTo>
                    <a:pt x="309" y="537"/>
                  </a:lnTo>
                  <a:lnTo>
                    <a:pt x="316" y="535"/>
                  </a:lnTo>
                  <a:lnTo>
                    <a:pt x="321" y="537"/>
                  </a:lnTo>
                  <a:lnTo>
                    <a:pt x="319" y="529"/>
                  </a:lnTo>
                  <a:lnTo>
                    <a:pt x="308" y="517"/>
                  </a:lnTo>
                  <a:lnTo>
                    <a:pt x="304" y="506"/>
                  </a:lnTo>
                  <a:lnTo>
                    <a:pt x="300" y="501"/>
                  </a:lnTo>
                  <a:lnTo>
                    <a:pt x="306" y="499"/>
                  </a:lnTo>
                  <a:lnTo>
                    <a:pt x="322" y="505"/>
                  </a:lnTo>
                  <a:lnTo>
                    <a:pt x="331" y="502"/>
                  </a:lnTo>
                  <a:lnTo>
                    <a:pt x="341" y="505"/>
                  </a:lnTo>
                  <a:lnTo>
                    <a:pt x="347" y="510"/>
                  </a:lnTo>
                  <a:lnTo>
                    <a:pt x="349" y="524"/>
                  </a:lnTo>
                  <a:lnTo>
                    <a:pt x="354" y="532"/>
                  </a:lnTo>
                  <a:lnTo>
                    <a:pt x="370" y="545"/>
                  </a:lnTo>
                  <a:lnTo>
                    <a:pt x="373" y="553"/>
                  </a:lnTo>
                  <a:lnTo>
                    <a:pt x="376" y="542"/>
                  </a:lnTo>
                  <a:lnTo>
                    <a:pt x="375" y="527"/>
                  </a:lnTo>
                  <a:lnTo>
                    <a:pt x="370" y="522"/>
                  </a:lnTo>
                  <a:lnTo>
                    <a:pt x="353" y="490"/>
                  </a:lnTo>
                  <a:lnTo>
                    <a:pt x="349" y="480"/>
                  </a:lnTo>
                  <a:lnTo>
                    <a:pt x="349" y="475"/>
                  </a:lnTo>
                  <a:lnTo>
                    <a:pt x="360" y="468"/>
                  </a:lnTo>
                  <a:lnTo>
                    <a:pt x="369" y="456"/>
                  </a:lnTo>
                  <a:lnTo>
                    <a:pt x="385" y="445"/>
                  </a:lnTo>
                  <a:lnTo>
                    <a:pt x="391" y="435"/>
                  </a:lnTo>
                  <a:lnTo>
                    <a:pt x="396" y="435"/>
                  </a:lnTo>
                  <a:lnTo>
                    <a:pt x="400" y="429"/>
                  </a:lnTo>
                  <a:lnTo>
                    <a:pt x="423" y="425"/>
                  </a:lnTo>
                  <a:lnTo>
                    <a:pt x="430" y="420"/>
                  </a:lnTo>
                  <a:lnTo>
                    <a:pt x="439" y="411"/>
                  </a:lnTo>
                  <a:lnTo>
                    <a:pt x="440" y="391"/>
                  </a:lnTo>
                  <a:lnTo>
                    <a:pt x="448" y="384"/>
                  </a:lnTo>
                  <a:lnTo>
                    <a:pt x="450" y="387"/>
                  </a:lnTo>
                  <a:lnTo>
                    <a:pt x="455" y="387"/>
                  </a:lnTo>
                  <a:lnTo>
                    <a:pt x="457" y="378"/>
                  </a:lnTo>
                  <a:lnTo>
                    <a:pt x="464" y="371"/>
                  </a:lnTo>
                  <a:lnTo>
                    <a:pt x="468" y="371"/>
                  </a:lnTo>
                  <a:lnTo>
                    <a:pt x="470" y="376"/>
                  </a:lnTo>
                  <a:lnTo>
                    <a:pt x="484" y="376"/>
                  </a:lnTo>
                  <a:lnTo>
                    <a:pt x="491" y="370"/>
                  </a:lnTo>
                  <a:lnTo>
                    <a:pt x="492" y="365"/>
                  </a:lnTo>
                  <a:lnTo>
                    <a:pt x="500" y="362"/>
                  </a:lnTo>
                  <a:lnTo>
                    <a:pt x="521" y="348"/>
                  </a:lnTo>
                  <a:lnTo>
                    <a:pt x="524" y="336"/>
                  </a:lnTo>
                  <a:lnTo>
                    <a:pt x="542" y="344"/>
                  </a:lnTo>
                  <a:lnTo>
                    <a:pt x="550" y="334"/>
                  </a:lnTo>
                  <a:lnTo>
                    <a:pt x="551" y="324"/>
                  </a:lnTo>
                  <a:lnTo>
                    <a:pt x="554" y="316"/>
                  </a:lnTo>
                  <a:lnTo>
                    <a:pt x="568" y="309"/>
                  </a:lnTo>
                  <a:lnTo>
                    <a:pt x="574" y="303"/>
                  </a:lnTo>
                  <a:lnTo>
                    <a:pt x="585" y="312"/>
                  </a:lnTo>
                  <a:lnTo>
                    <a:pt x="593" y="312"/>
                  </a:lnTo>
                  <a:lnTo>
                    <a:pt x="597" y="317"/>
                  </a:lnTo>
                  <a:lnTo>
                    <a:pt x="606" y="313"/>
                  </a:lnTo>
                  <a:lnTo>
                    <a:pt x="612" y="302"/>
                  </a:lnTo>
                  <a:lnTo>
                    <a:pt x="613" y="295"/>
                  </a:lnTo>
                  <a:lnTo>
                    <a:pt x="621" y="290"/>
                  </a:lnTo>
                  <a:lnTo>
                    <a:pt x="623" y="297"/>
                  </a:lnTo>
                  <a:lnTo>
                    <a:pt x="629" y="305"/>
                  </a:lnTo>
                  <a:lnTo>
                    <a:pt x="633" y="318"/>
                  </a:lnTo>
                  <a:lnTo>
                    <a:pt x="629" y="321"/>
                  </a:lnTo>
                  <a:lnTo>
                    <a:pt x="622" y="332"/>
                  </a:lnTo>
                  <a:lnTo>
                    <a:pt x="583" y="360"/>
                  </a:lnTo>
                  <a:lnTo>
                    <a:pt x="574" y="372"/>
                  </a:lnTo>
                  <a:lnTo>
                    <a:pt x="564" y="378"/>
                  </a:lnTo>
                  <a:lnTo>
                    <a:pt x="548" y="398"/>
                  </a:lnTo>
                  <a:lnTo>
                    <a:pt x="534" y="392"/>
                  </a:lnTo>
                  <a:lnTo>
                    <a:pt x="499" y="404"/>
                  </a:lnTo>
                  <a:lnTo>
                    <a:pt x="488" y="414"/>
                  </a:lnTo>
                  <a:lnTo>
                    <a:pt x="484" y="424"/>
                  </a:lnTo>
                  <a:lnTo>
                    <a:pt x="492" y="421"/>
                  </a:lnTo>
                  <a:lnTo>
                    <a:pt x="476" y="435"/>
                  </a:lnTo>
                  <a:lnTo>
                    <a:pt x="473" y="443"/>
                  </a:lnTo>
                  <a:lnTo>
                    <a:pt x="468" y="441"/>
                  </a:lnTo>
                  <a:lnTo>
                    <a:pt x="464" y="451"/>
                  </a:lnTo>
                  <a:lnTo>
                    <a:pt x="460" y="461"/>
                  </a:lnTo>
                  <a:lnTo>
                    <a:pt x="459" y="452"/>
                  </a:lnTo>
                  <a:lnTo>
                    <a:pt x="454" y="449"/>
                  </a:lnTo>
                  <a:lnTo>
                    <a:pt x="441" y="469"/>
                  </a:lnTo>
                  <a:lnTo>
                    <a:pt x="441" y="478"/>
                  </a:lnTo>
                  <a:lnTo>
                    <a:pt x="449" y="477"/>
                  </a:lnTo>
                  <a:lnTo>
                    <a:pt x="459" y="467"/>
                  </a:lnTo>
                  <a:lnTo>
                    <a:pt x="483" y="458"/>
                  </a:lnTo>
                  <a:lnTo>
                    <a:pt x="504" y="435"/>
                  </a:lnTo>
                  <a:lnTo>
                    <a:pt x="505" y="431"/>
                  </a:lnTo>
                  <a:lnTo>
                    <a:pt x="502" y="426"/>
                  </a:lnTo>
                  <a:lnTo>
                    <a:pt x="504" y="424"/>
                  </a:lnTo>
                  <a:lnTo>
                    <a:pt x="513" y="418"/>
                  </a:lnTo>
                  <a:lnTo>
                    <a:pt x="518" y="420"/>
                  </a:lnTo>
                  <a:lnTo>
                    <a:pt x="516" y="434"/>
                  </a:lnTo>
                  <a:lnTo>
                    <a:pt x="524" y="421"/>
                  </a:lnTo>
                  <a:lnTo>
                    <a:pt x="526" y="432"/>
                  </a:lnTo>
                  <a:lnTo>
                    <a:pt x="535" y="415"/>
                  </a:lnTo>
                  <a:lnTo>
                    <a:pt x="543" y="411"/>
                  </a:lnTo>
                  <a:lnTo>
                    <a:pt x="550" y="418"/>
                  </a:lnTo>
                  <a:lnTo>
                    <a:pt x="548" y="432"/>
                  </a:lnTo>
                  <a:lnTo>
                    <a:pt x="546" y="454"/>
                  </a:lnTo>
                  <a:lnTo>
                    <a:pt x="564" y="418"/>
                  </a:lnTo>
                  <a:lnTo>
                    <a:pt x="581" y="389"/>
                  </a:lnTo>
                  <a:lnTo>
                    <a:pt x="583" y="378"/>
                  </a:lnTo>
                  <a:lnTo>
                    <a:pt x="596" y="376"/>
                  </a:lnTo>
                  <a:lnTo>
                    <a:pt x="607" y="371"/>
                  </a:lnTo>
                  <a:lnTo>
                    <a:pt x="617" y="360"/>
                  </a:lnTo>
                  <a:lnTo>
                    <a:pt x="645" y="351"/>
                  </a:lnTo>
                  <a:lnTo>
                    <a:pt x="663" y="334"/>
                  </a:lnTo>
                  <a:lnTo>
                    <a:pt x="660" y="354"/>
                  </a:lnTo>
                  <a:lnTo>
                    <a:pt x="656" y="352"/>
                  </a:lnTo>
                  <a:lnTo>
                    <a:pt x="650" y="366"/>
                  </a:lnTo>
                  <a:lnTo>
                    <a:pt x="649" y="376"/>
                  </a:lnTo>
                  <a:lnTo>
                    <a:pt x="672" y="361"/>
                  </a:lnTo>
                  <a:lnTo>
                    <a:pt x="681" y="348"/>
                  </a:lnTo>
                  <a:lnTo>
                    <a:pt x="692" y="336"/>
                  </a:lnTo>
                  <a:lnTo>
                    <a:pt x="697" y="324"/>
                  </a:lnTo>
                  <a:lnTo>
                    <a:pt x="693" y="316"/>
                  </a:lnTo>
                  <a:lnTo>
                    <a:pt x="698" y="309"/>
                  </a:lnTo>
                  <a:lnTo>
                    <a:pt x="725" y="298"/>
                  </a:lnTo>
                  <a:lnTo>
                    <a:pt x="731" y="292"/>
                  </a:lnTo>
                  <a:lnTo>
                    <a:pt x="715" y="287"/>
                  </a:lnTo>
                  <a:lnTo>
                    <a:pt x="709" y="281"/>
                  </a:lnTo>
                  <a:lnTo>
                    <a:pt x="710" y="276"/>
                  </a:lnTo>
                  <a:lnTo>
                    <a:pt x="712" y="266"/>
                  </a:lnTo>
                  <a:lnTo>
                    <a:pt x="709" y="262"/>
                  </a:lnTo>
                  <a:lnTo>
                    <a:pt x="699" y="265"/>
                  </a:lnTo>
                  <a:lnTo>
                    <a:pt x="701" y="255"/>
                  </a:lnTo>
                  <a:lnTo>
                    <a:pt x="706" y="247"/>
                  </a:lnTo>
                  <a:lnTo>
                    <a:pt x="709" y="242"/>
                  </a:lnTo>
                  <a:lnTo>
                    <a:pt x="722" y="247"/>
                  </a:lnTo>
                  <a:lnTo>
                    <a:pt x="751" y="281"/>
                  </a:lnTo>
                  <a:lnTo>
                    <a:pt x="757" y="295"/>
                  </a:lnTo>
                  <a:lnTo>
                    <a:pt x="761" y="323"/>
                  </a:lnTo>
                  <a:lnTo>
                    <a:pt x="768" y="335"/>
                  </a:lnTo>
                  <a:lnTo>
                    <a:pt x="780" y="376"/>
                  </a:lnTo>
                  <a:lnTo>
                    <a:pt x="787" y="389"/>
                  </a:lnTo>
                  <a:lnTo>
                    <a:pt x="796" y="394"/>
                  </a:lnTo>
                  <a:lnTo>
                    <a:pt x="803" y="410"/>
                  </a:lnTo>
                  <a:lnTo>
                    <a:pt x="805" y="409"/>
                  </a:lnTo>
                  <a:lnTo>
                    <a:pt x="821" y="425"/>
                  </a:lnTo>
                  <a:lnTo>
                    <a:pt x="831" y="429"/>
                  </a:lnTo>
                  <a:lnTo>
                    <a:pt x="853" y="430"/>
                  </a:lnTo>
                  <a:lnTo>
                    <a:pt x="853" y="426"/>
                  </a:lnTo>
                  <a:lnTo>
                    <a:pt x="855" y="424"/>
                  </a:lnTo>
                  <a:lnTo>
                    <a:pt x="866" y="424"/>
                  </a:lnTo>
                  <a:lnTo>
                    <a:pt x="866" y="418"/>
                  </a:lnTo>
                  <a:lnTo>
                    <a:pt x="858" y="414"/>
                  </a:lnTo>
                  <a:lnTo>
                    <a:pt x="841" y="420"/>
                  </a:lnTo>
                  <a:lnTo>
                    <a:pt x="844" y="409"/>
                  </a:lnTo>
                  <a:lnTo>
                    <a:pt x="859" y="408"/>
                  </a:lnTo>
                  <a:lnTo>
                    <a:pt x="868" y="403"/>
                  </a:lnTo>
                  <a:lnTo>
                    <a:pt x="863" y="403"/>
                  </a:lnTo>
                  <a:lnTo>
                    <a:pt x="852" y="387"/>
                  </a:lnTo>
                  <a:lnTo>
                    <a:pt x="858" y="381"/>
                  </a:lnTo>
                  <a:lnTo>
                    <a:pt x="871" y="376"/>
                  </a:lnTo>
                  <a:lnTo>
                    <a:pt x="871" y="368"/>
                  </a:lnTo>
                  <a:lnTo>
                    <a:pt x="863" y="366"/>
                  </a:lnTo>
                  <a:lnTo>
                    <a:pt x="863" y="354"/>
                  </a:lnTo>
                  <a:lnTo>
                    <a:pt x="866" y="362"/>
                  </a:lnTo>
                  <a:lnTo>
                    <a:pt x="884" y="341"/>
                  </a:lnTo>
                  <a:lnTo>
                    <a:pt x="887" y="330"/>
                  </a:lnTo>
                  <a:lnTo>
                    <a:pt x="884" y="328"/>
                  </a:lnTo>
                  <a:lnTo>
                    <a:pt x="876" y="333"/>
                  </a:lnTo>
                  <a:lnTo>
                    <a:pt x="873" y="341"/>
                  </a:lnTo>
                  <a:lnTo>
                    <a:pt x="869" y="338"/>
                  </a:lnTo>
                  <a:lnTo>
                    <a:pt x="868" y="328"/>
                  </a:lnTo>
                  <a:lnTo>
                    <a:pt x="871" y="321"/>
                  </a:lnTo>
                  <a:lnTo>
                    <a:pt x="878" y="324"/>
                  </a:lnTo>
                  <a:lnTo>
                    <a:pt x="887" y="322"/>
                  </a:lnTo>
                  <a:lnTo>
                    <a:pt x="892" y="324"/>
                  </a:lnTo>
                  <a:lnTo>
                    <a:pt x="895" y="335"/>
                  </a:lnTo>
                  <a:lnTo>
                    <a:pt x="900" y="325"/>
                  </a:lnTo>
                  <a:lnTo>
                    <a:pt x="907" y="324"/>
                  </a:lnTo>
                  <a:lnTo>
                    <a:pt x="906" y="318"/>
                  </a:lnTo>
                  <a:lnTo>
                    <a:pt x="898" y="316"/>
                  </a:lnTo>
                  <a:lnTo>
                    <a:pt x="893" y="311"/>
                  </a:lnTo>
                  <a:lnTo>
                    <a:pt x="908" y="308"/>
                  </a:lnTo>
                  <a:lnTo>
                    <a:pt x="908" y="313"/>
                  </a:lnTo>
                  <a:lnTo>
                    <a:pt x="912" y="321"/>
                  </a:lnTo>
                  <a:lnTo>
                    <a:pt x="909" y="335"/>
                  </a:lnTo>
                  <a:lnTo>
                    <a:pt x="908" y="359"/>
                  </a:lnTo>
                  <a:lnTo>
                    <a:pt x="906" y="366"/>
                  </a:lnTo>
                  <a:lnTo>
                    <a:pt x="907" y="373"/>
                  </a:lnTo>
                  <a:lnTo>
                    <a:pt x="912" y="378"/>
                  </a:lnTo>
                  <a:lnTo>
                    <a:pt x="919" y="372"/>
                  </a:lnTo>
                  <a:lnTo>
                    <a:pt x="930" y="376"/>
                  </a:lnTo>
                  <a:lnTo>
                    <a:pt x="912" y="409"/>
                  </a:lnTo>
                  <a:lnTo>
                    <a:pt x="907" y="424"/>
                  </a:lnTo>
                  <a:lnTo>
                    <a:pt x="906" y="413"/>
                  </a:lnTo>
                  <a:lnTo>
                    <a:pt x="903" y="424"/>
                  </a:lnTo>
                  <a:lnTo>
                    <a:pt x="903" y="430"/>
                  </a:lnTo>
                  <a:lnTo>
                    <a:pt x="925" y="432"/>
                  </a:lnTo>
                  <a:lnTo>
                    <a:pt x="933" y="425"/>
                  </a:lnTo>
                  <a:lnTo>
                    <a:pt x="938" y="429"/>
                  </a:lnTo>
                  <a:lnTo>
                    <a:pt x="954" y="430"/>
                  </a:lnTo>
                  <a:lnTo>
                    <a:pt x="962" y="424"/>
                  </a:lnTo>
                  <a:lnTo>
                    <a:pt x="965" y="414"/>
                  </a:lnTo>
                  <a:lnTo>
                    <a:pt x="975" y="405"/>
                  </a:lnTo>
                  <a:lnTo>
                    <a:pt x="976" y="394"/>
                  </a:lnTo>
                  <a:lnTo>
                    <a:pt x="981" y="378"/>
                  </a:lnTo>
                  <a:lnTo>
                    <a:pt x="982" y="360"/>
                  </a:lnTo>
                  <a:lnTo>
                    <a:pt x="991" y="360"/>
                  </a:lnTo>
                  <a:lnTo>
                    <a:pt x="1005" y="354"/>
                  </a:lnTo>
                  <a:lnTo>
                    <a:pt x="1016" y="360"/>
                  </a:lnTo>
                  <a:lnTo>
                    <a:pt x="1025" y="359"/>
                  </a:lnTo>
                  <a:lnTo>
                    <a:pt x="1032" y="360"/>
                  </a:lnTo>
                  <a:lnTo>
                    <a:pt x="1032" y="362"/>
                  </a:lnTo>
                  <a:lnTo>
                    <a:pt x="1054" y="360"/>
                  </a:lnTo>
                  <a:lnTo>
                    <a:pt x="1077" y="367"/>
                  </a:lnTo>
                  <a:lnTo>
                    <a:pt x="1107" y="392"/>
                  </a:lnTo>
                  <a:lnTo>
                    <a:pt x="1127" y="418"/>
                  </a:lnTo>
                  <a:lnTo>
                    <a:pt x="1145" y="429"/>
                  </a:lnTo>
                  <a:lnTo>
                    <a:pt x="1166" y="431"/>
                  </a:lnTo>
                  <a:lnTo>
                    <a:pt x="1175" y="438"/>
                  </a:lnTo>
                  <a:lnTo>
                    <a:pt x="1187" y="438"/>
                  </a:lnTo>
                  <a:lnTo>
                    <a:pt x="1207" y="447"/>
                  </a:lnTo>
                  <a:lnTo>
                    <a:pt x="1214" y="446"/>
                  </a:lnTo>
                  <a:lnTo>
                    <a:pt x="1224" y="449"/>
                  </a:lnTo>
                  <a:lnTo>
                    <a:pt x="1229" y="461"/>
                  </a:lnTo>
                  <a:lnTo>
                    <a:pt x="1244" y="470"/>
                  </a:lnTo>
                  <a:lnTo>
                    <a:pt x="1256" y="475"/>
                  </a:lnTo>
                  <a:lnTo>
                    <a:pt x="1282" y="491"/>
                  </a:lnTo>
                  <a:lnTo>
                    <a:pt x="1300" y="492"/>
                  </a:lnTo>
                  <a:lnTo>
                    <a:pt x="1307" y="497"/>
                  </a:lnTo>
                  <a:lnTo>
                    <a:pt x="1319" y="500"/>
                  </a:lnTo>
                  <a:lnTo>
                    <a:pt x="1317" y="496"/>
                  </a:lnTo>
                  <a:lnTo>
                    <a:pt x="1348" y="501"/>
                  </a:lnTo>
                  <a:lnTo>
                    <a:pt x="1360" y="500"/>
                  </a:lnTo>
                  <a:lnTo>
                    <a:pt x="1371" y="513"/>
                  </a:lnTo>
                  <a:lnTo>
                    <a:pt x="1374" y="504"/>
                  </a:lnTo>
                  <a:lnTo>
                    <a:pt x="1357" y="488"/>
                  </a:lnTo>
                  <a:lnTo>
                    <a:pt x="1369" y="485"/>
                  </a:lnTo>
                  <a:lnTo>
                    <a:pt x="1375" y="490"/>
                  </a:lnTo>
                  <a:lnTo>
                    <a:pt x="1386" y="491"/>
                  </a:lnTo>
                  <a:lnTo>
                    <a:pt x="1386" y="485"/>
                  </a:lnTo>
                  <a:lnTo>
                    <a:pt x="1413" y="491"/>
                  </a:lnTo>
                  <a:lnTo>
                    <a:pt x="1407" y="496"/>
                  </a:lnTo>
                  <a:lnTo>
                    <a:pt x="1423" y="505"/>
                  </a:lnTo>
                  <a:lnTo>
                    <a:pt x="1424" y="513"/>
                  </a:lnTo>
                  <a:lnTo>
                    <a:pt x="1434" y="508"/>
                  </a:lnTo>
                  <a:lnTo>
                    <a:pt x="1434" y="517"/>
                  </a:lnTo>
                  <a:lnTo>
                    <a:pt x="1451" y="528"/>
                  </a:lnTo>
                  <a:lnTo>
                    <a:pt x="1463" y="547"/>
                  </a:lnTo>
                  <a:lnTo>
                    <a:pt x="1470" y="553"/>
                  </a:lnTo>
                  <a:lnTo>
                    <a:pt x="1470" y="575"/>
                  </a:lnTo>
                  <a:lnTo>
                    <a:pt x="1478" y="564"/>
                  </a:lnTo>
                  <a:lnTo>
                    <a:pt x="1478" y="576"/>
                  </a:lnTo>
                  <a:lnTo>
                    <a:pt x="1475" y="585"/>
                  </a:lnTo>
                  <a:lnTo>
                    <a:pt x="1479" y="591"/>
                  </a:lnTo>
                  <a:lnTo>
                    <a:pt x="1470" y="590"/>
                  </a:lnTo>
                  <a:lnTo>
                    <a:pt x="1467" y="597"/>
                  </a:lnTo>
                  <a:lnTo>
                    <a:pt x="1461" y="599"/>
                  </a:lnTo>
                  <a:lnTo>
                    <a:pt x="1456" y="590"/>
                  </a:lnTo>
                  <a:lnTo>
                    <a:pt x="1443" y="594"/>
                  </a:lnTo>
                  <a:lnTo>
                    <a:pt x="1424" y="591"/>
                  </a:lnTo>
                  <a:lnTo>
                    <a:pt x="1436" y="597"/>
                  </a:lnTo>
                  <a:lnTo>
                    <a:pt x="1429" y="607"/>
                  </a:lnTo>
                  <a:lnTo>
                    <a:pt x="1409" y="603"/>
                  </a:lnTo>
                  <a:lnTo>
                    <a:pt x="1413" y="609"/>
                  </a:lnTo>
                  <a:lnTo>
                    <a:pt x="1409" y="615"/>
                  </a:lnTo>
                  <a:lnTo>
                    <a:pt x="1409" y="630"/>
                  </a:lnTo>
                  <a:lnTo>
                    <a:pt x="1393" y="639"/>
                  </a:lnTo>
                  <a:lnTo>
                    <a:pt x="1400" y="645"/>
                  </a:lnTo>
                  <a:lnTo>
                    <a:pt x="1405" y="646"/>
                  </a:lnTo>
                  <a:lnTo>
                    <a:pt x="1412" y="644"/>
                  </a:lnTo>
                  <a:lnTo>
                    <a:pt x="1406" y="650"/>
                  </a:lnTo>
                  <a:lnTo>
                    <a:pt x="1420" y="655"/>
                  </a:lnTo>
                  <a:lnTo>
                    <a:pt x="1441" y="667"/>
                  </a:lnTo>
                  <a:lnTo>
                    <a:pt x="1445" y="658"/>
                  </a:lnTo>
                  <a:lnTo>
                    <a:pt x="1454" y="662"/>
                  </a:lnTo>
                  <a:lnTo>
                    <a:pt x="1459" y="668"/>
                  </a:lnTo>
                  <a:lnTo>
                    <a:pt x="1470" y="667"/>
                  </a:lnTo>
                  <a:lnTo>
                    <a:pt x="1482" y="671"/>
                  </a:lnTo>
                  <a:lnTo>
                    <a:pt x="1503" y="669"/>
                  </a:lnTo>
                  <a:lnTo>
                    <a:pt x="1516" y="674"/>
                  </a:lnTo>
                  <a:lnTo>
                    <a:pt x="1535" y="669"/>
                  </a:lnTo>
                  <a:lnTo>
                    <a:pt x="1533" y="673"/>
                  </a:lnTo>
                  <a:lnTo>
                    <a:pt x="1546" y="675"/>
                  </a:lnTo>
                  <a:lnTo>
                    <a:pt x="1570" y="674"/>
                  </a:lnTo>
                  <a:lnTo>
                    <a:pt x="1573" y="667"/>
                  </a:lnTo>
                  <a:lnTo>
                    <a:pt x="1591" y="667"/>
                  </a:lnTo>
                  <a:lnTo>
                    <a:pt x="1588" y="674"/>
                  </a:lnTo>
                  <a:lnTo>
                    <a:pt x="1599" y="674"/>
                  </a:lnTo>
                  <a:lnTo>
                    <a:pt x="1592" y="669"/>
                  </a:lnTo>
                  <a:lnTo>
                    <a:pt x="1601" y="662"/>
                  </a:lnTo>
                  <a:lnTo>
                    <a:pt x="1604" y="669"/>
                  </a:lnTo>
                  <a:lnTo>
                    <a:pt x="1615" y="671"/>
                  </a:lnTo>
                  <a:lnTo>
                    <a:pt x="1616" y="667"/>
                  </a:lnTo>
                  <a:lnTo>
                    <a:pt x="1623" y="668"/>
                  </a:lnTo>
                  <a:lnTo>
                    <a:pt x="1628" y="651"/>
                  </a:lnTo>
                  <a:lnTo>
                    <a:pt x="1639" y="648"/>
                  </a:lnTo>
                  <a:lnTo>
                    <a:pt x="1637" y="667"/>
                  </a:lnTo>
                  <a:lnTo>
                    <a:pt x="1648" y="667"/>
                  </a:lnTo>
                  <a:lnTo>
                    <a:pt x="1655" y="662"/>
                  </a:lnTo>
                  <a:lnTo>
                    <a:pt x="1667" y="644"/>
                  </a:lnTo>
                  <a:lnTo>
                    <a:pt x="1678" y="636"/>
                  </a:lnTo>
                  <a:lnTo>
                    <a:pt x="1691" y="636"/>
                  </a:lnTo>
                  <a:lnTo>
                    <a:pt x="1696" y="626"/>
                  </a:lnTo>
                  <a:lnTo>
                    <a:pt x="1703" y="639"/>
                  </a:lnTo>
                  <a:lnTo>
                    <a:pt x="1701" y="646"/>
                  </a:lnTo>
                  <a:lnTo>
                    <a:pt x="1707" y="650"/>
                  </a:lnTo>
                  <a:lnTo>
                    <a:pt x="1709" y="645"/>
                  </a:lnTo>
                  <a:lnTo>
                    <a:pt x="1713" y="655"/>
                  </a:lnTo>
                  <a:lnTo>
                    <a:pt x="1715" y="658"/>
                  </a:lnTo>
                  <a:lnTo>
                    <a:pt x="1715" y="667"/>
                  </a:lnTo>
                  <a:lnTo>
                    <a:pt x="1713" y="667"/>
                  </a:lnTo>
                  <a:lnTo>
                    <a:pt x="1730" y="673"/>
                  </a:lnTo>
                  <a:lnTo>
                    <a:pt x="1729" y="667"/>
                  </a:lnTo>
                  <a:lnTo>
                    <a:pt x="1757" y="667"/>
                  </a:lnTo>
                  <a:lnTo>
                    <a:pt x="1755" y="675"/>
                  </a:lnTo>
                  <a:lnTo>
                    <a:pt x="1757" y="682"/>
                  </a:lnTo>
                  <a:lnTo>
                    <a:pt x="1755" y="687"/>
                  </a:lnTo>
                  <a:lnTo>
                    <a:pt x="1760" y="695"/>
                  </a:lnTo>
                  <a:lnTo>
                    <a:pt x="1757" y="707"/>
                  </a:lnTo>
                  <a:lnTo>
                    <a:pt x="1763" y="715"/>
                  </a:lnTo>
                  <a:lnTo>
                    <a:pt x="1763" y="709"/>
                  </a:lnTo>
                  <a:lnTo>
                    <a:pt x="1764" y="714"/>
                  </a:lnTo>
                  <a:lnTo>
                    <a:pt x="1769" y="701"/>
                  </a:lnTo>
                  <a:lnTo>
                    <a:pt x="1771" y="683"/>
                  </a:lnTo>
                  <a:lnTo>
                    <a:pt x="1776" y="685"/>
                  </a:lnTo>
                  <a:lnTo>
                    <a:pt x="1776" y="695"/>
                  </a:lnTo>
                  <a:lnTo>
                    <a:pt x="1779" y="695"/>
                  </a:lnTo>
                  <a:lnTo>
                    <a:pt x="1777" y="705"/>
                  </a:lnTo>
                  <a:lnTo>
                    <a:pt x="1777" y="715"/>
                  </a:lnTo>
                  <a:lnTo>
                    <a:pt x="1784" y="718"/>
                  </a:lnTo>
                  <a:lnTo>
                    <a:pt x="1789" y="711"/>
                  </a:lnTo>
                  <a:lnTo>
                    <a:pt x="1796" y="727"/>
                  </a:lnTo>
                  <a:lnTo>
                    <a:pt x="1806" y="727"/>
                  </a:lnTo>
                  <a:lnTo>
                    <a:pt x="1810" y="737"/>
                  </a:lnTo>
                  <a:lnTo>
                    <a:pt x="1817" y="755"/>
                  </a:lnTo>
                  <a:lnTo>
                    <a:pt x="1809" y="764"/>
                  </a:lnTo>
                  <a:lnTo>
                    <a:pt x="1801" y="761"/>
                  </a:lnTo>
                  <a:lnTo>
                    <a:pt x="1791" y="768"/>
                  </a:lnTo>
                  <a:lnTo>
                    <a:pt x="1788" y="764"/>
                  </a:lnTo>
                  <a:lnTo>
                    <a:pt x="1790" y="774"/>
                  </a:lnTo>
                  <a:lnTo>
                    <a:pt x="1801" y="790"/>
                  </a:lnTo>
                  <a:lnTo>
                    <a:pt x="1812" y="804"/>
                  </a:lnTo>
                  <a:lnTo>
                    <a:pt x="1820" y="808"/>
                  </a:lnTo>
                  <a:lnTo>
                    <a:pt x="1821" y="788"/>
                  </a:lnTo>
                  <a:lnTo>
                    <a:pt x="1826" y="787"/>
                  </a:lnTo>
                  <a:lnTo>
                    <a:pt x="1834" y="793"/>
                  </a:lnTo>
                  <a:lnTo>
                    <a:pt x="1843" y="782"/>
                  </a:lnTo>
                  <a:lnTo>
                    <a:pt x="1852" y="785"/>
                  </a:lnTo>
                  <a:lnTo>
                    <a:pt x="1841" y="765"/>
                  </a:lnTo>
                  <a:lnTo>
                    <a:pt x="1850" y="758"/>
                  </a:lnTo>
                  <a:lnTo>
                    <a:pt x="1849" y="755"/>
                  </a:lnTo>
                  <a:lnTo>
                    <a:pt x="1841" y="755"/>
                  </a:lnTo>
                  <a:lnTo>
                    <a:pt x="1834" y="743"/>
                  </a:lnTo>
                  <a:lnTo>
                    <a:pt x="1831" y="727"/>
                  </a:lnTo>
                  <a:lnTo>
                    <a:pt x="1822" y="716"/>
                  </a:lnTo>
                  <a:lnTo>
                    <a:pt x="1827" y="712"/>
                  </a:lnTo>
                  <a:lnTo>
                    <a:pt x="1827" y="695"/>
                  </a:lnTo>
                  <a:lnTo>
                    <a:pt x="1822" y="690"/>
                  </a:lnTo>
                  <a:lnTo>
                    <a:pt x="1822" y="683"/>
                  </a:lnTo>
                  <a:lnTo>
                    <a:pt x="1809" y="675"/>
                  </a:lnTo>
                  <a:lnTo>
                    <a:pt x="1804" y="667"/>
                  </a:lnTo>
                  <a:lnTo>
                    <a:pt x="1812" y="650"/>
                  </a:lnTo>
                  <a:lnTo>
                    <a:pt x="1818" y="651"/>
                  </a:lnTo>
                  <a:lnTo>
                    <a:pt x="1821" y="644"/>
                  </a:lnTo>
                  <a:lnTo>
                    <a:pt x="1827" y="640"/>
                  </a:lnTo>
                  <a:lnTo>
                    <a:pt x="1820" y="637"/>
                  </a:lnTo>
                  <a:lnTo>
                    <a:pt x="1826" y="623"/>
                  </a:lnTo>
                  <a:lnTo>
                    <a:pt x="1839" y="623"/>
                  </a:lnTo>
                  <a:lnTo>
                    <a:pt x="1852" y="614"/>
                  </a:lnTo>
                  <a:lnTo>
                    <a:pt x="1853" y="609"/>
                  </a:lnTo>
                  <a:lnTo>
                    <a:pt x="1853" y="615"/>
                  </a:lnTo>
                  <a:lnTo>
                    <a:pt x="1876" y="613"/>
                  </a:lnTo>
                  <a:lnTo>
                    <a:pt x="1875" y="601"/>
                  </a:lnTo>
                  <a:lnTo>
                    <a:pt x="1884" y="597"/>
                  </a:lnTo>
                  <a:lnTo>
                    <a:pt x="1895" y="599"/>
                  </a:lnTo>
                  <a:lnTo>
                    <a:pt x="1893" y="582"/>
                  </a:lnTo>
                  <a:lnTo>
                    <a:pt x="1897" y="578"/>
                  </a:lnTo>
                  <a:lnTo>
                    <a:pt x="1901" y="591"/>
                  </a:lnTo>
                  <a:lnTo>
                    <a:pt x="1907" y="575"/>
                  </a:lnTo>
                  <a:lnTo>
                    <a:pt x="1912" y="569"/>
                  </a:lnTo>
                  <a:lnTo>
                    <a:pt x="1909" y="559"/>
                  </a:lnTo>
                  <a:lnTo>
                    <a:pt x="1924" y="553"/>
                  </a:lnTo>
                  <a:lnTo>
                    <a:pt x="1918" y="550"/>
                  </a:lnTo>
                  <a:lnTo>
                    <a:pt x="1925" y="542"/>
                  </a:lnTo>
                  <a:lnTo>
                    <a:pt x="1925" y="533"/>
                  </a:lnTo>
                  <a:lnTo>
                    <a:pt x="1918" y="537"/>
                  </a:lnTo>
                  <a:lnTo>
                    <a:pt x="1916" y="533"/>
                  </a:lnTo>
                  <a:lnTo>
                    <a:pt x="1884" y="545"/>
                  </a:lnTo>
                  <a:lnTo>
                    <a:pt x="1891" y="555"/>
                  </a:lnTo>
                  <a:lnTo>
                    <a:pt x="1875" y="558"/>
                  </a:lnTo>
                  <a:lnTo>
                    <a:pt x="1882" y="575"/>
                  </a:lnTo>
                  <a:lnTo>
                    <a:pt x="1884" y="566"/>
                  </a:lnTo>
                  <a:lnTo>
                    <a:pt x="1884" y="585"/>
                  </a:lnTo>
                  <a:lnTo>
                    <a:pt x="1881" y="590"/>
                  </a:lnTo>
                  <a:lnTo>
                    <a:pt x="1877" y="583"/>
                  </a:lnTo>
                  <a:lnTo>
                    <a:pt x="1880" y="578"/>
                  </a:lnTo>
                  <a:lnTo>
                    <a:pt x="1875" y="581"/>
                  </a:lnTo>
                  <a:lnTo>
                    <a:pt x="1874" y="575"/>
                  </a:lnTo>
                  <a:lnTo>
                    <a:pt x="1863" y="575"/>
                  </a:lnTo>
                  <a:lnTo>
                    <a:pt x="1858" y="577"/>
                  </a:lnTo>
                  <a:lnTo>
                    <a:pt x="1852" y="588"/>
                  </a:lnTo>
                  <a:lnTo>
                    <a:pt x="1849" y="582"/>
                  </a:lnTo>
                  <a:lnTo>
                    <a:pt x="1834" y="581"/>
                  </a:lnTo>
                  <a:lnTo>
                    <a:pt x="1832" y="576"/>
                  </a:lnTo>
                  <a:lnTo>
                    <a:pt x="1818" y="581"/>
                  </a:lnTo>
                  <a:lnTo>
                    <a:pt x="1812" y="587"/>
                  </a:lnTo>
                  <a:lnTo>
                    <a:pt x="1815" y="594"/>
                  </a:lnTo>
                  <a:lnTo>
                    <a:pt x="1822" y="596"/>
                  </a:lnTo>
                  <a:lnTo>
                    <a:pt x="1822" y="601"/>
                  </a:lnTo>
                  <a:lnTo>
                    <a:pt x="1827" y="603"/>
                  </a:lnTo>
                  <a:lnTo>
                    <a:pt x="1817" y="605"/>
                  </a:lnTo>
                  <a:lnTo>
                    <a:pt x="1809" y="612"/>
                  </a:lnTo>
                  <a:lnTo>
                    <a:pt x="1804" y="609"/>
                  </a:lnTo>
                  <a:lnTo>
                    <a:pt x="1810" y="605"/>
                  </a:lnTo>
                  <a:lnTo>
                    <a:pt x="1791" y="608"/>
                  </a:lnTo>
                  <a:lnTo>
                    <a:pt x="1791" y="602"/>
                  </a:lnTo>
                  <a:lnTo>
                    <a:pt x="1783" y="605"/>
                  </a:lnTo>
                  <a:lnTo>
                    <a:pt x="1785" y="597"/>
                  </a:lnTo>
                  <a:lnTo>
                    <a:pt x="1777" y="597"/>
                  </a:lnTo>
                  <a:lnTo>
                    <a:pt x="1779" y="590"/>
                  </a:lnTo>
                  <a:lnTo>
                    <a:pt x="1766" y="594"/>
                  </a:lnTo>
                  <a:lnTo>
                    <a:pt x="1763" y="590"/>
                  </a:lnTo>
                  <a:lnTo>
                    <a:pt x="1764" y="578"/>
                  </a:lnTo>
                  <a:lnTo>
                    <a:pt x="1776" y="564"/>
                  </a:lnTo>
                  <a:lnTo>
                    <a:pt x="1776" y="558"/>
                  </a:lnTo>
                  <a:lnTo>
                    <a:pt x="1783" y="542"/>
                  </a:lnTo>
                  <a:lnTo>
                    <a:pt x="1790" y="537"/>
                  </a:lnTo>
                  <a:lnTo>
                    <a:pt x="1822" y="533"/>
                  </a:lnTo>
                  <a:lnTo>
                    <a:pt x="1846" y="521"/>
                  </a:lnTo>
                  <a:lnTo>
                    <a:pt x="1861" y="516"/>
                  </a:lnTo>
                  <a:lnTo>
                    <a:pt x="1868" y="506"/>
                  </a:lnTo>
                  <a:lnTo>
                    <a:pt x="1882" y="501"/>
                  </a:lnTo>
                  <a:lnTo>
                    <a:pt x="1884" y="492"/>
                  </a:lnTo>
                  <a:lnTo>
                    <a:pt x="1897" y="496"/>
                  </a:lnTo>
                  <a:lnTo>
                    <a:pt x="1907" y="486"/>
                  </a:lnTo>
                  <a:lnTo>
                    <a:pt x="1916" y="492"/>
                  </a:lnTo>
                  <a:lnTo>
                    <a:pt x="1919" y="497"/>
                  </a:lnTo>
                  <a:lnTo>
                    <a:pt x="1927" y="499"/>
                  </a:lnTo>
                  <a:lnTo>
                    <a:pt x="1929" y="513"/>
                  </a:lnTo>
                  <a:lnTo>
                    <a:pt x="1944" y="522"/>
                  </a:lnTo>
                  <a:lnTo>
                    <a:pt x="1936" y="528"/>
                  </a:lnTo>
                  <a:lnTo>
                    <a:pt x="1944" y="537"/>
                  </a:lnTo>
                  <a:lnTo>
                    <a:pt x="1945" y="547"/>
                  </a:lnTo>
                  <a:lnTo>
                    <a:pt x="1954" y="551"/>
                  </a:lnTo>
                  <a:lnTo>
                    <a:pt x="1954" y="558"/>
                  </a:lnTo>
                  <a:lnTo>
                    <a:pt x="1945" y="558"/>
                  </a:lnTo>
                  <a:lnTo>
                    <a:pt x="1939" y="560"/>
                  </a:lnTo>
                  <a:lnTo>
                    <a:pt x="1939" y="565"/>
                  </a:lnTo>
                  <a:lnTo>
                    <a:pt x="1945" y="564"/>
                  </a:lnTo>
                  <a:lnTo>
                    <a:pt x="1954" y="575"/>
                  </a:lnTo>
                  <a:lnTo>
                    <a:pt x="1960" y="577"/>
                  </a:lnTo>
                  <a:lnTo>
                    <a:pt x="1962" y="582"/>
                  </a:lnTo>
                  <a:lnTo>
                    <a:pt x="1971" y="593"/>
                  </a:lnTo>
                  <a:lnTo>
                    <a:pt x="1989" y="597"/>
                  </a:lnTo>
                  <a:lnTo>
                    <a:pt x="1988" y="599"/>
                  </a:lnTo>
                  <a:lnTo>
                    <a:pt x="1989" y="608"/>
                  </a:lnTo>
                  <a:lnTo>
                    <a:pt x="1989" y="618"/>
                  </a:lnTo>
                  <a:lnTo>
                    <a:pt x="1999" y="625"/>
                  </a:lnTo>
                  <a:lnTo>
                    <a:pt x="2006" y="624"/>
                  </a:lnTo>
                  <a:lnTo>
                    <a:pt x="2020" y="630"/>
                  </a:lnTo>
                  <a:lnTo>
                    <a:pt x="2030" y="624"/>
                  </a:lnTo>
                  <a:lnTo>
                    <a:pt x="2038" y="628"/>
                  </a:lnTo>
                  <a:lnTo>
                    <a:pt x="2038" y="619"/>
                  </a:lnTo>
                  <a:lnTo>
                    <a:pt x="2046" y="624"/>
                  </a:lnTo>
                  <a:lnTo>
                    <a:pt x="2051" y="615"/>
                  </a:lnTo>
                  <a:lnTo>
                    <a:pt x="2051" y="605"/>
                  </a:lnTo>
                  <a:lnTo>
                    <a:pt x="2068" y="613"/>
                  </a:lnTo>
                  <a:lnTo>
                    <a:pt x="2068" y="630"/>
                  </a:lnTo>
                  <a:lnTo>
                    <a:pt x="2083" y="645"/>
                  </a:lnTo>
                  <a:lnTo>
                    <a:pt x="2090" y="650"/>
                  </a:lnTo>
                  <a:lnTo>
                    <a:pt x="2099" y="667"/>
                  </a:lnTo>
                  <a:lnTo>
                    <a:pt x="2106" y="667"/>
                  </a:lnTo>
                  <a:lnTo>
                    <a:pt x="2121" y="678"/>
                  </a:lnTo>
                  <a:lnTo>
                    <a:pt x="2129" y="677"/>
                  </a:lnTo>
                  <a:lnTo>
                    <a:pt x="2129" y="668"/>
                  </a:lnTo>
                  <a:lnTo>
                    <a:pt x="2137" y="669"/>
                  </a:lnTo>
                  <a:lnTo>
                    <a:pt x="2139" y="667"/>
                  </a:lnTo>
                  <a:lnTo>
                    <a:pt x="2148" y="673"/>
                  </a:lnTo>
                  <a:lnTo>
                    <a:pt x="2150" y="669"/>
                  </a:lnTo>
                  <a:lnTo>
                    <a:pt x="2164" y="677"/>
                  </a:lnTo>
                  <a:lnTo>
                    <a:pt x="2182" y="667"/>
                  </a:lnTo>
                  <a:lnTo>
                    <a:pt x="2204" y="673"/>
                  </a:lnTo>
                  <a:lnTo>
                    <a:pt x="2221" y="667"/>
                  </a:lnTo>
                  <a:lnTo>
                    <a:pt x="2230" y="655"/>
                  </a:lnTo>
                  <a:lnTo>
                    <a:pt x="2267" y="660"/>
                  </a:lnTo>
                  <a:lnTo>
                    <a:pt x="2275" y="657"/>
                  </a:lnTo>
                  <a:lnTo>
                    <a:pt x="2290" y="671"/>
                  </a:lnTo>
                  <a:lnTo>
                    <a:pt x="2293" y="668"/>
                  </a:lnTo>
                  <a:lnTo>
                    <a:pt x="2300" y="667"/>
                  </a:lnTo>
                  <a:lnTo>
                    <a:pt x="2300" y="673"/>
                  </a:lnTo>
                  <a:lnTo>
                    <a:pt x="2322" y="667"/>
                  </a:lnTo>
                  <a:lnTo>
                    <a:pt x="2337" y="667"/>
                  </a:lnTo>
                  <a:lnTo>
                    <a:pt x="2328" y="655"/>
                  </a:lnTo>
                  <a:lnTo>
                    <a:pt x="2328" y="650"/>
                  </a:lnTo>
                  <a:lnTo>
                    <a:pt x="2321" y="640"/>
                  </a:lnTo>
                  <a:lnTo>
                    <a:pt x="2317" y="630"/>
                  </a:lnTo>
                  <a:lnTo>
                    <a:pt x="2322" y="623"/>
                  </a:lnTo>
                  <a:lnTo>
                    <a:pt x="2328" y="623"/>
                  </a:lnTo>
                  <a:lnTo>
                    <a:pt x="2331" y="625"/>
                  </a:lnTo>
                  <a:lnTo>
                    <a:pt x="2336" y="636"/>
                  </a:lnTo>
                  <a:lnTo>
                    <a:pt x="2342" y="641"/>
                  </a:lnTo>
                  <a:lnTo>
                    <a:pt x="2342" y="655"/>
                  </a:lnTo>
                  <a:lnTo>
                    <a:pt x="2349" y="667"/>
                  </a:lnTo>
                  <a:lnTo>
                    <a:pt x="2359" y="669"/>
                  </a:lnTo>
                  <a:lnTo>
                    <a:pt x="2364" y="678"/>
                  </a:lnTo>
                  <a:lnTo>
                    <a:pt x="2377" y="683"/>
                  </a:lnTo>
                  <a:lnTo>
                    <a:pt x="2384" y="689"/>
                  </a:lnTo>
                  <a:lnTo>
                    <a:pt x="2396" y="688"/>
                  </a:lnTo>
                  <a:lnTo>
                    <a:pt x="2404" y="677"/>
                  </a:lnTo>
                  <a:lnTo>
                    <a:pt x="2403" y="641"/>
                  </a:lnTo>
                  <a:lnTo>
                    <a:pt x="2398" y="641"/>
                  </a:lnTo>
                  <a:lnTo>
                    <a:pt x="2397" y="650"/>
                  </a:lnTo>
                  <a:lnTo>
                    <a:pt x="2390" y="650"/>
                  </a:lnTo>
                  <a:lnTo>
                    <a:pt x="2390" y="641"/>
                  </a:lnTo>
                  <a:lnTo>
                    <a:pt x="2385" y="636"/>
                  </a:lnTo>
                  <a:lnTo>
                    <a:pt x="2364" y="637"/>
                  </a:lnTo>
                  <a:lnTo>
                    <a:pt x="2359" y="646"/>
                  </a:lnTo>
                  <a:lnTo>
                    <a:pt x="2360" y="650"/>
                  </a:lnTo>
                  <a:lnTo>
                    <a:pt x="2361" y="658"/>
                  </a:lnTo>
                  <a:lnTo>
                    <a:pt x="2354" y="656"/>
                  </a:lnTo>
                  <a:lnTo>
                    <a:pt x="2348" y="636"/>
                  </a:lnTo>
                  <a:lnTo>
                    <a:pt x="2339" y="624"/>
                  </a:lnTo>
                  <a:lnTo>
                    <a:pt x="2334" y="614"/>
                  </a:lnTo>
                  <a:lnTo>
                    <a:pt x="2342" y="619"/>
                  </a:lnTo>
                  <a:lnTo>
                    <a:pt x="2342" y="605"/>
                  </a:lnTo>
                  <a:lnTo>
                    <a:pt x="2331" y="596"/>
                  </a:lnTo>
                  <a:lnTo>
                    <a:pt x="2331" y="590"/>
                  </a:lnTo>
                  <a:lnTo>
                    <a:pt x="2321" y="575"/>
                  </a:lnTo>
                  <a:lnTo>
                    <a:pt x="2328" y="575"/>
                  </a:lnTo>
                  <a:lnTo>
                    <a:pt x="2334" y="583"/>
                  </a:lnTo>
                  <a:lnTo>
                    <a:pt x="2339" y="578"/>
                  </a:lnTo>
                  <a:lnTo>
                    <a:pt x="2339" y="575"/>
                  </a:lnTo>
                  <a:lnTo>
                    <a:pt x="2349" y="575"/>
                  </a:lnTo>
                  <a:lnTo>
                    <a:pt x="2353" y="581"/>
                  </a:lnTo>
                  <a:lnTo>
                    <a:pt x="2374" y="577"/>
                  </a:lnTo>
                  <a:lnTo>
                    <a:pt x="2374" y="575"/>
                  </a:lnTo>
                  <a:lnTo>
                    <a:pt x="2358" y="554"/>
                  </a:lnTo>
                  <a:lnTo>
                    <a:pt x="2365" y="551"/>
                  </a:lnTo>
                  <a:lnTo>
                    <a:pt x="2377" y="554"/>
                  </a:lnTo>
                  <a:lnTo>
                    <a:pt x="2379" y="562"/>
                  </a:lnTo>
                  <a:lnTo>
                    <a:pt x="2390" y="575"/>
                  </a:lnTo>
                  <a:lnTo>
                    <a:pt x="2385" y="559"/>
                  </a:lnTo>
                  <a:lnTo>
                    <a:pt x="2398" y="560"/>
                  </a:lnTo>
                  <a:lnTo>
                    <a:pt x="2404" y="575"/>
                  </a:lnTo>
                  <a:lnTo>
                    <a:pt x="2420" y="582"/>
                  </a:lnTo>
                  <a:lnTo>
                    <a:pt x="2414" y="590"/>
                  </a:lnTo>
                  <a:lnTo>
                    <a:pt x="2422" y="594"/>
                  </a:lnTo>
                  <a:lnTo>
                    <a:pt x="2439" y="587"/>
                  </a:lnTo>
                  <a:lnTo>
                    <a:pt x="2439" y="594"/>
                  </a:lnTo>
                  <a:lnTo>
                    <a:pt x="2434" y="605"/>
                  </a:lnTo>
                  <a:lnTo>
                    <a:pt x="2433" y="615"/>
                  </a:lnTo>
                  <a:lnTo>
                    <a:pt x="2427" y="623"/>
                  </a:lnTo>
                  <a:lnTo>
                    <a:pt x="2431" y="628"/>
                  </a:lnTo>
                  <a:lnTo>
                    <a:pt x="2439" y="624"/>
                  </a:lnTo>
                  <a:lnTo>
                    <a:pt x="2443" y="631"/>
                  </a:lnTo>
                  <a:lnTo>
                    <a:pt x="2443" y="612"/>
                  </a:lnTo>
                  <a:lnTo>
                    <a:pt x="2466" y="596"/>
                  </a:lnTo>
                  <a:lnTo>
                    <a:pt x="2467" y="597"/>
                  </a:lnTo>
                  <a:lnTo>
                    <a:pt x="2466" y="607"/>
                  </a:lnTo>
                  <a:lnTo>
                    <a:pt x="2467" y="619"/>
                  </a:lnTo>
                  <a:lnTo>
                    <a:pt x="2466" y="636"/>
                  </a:lnTo>
                  <a:lnTo>
                    <a:pt x="2460" y="650"/>
                  </a:lnTo>
                  <a:lnTo>
                    <a:pt x="2459" y="668"/>
                  </a:lnTo>
                  <a:lnTo>
                    <a:pt x="2466" y="683"/>
                  </a:lnTo>
                  <a:lnTo>
                    <a:pt x="2446" y="695"/>
                  </a:lnTo>
                  <a:lnTo>
                    <a:pt x="2451" y="712"/>
                  </a:lnTo>
                  <a:lnTo>
                    <a:pt x="2466" y="711"/>
                  </a:lnTo>
                  <a:lnTo>
                    <a:pt x="2466" y="736"/>
                  </a:lnTo>
                  <a:lnTo>
                    <a:pt x="2482" y="720"/>
                  </a:lnTo>
                  <a:lnTo>
                    <a:pt x="2486" y="727"/>
                  </a:lnTo>
                  <a:lnTo>
                    <a:pt x="2495" y="718"/>
                  </a:lnTo>
                  <a:lnTo>
                    <a:pt x="2495" y="727"/>
                  </a:lnTo>
                  <a:lnTo>
                    <a:pt x="2489" y="733"/>
                  </a:lnTo>
                  <a:lnTo>
                    <a:pt x="2494" y="743"/>
                  </a:lnTo>
                  <a:lnTo>
                    <a:pt x="2504" y="744"/>
                  </a:lnTo>
                  <a:lnTo>
                    <a:pt x="2509" y="727"/>
                  </a:lnTo>
                  <a:lnTo>
                    <a:pt x="2504" y="711"/>
                  </a:lnTo>
                  <a:lnTo>
                    <a:pt x="2506" y="695"/>
                  </a:lnTo>
                  <a:lnTo>
                    <a:pt x="2502" y="682"/>
                  </a:lnTo>
                  <a:lnTo>
                    <a:pt x="2488" y="673"/>
                  </a:lnTo>
                  <a:lnTo>
                    <a:pt x="2488" y="667"/>
                  </a:lnTo>
                  <a:lnTo>
                    <a:pt x="2495" y="636"/>
                  </a:lnTo>
                  <a:lnTo>
                    <a:pt x="2492" y="631"/>
                  </a:lnTo>
                  <a:lnTo>
                    <a:pt x="2489" y="620"/>
                  </a:lnTo>
                  <a:lnTo>
                    <a:pt x="2495" y="620"/>
                  </a:lnTo>
                  <a:lnTo>
                    <a:pt x="2500" y="618"/>
                  </a:lnTo>
                  <a:lnTo>
                    <a:pt x="2504" y="620"/>
                  </a:lnTo>
                  <a:lnTo>
                    <a:pt x="2506" y="625"/>
                  </a:lnTo>
                  <a:lnTo>
                    <a:pt x="2510" y="623"/>
                  </a:lnTo>
                  <a:lnTo>
                    <a:pt x="2521" y="621"/>
                  </a:lnTo>
                  <a:lnTo>
                    <a:pt x="2533" y="628"/>
                  </a:lnTo>
                  <a:lnTo>
                    <a:pt x="2540" y="625"/>
                  </a:lnTo>
                  <a:lnTo>
                    <a:pt x="2545" y="613"/>
                  </a:lnTo>
                  <a:lnTo>
                    <a:pt x="2549" y="607"/>
                  </a:lnTo>
                  <a:lnTo>
                    <a:pt x="2563" y="599"/>
                  </a:lnTo>
                  <a:lnTo>
                    <a:pt x="2563" y="590"/>
                  </a:lnTo>
                  <a:lnTo>
                    <a:pt x="2569" y="574"/>
                  </a:lnTo>
                  <a:lnTo>
                    <a:pt x="2595" y="555"/>
                  </a:lnTo>
                  <a:lnTo>
                    <a:pt x="2602" y="544"/>
                  </a:lnTo>
                  <a:lnTo>
                    <a:pt x="2591" y="542"/>
                  </a:lnTo>
                  <a:lnTo>
                    <a:pt x="2594" y="520"/>
                  </a:lnTo>
                  <a:lnTo>
                    <a:pt x="2592" y="506"/>
                  </a:lnTo>
                  <a:lnTo>
                    <a:pt x="2589" y="491"/>
                  </a:lnTo>
                  <a:lnTo>
                    <a:pt x="2576" y="483"/>
                  </a:lnTo>
                  <a:lnTo>
                    <a:pt x="2575" y="491"/>
                  </a:lnTo>
                  <a:lnTo>
                    <a:pt x="2573" y="499"/>
                  </a:lnTo>
                  <a:lnTo>
                    <a:pt x="2572" y="508"/>
                  </a:lnTo>
                  <a:lnTo>
                    <a:pt x="2579" y="505"/>
                  </a:lnTo>
                  <a:lnTo>
                    <a:pt x="2583" y="497"/>
                  </a:lnTo>
                  <a:lnTo>
                    <a:pt x="2570" y="522"/>
                  </a:lnTo>
                  <a:lnTo>
                    <a:pt x="2551" y="528"/>
                  </a:lnTo>
                  <a:lnTo>
                    <a:pt x="2538" y="526"/>
                  </a:lnTo>
                  <a:lnTo>
                    <a:pt x="2542" y="516"/>
                  </a:lnTo>
                  <a:lnTo>
                    <a:pt x="2543" y="494"/>
                  </a:lnTo>
                  <a:lnTo>
                    <a:pt x="2547" y="491"/>
                  </a:lnTo>
                  <a:lnTo>
                    <a:pt x="2554" y="492"/>
                  </a:lnTo>
                  <a:lnTo>
                    <a:pt x="2563" y="472"/>
                  </a:lnTo>
                  <a:lnTo>
                    <a:pt x="2563" y="462"/>
                  </a:lnTo>
                  <a:lnTo>
                    <a:pt x="2557" y="465"/>
                  </a:lnTo>
                  <a:lnTo>
                    <a:pt x="2557" y="463"/>
                  </a:lnTo>
                  <a:lnTo>
                    <a:pt x="2558" y="449"/>
                  </a:lnTo>
                  <a:lnTo>
                    <a:pt x="2567" y="432"/>
                  </a:lnTo>
                  <a:lnTo>
                    <a:pt x="2586" y="425"/>
                  </a:lnTo>
                  <a:lnTo>
                    <a:pt x="2589" y="421"/>
                  </a:lnTo>
                  <a:lnTo>
                    <a:pt x="2581" y="436"/>
                  </a:lnTo>
                  <a:lnTo>
                    <a:pt x="2581" y="451"/>
                  </a:lnTo>
                  <a:lnTo>
                    <a:pt x="2585" y="458"/>
                  </a:lnTo>
                  <a:lnTo>
                    <a:pt x="2595" y="445"/>
                  </a:lnTo>
                  <a:lnTo>
                    <a:pt x="2599" y="427"/>
                  </a:lnTo>
                  <a:lnTo>
                    <a:pt x="2594" y="408"/>
                  </a:lnTo>
                  <a:lnTo>
                    <a:pt x="2583" y="408"/>
                  </a:lnTo>
                  <a:lnTo>
                    <a:pt x="2569" y="420"/>
                  </a:lnTo>
                  <a:lnTo>
                    <a:pt x="2556" y="418"/>
                  </a:lnTo>
                  <a:lnTo>
                    <a:pt x="2542" y="391"/>
                  </a:lnTo>
                  <a:lnTo>
                    <a:pt x="2536" y="386"/>
                  </a:lnTo>
                  <a:lnTo>
                    <a:pt x="2537" y="394"/>
                  </a:lnTo>
                  <a:lnTo>
                    <a:pt x="2532" y="399"/>
                  </a:lnTo>
                  <a:lnTo>
                    <a:pt x="2524" y="392"/>
                  </a:lnTo>
                  <a:lnTo>
                    <a:pt x="2524" y="387"/>
                  </a:lnTo>
                  <a:lnTo>
                    <a:pt x="2508" y="379"/>
                  </a:lnTo>
                  <a:lnTo>
                    <a:pt x="2505" y="372"/>
                  </a:lnTo>
                  <a:lnTo>
                    <a:pt x="2505" y="367"/>
                  </a:lnTo>
                  <a:lnTo>
                    <a:pt x="2479" y="370"/>
                  </a:lnTo>
                  <a:lnTo>
                    <a:pt x="2465" y="360"/>
                  </a:lnTo>
                  <a:lnTo>
                    <a:pt x="2461" y="352"/>
                  </a:lnTo>
                  <a:lnTo>
                    <a:pt x="2465" y="345"/>
                  </a:lnTo>
                  <a:lnTo>
                    <a:pt x="2447" y="336"/>
                  </a:lnTo>
                  <a:lnTo>
                    <a:pt x="2445" y="328"/>
                  </a:lnTo>
                  <a:lnTo>
                    <a:pt x="2436" y="318"/>
                  </a:lnTo>
                  <a:lnTo>
                    <a:pt x="2434" y="290"/>
                  </a:lnTo>
                  <a:lnTo>
                    <a:pt x="2434" y="275"/>
                  </a:lnTo>
                  <a:lnTo>
                    <a:pt x="2435" y="266"/>
                  </a:lnTo>
                  <a:lnTo>
                    <a:pt x="2441" y="262"/>
                  </a:lnTo>
                  <a:lnTo>
                    <a:pt x="2445" y="262"/>
                  </a:lnTo>
                  <a:lnTo>
                    <a:pt x="2456" y="236"/>
                  </a:lnTo>
                  <a:lnTo>
                    <a:pt x="2459" y="236"/>
                  </a:lnTo>
                  <a:lnTo>
                    <a:pt x="2461" y="242"/>
                  </a:lnTo>
                  <a:lnTo>
                    <a:pt x="2465" y="237"/>
                  </a:lnTo>
                  <a:lnTo>
                    <a:pt x="2466" y="222"/>
                  </a:lnTo>
                  <a:lnTo>
                    <a:pt x="2461" y="227"/>
                  </a:lnTo>
                  <a:lnTo>
                    <a:pt x="2452" y="204"/>
                  </a:lnTo>
                  <a:lnTo>
                    <a:pt x="2444" y="194"/>
                  </a:lnTo>
                  <a:lnTo>
                    <a:pt x="2444" y="184"/>
                  </a:lnTo>
                  <a:lnTo>
                    <a:pt x="2445" y="171"/>
                  </a:lnTo>
                  <a:lnTo>
                    <a:pt x="2452" y="156"/>
                  </a:lnTo>
                  <a:lnTo>
                    <a:pt x="2449" y="156"/>
                  </a:lnTo>
                  <a:lnTo>
                    <a:pt x="2450" y="145"/>
                  </a:lnTo>
                  <a:lnTo>
                    <a:pt x="2451" y="137"/>
                  </a:lnTo>
                  <a:lnTo>
                    <a:pt x="2451" y="122"/>
                  </a:lnTo>
                  <a:lnTo>
                    <a:pt x="2455" y="117"/>
                  </a:lnTo>
                  <a:lnTo>
                    <a:pt x="2460" y="118"/>
                  </a:lnTo>
                  <a:lnTo>
                    <a:pt x="2461" y="114"/>
                  </a:lnTo>
                  <a:lnTo>
                    <a:pt x="2462" y="106"/>
                  </a:lnTo>
                  <a:lnTo>
                    <a:pt x="2470" y="101"/>
                  </a:lnTo>
                  <a:lnTo>
                    <a:pt x="2488" y="124"/>
                  </a:lnTo>
                  <a:lnTo>
                    <a:pt x="2492" y="123"/>
                  </a:lnTo>
                  <a:lnTo>
                    <a:pt x="2495" y="107"/>
                  </a:lnTo>
                  <a:lnTo>
                    <a:pt x="2493" y="86"/>
                  </a:lnTo>
                  <a:lnTo>
                    <a:pt x="2487" y="85"/>
                  </a:lnTo>
                  <a:lnTo>
                    <a:pt x="2481" y="79"/>
                  </a:lnTo>
                  <a:lnTo>
                    <a:pt x="2479" y="67"/>
                  </a:lnTo>
                  <a:lnTo>
                    <a:pt x="2488" y="52"/>
                  </a:lnTo>
                  <a:lnTo>
                    <a:pt x="2502" y="36"/>
                  </a:lnTo>
                  <a:lnTo>
                    <a:pt x="2505" y="26"/>
                  </a:lnTo>
                  <a:lnTo>
                    <a:pt x="2506" y="16"/>
                  </a:lnTo>
                  <a:lnTo>
                    <a:pt x="2513" y="2"/>
                  </a:lnTo>
                  <a:lnTo>
                    <a:pt x="2522" y="0"/>
                  </a:lnTo>
                  <a:lnTo>
                    <a:pt x="2531" y="2"/>
                  </a:lnTo>
                  <a:lnTo>
                    <a:pt x="2541" y="0"/>
                  </a:lnTo>
                  <a:lnTo>
                    <a:pt x="2551" y="10"/>
                  </a:lnTo>
                  <a:lnTo>
                    <a:pt x="2549" y="18"/>
                  </a:lnTo>
                  <a:lnTo>
                    <a:pt x="2546" y="22"/>
                  </a:lnTo>
                  <a:lnTo>
                    <a:pt x="2545" y="32"/>
                  </a:lnTo>
                  <a:lnTo>
                    <a:pt x="2546" y="38"/>
                  </a:lnTo>
                  <a:lnTo>
                    <a:pt x="2554" y="32"/>
                  </a:lnTo>
                  <a:lnTo>
                    <a:pt x="2554" y="49"/>
                  </a:lnTo>
                  <a:lnTo>
                    <a:pt x="2564" y="40"/>
                  </a:lnTo>
                  <a:lnTo>
                    <a:pt x="2567" y="32"/>
                  </a:lnTo>
                  <a:lnTo>
                    <a:pt x="2576" y="44"/>
                  </a:lnTo>
                  <a:lnTo>
                    <a:pt x="2594" y="37"/>
                  </a:lnTo>
                  <a:lnTo>
                    <a:pt x="2594" y="47"/>
                  </a:lnTo>
                  <a:lnTo>
                    <a:pt x="2590" y="63"/>
                  </a:lnTo>
                  <a:lnTo>
                    <a:pt x="2595" y="75"/>
                  </a:lnTo>
                  <a:lnTo>
                    <a:pt x="2605" y="76"/>
                  </a:lnTo>
                  <a:lnTo>
                    <a:pt x="2632" y="115"/>
                  </a:lnTo>
                  <a:lnTo>
                    <a:pt x="2637" y="147"/>
                  </a:lnTo>
                  <a:lnTo>
                    <a:pt x="2638" y="167"/>
                  </a:lnTo>
                  <a:lnTo>
                    <a:pt x="2637" y="190"/>
                  </a:lnTo>
                  <a:lnTo>
                    <a:pt x="2633" y="189"/>
                  </a:lnTo>
                  <a:lnTo>
                    <a:pt x="2634" y="198"/>
                  </a:lnTo>
                  <a:lnTo>
                    <a:pt x="2645" y="201"/>
                  </a:lnTo>
                  <a:lnTo>
                    <a:pt x="2648" y="221"/>
                  </a:lnTo>
                  <a:lnTo>
                    <a:pt x="2662" y="220"/>
                  </a:lnTo>
                  <a:lnTo>
                    <a:pt x="2671" y="230"/>
                  </a:lnTo>
                  <a:lnTo>
                    <a:pt x="2671" y="244"/>
                  </a:lnTo>
                  <a:lnTo>
                    <a:pt x="2672" y="251"/>
                  </a:lnTo>
                  <a:lnTo>
                    <a:pt x="2681" y="264"/>
                  </a:lnTo>
                  <a:lnTo>
                    <a:pt x="2683" y="274"/>
                  </a:lnTo>
                  <a:lnTo>
                    <a:pt x="2685" y="284"/>
                  </a:lnTo>
                  <a:lnTo>
                    <a:pt x="2688" y="284"/>
                  </a:lnTo>
                  <a:lnTo>
                    <a:pt x="2692" y="279"/>
                  </a:lnTo>
                  <a:lnTo>
                    <a:pt x="2693" y="274"/>
                  </a:lnTo>
                  <a:lnTo>
                    <a:pt x="2701" y="280"/>
                  </a:lnTo>
                  <a:lnTo>
                    <a:pt x="2703" y="297"/>
                  </a:lnTo>
                  <a:lnTo>
                    <a:pt x="2709" y="301"/>
                  </a:lnTo>
                  <a:lnTo>
                    <a:pt x="2713" y="308"/>
                  </a:lnTo>
                  <a:lnTo>
                    <a:pt x="2694" y="312"/>
                  </a:lnTo>
                  <a:lnTo>
                    <a:pt x="2671" y="301"/>
                  </a:lnTo>
                  <a:lnTo>
                    <a:pt x="2664" y="302"/>
                  </a:lnTo>
                  <a:lnTo>
                    <a:pt x="2665" y="306"/>
                  </a:lnTo>
                  <a:lnTo>
                    <a:pt x="2665" y="312"/>
                  </a:lnTo>
                  <a:lnTo>
                    <a:pt x="2661" y="316"/>
                  </a:lnTo>
                  <a:lnTo>
                    <a:pt x="2661" y="318"/>
                  </a:lnTo>
                  <a:lnTo>
                    <a:pt x="2680" y="321"/>
                  </a:lnTo>
                  <a:lnTo>
                    <a:pt x="2688" y="334"/>
                  </a:lnTo>
                  <a:lnTo>
                    <a:pt x="2683" y="343"/>
                  </a:lnTo>
                  <a:lnTo>
                    <a:pt x="2676" y="352"/>
                  </a:lnTo>
                  <a:lnTo>
                    <a:pt x="2670" y="352"/>
                  </a:lnTo>
                  <a:lnTo>
                    <a:pt x="2664" y="357"/>
                  </a:lnTo>
                  <a:lnTo>
                    <a:pt x="2658" y="357"/>
                  </a:lnTo>
                  <a:lnTo>
                    <a:pt x="2656" y="364"/>
                  </a:lnTo>
                  <a:lnTo>
                    <a:pt x="2648" y="371"/>
                  </a:lnTo>
                  <a:lnTo>
                    <a:pt x="2650" y="378"/>
                  </a:lnTo>
                  <a:lnTo>
                    <a:pt x="2649" y="381"/>
                  </a:lnTo>
                  <a:lnTo>
                    <a:pt x="2669" y="381"/>
                  </a:lnTo>
                  <a:lnTo>
                    <a:pt x="2673" y="388"/>
                  </a:lnTo>
                  <a:lnTo>
                    <a:pt x="2678" y="402"/>
                  </a:lnTo>
                  <a:lnTo>
                    <a:pt x="2692" y="408"/>
                  </a:lnTo>
                  <a:lnTo>
                    <a:pt x="2705" y="405"/>
                  </a:lnTo>
                  <a:lnTo>
                    <a:pt x="2715" y="391"/>
                  </a:lnTo>
                  <a:lnTo>
                    <a:pt x="2723" y="389"/>
                  </a:lnTo>
                  <a:lnTo>
                    <a:pt x="2724" y="395"/>
                  </a:lnTo>
                  <a:lnTo>
                    <a:pt x="2718" y="404"/>
                  </a:lnTo>
                  <a:lnTo>
                    <a:pt x="2725" y="402"/>
                  </a:lnTo>
                  <a:lnTo>
                    <a:pt x="2731" y="413"/>
                  </a:lnTo>
                  <a:lnTo>
                    <a:pt x="2735" y="409"/>
                  </a:lnTo>
                  <a:lnTo>
                    <a:pt x="2745" y="415"/>
                  </a:lnTo>
                  <a:lnTo>
                    <a:pt x="2748" y="406"/>
                  </a:lnTo>
                  <a:lnTo>
                    <a:pt x="2751" y="421"/>
                  </a:lnTo>
                  <a:lnTo>
                    <a:pt x="2748" y="432"/>
                  </a:lnTo>
                  <a:lnTo>
                    <a:pt x="2744" y="440"/>
                  </a:lnTo>
                  <a:lnTo>
                    <a:pt x="2735" y="430"/>
                  </a:lnTo>
                  <a:lnTo>
                    <a:pt x="2729" y="434"/>
                  </a:lnTo>
                  <a:lnTo>
                    <a:pt x="2720" y="431"/>
                  </a:lnTo>
                  <a:lnTo>
                    <a:pt x="2745" y="465"/>
                  </a:lnTo>
                  <a:lnTo>
                    <a:pt x="2755" y="469"/>
                  </a:lnTo>
                  <a:lnTo>
                    <a:pt x="2756" y="479"/>
                  </a:lnTo>
                  <a:lnTo>
                    <a:pt x="2764" y="494"/>
                  </a:lnTo>
                  <a:lnTo>
                    <a:pt x="2763" y="499"/>
                  </a:lnTo>
                  <a:lnTo>
                    <a:pt x="2773" y="515"/>
                  </a:lnTo>
                  <a:lnTo>
                    <a:pt x="2768" y="531"/>
                  </a:lnTo>
                  <a:lnTo>
                    <a:pt x="2768" y="549"/>
                  </a:lnTo>
                  <a:lnTo>
                    <a:pt x="2766" y="558"/>
                  </a:lnTo>
                  <a:lnTo>
                    <a:pt x="2771" y="574"/>
                  </a:lnTo>
                  <a:lnTo>
                    <a:pt x="2775" y="581"/>
                  </a:lnTo>
                  <a:lnTo>
                    <a:pt x="2779" y="591"/>
                  </a:lnTo>
                  <a:lnTo>
                    <a:pt x="2787" y="581"/>
                  </a:lnTo>
                  <a:lnTo>
                    <a:pt x="2798" y="559"/>
                  </a:lnTo>
                  <a:lnTo>
                    <a:pt x="2798" y="540"/>
                  </a:lnTo>
                  <a:lnTo>
                    <a:pt x="2799" y="535"/>
                  </a:lnTo>
                  <a:lnTo>
                    <a:pt x="2800" y="532"/>
                  </a:lnTo>
                  <a:lnTo>
                    <a:pt x="2806" y="532"/>
                  </a:lnTo>
                  <a:lnTo>
                    <a:pt x="2807" y="513"/>
                  </a:lnTo>
                  <a:lnTo>
                    <a:pt x="2806" y="495"/>
                  </a:lnTo>
                  <a:lnTo>
                    <a:pt x="2806" y="480"/>
                  </a:lnTo>
                  <a:lnTo>
                    <a:pt x="2818" y="465"/>
                  </a:lnTo>
                  <a:lnTo>
                    <a:pt x="2826" y="447"/>
                  </a:lnTo>
                  <a:lnTo>
                    <a:pt x="2837" y="442"/>
                  </a:lnTo>
                  <a:lnTo>
                    <a:pt x="2850" y="443"/>
                  </a:lnTo>
                  <a:lnTo>
                    <a:pt x="2855" y="462"/>
                  </a:lnTo>
                  <a:lnTo>
                    <a:pt x="2866" y="480"/>
                  </a:lnTo>
                  <a:lnTo>
                    <a:pt x="2896" y="505"/>
                  </a:lnTo>
                  <a:lnTo>
                    <a:pt x="2901" y="517"/>
                  </a:lnTo>
                  <a:lnTo>
                    <a:pt x="2907" y="554"/>
                  </a:lnTo>
                  <a:lnTo>
                    <a:pt x="2913" y="575"/>
                  </a:lnTo>
                  <a:lnTo>
                    <a:pt x="2914" y="592"/>
                  </a:lnTo>
                  <a:lnTo>
                    <a:pt x="2906" y="599"/>
                  </a:lnTo>
                  <a:lnTo>
                    <a:pt x="2897" y="597"/>
                  </a:lnTo>
                  <a:lnTo>
                    <a:pt x="2893" y="592"/>
                  </a:lnTo>
                  <a:lnTo>
                    <a:pt x="2893" y="575"/>
                  </a:lnTo>
                  <a:lnTo>
                    <a:pt x="2884" y="598"/>
                  </a:lnTo>
                  <a:lnTo>
                    <a:pt x="2887" y="615"/>
                  </a:lnTo>
                  <a:lnTo>
                    <a:pt x="2884" y="631"/>
                  </a:lnTo>
                  <a:lnTo>
                    <a:pt x="2884" y="641"/>
                  </a:lnTo>
                  <a:lnTo>
                    <a:pt x="2895" y="663"/>
                  </a:lnTo>
                  <a:lnTo>
                    <a:pt x="2900" y="677"/>
                  </a:lnTo>
                  <a:lnTo>
                    <a:pt x="2908" y="689"/>
                  </a:lnTo>
                  <a:lnTo>
                    <a:pt x="2930" y="732"/>
                  </a:lnTo>
                  <a:lnTo>
                    <a:pt x="2936" y="737"/>
                  </a:lnTo>
                  <a:lnTo>
                    <a:pt x="2944" y="746"/>
                  </a:lnTo>
                  <a:lnTo>
                    <a:pt x="2954" y="741"/>
                  </a:lnTo>
                  <a:lnTo>
                    <a:pt x="2955" y="732"/>
                  </a:lnTo>
                  <a:lnTo>
                    <a:pt x="2957" y="721"/>
                  </a:lnTo>
                  <a:lnTo>
                    <a:pt x="2966" y="716"/>
                  </a:lnTo>
                  <a:lnTo>
                    <a:pt x="2971" y="721"/>
                  </a:lnTo>
                  <a:lnTo>
                    <a:pt x="2974" y="715"/>
                  </a:lnTo>
                  <a:lnTo>
                    <a:pt x="2977" y="720"/>
                  </a:lnTo>
                  <a:lnTo>
                    <a:pt x="2983" y="721"/>
                  </a:lnTo>
                  <a:lnTo>
                    <a:pt x="2987" y="699"/>
                  </a:lnTo>
                  <a:lnTo>
                    <a:pt x="2987" y="679"/>
                  </a:lnTo>
                  <a:lnTo>
                    <a:pt x="2988" y="673"/>
                  </a:lnTo>
                  <a:lnTo>
                    <a:pt x="2997" y="653"/>
                  </a:lnTo>
                  <a:lnTo>
                    <a:pt x="3009" y="640"/>
                  </a:lnTo>
                  <a:lnTo>
                    <a:pt x="3020" y="607"/>
                  </a:lnTo>
                  <a:lnTo>
                    <a:pt x="3021" y="592"/>
                  </a:lnTo>
                  <a:lnTo>
                    <a:pt x="3027" y="586"/>
                  </a:lnTo>
                  <a:lnTo>
                    <a:pt x="3030" y="545"/>
                  </a:lnTo>
                  <a:lnTo>
                    <a:pt x="3029" y="538"/>
                  </a:lnTo>
                  <a:lnTo>
                    <a:pt x="3035" y="531"/>
                  </a:lnTo>
                  <a:lnTo>
                    <a:pt x="3047" y="529"/>
                  </a:lnTo>
                  <a:lnTo>
                    <a:pt x="3049" y="523"/>
                  </a:lnTo>
                  <a:lnTo>
                    <a:pt x="3054" y="524"/>
                  </a:lnTo>
                  <a:lnTo>
                    <a:pt x="3064" y="520"/>
                  </a:lnTo>
                  <a:lnTo>
                    <a:pt x="3076" y="524"/>
                  </a:lnTo>
                  <a:lnTo>
                    <a:pt x="3087" y="522"/>
                  </a:lnTo>
                  <a:lnTo>
                    <a:pt x="3083" y="517"/>
                  </a:lnTo>
                  <a:lnTo>
                    <a:pt x="3069" y="515"/>
                  </a:lnTo>
                  <a:lnTo>
                    <a:pt x="3064" y="507"/>
                  </a:lnTo>
                  <a:lnTo>
                    <a:pt x="3068" y="501"/>
                  </a:lnTo>
                  <a:lnTo>
                    <a:pt x="3065" y="496"/>
                  </a:lnTo>
                  <a:lnTo>
                    <a:pt x="3075" y="496"/>
                  </a:lnTo>
                  <a:lnTo>
                    <a:pt x="3074" y="488"/>
                  </a:lnTo>
                  <a:lnTo>
                    <a:pt x="3079" y="485"/>
                  </a:lnTo>
                  <a:lnTo>
                    <a:pt x="3090" y="489"/>
                  </a:lnTo>
                  <a:lnTo>
                    <a:pt x="3087" y="479"/>
                  </a:lnTo>
                  <a:lnTo>
                    <a:pt x="3080" y="479"/>
                  </a:lnTo>
                  <a:lnTo>
                    <a:pt x="3073" y="469"/>
                  </a:lnTo>
                  <a:lnTo>
                    <a:pt x="3059" y="465"/>
                  </a:lnTo>
                  <a:lnTo>
                    <a:pt x="3052" y="456"/>
                  </a:lnTo>
                  <a:lnTo>
                    <a:pt x="3047" y="442"/>
                  </a:lnTo>
                  <a:lnTo>
                    <a:pt x="3048" y="431"/>
                  </a:lnTo>
                  <a:lnTo>
                    <a:pt x="3049" y="426"/>
                  </a:lnTo>
                  <a:lnTo>
                    <a:pt x="3046" y="410"/>
                  </a:lnTo>
                  <a:lnTo>
                    <a:pt x="3048" y="400"/>
                  </a:lnTo>
                  <a:lnTo>
                    <a:pt x="3044" y="386"/>
                  </a:lnTo>
                  <a:lnTo>
                    <a:pt x="3046" y="381"/>
                  </a:lnTo>
                  <a:lnTo>
                    <a:pt x="3048" y="371"/>
                  </a:lnTo>
                  <a:lnTo>
                    <a:pt x="3048" y="360"/>
                  </a:lnTo>
                  <a:lnTo>
                    <a:pt x="3067" y="365"/>
                  </a:lnTo>
                  <a:lnTo>
                    <a:pt x="3075" y="356"/>
                  </a:lnTo>
                  <a:lnTo>
                    <a:pt x="3097" y="355"/>
                  </a:lnTo>
                  <a:lnTo>
                    <a:pt x="3116" y="360"/>
                  </a:lnTo>
                  <a:lnTo>
                    <a:pt x="3126" y="371"/>
                  </a:lnTo>
                  <a:lnTo>
                    <a:pt x="3150" y="384"/>
                  </a:lnTo>
                  <a:lnTo>
                    <a:pt x="3173" y="381"/>
                  </a:lnTo>
                  <a:lnTo>
                    <a:pt x="3181" y="386"/>
                  </a:lnTo>
                  <a:lnTo>
                    <a:pt x="3192" y="383"/>
                  </a:lnTo>
                  <a:lnTo>
                    <a:pt x="3200" y="378"/>
                  </a:lnTo>
                  <a:lnTo>
                    <a:pt x="3205" y="386"/>
                  </a:lnTo>
                  <a:lnTo>
                    <a:pt x="3205" y="403"/>
                  </a:lnTo>
                  <a:lnTo>
                    <a:pt x="3207" y="411"/>
                  </a:lnTo>
                  <a:lnTo>
                    <a:pt x="3198" y="415"/>
                  </a:lnTo>
                  <a:lnTo>
                    <a:pt x="3205" y="415"/>
                  </a:lnTo>
                  <a:lnTo>
                    <a:pt x="3216" y="431"/>
                  </a:lnTo>
                  <a:lnTo>
                    <a:pt x="3224" y="445"/>
                  </a:lnTo>
                  <a:lnTo>
                    <a:pt x="3220" y="451"/>
                  </a:lnTo>
                  <a:lnTo>
                    <a:pt x="3223" y="453"/>
                  </a:lnTo>
                  <a:lnTo>
                    <a:pt x="3251" y="451"/>
                  </a:lnTo>
                  <a:lnTo>
                    <a:pt x="3259" y="458"/>
                  </a:lnTo>
                  <a:lnTo>
                    <a:pt x="3269" y="461"/>
                  </a:lnTo>
                  <a:lnTo>
                    <a:pt x="3272" y="470"/>
                  </a:lnTo>
                  <a:lnTo>
                    <a:pt x="3262" y="484"/>
                  </a:lnTo>
                  <a:lnTo>
                    <a:pt x="3246" y="496"/>
                  </a:lnTo>
                  <a:lnTo>
                    <a:pt x="3240" y="508"/>
                  </a:lnTo>
                  <a:lnTo>
                    <a:pt x="3272" y="513"/>
                  </a:lnTo>
                  <a:lnTo>
                    <a:pt x="3277" y="526"/>
                  </a:lnTo>
                  <a:lnTo>
                    <a:pt x="3275" y="542"/>
                  </a:lnTo>
                  <a:lnTo>
                    <a:pt x="3271" y="549"/>
                  </a:lnTo>
                  <a:lnTo>
                    <a:pt x="3258" y="558"/>
                  </a:lnTo>
                  <a:lnTo>
                    <a:pt x="3252" y="559"/>
                  </a:lnTo>
                  <a:lnTo>
                    <a:pt x="3246" y="570"/>
                  </a:lnTo>
                  <a:lnTo>
                    <a:pt x="3242" y="577"/>
                  </a:lnTo>
                  <a:lnTo>
                    <a:pt x="3236" y="571"/>
                  </a:lnTo>
                  <a:lnTo>
                    <a:pt x="3232" y="556"/>
                  </a:lnTo>
                  <a:lnTo>
                    <a:pt x="3225" y="559"/>
                  </a:lnTo>
                  <a:lnTo>
                    <a:pt x="3223" y="566"/>
                  </a:lnTo>
                  <a:lnTo>
                    <a:pt x="3208" y="559"/>
                  </a:lnTo>
                  <a:lnTo>
                    <a:pt x="3207" y="569"/>
                  </a:lnTo>
                  <a:lnTo>
                    <a:pt x="3220" y="588"/>
                  </a:lnTo>
                  <a:lnTo>
                    <a:pt x="3215" y="592"/>
                  </a:lnTo>
                  <a:lnTo>
                    <a:pt x="3215" y="596"/>
                  </a:lnTo>
                  <a:lnTo>
                    <a:pt x="3221" y="597"/>
                  </a:lnTo>
                  <a:lnTo>
                    <a:pt x="3221" y="605"/>
                  </a:lnTo>
                  <a:lnTo>
                    <a:pt x="3220" y="613"/>
                  </a:lnTo>
                  <a:lnTo>
                    <a:pt x="3239" y="604"/>
                  </a:lnTo>
                  <a:lnTo>
                    <a:pt x="3232" y="620"/>
                  </a:lnTo>
                  <a:lnTo>
                    <a:pt x="3230" y="637"/>
                  </a:lnTo>
                  <a:lnTo>
                    <a:pt x="3231" y="651"/>
                  </a:lnTo>
                  <a:lnTo>
                    <a:pt x="3257" y="688"/>
                  </a:lnTo>
                  <a:lnTo>
                    <a:pt x="3268" y="699"/>
                  </a:lnTo>
                  <a:lnTo>
                    <a:pt x="3275" y="711"/>
                  </a:lnTo>
                  <a:lnTo>
                    <a:pt x="3275" y="717"/>
                  </a:lnTo>
                  <a:lnTo>
                    <a:pt x="3271" y="723"/>
                  </a:lnTo>
                  <a:lnTo>
                    <a:pt x="3271" y="738"/>
                  </a:lnTo>
                  <a:lnTo>
                    <a:pt x="3274" y="748"/>
                  </a:lnTo>
                  <a:lnTo>
                    <a:pt x="3268" y="755"/>
                  </a:lnTo>
                  <a:lnTo>
                    <a:pt x="3268" y="764"/>
                  </a:lnTo>
                  <a:lnTo>
                    <a:pt x="3255" y="770"/>
                  </a:lnTo>
                  <a:lnTo>
                    <a:pt x="3248" y="776"/>
                  </a:lnTo>
                  <a:lnTo>
                    <a:pt x="3236" y="790"/>
                  </a:lnTo>
                  <a:lnTo>
                    <a:pt x="3235" y="798"/>
                  </a:lnTo>
                  <a:lnTo>
                    <a:pt x="3230" y="807"/>
                  </a:lnTo>
                  <a:lnTo>
                    <a:pt x="3202" y="835"/>
                  </a:lnTo>
                  <a:lnTo>
                    <a:pt x="3183" y="840"/>
                  </a:lnTo>
                  <a:lnTo>
                    <a:pt x="3180" y="851"/>
                  </a:lnTo>
                  <a:lnTo>
                    <a:pt x="3170" y="863"/>
                  </a:lnTo>
                  <a:lnTo>
                    <a:pt x="3162" y="863"/>
                  </a:lnTo>
                  <a:lnTo>
                    <a:pt x="3157" y="859"/>
                  </a:lnTo>
                  <a:lnTo>
                    <a:pt x="3155" y="851"/>
                  </a:lnTo>
                  <a:lnTo>
                    <a:pt x="3134" y="831"/>
                  </a:lnTo>
                  <a:lnTo>
                    <a:pt x="3126" y="819"/>
                  </a:lnTo>
                  <a:lnTo>
                    <a:pt x="3119" y="827"/>
                  </a:lnTo>
                  <a:lnTo>
                    <a:pt x="3121" y="836"/>
                  </a:lnTo>
                  <a:lnTo>
                    <a:pt x="3133" y="855"/>
                  </a:lnTo>
                  <a:lnTo>
                    <a:pt x="3134" y="868"/>
                  </a:lnTo>
                  <a:lnTo>
                    <a:pt x="3140" y="886"/>
                  </a:lnTo>
                  <a:lnTo>
                    <a:pt x="3140" y="892"/>
                  </a:lnTo>
                  <a:lnTo>
                    <a:pt x="3139" y="886"/>
                  </a:lnTo>
                  <a:lnTo>
                    <a:pt x="3128" y="884"/>
                  </a:lnTo>
                  <a:lnTo>
                    <a:pt x="3114" y="870"/>
                  </a:lnTo>
                  <a:lnTo>
                    <a:pt x="3106" y="866"/>
                  </a:lnTo>
                  <a:lnTo>
                    <a:pt x="3103" y="863"/>
                  </a:lnTo>
                  <a:lnTo>
                    <a:pt x="3100" y="863"/>
                  </a:lnTo>
                  <a:lnTo>
                    <a:pt x="3100" y="887"/>
                  </a:lnTo>
                  <a:lnTo>
                    <a:pt x="3084" y="881"/>
                  </a:lnTo>
                  <a:lnTo>
                    <a:pt x="3076" y="882"/>
                  </a:lnTo>
                  <a:lnTo>
                    <a:pt x="3065" y="874"/>
                  </a:lnTo>
                  <a:lnTo>
                    <a:pt x="3063" y="879"/>
                  </a:lnTo>
                  <a:lnTo>
                    <a:pt x="3053" y="836"/>
                  </a:lnTo>
                  <a:lnTo>
                    <a:pt x="3044" y="835"/>
                  </a:lnTo>
                  <a:lnTo>
                    <a:pt x="3026" y="849"/>
                  </a:lnTo>
                  <a:lnTo>
                    <a:pt x="3025" y="846"/>
                  </a:lnTo>
                  <a:lnTo>
                    <a:pt x="3017" y="847"/>
                  </a:lnTo>
                  <a:lnTo>
                    <a:pt x="2990" y="838"/>
                  </a:lnTo>
                  <a:lnTo>
                    <a:pt x="2979" y="847"/>
                  </a:lnTo>
                  <a:lnTo>
                    <a:pt x="2981" y="854"/>
                  </a:lnTo>
                  <a:lnTo>
                    <a:pt x="2977" y="856"/>
                  </a:lnTo>
                  <a:lnTo>
                    <a:pt x="2979" y="865"/>
                  </a:lnTo>
                  <a:lnTo>
                    <a:pt x="3003" y="877"/>
                  </a:lnTo>
                  <a:lnTo>
                    <a:pt x="3011" y="878"/>
                  </a:lnTo>
                  <a:lnTo>
                    <a:pt x="3017" y="887"/>
                  </a:lnTo>
                  <a:lnTo>
                    <a:pt x="3015" y="895"/>
                  </a:lnTo>
                  <a:lnTo>
                    <a:pt x="3015" y="905"/>
                  </a:lnTo>
                  <a:lnTo>
                    <a:pt x="3011" y="909"/>
                  </a:lnTo>
                  <a:lnTo>
                    <a:pt x="3011" y="915"/>
                  </a:lnTo>
                  <a:lnTo>
                    <a:pt x="3009" y="921"/>
                  </a:lnTo>
                  <a:lnTo>
                    <a:pt x="3001" y="927"/>
                  </a:lnTo>
                  <a:lnTo>
                    <a:pt x="2994" y="944"/>
                  </a:lnTo>
                  <a:lnTo>
                    <a:pt x="2988" y="953"/>
                  </a:lnTo>
                  <a:lnTo>
                    <a:pt x="2981" y="960"/>
                  </a:lnTo>
                  <a:lnTo>
                    <a:pt x="2978" y="968"/>
                  </a:lnTo>
                  <a:lnTo>
                    <a:pt x="2967" y="973"/>
                  </a:lnTo>
                  <a:lnTo>
                    <a:pt x="2960" y="991"/>
                  </a:lnTo>
                  <a:lnTo>
                    <a:pt x="2956" y="996"/>
                  </a:lnTo>
                  <a:lnTo>
                    <a:pt x="2946" y="999"/>
                  </a:lnTo>
                  <a:lnTo>
                    <a:pt x="2909" y="1002"/>
                  </a:lnTo>
                  <a:lnTo>
                    <a:pt x="2906" y="994"/>
                  </a:lnTo>
                  <a:lnTo>
                    <a:pt x="2900" y="984"/>
                  </a:lnTo>
                  <a:lnTo>
                    <a:pt x="2869" y="958"/>
                  </a:lnTo>
                  <a:lnTo>
                    <a:pt x="2869" y="956"/>
                  </a:lnTo>
                  <a:lnTo>
                    <a:pt x="2847" y="947"/>
                  </a:lnTo>
                  <a:lnTo>
                    <a:pt x="2826" y="930"/>
                  </a:lnTo>
                  <a:lnTo>
                    <a:pt x="2818" y="929"/>
                  </a:lnTo>
                  <a:lnTo>
                    <a:pt x="2810" y="932"/>
                  </a:lnTo>
                  <a:lnTo>
                    <a:pt x="2794" y="927"/>
                  </a:lnTo>
                  <a:lnTo>
                    <a:pt x="2789" y="940"/>
                  </a:lnTo>
                  <a:lnTo>
                    <a:pt x="2807" y="951"/>
                  </a:lnTo>
                  <a:lnTo>
                    <a:pt x="2822" y="967"/>
                  </a:lnTo>
                  <a:lnTo>
                    <a:pt x="2833" y="986"/>
                  </a:lnTo>
                  <a:lnTo>
                    <a:pt x="2850" y="1002"/>
                  </a:lnTo>
                  <a:lnTo>
                    <a:pt x="2879" y="1006"/>
                  </a:lnTo>
                  <a:lnTo>
                    <a:pt x="2903" y="1016"/>
                  </a:lnTo>
                  <a:lnTo>
                    <a:pt x="2912" y="1011"/>
                  </a:lnTo>
                  <a:lnTo>
                    <a:pt x="2936" y="1012"/>
                  </a:lnTo>
                  <a:lnTo>
                    <a:pt x="2961" y="1016"/>
                  </a:lnTo>
                  <a:lnTo>
                    <a:pt x="2962" y="1021"/>
                  </a:lnTo>
                  <a:lnTo>
                    <a:pt x="2968" y="1019"/>
                  </a:lnTo>
                  <a:lnTo>
                    <a:pt x="2965" y="1032"/>
                  </a:lnTo>
                  <a:lnTo>
                    <a:pt x="2960" y="1040"/>
                  </a:lnTo>
                  <a:lnTo>
                    <a:pt x="2960" y="1050"/>
                  </a:lnTo>
                  <a:lnTo>
                    <a:pt x="2950" y="1062"/>
                  </a:lnTo>
                  <a:lnTo>
                    <a:pt x="2946" y="1081"/>
                  </a:lnTo>
                  <a:lnTo>
                    <a:pt x="2939" y="1085"/>
                  </a:lnTo>
                  <a:lnTo>
                    <a:pt x="2931" y="1104"/>
                  </a:lnTo>
                  <a:lnTo>
                    <a:pt x="2918" y="1110"/>
                  </a:lnTo>
                  <a:lnTo>
                    <a:pt x="2918" y="1125"/>
                  </a:lnTo>
                  <a:lnTo>
                    <a:pt x="2913" y="1131"/>
                  </a:lnTo>
                  <a:lnTo>
                    <a:pt x="2903" y="1153"/>
                  </a:lnTo>
                  <a:lnTo>
                    <a:pt x="2900" y="1151"/>
                  </a:lnTo>
                  <a:lnTo>
                    <a:pt x="2888" y="1164"/>
                  </a:lnTo>
                  <a:lnTo>
                    <a:pt x="2871" y="1174"/>
                  </a:lnTo>
                  <a:lnTo>
                    <a:pt x="2850" y="1169"/>
                  </a:lnTo>
                  <a:lnTo>
                    <a:pt x="2847" y="1177"/>
                  </a:lnTo>
                  <a:lnTo>
                    <a:pt x="2827" y="1162"/>
                  </a:lnTo>
                  <a:lnTo>
                    <a:pt x="2826" y="1166"/>
                  </a:lnTo>
                  <a:lnTo>
                    <a:pt x="2826" y="1170"/>
                  </a:lnTo>
                  <a:lnTo>
                    <a:pt x="2820" y="1159"/>
                  </a:lnTo>
                  <a:lnTo>
                    <a:pt x="2816" y="1162"/>
                  </a:lnTo>
                  <a:lnTo>
                    <a:pt x="2809" y="1156"/>
                  </a:lnTo>
                  <a:lnTo>
                    <a:pt x="2804" y="1155"/>
                  </a:lnTo>
                  <a:lnTo>
                    <a:pt x="2806" y="1162"/>
                  </a:lnTo>
                  <a:lnTo>
                    <a:pt x="2806" y="1170"/>
                  </a:lnTo>
                  <a:lnTo>
                    <a:pt x="2809" y="1180"/>
                  </a:lnTo>
                  <a:lnTo>
                    <a:pt x="2809" y="1182"/>
                  </a:lnTo>
                  <a:lnTo>
                    <a:pt x="2804" y="1182"/>
                  </a:lnTo>
                  <a:lnTo>
                    <a:pt x="2796" y="1178"/>
                  </a:lnTo>
                  <a:lnTo>
                    <a:pt x="2795" y="1189"/>
                  </a:lnTo>
                  <a:lnTo>
                    <a:pt x="2800" y="1196"/>
                  </a:lnTo>
                  <a:lnTo>
                    <a:pt x="2796" y="1201"/>
                  </a:lnTo>
                  <a:lnTo>
                    <a:pt x="2793" y="1215"/>
                  </a:lnTo>
                  <a:lnTo>
                    <a:pt x="2788" y="1222"/>
                  </a:lnTo>
                  <a:lnTo>
                    <a:pt x="2780" y="1222"/>
                  </a:lnTo>
                  <a:lnTo>
                    <a:pt x="2778" y="1229"/>
                  </a:lnTo>
                  <a:lnTo>
                    <a:pt x="2773" y="1231"/>
                  </a:lnTo>
                  <a:lnTo>
                    <a:pt x="2767" y="1228"/>
                  </a:lnTo>
                  <a:lnTo>
                    <a:pt x="2763" y="1237"/>
                  </a:lnTo>
                  <a:lnTo>
                    <a:pt x="2758" y="1229"/>
                  </a:lnTo>
                  <a:lnTo>
                    <a:pt x="2752" y="1227"/>
                  </a:lnTo>
                  <a:lnTo>
                    <a:pt x="2746" y="1221"/>
                  </a:lnTo>
                  <a:lnTo>
                    <a:pt x="2734" y="1216"/>
                  </a:lnTo>
                  <a:lnTo>
                    <a:pt x="2721" y="1205"/>
                  </a:lnTo>
                  <a:lnTo>
                    <a:pt x="2716" y="1209"/>
                  </a:lnTo>
                  <a:lnTo>
                    <a:pt x="2714" y="1195"/>
                  </a:lnTo>
                  <a:lnTo>
                    <a:pt x="2707" y="1204"/>
                  </a:lnTo>
                  <a:lnTo>
                    <a:pt x="2697" y="1205"/>
                  </a:lnTo>
                  <a:lnTo>
                    <a:pt x="2692" y="1200"/>
                  </a:lnTo>
                  <a:lnTo>
                    <a:pt x="2688" y="1204"/>
                  </a:lnTo>
                  <a:lnTo>
                    <a:pt x="2678" y="1204"/>
                  </a:lnTo>
                  <a:lnTo>
                    <a:pt x="2658" y="1195"/>
                  </a:lnTo>
                  <a:lnTo>
                    <a:pt x="2654" y="1189"/>
                  </a:lnTo>
                  <a:lnTo>
                    <a:pt x="2608" y="1167"/>
                  </a:lnTo>
                  <a:lnTo>
                    <a:pt x="2606" y="1170"/>
                  </a:lnTo>
                  <a:lnTo>
                    <a:pt x="2600" y="1182"/>
                  </a:lnTo>
                  <a:lnTo>
                    <a:pt x="2602" y="1189"/>
                  </a:lnTo>
                  <a:lnTo>
                    <a:pt x="2611" y="1195"/>
                  </a:lnTo>
                  <a:lnTo>
                    <a:pt x="2618" y="1191"/>
                  </a:lnTo>
                  <a:lnTo>
                    <a:pt x="2617" y="1186"/>
                  </a:lnTo>
                  <a:lnTo>
                    <a:pt x="2617" y="1180"/>
                  </a:lnTo>
                  <a:lnTo>
                    <a:pt x="2626" y="1189"/>
                  </a:lnTo>
                  <a:lnTo>
                    <a:pt x="2642" y="1194"/>
                  </a:lnTo>
                  <a:lnTo>
                    <a:pt x="2654" y="1200"/>
                  </a:lnTo>
                  <a:lnTo>
                    <a:pt x="2656" y="1205"/>
                  </a:lnTo>
                  <a:lnTo>
                    <a:pt x="2656" y="1211"/>
                  </a:lnTo>
                  <a:lnTo>
                    <a:pt x="2662" y="1202"/>
                  </a:lnTo>
                  <a:lnTo>
                    <a:pt x="2682" y="1209"/>
                  </a:lnTo>
                  <a:lnTo>
                    <a:pt x="2683" y="1215"/>
                  </a:lnTo>
                  <a:lnTo>
                    <a:pt x="2676" y="1220"/>
                  </a:lnTo>
                  <a:lnTo>
                    <a:pt x="2672" y="1227"/>
                  </a:lnTo>
                  <a:lnTo>
                    <a:pt x="2678" y="1228"/>
                  </a:lnTo>
                  <a:lnTo>
                    <a:pt x="2682" y="1220"/>
                  </a:lnTo>
                  <a:lnTo>
                    <a:pt x="2689" y="1213"/>
                  </a:lnTo>
                  <a:lnTo>
                    <a:pt x="2701" y="1211"/>
                  </a:lnTo>
                  <a:lnTo>
                    <a:pt x="2709" y="1215"/>
                  </a:lnTo>
                  <a:lnTo>
                    <a:pt x="2712" y="1222"/>
                  </a:lnTo>
                  <a:lnTo>
                    <a:pt x="2724" y="1233"/>
                  </a:lnTo>
                  <a:lnTo>
                    <a:pt x="2737" y="1237"/>
                  </a:lnTo>
                  <a:lnTo>
                    <a:pt x="2740" y="1242"/>
                  </a:lnTo>
                  <a:lnTo>
                    <a:pt x="2748" y="1238"/>
                  </a:lnTo>
                  <a:lnTo>
                    <a:pt x="2751" y="1243"/>
                  </a:lnTo>
                  <a:lnTo>
                    <a:pt x="2750" y="1248"/>
                  </a:lnTo>
                  <a:lnTo>
                    <a:pt x="2758" y="1258"/>
                  </a:lnTo>
                  <a:lnTo>
                    <a:pt x="2759" y="1264"/>
                  </a:lnTo>
                  <a:lnTo>
                    <a:pt x="2764" y="1287"/>
                  </a:lnTo>
                  <a:lnTo>
                    <a:pt x="2763" y="1298"/>
                  </a:lnTo>
                  <a:lnTo>
                    <a:pt x="2761" y="1304"/>
                  </a:lnTo>
                  <a:lnTo>
                    <a:pt x="2756" y="1311"/>
                  </a:lnTo>
                  <a:lnTo>
                    <a:pt x="2734" y="1311"/>
                  </a:lnTo>
                  <a:lnTo>
                    <a:pt x="2726" y="1318"/>
                  </a:lnTo>
                  <a:lnTo>
                    <a:pt x="2719" y="1322"/>
                  </a:lnTo>
                  <a:lnTo>
                    <a:pt x="2708" y="1323"/>
                  </a:lnTo>
                  <a:lnTo>
                    <a:pt x="2685" y="1320"/>
                  </a:lnTo>
                  <a:lnTo>
                    <a:pt x="2676" y="1323"/>
                  </a:lnTo>
                  <a:lnTo>
                    <a:pt x="2665" y="1319"/>
                  </a:lnTo>
                  <a:lnTo>
                    <a:pt x="2661" y="1326"/>
                  </a:lnTo>
                  <a:lnTo>
                    <a:pt x="2670" y="1341"/>
                  </a:lnTo>
                  <a:lnTo>
                    <a:pt x="2686" y="1340"/>
                  </a:lnTo>
                  <a:lnTo>
                    <a:pt x="2688" y="1347"/>
                  </a:lnTo>
                  <a:lnTo>
                    <a:pt x="2676" y="1351"/>
                  </a:lnTo>
                  <a:lnTo>
                    <a:pt x="2667" y="1347"/>
                  </a:lnTo>
                  <a:lnTo>
                    <a:pt x="2655" y="1349"/>
                  </a:lnTo>
                  <a:lnTo>
                    <a:pt x="2651" y="1368"/>
                  </a:lnTo>
                  <a:lnTo>
                    <a:pt x="2651" y="1379"/>
                  </a:lnTo>
                  <a:lnTo>
                    <a:pt x="2656" y="1410"/>
                  </a:lnTo>
                  <a:lnTo>
                    <a:pt x="2639" y="1390"/>
                  </a:lnTo>
                  <a:lnTo>
                    <a:pt x="2633" y="1393"/>
                  </a:lnTo>
                  <a:lnTo>
                    <a:pt x="2634" y="1400"/>
                  </a:lnTo>
                  <a:lnTo>
                    <a:pt x="2626" y="1406"/>
                  </a:lnTo>
                  <a:lnTo>
                    <a:pt x="2626" y="1414"/>
                  </a:lnTo>
                  <a:lnTo>
                    <a:pt x="2622" y="1421"/>
                  </a:lnTo>
                  <a:lnTo>
                    <a:pt x="2621" y="1426"/>
                  </a:lnTo>
                  <a:lnTo>
                    <a:pt x="2605" y="1426"/>
                  </a:lnTo>
                  <a:lnTo>
                    <a:pt x="2608" y="1437"/>
                  </a:lnTo>
                  <a:lnTo>
                    <a:pt x="2613" y="1441"/>
                  </a:lnTo>
                  <a:lnTo>
                    <a:pt x="2603" y="1459"/>
                  </a:lnTo>
                  <a:lnTo>
                    <a:pt x="2581" y="1475"/>
                  </a:lnTo>
                  <a:lnTo>
                    <a:pt x="2575" y="1482"/>
                  </a:lnTo>
                  <a:lnTo>
                    <a:pt x="2551" y="1484"/>
                  </a:lnTo>
                  <a:lnTo>
                    <a:pt x="2546" y="1489"/>
                  </a:lnTo>
                  <a:lnTo>
                    <a:pt x="2568" y="1506"/>
                  </a:lnTo>
                  <a:lnTo>
                    <a:pt x="2568" y="1512"/>
                  </a:lnTo>
                  <a:lnTo>
                    <a:pt x="2565" y="1524"/>
                  </a:lnTo>
                  <a:lnTo>
                    <a:pt x="2563" y="1538"/>
                  </a:lnTo>
                  <a:lnTo>
                    <a:pt x="2560" y="1544"/>
                  </a:lnTo>
                  <a:lnTo>
                    <a:pt x="2549" y="1548"/>
                  </a:lnTo>
                  <a:lnTo>
                    <a:pt x="2551" y="1573"/>
                  </a:lnTo>
                  <a:lnTo>
                    <a:pt x="2547" y="1583"/>
                  </a:lnTo>
                  <a:lnTo>
                    <a:pt x="2540" y="1584"/>
                  </a:lnTo>
                  <a:lnTo>
                    <a:pt x="2537" y="1589"/>
                  </a:lnTo>
                  <a:lnTo>
                    <a:pt x="2541" y="1605"/>
                  </a:lnTo>
                  <a:lnTo>
                    <a:pt x="2538" y="1632"/>
                  </a:lnTo>
                  <a:lnTo>
                    <a:pt x="2537" y="1642"/>
                  </a:lnTo>
                  <a:lnTo>
                    <a:pt x="2533" y="1675"/>
                  </a:lnTo>
                  <a:lnTo>
                    <a:pt x="2533" y="1702"/>
                  </a:lnTo>
                  <a:lnTo>
                    <a:pt x="2535" y="1718"/>
                  </a:lnTo>
                  <a:lnTo>
                    <a:pt x="2535" y="1729"/>
                  </a:lnTo>
                  <a:lnTo>
                    <a:pt x="2525" y="1747"/>
                  </a:lnTo>
                  <a:lnTo>
                    <a:pt x="2533" y="1749"/>
                  </a:lnTo>
                  <a:lnTo>
                    <a:pt x="2537" y="1758"/>
                  </a:lnTo>
                  <a:lnTo>
                    <a:pt x="2545" y="1770"/>
                  </a:lnTo>
                  <a:lnTo>
                    <a:pt x="2551" y="1776"/>
                  </a:lnTo>
                  <a:lnTo>
                    <a:pt x="2552" y="1776"/>
                  </a:lnTo>
                  <a:lnTo>
                    <a:pt x="2558" y="1772"/>
                  </a:lnTo>
                  <a:lnTo>
                    <a:pt x="2559" y="1779"/>
                  </a:lnTo>
                  <a:lnTo>
                    <a:pt x="2560" y="1802"/>
                  </a:lnTo>
                  <a:lnTo>
                    <a:pt x="2564" y="1797"/>
                  </a:lnTo>
                  <a:lnTo>
                    <a:pt x="2564" y="1775"/>
                  </a:lnTo>
                  <a:lnTo>
                    <a:pt x="2568" y="1772"/>
                  </a:lnTo>
                  <a:lnTo>
                    <a:pt x="2596" y="1772"/>
                  </a:lnTo>
                  <a:lnTo>
                    <a:pt x="2601" y="1776"/>
                  </a:lnTo>
                  <a:lnTo>
                    <a:pt x="2608" y="1776"/>
                  </a:lnTo>
                  <a:lnTo>
                    <a:pt x="2613" y="1774"/>
                  </a:lnTo>
                  <a:lnTo>
                    <a:pt x="2622" y="1779"/>
                  </a:lnTo>
                  <a:lnTo>
                    <a:pt x="2624" y="1785"/>
                  </a:lnTo>
                  <a:lnTo>
                    <a:pt x="2628" y="1812"/>
                  </a:lnTo>
                  <a:lnTo>
                    <a:pt x="2646" y="1856"/>
                  </a:lnTo>
                  <a:lnTo>
                    <a:pt x="2646" y="1876"/>
                  </a:lnTo>
                  <a:lnTo>
                    <a:pt x="2648" y="1890"/>
                  </a:lnTo>
                  <a:lnTo>
                    <a:pt x="2660" y="1909"/>
                  </a:lnTo>
                  <a:lnTo>
                    <a:pt x="2662" y="1936"/>
                  </a:lnTo>
                  <a:lnTo>
                    <a:pt x="2661" y="1944"/>
                  </a:lnTo>
                  <a:lnTo>
                    <a:pt x="2658" y="1953"/>
                  </a:lnTo>
                  <a:lnTo>
                    <a:pt x="2650" y="1959"/>
                  </a:lnTo>
                  <a:lnTo>
                    <a:pt x="2644" y="1964"/>
                  </a:lnTo>
                  <a:lnTo>
                    <a:pt x="2645" y="1966"/>
                  </a:lnTo>
                  <a:lnTo>
                    <a:pt x="2666" y="1955"/>
                  </a:lnTo>
                  <a:lnTo>
                    <a:pt x="2666" y="1964"/>
                  </a:lnTo>
                  <a:lnTo>
                    <a:pt x="2670" y="1964"/>
                  </a:lnTo>
                  <a:lnTo>
                    <a:pt x="2686" y="1952"/>
                  </a:lnTo>
                  <a:lnTo>
                    <a:pt x="2734" y="1930"/>
                  </a:lnTo>
                  <a:lnTo>
                    <a:pt x="2756" y="1936"/>
                  </a:lnTo>
                  <a:lnTo>
                    <a:pt x="2762" y="1942"/>
                  </a:lnTo>
                  <a:lnTo>
                    <a:pt x="2774" y="1948"/>
                  </a:lnTo>
                  <a:lnTo>
                    <a:pt x="2779" y="1957"/>
                  </a:lnTo>
                  <a:lnTo>
                    <a:pt x="2796" y="1964"/>
                  </a:lnTo>
                  <a:lnTo>
                    <a:pt x="2821" y="1976"/>
                  </a:lnTo>
                  <a:lnTo>
                    <a:pt x="2842" y="1977"/>
                  </a:lnTo>
                  <a:lnTo>
                    <a:pt x="2847" y="1980"/>
                  </a:lnTo>
                  <a:lnTo>
                    <a:pt x="2885" y="2006"/>
                  </a:lnTo>
                  <a:lnTo>
                    <a:pt x="2900" y="2012"/>
                  </a:lnTo>
                  <a:lnTo>
                    <a:pt x="2920" y="2043"/>
                  </a:lnTo>
                  <a:lnTo>
                    <a:pt x="2924" y="2049"/>
                  </a:lnTo>
                  <a:lnTo>
                    <a:pt x="2923" y="2056"/>
                  </a:lnTo>
                  <a:lnTo>
                    <a:pt x="2929" y="2061"/>
                  </a:lnTo>
                  <a:lnTo>
                    <a:pt x="2934" y="2057"/>
                  </a:lnTo>
                  <a:lnTo>
                    <a:pt x="2939" y="2060"/>
                  </a:lnTo>
                  <a:lnTo>
                    <a:pt x="2943" y="2065"/>
                  </a:lnTo>
                  <a:lnTo>
                    <a:pt x="2950" y="2066"/>
                  </a:lnTo>
                  <a:lnTo>
                    <a:pt x="2958" y="2065"/>
                  </a:lnTo>
                  <a:lnTo>
                    <a:pt x="2966" y="2066"/>
                  </a:lnTo>
                  <a:lnTo>
                    <a:pt x="2978" y="2076"/>
                  </a:lnTo>
                  <a:lnTo>
                    <a:pt x="3020" y="2089"/>
                  </a:lnTo>
                  <a:lnTo>
                    <a:pt x="3032" y="2099"/>
                  </a:lnTo>
                  <a:lnTo>
                    <a:pt x="3035" y="2106"/>
                  </a:lnTo>
                  <a:lnTo>
                    <a:pt x="3051" y="2116"/>
                  </a:lnTo>
                  <a:lnTo>
                    <a:pt x="3052" y="2122"/>
                  </a:lnTo>
                  <a:lnTo>
                    <a:pt x="3046" y="2137"/>
                  </a:lnTo>
                  <a:lnTo>
                    <a:pt x="3042" y="2149"/>
                  </a:lnTo>
                  <a:lnTo>
                    <a:pt x="3033" y="2169"/>
                  </a:lnTo>
                  <a:lnTo>
                    <a:pt x="3046" y="2148"/>
                  </a:lnTo>
                  <a:lnTo>
                    <a:pt x="3051" y="2136"/>
                  </a:lnTo>
                  <a:lnTo>
                    <a:pt x="3056" y="2127"/>
                  </a:lnTo>
                  <a:lnTo>
                    <a:pt x="3112" y="2126"/>
                  </a:lnTo>
                  <a:lnTo>
                    <a:pt x="3139" y="2132"/>
                  </a:lnTo>
                  <a:lnTo>
                    <a:pt x="3160" y="2130"/>
                  </a:lnTo>
                  <a:lnTo>
                    <a:pt x="3166" y="2131"/>
                  </a:lnTo>
                  <a:lnTo>
                    <a:pt x="3171" y="2127"/>
                  </a:lnTo>
                  <a:lnTo>
                    <a:pt x="3182" y="2130"/>
                  </a:lnTo>
                  <a:lnTo>
                    <a:pt x="3185" y="2137"/>
                  </a:lnTo>
                  <a:lnTo>
                    <a:pt x="3193" y="2136"/>
                  </a:lnTo>
                  <a:lnTo>
                    <a:pt x="3203" y="2140"/>
                  </a:lnTo>
                  <a:lnTo>
                    <a:pt x="3210" y="2145"/>
                  </a:lnTo>
                  <a:lnTo>
                    <a:pt x="3216" y="2141"/>
                  </a:lnTo>
                  <a:lnTo>
                    <a:pt x="3221" y="2165"/>
                  </a:lnTo>
                  <a:lnTo>
                    <a:pt x="3219" y="2199"/>
                  </a:lnTo>
                  <a:lnTo>
                    <a:pt x="3214" y="2217"/>
                  </a:lnTo>
                  <a:lnTo>
                    <a:pt x="3213" y="2235"/>
                  </a:lnTo>
                  <a:lnTo>
                    <a:pt x="3219" y="2246"/>
                  </a:lnTo>
                  <a:lnTo>
                    <a:pt x="3221" y="2258"/>
                  </a:lnTo>
                  <a:lnTo>
                    <a:pt x="3221" y="2281"/>
                  </a:lnTo>
                  <a:lnTo>
                    <a:pt x="3225" y="2314"/>
                  </a:lnTo>
                  <a:lnTo>
                    <a:pt x="3219" y="2321"/>
                  </a:lnTo>
                  <a:lnTo>
                    <a:pt x="3219" y="2341"/>
                  </a:lnTo>
                  <a:lnTo>
                    <a:pt x="3223" y="2348"/>
                  </a:lnTo>
                  <a:lnTo>
                    <a:pt x="3228" y="2352"/>
                  </a:lnTo>
                  <a:lnTo>
                    <a:pt x="3230" y="2358"/>
                  </a:lnTo>
                  <a:lnTo>
                    <a:pt x="3239" y="2369"/>
                  </a:lnTo>
                  <a:lnTo>
                    <a:pt x="3247" y="2373"/>
                  </a:lnTo>
                  <a:lnTo>
                    <a:pt x="3255" y="2382"/>
                  </a:lnTo>
                  <a:lnTo>
                    <a:pt x="3259" y="2393"/>
                  </a:lnTo>
                  <a:lnTo>
                    <a:pt x="3267" y="2402"/>
                  </a:lnTo>
                  <a:lnTo>
                    <a:pt x="3267" y="2405"/>
                  </a:lnTo>
                  <a:lnTo>
                    <a:pt x="3253" y="2406"/>
                  </a:lnTo>
                  <a:lnTo>
                    <a:pt x="3234" y="2418"/>
                  </a:lnTo>
                  <a:lnTo>
                    <a:pt x="3229" y="2423"/>
                  </a:lnTo>
                  <a:lnTo>
                    <a:pt x="3229" y="2425"/>
                  </a:lnTo>
                  <a:lnTo>
                    <a:pt x="3262" y="2416"/>
                  </a:lnTo>
                  <a:lnTo>
                    <a:pt x="3272" y="2417"/>
                  </a:lnTo>
                  <a:lnTo>
                    <a:pt x="3279" y="2421"/>
                  </a:lnTo>
                  <a:lnTo>
                    <a:pt x="3307" y="2450"/>
                  </a:lnTo>
                  <a:lnTo>
                    <a:pt x="3312" y="2459"/>
                  </a:lnTo>
                  <a:lnTo>
                    <a:pt x="3317" y="2477"/>
                  </a:lnTo>
                  <a:lnTo>
                    <a:pt x="3314" y="2486"/>
                  </a:lnTo>
                  <a:lnTo>
                    <a:pt x="3289" y="2514"/>
                  </a:lnTo>
                  <a:lnTo>
                    <a:pt x="3314" y="2495"/>
                  </a:lnTo>
                  <a:lnTo>
                    <a:pt x="3318" y="2488"/>
                  </a:lnTo>
                  <a:lnTo>
                    <a:pt x="3323" y="2488"/>
                  </a:lnTo>
                  <a:lnTo>
                    <a:pt x="3337" y="2500"/>
                  </a:lnTo>
                  <a:lnTo>
                    <a:pt x="3344" y="2501"/>
                  </a:lnTo>
                  <a:lnTo>
                    <a:pt x="3359" y="2512"/>
                  </a:lnTo>
                  <a:lnTo>
                    <a:pt x="3363" y="2509"/>
                  </a:lnTo>
                  <a:lnTo>
                    <a:pt x="3360" y="2482"/>
                  </a:lnTo>
                  <a:lnTo>
                    <a:pt x="3363" y="2476"/>
                  </a:lnTo>
                  <a:lnTo>
                    <a:pt x="3370" y="2476"/>
                  </a:lnTo>
                  <a:lnTo>
                    <a:pt x="3370" y="2470"/>
                  </a:lnTo>
                  <a:lnTo>
                    <a:pt x="3371" y="2464"/>
                  </a:lnTo>
                  <a:lnTo>
                    <a:pt x="3379" y="2461"/>
                  </a:lnTo>
                  <a:lnTo>
                    <a:pt x="3386" y="2461"/>
                  </a:lnTo>
                  <a:lnTo>
                    <a:pt x="3386" y="2466"/>
                  </a:lnTo>
                  <a:lnTo>
                    <a:pt x="3399" y="2475"/>
                  </a:lnTo>
                  <a:lnTo>
                    <a:pt x="3402" y="2495"/>
                  </a:lnTo>
                  <a:lnTo>
                    <a:pt x="3408" y="2493"/>
                  </a:lnTo>
                  <a:lnTo>
                    <a:pt x="3415" y="2487"/>
                  </a:lnTo>
                  <a:lnTo>
                    <a:pt x="3415" y="2481"/>
                  </a:lnTo>
                  <a:lnTo>
                    <a:pt x="3419" y="2477"/>
                  </a:lnTo>
                  <a:lnTo>
                    <a:pt x="3420" y="2470"/>
                  </a:lnTo>
                  <a:lnTo>
                    <a:pt x="3412" y="2468"/>
                  </a:lnTo>
                  <a:lnTo>
                    <a:pt x="3401" y="2450"/>
                  </a:lnTo>
                  <a:lnTo>
                    <a:pt x="3399" y="2443"/>
                  </a:lnTo>
                  <a:lnTo>
                    <a:pt x="3412" y="2442"/>
                  </a:lnTo>
                  <a:lnTo>
                    <a:pt x="3412" y="2437"/>
                  </a:lnTo>
                  <a:lnTo>
                    <a:pt x="3420" y="2432"/>
                  </a:lnTo>
                  <a:lnTo>
                    <a:pt x="3424" y="2421"/>
                  </a:lnTo>
                  <a:lnTo>
                    <a:pt x="3429" y="2415"/>
                  </a:lnTo>
                  <a:lnTo>
                    <a:pt x="3435" y="2410"/>
                  </a:lnTo>
                  <a:lnTo>
                    <a:pt x="3454" y="2411"/>
                  </a:lnTo>
                  <a:lnTo>
                    <a:pt x="3460" y="2407"/>
                  </a:lnTo>
                  <a:lnTo>
                    <a:pt x="3460" y="2405"/>
                  </a:lnTo>
                  <a:lnTo>
                    <a:pt x="3444" y="2407"/>
                  </a:lnTo>
                  <a:lnTo>
                    <a:pt x="3436" y="2406"/>
                  </a:lnTo>
                  <a:lnTo>
                    <a:pt x="3429" y="2400"/>
                  </a:lnTo>
                  <a:lnTo>
                    <a:pt x="3427" y="2391"/>
                  </a:lnTo>
                  <a:lnTo>
                    <a:pt x="3424" y="2387"/>
                  </a:lnTo>
                  <a:lnTo>
                    <a:pt x="3417" y="2383"/>
                  </a:lnTo>
                  <a:lnTo>
                    <a:pt x="3411" y="2364"/>
                  </a:lnTo>
                  <a:lnTo>
                    <a:pt x="3414" y="2361"/>
                  </a:lnTo>
                  <a:lnTo>
                    <a:pt x="3415" y="2356"/>
                  </a:lnTo>
                  <a:lnTo>
                    <a:pt x="3411" y="2353"/>
                  </a:lnTo>
                  <a:lnTo>
                    <a:pt x="3407" y="2309"/>
                  </a:lnTo>
                  <a:lnTo>
                    <a:pt x="3404" y="2299"/>
                  </a:lnTo>
                  <a:lnTo>
                    <a:pt x="3403" y="2274"/>
                  </a:lnTo>
                  <a:lnTo>
                    <a:pt x="3404" y="2264"/>
                  </a:lnTo>
                  <a:lnTo>
                    <a:pt x="3402" y="2251"/>
                  </a:lnTo>
                  <a:lnTo>
                    <a:pt x="3399" y="2242"/>
                  </a:lnTo>
                  <a:lnTo>
                    <a:pt x="3391" y="2232"/>
                  </a:lnTo>
                  <a:lnTo>
                    <a:pt x="3379" y="2206"/>
                  </a:lnTo>
                  <a:lnTo>
                    <a:pt x="3374" y="2200"/>
                  </a:lnTo>
                  <a:lnTo>
                    <a:pt x="3366" y="2197"/>
                  </a:lnTo>
                  <a:lnTo>
                    <a:pt x="3361" y="2195"/>
                  </a:lnTo>
                  <a:lnTo>
                    <a:pt x="3380" y="2186"/>
                  </a:lnTo>
                  <a:lnTo>
                    <a:pt x="3407" y="2169"/>
                  </a:lnTo>
                  <a:lnTo>
                    <a:pt x="3422" y="2162"/>
                  </a:lnTo>
                  <a:lnTo>
                    <a:pt x="3449" y="2140"/>
                  </a:lnTo>
                  <a:lnTo>
                    <a:pt x="3461" y="2132"/>
                  </a:lnTo>
                  <a:lnTo>
                    <a:pt x="3476" y="2119"/>
                  </a:lnTo>
                  <a:lnTo>
                    <a:pt x="3489" y="2104"/>
                  </a:lnTo>
                  <a:lnTo>
                    <a:pt x="3476" y="2114"/>
                  </a:lnTo>
                  <a:lnTo>
                    <a:pt x="3492" y="2092"/>
                  </a:lnTo>
                  <a:lnTo>
                    <a:pt x="3513" y="2055"/>
                  </a:lnTo>
                  <a:lnTo>
                    <a:pt x="3519" y="2041"/>
                  </a:lnTo>
                  <a:lnTo>
                    <a:pt x="3524" y="2036"/>
                  </a:lnTo>
                  <a:lnTo>
                    <a:pt x="3532" y="2038"/>
                  </a:lnTo>
                  <a:lnTo>
                    <a:pt x="3541" y="2045"/>
                  </a:lnTo>
                  <a:lnTo>
                    <a:pt x="3551" y="2040"/>
                  </a:lnTo>
                  <a:lnTo>
                    <a:pt x="3554" y="2032"/>
                  </a:lnTo>
                  <a:lnTo>
                    <a:pt x="3548" y="2030"/>
                  </a:lnTo>
                  <a:lnTo>
                    <a:pt x="3543" y="2007"/>
                  </a:lnTo>
                  <a:lnTo>
                    <a:pt x="3540" y="2001"/>
                  </a:lnTo>
                  <a:lnTo>
                    <a:pt x="3531" y="2022"/>
                  </a:lnTo>
                  <a:lnTo>
                    <a:pt x="3527" y="2030"/>
                  </a:lnTo>
                  <a:lnTo>
                    <a:pt x="3525" y="2027"/>
                  </a:lnTo>
                  <a:lnTo>
                    <a:pt x="3524" y="2005"/>
                  </a:lnTo>
                  <a:lnTo>
                    <a:pt x="3521" y="1980"/>
                  </a:lnTo>
                  <a:lnTo>
                    <a:pt x="3517" y="1959"/>
                  </a:lnTo>
                  <a:lnTo>
                    <a:pt x="3514" y="1953"/>
                  </a:lnTo>
                  <a:lnTo>
                    <a:pt x="3511" y="1947"/>
                  </a:lnTo>
                  <a:lnTo>
                    <a:pt x="3510" y="1927"/>
                  </a:lnTo>
                  <a:lnTo>
                    <a:pt x="3500" y="1892"/>
                  </a:lnTo>
                  <a:lnTo>
                    <a:pt x="3492" y="1861"/>
                  </a:lnTo>
                  <a:lnTo>
                    <a:pt x="3490" y="1849"/>
                  </a:lnTo>
                  <a:lnTo>
                    <a:pt x="3483" y="1835"/>
                  </a:lnTo>
                  <a:lnTo>
                    <a:pt x="3483" y="1829"/>
                  </a:lnTo>
                  <a:lnTo>
                    <a:pt x="3482" y="1825"/>
                  </a:lnTo>
                  <a:lnTo>
                    <a:pt x="3472" y="1826"/>
                  </a:lnTo>
                  <a:lnTo>
                    <a:pt x="3454" y="1815"/>
                  </a:lnTo>
                  <a:lnTo>
                    <a:pt x="3449" y="1809"/>
                  </a:lnTo>
                  <a:lnTo>
                    <a:pt x="3428" y="1793"/>
                  </a:lnTo>
                  <a:lnTo>
                    <a:pt x="3413" y="1777"/>
                  </a:lnTo>
                  <a:lnTo>
                    <a:pt x="3411" y="1771"/>
                  </a:lnTo>
                  <a:lnTo>
                    <a:pt x="3414" y="1767"/>
                  </a:lnTo>
                  <a:lnTo>
                    <a:pt x="3412" y="1760"/>
                  </a:lnTo>
                  <a:lnTo>
                    <a:pt x="3411" y="1749"/>
                  </a:lnTo>
                  <a:lnTo>
                    <a:pt x="3413" y="1740"/>
                  </a:lnTo>
                  <a:lnTo>
                    <a:pt x="3419" y="1739"/>
                  </a:lnTo>
                  <a:lnTo>
                    <a:pt x="3433" y="1729"/>
                  </a:lnTo>
                  <a:lnTo>
                    <a:pt x="3451" y="1729"/>
                  </a:lnTo>
                  <a:lnTo>
                    <a:pt x="3455" y="1723"/>
                  </a:lnTo>
                  <a:lnTo>
                    <a:pt x="3471" y="1722"/>
                  </a:lnTo>
                  <a:lnTo>
                    <a:pt x="3471" y="1708"/>
                  </a:lnTo>
                  <a:lnTo>
                    <a:pt x="3465" y="1705"/>
                  </a:lnTo>
                  <a:lnTo>
                    <a:pt x="3465" y="1695"/>
                  </a:lnTo>
                  <a:lnTo>
                    <a:pt x="3470" y="1683"/>
                  </a:lnTo>
                  <a:lnTo>
                    <a:pt x="3483" y="1688"/>
                  </a:lnTo>
                  <a:lnTo>
                    <a:pt x="3487" y="1691"/>
                  </a:lnTo>
                  <a:lnTo>
                    <a:pt x="3508" y="1686"/>
                  </a:lnTo>
                  <a:lnTo>
                    <a:pt x="3492" y="1681"/>
                  </a:lnTo>
                  <a:lnTo>
                    <a:pt x="3487" y="1675"/>
                  </a:lnTo>
                  <a:lnTo>
                    <a:pt x="3487" y="1664"/>
                  </a:lnTo>
                  <a:lnTo>
                    <a:pt x="3489" y="1658"/>
                  </a:lnTo>
                  <a:lnTo>
                    <a:pt x="3493" y="1658"/>
                  </a:lnTo>
                  <a:lnTo>
                    <a:pt x="3500" y="1643"/>
                  </a:lnTo>
                  <a:lnTo>
                    <a:pt x="3493" y="1648"/>
                  </a:lnTo>
                  <a:lnTo>
                    <a:pt x="3471" y="1645"/>
                  </a:lnTo>
                  <a:lnTo>
                    <a:pt x="3471" y="1635"/>
                  </a:lnTo>
                  <a:lnTo>
                    <a:pt x="3476" y="1637"/>
                  </a:lnTo>
                  <a:lnTo>
                    <a:pt x="3482" y="1634"/>
                  </a:lnTo>
                  <a:lnTo>
                    <a:pt x="3483" y="1625"/>
                  </a:lnTo>
                  <a:lnTo>
                    <a:pt x="3477" y="1616"/>
                  </a:lnTo>
                  <a:lnTo>
                    <a:pt x="3476" y="1615"/>
                  </a:lnTo>
                  <a:lnTo>
                    <a:pt x="3467" y="1597"/>
                  </a:lnTo>
                  <a:lnTo>
                    <a:pt x="3472" y="1578"/>
                  </a:lnTo>
                  <a:lnTo>
                    <a:pt x="3466" y="1576"/>
                  </a:lnTo>
                  <a:lnTo>
                    <a:pt x="3465" y="1568"/>
                  </a:lnTo>
                  <a:lnTo>
                    <a:pt x="3483" y="1562"/>
                  </a:lnTo>
                  <a:lnTo>
                    <a:pt x="3483" y="1561"/>
                  </a:lnTo>
                  <a:lnTo>
                    <a:pt x="3473" y="1561"/>
                  </a:lnTo>
                  <a:lnTo>
                    <a:pt x="3468" y="1556"/>
                  </a:lnTo>
                  <a:lnTo>
                    <a:pt x="3460" y="1561"/>
                  </a:lnTo>
                  <a:lnTo>
                    <a:pt x="3452" y="1559"/>
                  </a:lnTo>
                  <a:lnTo>
                    <a:pt x="3445" y="1550"/>
                  </a:lnTo>
                  <a:lnTo>
                    <a:pt x="3445" y="1539"/>
                  </a:lnTo>
                  <a:lnTo>
                    <a:pt x="3456" y="1523"/>
                  </a:lnTo>
                  <a:lnTo>
                    <a:pt x="3461" y="1505"/>
                  </a:lnTo>
                  <a:lnTo>
                    <a:pt x="3467" y="1500"/>
                  </a:lnTo>
                  <a:lnTo>
                    <a:pt x="3467" y="1486"/>
                  </a:lnTo>
                  <a:lnTo>
                    <a:pt x="3471" y="1485"/>
                  </a:lnTo>
                  <a:lnTo>
                    <a:pt x="3476" y="1478"/>
                  </a:lnTo>
                  <a:lnTo>
                    <a:pt x="3476" y="1468"/>
                  </a:lnTo>
                  <a:lnTo>
                    <a:pt x="3483" y="1465"/>
                  </a:lnTo>
                  <a:lnTo>
                    <a:pt x="3485" y="1447"/>
                  </a:lnTo>
                  <a:lnTo>
                    <a:pt x="3481" y="1454"/>
                  </a:lnTo>
                  <a:lnTo>
                    <a:pt x="3472" y="1457"/>
                  </a:lnTo>
                  <a:lnTo>
                    <a:pt x="3466" y="1452"/>
                  </a:lnTo>
                  <a:lnTo>
                    <a:pt x="3458" y="1449"/>
                  </a:lnTo>
                  <a:lnTo>
                    <a:pt x="3449" y="1441"/>
                  </a:lnTo>
                  <a:lnTo>
                    <a:pt x="3447" y="1428"/>
                  </a:lnTo>
                  <a:lnTo>
                    <a:pt x="3442" y="1419"/>
                  </a:lnTo>
                  <a:lnTo>
                    <a:pt x="3441" y="1404"/>
                  </a:lnTo>
                  <a:lnTo>
                    <a:pt x="3441" y="1392"/>
                  </a:lnTo>
                  <a:lnTo>
                    <a:pt x="3442" y="1387"/>
                  </a:lnTo>
                  <a:lnTo>
                    <a:pt x="3454" y="1379"/>
                  </a:lnTo>
                  <a:lnTo>
                    <a:pt x="3466" y="1360"/>
                  </a:lnTo>
                  <a:lnTo>
                    <a:pt x="3474" y="1350"/>
                  </a:lnTo>
                  <a:lnTo>
                    <a:pt x="3481" y="1347"/>
                  </a:lnTo>
                  <a:lnTo>
                    <a:pt x="3481" y="1355"/>
                  </a:lnTo>
                  <a:lnTo>
                    <a:pt x="3490" y="1354"/>
                  </a:lnTo>
                  <a:lnTo>
                    <a:pt x="3516" y="1355"/>
                  </a:lnTo>
                  <a:lnTo>
                    <a:pt x="3547" y="1362"/>
                  </a:lnTo>
                  <a:lnTo>
                    <a:pt x="3552" y="1367"/>
                  </a:lnTo>
                  <a:lnTo>
                    <a:pt x="3553" y="1369"/>
                  </a:lnTo>
                  <a:lnTo>
                    <a:pt x="3562" y="1374"/>
                  </a:lnTo>
                  <a:lnTo>
                    <a:pt x="3579" y="1377"/>
                  </a:lnTo>
                  <a:lnTo>
                    <a:pt x="3586" y="1379"/>
                  </a:lnTo>
                  <a:lnTo>
                    <a:pt x="3583" y="1388"/>
                  </a:lnTo>
                  <a:lnTo>
                    <a:pt x="3585" y="1390"/>
                  </a:lnTo>
                  <a:lnTo>
                    <a:pt x="3596" y="1383"/>
                  </a:lnTo>
                  <a:lnTo>
                    <a:pt x="3612" y="1383"/>
                  </a:lnTo>
                  <a:lnTo>
                    <a:pt x="3616" y="1389"/>
                  </a:lnTo>
                  <a:lnTo>
                    <a:pt x="3613" y="1397"/>
                  </a:lnTo>
                  <a:lnTo>
                    <a:pt x="3633" y="1395"/>
                  </a:lnTo>
                  <a:lnTo>
                    <a:pt x="3630" y="1390"/>
                  </a:lnTo>
                  <a:lnTo>
                    <a:pt x="3637" y="1384"/>
                  </a:lnTo>
                  <a:lnTo>
                    <a:pt x="3670" y="1373"/>
                  </a:lnTo>
                  <a:lnTo>
                    <a:pt x="3682" y="1361"/>
                  </a:lnTo>
                  <a:lnTo>
                    <a:pt x="3715" y="1378"/>
                  </a:lnTo>
                  <a:lnTo>
                    <a:pt x="3724" y="1390"/>
                  </a:lnTo>
                  <a:lnTo>
                    <a:pt x="3739" y="1397"/>
                  </a:lnTo>
                  <a:lnTo>
                    <a:pt x="3748" y="1398"/>
                  </a:lnTo>
                  <a:lnTo>
                    <a:pt x="3751" y="1403"/>
                  </a:lnTo>
                  <a:lnTo>
                    <a:pt x="3752" y="1411"/>
                  </a:lnTo>
                  <a:lnTo>
                    <a:pt x="3740" y="1438"/>
                  </a:lnTo>
                  <a:lnTo>
                    <a:pt x="3743" y="1435"/>
                  </a:lnTo>
                  <a:lnTo>
                    <a:pt x="3751" y="1437"/>
                  </a:lnTo>
                  <a:lnTo>
                    <a:pt x="3753" y="1433"/>
                  </a:lnTo>
                  <a:lnTo>
                    <a:pt x="3753" y="1422"/>
                  </a:lnTo>
                  <a:lnTo>
                    <a:pt x="3759" y="1421"/>
                  </a:lnTo>
                  <a:lnTo>
                    <a:pt x="3769" y="1425"/>
                  </a:lnTo>
                  <a:lnTo>
                    <a:pt x="3769" y="1441"/>
                  </a:lnTo>
                  <a:lnTo>
                    <a:pt x="3775" y="1448"/>
                  </a:lnTo>
                  <a:lnTo>
                    <a:pt x="3778" y="1455"/>
                  </a:lnTo>
                  <a:lnTo>
                    <a:pt x="3770" y="1460"/>
                  </a:lnTo>
                  <a:lnTo>
                    <a:pt x="3772" y="1469"/>
                  </a:lnTo>
                  <a:lnTo>
                    <a:pt x="3782" y="1465"/>
                  </a:lnTo>
                  <a:lnTo>
                    <a:pt x="3784" y="1458"/>
                  </a:lnTo>
                  <a:lnTo>
                    <a:pt x="3793" y="1455"/>
                  </a:lnTo>
                  <a:lnTo>
                    <a:pt x="3801" y="1458"/>
                  </a:lnTo>
                  <a:lnTo>
                    <a:pt x="3807" y="1464"/>
                  </a:lnTo>
                  <a:lnTo>
                    <a:pt x="3802" y="1471"/>
                  </a:lnTo>
                  <a:lnTo>
                    <a:pt x="3798" y="1474"/>
                  </a:lnTo>
                  <a:lnTo>
                    <a:pt x="3791" y="1479"/>
                  </a:lnTo>
                  <a:lnTo>
                    <a:pt x="3791" y="1489"/>
                  </a:lnTo>
                  <a:lnTo>
                    <a:pt x="3794" y="1495"/>
                  </a:lnTo>
                  <a:lnTo>
                    <a:pt x="3799" y="1501"/>
                  </a:lnTo>
                  <a:lnTo>
                    <a:pt x="3807" y="1503"/>
                  </a:lnTo>
                  <a:lnTo>
                    <a:pt x="3805" y="1511"/>
                  </a:lnTo>
                  <a:lnTo>
                    <a:pt x="3806" y="1514"/>
                  </a:lnTo>
                  <a:lnTo>
                    <a:pt x="3823" y="1511"/>
                  </a:lnTo>
                  <a:lnTo>
                    <a:pt x="3834" y="1513"/>
                  </a:lnTo>
                  <a:lnTo>
                    <a:pt x="3837" y="1523"/>
                  </a:lnTo>
                  <a:lnTo>
                    <a:pt x="3843" y="1532"/>
                  </a:lnTo>
                  <a:lnTo>
                    <a:pt x="3849" y="1524"/>
                  </a:lnTo>
                  <a:lnTo>
                    <a:pt x="3864" y="1529"/>
                  </a:lnTo>
                  <a:lnTo>
                    <a:pt x="3877" y="1523"/>
                  </a:lnTo>
                  <a:lnTo>
                    <a:pt x="3882" y="1529"/>
                  </a:lnTo>
                  <a:lnTo>
                    <a:pt x="3884" y="1537"/>
                  </a:lnTo>
                  <a:lnTo>
                    <a:pt x="3884" y="1544"/>
                  </a:lnTo>
                  <a:lnTo>
                    <a:pt x="3888" y="1545"/>
                  </a:lnTo>
                  <a:lnTo>
                    <a:pt x="3908" y="1535"/>
                  </a:lnTo>
                  <a:lnTo>
                    <a:pt x="3907" y="1528"/>
                  </a:lnTo>
                  <a:lnTo>
                    <a:pt x="3914" y="1524"/>
                  </a:lnTo>
                  <a:lnTo>
                    <a:pt x="3925" y="1541"/>
                  </a:lnTo>
                  <a:lnTo>
                    <a:pt x="3926" y="1548"/>
                  </a:lnTo>
                  <a:lnTo>
                    <a:pt x="3925" y="1553"/>
                  </a:lnTo>
                  <a:lnTo>
                    <a:pt x="3920" y="1560"/>
                  </a:lnTo>
                  <a:lnTo>
                    <a:pt x="3912" y="1566"/>
                  </a:lnTo>
                  <a:lnTo>
                    <a:pt x="3912" y="1575"/>
                  </a:lnTo>
                  <a:lnTo>
                    <a:pt x="3909" y="1584"/>
                  </a:lnTo>
                  <a:lnTo>
                    <a:pt x="3912" y="1592"/>
                  </a:lnTo>
                  <a:lnTo>
                    <a:pt x="3911" y="1598"/>
                  </a:lnTo>
                  <a:lnTo>
                    <a:pt x="3915" y="1599"/>
                  </a:lnTo>
                  <a:lnTo>
                    <a:pt x="3918" y="1615"/>
                  </a:lnTo>
                  <a:lnTo>
                    <a:pt x="3926" y="1632"/>
                  </a:lnTo>
                  <a:lnTo>
                    <a:pt x="3913" y="1634"/>
                  </a:lnTo>
                  <a:lnTo>
                    <a:pt x="3912" y="1638"/>
                  </a:lnTo>
                  <a:lnTo>
                    <a:pt x="3908" y="1642"/>
                  </a:lnTo>
                  <a:lnTo>
                    <a:pt x="3896" y="1642"/>
                  </a:lnTo>
                  <a:lnTo>
                    <a:pt x="3887" y="1640"/>
                  </a:lnTo>
                  <a:lnTo>
                    <a:pt x="3869" y="1641"/>
                  </a:lnTo>
                  <a:lnTo>
                    <a:pt x="3853" y="1638"/>
                  </a:lnTo>
                  <a:lnTo>
                    <a:pt x="3842" y="1631"/>
                  </a:lnTo>
                  <a:lnTo>
                    <a:pt x="3831" y="1632"/>
                  </a:lnTo>
                  <a:lnTo>
                    <a:pt x="3826" y="1636"/>
                  </a:lnTo>
                  <a:lnTo>
                    <a:pt x="3845" y="1638"/>
                  </a:lnTo>
                  <a:lnTo>
                    <a:pt x="3863" y="1650"/>
                  </a:lnTo>
                  <a:lnTo>
                    <a:pt x="3899" y="1648"/>
                  </a:lnTo>
                  <a:lnTo>
                    <a:pt x="3912" y="1653"/>
                  </a:lnTo>
                  <a:lnTo>
                    <a:pt x="3924" y="1664"/>
                  </a:lnTo>
                  <a:lnTo>
                    <a:pt x="3926" y="1674"/>
                  </a:lnTo>
                  <a:lnTo>
                    <a:pt x="3924" y="1677"/>
                  </a:lnTo>
                  <a:lnTo>
                    <a:pt x="3926" y="1683"/>
                  </a:lnTo>
                  <a:lnTo>
                    <a:pt x="3913" y="1713"/>
                  </a:lnTo>
                  <a:lnTo>
                    <a:pt x="3915" y="1717"/>
                  </a:lnTo>
                  <a:lnTo>
                    <a:pt x="3931" y="1712"/>
                  </a:lnTo>
                  <a:lnTo>
                    <a:pt x="3938" y="1717"/>
                  </a:lnTo>
                  <a:lnTo>
                    <a:pt x="3935" y="1722"/>
                  </a:lnTo>
                  <a:lnTo>
                    <a:pt x="3923" y="1731"/>
                  </a:lnTo>
                  <a:lnTo>
                    <a:pt x="3924" y="1736"/>
                  </a:lnTo>
                  <a:lnTo>
                    <a:pt x="3934" y="1736"/>
                  </a:lnTo>
                  <a:lnTo>
                    <a:pt x="3938" y="1743"/>
                  </a:lnTo>
                  <a:lnTo>
                    <a:pt x="3938" y="1748"/>
                  </a:lnTo>
                  <a:lnTo>
                    <a:pt x="3935" y="1751"/>
                  </a:lnTo>
                  <a:lnTo>
                    <a:pt x="3931" y="1750"/>
                  </a:lnTo>
                  <a:lnTo>
                    <a:pt x="3930" y="1748"/>
                  </a:lnTo>
                  <a:lnTo>
                    <a:pt x="3924" y="1755"/>
                  </a:lnTo>
                  <a:lnTo>
                    <a:pt x="3912" y="1766"/>
                  </a:lnTo>
                  <a:lnTo>
                    <a:pt x="3909" y="1755"/>
                  </a:lnTo>
                  <a:lnTo>
                    <a:pt x="3903" y="1749"/>
                  </a:lnTo>
                  <a:lnTo>
                    <a:pt x="3893" y="1750"/>
                  </a:lnTo>
                  <a:lnTo>
                    <a:pt x="3899" y="1764"/>
                  </a:lnTo>
                  <a:lnTo>
                    <a:pt x="3899" y="1770"/>
                  </a:lnTo>
                  <a:lnTo>
                    <a:pt x="3879" y="1774"/>
                  </a:lnTo>
                  <a:lnTo>
                    <a:pt x="3885" y="1779"/>
                  </a:lnTo>
                  <a:lnTo>
                    <a:pt x="3895" y="1779"/>
                  </a:lnTo>
                  <a:lnTo>
                    <a:pt x="3901" y="1780"/>
                  </a:lnTo>
                  <a:lnTo>
                    <a:pt x="3907" y="1787"/>
                  </a:lnTo>
                  <a:lnTo>
                    <a:pt x="3924" y="1770"/>
                  </a:lnTo>
                  <a:lnTo>
                    <a:pt x="3931" y="1765"/>
                  </a:lnTo>
                  <a:lnTo>
                    <a:pt x="3945" y="1765"/>
                  </a:lnTo>
                  <a:lnTo>
                    <a:pt x="3956" y="1761"/>
                  </a:lnTo>
                  <a:lnTo>
                    <a:pt x="3969" y="1760"/>
                  </a:lnTo>
                  <a:lnTo>
                    <a:pt x="3979" y="1764"/>
                  </a:lnTo>
                  <a:lnTo>
                    <a:pt x="3985" y="1788"/>
                  </a:lnTo>
                  <a:lnTo>
                    <a:pt x="3990" y="1793"/>
                  </a:lnTo>
                  <a:lnTo>
                    <a:pt x="3992" y="1808"/>
                  </a:lnTo>
                  <a:lnTo>
                    <a:pt x="3987" y="1839"/>
                  </a:lnTo>
                  <a:lnTo>
                    <a:pt x="3972" y="1851"/>
                  </a:lnTo>
                  <a:lnTo>
                    <a:pt x="3934" y="1872"/>
                  </a:lnTo>
                  <a:lnTo>
                    <a:pt x="3966" y="1860"/>
                  </a:lnTo>
                  <a:lnTo>
                    <a:pt x="3987" y="1844"/>
                  </a:lnTo>
                  <a:lnTo>
                    <a:pt x="3994" y="1829"/>
                  </a:lnTo>
                  <a:lnTo>
                    <a:pt x="4000" y="1802"/>
                  </a:lnTo>
                  <a:lnTo>
                    <a:pt x="4008" y="1791"/>
                  </a:lnTo>
                  <a:lnTo>
                    <a:pt x="4008" y="1812"/>
                  </a:lnTo>
                  <a:lnTo>
                    <a:pt x="4005" y="1818"/>
                  </a:lnTo>
                  <a:lnTo>
                    <a:pt x="4015" y="1807"/>
                  </a:lnTo>
                  <a:lnTo>
                    <a:pt x="4017" y="1817"/>
                  </a:lnTo>
                  <a:lnTo>
                    <a:pt x="4015" y="1825"/>
                  </a:lnTo>
                  <a:lnTo>
                    <a:pt x="4016" y="1840"/>
                  </a:lnTo>
                  <a:lnTo>
                    <a:pt x="4019" y="1844"/>
                  </a:lnTo>
                  <a:lnTo>
                    <a:pt x="4026" y="1828"/>
                  </a:lnTo>
                  <a:lnTo>
                    <a:pt x="4055" y="1808"/>
                  </a:lnTo>
                  <a:lnTo>
                    <a:pt x="4078" y="1802"/>
                  </a:lnTo>
                  <a:lnTo>
                    <a:pt x="4079" y="1788"/>
                  </a:lnTo>
                  <a:lnTo>
                    <a:pt x="4085" y="1775"/>
                  </a:lnTo>
                  <a:lnTo>
                    <a:pt x="4091" y="1766"/>
                  </a:lnTo>
                  <a:lnTo>
                    <a:pt x="4100" y="1775"/>
                  </a:lnTo>
                  <a:lnTo>
                    <a:pt x="4112" y="1781"/>
                  </a:lnTo>
                  <a:lnTo>
                    <a:pt x="4116" y="1791"/>
                  </a:lnTo>
                  <a:lnTo>
                    <a:pt x="4111" y="1809"/>
                  </a:lnTo>
                  <a:lnTo>
                    <a:pt x="4114" y="1803"/>
                  </a:lnTo>
                  <a:lnTo>
                    <a:pt x="4123" y="1782"/>
                  </a:lnTo>
                  <a:lnTo>
                    <a:pt x="4116" y="1772"/>
                  </a:lnTo>
                  <a:lnTo>
                    <a:pt x="4110" y="1766"/>
                  </a:lnTo>
                  <a:lnTo>
                    <a:pt x="4106" y="1758"/>
                  </a:lnTo>
                  <a:lnTo>
                    <a:pt x="4116" y="1766"/>
                  </a:lnTo>
                  <a:lnTo>
                    <a:pt x="4122" y="1764"/>
                  </a:lnTo>
                  <a:lnTo>
                    <a:pt x="4127" y="1758"/>
                  </a:lnTo>
                  <a:lnTo>
                    <a:pt x="4123" y="1755"/>
                  </a:lnTo>
                  <a:lnTo>
                    <a:pt x="4124" y="1745"/>
                  </a:lnTo>
                  <a:lnTo>
                    <a:pt x="4133" y="1747"/>
                  </a:lnTo>
                  <a:lnTo>
                    <a:pt x="4135" y="1732"/>
                  </a:lnTo>
                  <a:lnTo>
                    <a:pt x="4130" y="1718"/>
                  </a:lnTo>
                  <a:lnTo>
                    <a:pt x="4137" y="1726"/>
                  </a:lnTo>
                  <a:lnTo>
                    <a:pt x="4141" y="1717"/>
                  </a:lnTo>
                  <a:lnTo>
                    <a:pt x="4149" y="1712"/>
                  </a:lnTo>
                  <a:lnTo>
                    <a:pt x="4149" y="1704"/>
                  </a:lnTo>
                  <a:lnTo>
                    <a:pt x="4157" y="1699"/>
                  </a:lnTo>
                  <a:lnTo>
                    <a:pt x="4150" y="1686"/>
                  </a:lnTo>
                  <a:lnTo>
                    <a:pt x="4143" y="1679"/>
                  </a:lnTo>
                  <a:lnTo>
                    <a:pt x="4138" y="1669"/>
                  </a:lnTo>
                  <a:lnTo>
                    <a:pt x="4143" y="1658"/>
                  </a:lnTo>
                  <a:lnTo>
                    <a:pt x="4157" y="1635"/>
                  </a:lnTo>
                  <a:lnTo>
                    <a:pt x="4165" y="1630"/>
                  </a:lnTo>
                  <a:lnTo>
                    <a:pt x="4172" y="1621"/>
                  </a:lnTo>
                  <a:lnTo>
                    <a:pt x="4172" y="1619"/>
                  </a:lnTo>
                  <a:lnTo>
                    <a:pt x="4177" y="1609"/>
                  </a:lnTo>
                  <a:lnTo>
                    <a:pt x="4186" y="1608"/>
                  </a:lnTo>
                  <a:lnTo>
                    <a:pt x="4196" y="1609"/>
                  </a:lnTo>
                  <a:lnTo>
                    <a:pt x="4198" y="1615"/>
                  </a:lnTo>
                  <a:lnTo>
                    <a:pt x="4194" y="1621"/>
                  </a:lnTo>
                  <a:lnTo>
                    <a:pt x="4202" y="1623"/>
                  </a:lnTo>
                  <a:lnTo>
                    <a:pt x="4200" y="1631"/>
                  </a:lnTo>
                  <a:lnTo>
                    <a:pt x="4203" y="1638"/>
                  </a:lnTo>
                  <a:lnTo>
                    <a:pt x="4203" y="1650"/>
                  </a:lnTo>
                  <a:lnTo>
                    <a:pt x="4198" y="1656"/>
                  </a:lnTo>
                  <a:lnTo>
                    <a:pt x="4207" y="1651"/>
                  </a:lnTo>
                  <a:lnTo>
                    <a:pt x="4211" y="1656"/>
                  </a:lnTo>
                  <a:lnTo>
                    <a:pt x="4211" y="1679"/>
                  </a:lnTo>
                  <a:lnTo>
                    <a:pt x="4223" y="1680"/>
                  </a:lnTo>
                  <a:lnTo>
                    <a:pt x="4218" y="1683"/>
                  </a:lnTo>
                  <a:lnTo>
                    <a:pt x="4219" y="1690"/>
                  </a:lnTo>
                  <a:lnTo>
                    <a:pt x="4229" y="1688"/>
                  </a:lnTo>
                  <a:lnTo>
                    <a:pt x="4239" y="1693"/>
                  </a:lnTo>
                  <a:lnTo>
                    <a:pt x="4234" y="1700"/>
                  </a:lnTo>
                  <a:lnTo>
                    <a:pt x="4226" y="1708"/>
                  </a:lnTo>
                  <a:lnTo>
                    <a:pt x="4237" y="1710"/>
                  </a:lnTo>
                  <a:lnTo>
                    <a:pt x="4240" y="1718"/>
                  </a:lnTo>
                  <a:lnTo>
                    <a:pt x="4243" y="1710"/>
                  </a:lnTo>
                  <a:lnTo>
                    <a:pt x="4248" y="1712"/>
                  </a:lnTo>
                  <a:lnTo>
                    <a:pt x="4248" y="1724"/>
                  </a:lnTo>
                  <a:lnTo>
                    <a:pt x="4254" y="1721"/>
                  </a:lnTo>
                  <a:lnTo>
                    <a:pt x="4259" y="1724"/>
                  </a:lnTo>
                  <a:lnTo>
                    <a:pt x="4258" y="1734"/>
                  </a:lnTo>
                  <a:lnTo>
                    <a:pt x="4247" y="1740"/>
                  </a:lnTo>
                  <a:lnTo>
                    <a:pt x="4226" y="1740"/>
                  </a:lnTo>
                  <a:lnTo>
                    <a:pt x="4214" y="1747"/>
                  </a:lnTo>
                  <a:lnTo>
                    <a:pt x="4211" y="1753"/>
                  </a:lnTo>
                  <a:lnTo>
                    <a:pt x="4221" y="1745"/>
                  </a:lnTo>
                  <a:lnTo>
                    <a:pt x="4226" y="1749"/>
                  </a:lnTo>
                  <a:lnTo>
                    <a:pt x="4234" y="1747"/>
                  </a:lnTo>
                  <a:lnTo>
                    <a:pt x="4250" y="1747"/>
                  </a:lnTo>
                  <a:lnTo>
                    <a:pt x="4266" y="1742"/>
                  </a:lnTo>
                  <a:lnTo>
                    <a:pt x="4269" y="1743"/>
                  </a:lnTo>
                  <a:lnTo>
                    <a:pt x="4266" y="1754"/>
                  </a:lnTo>
                  <a:lnTo>
                    <a:pt x="4268" y="1755"/>
                  </a:lnTo>
                  <a:lnTo>
                    <a:pt x="4268" y="1764"/>
                  </a:lnTo>
                  <a:lnTo>
                    <a:pt x="4266" y="1771"/>
                  </a:lnTo>
                  <a:lnTo>
                    <a:pt x="4270" y="1769"/>
                  </a:lnTo>
                  <a:lnTo>
                    <a:pt x="4283" y="1770"/>
                  </a:lnTo>
                  <a:lnTo>
                    <a:pt x="4280" y="1781"/>
                  </a:lnTo>
                  <a:lnTo>
                    <a:pt x="4282" y="1785"/>
                  </a:lnTo>
                  <a:lnTo>
                    <a:pt x="4289" y="1787"/>
                  </a:lnTo>
                  <a:lnTo>
                    <a:pt x="4286" y="1792"/>
                  </a:lnTo>
                  <a:lnTo>
                    <a:pt x="4278" y="1796"/>
                  </a:lnTo>
                  <a:lnTo>
                    <a:pt x="4264" y="1798"/>
                  </a:lnTo>
                  <a:lnTo>
                    <a:pt x="4257" y="1794"/>
                  </a:lnTo>
                  <a:lnTo>
                    <a:pt x="4251" y="1797"/>
                  </a:lnTo>
                  <a:lnTo>
                    <a:pt x="4251" y="1802"/>
                  </a:lnTo>
                  <a:lnTo>
                    <a:pt x="4256" y="1806"/>
                  </a:lnTo>
                  <a:lnTo>
                    <a:pt x="4266" y="1803"/>
                  </a:lnTo>
                  <a:lnTo>
                    <a:pt x="4284" y="1804"/>
                  </a:lnTo>
                  <a:lnTo>
                    <a:pt x="4301" y="1803"/>
                  </a:lnTo>
                  <a:lnTo>
                    <a:pt x="4304" y="1814"/>
                  </a:lnTo>
                  <a:lnTo>
                    <a:pt x="4297" y="1819"/>
                  </a:lnTo>
                  <a:lnTo>
                    <a:pt x="4294" y="1825"/>
                  </a:lnTo>
                  <a:lnTo>
                    <a:pt x="4299" y="1828"/>
                  </a:lnTo>
                  <a:lnTo>
                    <a:pt x="4293" y="1833"/>
                  </a:lnTo>
                  <a:lnTo>
                    <a:pt x="4280" y="1836"/>
                  </a:lnTo>
                  <a:lnTo>
                    <a:pt x="4269" y="1851"/>
                  </a:lnTo>
                  <a:lnTo>
                    <a:pt x="4278" y="1850"/>
                  </a:lnTo>
                  <a:lnTo>
                    <a:pt x="4286" y="1842"/>
                  </a:lnTo>
                  <a:lnTo>
                    <a:pt x="4296" y="1841"/>
                  </a:lnTo>
                  <a:lnTo>
                    <a:pt x="4305" y="1837"/>
                  </a:lnTo>
                  <a:lnTo>
                    <a:pt x="4315" y="1852"/>
                  </a:lnTo>
                  <a:lnTo>
                    <a:pt x="4310" y="1853"/>
                  </a:lnTo>
                  <a:lnTo>
                    <a:pt x="4304" y="1860"/>
                  </a:lnTo>
                  <a:lnTo>
                    <a:pt x="4304" y="1866"/>
                  </a:lnTo>
                  <a:lnTo>
                    <a:pt x="4315" y="1861"/>
                  </a:lnTo>
                  <a:lnTo>
                    <a:pt x="4322" y="1864"/>
                  </a:lnTo>
                  <a:lnTo>
                    <a:pt x="4322" y="1867"/>
                  </a:lnTo>
                  <a:lnTo>
                    <a:pt x="4331" y="1878"/>
                  </a:lnTo>
                  <a:lnTo>
                    <a:pt x="4339" y="1884"/>
                  </a:lnTo>
                  <a:lnTo>
                    <a:pt x="4342" y="1893"/>
                  </a:lnTo>
                  <a:lnTo>
                    <a:pt x="4323" y="1907"/>
                  </a:lnTo>
                  <a:lnTo>
                    <a:pt x="4312" y="1907"/>
                  </a:lnTo>
                  <a:lnTo>
                    <a:pt x="4312" y="1914"/>
                  </a:lnTo>
                  <a:lnTo>
                    <a:pt x="4339" y="1912"/>
                  </a:lnTo>
                  <a:lnTo>
                    <a:pt x="4347" y="1922"/>
                  </a:lnTo>
                  <a:lnTo>
                    <a:pt x="4342" y="1932"/>
                  </a:lnTo>
                  <a:lnTo>
                    <a:pt x="4364" y="1939"/>
                  </a:lnTo>
                  <a:lnTo>
                    <a:pt x="4368" y="1953"/>
                  </a:lnTo>
                  <a:lnTo>
                    <a:pt x="4358" y="1963"/>
                  </a:lnTo>
                  <a:lnTo>
                    <a:pt x="4347" y="1974"/>
                  </a:lnTo>
                  <a:lnTo>
                    <a:pt x="4350" y="1987"/>
                  </a:lnTo>
                  <a:lnTo>
                    <a:pt x="4343" y="1989"/>
                  </a:lnTo>
                  <a:lnTo>
                    <a:pt x="4315" y="1973"/>
                  </a:lnTo>
                  <a:lnTo>
                    <a:pt x="4312" y="1979"/>
                  </a:lnTo>
                  <a:lnTo>
                    <a:pt x="4326" y="1984"/>
                  </a:lnTo>
                  <a:lnTo>
                    <a:pt x="4326" y="1986"/>
                  </a:lnTo>
                  <a:lnTo>
                    <a:pt x="4295" y="1990"/>
                  </a:lnTo>
                  <a:lnTo>
                    <a:pt x="4286" y="1992"/>
                  </a:lnTo>
                  <a:lnTo>
                    <a:pt x="4302" y="1996"/>
                  </a:lnTo>
                  <a:lnTo>
                    <a:pt x="4334" y="1995"/>
                  </a:lnTo>
                  <a:lnTo>
                    <a:pt x="4348" y="1997"/>
                  </a:lnTo>
                  <a:lnTo>
                    <a:pt x="4350" y="2002"/>
                  </a:lnTo>
                  <a:lnTo>
                    <a:pt x="4342" y="2003"/>
                  </a:lnTo>
                  <a:lnTo>
                    <a:pt x="4334" y="2009"/>
                  </a:lnTo>
                  <a:lnTo>
                    <a:pt x="4336" y="2013"/>
                  </a:lnTo>
                  <a:lnTo>
                    <a:pt x="4350" y="2022"/>
                  </a:lnTo>
                  <a:lnTo>
                    <a:pt x="4352" y="2028"/>
                  </a:lnTo>
                  <a:lnTo>
                    <a:pt x="4342" y="2027"/>
                  </a:lnTo>
                  <a:lnTo>
                    <a:pt x="4338" y="2036"/>
                  </a:lnTo>
                  <a:lnTo>
                    <a:pt x="4371" y="2034"/>
                  </a:lnTo>
                  <a:lnTo>
                    <a:pt x="4375" y="2055"/>
                  </a:lnTo>
                  <a:lnTo>
                    <a:pt x="4379" y="2060"/>
                  </a:lnTo>
                  <a:lnTo>
                    <a:pt x="4374" y="2065"/>
                  </a:lnTo>
                  <a:lnTo>
                    <a:pt x="4403" y="2068"/>
                  </a:lnTo>
                  <a:lnTo>
                    <a:pt x="4411" y="2073"/>
                  </a:lnTo>
                  <a:lnTo>
                    <a:pt x="4412" y="2084"/>
                  </a:lnTo>
                  <a:lnTo>
                    <a:pt x="4418" y="2079"/>
                  </a:lnTo>
                  <a:lnTo>
                    <a:pt x="4428" y="2079"/>
                  </a:lnTo>
                  <a:lnTo>
                    <a:pt x="4428" y="2089"/>
                  </a:lnTo>
                  <a:lnTo>
                    <a:pt x="4424" y="2097"/>
                  </a:lnTo>
                  <a:lnTo>
                    <a:pt x="4429" y="2102"/>
                  </a:lnTo>
                  <a:lnTo>
                    <a:pt x="4431" y="2110"/>
                  </a:lnTo>
                  <a:lnTo>
                    <a:pt x="4420" y="2122"/>
                  </a:lnTo>
                  <a:lnTo>
                    <a:pt x="4420" y="2126"/>
                  </a:lnTo>
                  <a:lnTo>
                    <a:pt x="4433" y="2119"/>
                  </a:lnTo>
                  <a:lnTo>
                    <a:pt x="4447" y="2130"/>
                  </a:lnTo>
                  <a:lnTo>
                    <a:pt x="4452" y="2125"/>
                  </a:lnTo>
                  <a:lnTo>
                    <a:pt x="4462" y="2120"/>
                  </a:lnTo>
                  <a:lnTo>
                    <a:pt x="4463" y="2129"/>
                  </a:lnTo>
                  <a:lnTo>
                    <a:pt x="4473" y="2132"/>
                  </a:lnTo>
                  <a:lnTo>
                    <a:pt x="4461" y="2162"/>
                  </a:lnTo>
                  <a:lnTo>
                    <a:pt x="4469" y="2154"/>
                  </a:lnTo>
                  <a:lnTo>
                    <a:pt x="4481" y="2138"/>
                  </a:lnTo>
                  <a:lnTo>
                    <a:pt x="4490" y="2131"/>
                  </a:lnTo>
                  <a:lnTo>
                    <a:pt x="4489" y="2145"/>
                  </a:lnTo>
                  <a:lnTo>
                    <a:pt x="4493" y="2145"/>
                  </a:lnTo>
                  <a:lnTo>
                    <a:pt x="4499" y="2137"/>
                  </a:lnTo>
                  <a:lnTo>
                    <a:pt x="4501" y="2149"/>
                  </a:lnTo>
                  <a:lnTo>
                    <a:pt x="4504" y="2158"/>
                  </a:lnTo>
                  <a:lnTo>
                    <a:pt x="4510" y="2164"/>
                  </a:lnTo>
                  <a:lnTo>
                    <a:pt x="4522" y="2167"/>
                  </a:lnTo>
                  <a:lnTo>
                    <a:pt x="4536" y="2174"/>
                  </a:lnTo>
                  <a:lnTo>
                    <a:pt x="4543" y="2170"/>
                  </a:lnTo>
                  <a:lnTo>
                    <a:pt x="4542" y="2163"/>
                  </a:lnTo>
                  <a:lnTo>
                    <a:pt x="4552" y="2156"/>
                  </a:lnTo>
                  <a:lnTo>
                    <a:pt x="4559" y="2165"/>
                  </a:lnTo>
                  <a:lnTo>
                    <a:pt x="4557" y="2174"/>
                  </a:lnTo>
                  <a:lnTo>
                    <a:pt x="4568" y="2176"/>
                  </a:lnTo>
                  <a:lnTo>
                    <a:pt x="4575" y="2181"/>
                  </a:lnTo>
                  <a:lnTo>
                    <a:pt x="4581" y="2183"/>
                  </a:lnTo>
                  <a:lnTo>
                    <a:pt x="4586" y="2192"/>
                  </a:lnTo>
                  <a:lnTo>
                    <a:pt x="4581" y="2199"/>
                  </a:lnTo>
                  <a:lnTo>
                    <a:pt x="4581" y="2203"/>
                  </a:lnTo>
                  <a:lnTo>
                    <a:pt x="4580" y="2206"/>
                  </a:lnTo>
                  <a:lnTo>
                    <a:pt x="4571" y="2208"/>
                  </a:lnTo>
                  <a:lnTo>
                    <a:pt x="4565" y="2206"/>
                  </a:lnTo>
                  <a:lnTo>
                    <a:pt x="4558" y="2207"/>
                  </a:lnTo>
                  <a:lnTo>
                    <a:pt x="4544" y="2213"/>
                  </a:lnTo>
                  <a:lnTo>
                    <a:pt x="4539" y="2216"/>
                  </a:lnTo>
                  <a:lnTo>
                    <a:pt x="4539" y="2218"/>
                  </a:lnTo>
                  <a:lnTo>
                    <a:pt x="4524" y="2228"/>
                  </a:lnTo>
                  <a:lnTo>
                    <a:pt x="4494" y="2232"/>
                  </a:lnTo>
                  <a:lnTo>
                    <a:pt x="4477" y="2238"/>
                  </a:lnTo>
                  <a:lnTo>
                    <a:pt x="4469" y="2246"/>
                  </a:lnTo>
                  <a:lnTo>
                    <a:pt x="4482" y="2246"/>
                  </a:lnTo>
                  <a:lnTo>
                    <a:pt x="4495" y="2242"/>
                  </a:lnTo>
                  <a:lnTo>
                    <a:pt x="4510" y="2233"/>
                  </a:lnTo>
                  <a:lnTo>
                    <a:pt x="4515" y="2235"/>
                  </a:lnTo>
                  <a:lnTo>
                    <a:pt x="4482" y="2251"/>
                  </a:lnTo>
                  <a:lnTo>
                    <a:pt x="4467" y="2256"/>
                  </a:lnTo>
                  <a:lnTo>
                    <a:pt x="4452" y="2256"/>
                  </a:lnTo>
                  <a:lnTo>
                    <a:pt x="4436" y="2280"/>
                  </a:lnTo>
                  <a:lnTo>
                    <a:pt x="4424" y="2276"/>
                  </a:lnTo>
                  <a:lnTo>
                    <a:pt x="4413" y="2267"/>
                  </a:lnTo>
                  <a:lnTo>
                    <a:pt x="4399" y="2264"/>
                  </a:lnTo>
                  <a:lnTo>
                    <a:pt x="4386" y="2265"/>
                  </a:lnTo>
                  <a:lnTo>
                    <a:pt x="4387" y="2274"/>
                  </a:lnTo>
                  <a:lnTo>
                    <a:pt x="4404" y="2276"/>
                  </a:lnTo>
                  <a:lnTo>
                    <a:pt x="4419" y="2282"/>
                  </a:lnTo>
                  <a:lnTo>
                    <a:pt x="4430" y="2289"/>
                  </a:lnTo>
                  <a:lnTo>
                    <a:pt x="4426" y="2314"/>
                  </a:lnTo>
                  <a:lnTo>
                    <a:pt x="4438" y="2308"/>
                  </a:lnTo>
                  <a:lnTo>
                    <a:pt x="4451" y="2298"/>
                  </a:lnTo>
                  <a:lnTo>
                    <a:pt x="4456" y="2291"/>
                  </a:lnTo>
                  <a:lnTo>
                    <a:pt x="4468" y="2283"/>
                  </a:lnTo>
                  <a:lnTo>
                    <a:pt x="4479" y="2272"/>
                  </a:lnTo>
                  <a:lnTo>
                    <a:pt x="4496" y="2265"/>
                  </a:lnTo>
                  <a:lnTo>
                    <a:pt x="4506" y="2251"/>
                  </a:lnTo>
                  <a:lnTo>
                    <a:pt x="4519" y="2244"/>
                  </a:lnTo>
                  <a:lnTo>
                    <a:pt x="4547" y="2237"/>
                  </a:lnTo>
                  <a:lnTo>
                    <a:pt x="4563" y="2240"/>
                  </a:lnTo>
                  <a:lnTo>
                    <a:pt x="4569" y="2238"/>
                  </a:lnTo>
                  <a:lnTo>
                    <a:pt x="4560" y="2234"/>
                  </a:lnTo>
                  <a:lnTo>
                    <a:pt x="4546" y="2231"/>
                  </a:lnTo>
                  <a:lnTo>
                    <a:pt x="4530" y="2234"/>
                  </a:lnTo>
                  <a:lnTo>
                    <a:pt x="4538" y="2229"/>
                  </a:lnTo>
                  <a:lnTo>
                    <a:pt x="4555" y="2226"/>
                  </a:lnTo>
                  <a:lnTo>
                    <a:pt x="4582" y="2228"/>
                  </a:lnTo>
                  <a:lnTo>
                    <a:pt x="4594" y="2228"/>
                  </a:lnTo>
                  <a:lnTo>
                    <a:pt x="4596" y="2233"/>
                  </a:lnTo>
                  <a:lnTo>
                    <a:pt x="4595" y="2243"/>
                  </a:lnTo>
                  <a:lnTo>
                    <a:pt x="4597" y="2253"/>
                  </a:lnTo>
                  <a:lnTo>
                    <a:pt x="4598" y="2265"/>
                  </a:lnTo>
                  <a:lnTo>
                    <a:pt x="4591" y="2275"/>
                  </a:lnTo>
                  <a:lnTo>
                    <a:pt x="4590" y="2285"/>
                  </a:lnTo>
                  <a:lnTo>
                    <a:pt x="4592" y="2301"/>
                  </a:lnTo>
                  <a:lnTo>
                    <a:pt x="4595" y="2301"/>
                  </a:lnTo>
                  <a:lnTo>
                    <a:pt x="4607" y="2274"/>
                  </a:lnTo>
                  <a:lnTo>
                    <a:pt x="4616" y="2267"/>
                  </a:lnTo>
                  <a:lnTo>
                    <a:pt x="4629" y="2266"/>
                  </a:lnTo>
                  <a:lnTo>
                    <a:pt x="4637" y="2269"/>
                  </a:lnTo>
                  <a:lnTo>
                    <a:pt x="4633" y="2274"/>
                  </a:lnTo>
                  <a:lnTo>
                    <a:pt x="4667" y="2286"/>
                  </a:lnTo>
                  <a:lnTo>
                    <a:pt x="4668" y="2289"/>
                  </a:lnTo>
                  <a:lnTo>
                    <a:pt x="4662" y="2293"/>
                  </a:lnTo>
                  <a:lnTo>
                    <a:pt x="4668" y="2303"/>
                  </a:lnTo>
                  <a:lnTo>
                    <a:pt x="4675" y="2307"/>
                  </a:lnTo>
                  <a:lnTo>
                    <a:pt x="4676" y="2313"/>
                  </a:lnTo>
                  <a:lnTo>
                    <a:pt x="4680" y="2315"/>
                  </a:lnTo>
                  <a:lnTo>
                    <a:pt x="4680" y="2323"/>
                  </a:lnTo>
                  <a:lnTo>
                    <a:pt x="4675" y="2325"/>
                  </a:lnTo>
                  <a:lnTo>
                    <a:pt x="4670" y="2330"/>
                  </a:lnTo>
                  <a:lnTo>
                    <a:pt x="4648" y="2321"/>
                  </a:lnTo>
                  <a:lnTo>
                    <a:pt x="4655" y="2334"/>
                  </a:lnTo>
                  <a:lnTo>
                    <a:pt x="4660" y="2336"/>
                  </a:lnTo>
                  <a:lnTo>
                    <a:pt x="4668" y="2336"/>
                  </a:lnTo>
                  <a:lnTo>
                    <a:pt x="4672" y="2350"/>
                  </a:lnTo>
                  <a:lnTo>
                    <a:pt x="4668" y="2353"/>
                  </a:lnTo>
                  <a:lnTo>
                    <a:pt x="4668" y="2357"/>
                  </a:lnTo>
                  <a:lnTo>
                    <a:pt x="4677" y="2371"/>
                  </a:lnTo>
                  <a:lnTo>
                    <a:pt x="4677" y="2373"/>
                  </a:lnTo>
                  <a:lnTo>
                    <a:pt x="4667" y="2372"/>
                  </a:lnTo>
                  <a:lnTo>
                    <a:pt x="4664" y="2378"/>
                  </a:lnTo>
                  <a:lnTo>
                    <a:pt x="4681" y="2383"/>
                  </a:lnTo>
                  <a:lnTo>
                    <a:pt x="4686" y="2395"/>
                  </a:lnTo>
                  <a:lnTo>
                    <a:pt x="4671" y="2394"/>
                  </a:lnTo>
                  <a:lnTo>
                    <a:pt x="4664" y="2391"/>
                  </a:lnTo>
                  <a:lnTo>
                    <a:pt x="4668" y="239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75" name="Freeform 300">
              <a:extLst>
                <a:ext uri="{FF2B5EF4-FFF2-40B4-BE49-F238E27FC236}">
                  <a16:creationId xmlns:a16="http://schemas.microsoft.com/office/drawing/2014/main" id="{DDF43095-5281-C744-E2BB-9FB6CEDF97F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891460" y="184453"/>
              <a:ext cx="105957" cy="179858"/>
            </a:xfrm>
            <a:custGeom>
              <a:avLst/>
              <a:gdLst>
                <a:gd name="T0" fmla="*/ 0 w 197"/>
                <a:gd name="T1" fmla="*/ 0 h 316"/>
                <a:gd name="T2" fmla="*/ 0 w 197"/>
                <a:gd name="T3" fmla="*/ 0 h 316"/>
                <a:gd name="T4" fmla="*/ 0 w 197"/>
                <a:gd name="T5" fmla="*/ 0 h 316"/>
                <a:gd name="T6" fmla="*/ 0 w 197"/>
                <a:gd name="T7" fmla="*/ 0 h 316"/>
                <a:gd name="T8" fmla="*/ 0 w 197"/>
                <a:gd name="T9" fmla="*/ 0 h 316"/>
                <a:gd name="T10" fmla="*/ 0 w 197"/>
                <a:gd name="T11" fmla="*/ 0 h 316"/>
                <a:gd name="T12" fmla="*/ 0 w 197"/>
                <a:gd name="T13" fmla="*/ 0 h 316"/>
                <a:gd name="T14" fmla="*/ 0 w 197"/>
                <a:gd name="T15" fmla="*/ 0 h 316"/>
                <a:gd name="T16" fmla="*/ 0 w 197"/>
                <a:gd name="T17" fmla="*/ 0 h 316"/>
                <a:gd name="T18" fmla="*/ 0 w 197"/>
                <a:gd name="T19" fmla="*/ 0 h 316"/>
                <a:gd name="T20" fmla="*/ 0 w 197"/>
                <a:gd name="T21" fmla="*/ 0 h 316"/>
                <a:gd name="T22" fmla="*/ 0 w 197"/>
                <a:gd name="T23" fmla="*/ 0 h 316"/>
                <a:gd name="T24" fmla="*/ 0 w 197"/>
                <a:gd name="T25" fmla="*/ 0 h 316"/>
                <a:gd name="T26" fmla="*/ 0 w 197"/>
                <a:gd name="T27" fmla="*/ 0 h 316"/>
                <a:gd name="T28" fmla="*/ 0 w 197"/>
                <a:gd name="T29" fmla="*/ 0 h 316"/>
                <a:gd name="T30" fmla="*/ 0 w 197"/>
                <a:gd name="T31" fmla="*/ 0 h 316"/>
                <a:gd name="T32" fmla="*/ 0 w 197"/>
                <a:gd name="T33" fmla="*/ 0 h 316"/>
                <a:gd name="T34" fmla="*/ 0 w 197"/>
                <a:gd name="T35" fmla="*/ 0 h 316"/>
                <a:gd name="T36" fmla="*/ 0 w 197"/>
                <a:gd name="T37" fmla="*/ 0 h 316"/>
                <a:gd name="T38" fmla="*/ 0 w 197"/>
                <a:gd name="T39" fmla="*/ 0 h 316"/>
                <a:gd name="T40" fmla="*/ 0 w 197"/>
                <a:gd name="T41" fmla="*/ 0 h 316"/>
                <a:gd name="T42" fmla="*/ 0 w 197"/>
                <a:gd name="T43" fmla="*/ 0 h 316"/>
                <a:gd name="T44" fmla="*/ 0 w 197"/>
                <a:gd name="T45" fmla="*/ 2147483647 h 316"/>
                <a:gd name="T46" fmla="*/ 0 w 197"/>
                <a:gd name="T47" fmla="*/ 0 h 316"/>
                <a:gd name="T48" fmla="*/ 0 w 197"/>
                <a:gd name="T49" fmla="*/ 0 h 316"/>
                <a:gd name="T50" fmla="*/ 0 w 197"/>
                <a:gd name="T51" fmla="*/ 0 h 316"/>
                <a:gd name="T52" fmla="*/ 0 w 197"/>
                <a:gd name="T53" fmla="*/ 0 h 316"/>
                <a:gd name="T54" fmla="*/ 0 w 197"/>
                <a:gd name="T55" fmla="*/ 0 h 316"/>
                <a:gd name="T56" fmla="*/ 0 w 197"/>
                <a:gd name="T57" fmla="*/ 0 h 316"/>
                <a:gd name="T58" fmla="*/ 0 w 197"/>
                <a:gd name="T59" fmla="*/ 0 h 316"/>
                <a:gd name="T60" fmla="*/ 0 w 197"/>
                <a:gd name="T61" fmla="*/ 0 h 316"/>
                <a:gd name="T62" fmla="*/ 0 w 197"/>
                <a:gd name="T63" fmla="*/ 0 h 316"/>
                <a:gd name="T64" fmla="*/ 0 w 197"/>
                <a:gd name="T65" fmla="*/ 0 h 31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97"/>
                <a:gd name="T100" fmla="*/ 0 h 316"/>
                <a:gd name="T101" fmla="*/ 197 w 197"/>
                <a:gd name="T102" fmla="*/ 316 h 31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97" h="316">
                  <a:moveTo>
                    <a:pt x="197" y="163"/>
                  </a:moveTo>
                  <a:lnTo>
                    <a:pt x="197" y="156"/>
                  </a:lnTo>
                  <a:lnTo>
                    <a:pt x="196" y="149"/>
                  </a:lnTo>
                  <a:lnTo>
                    <a:pt x="180" y="119"/>
                  </a:lnTo>
                  <a:lnTo>
                    <a:pt x="156" y="102"/>
                  </a:lnTo>
                  <a:lnTo>
                    <a:pt x="140" y="109"/>
                  </a:lnTo>
                  <a:lnTo>
                    <a:pt x="127" y="107"/>
                  </a:lnTo>
                  <a:lnTo>
                    <a:pt x="128" y="97"/>
                  </a:lnTo>
                  <a:lnTo>
                    <a:pt x="128" y="86"/>
                  </a:lnTo>
                  <a:lnTo>
                    <a:pt x="132" y="73"/>
                  </a:lnTo>
                  <a:lnTo>
                    <a:pt x="127" y="65"/>
                  </a:lnTo>
                  <a:lnTo>
                    <a:pt x="121" y="63"/>
                  </a:lnTo>
                  <a:lnTo>
                    <a:pt x="106" y="47"/>
                  </a:lnTo>
                  <a:lnTo>
                    <a:pt x="95" y="44"/>
                  </a:lnTo>
                  <a:lnTo>
                    <a:pt x="53" y="7"/>
                  </a:lnTo>
                  <a:lnTo>
                    <a:pt x="22" y="0"/>
                  </a:lnTo>
                  <a:lnTo>
                    <a:pt x="5" y="16"/>
                  </a:lnTo>
                  <a:lnTo>
                    <a:pt x="6" y="25"/>
                  </a:lnTo>
                  <a:lnTo>
                    <a:pt x="4" y="27"/>
                  </a:lnTo>
                  <a:lnTo>
                    <a:pt x="4" y="44"/>
                  </a:lnTo>
                  <a:lnTo>
                    <a:pt x="5" y="52"/>
                  </a:lnTo>
                  <a:lnTo>
                    <a:pt x="9" y="65"/>
                  </a:lnTo>
                  <a:lnTo>
                    <a:pt x="15" y="70"/>
                  </a:lnTo>
                  <a:lnTo>
                    <a:pt x="18" y="82"/>
                  </a:lnTo>
                  <a:lnTo>
                    <a:pt x="14" y="90"/>
                  </a:lnTo>
                  <a:lnTo>
                    <a:pt x="0" y="98"/>
                  </a:lnTo>
                  <a:lnTo>
                    <a:pt x="13" y="124"/>
                  </a:lnTo>
                  <a:lnTo>
                    <a:pt x="20" y="127"/>
                  </a:lnTo>
                  <a:lnTo>
                    <a:pt x="18" y="139"/>
                  </a:lnTo>
                  <a:lnTo>
                    <a:pt x="21" y="161"/>
                  </a:lnTo>
                  <a:lnTo>
                    <a:pt x="31" y="163"/>
                  </a:lnTo>
                  <a:lnTo>
                    <a:pt x="34" y="173"/>
                  </a:lnTo>
                  <a:lnTo>
                    <a:pt x="24" y="177"/>
                  </a:lnTo>
                  <a:lnTo>
                    <a:pt x="27" y="184"/>
                  </a:lnTo>
                  <a:lnTo>
                    <a:pt x="46" y="190"/>
                  </a:lnTo>
                  <a:lnTo>
                    <a:pt x="54" y="187"/>
                  </a:lnTo>
                  <a:lnTo>
                    <a:pt x="85" y="203"/>
                  </a:lnTo>
                  <a:lnTo>
                    <a:pt x="83" y="215"/>
                  </a:lnTo>
                  <a:lnTo>
                    <a:pt x="89" y="216"/>
                  </a:lnTo>
                  <a:lnTo>
                    <a:pt x="79" y="226"/>
                  </a:lnTo>
                  <a:lnTo>
                    <a:pt x="38" y="224"/>
                  </a:lnTo>
                  <a:lnTo>
                    <a:pt x="35" y="236"/>
                  </a:lnTo>
                  <a:lnTo>
                    <a:pt x="72" y="279"/>
                  </a:lnTo>
                  <a:lnTo>
                    <a:pt x="63" y="300"/>
                  </a:lnTo>
                  <a:lnTo>
                    <a:pt x="65" y="307"/>
                  </a:lnTo>
                  <a:lnTo>
                    <a:pt x="86" y="316"/>
                  </a:lnTo>
                  <a:lnTo>
                    <a:pt x="97" y="300"/>
                  </a:lnTo>
                  <a:lnTo>
                    <a:pt x="97" y="295"/>
                  </a:lnTo>
                  <a:lnTo>
                    <a:pt x="94" y="290"/>
                  </a:lnTo>
                  <a:lnTo>
                    <a:pt x="91" y="292"/>
                  </a:lnTo>
                  <a:lnTo>
                    <a:pt x="106" y="275"/>
                  </a:lnTo>
                  <a:lnTo>
                    <a:pt x="120" y="290"/>
                  </a:lnTo>
                  <a:lnTo>
                    <a:pt x="133" y="287"/>
                  </a:lnTo>
                  <a:lnTo>
                    <a:pt x="170" y="268"/>
                  </a:lnTo>
                  <a:lnTo>
                    <a:pt x="181" y="270"/>
                  </a:lnTo>
                  <a:lnTo>
                    <a:pt x="185" y="275"/>
                  </a:lnTo>
                  <a:lnTo>
                    <a:pt x="188" y="271"/>
                  </a:lnTo>
                  <a:lnTo>
                    <a:pt x="190" y="264"/>
                  </a:lnTo>
                  <a:lnTo>
                    <a:pt x="196" y="249"/>
                  </a:lnTo>
                  <a:lnTo>
                    <a:pt x="197" y="233"/>
                  </a:lnTo>
                  <a:lnTo>
                    <a:pt x="193" y="227"/>
                  </a:lnTo>
                  <a:lnTo>
                    <a:pt x="186" y="221"/>
                  </a:lnTo>
                  <a:lnTo>
                    <a:pt x="186" y="225"/>
                  </a:lnTo>
                  <a:lnTo>
                    <a:pt x="185" y="219"/>
                  </a:lnTo>
                  <a:lnTo>
                    <a:pt x="185" y="174"/>
                  </a:lnTo>
                  <a:lnTo>
                    <a:pt x="197" y="16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76" name="Freeform 301">
              <a:extLst>
                <a:ext uri="{FF2B5EF4-FFF2-40B4-BE49-F238E27FC236}">
                  <a16:creationId xmlns:a16="http://schemas.microsoft.com/office/drawing/2014/main" id="{0E108A0A-668C-E33D-9A3F-E577A6E78AB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676563" y="114340"/>
              <a:ext cx="198482" cy="243875"/>
            </a:xfrm>
            <a:custGeom>
              <a:avLst/>
              <a:gdLst>
                <a:gd name="T0" fmla="*/ 2147483647 w 368"/>
                <a:gd name="T1" fmla="*/ 0 h 430"/>
                <a:gd name="T2" fmla="*/ 2147483647 w 368"/>
                <a:gd name="T3" fmla="*/ 0 h 430"/>
                <a:gd name="T4" fmla="*/ 2147483647 w 368"/>
                <a:gd name="T5" fmla="*/ 0 h 430"/>
                <a:gd name="T6" fmla="*/ 2147483647 w 368"/>
                <a:gd name="T7" fmla="*/ 0 h 430"/>
                <a:gd name="T8" fmla="*/ 0 w 368"/>
                <a:gd name="T9" fmla="*/ 0 h 430"/>
                <a:gd name="T10" fmla="*/ 0 w 368"/>
                <a:gd name="T11" fmla="*/ 0 h 430"/>
                <a:gd name="T12" fmla="*/ 0 w 368"/>
                <a:gd name="T13" fmla="*/ 0 h 430"/>
                <a:gd name="T14" fmla="*/ 0 w 368"/>
                <a:gd name="T15" fmla="*/ 0 h 430"/>
                <a:gd name="T16" fmla="*/ 0 w 368"/>
                <a:gd name="T17" fmla="*/ 0 h 430"/>
                <a:gd name="T18" fmla="*/ 0 w 368"/>
                <a:gd name="T19" fmla="*/ 0 h 430"/>
                <a:gd name="T20" fmla="*/ 0 w 368"/>
                <a:gd name="T21" fmla="*/ 0 h 430"/>
                <a:gd name="T22" fmla="*/ 0 w 368"/>
                <a:gd name="T23" fmla="*/ 0 h 430"/>
                <a:gd name="T24" fmla="*/ 0 w 368"/>
                <a:gd name="T25" fmla="*/ 0 h 430"/>
                <a:gd name="T26" fmla="*/ 0 w 368"/>
                <a:gd name="T27" fmla="*/ 0 h 430"/>
                <a:gd name="T28" fmla="*/ 0 w 368"/>
                <a:gd name="T29" fmla="*/ 0 h 430"/>
                <a:gd name="T30" fmla="*/ 0 w 368"/>
                <a:gd name="T31" fmla="*/ 0 h 430"/>
                <a:gd name="T32" fmla="*/ 0 w 368"/>
                <a:gd name="T33" fmla="*/ 0 h 430"/>
                <a:gd name="T34" fmla="*/ 0 w 368"/>
                <a:gd name="T35" fmla="*/ 0 h 430"/>
                <a:gd name="T36" fmla="*/ 0 w 368"/>
                <a:gd name="T37" fmla="*/ 0 h 430"/>
                <a:gd name="T38" fmla="*/ 0 w 368"/>
                <a:gd name="T39" fmla="*/ 0 h 430"/>
                <a:gd name="T40" fmla="*/ 0 w 368"/>
                <a:gd name="T41" fmla="*/ 0 h 430"/>
                <a:gd name="T42" fmla="*/ 0 w 368"/>
                <a:gd name="T43" fmla="*/ 0 h 430"/>
                <a:gd name="T44" fmla="*/ 0 w 368"/>
                <a:gd name="T45" fmla="*/ 0 h 430"/>
                <a:gd name="T46" fmla="*/ 0 w 368"/>
                <a:gd name="T47" fmla="*/ 0 h 430"/>
                <a:gd name="T48" fmla="*/ 0 w 368"/>
                <a:gd name="T49" fmla="*/ 0 h 430"/>
                <a:gd name="T50" fmla="*/ 0 w 368"/>
                <a:gd name="T51" fmla="*/ 0 h 430"/>
                <a:gd name="T52" fmla="*/ 0 w 368"/>
                <a:gd name="T53" fmla="*/ 0 h 430"/>
                <a:gd name="T54" fmla="*/ 0 w 368"/>
                <a:gd name="T55" fmla="*/ 0 h 430"/>
                <a:gd name="T56" fmla="*/ 0 w 368"/>
                <a:gd name="T57" fmla="*/ 0 h 430"/>
                <a:gd name="T58" fmla="*/ 0 w 368"/>
                <a:gd name="T59" fmla="*/ 0 h 430"/>
                <a:gd name="T60" fmla="*/ 0 w 368"/>
                <a:gd name="T61" fmla="*/ 0 h 430"/>
                <a:gd name="T62" fmla="*/ 0 w 368"/>
                <a:gd name="T63" fmla="*/ 0 h 430"/>
                <a:gd name="T64" fmla="*/ 0 w 368"/>
                <a:gd name="T65" fmla="*/ 0 h 430"/>
                <a:gd name="T66" fmla="*/ 0 w 368"/>
                <a:gd name="T67" fmla="*/ 0 h 430"/>
                <a:gd name="T68" fmla="*/ 0 w 368"/>
                <a:gd name="T69" fmla="*/ 0 h 430"/>
                <a:gd name="T70" fmla="*/ 0 w 368"/>
                <a:gd name="T71" fmla="*/ 0 h 430"/>
                <a:gd name="T72" fmla="*/ 0 w 368"/>
                <a:gd name="T73" fmla="*/ 2147483647 h 430"/>
                <a:gd name="T74" fmla="*/ 0 w 368"/>
                <a:gd name="T75" fmla="*/ 2147483647 h 430"/>
                <a:gd name="T76" fmla="*/ 0 w 368"/>
                <a:gd name="T77" fmla="*/ 2147483647 h 430"/>
                <a:gd name="T78" fmla="*/ 0 w 368"/>
                <a:gd name="T79" fmla="*/ 2147483647 h 430"/>
                <a:gd name="T80" fmla="*/ 2147483647 w 368"/>
                <a:gd name="T81" fmla="*/ 2147483647 h 430"/>
                <a:gd name="T82" fmla="*/ 2147483647 w 368"/>
                <a:gd name="T83" fmla="*/ 2147483647 h 430"/>
                <a:gd name="T84" fmla="*/ 2147483647 w 368"/>
                <a:gd name="T85" fmla="*/ 0 h 43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68"/>
                <a:gd name="T130" fmla="*/ 0 h 430"/>
                <a:gd name="T131" fmla="*/ 368 w 368"/>
                <a:gd name="T132" fmla="*/ 430 h 43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68" h="430">
                  <a:moveTo>
                    <a:pt x="337" y="301"/>
                  </a:moveTo>
                  <a:lnTo>
                    <a:pt x="333" y="284"/>
                  </a:lnTo>
                  <a:lnTo>
                    <a:pt x="318" y="278"/>
                  </a:lnTo>
                  <a:lnTo>
                    <a:pt x="320" y="260"/>
                  </a:lnTo>
                  <a:lnTo>
                    <a:pt x="316" y="243"/>
                  </a:lnTo>
                  <a:lnTo>
                    <a:pt x="327" y="224"/>
                  </a:lnTo>
                  <a:lnTo>
                    <a:pt x="328" y="211"/>
                  </a:lnTo>
                  <a:lnTo>
                    <a:pt x="332" y="204"/>
                  </a:lnTo>
                  <a:lnTo>
                    <a:pt x="332" y="197"/>
                  </a:lnTo>
                  <a:lnTo>
                    <a:pt x="327" y="190"/>
                  </a:lnTo>
                  <a:lnTo>
                    <a:pt x="323" y="187"/>
                  </a:lnTo>
                  <a:lnTo>
                    <a:pt x="321" y="194"/>
                  </a:lnTo>
                  <a:lnTo>
                    <a:pt x="311" y="177"/>
                  </a:lnTo>
                  <a:lnTo>
                    <a:pt x="312" y="177"/>
                  </a:lnTo>
                  <a:lnTo>
                    <a:pt x="300" y="176"/>
                  </a:lnTo>
                  <a:lnTo>
                    <a:pt x="299" y="171"/>
                  </a:lnTo>
                  <a:lnTo>
                    <a:pt x="304" y="158"/>
                  </a:lnTo>
                  <a:lnTo>
                    <a:pt x="297" y="141"/>
                  </a:lnTo>
                  <a:lnTo>
                    <a:pt x="266" y="118"/>
                  </a:lnTo>
                  <a:lnTo>
                    <a:pt x="261" y="125"/>
                  </a:lnTo>
                  <a:lnTo>
                    <a:pt x="245" y="131"/>
                  </a:lnTo>
                  <a:lnTo>
                    <a:pt x="237" y="141"/>
                  </a:lnTo>
                  <a:lnTo>
                    <a:pt x="235" y="139"/>
                  </a:lnTo>
                  <a:lnTo>
                    <a:pt x="236" y="133"/>
                  </a:lnTo>
                  <a:lnTo>
                    <a:pt x="227" y="128"/>
                  </a:lnTo>
                  <a:lnTo>
                    <a:pt x="227" y="119"/>
                  </a:lnTo>
                  <a:lnTo>
                    <a:pt x="232" y="101"/>
                  </a:lnTo>
                  <a:lnTo>
                    <a:pt x="231" y="85"/>
                  </a:lnTo>
                  <a:lnTo>
                    <a:pt x="223" y="75"/>
                  </a:lnTo>
                  <a:lnTo>
                    <a:pt x="220" y="85"/>
                  </a:lnTo>
                  <a:lnTo>
                    <a:pt x="211" y="90"/>
                  </a:lnTo>
                  <a:lnTo>
                    <a:pt x="211" y="85"/>
                  </a:lnTo>
                  <a:lnTo>
                    <a:pt x="210" y="76"/>
                  </a:lnTo>
                  <a:lnTo>
                    <a:pt x="200" y="69"/>
                  </a:lnTo>
                  <a:lnTo>
                    <a:pt x="193" y="53"/>
                  </a:lnTo>
                  <a:lnTo>
                    <a:pt x="176" y="44"/>
                  </a:lnTo>
                  <a:lnTo>
                    <a:pt x="166" y="44"/>
                  </a:lnTo>
                  <a:lnTo>
                    <a:pt x="151" y="65"/>
                  </a:lnTo>
                  <a:lnTo>
                    <a:pt x="148" y="76"/>
                  </a:lnTo>
                  <a:lnTo>
                    <a:pt x="148" y="93"/>
                  </a:lnTo>
                  <a:lnTo>
                    <a:pt x="146" y="104"/>
                  </a:lnTo>
                  <a:lnTo>
                    <a:pt x="143" y="114"/>
                  </a:lnTo>
                  <a:lnTo>
                    <a:pt x="129" y="96"/>
                  </a:lnTo>
                  <a:lnTo>
                    <a:pt x="134" y="33"/>
                  </a:lnTo>
                  <a:lnTo>
                    <a:pt x="130" y="22"/>
                  </a:lnTo>
                  <a:lnTo>
                    <a:pt x="116" y="21"/>
                  </a:lnTo>
                  <a:lnTo>
                    <a:pt x="103" y="27"/>
                  </a:lnTo>
                  <a:lnTo>
                    <a:pt x="108" y="16"/>
                  </a:lnTo>
                  <a:lnTo>
                    <a:pt x="106" y="11"/>
                  </a:lnTo>
                  <a:lnTo>
                    <a:pt x="95" y="4"/>
                  </a:lnTo>
                  <a:lnTo>
                    <a:pt x="84" y="0"/>
                  </a:lnTo>
                  <a:lnTo>
                    <a:pt x="62" y="13"/>
                  </a:lnTo>
                  <a:lnTo>
                    <a:pt x="22" y="22"/>
                  </a:lnTo>
                  <a:lnTo>
                    <a:pt x="11" y="16"/>
                  </a:lnTo>
                  <a:lnTo>
                    <a:pt x="9" y="21"/>
                  </a:lnTo>
                  <a:lnTo>
                    <a:pt x="0" y="56"/>
                  </a:lnTo>
                  <a:lnTo>
                    <a:pt x="5" y="101"/>
                  </a:lnTo>
                  <a:lnTo>
                    <a:pt x="6" y="104"/>
                  </a:lnTo>
                  <a:lnTo>
                    <a:pt x="17" y="107"/>
                  </a:lnTo>
                  <a:lnTo>
                    <a:pt x="40" y="96"/>
                  </a:lnTo>
                  <a:lnTo>
                    <a:pt x="52" y="98"/>
                  </a:lnTo>
                  <a:lnTo>
                    <a:pt x="52" y="114"/>
                  </a:lnTo>
                  <a:lnTo>
                    <a:pt x="42" y="145"/>
                  </a:lnTo>
                  <a:lnTo>
                    <a:pt x="36" y="150"/>
                  </a:lnTo>
                  <a:lnTo>
                    <a:pt x="41" y="161"/>
                  </a:lnTo>
                  <a:lnTo>
                    <a:pt x="55" y="155"/>
                  </a:lnTo>
                  <a:lnTo>
                    <a:pt x="67" y="120"/>
                  </a:lnTo>
                  <a:lnTo>
                    <a:pt x="75" y="117"/>
                  </a:lnTo>
                  <a:lnTo>
                    <a:pt x="80" y="109"/>
                  </a:lnTo>
                  <a:lnTo>
                    <a:pt x="87" y="111"/>
                  </a:lnTo>
                  <a:lnTo>
                    <a:pt x="92" y="117"/>
                  </a:lnTo>
                  <a:lnTo>
                    <a:pt x="95" y="130"/>
                  </a:lnTo>
                  <a:lnTo>
                    <a:pt x="92" y="139"/>
                  </a:lnTo>
                  <a:lnTo>
                    <a:pt x="89" y="146"/>
                  </a:lnTo>
                  <a:lnTo>
                    <a:pt x="81" y="155"/>
                  </a:lnTo>
                  <a:lnTo>
                    <a:pt x="83" y="171"/>
                  </a:lnTo>
                  <a:lnTo>
                    <a:pt x="92" y="174"/>
                  </a:lnTo>
                  <a:lnTo>
                    <a:pt x="97" y="162"/>
                  </a:lnTo>
                  <a:lnTo>
                    <a:pt x="102" y="165"/>
                  </a:lnTo>
                  <a:lnTo>
                    <a:pt x="103" y="176"/>
                  </a:lnTo>
                  <a:lnTo>
                    <a:pt x="123" y="168"/>
                  </a:lnTo>
                  <a:lnTo>
                    <a:pt x="122" y="181"/>
                  </a:lnTo>
                  <a:lnTo>
                    <a:pt x="117" y="190"/>
                  </a:lnTo>
                  <a:lnTo>
                    <a:pt x="96" y="201"/>
                  </a:lnTo>
                  <a:lnTo>
                    <a:pt x="94" y="210"/>
                  </a:lnTo>
                  <a:lnTo>
                    <a:pt x="127" y="216"/>
                  </a:lnTo>
                  <a:lnTo>
                    <a:pt x="121" y="228"/>
                  </a:lnTo>
                  <a:lnTo>
                    <a:pt x="118" y="242"/>
                  </a:lnTo>
                  <a:lnTo>
                    <a:pt x="92" y="240"/>
                  </a:lnTo>
                  <a:lnTo>
                    <a:pt x="65" y="225"/>
                  </a:lnTo>
                  <a:lnTo>
                    <a:pt x="47" y="228"/>
                  </a:lnTo>
                  <a:lnTo>
                    <a:pt x="41" y="236"/>
                  </a:lnTo>
                  <a:lnTo>
                    <a:pt x="42" y="253"/>
                  </a:lnTo>
                  <a:lnTo>
                    <a:pt x="43" y="268"/>
                  </a:lnTo>
                  <a:lnTo>
                    <a:pt x="57" y="290"/>
                  </a:lnTo>
                  <a:lnTo>
                    <a:pt x="79" y="307"/>
                  </a:lnTo>
                  <a:lnTo>
                    <a:pt x="103" y="310"/>
                  </a:lnTo>
                  <a:lnTo>
                    <a:pt x="111" y="303"/>
                  </a:lnTo>
                  <a:lnTo>
                    <a:pt x="118" y="290"/>
                  </a:lnTo>
                  <a:lnTo>
                    <a:pt x="127" y="290"/>
                  </a:lnTo>
                  <a:lnTo>
                    <a:pt x="159" y="274"/>
                  </a:lnTo>
                  <a:lnTo>
                    <a:pt x="157" y="282"/>
                  </a:lnTo>
                  <a:lnTo>
                    <a:pt x="159" y="295"/>
                  </a:lnTo>
                  <a:lnTo>
                    <a:pt x="170" y="305"/>
                  </a:lnTo>
                  <a:lnTo>
                    <a:pt x="180" y="305"/>
                  </a:lnTo>
                  <a:lnTo>
                    <a:pt x="191" y="297"/>
                  </a:lnTo>
                  <a:lnTo>
                    <a:pt x="203" y="297"/>
                  </a:lnTo>
                  <a:lnTo>
                    <a:pt x="230" y="305"/>
                  </a:lnTo>
                  <a:lnTo>
                    <a:pt x="234" y="312"/>
                  </a:lnTo>
                  <a:lnTo>
                    <a:pt x="234" y="321"/>
                  </a:lnTo>
                  <a:lnTo>
                    <a:pt x="250" y="322"/>
                  </a:lnTo>
                  <a:lnTo>
                    <a:pt x="253" y="316"/>
                  </a:lnTo>
                  <a:lnTo>
                    <a:pt x="256" y="318"/>
                  </a:lnTo>
                  <a:lnTo>
                    <a:pt x="257" y="328"/>
                  </a:lnTo>
                  <a:lnTo>
                    <a:pt x="268" y="343"/>
                  </a:lnTo>
                  <a:lnTo>
                    <a:pt x="268" y="366"/>
                  </a:lnTo>
                  <a:lnTo>
                    <a:pt x="277" y="388"/>
                  </a:lnTo>
                  <a:lnTo>
                    <a:pt x="278" y="399"/>
                  </a:lnTo>
                  <a:lnTo>
                    <a:pt x="294" y="418"/>
                  </a:lnTo>
                  <a:lnTo>
                    <a:pt x="301" y="416"/>
                  </a:lnTo>
                  <a:lnTo>
                    <a:pt x="313" y="430"/>
                  </a:lnTo>
                  <a:lnTo>
                    <a:pt x="318" y="420"/>
                  </a:lnTo>
                  <a:lnTo>
                    <a:pt x="326" y="415"/>
                  </a:lnTo>
                  <a:lnTo>
                    <a:pt x="339" y="416"/>
                  </a:lnTo>
                  <a:lnTo>
                    <a:pt x="355" y="410"/>
                  </a:lnTo>
                  <a:lnTo>
                    <a:pt x="360" y="395"/>
                  </a:lnTo>
                  <a:lnTo>
                    <a:pt x="359" y="382"/>
                  </a:lnTo>
                  <a:lnTo>
                    <a:pt x="368" y="357"/>
                  </a:lnTo>
                  <a:lnTo>
                    <a:pt x="337" y="30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77" name="Freeform 302">
              <a:extLst>
                <a:ext uri="{FF2B5EF4-FFF2-40B4-BE49-F238E27FC236}">
                  <a16:creationId xmlns:a16="http://schemas.microsoft.com/office/drawing/2014/main" id="{713B436F-68CE-095B-9D94-400D6DC839A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958616" y="24"/>
              <a:ext cx="323838" cy="317037"/>
            </a:xfrm>
            <a:custGeom>
              <a:avLst/>
              <a:gdLst>
                <a:gd name="T0" fmla="*/ 0 w 603"/>
                <a:gd name="T1" fmla="*/ 0 h 558"/>
                <a:gd name="T2" fmla="*/ 0 w 603"/>
                <a:gd name="T3" fmla="*/ 0 h 558"/>
                <a:gd name="T4" fmla="*/ 0 w 603"/>
                <a:gd name="T5" fmla="*/ 0 h 558"/>
                <a:gd name="T6" fmla="*/ 0 w 603"/>
                <a:gd name="T7" fmla="*/ 0 h 558"/>
                <a:gd name="T8" fmla="*/ 0 w 603"/>
                <a:gd name="T9" fmla="*/ 0 h 558"/>
                <a:gd name="T10" fmla="*/ 0 w 603"/>
                <a:gd name="T11" fmla="*/ 0 h 558"/>
                <a:gd name="T12" fmla="*/ 0 w 603"/>
                <a:gd name="T13" fmla="*/ 0 h 558"/>
                <a:gd name="T14" fmla="*/ 0 w 603"/>
                <a:gd name="T15" fmla="*/ 0 h 558"/>
                <a:gd name="T16" fmla="*/ 0 w 603"/>
                <a:gd name="T17" fmla="*/ 0 h 558"/>
                <a:gd name="T18" fmla="*/ 0 w 603"/>
                <a:gd name="T19" fmla="*/ 0 h 558"/>
                <a:gd name="T20" fmla="*/ 0 w 603"/>
                <a:gd name="T21" fmla="*/ 0 h 558"/>
                <a:gd name="T22" fmla="*/ 0 w 603"/>
                <a:gd name="T23" fmla="*/ 0 h 558"/>
                <a:gd name="T24" fmla="*/ 0 w 603"/>
                <a:gd name="T25" fmla="*/ 0 h 558"/>
                <a:gd name="T26" fmla="*/ 0 w 603"/>
                <a:gd name="T27" fmla="*/ 0 h 558"/>
                <a:gd name="T28" fmla="*/ 0 w 603"/>
                <a:gd name="T29" fmla="*/ 0 h 558"/>
                <a:gd name="T30" fmla="*/ 0 w 603"/>
                <a:gd name="T31" fmla="*/ 0 h 558"/>
                <a:gd name="T32" fmla="*/ 0 w 603"/>
                <a:gd name="T33" fmla="*/ 0 h 558"/>
                <a:gd name="T34" fmla="*/ 0 w 603"/>
                <a:gd name="T35" fmla="*/ 0 h 558"/>
                <a:gd name="T36" fmla="*/ 2147483647 w 603"/>
                <a:gd name="T37" fmla="*/ 0 h 558"/>
                <a:gd name="T38" fmla="*/ 0 w 603"/>
                <a:gd name="T39" fmla="*/ 0 h 558"/>
                <a:gd name="T40" fmla="*/ 0 w 603"/>
                <a:gd name="T41" fmla="*/ 2147483647 h 558"/>
                <a:gd name="T42" fmla="*/ 0 w 603"/>
                <a:gd name="T43" fmla="*/ 2147483647 h 558"/>
                <a:gd name="T44" fmla="*/ 0 w 603"/>
                <a:gd name="T45" fmla="*/ 2147483647 h 558"/>
                <a:gd name="T46" fmla="*/ 0 w 603"/>
                <a:gd name="T47" fmla="*/ 2147483647 h 558"/>
                <a:gd name="T48" fmla="*/ 0 w 603"/>
                <a:gd name="T49" fmla="*/ 2147483647 h 558"/>
                <a:gd name="T50" fmla="*/ 0 w 603"/>
                <a:gd name="T51" fmla="*/ 2147483647 h 558"/>
                <a:gd name="T52" fmla="*/ 0 w 603"/>
                <a:gd name="T53" fmla="*/ 2147483647 h 558"/>
                <a:gd name="T54" fmla="*/ 0 w 603"/>
                <a:gd name="T55" fmla="*/ 2147483647 h 558"/>
                <a:gd name="T56" fmla="*/ 0 w 603"/>
                <a:gd name="T57" fmla="*/ 2147483647 h 558"/>
                <a:gd name="T58" fmla="*/ 2147483647 w 603"/>
                <a:gd name="T59" fmla="*/ 2147483647 h 558"/>
                <a:gd name="T60" fmla="*/ 2147483647 w 603"/>
                <a:gd name="T61" fmla="*/ 2147483647 h 558"/>
                <a:gd name="T62" fmla="*/ 2147483647 w 603"/>
                <a:gd name="T63" fmla="*/ 2147483647 h 558"/>
                <a:gd name="T64" fmla="*/ 2147483647 w 603"/>
                <a:gd name="T65" fmla="*/ 2147483647 h 558"/>
                <a:gd name="T66" fmla="*/ 2147483647 w 603"/>
                <a:gd name="T67" fmla="*/ 2147483647 h 558"/>
                <a:gd name="T68" fmla="*/ 2147483647 w 603"/>
                <a:gd name="T69" fmla="*/ 2147483647 h 558"/>
                <a:gd name="T70" fmla="*/ 2147483647 w 603"/>
                <a:gd name="T71" fmla="*/ 2147483647 h 558"/>
                <a:gd name="T72" fmla="*/ 2147483647 w 603"/>
                <a:gd name="T73" fmla="*/ 2147483647 h 558"/>
                <a:gd name="T74" fmla="*/ 2147483647 w 603"/>
                <a:gd name="T75" fmla="*/ 2147483647 h 558"/>
                <a:gd name="T76" fmla="*/ 2147483647 w 603"/>
                <a:gd name="T77" fmla="*/ 2147483647 h 558"/>
                <a:gd name="T78" fmla="*/ 2147483647 w 603"/>
                <a:gd name="T79" fmla="*/ 2147483647 h 558"/>
                <a:gd name="T80" fmla="*/ 2147483647 w 603"/>
                <a:gd name="T81" fmla="*/ 0 h 558"/>
                <a:gd name="T82" fmla="*/ 2147483647 w 603"/>
                <a:gd name="T83" fmla="*/ 2147483647 h 558"/>
                <a:gd name="T84" fmla="*/ 2147483647 w 603"/>
                <a:gd name="T85" fmla="*/ 2147483647 h 558"/>
                <a:gd name="T86" fmla="*/ 2147483647 w 603"/>
                <a:gd name="T87" fmla="*/ 0 h 558"/>
                <a:gd name="T88" fmla="*/ 2147483647 w 603"/>
                <a:gd name="T89" fmla="*/ 0 h 558"/>
                <a:gd name="T90" fmla="*/ 2147483647 w 603"/>
                <a:gd name="T91" fmla="*/ 0 h 558"/>
                <a:gd name="T92" fmla="*/ 2147483647 w 603"/>
                <a:gd name="T93" fmla="*/ 0 h 558"/>
                <a:gd name="T94" fmla="*/ 2147483647 w 603"/>
                <a:gd name="T95" fmla="*/ 0 h 558"/>
                <a:gd name="T96" fmla="*/ 2147483647 w 603"/>
                <a:gd name="T97" fmla="*/ 0 h 558"/>
                <a:gd name="T98" fmla="*/ 2147483647 w 603"/>
                <a:gd name="T99" fmla="*/ 0 h 558"/>
                <a:gd name="T100" fmla="*/ 2147483647 w 603"/>
                <a:gd name="T101" fmla="*/ 0 h 558"/>
                <a:gd name="T102" fmla="*/ 2147483647 w 603"/>
                <a:gd name="T103" fmla="*/ 0 h 558"/>
                <a:gd name="T104" fmla="*/ 2147483647 w 603"/>
                <a:gd name="T105" fmla="*/ 0 h 558"/>
                <a:gd name="T106" fmla="*/ 2147483647 w 603"/>
                <a:gd name="T107" fmla="*/ 0 h 558"/>
                <a:gd name="T108" fmla="*/ 0 w 603"/>
                <a:gd name="T109" fmla="*/ 0 h 558"/>
                <a:gd name="T110" fmla="*/ 0 w 603"/>
                <a:gd name="T111" fmla="*/ 0 h 558"/>
                <a:gd name="T112" fmla="*/ 0 w 603"/>
                <a:gd name="T113" fmla="*/ 0 h 55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603"/>
                <a:gd name="T172" fmla="*/ 0 h 558"/>
                <a:gd name="T173" fmla="*/ 603 w 603"/>
                <a:gd name="T174" fmla="*/ 558 h 55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603" h="558">
                  <a:moveTo>
                    <a:pt x="3" y="21"/>
                  </a:moveTo>
                  <a:lnTo>
                    <a:pt x="23" y="26"/>
                  </a:lnTo>
                  <a:lnTo>
                    <a:pt x="25" y="32"/>
                  </a:lnTo>
                  <a:lnTo>
                    <a:pt x="22" y="39"/>
                  </a:lnTo>
                  <a:lnTo>
                    <a:pt x="1" y="42"/>
                  </a:lnTo>
                  <a:lnTo>
                    <a:pt x="12" y="52"/>
                  </a:lnTo>
                  <a:lnTo>
                    <a:pt x="9" y="57"/>
                  </a:lnTo>
                  <a:lnTo>
                    <a:pt x="18" y="69"/>
                  </a:lnTo>
                  <a:lnTo>
                    <a:pt x="34" y="103"/>
                  </a:lnTo>
                  <a:lnTo>
                    <a:pt x="55" y="117"/>
                  </a:lnTo>
                  <a:lnTo>
                    <a:pt x="59" y="124"/>
                  </a:lnTo>
                  <a:lnTo>
                    <a:pt x="88" y="118"/>
                  </a:lnTo>
                  <a:lnTo>
                    <a:pt x="105" y="128"/>
                  </a:lnTo>
                  <a:lnTo>
                    <a:pt x="126" y="104"/>
                  </a:lnTo>
                  <a:lnTo>
                    <a:pt x="120" y="129"/>
                  </a:lnTo>
                  <a:lnTo>
                    <a:pt x="103" y="142"/>
                  </a:lnTo>
                  <a:lnTo>
                    <a:pt x="81" y="144"/>
                  </a:lnTo>
                  <a:lnTo>
                    <a:pt x="80" y="149"/>
                  </a:lnTo>
                  <a:lnTo>
                    <a:pt x="64" y="155"/>
                  </a:lnTo>
                  <a:lnTo>
                    <a:pt x="45" y="146"/>
                  </a:lnTo>
                  <a:lnTo>
                    <a:pt x="39" y="152"/>
                  </a:lnTo>
                  <a:lnTo>
                    <a:pt x="38" y="161"/>
                  </a:lnTo>
                  <a:lnTo>
                    <a:pt x="40" y="168"/>
                  </a:lnTo>
                  <a:lnTo>
                    <a:pt x="39" y="178"/>
                  </a:lnTo>
                  <a:lnTo>
                    <a:pt x="48" y="189"/>
                  </a:lnTo>
                  <a:lnTo>
                    <a:pt x="56" y="188"/>
                  </a:lnTo>
                  <a:lnTo>
                    <a:pt x="60" y="195"/>
                  </a:lnTo>
                  <a:lnTo>
                    <a:pt x="70" y="189"/>
                  </a:lnTo>
                  <a:lnTo>
                    <a:pt x="72" y="200"/>
                  </a:lnTo>
                  <a:lnTo>
                    <a:pt x="77" y="209"/>
                  </a:lnTo>
                  <a:lnTo>
                    <a:pt x="76" y="212"/>
                  </a:lnTo>
                  <a:lnTo>
                    <a:pt x="83" y="233"/>
                  </a:lnTo>
                  <a:lnTo>
                    <a:pt x="88" y="224"/>
                  </a:lnTo>
                  <a:lnTo>
                    <a:pt x="98" y="212"/>
                  </a:lnTo>
                  <a:lnTo>
                    <a:pt x="108" y="209"/>
                  </a:lnTo>
                  <a:lnTo>
                    <a:pt x="110" y="200"/>
                  </a:lnTo>
                  <a:lnTo>
                    <a:pt x="109" y="193"/>
                  </a:lnTo>
                  <a:lnTo>
                    <a:pt x="116" y="183"/>
                  </a:lnTo>
                  <a:lnTo>
                    <a:pt x="135" y="193"/>
                  </a:lnTo>
                  <a:lnTo>
                    <a:pt x="143" y="192"/>
                  </a:lnTo>
                  <a:lnTo>
                    <a:pt x="132" y="203"/>
                  </a:lnTo>
                  <a:lnTo>
                    <a:pt x="130" y="209"/>
                  </a:lnTo>
                  <a:lnTo>
                    <a:pt x="129" y="225"/>
                  </a:lnTo>
                  <a:lnTo>
                    <a:pt x="132" y="225"/>
                  </a:lnTo>
                  <a:lnTo>
                    <a:pt x="138" y="236"/>
                  </a:lnTo>
                  <a:lnTo>
                    <a:pt x="146" y="233"/>
                  </a:lnTo>
                  <a:lnTo>
                    <a:pt x="156" y="221"/>
                  </a:lnTo>
                  <a:lnTo>
                    <a:pt x="158" y="204"/>
                  </a:lnTo>
                  <a:lnTo>
                    <a:pt x="168" y="197"/>
                  </a:lnTo>
                  <a:lnTo>
                    <a:pt x="170" y="181"/>
                  </a:lnTo>
                  <a:lnTo>
                    <a:pt x="175" y="172"/>
                  </a:lnTo>
                  <a:lnTo>
                    <a:pt x="177" y="181"/>
                  </a:lnTo>
                  <a:lnTo>
                    <a:pt x="170" y="208"/>
                  </a:lnTo>
                  <a:lnTo>
                    <a:pt x="174" y="211"/>
                  </a:lnTo>
                  <a:lnTo>
                    <a:pt x="191" y="205"/>
                  </a:lnTo>
                  <a:lnTo>
                    <a:pt x="193" y="192"/>
                  </a:lnTo>
                  <a:lnTo>
                    <a:pt x="194" y="189"/>
                  </a:lnTo>
                  <a:lnTo>
                    <a:pt x="218" y="183"/>
                  </a:lnTo>
                  <a:lnTo>
                    <a:pt x="215" y="200"/>
                  </a:lnTo>
                  <a:lnTo>
                    <a:pt x="229" y="209"/>
                  </a:lnTo>
                  <a:lnTo>
                    <a:pt x="276" y="203"/>
                  </a:lnTo>
                  <a:lnTo>
                    <a:pt x="277" y="206"/>
                  </a:lnTo>
                  <a:lnTo>
                    <a:pt x="272" y="211"/>
                  </a:lnTo>
                  <a:lnTo>
                    <a:pt x="260" y="216"/>
                  </a:lnTo>
                  <a:lnTo>
                    <a:pt x="222" y="216"/>
                  </a:lnTo>
                  <a:lnTo>
                    <a:pt x="220" y="224"/>
                  </a:lnTo>
                  <a:lnTo>
                    <a:pt x="208" y="224"/>
                  </a:lnTo>
                  <a:lnTo>
                    <a:pt x="208" y="232"/>
                  </a:lnTo>
                  <a:lnTo>
                    <a:pt x="213" y="237"/>
                  </a:lnTo>
                  <a:lnTo>
                    <a:pt x="227" y="244"/>
                  </a:lnTo>
                  <a:lnTo>
                    <a:pt x="259" y="243"/>
                  </a:lnTo>
                  <a:lnTo>
                    <a:pt x="266" y="236"/>
                  </a:lnTo>
                  <a:lnTo>
                    <a:pt x="312" y="231"/>
                  </a:lnTo>
                  <a:lnTo>
                    <a:pt x="324" y="222"/>
                  </a:lnTo>
                  <a:lnTo>
                    <a:pt x="315" y="241"/>
                  </a:lnTo>
                  <a:lnTo>
                    <a:pt x="313" y="243"/>
                  </a:lnTo>
                  <a:lnTo>
                    <a:pt x="275" y="247"/>
                  </a:lnTo>
                  <a:lnTo>
                    <a:pt x="242" y="258"/>
                  </a:lnTo>
                  <a:lnTo>
                    <a:pt x="173" y="265"/>
                  </a:lnTo>
                  <a:lnTo>
                    <a:pt x="154" y="292"/>
                  </a:lnTo>
                  <a:lnTo>
                    <a:pt x="138" y="298"/>
                  </a:lnTo>
                  <a:lnTo>
                    <a:pt x="127" y="313"/>
                  </a:lnTo>
                  <a:lnTo>
                    <a:pt x="130" y="325"/>
                  </a:lnTo>
                  <a:lnTo>
                    <a:pt x="138" y="340"/>
                  </a:lnTo>
                  <a:lnTo>
                    <a:pt x="145" y="359"/>
                  </a:lnTo>
                  <a:lnTo>
                    <a:pt x="163" y="356"/>
                  </a:lnTo>
                  <a:lnTo>
                    <a:pt x="183" y="371"/>
                  </a:lnTo>
                  <a:lnTo>
                    <a:pt x="185" y="382"/>
                  </a:lnTo>
                  <a:lnTo>
                    <a:pt x="163" y="380"/>
                  </a:lnTo>
                  <a:lnTo>
                    <a:pt x="156" y="373"/>
                  </a:lnTo>
                  <a:lnTo>
                    <a:pt x="151" y="377"/>
                  </a:lnTo>
                  <a:lnTo>
                    <a:pt x="153" y="392"/>
                  </a:lnTo>
                  <a:lnTo>
                    <a:pt x="158" y="404"/>
                  </a:lnTo>
                  <a:lnTo>
                    <a:pt x="165" y="404"/>
                  </a:lnTo>
                  <a:lnTo>
                    <a:pt x="163" y="410"/>
                  </a:lnTo>
                  <a:lnTo>
                    <a:pt x="164" y="416"/>
                  </a:lnTo>
                  <a:lnTo>
                    <a:pt x="170" y="426"/>
                  </a:lnTo>
                  <a:lnTo>
                    <a:pt x="193" y="420"/>
                  </a:lnTo>
                  <a:lnTo>
                    <a:pt x="201" y="427"/>
                  </a:lnTo>
                  <a:lnTo>
                    <a:pt x="243" y="442"/>
                  </a:lnTo>
                  <a:lnTo>
                    <a:pt x="238" y="448"/>
                  </a:lnTo>
                  <a:lnTo>
                    <a:pt x="178" y="457"/>
                  </a:lnTo>
                  <a:lnTo>
                    <a:pt x="178" y="472"/>
                  </a:lnTo>
                  <a:lnTo>
                    <a:pt x="184" y="486"/>
                  </a:lnTo>
                  <a:lnTo>
                    <a:pt x="193" y="491"/>
                  </a:lnTo>
                  <a:lnTo>
                    <a:pt x="199" y="505"/>
                  </a:lnTo>
                  <a:lnTo>
                    <a:pt x="205" y="509"/>
                  </a:lnTo>
                  <a:lnTo>
                    <a:pt x="211" y="506"/>
                  </a:lnTo>
                  <a:lnTo>
                    <a:pt x="212" y="497"/>
                  </a:lnTo>
                  <a:lnTo>
                    <a:pt x="216" y="500"/>
                  </a:lnTo>
                  <a:lnTo>
                    <a:pt x="216" y="506"/>
                  </a:lnTo>
                  <a:lnTo>
                    <a:pt x="210" y="513"/>
                  </a:lnTo>
                  <a:lnTo>
                    <a:pt x="218" y="523"/>
                  </a:lnTo>
                  <a:lnTo>
                    <a:pt x="223" y="537"/>
                  </a:lnTo>
                  <a:lnTo>
                    <a:pt x="242" y="537"/>
                  </a:lnTo>
                  <a:lnTo>
                    <a:pt x="250" y="547"/>
                  </a:lnTo>
                  <a:lnTo>
                    <a:pt x="269" y="549"/>
                  </a:lnTo>
                  <a:lnTo>
                    <a:pt x="290" y="558"/>
                  </a:lnTo>
                  <a:lnTo>
                    <a:pt x="324" y="558"/>
                  </a:lnTo>
                  <a:lnTo>
                    <a:pt x="326" y="549"/>
                  </a:lnTo>
                  <a:lnTo>
                    <a:pt x="323" y="532"/>
                  </a:lnTo>
                  <a:lnTo>
                    <a:pt x="307" y="523"/>
                  </a:lnTo>
                  <a:lnTo>
                    <a:pt x="299" y="511"/>
                  </a:lnTo>
                  <a:lnTo>
                    <a:pt x="326" y="511"/>
                  </a:lnTo>
                  <a:lnTo>
                    <a:pt x="339" y="515"/>
                  </a:lnTo>
                  <a:lnTo>
                    <a:pt x="347" y="532"/>
                  </a:lnTo>
                  <a:lnTo>
                    <a:pt x="360" y="539"/>
                  </a:lnTo>
                  <a:lnTo>
                    <a:pt x="365" y="552"/>
                  </a:lnTo>
                  <a:lnTo>
                    <a:pt x="367" y="545"/>
                  </a:lnTo>
                  <a:lnTo>
                    <a:pt x="350" y="501"/>
                  </a:lnTo>
                  <a:lnTo>
                    <a:pt x="339" y="486"/>
                  </a:lnTo>
                  <a:lnTo>
                    <a:pt x="335" y="475"/>
                  </a:lnTo>
                  <a:lnTo>
                    <a:pt x="322" y="447"/>
                  </a:lnTo>
                  <a:lnTo>
                    <a:pt x="323" y="426"/>
                  </a:lnTo>
                  <a:lnTo>
                    <a:pt x="328" y="424"/>
                  </a:lnTo>
                  <a:lnTo>
                    <a:pt x="330" y="430"/>
                  </a:lnTo>
                  <a:lnTo>
                    <a:pt x="339" y="457"/>
                  </a:lnTo>
                  <a:lnTo>
                    <a:pt x="346" y="469"/>
                  </a:lnTo>
                  <a:lnTo>
                    <a:pt x="367" y="486"/>
                  </a:lnTo>
                  <a:lnTo>
                    <a:pt x="368" y="497"/>
                  </a:lnTo>
                  <a:lnTo>
                    <a:pt x="384" y="532"/>
                  </a:lnTo>
                  <a:lnTo>
                    <a:pt x="394" y="544"/>
                  </a:lnTo>
                  <a:lnTo>
                    <a:pt x="401" y="545"/>
                  </a:lnTo>
                  <a:lnTo>
                    <a:pt x="405" y="533"/>
                  </a:lnTo>
                  <a:lnTo>
                    <a:pt x="412" y="483"/>
                  </a:lnTo>
                  <a:lnTo>
                    <a:pt x="395" y="451"/>
                  </a:lnTo>
                  <a:lnTo>
                    <a:pt x="394" y="436"/>
                  </a:lnTo>
                  <a:lnTo>
                    <a:pt x="398" y="415"/>
                  </a:lnTo>
                  <a:lnTo>
                    <a:pt x="401" y="416"/>
                  </a:lnTo>
                  <a:lnTo>
                    <a:pt x="403" y="426"/>
                  </a:lnTo>
                  <a:lnTo>
                    <a:pt x="417" y="447"/>
                  </a:lnTo>
                  <a:lnTo>
                    <a:pt x="421" y="461"/>
                  </a:lnTo>
                  <a:lnTo>
                    <a:pt x="436" y="461"/>
                  </a:lnTo>
                  <a:lnTo>
                    <a:pt x="436" y="451"/>
                  </a:lnTo>
                  <a:lnTo>
                    <a:pt x="438" y="434"/>
                  </a:lnTo>
                  <a:lnTo>
                    <a:pt x="435" y="416"/>
                  </a:lnTo>
                  <a:lnTo>
                    <a:pt x="423" y="407"/>
                  </a:lnTo>
                  <a:lnTo>
                    <a:pt x="425" y="396"/>
                  </a:lnTo>
                  <a:lnTo>
                    <a:pt x="420" y="376"/>
                  </a:lnTo>
                  <a:lnTo>
                    <a:pt x="420" y="360"/>
                  </a:lnTo>
                  <a:lnTo>
                    <a:pt x="421" y="348"/>
                  </a:lnTo>
                  <a:lnTo>
                    <a:pt x="421" y="329"/>
                  </a:lnTo>
                  <a:lnTo>
                    <a:pt x="427" y="312"/>
                  </a:lnTo>
                  <a:lnTo>
                    <a:pt x="432" y="284"/>
                  </a:lnTo>
                  <a:lnTo>
                    <a:pt x="436" y="280"/>
                  </a:lnTo>
                  <a:lnTo>
                    <a:pt x="436" y="287"/>
                  </a:lnTo>
                  <a:lnTo>
                    <a:pt x="433" y="298"/>
                  </a:lnTo>
                  <a:lnTo>
                    <a:pt x="431" y="321"/>
                  </a:lnTo>
                  <a:lnTo>
                    <a:pt x="436" y="334"/>
                  </a:lnTo>
                  <a:lnTo>
                    <a:pt x="436" y="361"/>
                  </a:lnTo>
                  <a:lnTo>
                    <a:pt x="438" y="380"/>
                  </a:lnTo>
                  <a:lnTo>
                    <a:pt x="455" y="407"/>
                  </a:lnTo>
                  <a:lnTo>
                    <a:pt x="460" y="404"/>
                  </a:lnTo>
                  <a:lnTo>
                    <a:pt x="475" y="367"/>
                  </a:lnTo>
                  <a:lnTo>
                    <a:pt x="489" y="345"/>
                  </a:lnTo>
                  <a:lnTo>
                    <a:pt x="486" y="303"/>
                  </a:lnTo>
                  <a:lnTo>
                    <a:pt x="486" y="291"/>
                  </a:lnTo>
                  <a:lnTo>
                    <a:pt x="496" y="300"/>
                  </a:lnTo>
                  <a:lnTo>
                    <a:pt x="498" y="329"/>
                  </a:lnTo>
                  <a:lnTo>
                    <a:pt x="513" y="310"/>
                  </a:lnTo>
                  <a:lnTo>
                    <a:pt x="511" y="307"/>
                  </a:lnTo>
                  <a:lnTo>
                    <a:pt x="512" y="292"/>
                  </a:lnTo>
                  <a:lnTo>
                    <a:pt x="565" y="267"/>
                  </a:lnTo>
                  <a:lnTo>
                    <a:pt x="602" y="231"/>
                  </a:lnTo>
                  <a:lnTo>
                    <a:pt x="603" y="204"/>
                  </a:lnTo>
                  <a:lnTo>
                    <a:pt x="600" y="195"/>
                  </a:lnTo>
                  <a:lnTo>
                    <a:pt x="592" y="184"/>
                  </a:lnTo>
                  <a:lnTo>
                    <a:pt x="588" y="170"/>
                  </a:lnTo>
                  <a:lnTo>
                    <a:pt x="571" y="146"/>
                  </a:lnTo>
                  <a:lnTo>
                    <a:pt x="560" y="123"/>
                  </a:lnTo>
                  <a:lnTo>
                    <a:pt x="552" y="128"/>
                  </a:lnTo>
                  <a:lnTo>
                    <a:pt x="551" y="135"/>
                  </a:lnTo>
                  <a:lnTo>
                    <a:pt x="549" y="145"/>
                  </a:lnTo>
                  <a:lnTo>
                    <a:pt x="549" y="156"/>
                  </a:lnTo>
                  <a:lnTo>
                    <a:pt x="545" y="165"/>
                  </a:lnTo>
                  <a:lnTo>
                    <a:pt x="535" y="176"/>
                  </a:lnTo>
                  <a:lnTo>
                    <a:pt x="534" y="168"/>
                  </a:lnTo>
                  <a:lnTo>
                    <a:pt x="540" y="162"/>
                  </a:lnTo>
                  <a:lnTo>
                    <a:pt x="538" y="150"/>
                  </a:lnTo>
                  <a:lnTo>
                    <a:pt x="539" y="141"/>
                  </a:lnTo>
                  <a:lnTo>
                    <a:pt x="538" y="130"/>
                  </a:lnTo>
                  <a:lnTo>
                    <a:pt x="529" y="123"/>
                  </a:lnTo>
                  <a:lnTo>
                    <a:pt x="519" y="103"/>
                  </a:lnTo>
                  <a:lnTo>
                    <a:pt x="507" y="93"/>
                  </a:lnTo>
                  <a:lnTo>
                    <a:pt x="502" y="92"/>
                  </a:lnTo>
                  <a:lnTo>
                    <a:pt x="489" y="107"/>
                  </a:lnTo>
                  <a:lnTo>
                    <a:pt x="479" y="107"/>
                  </a:lnTo>
                  <a:lnTo>
                    <a:pt x="468" y="127"/>
                  </a:lnTo>
                  <a:lnTo>
                    <a:pt x="464" y="128"/>
                  </a:lnTo>
                  <a:lnTo>
                    <a:pt x="464" y="115"/>
                  </a:lnTo>
                  <a:lnTo>
                    <a:pt x="470" y="102"/>
                  </a:lnTo>
                  <a:lnTo>
                    <a:pt x="481" y="96"/>
                  </a:lnTo>
                  <a:lnTo>
                    <a:pt x="487" y="60"/>
                  </a:lnTo>
                  <a:lnTo>
                    <a:pt x="496" y="32"/>
                  </a:lnTo>
                  <a:lnTo>
                    <a:pt x="496" y="27"/>
                  </a:lnTo>
                  <a:lnTo>
                    <a:pt x="481" y="33"/>
                  </a:lnTo>
                  <a:lnTo>
                    <a:pt x="481" y="28"/>
                  </a:lnTo>
                  <a:lnTo>
                    <a:pt x="491" y="17"/>
                  </a:lnTo>
                  <a:lnTo>
                    <a:pt x="487" y="0"/>
                  </a:lnTo>
                  <a:lnTo>
                    <a:pt x="104" y="0"/>
                  </a:lnTo>
                  <a:lnTo>
                    <a:pt x="110" y="9"/>
                  </a:lnTo>
                  <a:lnTo>
                    <a:pt x="111" y="15"/>
                  </a:lnTo>
                  <a:lnTo>
                    <a:pt x="102" y="1"/>
                  </a:lnTo>
                  <a:lnTo>
                    <a:pt x="99" y="0"/>
                  </a:lnTo>
                  <a:lnTo>
                    <a:pt x="78" y="0"/>
                  </a:lnTo>
                  <a:lnTo>
                    <a:pt x="75" y="2"/>
                  </a:lnTo>
                  <a:lnTo>
                    <a:pt x="72" y="0"/>
                  </a:lnTo>
                  <a:lnTo>
                    <a:pt x="2" y="0"/>
                  </a:lnTo>
                  <a:lnTo>
                    <a:pt x="0" y="7"/>
                  </a:lnTo>
                  <a:lnTo>
                    <a:pt x="3" y="2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78" name="Freeform 303">
              <a:extLst>
                <a:ext uri="{FF2B5EF4-FFF2-40B4-BE49-F238E27FC236}">
                  <a16:creationId xmlns:a16="http://schemas.microsoft.com/office/drawing/2014/main" id="{331D543A-6E28-2FA1-E465-8F44D69DDB4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145158" y="24"/>
              <a:ext cx="550675" cy="588349"/>
            </a:xfrm>
            <a:custGeom>
              <a:avLst/>
              <a:gdLst>
                <a:gd name="T0" fmla="*/ 0 w 1028"/>
                <a:gd name="T1" fmla="*/ 0 h 1037"/>
                <a:gd name="T2" fmla="*/ 0 w 1028"/>
                <a:gd name="T3" fmla="*/ 0 h 1037"/>
                <a:gd name="T4" fmla="*/ 2147483647 w 1028"/>
                <a:gd name="T5" fmla="*/ 0 h 1037"/>
                <a:gd name="T6" fmla="*/ 0 w 1028"/>
                <a:gd name="T7" fmla="*/ 0 h 1037"/>
                <a:gd name="T8" fmla="*/ 2147483647 w 1028"/>
                <a:gd name="T9" fmla="*/ 2147483647 h 1037"/>
                <a:gd name="T10" fmla="*/ 2147483647 w 1028"/>
                <a:gd name="T11" fmla="*/ 2147483647 h 1037"/>
                <a:gd name="T12" fmla="*/ 2147483647 w 1028"/>
                <a:gd name="T13" fmla="*/ 2147483647 h 1037"/>
                <a:gd name="T14" fmla="*/ 0 w 1028"/>
                <a:gd name="T15" fmla="*/ 2147483647 h 1037"/>
                <a:gd name="T16" fmla="*/ 0 w 1028"/>
                <a:gd name="T17" fmla="*/ 2147483647 h 1037"/>
                <a:gd name="T18" fmla="*/ 0 w 1028"/>
                <a:gd name="T19" fmla="*/ 2147483647 h 1037"/>
                <a:gd name="T20" fmla="*/ 0 w 1028"/>
                <a:gd name="T21" fmla="*/ 2147483647 h 1037"/>
                <a:gd name="T22" fmla="*/ 0 w 1028"/>
                <a:gd name="T23" fmla="*/ 2147483647 h 1037"/>
                <a:gd name="T24" fmla="*/ 0 w 1028"/>
                <a:gd name="T25" fmla="*/ 2147483647 h 1037"/>
                <a:gd name="T26" fmla="*/ 0 w 1028"/>
                <a:gd name="T27" fmla="*/ 2147483647 h 1037"/>
                <a:gd name="T28" fmla="*/ 0 w 1028"/>
                <a:gd name="T29" fmla="*/ 2147483647 h 1037"/>
                <a:gd name="T30" fmla="*/ 0 w 1028"/>
                <a:gd name="T31" fmla="*/ 2147483647 h 1037"/>
                <a:gd name="T32" fmla="*/ 0 w 1028"/>
                <a:gd name="T33" fmla="*/ 2147483647 h 1037"/>
                <a:gd name="T34" fmla="*/ 0 w 1028"/>
                <a:gd name="T35" fmla="*/ 2147483647 h 1037"/>
                <a:gd name="T36" fmla="*/ 2147483647 w 1028"/>
                <a:gd name="T37" fmla="*/ 2147483647 h 1037"/>
                <a:gd name="T38" fmla="*/ 2147483647 w 1028"/>
                <a:gd name="T39" fmla="*/ 2147483647 h 1037"/>
                <a:gd name="T40" fmla="*/ 2147483647 w 1028"/>
                <a:gd name="T41" fmla="*/ 2147483647 h 1037"/>
                <a:gd name="T42" fmla="*/ 0 w 1028"/>
                <a:gd name="T43" fmla="*/ 2147483647 h 1037"/>
                <a:gd name="T44" fmla="*/ 0 w 1028"/>
                <a:gd name="T45" fmla="*/ 2147483647 h 1037"/>
                <a:gd name="T46" fmla="*/ 0 w 1028"/>
                <a:gd name="T47" fmla="*/ 2147483647 h 1037"/>
                <a:gd name="T48" fmla="*/ 0 w 1028"/>
                <a:gd name="T49" fmla="*/ 2147483647 h 1037"/>
                <a:gd name="T50" fmla="*/ 0 w 1028"/>
                <a:gd name="T51" fmla="*/ 2147483647 h 1037"/>
                <a:gd name="T52" fmla="*/ 0 w 1028"/>
                <a:gd name="T53" fmla="*/ 2147483647 h 1037"/>
                <a:gd name="T54" fmla="*/ 0 w 1028"/>
                <a:gd name="T55" fmla="*/ 2147483647 h 1037"/>
                <a:gd name="T56" fmla="*/ 0 w 1028"/>
                <a:gd name="T57" fmla="*/ 2147483647 h 1037"/>
                <a:gd name="T58" fmla="*/ 0 w 1028"/>
                <a:gd name="T59" fmla="*/ 2147483647 h 1037"/>
                <a:gd name="T60" fmla="*/ 0 w 1028"/>
                <a:gd name="T61" fmla="*/ 2147483647 h 1037"/>
                <a:gd name="T62" fmla="*/ 0 w 1028"/>
                <a:gd name="T63" fmla="*/ 2147483647 h 1037"/>
                <a:gd name="T64" fmla="*/ 2147483647 w 1028"/>
                <a:gd name="T65" fmla="*/ 2147483647 h 1037"/>
                <a:gd name="T66" fmla="*/ 2147483647 w 1028"/>
                <a:gd name="T67" fmla="*/ 2147483647 h 1037"/>
                <a:gd name="T68" fmla="*/ 2147483647 w 1028"/>
                <a:gd name="T69" fmla="*/ 2147483647 h 1037"/>
                <a:gd name="T70" fmla="*/ 2147483647 w 1028"/>
                <a:gd name="T71" fmla="*/ 2147483647 h 1037"/>
                <a:gd name="T72" fmla="*/ 2147483647 w 1028"/>
                <a:gd name="T73" fmla="*/ 2147483647 h 1037"/>
                <a:gd name="T74" fmla="*/ 2147483647 w 1028"/>
                <a:gd name="T75" fmla="*/ 2147483647 h 1037"/>
                <a:gd name="T76" fmla="*/ 2147483647 w 1028"/>
                <a:gd name="T77" fmla="*/ 2147483647 h 1037"/>
                <a:gd name="T78" fmla="*/ 2147483647 w 1028"/>
                <a:gd name="T79" fmla="*/ 2147483647 h 1037"/>
                <a:gd name="T80" fmla="*/ 2147483647 w 1028"/>
                <a:gd name="T81" fmla="*/ 2147483647 h 1037"/>
                <a:gd name="T82" fmla="*/ 2147483647 w 1028"/>
                <a:gd name="T83" fmla="*/ 2147483647 h 1037"/>
                <a:gd name="T84" fmla="*/ 2147483647 w 1028"/>
                <a:gd name="T85" fmla="*/ 2147483647 h 1037"/>
                <a:gd name="T86" fmla="*/ 2147483647 w 1028"/>
                <a:gd name="T87" fmla="*/ 2147483647 h 1037"/>
                <a:gd name="T88" fmla="*/ 2147483647 w 1028"/>
                <a:gd name="T89" fmla="*/ 2147483647 h 1037"/>
                <a:gd name="T90" fmla="*/ 2147483647 w 1028"/>
                <a:gd name="T91" fmla="*/ 0 h 1037"/>
                <a:gd name="T92" fmla="*/ 2147483647 w 1028"/>
                <a:gd name="T93" fmla="*/ 0 h 1037"/>
                <a:gd name="T94" fmla="*/ 2147483647 w 1028"/>
                <a:gd name="T95" fmla="*/ 0 h 1037"/>
                <a:gd name="T96" fmla="*/ 2147483647 w 1028"/>
                <a:gd name="T97" fmla="*/ 0 h 1037"/>
                <a:gd name="T98" fmla="*/ 2147483647 w 1028"/>
                <a:gd name="T99" fmla="*/ 0 h 1037"/>
                <a:gd name="T100" fmla="*/ 2147483647 w 1028"/>
                <a:gd name="T101" fmla="*/ 0 h 1037"/>
                <a:gd name="T102" fmla="*/ 2147483647 w 1028"/>
                <a:gd name="T103" fmla="*/ 0 h 1037"/>
                <a:gd name="T104" fmla="*/ 2147483647 w 1028"/>
                <a:gd name="T105" fmla="*/ 0 h 1037"/>
                <a:gd name="T106" fmla="*/ 2147483647 w 1028"/>
                <a:gd name="T107" fmla="*/ 0 h 1037"/>
                <a:gd name="T108" fmla="*/ 2147483647 w 1028"/>
                <a:gd name="T109" fmla="*/ 0 h 1037"/>
                <a:gd name="T110" fmla="*/ 2147483647 w 1028"/>
                <a:gd name="T111" fmla="*/ 0 h 1037"/>
                <a:gd name="T112" fmla="*/ 2147483647 w 1028"/>
                <a:gd name="T113" fmla="*/ 0 h 1037"/>
                <a:gd name="T114" fmla="*/ 0 w 1028"/>
                <a:gd name="T115" fmla="*/ 0 h 103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28"/>
                <a:gd name="T175" fmla="*/ 0 h 1037"/>
                <a:gd name="T176" fmla="*/ 1028 w 1028"/>
                <a:gd name="T177" fmla="*/ 1037 h 103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28" h="1037">
                  <a:moveTo>
                    <a:pt x="231" y="23"/>
                  </a:moveTo>
                  <a:lnTo>
                    <a:pt x="231" y="28"/>
                  </a:lnTo>
                  <a:lnTo>
                    <a:pt x="228" y="33"/>
                  </a:lnTo>
                  <a:lnTo>
                    <a:pt x="193" y="18"/>
                  </a:lnTo>
                  <a:lnTo>
                    <a:pt x="184" y="9"/>
                  </a:lnTo>
                  <a:lnTo>
                    <a:pt x="174" y="7"/>
                  </a:lnTo>
                  <a:lnTo>
                    <a:pt x="168" y="11"/>
                  </a:lnTo>
                  <a:lnTo>
                    <a:pt x="168" y="49"/>
                  </a:lnTo>
                  <a:lnTo>
                    <a:pt x="170" y="57"/>
                  </a:lnTo>
                  <a:lnTo>
                    <a:pt x="181" y="70"/>
                  </a:lnTo>
                  <a:lnTo>
                    <a:pt x="204" y="86"/>
                  </a:lnTo>
                  <a:lnTo>
                    <a:pt x="217" y="87"/>
                  </a:lnTo>
                  <a:lnTo>
                    <a:pt x="243" y="111"/>
                  </a:lnTo>
                  <a:lnTo>
                    <a:pt x="247" y="120"/>
                  </a:lnTo>
                  <a:lnTo>
                    <a:pt x="251" y="141"/>
                  </a:lnTo>
                  <a:lnTo>
                    <a:pt x="256" y="151"/>
                  </a:lnTo>
                  <a:lnTo>
                    <a:pt x="279" y="182"/>
                  </a:lnTo>
                  <a:lnTo>
                    <a:pt x="281" y="192"/>
                  </a:lnTo>
                  <a:lnTo>
                    <a:pt x="280" y="204"/>
                  </a:lnTo>
                  <a:lnTo>
                    <a:pt x="284" y="215"/>
                  </a:lnTo>
                  <a:lnTo>
                    <a:pt x="284" y="225"/>
                  </a:lnTo>
                  <a:lnTo>
                    <a:pt x="283" y="228"/>
                  </a:lnTo>
                  <a:lnTo>
                    <a:pt x="286" y="237"/>
                  </a:lnTo>
                  <a:lnTo>
                    <a:pt x="289" y="253"/>
                  </a:lnTo>
                  <a:lnTo>
                    <a:pt x="303" y="249"/>
                  </a:lnTo>
                  <a:lnTo>
                    <a:pt x="310" y="240"/>
                  </a:lnTo>
                  <a:lnTo>
                    <a:pt x="308" y="251"/>
                  </a:lnTo>
                  <a:lnTo>
                    <a:pt x="303" y="259"/>
                  </a:lnTo>
                  <a:lnTo>
                    <a:pt x="314" y="278"/>
                  </a:lnTo>
                  <a:lnTo>
                    <a:pt x="322" y="275"/>
                  </a:lnTo>
                  <a:lnTo>
                    <a:pt x="324" y="290"/>
                  </a:lnTo>
                  <a:lnTo>
                    <a:pt x="330" y="298"/>
                  </a:lnTo>
                  <a:lnTo>
                    <a:pt x="344" y="296"/>
                  </a:lnTo>
                  <a:lnTo>
                    <a:pt x="337" y="307"/>
                  </a:lnTo>
                  <a:lnTo>
                    <a:pt x="318" y="306"/>
                  </a:lnTo>
                  <a:lnTo>
                    <a:pt x="307" y="301"/>
                  </a:lnTo>
                  <a:lnTo>
                    <a:pt x="295" y="280"/>
                  </a:lnTo>
                  <a:lnTo>
                    <a:pt x="283" y="279"/>
                  </a:lnTo>
                  <a:lnTo>
                    <a:pt x="276" y="269"/>
                  </a:lnTo>
                  <a:lnTo>
                    <a:pt x="270" y="271"/>
                  </a:lnTo>
                  <a:lnTo>
                    <a:pt x="262" y="286"/>
                  </a:lnTo>
                  <a:lnTo>
                    <a:pt x="265" y="302"/>
                  </a:lnTo>
                  <a:lnTo>
                    <a:pt x="278" y="307"/>
                  </a:lnTo>
                  <a:lnTo>
                    <a:pt x="295" y="327"/>
                  </a:lnTo>
                  <a:lnTo>
                    <a:pt x="354" y="333"/>
                  </a:lnTo>
                  <a:lnTo>
                    <a:pt x="377" y="346"/>
                  </a:lnTo>
                  <a:lnTo>
                    <a:pt x="407" y="345"/>
                  </a:lnTo>
                  <a:lnTo>
                    <a:pt x="410" y="343"/>
                  </a:lnTo>
                  <a:lnTo>
                    <a:pt x="413" y="335"/>
                  </a:lnTo>
                  <a:lnTo>
                    <a:pt x="419" y="334"/>
                  </a:lnTo>
                  <a:lnTo>
                    <a:pt x="434" y="316"/>
                  </a:lnTo>
                  <a:lnTo>
                    <a:pt x="442" y="313"/>
                  </a:lnTo>
                  <a:lnTo>
                    <a:pt x="442" y="316"/>
                  </a:lnTo>
                  <a:lnTo>
                    <a:pt x="434" y="332"/>
                  </a:lnTo>
                  <a:lnTo>
                    <a:pt x="431" y="349"/>
                  </a:lnTo>
                  <a:lnTo>
                    <a:pt x="434" y="353"/>
                  </a:lnTo>
                  <a:lnTo>
                    <a:pt x="427" y="361"/>
                  </a:lnTo>
                  <a:lnTo>
                    <a:pt x="424" y="360"/>
                  </a:lnTo>
                  <a:lnTo>
                    <a:pt x="421" y="367"/>
                  </a:lnTo>
                  <a:lnTo>
                    <a:pt x="416" y="370"/>
                  </a:lnTo>
                  <a:lnTo>
                    <a:pt x="408" y="357"/>
                  </a:lnTo>
                  <a:lnTo>
                    <a:pt x="398" y="364"/>
                  </a:lnTo>
                  <a:lnTo>
                    <a:pt x="355" y="357"/>
                  </a:lnTo>
                  <a:lnTo>
                    <a:pt x="348" y="366"/>
                  </a:lnTo>
                  <a:lnTo>
                    <a:pt x="351" y="375"/>
                  </a:lnTo>
                  <a:lnTo>
                    <a:pt x="364" y="384"/>
                  </a:lnTo>
                  <a:lnTo>
                    <a:pt x="373" y="386"/>
                  </a:lnTo>
                  <a:lnTo>
                    <a:pt x="377" y="393"/>
                  </a:lnTo>
                  <a:lnTo>
                    <a:pt x="405" y="394"/>
                  </a:lnTo>
                  <a:lnTo>
                    <a:pt x="402" y="402"/>
                  </a:lnTo>
                  <a:lnTo>
                    <a:pt x="388" y="402"/>
                  </a:lnTo>
                  <a:lnTo>
                    <a:pt x="402" y="431"/>
                  </a:lnTo>
                  <a:lnTo>
                    <a:pt x="399" y="437"/>
                  </a:lnTo>
                  <a:lnTo>
                    <a:pt x="380" y="426"/>
                  </a:lnTo>
                  <a:lnTo>
                    <a:pt x="377" y="418"/>
                  </a:lnTo>
                  <a:lnTo>
                    <a:pt x="367" y="400"/>
                  </a:lnTo>
                  <a:lnTo>
                    <a:pt x="356" y="399"/>
                  </a:lnTo>
                  <a:lnTo>
                    <a:pt x="313" y="353"/>
                  </a:lnTo>
                  <a:lnTo>
                    <a:pt x="270" y="345"/>
                  </a:lnTo>
                  <a:lnTo>
                    <a:pt x="243" y="332"/>
                  </a:lnTo>
                  <a:lnTo>
                    <a:pt x="233" y="333"/>
                  </a:lnTo>
                  <a:lnTo>
                    <a:pt x="232" y="341"/>
                  </a:lnTo>
                  <a:lnTo>
                    <a:pt x="225" y="354"/>
                  </a:lnTo>
                  <a:lnTo>
                    <a:pt x="157" y="367"/>
                  </a:lnTo>
                  <a:lnTo>
                    <a:pt x="152" y="371"/>
                  </a:lnTo>
                  <a:lnTo>
                    <a:pt x="146" y="382"/>
                  </a:lnTo>
                  <a:lnTo>
                    <a:pt x="140" y="404"/>
                  </a:lnTo>
                  <a:lnTo>
                    <a:pt x="136" y="426"/>
                  </a:lnTo>
                  <a:lnTo>
                    <a:pt x="147" y="430"/>
                  </a:lnTo>
                  <a:lnTo>
                    <a:pt x="144" y="436"/>
                  </a:lnTo>
                  <a:lnTo>
                    <a:pt x="125" y="442"/>
                  </a:lnTo>
                  <a:lnTo>
                    <a:pt x="118" y="452"/>
                  </a:lnTo>
                  <a:lnTo>
                    <a:pt x="108" y="474"/>
                  </a:lnTo>
                  <a:lnTo>
                    <a:pt x="114" y="488"/>
                  </a:lnTo>
                  <a:lnTo>
                    <a:pt x="115" y="502"/>
                  </a:lnTo>
                  <a:lnTo>
                    <a:pt x="117" y="507"/>
                  </a:lnTo>
                  <a:lnTo>
                    <a:pt x="115" y="523"/>
                  </a:lnTo>
                  <a:lnTo>
                    <a:pt x="117" y="529"/>
                  </a:lnTo>
                  <a:lnTo>
                    <a:pt x="125" y="524"/>
                  </a:lnTo>
                  <a:lnTo>
                    <a:pt x="140" y="531"/>
                  </a:lnTo>
                  <a:lnTo>
                    <a:pt x="127" y="534"/>
                  </a:lnTo>
                  <a:lnTo>
                    <a:pt x="119" y="542"/>
                  </a:lnTo>
                  <a:lnTo>
                    <a:pt x="117" y="549"/>
                  </a:lnTo>
                  <a:lnTo>
                    <a:pt x="118" y="552"/>
                  </a:lnTo>
                  <a:lnTo>
                    <a:pt x="144" y="558"/>
                  </a:lnTo>
                  <a:lnTo>
                    <a:pt x="170" y="545"/>
                  </a:lnTo>
                  <a:lnTo>
                    <a:pt x="176" y="526"/>
                  </a:lnTo>
                  <a:lnTo>
                    <a:pt x="184" y="528"/>
                  </a:lnTo>
                  <a:lnTo>
                    <a:pt x="188" y="523"/>
                  </a:lnTo>
                  <a:lnTo>
                    <a:pt x="192" y="511"/>
                  </a:lnTo>
                  <a:lnTo>
                    <a:pt x="193" y="500"/>
                  </a:lnTo>
                  <a:lnTo>
                    <a:pt x="205" y="486"/>
                  </a:lnTo>
                  <a:lnTo>
                    <a:pt x="205" y="493"/>
                  </a:lnTo>
                  <a:lnTo>
                    <a:pt x="199" y="515"/>
                  </a:lnTo>
                  <a:lnTo>
                    <a:pt x="185" y="542"/>
                  </a:lnTo>
                  <a:lnTo>
                    <a:pt x="187" y="547"/>
                  </a:lnTo>
                  <a:lnTo>
                    <a:pt x="187" y="554"/>
                  </a:lnTo>
                  <a:lnTo>
                    <a:pt x="188" y="561"/>
                  </a:lnTo>
                  <a:lnTo>
                    <a:pt x="194" y="566"/>
                  </a:lnTo>
                  <a:lnTo>
                    <a:pt x="221" y="553"/>
                  </a:lnTo>
                  <a:lnTo>
                    <a:pt x="226" y="558"/>
                  </a:lnTo>
                  <a:lnTo>
                    <a:pt x="233" y="550"/>
                  </a:lnTo>
                  <a:lnTo>
                    <a:pt x="247" y="523"/>
                  </a:lnTo>
                  <a:lnTo>
                    <a:pt x="249" y="510"/>
                  </a:lnTo>
                  <a:lnTo>
                    <a:pt x="254" y="499"/>
                  </a:lnTo>
                  <a:lnTo>
                    <a:pt x="258" y="472"/>
                  </a:lnTo>
                  <a:lnTo>
                    <a:pt x="263" y="458"/>
                  </a:lnTo>
                  <a:lnTo>
                    <a:pt x="263" y="447"/>
                  </a:lnTo>
                  <a:lnTo>
                    <a:pt x="273" y="425"/>
                  </a:lnTo>
                  <a:lnTo>
                    <a:pt x="264" y="454"/>
                  </a:lnTo>
                  <a:lnTo>
                    <a:pt x="263" y="483"/>
                  </a:lnTo>
                  <a:lnTo>
                    <a:pt x="265" y="490"/>
                  </a:lnTo>
                  <a:lnTo>
                    <a:pt x="270" y="491"/>
                  </a:lnTo>
                  <a:lnTo>
                    <a:pt x="276" y="486"/>
                  </a:lnTo>
                  <a:lnTo>
                    <a:pt x="274" y="494"/>
                  </a:lnTo>
                  <a:lnTo>
                    <a:pt x="263" y="505"/>
                  </a:lnTo>
                  <a:lnTo>
                    <a:pt x="259" y="513"/>
                  </a:lnTo>
                  <a:lnTo>
                    <a:pt x="259" y="531"/>
                  </a:lnTo>
                  <a:lnTo>
                    <a:pt x="260" y="536"/>
                  </a:lnTo>
                  <a:lnTo>
                    <a:pt x="278" y="529"/>
                  </a:lnTo>
                  <a:lnTo>
                    <a:pt x="286" y="532"/>
                  </a:lnTo>
                  <a:lnTo>
                    <a:pt x="294" y="536"/>
                  </a:lnTo>
                  <a:lnTo>
                    <a:pt x="296" y="542"/>
                  </a:lnTo>
                  <a:lnTo>
                    <a:pt x="303" y="538"/>
                  </a:lnTo>
                  <a:lnTo>
                    <a:pt x="303" y="545"/>
                  </a:lnTo>
                  <a:lnTo>
                    <a:pt x="298" y="552"/>
                  </a:lnTo>
                  <a:lnTo>
                    <a:pt x="275" y="542"/>
                  </a:lnTo>
                  <a:lnTo>
                    <a:pt x="252" y="547"/>
                  </a:lnTo>
                  <a:lnTo>
                    <a:pt x="246" y="555"/>
                  </a:lnTo>
                  <a:lnTo>
                    <a:pt x="246" y="561"/>
                  </a:lnTo>
                  <a:lnTo>
                    <a:pt x="243" y="570"/>
                  </a:lnTo>
                  <a:lnTo>
                    <a:pt x="257" y="576"/>
                  </a:lnTo>
                  <a:lnTo>
                    <a:pt x="247" y="581"/>
                  </a:lnTo>
                  <a:lnTo>
                    <a:pt x="232" y="576"/>
                  </a:lnTo>
                  <a:lnTo>
                    <a:pt x="226" y="580"/>
                  </a:lnTo>
                  <a:lnTo>
                    <a:pt x="208" y="602"/>
                  </a:lnTo>
                  <a:lnTo>
                    <a:pt x="209" y="607"/>
                  </a:lnTo>
                  <a:lnTo>
                    <a:pt x="214" y="608"/>
                  </a:lnTo>
                  <a:lnTo>
                    <a:pt x="219" y="618"/>
                  </a:lnTo>
                  <a:lnTo>
                    <a:pt x="230" y="609"/>
                  </a:lnTo>
                  <a:lnTo>
                    <a:pt x="253" y="608"/>
                  </a:lnTo>
                  <a:lnTo>
                    <a:pt x="259" y="602"/>
                  </a:lnTo>
                  <a:lnTo>
                    <a:pt x="264" y="604"/>
                  </a:lnTo>
                  <a:lnTo>
                    <a:pt x="265" y="609"/>
                  </a:lnTo>
                  <a:lnTo>
                    <a:pt x="259" y="610"/>
                  </a:lnTo>
                  <a:lnTo>
                    <a:pt x="249" y="620"/>
                  </a:lnTo>
                  <a:lnTo>
                    <a:pt x="251" y="617"/>
                  </a:lnTo>
                  <a:lnTo>
                    <a:pt x="247" y="615"/>
                  </a:lnTo>
                  <a:lnTo>
                    <a:pt x="230" y="618"/>
                  </a:lnTo>
                  <a:lnTo>
                    <a:pt x="227" y="620"/>
                  </a:lnTo>
                  <a:lnTo>
                    <a:pt x="226" y="626"/>
                  </a:lnTo>
                  <a:lnTo>
                    <a:pt x="227" y="631"/>
                  </a:lnTo>
                  <a:lnTo>
                    <a:pt x="247" y="626"/>
                  </a:lnTo>
                  <a:lnTo>
                    <a:pt x="238" y="637"/>
                  </a:lnTo>
                  <a:lnTo>
                    <a:pt x="235" y="651"/>
                  </a:lnTo>
                  <a:lnTo>
                    <a:pt x="235" y="655"/>
                  </a:lnTo>
                  <a:lnTo>
                    <a:pt x="238" y="669"/>
                  </a:lnTo>
                  <a:lnTo>
                    <a:pt x="254" y="682"/>
                  </a:lnTo>
                  <a:lnTo>
                    <a:pt x="265" y="663"/>
                  </a:lnTo>
                  <a:lnTo>
                    <a:pt x="267" y="650"/>
                  </a:lnTo>
                  <a:lnTo>
                    <a:pt x="269" y="645"/>
                  </a:lnTo>
                  <a:lnTo>
                    <a:pt x="271" y="660"/>
                  </a:lnTo>
                  <a:lnTo>
                    <a:pt x="260" y="687"/>
                  </a:lnTo>
                  <a:lnTo>
                    <a:pt x="263" y="701"/>
                  </a:lnTo>
                  <a:lnTo>
                    <a:pt x="278" y="704"/>
                  </a:lnTo>
                  <a:lnTo>
                    <a:pt x="292" y="700"/>
                  </a:lnTo>
                  <a:lnTo>
                    <a:pt x="314" y="708"/>
                  </a:lnTo>
                  <a:lnTo>
                    <a:pt x="333" y="698"/>
                  </a:lnTo>
                  <a:lnTo>
                    <a:pt x="343" y="684"/>
                  </a:lnTo>
                  <a:lnTo>
                    <a:pt x="351" y="657"/>
                  </a:lnTo>
                  <a:lnTo>
                    <a:pt x="359" y="639"/>
                  </a:lnTo>
                  <a:lnTo>
                    <a:pt x="366" y="628"/>
                  </a:lnTo>
                  <a:lnTo>
                    <a:pt x="373" y="599"/>
                  </a:lnTo>
                  <a:lnTo>
                    <a:pt x="373" y="587"/>
                  </a:lnTo>
                  <a:lnTo>
                    <a:pt x="377" y="579"/>
                  </a:lnTo>
                  <a:lnTo>
                    <a:pt x="383" y="571"/>
                  </a:lnTo>
                  <a:lnTo>
                    <a:pt x="396" y="572"/>
                  </a:lnTo>
                  <a:lnTo>
                    <a:pt x="383" y="587"/>
                  </a:lnTo>
                  <a:lnTo>
                    <a:pt x="383" y="602"/>
                  </a:lnTo>
                  <a:lnTo>
                    <a:pt x="378" y="623"/>
                  </a:lnTo>
                  <a:lnTo>
                    <a:pt x="366" y="649"/>
                  </a:lnTo>
                  <a:lnTo>
                    <a:pt x="365" y="657"/>
                  </a:lnTo>
                  <a:lnTo>
                    <a:pt x="360" y="668"/>
                  </a:lnTo>
                  <a:lnTo>
                    <a:pt x="341" y="696"/>
                  </a:lnTo>
                  <a:lnTo>
                    <a:pt x="340" y="701"/>
                  </a:lnTo>
                  <a:lnTo>
                    <a:pt x="323" y="719"/>
                  </a:lnTo>
                  <a:lnTo>
                    <a:pt x="323" y="726"/>
                  </a:lnTo>
                  <a:lnTo>
                    <a:pt x="326" y="730"/>
                  </a:lnTo>
                  <a:lnTo>
                    <a:pt x="335" y="732"/>
                  </a:lnTo>
                  <a:lnTo>
                    <a:pt x="335" y="739"/>
                  </a:lnTo>
                  <a:lnTo>
                    <a:pt x="329" y="742"/>
                  </a:lnTo>
                  <a:lnTo>
                    <a:pt x="313" y="736"/>
                  </a:lnTo>
                  <a:lnTo>
                    <a:pt x="306" y="728"/>
                  </a:lnTo>
                  <a:lnTo>
                    <a:pt x="278" y="733"/>
                  </a:lnTo>
                  <a:lnTo>
                    <a:pt x="284" y="746"/>
                  </a:lnTo>
                  <a:lnTo>
                    <a:pt x="285" y="750"/>
                  </a:lnTo>
                  <a:lnTo>
                    <a:pt x="284" y="757"/>
                  </a:lnTo>
                  <a:lnTo>
                    <a:pt x="276" y="758"/>
                  </a:lnTo>
                  <a:lnTo>
                    <a:pt x="256" y="738"/>
                  </a:lnTo>
                  <a:lnTo>
                    <a:pt x="233" y="736"/>
                  </a:lnTo>
                  <a:lnTo>
                    <a:pt x="215" y="723"/>
                  </a:lnTo>
                  <a:lnTo>
                    <a:pt x="211" y="726"/>
                  </a:lnTo>
                  <a:lnTo>
                    <a:pt x="213" y="716"/>
                  </a:lnTo>
                  <a:lnTo>
                    <a:pt x="209" y="711"/>
                  </a:lnTo>
                  <a:lnTo>
                    <a:pt x="205" y="689"/>
                  </a:lnTo>
                  <a:lnTo>
                    <a:pt x="199" y="678"/>
                  </a:lnTo>
                  <a:lnTo>
                    <a:pt x="194" y="665"/>
                  </a:lnTo>
                  <a:lnTo>
                    <a:pt x="188" y="656"/>
                  </a:lnTo>
                  <a:lnTo>
                    <a:pt x="187" y="646"/>
                  </a:lnTo>
                  <a:lnTo>
                    <a:pt x="168" y="622"/>
                  </a:lnTo>
                  <a:lnTo>
                    <a:pt x="119" y="612"/>
                  </a:lnTo>
                  <a:lnTo>
                    <a:pt x="88" y="628"/>
                  </a:lnTo>
                  <a:lnTo>
                    <a:pt x="82" y="626"/>
                  </a:lnTo>
                  <a:lnTo>
                    <a:pt x="75" y="636"/>
                  </a:lnTo>
                  <a:lnTo>
                    <a:pt x="69" y="636"/>
                  </a:lnTo>
                  <a:lnTo>
                    <a:pt x="70" y="647"/>
                  </a:lnTo>
                  <a:lnTo>
                    <a:pt x="69" y="650"/>
                  </a:lnTo>
                  <a:lnTo>
                    <a:pt x="72" y="655"/>
                  </a:lnTo>
                  <a:lnTo>
                    <a:pt x="70" y="679"/>
                  </a:lnTo>
                  <a:lnTo>
                    <a:pt x="88" y="693"/>
                  </a:lnTo>
                  <a:lnTo>
                    <a:pt x="88" y="699"/>
                  </a:lnTo>
                  <a:lnTo>
                    <a:pt x="99" y="714"/>
                  </a:lnTo>
                  <a:lnTo>
                    <a:pt x="101" y="716"/>
                  </a:lnTo>
                  <a:lnTo>
                    <a:pt x="98" y="735"/>
                  </a:lnTo>
                  <a:lnTo>
                    <a:pt x="102" y="743"/>
                  </a:lnTo>
                  <a:lnTo>
                    <a:pt x="103" y="750"/>
                  </a:lnTo>
                  <a:lnTo>
                    <a:pt x="120" y="757"/>
                  </a:lnTo>
                  <a:lnTo>
                    <a:pt x="131" y="748"/>
                  </a:lnTo>
                  <a:lnTo>
                    <a:pt x="144" y="748"/>
                  </a:lnTo>
                  <a:lnTo>
                    <a:pt x="145" y="753"/>
                  </a:lnTo>
                  <a:lnTo>
                    <a:pt x="127" y="768"/>
                  </a:lnTo>
                  <a:lnTo>
                    <a:pt x="128" y="770"/>
                  </a:lnTo>
                  <a:lnTo>
                    <a:pt x="139" y="773"/>
                  </a:lnTo>
                  <a:lnTo>
                    <a:pt x="139" y="776"/>
                  </a:lnTo>
                  <a:lnTo>
                    <a:pt x="129" y="781"/>
                  </a:lnTo>
                  <a:lnTo>
                    <a:pt x="129" y="790"/>
                  </a:lnTo>
                  <a:lnTo>
                    <a:pt x="130" y="793"/>
                  </a:lnTo>
                  <a:lnTo>
                    <a:pt x="134" y="790"/>
                  </a:lnTo>
                  <a:lnTo>
                    <a:pt x="152" y="796"/>
                  </a:lnTo>
                  <a:lnTo>
                    <a:pt x="147" y="801"/>
                  </a:lnTo>
                  <a:lnTo>
                    <a:pt x="146" y="807"/>
                  </a:lnTo>
                  <a:lnTo>
                    <a:pt x="135" y="801"/>
                  </a:lnTo>
                  <a:lnTo>
                    <a:pt x="134" y="795"/>
                  </a:lnTo>
                  <a:lnTo>
                    <a:pt x="118" y="800"/>
                  </a:lnTo>
                  <a:lnTo>
                    <a:pt x="113" y="807"/>
                  </a:lnTo>
                  <a:lnTo>
                    <a:pt x="118" y="814"/>
                  </a:lnTo>
                  <a:lnTo>
                    <a:pt x="104" y="817"/>
                  </a:lnTo>
                  <a:lnTo>
                    <a:pt x="103" y="811"/>
                  </a:lnTo>
                  <a:lnTo>
                    <a:pt x="101" y="811"/>
                  </a:lnTo>
                  <a:lnTo>
                    <a:pt x="92" y="819"/>
                  </a:lnTo>
                  <a:lnTo>
                    <a:pt x="85" y="813"/>
                  </a:lnTo>
                  <a:lnTo>
                    <a:pt x="72" y="811"/>
                  </a:lnTo>
                  <a:lnTo>
                    <a:pt x="69" y="813"/>
                  </a:lnTo>
                  <a:lnTo>
                    <a:pt x="68" y="824"/>
                  </a:lnTo>
                  <a:lnTo>
                    <a:pt x="56" y="829"/>
                  </a:lnTo>
                  <a:lnTo>
                    <a:pt x="49" y="835"/>
                  </a:lnTo>
                  <a:lnTo>
                    <a:pt x="45" y="845"/>
                  </a:lnTo>
                  <a:lnTo>
                    <a:pt x="10" y="871"/>
                  </a:lnTo>
                  <a:lnTo>
                    <a:pt x="4" y="892"/>
                  </a:lnTo>
                  <a:lnTo>
                    <a:pt x="6" y="903"/>
                  </a:lnTo>
                  <a:lnTo>
                    <a:pt x="5" y="919"/>
                  </a:lnTo>
                  <a:lnTo>
                    <a:pt x="2" y="932"/>
                  </a:lnTo>
                  <a:lnTo>
                    <a:pt x="0" y="941"/>
                  </a:lnTo>
                  <a:lnTo>
                    <a:pt x="18" y="974"/>
                  </a:lnTo>
                  <a:lnTo>
                    <a:pt x="26" y="975"/>
                  </a:lnTo>
                  <a:lnTo>
                    <a:pt x="39" y="958"/>
                  </a:lnTo>
                  <a:lnTo>
                    <a:pt x="42" y="941"/>
                  </a:lnTo>
                  <a:lnTo>
                    <a:pt x="47" y="970"/>
                  </a:lnTo>
                  <a:lnTo>
                    <a:pt x="53" y="946"/>
                  </a:lnTo>
                  <a:lnTo>
                    <a:pt x="45" y="897"/>
                  </a:lnTo>
                  <a:lnTo>
                    <a:pt x="53" y="886"/>
                  </a:lnTo>
                  <a:lnTo>
                    <a:pt x="55" y="904"/>
                  </a:lnTo>
                  <a:lnTo>
                    <a:pt x="55" y="937"/>
                  </a:lnTo>
                  <a:lnTo>
                    <a:pt x="59" y="976"/>
                  </a:lnTo>
                  <a:lnTo>
                    <a:pt x="79" y="979"/>
                  </a:lnTo>
                  <a:lnTo>
                    <a:pt x="84" y="990"/>
                  </a:lnTo>
                  <a:lnTo>
                    <a:pt x="99" y="985"/>
                  </a:lnTo>
                  <a:lnTo>
                    <a:pt x="104" y="967"/>
                  </a:lnTo>
                  <a:lnTo>
                    <a:pt x="102" y="945"/>
                  </a:lnTo>
                  <a:lnTo>
                    <a:pt x="108" y="964"/>
                  </a:lnTo>
                  <a:lnTo>
                    <a:pt x="124" y="975"/>
                  </a:lnTo>
                  <a:lnTo>
                    <a:pt x="129" y="985"/>
                  </a:lnTo>
                  <a:lnTo>
                    <a:pt x="142" y="989"/>
                  </a:lnTo>
                  <a:lnTo>
                    <a:pt x="146" y="970"/>
                  </a:lnTo>
                  <a:lnTo>
                    <a:pt x="158" y="958"/>
                  </a:lnTo>
                  <a:lnTo>
                    <a:pt x="158" y="934"/>
                  </a:lnTo>
                  <a:lnTo>
                    <a:pt x="163" y="945"/>
                  </a:lnTo>
                  <a:lnTo>
                    <a:pt x="165" y="961"/>
                  </a:lnTo>
                  <a:lnTo>
                    <a:pt x="163" y="965"/>
                  </a:lnTo>
                  <a:lnTo>
                    <a:pt x="190" y="995"/>
                  </a:lnTo>
                  <a:lnTo>
                    <a:pt x="200" y="1004"/>
                  </a:lnTo>
                  <a:lnTo>
                    <a:pt x="225" y="1006"/>
                  </a:lnTo>
                  <a:lnTo>
                    <a:pt x="227" y="1016"/>
                  </a:lnTo>
                  <a:lnTo>
                    <a:pt x="274" y="1008"/>
                  </a:lnTo>
                  <a:lnTo>
                    <a:pt x="243" y="964"/>
                  </a:lnTo>
                  <a:lnTo>
                    <a:pt x="242" y="943"/>
                  </a:lnTo>
                  <a:lnTo>
                    <a:pt x="256" y="973"/>
                  </a:lnTo>
                  <a:lnTo>
                    <a:pt x="269" y="974"/>
                  </a:lnTo>
                  <a:lnTo>
                    <a:pt x="286" y="957"/>
                  </a:lnTo>
                  <a:lnTo>
                    <a:pt x="286" y="925"/>
                  </a:lnTo>
                  <a:lnTo>
                    <a:pt x="310" y="964"/>
                  </a:lnTo>
                  <a:lnTo>
                    <a:pt x="330" y="976"/>
                  </a:lnTo>
                  <a:lnTo>
                    <a:pt x="344" y="968"/>
                  </a:lnTo>
                  <a:lnTo>
                    <a:pt x="345" y="942"/>
                  </a:lnTo>
                  <a:lnTo>
                    <a:pt x="333" y="906"/>
                  </a:lnTo>
                  <a:lnTo>
                    <a:pt x="332" y="897"/>
                  </a:lnTo>
                  <a:lnTo>
                    <a:pt x="339" y="909"/>
                  </a:lnTo>
                  <a:lnTo>
                    <a:pt x="357" y="974"/>
                  </a:lnTo>
                  <a:lnTo>
                    <a:pt x="372" y="985"/>
                  </a:lnTo>
                  <a:lnTo>
                    <a:pt x="399" y="979"/>
                  </a:lnTo>
                  <a:lnTo>
                    <a:pt x="407" y="953"/>
                  </a:lnTo>
                  <a:lnTo>
                    <a:pt x="398" y="935"/>
                  </a:lnTo>
                  <a:lnTo>
                    <a:pt x="384" y="913"/>
                  </a:lnTo>
                  <a:lnTo>
                    <a:pt x="394" y="922"/>
                  </a:lnTo>
                  <a:lnTo>
                    <a:pt x="412" y="925"/>
                  </a:lnTo>
                  <a:lnTo>
                    <a:pt x="413" y="932"/>
                  </a:lnTo>
                  <a:lnTo>
                    <a:pt x="413" y="949"/>
                  </a:lnTo>
                  <a:lnTo>
                    <a:pt x="419" y="961"/>
                  </a:lnTo>
                  <a:lnTo>
                    <a:pt x="440" y="965"/>
                  </a:lnTo>
                  <a:lnTo>
                    <a:pt x="456" y="958"/>
                  </a:lnTo>
                  <a:lnTo>
                    <a:pt x="466" y="961"/>
                  </a:lnTo>
                  <a:lnTo>
                    <a:pt x="474" y="974"/>
                  </a:lnTo>
                  <a:lnTo>
                    <a:pt x="475" y="989"/>
                  </a:lnTo>
                  <a:lnTo>
                    <a:pt x="469" y="1012"/>
                  </a:lnTo>
                  <a:lnTo>
                    <a:pt x="463" y="1023"/>
                  </a:lnTo>
                  <a:lnTo>
                    <a:pt x="469" y="1037"/>
                  </a:lnTo>
                  <a:lnTo>
                    <a:pt x="513" y="1013"/>
                  </a:lnTo>
                  <a:lnTo>
                    <a:pt x="541" y="1005"/>
                  </a:lnTo>
                  <a:lnTo>
                    <a:pt x="559" y="985"/>
                  </a:lnTo>
                  <a:lnTo>
                    <a:pt x="581" y="943"/>
                  </a:lnTo>
                  <a:lnTo>
                    <a:pt x="586" y="973"/>
                  </a:lnTo>
                  <a:lnTo>
                    <a:pt x="608" y="957"/>
                  </a:lnTo>
                  <a:lnTo>
                    <a:pt x="612" y="941"/>
                  </a:lnTo>
                  <a:lnTo>
                    <a:pt x="633" y="934"/>
                  </a:lnTo>
                  <a:lnTo>
                    <a:pt x="635" y="919"/>
                  </a:lnTo>
                  <a:lnTo>
                    <a:pt x="638" y="892"/>
                  </a:lnTo>
                  <a:lnTo>
                    <a:pt x="634" y="863"/>
                  </a:lnTo>
                  <a:lnTo>
                    <a:pt x="625" y="844"/>
                  </a:lnTo>
                  <a:lnTo>
                    <a:pt x="606" y="850"/>
                  </a:lnTo>
                  <a:lnTo>
                    <a:pt x="595" y="865"/>
                  </a:lnTo>
                  <a:lnTo>
                    <a:pt x="586" y="879"/>
                  </a:lnTo>
                  <a:lnTo>
                    <a:pt x="575" y="877"/>
                  </a:lnTo>
                  <a:lnTo>
                    <a:pt x="576" y="861"/>
                  </a:lnTo>
                  <a:lnTo>
                    <a:pt x="555" y="849"/>
                  </a:lnTo>
                  <a:lnTo>
                    <a:pt x="558" y="843"/>
                  </a:lnTo>
                  <a:lnTo>
                    <a:pt x="565" y="836"/>
                  </a:lnTo>
                  <a:lnTo>
                    <a:pt x="576" y="829"/>
                  </a:lnTo>
                  <a:lnTo>
                    <a:pt x="581" y="816"/>
                  </a:lnTo>
                  <a:lnTo>
                    <a:pt x="579" y="807"/>
                  </a:lnTo>
                  <a:lnTo>
                    <a:pt x="570" y="792"/>
                  </a:lnTo>
                  <a:lnTo>
                    <a:pt x="556" y="789"/>
                  </a:lnTo>
                  <a:lnTo>
                    <a:pt x="539" y="790"/>
                  </a:lnTo>
                  <a:lnTo>
                    <a:pt x="512" y="821"/>
                  </a:lnTo>
                  <a:lnTo>
                    <a:pt x="506" y="819"/>
                  </a:lnTo>
                  <a:lnTo>
                    <a:pt x="518" y="801"/>
                  </a:lnTo>
                  <a:lnTo>
                    <a:pt x="517" y="789"/>
                  </a:lnTo>
                  <a:lnTo>
                    <a:pt x="473" y="781"/>
                  </a:lnTo>
                  <a:lnTo>
                    <a:pt x="452" y="785"/>
                  </a:lnTo>
                  <a:lnTo>
                    <a:pt x="426" y="818"/>
                  </a:lnTo>
                  <a:lnTo>
                    <a:pt x="423" y="805"/>
                  </a:lnTo>
                  <a:lnTo>
                    <a:pt x="420" y="786"/>
                  </a:lnTo>
                  <a:lnTo>
                    <a:pt x="414" y="776"/>
                  </a:lnTo>
                  <a:lnTo>
                    <a:pt x="429" y="779"/>
                  </a:lnTo>
                  <a:lnTo>
                    <a:pt x="458" y="766"/>
                  </a:lnTo>
                  <a:lnTo>
                    <a:pt x="458" y="760"/>
                  </a:lnTo>
                  <a:lnTo>
                    <a:pt x="441" y="748"/>
                  </a:lnTo>
                  <a:lnTo>
                    <a:pt x="437" y="732"/>
                  </a:lnTo>
                  <a:lnTo>
                    <a:pt x="439" y="722"/>
                  </a:lnTo>
                  <a:lnTo>
                    <a:pt x="467" y="754"/>
                  </a:lnTo>
                  <a:lnTo>
                    <a:pt x="498" y="773"/>
                  </a:lnTo>
                  <a:lnTo>
                    <a:pt x="577" y="770"/>
                  </a:lnTo>
                  <a:lnTo>
                    <a:pt x="585" y="758"/>
                  </a:lnTo>
                  <a:lnTo>
                    <a:pt x="593" y="762"/>
                  </a:lnTo>
                  <a:lnTo>
                    <a:pt x="592" y="768"/>
                  </a:lnTo>
                  <a:lnTo>
                    <a:pt x="592" y="770"/>
                  </a:lnTo>
                  <a:lnTo>
                    <a:pt x="622" y="753"/>
                  </a:lnTo>
                  <a:lnTo>
                    <a:pt x="635" y="725"/>
                  </a:lnTo>
                  <a:lnTo>
                    <a:pt x="638" y="709"/>
                  </a:lnTo>
                  <a:lnTo>
                    <a:pt x="636" y="701"/>
                  </a:lnTo>
                  <a:lnTo>
                    <a:pt x="652" y="694"/>
                  </a:lnTo>
                  <a:lnTo>
                    <a:pt x="654" y="687"/>
                  </a:lnTo>
                  <a:lnTo>
                    <a:pt x="634" y="668"/>
                  </a:lnTo>
                  <a:lnTo>
                    <a:pt x="634" y="658"/>
                  </a:lnTo>
                  <a:lnTo>
                    <a:pt x="636" y="650"/>
                  </a:lnTo>
                  <a:lnTo>
                    <a:pt x="630" y="633"/>
                  </a:lnTo>
                  <a:lnTo>
                    <a:pt x="623" y="628"/>
                  </a:lnTo>
                  <a:lnTo>
                    <a:pt x="624" y="625"/>
                  </a:lnTo>
                  <a:lnTo>
                    <a:pt x="624" y="614"/>
                  </a:lnTo>
                  <a:lnTo>
                    <a:pt x="622" y="603"/>
                  </a:lnTo>
                  <a:lnTo>
                    <a:pt x="622" y="596"/>
                  </a:lnTo>
                  <a:lnTo>
                    <a:pt x="634" y="603"/>
                  </a:lnTo>
                  <a:lnTo>
                    <a:pt x="679" y="604"/>
                  </a:lnTo>
                  <a:lnTo>
                    <a:pt x="687" y="613"/>
                  </a:lnTo>
                  <a:lnTo>
                    <a:pt x="706" y="607"/>
                  </a:lnTo>
                  <a:lnTo>
                    <a:pt x="727" y="583"/>
                  </a:lnTo>
                  <a:lnTo>
                    <a:pt x="743" y="591"/>
                  </a:lnTo>
                  <a:lnTo>
                    <a:pt x="746" y="599"/>
                  </a:lnTo>
                  <a:lnTo>
                    <a:pt x="760" y="574"/>
                  </a:lnTo>
                  <a:lnTo>
                    <a:pt x="760" y="570"/>
                  </a:lnTo>
                  <a:lnTo>
                    <a:pt x="768" y="555"/>
                  </a:lnTo>
                  <a:lnTo>
                    <a:pt x="714" y="545"/>
                  </a:lnTo>
                  <a:lnTo>
                    <a:pt x="690" y="537"/>
                  </a:lnTo>
                  <a:lnTo>
                    <a:pt x="709" y="522"/>
                  </a:lnTo>
                  <a:lnTo>
                    <a:pt x="728" y="523"/>
                  </a:lnTo>
                  <a:lnTo>
                    <a:pt x="764" y="539"/>
                  </a:lnTo>
                  <a:lnTo>
                    <a:pt x="776" y="511"/>
                  </a:lnTo>
                  <a:lnTo>
                    <a:pt x="795" y="501"/>
                  </a:lnTo>
                  <a:lnTo>
                    <a:pt x="797" y="493"/>
                  </a:lnTo>
                  <a:lnTo>
                    <a:pt x="787" y="477"/>
                  </a:lnTo>
                  <a:lnTo>
                    <a:pt x="775" y="468"/>
                  </a:lnTo>
                  <a:lnTo>
                    <a:pt x="751" y="463"/>
                  </a:lnTo>
                  <a:lnTo>
                    <a:pt x="738" y="453"/>
                  </a:lnTo>
                  <a:lnTo>
                    <a:pt x="725" y="450"/>
                  </a:lnTo>
                  <a:lnTo>
                    <a:pt x="733" y="445"/>
                  </a:lnTo>
                  <a:lnTo>
                    <a:pt x="749" y="447"/>
                  </a:lnTo>
                  <a:lnTo>
                    <a:pt x="786" y="443"/>
                  </a:lnTo>
                  <a:lnTo>
                    <a:pt x="798" y="439"/>
                  </a:lnTo>
                  <a:lnTo>
                    <a:pt x="805" y="430"/>
                  </a:lnTo>
                  <a:lnTo>
                    <a:pt x="819" y="420"/>
                  </a:lnTo>
                  <a:lnTo>
                    <a:pt x="813" y="411"/>
                  </a:lnTo>
                  <a:lnTo>
                    <a:pt x="813" y="402"/>
                  </a:lnTo>
                  <a:lnTo>
                    <a:pt x="817" y="392"/>
                  </a:lnTo>
                  <a:lnTo>
                    <a:pt x="816" y="375"/>
                  </a:lnTo>
                  <a:lnTo>
                    <a:pt x="813" y="354"/>
                  </a:lnTo>
                  <a:lnTo>
                    <a:pt x="802" y="344"/>
                  </a:lnTo>
                  <a:lnTo>
                    <a:pt x="774" y="334"/>
                  </a:lnTo>
                  <a:lnTo>
                    <a:pt x="733" y="340"/>
                  </a:lnTo>
                  <a:lnTo>
                    <a:pt x="733" y="332"/>
                  </a:lnTo>
                  <a:lnTo>
                    <a:pt x="748" y="327"/>
                  </a:lnTo>
                  <a:lnTo>
                    <a:pt x="757" y="319"/>
                  </a:lnTo>
                  <a:lnTo>
                    <a:pt x="757" y="313"/>
                  </a:lnTo>
                  <a:lnTo>
                    <a:pt x="749" y="303"/>
                  </a:lnTo>
                  <a:lnTo>
                    <a:pt x="678" y="310"/>
                  </a:lnTo>
                  <a:lnTo>
                    <a:pt x="665" y="316"/>
                  </a:lnTo>
                  <a:lnTo>
                    <a:pt x="655" y="329"/>
                  </a:lnTo>
                  <a:lnTo>
                    <a:pt x="647" y="330"/>
                  </a:lnTo>
                  <a:lnTo>
                    <a:pt x="656" y="314"/>
                  </a:lnTo>
                  <a:lnTo>
                    <a:pt x="658" y="302"/>
                  </a:lnTo>
                  <a:lnTo>
                    <a:pt x="647" y="300"/>
                  </a:lnTo>
                  <a:lnTo>
                    <a:pt x="645" y="291"/>
                  </a:lnTo>
                  <a:lnTo>
                    <a:pt x="669" y="298"/>
                  </a:lnTo>
                  <a:lnTo>
                    <a:pt x="712" y="284"/>
                  </a:lnTo>
                  <a:lnTo>
                    <a:pt x="740" y="287"/>
                  </a:lnTo>
                  <a:lnTo>
                    <a:pt x="740" y="279"/>
                  </a:lnTo>
                  <a:lnTo>
                    <a:pt x="716" y="269"/>
                  </a:lnTo>
                  <a:lnTo>
                    <a:pt x="652" y="267"/>
                  </a:lnTo>
                  <a:lnTo>
                    <a:pt x="644" y="260"/>
                  </a:lnTo>
                  <a:lnTo>
                    <a:pt x="658" y="255"/>
                  </a:lnTo>
                  <a:lnTo>
                    <a:pt x="704" y="255"/>
                  </a:lnTo>
                  <a:lnTo>
                    <a:pt x="715" y="247"/>
                  </a:lnTo>
                  <a:lnTo>
                    <a:pt x="732" y="249"/>
                  </a:lnTo>
                  <a:lnTo>
                    <a:pt x="748" y="255"/>
                  </a:lnTo>
                  <a:lnTo>
                    <a:pt x="754" y="263"/>
                  </a:lnTo>
                  <a:lnTo>
                    <a:pt x="753" y="276"/>
                  </a:lnTo>
                  <a:lnTo>
                    <a:pt x="758" y="289"/>
                  </a:lnTo>
                  <a:lnTo>
                    <a:pt x="769" y="295"/>
                  </a:lnTo>
                  <a:lnTo>
                    <a:pt x="819" y="302"/>
                  </a:lnTo>
                  <a:lnTo>
                    <a:pt x="827" y="298"/>
                  </a:lnTo>
                  <a:lnTo>
                    <a:pt x="829" y="287"/>
                  </a:lnTo>
                  <a:lnTo>
                    <a:pt x="828" y="274"/>
                  </a:lnTo>
                  <a:lnTo>
                    <a:pt x="814" y="257"/>
                  </a:lnTo>
                  <a:lnTo>
                    <a:pt x="825" y="240"/>
                  </a:lnTo>
                  <a:lnTo>
                    <a:pt x="818" y="232"/>
                  </a:lnTo>
                  <a:lnTo>
                    <a:pt x="752" y="236"/>
                  </a:lnTo>
                  <a:lnTo>
                    <a:pt x="746" y="228"/>
                  </a:lnTo>
                  <a:lnTo>
                    <a:pt x="687" y="236"/>
                  </a:lnTo>
                  <a:lnTo>
                    <a:pt x="661" y="243"/>
                  </a:lnTo>
                  <a:lnTo>
                    <a:pt x="671" y="236"/>
                  </a:lnTo>
                  <a:lnTo>
                    <a:pt x="672" y="228"/>
                  </a:lnTo>
                  <a:lnTo>
                    <a:pt x="650" y="222"/>
                  </a:lnTo>
                  <a:lnTo>
                    <a:pt x="641" y="214"/>
                  </a:lnTo>
                  <a:lnTo>
                    <a:pt x="657" y="209"/>
                  </a:lnTo>
                  <a:lnTo>
                    <a:pt x="683" y="212"/>
                  </a:lnTo>
                  <a:lnTo>
                    <a:pt x="677" y="187"/>
                  </a:lnTo>
                  <a:lnTo>
                    <a:pt x="672" y="181"/>
                  </a:lnTo>
                  <a:lnTo>
                    <a:pt x="679" y="178"/>
                  </a:lnTo>
                  <a:lnTo>
                    <a:pt x="684" y="184"/>
                  </a:lnTo>
                  <a:lnTo>
                    <a:pt x="689" y="198"/>
                  </a:lnTo>
                  <a:lnTo>
                    <a:pt x="698" y="204"/>
                  </a:lnTo>
                  <a:lnTo>
                    <a:pt x="746" y="209"/>
                  </a:lnTo>
                  <a:lnTo>
                    <a:pt x="749" y="200"/>
                  </a:lnTo>
                  <a:lnTo>
                    <a:pt x="740" y="188"/>
                  </a:lnTo>
                  <a:lnTo>
                    <a:pt x="737" y="181"/>
                  </a:lnTo>
                  <a:lnTo>
                    <a:pt x="687" y="171"/>
                  </a:lnTo>
                  <a:lnTo>
                    <a:pt x="679" y="158"/>
                  </a:lnTo>
                  <a:lnTo>
                    <a:pt x="687" y="156"/>
                  </a:lnTo>
                  <a:lnTo>
                    <a:pt x="722" y="162"/>
                  </a:lnTo>
                  <a:lnTo>
                    <a:pt x="764" y="189"/>
                  </a:lnTo>
                  <a:lnTo>
                    <a:pt x="794" y="194"/>
                  </a:lnTo>
                  <a:lnTo>
                    <a:pt x="801" y="185"/>
                  </a:lnTo>
                  <a:lnTo>
                    <a:pt x="797" y="170"/>
                  </a:lnTo>
                  <a:lnTo>
                    <a:pt x="810" y="176"/>
                  </a:lnTo>
                  <a:lnTo>
                    <a:pt x="838" y="178"/>
                  </a:lnTo>
                  <a:lnTo>
                    <a:pt x="846" y="165"/>
                  </a:lnTo>
                  <a:lnTo>
                    <a:pt x="845" y="155"/>
                  </a:lnTo>
                  <a:lnTo>
                    <a:pt x="850" y="157"/>
                  </a:lnTo>
                  <a:lnTo>
                    <a:pt x="855" y="146"/>
                  </a:lnTo>
                  <a:lnTo>
                    <a:pt x="861" y="160"/>
                  </a:lnTo>
                  <a:lnTo>
                    <a:pt x="876" y="156"/>
                  </a:lnTo>
                  <a:lnTo>
                    <a:pt x="881" y="140"/>
                  </a:lnTo>
                  <a:lnTo>
                    <a:pt x="880" y="125"/>
                  </a:lnTo>
                  <a:lnTo>
                    <a:pt x="873" y="106"/>
                  </a:lnTo>
                  <a:lnTo>
                    <a:pt x="871" y="91"/>
                  </a:lnTo>
                  <a:lnTo>
                    <a:pt x="813" y="80"/>
                  </a:lnTo>
                  <a:lnTo>
                    <a:pt x="817" y="66"/>
                  </a:lnTo>
                  <a:lnTo>
                    <a:pt x="834" y="61"/>
                  </a:lnTo>
                  <a:lnTo>
                    <a:pt x="856" y="74"/>
                  </a:lnTo>
                  <a:lnTo>
                    <a:pt x="884" y="79"/>
                  </a:lnTo>
                  <a:lnTo>
                    <a:pt x="882" y="91"/>
                  </a:lnTo>
                  <a:lnTo>
                    <a:pt x="884" y="103"/>
                  </a:lnTo>
                  <a:lnTo>
                    <a:pt x="899" y="112"/>
                  </a:lnTo>
                  <a:lnTo>
                    <a:pt x="914" y="111"/>
                  </a:lnTo>
                  <a:lnTo>
                    <a:pt x="914" y="115"/>
                  </a:lnTo>
                  <a:lnTo>
                    <a:pt x="937" y="108"/>
                  </a:lnTo>
                  <a:lnTo>
                    <a:pt x="961" y="109"/>
                  </a:lnTo>
                  <a:lnTo>
                    <a:pt x="969" y="101"/>
                  </a:lnTo>
                  <a:lnTo>
                    <a:pt x="982" y="98"/>
                  </a:lnTo>
                  <a:lnTo>
                    <a:pt x="1004" y="59"/>
                  </a:lnTo>
                  <a:lnTo>
                    <a:pt x="995" y="54"/>
                  </a:lnTo>
                  <a:lnTo>
                    <a:pt x="978" y="58"/>
                  </a:lnTo>
                  <a:lnTo>
                    <a:pt x="980" y="44"/>
                  </a:lnTo>
                  <a:lnTo>
                    <a:pt x="990" y="29"/>
                  </a:lnTo>
                  <a:lnTo>
                    <a:pt x="1011" y="21"/>
                  </a:lnTo>
                  <a:lnTo>
                    <a:pt x="1015" y="12"/>
                  </a:lnTo>
                  <a:lnTo>
                    <a:pt x="1028" y="0"/>
                  </a:lnTo>
                  <a:lnTo>
                    <a:pt x="393" y="0"/>
                  </a:lnTo>
                  <a:lnTo>
                    <a:pt x="394" y="1"/>
                  </a:lnTo>
                  <a:lnTo>
                    <a:pt x="440" y="28"/>
                  </a:lnTo>
                  <a:lnTo>
                    <a:pt x="439" y="33"/>
                  </a:lnTo>
                  <a:lnTo>
                    <a:pt x="426" y="41"/>
                  </a:lnTo>
                  <a:lnTo>
                    <a:pt x="430" y="48"/>
                  </a:lnTo>
                  <a:lnTo>
                    <a:pt x="432" y="72"/>
                  </a:lnTo>
                  <a:lnTo>
                    <a:pt x="432" y="87"/>
                  </a:lnTo>
                  <a:lnTo>
                    <a:pt x="437" y="87"/>
                  </a:lnTo>
                  <a:lnTo>
                    <a:pt x="437" y="92"/>
                  </a:lnTo>
                  <a:lnTo>
                    <a:pt x="441" y="102"/>
                  </a:lnTo>
                  <a:lnTo>
                    <a:pt x="462" y="108"/>
                  </a:lnTo>
                  <a:lnTo>
                    <a:pt x="479" y="123"/>
                  </a:lnTo>
                  <a:lnTo>
                    <a:pt x="515" y="107"/>
                  </a:lnTo>
                  <a:lnTo>
                    <a:pt x="526" y="107"/>
                  </a:lnTo>
                  <a:lnTo>
                    <a:pt x="527" y="113"/>
                  </a:lnTo>
                  <a:lnTo>
                    <a:pt x="525" y="120"/>
                  </a:lnTo>
                  <a:lnTo>
                    <a:pt x="513" y="120"/>
                  </a:lnTo>
                  <a:lnTo>
                    <a:pt x="482" y="136"/>
                  </a:lnTo>
                  <a:lnTo>
                    <a:pt x="478" y="142"/>
                  </a:lnTo>
                  <a:lnTo>
                    <a:pt x="478" y="149"/>
                  </a:lnTo>
                  <a:lnTo>
                    <a:pt x="480" y="154"/>
                  </a:lnTo>
                  <a:lnTo>
                    <a:pt x="479" y="155"/>
                  </a:lnTo>
                  <a:lnTo>
                    <a:pt x="445" y="130"/>
                  </a:lnTo>
                  <a:lnTo>
                    <a:pt x="432" y="129"/>
                  </a:lnTo>
                  <a:lnTo>
                    <a:pt x="423" y="139"/>
                  </a:lnTo>
                  <a:lnTo>
                    <a:pt x="421" y="111"/>
                  </a:lnTo>
                  <a:lnTo>
                    <a:pt x="415" y="111"/>
                  </a:lnTo>
                  <a:lnTo>
                    <a:pt x="412" y="102"/>
                  </a:lnTo>
                  <a:lnTo>
                    <a:pt x="410" y="87"/>
                  </a:lnTo>
                  <a:lnTo>
                    <a:pt x="405" y="82"/>
                  </a:lnTo>
                  <a:lnTo>
                    <a:pt x="405" y="68"/>
                  </a:lnTo>
                  <a:lnTo>
                    <a:pt x="357" y="0"/>
                  </a:lnTo>
                  <a:lnTo>
                    <a:pt x="183" y="0"/>
                  </a:lnTo>
                  <a:lnTo>
                    <a:pt x="220" y="14"/>
                  </a:lnTo>
                  <a:lnTo>
                    <a:pt x="231" y="2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79" name="Freeform 304">
              <a:extLst>
                <a:ext uri="{FF2B5EF4-FFF2-40B4-BE49-F238E27FC236}">
                  <a16:creationId xmlns:a16="http://schemas.microsoft.com/office/drawing/2014/main" id="{20365DB9-3B13-7966-2D6F-DBD57B8032C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231714" y="547218"/>
              <a:ext cx="14923" cy="18291"/>
            </a:xfrm>
            <a:custGeom>
              <a:avLst/>
              <a:gdLst>
                <a:gd name="T0" fmla="*/ 0 w 30"/>
                <a:gd name="T1" fmla="*/ 0 h 30"/>
                <a:gd name="T2" fmla="*/ 0 w 30"/>
                <a:gd name="T3" fmla="*/ 0 h 30"/>
                <a:gd name="T4" fmla="*/ 0 w 30"/>
                <a:gd name="T5" fmla="*/ 0 h 30"/>
                <a:gd name="T6" fmla="*/ 0 w 30"/>
                <a:gd name="T7" fmla="*/ 0 h 30"/>
                <a:gd name="T8" fmla="*/ 0 w 30"/>
                <a:gd name="T9" fmla="*/ 0 h 3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0"/>
                <a:gd name="T16" fmla="*/ 0 h 30"/>
                <a:gd name="T17" fmla="*/ 30 w 30"/>
                <a:gd name="T18" fmla="*/ 30 h 3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0" h="30">
                  <a:moveTo>
                    <a:pt x="0" y="16"/>
                  </a:moveTo>
                  <a:lnTo>
                    <a:pt x="0" y="21"/>
                  </a:lnTo>
                  <a:lnTo>
                    <a:pt x="30" y="30"/>
                  </a:lnTo>
                  <a:lnTo>
                    <a:pt x="3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80" name="Freeform 305">
              <a:extLst>
                <a:ext uri="{FF2B5EF4-FFF2-40B4-BE49-F238E27FC236}">
                  <a16:creationId xmlns:a16="http://schemas.microsoft.com/office/drawing/2014/main" id="{05BEBAE0-71F9-677E-1C8E-B06BAD05287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231714" y="531975"/>
              <a:ext cx="2985" cy="15242"/>
            </a:xfrm>
            <a:custGeom>
              <a:avLst/>
              <a:gdLst>
                <a:gd name="T0" fmla="*/ 0 w 7"/>
                <a:gd name="T1" fmla="*/ 0 h 31"/>
                <a:gd name="T2" fmla="*/ 0 w 7"/>
                <a:gd name="T3" fmla="*/ 0 h 31"/>
                <a:gd name="T4" fmla="*/ 0 w 7"/>
                <a:gd name="T5" fmla="*/ 0 h 31"/>
                <a:gd name="T6" fmla="*/ 0 w 7"/>
                <a:gd name="T7" fmla="*/ 0 h 31"/>
                <a:gd name="T8" fmla="*/ 0 w 7"/>
                <a:gd name="T9" fmla="*/ 0 h 31"/>
                <a:gd name="T10" fmla="*/ 0 w 7"/>
                <a:gd name="T11" fmla="*/ 0 h 3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1"/>
                <a:gd name="T20" fmla="*/ 7 w 7"/>
                <a:gd name="T21" fmla="*/ 31 h 3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1">
                  <a:moveTo>
                    <a:pt x="5" y="11"/>
                  </a:moveTo>
                  <a:lnTo>
                    <a:pt x="0" y="0"/>
                  </a:lnTo>
                  <a:lnTo>
                    <a:pt x="0" y="24"/>
                  </a:lnTo>
                  <a:lnTo>
                    <a:pt x="5" y="31"/>
                  </a:lnTo>
                  <a:lnTo>
                    <a:pt x="7" y="27"/>
                  </a:lnTo>
                  <a:lnTo>
                    <a:pt x="5" y="1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81" name="Freeform 306">
              <a:extLst>
                <a:ext uri="{FF2B5EF4-FFF2-40B4-BE49-F238E27FC236}">
                  <a16:creationId xmlns:a16="http://schemas.microsoft.com/office/drawing/2014/main" id="{42C87AF5-D08A-7763-8675-9729D243B55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809513" y="1272746"/>
              <a:ext cx="44770" cy="67066"/>
            </a:xfrm>
            <a:custGeom>
              <a:avLst/>
              <a:gdLst>
                <a:gd name="T0" fmla="*/ 0 w 81"/>
                <a:gd name="T1" fmla="*/ 0 h 113"/>
                <a:gd name="T2" fmla="*/ 0 w 81"/>
                <a:gd name="T3" fmla="*/ 0 h 113"/>
                <a:gd name="T4" fmla="*/ 0 w 81"/>
                <a:gd name="T5" fmla="*/ 0 h 113"/>
                <a:gd name="T6" fmla="*/ 0 w 81"/>
                <a:gd name="T7" fmla="*/ 0 h 113"/>
                <a:gd name="T8" fmla="*/ 0 w 81"/>
                <a:gd name="T9" fmla="*/ 0 h 113"/>
                <a:gd name="T10" fmla="*/ 0 w 81"/>
                <a:gd name="T11" fmla="*/ 0 h 113"/>
                <a:gd name="T12" fmla="*/ 0 w 81"/>
                <a:gd name="T13" fmla="*/ 0 h 113"/>
                <a:gd name="T14" fmla="*/ 0 w 81"/>
                <a:gd name="T15" fmla="*/ 0 h 113"/>
                <a:gd name="T16" fmla="*/ 0 w 81"/>
                <a:gd name="T17" fmla="*/ 0 h 113"/>
                <a:gd name="T18" fmla="*/ 0 w 81"/>
                <a:gd name="T19" fmla="*/ 0 h 113"/>
                <a:gd name="T20" fmla="*/ 0 w 81"/>
                <a:gd name="T21" fmla="*/ 0 h 113"/>
                <a:gd name="T22" fmla="*/ 0 w 81"/>
                <a:gd name="T23" fmla="*/ 0 h 113"/>
                <a:gd name="T24" fmla="*/ 0 w 81"/>
                <a:gd name="T25" fmla="*/ 0 h 113"/>
                <a:gd name="T26" fmla="*/ 0 w 81"/>
                <a:gd name="T27" fmla="*/ 0 h 113"/>
                <a:gd name="T28" fmla="*/ 0 w 81"/>
                <a:gd name="T29" fmla="*/ 0 h 113"/>
                <a:gd name="T30" fmla="*/ 0 w 81"/>
                <a:gd name="T31" fmla="*/ 0 h 113"/>
                <a:gd name="T32" fmla="*/ 0 w 81"/>
                <a:gd name="T33" fmla="*/ 0 h 113"/>
                <a:gd name="T34" fmla="*/ 0 w 81"/>
                <a:gd name="T35" fmla="*/ 0 h 113"/>
                <a:gd name="T36" fmla="*/ 0 w 81"/>
                <a:gd name="T37" fmla="*/ 0 h 113"/>
                <a:gd name="T38" fmla="*/ 0 w 81"/>
                <a:gd name="T39" fmla="*/ 0 h 113"/>
                <a:gd name="T40" fmla="*/ 0 w 81"/>
                <a:gd name="T41" fmla="*/ 0 h 113"/>
                <a:gd name="T42" fmla="*/ 0 w 81"/>
                <a:gd name="T43" fmla="*/ 0 h 113"/>
                <a:gd name="T44" fmla="*/ 0 w 81"/>
                <a:gd name="T45" fmla="*/ 0 h 113"/>
                <a:gd name="T46" fmla="*/ 0 w 81"/>
                <a:gd name="T47" fmla="*/ 0 h 113"/>
                <a:gd name="T48" fmla="*/ 0 w 81"/>
                <a:gd name="T49" fmla="*/ 0 h 113"/>
                <a:gd name="T50" fmla="*/ 0 w 81"/>
                <a:gd name="T51" fmla="*/ 0 h 113"/>
                <a:gd name="T52" fmla="*/ 0 w 81"/>
                <a:gd name="T53" fmla="*/ 0 h 113"/>
                <a:gd name="T54" fmla="*/ 0 w 81"/>
                <a:gd name="T55" fmla="*/ 0 h 113"/>
                <a:gd name="T56" fmla="*/ 0 w 81"/>
                <a:gd name="T57" fmla="*/ 0 h 113"/>
                <a:gd name="T58" fmla="*/ 0 w 81"/>
                <a:gd name="T59" fmla="*/ 0 h 113"/>
                <a:gd name="T60" fmla="*/ 0 w 81"/>
                <a:gd name="T61" fmla="*/ 0 h 113"/>
                <a:gd name="T62" fmla="*/ 0 w 81"/>
                <a:gd name="T63" fmla="*/ 0 h 113"/>
                <a:gd name="T64" fmla="*/ 0 w 81"/>
                <a:gd name="T65" fmla="*/ 0 h 113"/>
                <a:gd name="T66" fmla="*/ 0 w 81"/>
                <a:gd name="T67" fmla="*/ 0 h 113"/>
                <a:gd name="T68" fmla="*/ 0 w 81"/>
                <a:gd name="T69" fmla="*/ 0 h 113"/>
                <a:gd name="T70" fmla="*/ 0 w 81"/>
                <a:gd name="T71" fmla="*/ 0 h 113"/>
                <a:gd name="T72" fmla="*/ 0 w 81"/>
                <a:gd name="T73" fmla="*/ 0 h 113"/>
                <a:gd name="T74" fmla="*/ 0 w 81"/>
                <a:gd name="T75" fmla="*/ 0 h 113"/>
                <a:gd name="T76" fmla="*/ 0 w 81"/>
                <a:gd name="T77" fmla="*/ 0 h 113"/>
                <a:gd name="T78" fmla="*/ 0 w 81"/>
                <a:gd name="T79" fmla="*/ 0 h 113"/>
                <a:gd name="T80" fmla="*/ 0 w 81"/>
                <a:gd name="T81" fmla="*/ 0 h 113"/>
                <a:gd name="T82" fmla="*/ 0 w 81"/>
                <a:gd name="T83" fmla="*/ 0 h 113"/>
                <a:gd name="T84" fmla="*/ 0 w 81"/>
                <a:gd name="T85" fmla="*/ 0 h 113"/>
                <a:gd name="T86" fmla="*/ 0 w 81"/>
                <a:gd name="T87" fmla="*/ 0 h 113"/>
                <a:gd name="T88" fmla="*/ 0 w 81"/>
                <a:gd name="T89" fmla="*/ 0 h 113"/>
                <a:gd name="T90" fmla="*/ 0 w 81"/>
                <a:gd name="T91" fmla="*/ 0 h 11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81"/>
                <a:gd name="T139" fmla="*/ 0 h 113"/>
                <a:gd name="T140" fmla="*/ 81 w 81"/>
                <a:gd name="T141" fmla="*/ 113 h 11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81" h="113">
                  <a:moveTo>
                    <a:pt x="16" y="58"/>
                  </a:moveTo>
                  <a:lnTo>
                    <a:pt x="22" y="61"/>
                  </a:lnTo>
                  <a:lnTo>
                    <a:pt x="25" y="56"/>
                  </a:lnTo>
                  <a:lnTo>
                    <a:pt x="19" y="46"/>
                  </a:lnTo>
                  <a:lnTo>
                    <a:pt x="24" y="46"/>
                  </a:lnTo>
                  <a:lnTo>
                    <a:pt x="30" y="52"/>
                  </a:lnTo>
                  <a:lnTo>
                    <a:pt x="35" y="47"/>
                  </a:lnTo>
                  <a:lnTo>
                    <a:pt x="38" y="52"/>
                  </a:lnTo>
                  <a:lnTo>
                    <a:pt x="46" y="46"/>
                  </a:lnTo>
                  <a:lnTo>
                    <a:pt x="47" y="37"/>
                  </a:lnTo>
                  <a:lnTo>
                    <a:pt x="43" y="41"/>
                  </a:lnTo>
                  <a:lnTo>
                    <a:pt x="38" y="37"/>
                  </a:lnTo>
                  <a:lnTo>
                    <a:pt x="43" y="32"/>
                  </a:lnTo>
                  <a:lnTo>
                    <a:pt x="48" y="19"/>
                  </a:lnTo>
                  <a:lnTo>
                    <a:pt x="44" y="11"/>
                  </a:lnTo>
                  <a:lnTo>
                    <a:pt x="43" y="3"/>
                  </a:lnTo>
                  <a:lnTo>
                    <a:pt x="47" y="0"/>
                  </a:lnTo>
                  <a:lnTo>
                    <a:pt x="47" y="10"/>
                  </a:lnTo>
                  <a:lnTo>
                    <a:pt x="58" y="18"/>
                  </a:lnTo>
                  <a:lnTo>
                    <a:pt x="57" y="26"/>
                  </a:lnTo>
                  <a:lnTo>
                    <a:pt x="60" y="32"/>
                  </a:lnTo>
                  <a:lnTo>
                    <a:pt x="67" y="35"/>
                  </a:lnTo>
                  <a:lnTo>
                    <a:pt x="76" y="24"/>
                  </a:lnTo>
                  <a:lnTo>
                    <a:pt x="81" y="30"/>
                  </a:lnTo>
                  <a:lnTo>
                    <a:pt x="81" y="41"/>
                  </a:lnTo>
                  <a:lnTo>
                    <a:pt x="79" y="50"/>
                  </a:lnTo>
                  <a:lnTo>
                    <a:pt x="70" y="58"/>
                  </a:lnTo>
                  <a:lnTo>
                    <a:pt x="49" y="94"/>
                  </a:lnTo>
                  <a:lnTo>
                    <a:pt x="35" y="110"/>
                  </a:lnTo>
                  <a:lnTo>
                    <a:pt x="24" y="106"/>
                  </a:lnTo>
                  <a:lnTo>
                    <a:pt x="22" y="110"/>
                  </a:lnTo>
                  <a:lnTo>
                    <a:pt x="22" y="113"/>
                  </a:lnTo>
                  <a:lnTo>
                    <a:pt x="16" y="106"/>
                  </a:lnTo>
                  <a:lnTo>
                    <a:pt x="17" y="101"/>
                  </a:lnTo>
                  <a:lnTo>
                    <a:pt x="27" y="104"/>
                  </a:lnTo>
                  <a:lnTo>
                    <a:pt x="33" y="96"/>
                  </a:lnTo>
                  <a:lnTo>
                    <a:pt x="38" y="85"/>
                  </a:lnTo>
                  <a:lnTo>
                    <a:pt x="26" y="96"/>
                  </a:lnTo>
                  <a:lnTo>
                    <a:pt x="12" y="86"/>
                  </a:lnTo>
                  <a:lnTo>
                    <a:pt x="8" y="73"/>
                  </a:lnTo>
                  <a:lnTo>
                    <a:pt x="6" y="61"/>
                  </a:lnTo>
                  <a:lnTo>
                    <a:pt x="1" y="57"/>
                  </a:lnTo>
                  <a:lnTo>
                    <a:pt x="0" y="52"/>
                  </a:lnTo>
                  <a:lnTo>
                    <a:pt x="3" y="46"/>
                  </a:lnTo>
                  <a:lnTo>
                    <a:pt x="6" y="46"/>
                  </a:lnTo>
                  <a:lnTo>
                    <a:pt x="16" y="5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82" name="Freeform 307">
              <a:extLst>
                <a:ext uri="{FF2B5EF4-FFF2-40B4-BE49-F238E27FC236}">
                  <a16:creationId xmlns:a16="http://schemas.microsoft.com/office/drawing/2014/main" id="{89C8D7F8-9B60-D80B-5A0A-75AB4A1D618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790112" y="1315423"/>
              <a:ext cx="29847" cy="32009"/>
            </a:xfrm>
            <a:custGeom>
              <a:avLst/>
              <a:gdLst>
                <a:gd name="T0" fmla="*/ 0 w 54"/>
                <a:gd name="T1" fmla="*/ 0 h 58"/>
                <a:gd name="T2" fmla="*/ 0 w 54"/>
                <a:gd name="T3" fmla="*/ 0 h 58"/>
                <a:gd name="T4" fmla="*/ 0 w 54"/>
                <a:gd name="T5" fmla="*/ 0 h 58"/>
                <a:gd name="T6" fmla="*/ 0 w 54"/>
                <a:gd name="T7" fmla="*/ 0 h 58"/>
                <a:gd name="T8" fmla="*/ 0 w 54"/>
                <a:gd name="T9" fmla="*/ 0 h 58"/>
                <a:gd name="T10" fmla="*/ 0 w 54"/>
                <a:gd name="T11" fmla="*/ 0 h 58"/>
                <a:gd name="T12" fmla="*/ 0 w 54"/>
                <a:gd name="T13" fmla="*/ 0 h 58"/>
                <a:gd name="T14" fmla="*/ 0 w 54"/>
                <a:gd name="T15" fmla="*/ 0 h 58"/>
                <a:gd name="T16" fmla="*/ 0 w 54"/>
                <a:gd name="T17" fmla="*/ 0 h 58"/>
                <a:gd name="T18" fmla="*/ 0 w 54"/>
                <a:gd name="T19" fmla="*/ 0 h 58"/>
                <a:gd name="T20" fmla="*/ 0 w 54"/>
                <a:gd name="T21" fmla="*/ 0 h 58"/>
                <a:gd name="T22" fmla="*/ 0 w 54"/>
                <a:gd name="T23" fmla="*/ 0 h 58"/>
                <a:gd name="T24" fmla="*/ 0 w 54"/>
                <a:gd name="T25" fmla="*/ 0 h 58"/>
                <a:gd name="T26" fmla="*/ 0 w 54"/>
                <a:gd name="T27" fmla="*/ 0 h 58"/>
                <a:gd name="T28" fmla="*/ 0 w 54"/>
                <a:gd name="T29" fmla="*/ 0 h 58"/>
                <a:gd name="T30" fmla="*/ 0 w 54"/>
                <a:gd name="T31" fmla="*/ 0 h 58"/>
                <a:gd name="T32" fmla="*/ 0 w 54"/>
                <a:gd name="T33" fmla="*/ 0 h 58"/>
                <a:gd name="T34" fmla="*/ 0 w 54"/>
                <a:gd name="T35" fmla="*/ 0 h 58"/>
                <a:gd name="T36" fmla="*/ 0 w 54"/>
                <a:gd name="T37" fmla="*/ 0 h 58"/>
                <a:gd name="T38" fmla="*/ 0 w 54"/>
                <a:gd name="T39" fmla="*/ 0 h 58"/>
                <a:gd name="T40" fmla="*/ 0 w 54"/>
                <a:gd name="T41" fmla="*/ 0 h 5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4"/>
                <a:gd name="T64" fmla="*/ 0 h 58"/>
                <a:gd name="T65" fmla="*/ 54 w 54"/>
                <a:gd name="T66" fmla="*/ 58 h 58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4" h="58">
                  <a:moveTo>
                    <a:pt x="2" y="4"/>
                  </a:moveTo>
                  <a:lnTo>
                    <a:pt x="1" y="4"/>
                  </a:lnTo>
                  <a:lnTo>
                    <a:pt x="0" y="8"/>
                  </a:lnTo>
                  <a:lnTo>
                    <a:pt x="1" y="22"/>
                  </a:lnTo>
                  <a:lnTo>
                    <a:pt x="9" y="28"/>
                  </a:lnTo>
                  <a:lnTo>
                    <a:pt x="12" y="38"/>
                  </a:lnTo>
                  <a:lnTo>
                    <a:pt x="23" y="39"/>
                  </a:lnTo>
                  <a:lnTo>
                    <a:pt x="32" y="49"/>
                  </a:lnTo>
                  <a:lnTo>
                    <a:pt x="41" y="50"/>
                  </a:lnTo>
                  <a:lnTo>
                    <a:pt x="44" y="55"/>
                  </a:lnTo>
                  <a:lnTo>
                    <a:pt x="47" y="58"/>
                  </a:lnTo>
                  <a:lnTo>
                    <a:pt x="52" y="56"/>
                  </a:lnTo>
                  <a:lnTo>
                    <a:pt x="54" y="50"/>
                  </a:lnTo>
                  <a:lnTo>
                    <a:pt x="45" y="39"/>
                  </a:lnTo>
                  <a:lnTo>
                    <a:pt x="30" y="28"/>
                  </a:lnTo>
                  <a:lnTo>
                    <a:pt x="33" y="22"/>
                  </a:lnTo>
                  <a:lnTo>
                    <a:pt x="19" y="15"/>
                  </a:lnTo>
                  <a:lnTo>
                    <a:pt x="14" y="4"/>
                  </a:lnTo>
                  <a:lnTo>
                    <a:pt x="12" y="0"/>
                  </a:lnTo>
                  <a:lnTo>
                    <a:pt x="6" y="0"/>
                  </a:lnTo>
                  <a:lnTo>
                    <a:pt x="2" y="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83" name="Freeform 308">
              <a:extLst>
                <a:ext uri="{FF2B5EF4-FFF2-40B4-BE49-F238E27FC236}">
                  <a16:creationId xmlns:a16="http://schemas.microsoft.com/office/drawing/2014/main" id="{9BADF487-01A6-62C6-14A7-A068945E349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485412" y="3434087"/>
              <a:ext cx="20893" cy="10670"/>
            </a:xfrm>
            <a:custGeom>
              <a:avLst/>
              <a:gdLst>
                <a:gd name="T0" fmla="*/ 0 w 336"/>
                <a:gd name="T1" fmla="*/ 0 h 96"/>
                <a:gd name="T2" fmla="*/ 0 w 336"/>
                <a:gd name="T3" fmla="*/ 0 h 96"/>
                <a:gd name="T4" fmla="*/ 0 w 336"/>
                <a:gd name="T5" fmla="*/ 0 h 96"/>
                <a:gd name="T6" fmla="*/ 0 w 336"/>
                <a:gd name="T7" fmla="*/ 0 h 96"/>
                <a:gd name="T8" fmla="*/ 0 w 336"/>
                <a:gd name="T9" fmla="*/ 0 h 96"/>
                <a:gd name="T10" fmla="*/ 0 w 336"/>
                <a:gd name="T11" fmla="*/ 0 h 96"/>
                <a:gd name="T12" fmla="*/ 0 w 336"/>
                <a:gd name="T13" fmla="*/ 0 h 96"/>
                <a:gd name="T14" fmla="*/ 0 w 336"/>
                <a:gd name="T15" fmla="*/ 0 h 96"/>
                <a:gd name="T16" fmla="*/ 0 w 336"/>
                <a:gd name="T17" fmla="*/ 0 h 96"/>
                <a:gd name="T18" fmla="*/ 0 w 336"/>
                <a:gd name="T19" fmla="*/ 0 h 96"/>
                <a:gd name="T20" fmla="*/ 0 w 336"/>
                <a:gd name="T21" fmla="*/ 0 h 96"/>
                <a:gd name="T22" fmla="*/ 0 w 336"/>
                <a:gd name="T23" fmla="*/ 0 h 96"/>
                <a:gd name="T24" fmla="*/ 0 w 336"/>
                <a:gd name="T25" fmla="*/ 0 h 96"/>
                <a:gd name="T26" fmla="*/ 0 w 336"/>
                <a:gd name="T27" fmla="*/ 0 h 96"/>
                <a:gd name="T28" fmla="*/ 0 w 336"/>
                <a:gd name="T29" fmla="*/ 0 h 96"/>
                <a:gd name="T30" fmla="*/ 0 w 336"/>
                <a:gd name="T31" fmla="*/ 0 h 9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36"/>
                <a:gd name="T49" fmla="*/ 0 h 96"/>
                <a:gd name="T50" fmla="*/ 336 w 336"/>
                <a:gd name="T51" fmla="*/ 96 h 9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36" h="96">
                  <a:moveTo>
                    <a:pt x="291" y="10"/>
                  </a:moveTo>
                  <a:lnTo>
                    <a:pt x="281" y="6"/>
                  </a:lnTo>
                  <a:lnTo>
                    <a:pt x="289" y="25"/>
                  </a:lnTo>
                  <a:lnTo>
                    <a:pt x="298" y="25"/>
                  </a:lnTo>
                  <a:lnTo>
                    <a:pt x="326" y="50"/>
                  </a:lnTo>
                  <a:lnTo>
                    <a:pt x="336" y="96"/>
                  </a:lnTo>
                  <a:lnTo>
                    <a:pt x="312" y="69"/>
                  </a:lnTo>
                  <a:lnTo>
                    <a:pt x="274" y="50"/>
                  </a:lnTo>
                  <a:lnTo>
                    <a:pt x="230" y="52"/>
                  </a:lnTo>
                  <a:lnTo>
                    <a:pt x="98" y="96"/>
                  </a:lnTo>
                  <a:lnTo>
                    <a:pt x="21" y="93"/>
                  </a:lnTo>
                  <a:lnTo>
                    <a:pt x="0" y="52"/>
                  </a:lnTo>
                  <a:lnTo>
                    <a:pt x="87" y="45"/>
                  </a:lnTo>
                  <a:lnTo>
                    <a:pt x="208" y="0"/>
                  </a:lnTo>
                  <a:lnTo>
                    <a:pt x="257" y="0"/>
                  </a:lnTo>
                  <a:lnTo>
                    <a:pt x="291" y="1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84" name="Freeform 309">
              <a:extLst>
                <a:ext uri="{FF2B5EF4-FFF2-40B4-BE49-F238E27FC236}">
                  <a16:creationId xmlns:a16="http://schemas.microsoft.com/office/drawing/2014/main" id="{C1D194A9-AE32-D4CB-FC73-D6A23BEBB37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519737" y="3437134"/>
              <a:ext cx="1492" cy="28960"/>
            </a:xfrm>
            <a:custGeom>
              <a:avLst/>
              <a:gdLst>
                <a:gd name="T0" fmla="*/ 0 w 86"/>
                <a:gd name="T1" fmla="*/ 0 h 232"/>
                <a:gd name="T2" fmla="*/ 0 w 86"/>
                <a:gd name="T3" fmla="*/ 0 h 232"/>
                <a:gd name="T4" fmla="*/ 0 w 86"/>
                <a:gd name="T5" fmla="*/ 0 h 232"/>
                <a:gd name="T6" fmla="*/ 0 w 86"/>
                <a:gd name="T7" fmla="*/ 0 h 232"/>
                <a:gd name="T8" fmla="*/ 0 w 86"/>
                <a:gd name="T9" fmla="*/ 0 h 232"/>
                <a:gd name="T10" fmla="*/ 0 w 86"/>
                <a:gd name="T11" fmla="*/ 0 h 232"/>
                <a:gd name="T12" fmla="*/ 0 w 86"/>
                <a:gd name="T13" fmla="*/ 0 h 232"/>
                <a:gd name="T14" fmla="*/ 0 w 86"/>
                <a:gd name="T15" fmla="*/ 0 h 232"/>
                <a:gd name="T16" fmla="*/ 0 w 86"/>
                <a:gd name="T17" fmla="*/ 0 h 232"/>
                <a:gd name="T18" fmla="*/ 0 w 86"/>
                <a:gd name="T19" fmla="*/ 0 h 232"/>
                <a:gd name="T20" fmla="*/ 0 w 86"/>
                <a:gd name="T21" fmla="*/ 0 h 232"/>
                <a:gd name="T22" fmla="*/ 0 w 86"/>
                <a:gd name="T23" fmla="*/ 0 h 232"/>
                <a:gd name="T24" fmla="*/ 0 w 86"/>
                <a:gd name="T25" fmla="*/ 0 h 23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6"/>
                <a:gd name="T40" fmla="*/ 0 h 232"/>
                <a:gd name="T41" fmla="*/ 86 w 86"/>
                <a:gd name="T42" fmla="*/ 232 h 23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6" h="232">
                  <a:moveTo>
                    <a:pt x="76" y="83"/>
                  </a:moveTo>
                  <a:lnTo>
                    <a:pt x="86" y="6"/>
                  </a:lnTo>
                  <a:lnTo>
                    <a:pt x="86" y="62"/>
                  </a:lnTo>
                  <a:lnTo>
                    <a:pt x="53" y="146"/>
                  </a:lnTo>
                  <a:lnTo>
                    <a:pt x="39" y="232"/>
                  </a:lnTo>
                  <a:lnTo>
                    <a:pt x="0" y="173"/>
                  </a:lnTo>
                  <a:lnTo>
                    <a:pt x="14" y="159"/>
                  </a:lnTo>
                  <a:lnTo>
                    <a:pt x="21" y="135"/>
                  </a:lnTo>
                  <a:lnTo>
                    <a:pt x="18" y="95"/>
                  </a:lnTo>
                  <a:lnTo>
                    <a:pt x="42" y="6"/>
                  </a:lnTo>
                  <a:lnTo>
                    <a:pt x="53" y="0"/>
                  </a:lnTo>
                  <a:lnTo>
                    <a:pt x="72" y="41"/>
                  </a:lnTo>
                  <a:lnTo>
                    <a:pt x="76" y="8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85" name="Freeform 310">
              <a:extLst>
                <a:ext uri="{FF2B5EF4-FFF2-40B4-BE49-F238E27FC236}">
                  <a16:creationId xmlns:a16="http://schemas.microsoft.com/office/drawing/2014/main" id="{E51A9ECC-7370-4B54-58CA-ECC2017F75D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519737" y="3502676"/>
              <a:ext cx="5969" cy="1524"/>
            </a:xfrm>
            <a:custGeom>
              <a:avLst/>
              <a:gdLst>
                <a:gd name="T0" fmla="*/ 0 w 73"/>
                <a:gd name="T1" fmla="*/ 0 h 28"/>
                <a:gd name="T2" fmla="*/ 0 w 73"/>
                <a:gd name="T3" fmla="*/ 0 h 28"/>
                <a:gd name="T4" fmla="*/ 0 w 73"/>
                <a:gd name="T5" fmla="*/ 0 h 28"/>
                <a:gd name="T6" fmla="*/ 0 w 73"/>
                <a:gd name="T7" fmla="*/ 0 h 28"/>
                <a:gd name="T8" fmla="*/ 0 w 73"/>
                <a:gd name="T9" fmla="*/ 0 h 28"/>
                <a:gd name="T10" fmla="*/ 0 w 73"/>
                <a:gd name="T11" fmla="*/ 0 h 28"/>
                <a:gd name="T12" fmla="*/ 0 w 73"/>
                <a:gd name="T13" fmla="*/ 0 h 2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3"/>
                <a:gd name="T22" fmla="*/ 0 h 28"/>
                <a:gd name="T23" fmla="*/ 73 w 73"/>
                <a:gd name="T24" fmla="*/ 28 h 2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3" h="28">
                  <a:moveTo>
                    <a:pt x="55" y="25"/>
                  </a:moveTo>
                  <a:lnTo>
                    <a:pt x="73" y="7"/>
                  </a:lnTo>
                  <a:lnTo>
                    <a:pt x="73" y="0"/>
                  </a:lnTo>
                  <a:lnTo>
                    <a:pt x="48" y="0"/>
                  </a:lnTo>
                  <a:lnTo>
                    <a:pt x="8" y="4"/>
                  </a:lnTo>
                  <a:lnTo>
                    <a:pt x="0" y="28"/>
                  </a:lnTo>
                  <a:lnTo>
                    <a:pt x="55" y="2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86" name="Freeform 311">
              <a:extLst>
                <a:ext uri="{FF2B5EF4-FFF2-40B4-BE49-F238E27FC236}">
                  <a16:creationId xmlns:a16="http://schemas.microsoft.com/office/drawing/2014/main" id="{849CCC17-32A3-A148-156D-D590C4C5DE6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506305" y="3501152"/>
              <a:ext cx="10447" cy="35058"/>
            </a:xfrm>
            <a:custGeom>
              <a:avLst/>
              <a:gdLst>
                <a:gd name="T0" fmla="*/ 0 w 175"/>
                <a:gd name="T1" fmla="*/ 0 h 291"/>
                <a:gd name="T2" fmla="*/ 0 w 175"/>
                <a:gd name="T3" fmla="*/ 0 h 291"/>
                <a:gd name="T4" fmla="*/ 0 w 175"/>
                <a:gd name="T5" fmla="*/ 0 h 291"/>
                <a:gd name="T6" fmla="*/ 0 w 175"/>
                <a:gd name="T7" fmla="*/ 0 h 291"/>
                <a:gd name="T8" fmla="*/ 0 w 175"/>
                <a:gd name="T9" fmla="*/ 0 h 291"/>
                <a:gd name="T10" fmla="*/ 0 w 175"/>
                <a:gd name="T11" fmla="*/ 0 h 291"/>
                <a:gd name="T12" fmla="*/ 0 w 175"/>
                <a:gd name="T13" fmla="*/ 0 h 291"/>
                <a:gd name="T14" fmla="*/ 0 w 175"/>
                <a:gd name="T15" fmla="*/ 0 h 291"/>
                <a:gd name="T16" fmla="*/ 0 w 175"/>
                <a:gd name="T17" fmla="*/ 0 h 291"/>
                <a:gd name="T18" fmla="*/ 0 w 175"/>
                <a:gd name="T19" fmla="*/ 0 h 291"/>
                <a:gd name="T20" fmla="*/ 0 w 175"/>
                <a:gd name="T21" fmla="*/ 0 h 291"/>
                <a:gd name="T22" fmla="*/ 0 w 175"/>
                <a:gd name="T23" fmla="*/ 0 h 291"/>
                <a:gd name="T24" fmla="*/ 0 w 175"/>
                <a:gd name="T25" fmla="*/ 0 h 291"/>
                <a:gd name="T26" fmla="*/ 0 w 175"/>
                <a:gd name="T27" fmla="*/ 0 h 291"/>
                <a:gd name="T28" fmla="*/ 0 w 175"/>
                <a:gd name="T29" fmla="*/ 0 h 291"/>
                <a:gd name="T30" fmla="*/ 0 w 175"/>
                <a:gd name="T31" fmla="*/ 0 h 29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75"/>
                <a:gd name="T49" fmla="*/ 0 h 291"/>
                <a:gd name="T50" fmla="*/ 175 w 175"/>
                <a:gd name="T51" fmla="*/ 291 h 29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75" h="291">
                  <a:moveTo>
                    <a:pt x="93" y="46"/>
                  </a:moveTo>
                  <a:lnTo>
                    <a:pt x="107" y="50"/>
                  </a:lnTo>
                  <a:lnTo>
                    <a:pt x="114" y="81"/>
                  </a:lnTo>
                  <a:lnTo>
                    <a:pt x="175" y="163"/>
                  </a:lnTo>
                  <a:lnTo>
                    <a:pt x="175" y="244"/>
                  </a:lnTo>
                  <a:lnTo>
                    <a:pt x="168" y="268"/>
                  </a:lnTo>
                  <a:lnTo>
                    <a:pt x="141" y="288"/>
                  </a:lnTo>
                  <a:lnTo>
                    <a:pt x="101" y="291"/>
                  </a:lnTo>
                  <a:lnTo>
                    <a:pt x="59" y="244"/>
                  </a:lnTo>
                  <a:lnTo>
                    <a:pt x="10" y="212"/>
                  </a:lnTo>
                  <a:lnTo>
                    <a:pt x="0" y="167"/>
                  </a:lnTo>
                  <a:lnTo>
                    <a:pt x="28" y="84"/>
                  </a:lnTo>
                  <a:lnTo>
                    <a:pt x="35" y="39"/>
                  </a:lnTo>
                  <a:lnTo>
                    <a:pt x="30" y="8"/>
                  </a:lnTo>
                  <a:lnTo>
                    <a:pt x="79" y="0"/>
                  </a:lnTo>
                  <a:lnTo>
                    <a:pt x="93" y="4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87" name="Freeform 312">
              <a:extLst>
                <a:ext uri="{FF2B5EF4-FFF2-40B4-BE49-F238E27FC236}">
                  <a16:creationId xmlns:a16="http://schemas.microsoft.com/office/drawing/2014/main" id="{6C8933F2-24AE-41AC-E255-5AAC6C8F4F1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519737" y="3539258"/>
              <a:ext cx="1492" cy="16766"/>
            </a:xfrm>
            <a:custGeom>
              <a:avLst/>
              <a:gdLst>
                <a:gd name="T0" fmla="*/ 0 w 69"/>
                <a:gd name="T1" fmla="*/ 0 h 144"/>
                <a:gd name="T2" fmla="*/ 0 w 69"/>
                <a:gd name="T3" fmla="*/ 0 h 144"/>
                <a:gd name="T4" fmla="*/ 0 w 69"/>
                <a:gd name="T5" fmla="*/ 0 h 144"/>
                <a:gd name="T6" fmla="*/ 0 w 69"/>
                <a:gd name="T7" fmla="*/ 0 h 144"/>
                <a:gd name="T8" fmla="*/ 0 w 69"/>
                <a:gd name="T9" fmla="*/ 0 h 144"/>
                <a:gd name="T10" fmla="*/ 0 w 69"/>
                <a:gd name="T11" fmla="*/ 0 h 1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9"/>
                <a:gd name="T19" fmla="*/ 0 h 144"/>
                <a:gd name="T20" fmla="*/ 69 w 69"/>
                <a:gd name="T21" fmla="*/ 144 h 14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9" h="144">
                  <a:moveTo>
                    <a:pt x="0" y="70"/>
                  </a:moveTo>
                  <a:lnTo>
                    <a:pt x="47" y="0"/>
                  </a:lnTo>
                  <a:lnTo>
                    <a:pt x="69" y="118"/>
                  </a:lnTo>
                  <a:lnTo>
                    <a:pt x="59" y="144"/>
                  </a:lnTo>
                  <a:lnTo>
                    <a:pt x="17" y="128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88" name="Freeform 313">
              <a:extLst>
                <a:ext uri="{FF2B5EF4-FFF2-40B4-BE49-F238E27FC236}">
                  <a16:creationId xmlns:a16="http://schemas.microsoft.com/office/drawing/2014/main" id="{0DC93192-CE0F-753A-920D-834135EAFEF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543614" y="3493531"/>
              <a:ext cx="2985" cy="21339"/>
            </a:xfrm>
            <a:custGeom>
              <a:avLst/>
              <a:gdLst>
                <a:gd name="T0" fmla="*/ 0 w 52"/>
                <a:gd name="T1" fmla="*/ 0 h 192"/>
                <a:gd name="T2" fmla="*/ 0 w 52"/>
                <a:gd name="T3" fmla="*/ 0 h 192"/>
                <a:gd name="T4" fmla="*/ 0 w 52"/>
                <a:gd name="T5" fmla="*/ 0 h 192"/>
                <a:gd name="T6" fmla="*/ 0 w 52"/>
                <a:gd name="T7" fmla="*/ 0 h 192"/>
                <a:gd name="T8" fmla="*/ 0 w 52"/>
                <a:gd name="T9" fmla="*/ 0 h 192"/>
                <a:gd name="T10" fmla="*/ 0 w 52"/>
                <a:gd name="T11" fmla="*/ 0 h 192"/>
                <a:gd name="T12" fmla="*/ 0 w 52"/>
                <a:gd name="T13" fmla="*/ 0 h 192"/>
                <a:gd name="T14" fmla="*/ 0 w 52"/>
                <a:gd name="T15" fmla="*/ 0 h 19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2"/>
                <a:gd name="T25" fmla="*/ 0 h 192"/>
                <a:gd name="T26" fmla="*/ 52 w 52"/>
                <a:gd name="T27" fmla="*/ 192 h 19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2" h="192">
                  <a:moveTo>
                    <a:pt x="37" y="20"/>
                  </a:moveTo>
                  <a:lnTo>
                    <a:pt x="37" y="0"/>
                  </a:lnTo>
                  <a:lnTo>
                    <a:pt x="52" y="45"/>
                  </a:lnTo>
                  <a:lnTo>
                    <a:pt x="47" y="192"/>
                  </a:lnTo>
                  <a:lnTo>
                    <a:pt x="10" y="160"/>
                  </a:lnTo>
                  <a:lnTo>
                    <a:pt x="0" y="120"/>
                  </a:lnTo>
                  <a:lnTo>
                    <a:pt x="20" y="99"/>
                  </a:lnTo>
                  <a:lnTo>
                    <a:pt x="37" y="2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89" name="Freeform 314">
              <a:extLst>
                <a:ext uri="{FF2B5EF4-FFF2-40B4-BE49-F238E27FC236}">
                  <a16:creationId xmlns:a16="http://schemas.microsoft.com/office/drawing/2014/main" id="{9733437B-3198-D5D6-630C-F2C39552635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557045" y="3511822"/>
              <a:ext cx="7462" cy="25911"/>
            </a:xfrm>
            <a:custGeom>
              <a:avLst/>
              <a:gdLst>
                <a:gd name="T0" fmla="*/ 0 w 146"/>
                <a:gd name="T1" fmla="*/ 0 h 212"/>
                <a:gd name="T2" fmla="*/ 0 w 146"/>
                <a:gd name="T3" fmla="*/ 0 h 212"/>
                <a:gd name="T4" fmla="*/ 0 w 146"/>
                <a:gd name="T5" fmla="*/ 0 h 212"/>
                <a:gd name="T6" fmla="*/ 0 w 146"/>
                <a:gd name="T7" fmla="*/ 0 h 212"/>
                <a:gd name="T8" fmla="*/ 0 w 146"/>
                <a:gd name="T9" fmla="*/ 0 h 212"/>
                <a:gd name="T10" fmla="*/ 0 w 146"/>
                <a:gd name="T11" fmla="*/ 0 h 212"/>
                <a:gd name="T12" fmla="*/ 0 w 146"/>
                <a:gd name="T13" fmla="*/ 0 h 212"/>
                <a:gd name="T14" fmla="*/ 0 w 146"/>
                <a:gd name="T15" fmla="*/ 0 h 212"/>
                <a:gd name="T16" fmla="*/ 0 w 146"/>
                <a:gd name="T17" fmla="*/ 0 h 212"/>
                <a:gd name="T18" fmla="*/ 0 w 146"/>
                <a:gd name="T19" fmla="*/ 0 h 212"/>
                <a:gd name="T20" fmla="*/ 0 w 146"/>
                <a:gd name="T21" fmla="*/ 0 h 2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46"/>
                <a:gd name="T34" fmla="*/ 0 h 212"/>
                <a:gd name="T35" fmla="*/ 146 w 146"/>
                <a:gd name="T36" fmla="*/ 212 h 2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46" h="212">
                  <a:moveTo>
                    <a:pt x="115" y="147"/>
                  </a:moveTo>
                  <a:lnTo>
                    <a:pt x="132" y="142"/>
                  </a:lnTo>
                  <a:lnTo>
                    <a:pt x="146" y="205"/>
                  </a:lnTo>
                  <a:lnTo>
                    <a:pt x="121" y="212"/>
                  </a:lnTo>
                  <a:lnTo>
                    <a:pt x="87" y="202"/>
                  </a:lnTo>
                  <a:lnTo>
                    <a:pt x="101" y="157"/>
                  </a:lnTo>
                  <a:lnTo>
                    <a:pt x="56" y="76"/>
                  </a:lnTo>
                  <a:lnTo>
                    <a:pt x="0" y="0"/>
                  </a:lnTo>
                  <a:lnTo>
                    <a:pt x="24" y="4"/>
                  </a:lnTo>
                  <a:lnTo>
                    <a:pt x="52" y="35"/>
                  </a:lnTo>
                  <a:lnTo>
                    <a:pt x="115" y="14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90" name="Freeform 315">
              <a:extLst>
                <a:ext uri="{FF2B5EF4-FFF2-40B4-BE49-F238E27FC236}">
                  <a16:creationId xmlns:a16="http://schemas.microsoft.com/office/drawing/2014/main" id="{7DC4A340-0472-86CF-6280-8AF67B66AA6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580922" y="3531637"/>
              <a:ext cx="5969" cy="6097"/>
            </a:xfrm>
            <a:custGeom>
              <a:avLst/>
              <a:gdLst>
                <a:gd name="T0" fmla="*/ 0 w 52"/>
                <a:gd name="T1" fmla="*/ 0 h 55"/>
                <a:gd name="T2" fmla="*/ 0 w 52"/>
                <a:gd name="T3" fmla="*/ 0 h 55"/>
                <a:gd name="T4" fmla="*/ 0 w 52"/>
                <a:gd name="T5" fmla="*/ 0 h 55"/>
                <a:gd name="T6" fmla="*/ 0 w 52"/>
                <a:gd name="T7" fmla="*/ 0 h 55"/>
                <a:gd name="T8" fmla="*/ 0 w 52"/>
                <a:gd name="T9" fmla="*/ 0 h 55"/>
                <a:gd name="T10" fmla="*/ 0 w 52"/>
                <a:gd name="T11" fmla="*/ 0 h 5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"/>
                <a:gd name="T19" fmla="*/ 0 h 55"/>
                <a:gd name="T20" fmla="*/ 52 w 52"/>
                <a:gd name="T21" fmla="*/ 55 h 5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" h="55">
                  <a:moveTo>
                    <a:pt x="20" y="0"/>
                  </a:moveTo>
                  <a:lnTo>
                    <a:pt x="3" y="28"/>
                  </a:lnTo>
                  <a:lnTo>
                    <a:pt x="0" y="55"/>
                  </a:lnTo>
                  <a:lnTo>
                    <a:pt x="35" y="52"/>
                  </a:lnTo>
                  <a:lnTo>
                    <a:pt x="52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91" name="Freeform 316">
              <a:extLst>
                <a:ext uri="{FF2B5EF4-FFF2-40B4-BE49-F238E27FC236}">
                  <a16:creationId xmlns:a16="http://schemas.microsoft.com/office/drawing/2014/main" id="{F4E1CD3B-FEDF-FF3D-5AFD-7641F0A33B6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570476" y="3556023"/>
              <a:ext cx="7461" cy="30484"/>
            </a:xfrm>
            <a:custGeom>
              <a:avLst/>
              <a:gdLst>
                <a:gd name="T0" fmla="*/ 0 w 117"/>
                <a:gd name="T1" fmla="*/ 0 h 232"/>
                <a:gd name="T2" fmla="*/ 0 w 117"/>
                <a:gd name="T3" fmla="*/ 0 h 232"/>
                <a:gd name="T4" fmla="*/ 0 w 117"/>
                <a:gd name="T5" fmla="*/ 0 h 232"/>
                <a:gd name="T6" fmla="*/ 0 w 117"/>
                <a:gd name="T7" fmla="*/ 0 h 232"/>
                <a:gd name="T8" fmla="*/ 0 w 117"/>
                <a:gd name="T9" fmla="*/ 0 h 232"/>
                <a:gd name="T10" fmla="*/ 0 w 117"/>
                <a:gd name="T11" fmla="*/ 0 h 232"/>
                <a:gd name="T12" fmla="*/ 0 w 117"/>
                <a:gd name="T13" fmla="*/ 0 h 232"/>
                <a:gd name="T14" fmla="*/ 0 w 117"/>
                <a:gd name="T15" fmla="*/ 0 h 232"/>
                <a:gd name="T16" fmla="*/ 0 w 117"/>
                <a:gd name="T17" fmla="*/ 0 h 232"/>
                <a:gd name="T18" fmla="*/ 0 w 117"/>
                <a:gd name="T19" fmla="*/ 0 h 232"/>
                <a:gd name="T20" fmla="*/ 0 w 117"/>
                <a:gd name="T21" fmla="*/ 0 h 232"/>
                <a:gd name="T22" fmla="*/ 0 w 117"/>
                <a:gd name="T23" fmla="*/ 0 h 23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17"/>
                <a:gd name="T37" fmla="*/ 0 h 232"/>
                <a:gd name="T38" fmla="*/ 117 w 117"/>
                <a:gd name="T39" fmla="*/ 232 h 23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17" h="232">
                  <a:moveTo>
                    <a:pt x="0" y="0"/>
                  </a:moveTo>
                  <a:lnTo>
                    <a:pt x="10" y="17"/>
                  </a:lnTo>
                  <a:lnTo>
                    <a:pt x="37" y="105"/>
                  </a:lnTo>
                  <a:lnTo>
                    <a:pt x="55" y="135"/>
                  </a:lnTo>
                  <a:lnTo>
                    <a:pt x="93" y="149"/>
                  </a:lnTo>
                  <a:lnTo>
                    <a:pt x="117" y="204"/>
                  </a:lnTo>
                  <a:lnTo>
                    <a:pt x="117" y="232"/>
                  </a:lnTo>
                  <a:lnTo>
                    <a:pt x="96" y="191"/>
                  </a:lnTo>
                  <a:lnTo>
                    <a:pt x="52" y="162"/>
                  </a:lnTo>
                  <a:lnTo>
                    <a:pt x="35" y="118"/>
                  </a:lnTo>
                  <a:lnTo>
                    <a:pt x="24" y="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92" name="Freeform 317">
              <a:extLst>
                <a:ext uri="{FF2B5EF4-FFF2-40B4-BE49-F238E27FC236}">
                  <a16:creationId xmlns:a16="http://schemas.microsoft.com/office/drawing/2014/main" id="{30AB456A-F42D-FD75-3673-4A71F772AD4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594354" y="3581936"/>
              <a:ext cx="7461" cy="24388"/>
            </a:xfrm>
            <a:custGeom>
              <a:avLst/>
              <a:gdLst>
                <a:gd name="T0" fmla="*/ 0 w 149"/>
                <a:gd name="T1" fmla="*/ 0 h 218"/>
                <a:gd name="T2" fmla="*/ 0 w 149"/>
                <a:gd name="T3" fmla="*/ 0 h 218"/>
                <a:gd name="T4" fmla="*/ 0 w 149"/>
                <a:gd name="T5" fmla="*/ 0 h 218"/>
                <a:gd name="T6" fmla="*/ 0 w 149"/>
                <a:gd name="T7" fmla="*/ 0 h 218"/>
                <a:gd name="T8" fmla="*/ 0 w 149"/>
                <a:gd name="T9" fmla="*/ 0 h 218"/>
                <a:gd name="T10" fmla="*/ 0 w 149"/>
                <a:gd name="T11" fmla="*/ 0 h 218"/>
                <a:gd name="T12" fmla="*/ 0 w 149"/>
                <a:gd name="T13" fmla="*/ 0 h 218"/>
                <a:gd name="T14" fmla="*/ 0 w 149"/>
                <a:gd name="T15" fmla="*/ 0 h 218"/>
                <a:gd name="T16" fmla="*/ 0 w 149"/>
                <a:gd name="T17" fmla="*/ 0 h 218"/>
                <a:gd name="T18" fmla="*/ 0 w 149"/>
                <a:gd name="T19" fmla="*/ 0 h 218"/>
                <a:gd name="T20" fmla="*/ 0 w 149"/>
                <a:gd name="T21" fmla="*/ 0 h 218"/>
                <a:gd name="T22" fmla="*/ 0 w 149"/>
                <a:gd name="T23" fmla="*/ 0 h 218"/>
                <a:gd name="T24" fmla="*/ 0 w 149"/>
                <a:gd name="T25" fmla="*/ 0 h 218"/>
                <a:gd name="T26" fmla="*/ 0 w 149"/>
                <a:gd name="T27" fmla="*/ 0 h 218"/>
                <a:gd name="T28" fmla="*/ 0 w 149"/>
                <a:gd name="T29" fmla="*/ 0 h 218"/>
                <a:gd name="T30" fmla="*/ 0 w 149"/>
                <a:gd name="T31" fmla="*/ 0 h 218"/>
                <a:gd name="T32" fmla="*/ 0 w 149"/>
                <a:gd name="T33" fmla="*/ 0 h 218"/>
                <a:gd name="T34" fmla="*/ 0 w 149"/>
                <a:gd name="T35" fmla="*/ 0 h 21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49"/>
                <a:gd name="T55" fmla="*/ 0 h 218"/>
                <a:gd name="T56" fmla="*/ 149 w 149"/>
                <a:gd name="T57" fmla="*/ 218 h 21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49" h="218">
                  <a:moveTo>
                    <a:pt x="101" y="73"/>
                  </a:moveTo>
                  <a:lnTo>
                    <a:pt x="101" y="48"/>
                  </a:lnTo>
                  <a:lnTo>
                    <a:pt x="101" y="56"/>
                  </a:lnTo>
                  <a:lnTo>
                    <a:pt x="90" y="48"/>
                  </a:lnTo>
                  <a:lnTo>
                    <a:pt x="31" y="48"/>
                  </a:lnTo>
                  <a:lnTo>
                    <a:pt x="4" y="27"/>
                  </a:lnTo>
                  <a:lnTo>
                    <a:pt x="0" y="14"/>
                  </a:lnTo>
                  <a:lnTo>
                    <a:pt x="11" y="0"/>
                  </a:lnTo>
                  <a:lnTo>
                    <a:pt x="46" y="14"/>
                  </a:lnTo>
                  <a:lnTo>
                    <a:pt x="83" y="41"/>
                  </a:lnTo>
                  <a:lnTo>
                    <a:pt x="125" y="41"/>
                  </a:lnTo>
                  <a:lnTo>
                    <a:pt x="145" y="61"/>
                  </a:lnTo>
                  <a:lnTo>
                    <a:pt x="149" y="113"/>
                  </a:lnTo>
                  <a:lnTo>
                    <a:pt x="103" y="172"/>
                  </a:lnTo>
                  <a:lnTo>
                    <a:pt x="49" y="218"/>
                  </a:lnTo>
                  <a:lnTo>
                    <a:pt x="35" y="182"/>
                  </a:lnTo>
                  <a:lnTo>
                    <a:pt x="111" y="100"/>
                  </a:lnTo>
                  <a:lnTo>
                    <a:pt x="101" y="73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93" name="Freeform 318">
              <a:extLst>
                <a:ext uri="{FF2B5EF4-FFF2-40B4-BE49-F238E27FC236}">
                  <a16:creationId xmlns:a16="http://schemas.microsoft.com/office/drawing/2014/main" id="{9C2FD4B0-51A8-50A8-DA3C-9D5E16A82C3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615246" y="3598702"/>
              <a:ext cx="7461" cy="4573"/>
            </a:xfrm>
            <a:custGeom>
              <a:avLst/>
              <a:gdLst>
                <a:gd name="T0" fmla="*/ 0 w 118"/>
                <a:gd name="T1" fmla="*/ 0 h 34"/>
                <a:gd name="T2" fmla="*/ 0 w 118"/>
                <a:gd name="T3" fmla="*/ 0 h 34"/>
                <a:gd name="T4" fmla="*/ 0 w 118"/>
                <a:gd name="T5" fmla="*/ 0 h 34"/>
                <a:gd name="T6" fmla="*/ 0 w 118"/>
                <a:gd name="T7" fmla="*/ 0 h 34"/>
                <a:gd name="T8" fmla="*/ 0 w 118"/>
                <a:gd name="T9" fmla="*/ 0 h 34"/>
                <a:gd name="T10" fmla="*/ 0 w 118"/>
                <a:gd name="T11" fmla="*/ 0 h 34"/>
                <a:gd name="T12" fmla="*/ 0 w 118"/>
                <a:gd name="T13" fmla="*/ 0 h 3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8"/>
                <a:gd name="T22" fmla="*/ 0 h 34"/>
                <a:gd name="T23" fmla="*/ 118 w 118"/>
                <a:gd name="T24" fmla="*/ 34 h 3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8" h="34">
                  <a:moveTo>
                    <a:pt x="118" y="34"/>
                  </a:moveTo>
                  <a:lnTo>
                    <a:pt x="100" y="3"/>
                  </a:lnTo>
                  <a:lnTo>
                    <a:pt x="56" y="0"/>
                  </a:lnTo>
                  <a:lnTo>
                    <a:pt x="0" y="24"/>
                  </a:lnTo>
                  <a:lnTo>
                    <a:pt x="52" y="17"/>
                  </a:lnTo>
                  <a:lnTo>
                    <a:pt x="90" y="34"/>
                  </a:lnTo>
                  <a:lnTo>
                    <a:pt x="118" y="3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94" name="Freeform 319">
              <a:extLst>
                <a:ext uri="{FF2B5EF4-FFF2-40B4-BE49-F238E27FC236}">
                  <a16:creationId xmlns:a16="http://schemas.microsoft.com/office/drawing/2014/main" id="{EA0BE7D1-FC37-A4CD-D74D-F9114BE1E572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633155" y="3610896"/>
              <a:ext cx="17908" cy="12193"/>
            </a:xfrm>
            <a:custGeom>
              <a:avLst/>
              <a:gdLst>
                <a:gd name="T0" fmla="*/ 0 w 248"/>
                <a:gd name="T1" fmla="*/ 0 h 103"/>
                <a:gd name="T2" fmla="*/ 0 w 248"/>
                <a:gd name="T3" fmla="*/ 0 h 103"/>
                <a:gd name="T4" fmla="*/ 0 w 248"/>
                <a:gd name="T5" fmla="*/ 0 h 103"/>
                <a:gd name="T6" fmla="*/ 0 w 248"/>
                <a:gd name="T7" fmla="*/ 0 h 103"/>
                <a:gd name="T8" fmla="*/ 0 w 248"/>
                <a:gd name="T9" fmla="*/ 0 h 103"/>
                <a:gd name="T10" fmla="*/ 0 w 248"/>
                <a:gd name="T11" fmla="*/ 0 h 103"/>
                <a:gd name="T12" fmla="*/ 0 w 248"/>
                <a:gd name="T13" fmla="*/ 0 h 103"/>
                <a:gd name="T14" fmla="*/ 0 w 248"/>
                <a:gd name="T15" fmla="*/ 0 h 103"/>
                <a:gd name="T16" fmla="*/ 0 w 248"/>
                <a:gd name="T17" fmla="*/ 0 h 103"/>
                <a:gd name="T18" fmla="*/ 0 w 248"/>
                <a:gd name="T19" fmla="*/ 0 h 103"/>
                <a:gd name="T20" fmla="*/ 0 w 248"/>
                <a:gd name="T21" fmla="*/ 0 h 103"/>
                <a:gd name="T22" fmla="*/ 0 w 248"/>
                <a:gd name="T23" fmla="*/ 0 h 103"/>
                <a:gd name="T24" fmla="*/ 0 w 248"/>
                <a:gd name="T25" fmla="*/ 0 h 10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48"/>
                <a:gd name="T40" fmla="*/ 0 h 103"/>
                <a:gd name="T41" fmla="*/ 248 w 248"/>
                <a:gd name="T42" fmla="*/ 103 h 10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48" h="103">
                  <a:moveTo>
                    <a:pt x="48" y="19"/>
                  </a:moveTo>
                  <a:lnTo>
                    <a:pt x="86" y="0"/>
                  </a:lnTo>
                  <a:lnTo>
                    <a:pt x="114" y="25"/>
                  </a:lnTo>
                  <a:lnTo>
                    <a:pt x="192" y="61"/>
                  </a:lnTo>
                  <a:lnTo>
                    <a:pt x="241" y="92"/>
                  </a:lnTo>
                  <a:lnTo>
                    <a:pt x="248" y="103"/>
                  </a:lnTo>
                  <a:lnTo>
                    <a:pt x="210" y="98"/>
                  </a:lnTo>
                  <a:lnTo>
                    <a:pt x="148" y="52"/>
                  </a:lnTo>
                  <a:lnTo>
                    <a:pt x="100" y="34"/>
                  </a:lnTo>
                  <a:lnTo>
                    <a:pt x="41" y="73"/>
                  </a:lnTo>
                  <a:lnTo>
                    <a:pt x="0" y="76"/>
                  </a:lnTo>
                  <a:lnTo>
                    <a:pt x="13" y="48"/>
                  </a:lnTo>
                  <a:lnTo>
                    <a:pt x="48" y="1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95" name="Freeform 320">
              <a:extLst>
                <a:ext uri="{FF2B5EF4-FFF2-40B4-BE49-F238E27FC236}">
                  <a16:creationId xmlns:a16="http://schemas.microsoft.com/office/drawing/2014/main" id="{74995F0B-8CF0-E8AE-87BE-FE53B18736A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612262" y="3641380"/>
              <a:ext cx="10446" cy="18291"/>
            </a:xfrm>
            <a:custGeom>
              <a:avLst/>
              <a:gdLst>
                <a:gd name="T0" fmla="*/ 0 w 192"/>
                <a:gd name="T1" fmla="*/ 0 h 146"/>
                <a:gd name="T2" fmla="*/ 0 w 192"/>
                <a:gd name="T3" fmla="*/ 0 h 146"/>
                <a:gd name="T4" fmla="*/ 0 w 192"/>
                <a:gd name="T5" fmla="*/ 0 h 146"/>
                <a:gd name="T6" fmla="*/ 0 w 192"/>
                <a:gd name="T7" fmla="*/ 0 h 146"/>
                <a:gd name="T8" fmla="*/ 0 w 192"/>
                <a:gd name="T9" fmla="*/ 0 h 146"/>
                <a:gd name="T10" fmla="*/ 0 w 192"/>
                <a:gd name="T11" fmla="*/ 0 h 146"/>
                <a:gd name="T12" fmla="*/ 0 w 192"/>
                <a:gd name="T13" fmla="*/ 0 h 146"/>
                <a:gd name="T14" fmla="*/ 0 w 192"/>
                <a:gd name="T15" fmla="*/ 0 h 146"/>
                <a:gd name="T16" fmla="*/ 0 w 192"/>
                <a:gd name="T17" fmla="*/ 0 h 146"/>
                <a:gd name="T18" fmla="*/ 0 w 192"/>
                <a:gd name="T19" fmla="*/ 0 h 14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2"/>
                <a:gd name="T31" fmla="*/ 0 h 146"/>
                <a:gd name="T32" fmla="*/ 192 w 192"/>
                <a:gd name="T33" fmla="*/ 146 h 14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2" h="146">
                  <a:moveTo>
                    <a:pt x="192" y="0"/>
                  </a:moveTo>
                  <a:lnTo>
                    <a:pt x="184" y="0"/>
                  </a:lnTo>
                  <a:lnTo>
                    <a:pt x="184" y="56"/>
                  </a:lnTo>
                  <a:lnTo>
                    <a:pt x="175" y="104"/>
                  </a:lnTo>
                  <a:lnTo>
                    <a:pt x="132" y="132"/>
                  </a:lnTo>
                  <a:lnTo>
                    <a:pt x="0" y="146"/>
                  </a:lnTo>
                  <a:lnTo>
                    <a:pt x="4" y="76"/>
                  </a:lnTo>
                  <a:lnTo>
                    <a:pt x="62" y="49"/>
                  </a:lnTo>
                  <a:lnTo>
                    <a:pt x="114" y="67"/>
                  </a:lnTo>
                  <a:lnTo>
                    <a:pt x="192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96" name="Freeform 321">
              <a:extLst>
                <a:ext uri="{FF2B5EF4-FFF2-40B4-BE49-F238E27FC236}">
                  <a16:creationId xmlns:a16="http://schemas.microsoft.com/office/drawing/2014/main" id="{CD01F70A-A2BC-9A6D-CD07-A45AB60967E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516752" y="3537733"/>
              <a:ext cx="4477" cy="7622"/>
            </a:xfrm>
            <a:custGeom>
              <a:avLst/>
              <a:gdLst>
                <a:gd name="T0" fmla="*/ 0 w 70"/>
                <a:gd name="T1" fmla="*/ 0 h 80"/>
                <a:gd name="T2" fmla="*/ 0 w 70"/>
                <a:gd name="T3" fmla="*/ 0 h 80"/>
                <a:gd name="T4" fmla="*/ 0 w 70"/>
                <a:gd name="T5" fmla="*/ 0 h 80"/>
                <a:gd name="T6" fmla="*/ 0 w 70"/>
                <a:gd name="T7" fmla="*/ 0 h 80"/>
                <a:gd name="T8" fmla="*/ 0 w 70"/>
                <a:gd name="T9" fmla="*/ 0 h 80"/>
                <a:gd name="T10" fmla="*/ 0 w 70"/>
                <a:gd name="T11" fmla="*/ 0 h 8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0"/>
                <a:gd name="T19" fmla="*/ 0 h 80"/>
                <a:gd name="T20" fmla="*/ 70 w 70"/>
                <a:gd name="T21" fmla="*/ 80 h 8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0" h="80">
                  <a:moveTo>
                    <a:pt x="42" y="0"/>
                  </a:moveTo>
                  <a:lnTo>
                    <a:pt x="0" y="55"/>
                  </a:lnTo>
                  <a:lnTo>
                    <a:pt x="4" y="80"/>
                  </a:lnTo>
                  <a:lnTo>
                    <a:pt x="42" y="57"/>
                  </a:lnTo>
                  <a:lnTo>
                    <a:pt x="70" y="9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97" name="Freeform 322">
              <a:extLst>
                <a:ext uri="{FF2B5EF4-FFF2-40B4-BE49-F238E27FC236}">
                  <a16:creationId xmlns:a16="http://schemas.microsoft.com/office/drawing/2014/main" id="{7EB9B275-6A47-A77A-8A44-6C2A440C08F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463028" y="3510297"/>
              <a:ext cx="2985" cy="9145"/>
            </a:xfrm>
            <a:custGeom>
              <a:avLst/>
              <a:gdLst>
                <a:gd name="T0" fmla="*/ 0 w 72"/>
                <a:gd name="T1" fmla="*/ 0 h 93"/>
                <a:gd name="T2" fmla="*/ 0 w 72"/>
                <a:gd name="T3" fmla="*/ 0 h 93"/>
                <a:gd name="T4" fmla="*/ 0 w 72"/>
                <a:gd name="T5" fmla="*/ 0 h 93"/>
                <a:gd name="T6" fmla="*/ 0 w 72"/>
                <a:gd name="T7" fmla="*/ 0 h 93"/>
                <a:gd name="T8" fmla="*/ 0 w 72"/>
                <a:gd name="T9" fmla="*/ 0 h 9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2"/>
                <a:gd name="T16" fmla="*/ 0 h 93"/>
                <a:gd name="T17" fmla="*/ 72 w 72"/>
                <a:gd name="T18" fmla="*/ 93 h 9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2" h="93">
                  <a:moveTo>
                    <a:pt x="72" y="7"/>
                  </a:moveTo>
                  <a:lnTo>
                    <a:pt x="57" y="0"/>
                  </a:lnTo>
                  <a:lnTo>
                    <a:pt x="0" y="79"/>
                  </a:lnTo>
                  <a:lnTo>
                    <a:pt x="7" y="93"/>
                  </a:lnTo>
                  <a:lnTo>
                    <a:pt x="72" y="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98" name="Freeform 323">
              <a:extLst>
                <a:ext uri="{FF2B5EF4-FFF2-40B4-BE49-F238E27FC236}">
                  <a16:creationId xmlns:a16="http://schemas.microsoft.com/office/drawing/2014/main" id="{D62ACC89-D60C-8E1E-DB30-0D1B2789350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458550" y="3522491"/>
              <a:ext cx="4477" cy="4573"/>
            </a:xfrm>
            <a:custGeom>
              <a:avLst/>
              <a:gdLst>
                <a:gd name="T0" fmla="*/ 0 w 56"/>
                <a:gd name="T1" fmla="*/ 0 h 36"/>
                <a:gd name="T2" fmla="*/ 0 w 56"/>
                <a:gd name="T3" fmla="*/ 0 h 36"/>
                <a:gd name="T4" fmla="*/ 0 w 56"/>
                <a:gd name="T5" fmla="*/ 0 h 36"/>
                <a:gd name="T6" fmla="*/ 0 w 56"/>
                <a:gd name="T7" fmla="*/ 0 h 36"/>
                <a:gd name="T8" fmla="*/ 0 w 56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6"/>
                <a:gd name="T16" fmla="*/ 0 h 36"/>
                <a:gd name="T17" fmla="*/ 56 w 56"/>
                <a:gd name="T18" fmla="*/ 36 h 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6" h="36">
                  <a:moveTo>
                    <a:pt x="56" y="0"/>
                  </a:moveTo>
                  <a:lnTo>
                    <a:pt x="0" y="26"/>
                  </a:lnTo>
                  <a:lnTo>
                    <a:pt x="4" y="36"/>
                  </a:lnTo>
                  <a:lnTo>
                    <a:pt x="53" y="18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99" name="Freeform 324">
              <a:extLst>
                <a:ext uri="{FF2B5EF4-FFF2-40B4-BE49-F238E27FC236}">
                  <a16:creationId xmlns:a16="http://schemas.microsoft.com/office/drawing/2014/main" id="{B79B579E-C5B3-6FB1-DA33-B5DF6265087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1085610">
              <a:off x="3442135" y="3527064"/>
              <a:ext cx="10446" cy="12193"/>
            </a:xfrm>
            <a:custGeom>
              <a:avLst/>
              <a:gdLst>
                <a:gd name="T0" fmla="*/ 0 w 155"/>
                <a:gd name="T1" fmla="*/ 0 h 70"/>
                <a:gd name="T2" fmla="*/ 0 w 155"/>
                <a:gd name="T3" fmla="*/ 0 h 70"/>
                <a:gd name="T4" fmla="*/ 0 w 155"/>
                <a:gd name="T5" fmla="*/ 0 h 70"/>
                <a:gd name="T6" fmla="*/ 0 w 155"/>
                <a:gd name="T7" fmla="*/ 0 h 70"/>
                <a:gd name="T8" fmla="*/ 0 w 155"/>
                <a:gd name="T9" fmla="*/ 0 h 70"/>
                <a:gd name="T10" fmla="*/ 0 w 155"/>
                <a:gd name="T11" fmla="*/ 0 h 70"/>
                <a:gd name="T12" fmla="*/ 0 w 155"/>
                <a:gd name="T13" fmla="*/ 0 h 70"/>
                <a:gd name="T14" fmla="*/ 0 w 155"/>
                <a:gd name="T15" fmla="*/ 0 h 70"/>
                <a:gd name="T16" fmla="*/ 0 w 155"/>
                <a:gd name="T17" fmla="*/ 0 h 7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5"/>
                <a:gd name="T28" fmla="*/ 0 h 70"/>
                <a:gd name="T29" fmla="*/ 155 w 155"/>
                <a:gd name="T30" fmla="*/ 70 h 7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5" h="70">
                  <a:moveTo>
                    <a:pt x="152" y="40"/>
                  </a:moveTo>
                  <a:lnTo>
                    <a:pt x="109" y="36"/>
                  </a:lnTo>
                  <a:lnTo>
                    <a:pt x="44" y="67"/>
                  </a:lnTo>
                  <a:lnTo>
                    <a:pt x="0" y="70"/>
                  </a:lnTo>
                  <a:lnTo>
                    <a:pt x="9" y="50"/>
                  </a:lnTo>
                  <a:lnTo>
                    <a:pt x="59" y="36"/>
                  </a:lnTo>
                  <a:lnTo>
                    <a:pt x="119" y="0"/>
                  </a:lnTo>
                  <a:lnTo>
                    <a:pt x="155" y="9"/>
                  </a:lnTo>
                  <a:lnTo>
                    <a:pt x="152" y="4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00" name="Freeform 325">
              <a:extLst>
                <a:ext uri="{FF2B5EF4-FFF2-40B4-BE49-F238E27FC236}">
                  <a16:creationId xmlns:a16="http://schemas.microsoft.com/office/drawing/2014/main" id="{F92FAEAD-D07C-A14E-B2E3-27FA6CA5131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513767" y="3773987"/>
              <a:ext cx="40293" cy="30484"/>
            </a:xfrm>
            <a:custGeom>
              <a:avLst/>
              <a:gdLst>
                <a:gd name="T0" fmla="*/ 0 w 642"/>
                <a:gd name="T1" fmla="*/ 0 h 260"/>
                <a:gd name="T2" fmla="*/ 0 w 642"/>
                <a:gd name="T3" fmla="*/ 0 h 260"/>
                <a:gd name="T4" fmla="*/ 0 w 642"/>
                <a:gd name="T5" fmla="*/ 0 h 260"/>
                <a:gd name="T6" fmla="*/ 0 w 642"/>
                <a:gd name="T7" fmla="*/ 0 h 260"/>
                <a:gd name="T8" fmla="*/ 0 w 642"/>
                <a:gd name="T9" fmla="*/ 0 h 260"/>
                <a:gd name="T10" fmla="*/ 0 w 642"/>
                <a:gd name="T11" fmla="*/ 0 h 260"/>
                <a:gd name="T12" fmla="*/ 0 w 642"/>
                <a:gd name="T13" fmla="*/ 0 h 260"/>
                <a:gd name="T14" fmla="*/ 0 w 642"/>
                <a:gd name="T15" fmla="*/ 0 h 260"/>
                <a:gd name="T16" fmla="*/ 0 w 642"/>
                <a:gd name="T17" fmla="*/ 0 h 260"/>
                <a:gd name="T18" fmla="*/ 0 w 642"/>
                <a:gd name="T19" fmla="*/ 0 h 260"/>
                <a:gd name="T20" fmla="*/ 0 w 642"/>
                <a:gd name="T21" fmla="*/ 0 h 260"/>
                <a:gd name="T22" fmla="*/ 0 w 642"/>
                <a:gd name="T23" fmla="*/ 0 h 260"/>
                <a:gd name="T24" fmla="*/ 0 w 642"/>
                <a:gd name="T25" fmla="*/ 0 h 260"/>
                <a:gd name="T26" fmla="*/ 0 w 642"/>
                <a:gd name="T27" fmla="*/ 0 h 260"/>
                <a:gd name="T28" fmla="*/ 0 w 642"/>
                <a:gd name="T29" fmla="*/ 0 h 260"/>
                <a:gd name="T30" fmla="*/ 0 w 642"/>
                <a:gd name="T31" fmla="*/ 0 h 260"/>
                <a:gd name="T32" fmla="*/ 0 w 642"/>
                <a:gd name="T33" fmla="*/ 0 h 260"/>
                <a:gd name="T34" fmla="*/ 0 w 642"/>
                <a:gd name="T35" fmla="*/ 0 h 260"/>
                <a:gd name="T36" fmla="*/ 0 w 642"/>
                <a:gd name="T37" fmla="*/ 0 h 260"/>
                <a:gd name="T38" fmla="*/ 0 w 642"/>
                <a:gd name="T39" fmla="*/ 0 h 260"/>
                <a:gd name="T40" fmla="*/ 0 w 642"/>
                <a:gd name="T41" fmla="*/ 0 h 260"/>
                <a:gd name="T42" fmla="*/ 0 w 642"/>
                <a:gd name="T43" fmla="*/ 0 h 26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642"/>
                <a:gd name="T67" fmla="*/ 0 h 260"/>
                <a:gd name="T68" fmla="*/ 642 w 642"/>
                <a:gd name="T69" fmla="*/ 260 h 26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642" h="260">
                  <a:moveTo>
                    <a:pt x="373" y="31"/>
                  </a:moveTo>
                  <a:lnTo>
                    <a:pt x="397" y="35"/>
                  </a:lnTo>
                  <a:lnTo>
                    <a:pt x="450" y="63"/>
                  </a:lnTo>
                  <a:lnTo>
                    <a:pt x="483" y="101"/>
                  </a:lnTo>
                  <a:lnTo>
                    <a:pt x="600" y="104"/>
                  </a:lnTo>
                  <a:lnTo>
                    <a:pt x="642" y="212"/>
                  </a:lnTo>
                  <a:lnTo>
                    <a:pt x="588" y="222"/>
                  </a:lnTo>
                  <a:lnTo>
                    <a:pt x="504" y="197"/>
                  </a:lnTo>
                  <a:lnTo>
                    <a:pt x="442" y="222"/>
                  </a:lnTo>
                  <a:lnTo>
                    <a:pt x="390" y="222"/>
                  </a:lnTo>
                  <a:lnTo>
                    <a:pt x="369" y="260"/>
                  </a:lnTo>
                  <a:lnTo>
                    <a:pt x="304" y="256"/>
                  </a:lnTo>
                  <a:lnTo>
                    <a:pt x="273" y="228"/>
                  </a:lnTo>
                  <a:lnTo>
                    <a:pt x="194" y="222"/>
                  </a:lnTo>
                  <a:lnTo>
                    <a:pt x="101" y="135"/>
                  </a:lnTo>
                  <a:lnTo>
                    <a:pt x="39" y="115"/>
                  </a:lnTo>
                  <a:lnTo>
                    <a:pt x="0" y="73"/>
                  </a:lnTo>
                  <a:lnTo>
                    <a:pt x="10" y="44"/>
                  </a:lnTo>
                  <a:lnTo>
                    <a:pt x="138" y="0"/>
                  </a:lnTo>
                  <a:lnTo>
                    <a:pt x="194" y="4"/>
                  </a:lnTo>
                  <a:lnTo>
                    <a:pt x="279" y="21"/>
                  </a:lnTo>
                  <a:lnTo>
                    <a:pt x="373" y="31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01" name="Freeform 326">
              <a:extLst>
                <a:ext uri="{FF2B5EF4-FFF2-40B4-BE49-F238E27FC236}">
                  <a16:creationId xmlns:a16="http://schemas.microsoft.com/office/drawing/2014/main" id="{BCA9D672-FAB0-70BA-DB47-5F9FA0979C5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622708" y="3670340"/>
              <a:ext cx="64171" cy="96025"/>
            </a:xfrm>
            <a:custGeom>
              <a:avLst/>
              <a:gdLst>
                <a:gd name="T0" fmla="*/ 0 w 1080"/>
                <a:gd name="T1" fmla="*/ 0 h 745"/>
                <a:gd name="T2" fmla="*/ 0 w 1080"/>
                <a:gd name="T3" fmla="*/ 0 h 745"/>
                <a:gd name="T4" fmla="*/ 0 w 1080"/>
                <a:gd name="T5" fmla="*/ 0 h 745"/>
                <a:gd name="T6" fmla="*/ 0 w 1080"/>
                <a:gd name="T7" fmla="*/ 0 h 745"/>
                <a:gd name="T8" fmla="*/ 0 w 1080"/>
                <a:gd name="T9" fmla="*/ 0 h 745"/>
                <a:gd name="T10" fmla="*/ 0 w 1080"/>
                <a:gd name="T11" fmla="*/ 0 h 745"/>
                <a:gd name="T12" fmla="*/ 0 w 1080"/>
                <a:gd name="T13" fmla="*/ 0 h 745"/>
                <a:gd name="T14" fmla="*/ 0 w 1080"/>
                <a:gd name="T15" fmla="*/ 0 h 745"/>
                <a:gd name="T16" fmla="*/ 0 w 1080"/>
                <a:gd name="T17" fmla="*/ 0 h 745"/>
                <a:gd name="T18" fmla="*/ 0 w 1080"/>
                <a:gd name="T19" fmla="*/ 0 h 745"/>
                <a:gd name="T20" fmla="*/ 0 w 1080"/>
                <a:gd name="T21" fmla="*/ 0 h 745"/>
                <a:gd name="T22" fmla="*/ 0 w 1080"/>
                <a:gd name="T23" fmla="*/ 0 h 745"/>
                <a:gd name="T24" fmla="*/ 0 w 1080"/>
                <a:gd name="T25" fmla="*/ 0 h 745"/>
                <a:gd name="T26" fmla="*/ 0 w 1080"/>
                <a:gd name="T27" fmla="*/ 0 h 745"/>
                <a:gd name="T28" fmla="*/ 0 w 1080"/>
                <a:gd name="T29" fmla="*/ 0 h 745"/>
                <a:gd name="T30" fmla="*/ 0 w 1080"/>
                <a:gd name="T31" fmla="*/ 0 h 745"/>
                <a:gd name="T32" fmla="*/ 0 w 1080"/>
                <a:gd name="T33" fmla="*/ 0 h 745"/>
                <a:gd name="T34" fmla="*/ 0 w 1080"/>
                <a:gd name="T35" fmla="*/ 0 h 745"/>
                <a:gd name="T36" fmla="*/ 0 w 1080"/>
                <a:gd name="T37" fmla="*/ 0 h 745"/>
                <a:gd name="T38" fmla="*/ 0 w 1080"/>
                <a:gd name="T39" fmla="*/ 0 h 745"/>
                <a:gd name="T40" fmla="*/ 0 w 1080"/>
                <a:gd name="T41" fmla="*/ 0 h 745"/>
                <a:gd name="T42" fmla="*/ 0 w 1080"/>
                <a:gd name="T43" fmla="*/ 0 h 745"/>
                <a:gd name="T44" fmla="*/ 0 w 1080"/>
                <a:gd name="T45" fmla="*/ 0 h 745"/>
                <a:gd name="T46" fmla="*/ 0 w 1080"/>
                <a:gd name="T47" fmla="*/ 0 h 745"/>
                <a:gd name="T48" fmla="*/ 0 w 1080"/>
                <a:gd name="T49" fmla="*/ 0 h 745"/>
                <a:gd name="T50" fmla="*/ 0 w 1080"/>
                <a:gd name="T51" fmla="*/ 0 h 745"/>
                <a:gd name="T52" fmla="*/ 0 w 1080"/>
                <a:gd name="T53" fmla="*/ 0 h 745"/>
                <a:gd name="T54" fmla="*/ 0 w 1080"/>
                <a:gd name="T55" fmla="*/ 0 h 745"/>
                <a:gd name="T56" fmla="*/ 0 w 1080"/>
                <a:gd name="T57" fmla="*/ 0 h 745"/>
                <a:gd name="T58" fmla="*/ 0 w 1080"/>
                <a:gd name="T59" fmla="*/ 0 h 745"/>
                <a:gd name="T60" fmla="*/ 0 w 1080"/>
                <a:gd name="T61" fmla="*/ 0 h 745"/>
                <a:gd name="T62" fmla="*/ 0 w 1080"/>
                <a:gd name="T63" fmla="*/ 0 h 745"/>
                <a:gd name="T64" fmla="*/ 0 w 1080"/>
                <a:gd name="T65" fmla="*/ 0 h 745"/>
                <a:gd name="T66" fmla="*/ 0 w 1080"/>
                <a:gd name="T67" fmla="*/ 0 h 74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080"/>
                <a:gd name="T103" fmla="*/ 0 h 745"/>
                <a:gd name="T104" fmla="*/ 1080 w 1080"/>
                <a:gd name="T105" fmla="*/ 745 h 74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080" h="745">
                  <a:moveTo>
                    <a:pt x="17" y="29"/>
                  </a:moveTo>
                  <a:lnTo>
                    <a:pt x="25" y="17"/>
                  </a:lnTo>
                  <a:lnTo>
                    <a:pt x="51" y="0"/>
                  </a:lnTo>
                  <a:lnTo>
                    <a:pt x="119" y="0"/>
                  </a:lnTo>
                  <a:lnTo>
                    <a:pt x="183" y="9"/>
                  </a:lnTo>
                  <a:lnTo>
                    <a:pt x="338" y="4"/>
                  </a:lnTo>
                  <a:lnTo>
                    <a:pt x="423" y="29"/>
                  </a:lnTo>
                  <a:lnTo>
                    <a:pt x="512" y="76"/>
                  </a:lnTo>
                  <a:lnTo>
                    <a:pt x="589" y="84"/>
                  </a:lnTo>
                  <a:lnTo>
                    <a:pt x="614" y="110"/>
                  </a:lnTo>
                  <a:lnTo>
                    <a:pt x="632" y="169"/>
                  </a:lnTo>
                  <a:lnTo>
                    <a:pt x="643" y="181"/>
                  </a:lnTo>
                  <a:lnTo>
                    <a:pt x="699" y="193"/>
                  </a:lnTo>
                  <a:lnTo>
                    <a:pt x="805" y="193"/>
                  </a:lnTo>
                  <a:lnTo>
                    <a:pt x="822" y="203"/>
                  </a:lnTo>
                  <a:lnTo>
                    <a:pt x="825" y="227"/>
                  </a:lnTo>
                  <a:lnTo>
                    <a:pt x="779" y="244"/>
                  </a:lnTo>
                  <a:lnTo>
                    <a:pt x="728" y="244"/>
                  </a:lnTo>
                  <a:lnTo>
                    <a:pt x="723" y="269"/>
                  </a:lnTo>
                  <a:lnTo>
                    <a:pt x="796" y="294"/>
                  </a:lnTo>
                  <a:lnTo>
                    <a:pt x="944" y="298"/>
                  </a:lnTo>
                  <a:lnTo>
                    <a:pt x="977" y="336"/>
                  </a:lnTo>
                  <a:lnTo>
                    <a:pt x="1038" y="387"/>
                  </a:lnTo>
                  <a:lnTo>
                    <a:pt x="1076" y="404"/>
                  </a:lnTo>
                  <a:lnTo>
                    <a:pt x="1080" y="417"/>
                  </a:lnTo>
                  <a:lnTo>
                    <a:pt x="1080" y="462"/>
                  </a:lnTo>
                  <a:lnTo>
                    <a:pt x="1055" y="509"/>
                  </a:lnTo>
                  <a:lnTo>
                    <a:pt x="1012" y="547"/>
                  </a:lnTo>
                  <a:lnTo>
                    <a:pt x="969" y="547"/>
                  </a:lnTo>
                  <a:lnTo>
                    <a:pt x="940" y="522"/>
                  </a:lnTo>
                  <a:lnTo>
                    <a:pt x="872" y="496"/>
                  </a:lnTo>
                  <a:lnTo>
                    <a:pt x="706" y="483"/>
                  </a:lnTo>
                  <a:lnTo>
                    <a:pt x="589" y="500"/>
                  </a:lnTo>
                  <a:lnTo>
                    <a:pt x="551" y="522"/>
                  </a:lnTo>
                  <a:lnTo>
                    <a:pt x="538" y="547"/>
                  </a:lnTo>
                  <a:lnTo>
                    <a:pt x="525" y="556"/>
                  </a:lnTo>
                  <a:lnTo>
                    <a:pt x="474" y="576"/>
                  </a:lnTo>
                  <a:lnTo>
                    <a:pt x="406" y="589"/>
                  </a:lnTo>
                  <a:lnTo>
                    <a:pt x="369" y="522"/>
                  </a:lnTo>
                  <a:lnTo>
                    <a:pt x="369" y="509"/>
                  </a:lnTo>
                  <a:lnTo>
                    <a:pt x="322" y="504"/>
                  </a:lnTo>
                  <a:lnTo>
                    <a:pt x="292" y="517"/>
                  </a:lnTo>
                  <a:lnTo>
                    <a:pt x="271" y="534"/>
                  </a:lnTo>
                  <a:lnTo>
                    <a:pt x="233" y="584"/>
                  </a:lnTo>
                  <a:lnTo>
                    <a:pt x="191" y="656"/>
                  </a:lnTo>
                  <a:lnTo>
                    <a:pt x="174" y="673"/>
                  </a:lnTo>
                  <a:lnTo>
                    <a:pt x="170" y="690"/>
                  </a:lnTo>
                  <a:lnTo>
                    <a:pt x="110" y="745"/>
                  </a:lnTo>
                  <a:lnTo>
                    <a:pt x="88" y="745"/>
                  </a:lnTo>
                  <a:lnTo>
                    <a:pt x="85" y="733"/>
                  </a:lnTo>
                  <a:lnTo>
                    <a:pt x="46" y="702"/>
                  </a:lnTo>
                  <a:lnTo>
                    <a:pt x="42" y="694"/>
                  </a:lnTo>
                  <a:lnTo>
                    <a:pt x="42" y="640"/>
                  </a:lnTo>
                  <a:lnTo>
                    <a:pt x="25" y="619"/>
                  </a:lnTo>
                  <a:lnTo>
                    <a:pt x="34" y="606"/>
                  </a:lnTo>
                  <a:lnTo>
                    <a:pt x="42" y="531"/>
                  </a:lnTo>
                  <a:lnTo>
                    <a:pt x="34" y="496"/>
                  </a:lnTo>
                  <a:lnTo>
                    <a:pt x="0" y="458"/>
                  </a:lnTo>
                  <a:lnTo>
                    <a:pt x="0" y="434"/>
                  </a:lnTo>
                  <a:lnTo>
                    <a:pt x="8" y="417"/>
                  </a:lnTo>
                  <a:lnTo>
                    <a:pt x="51" y="384"/>
                  </a:lnTo>
                  <a:lnTo>
                    <a:pt x="46" y="290"/>
                  </a:lnTo>
                  <a:lnTo>
                    <a:pt x="68" y="269"/>
                  </a:lnTo>
                  <a:lnTo>
                    <a:pt x="77" y="235"/>
                  </a:lnTo>
                  <a:lnTo>
                    <a:pt x="51" y="206"/>
                  </a:lnTo>
                  <a:lnTo>
                    <a:pt x="59" y="127"/>
                  </a:lnTo>
                  <a:lnTo>
                    <a:pt x="46" y="80"/>
                  </a:lnTo>
                  <a:lnTo>
                    <a:pt x="12" y="38"/>
                  </a:lnTo>
                  <a:lnTo>
                    <a:pt x="17" y="29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02" name="Freeform 327">
              <a:extLst>
                <a:ext uri="{FF2B5EF4-FFF2-40B4-BE49-F238E27FC236}">
                  <a16:creationId xmlns:a16="http://schemas.microsoft.com/office/drawing/2014/main" id="{CB6F4A21-43CD-1705-CEC9-4561221E8C7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815220" y="3726736"/>
              <a:ext cx="2985" cy="4573"/>
            </a:xfrm>
            <a:custGeom>
              <a:avLst/>
              <a:gdLst>
                <a:gd name="T0" fmla="*/ 0 w 56"/>
                <a:gd name="T1" fmla="*/ 0 h 53"/>
                <a:gd name="T2" fmla="*/ 0 w 56"/>
                <a:gd name="T3" fmla="*/ 0 h 53"/>
                <a:gd name="T4" fmla="*/ 0 w 56"/>
                <a:gd name="T5" fmla="*/ 0 h 53"/>
                <a:gd name="T6" fmla="*/ 0 w 56"/>
                <a:gd name="T7" fmla="*/ 0 h 53"/>
                <a:gd name="T8" fmla="*/ 0 w 56"/>
                <a:gd name="T9" fmla="*/ 0 h 53"/>
                <a:gd name="T10" fmla="*/ 0 w 56"/>
                <a:gd name="T11" fmla="*/ 0 h 53"/>
                <a:gd name="T12" fmla="*/ 0 w 56"/>
                <a:gd name="T13" fmla="*/ 0 h 53"/>
                <a:gd name="T14" fmla="*/ 0 w 56"/>
                <a:gd name="T15" fmla="*/ 0 h 5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6"/>
                <a:gd name="T25" fmla="*/ 0 h 53"/>
                <a:gd name="T26" fmla="*/ 56 w 56"/>
                <a:gd name="T27" fmla="*/ 53 h 5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6" h="53">
                  <a:moveTo>
                    <a:pt x="18" y="0"/>
                  </a:moveTo>
                  <a:lnTo>
                    <a:pt x="11" y="4"/>
                  </a:lnTo>
                  <a:lnTo>
                    <a:pt x="0" y="28"/>
                  </a:lnTo>
                  <a:lnTo>
                    <a:pt x="4" y="48"/>
                  </a:lnTo>
                  <a:lnTo>
                    <a:pt x="24" y="53"/>
                  </a:lnTo>
                  <a:lnTo>
                    <a:pt x="52" y="34"/>
                  </a:lnTo>
                  <a:lnTo>
                    <a:pt x="56" y="22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03" name="Freeform 328">
              <a:extLst>
                <a:ext uri="{FF2B5EF4-FFF2-40B4-BE49-F238E27FC236}">
                  <a16:creationId xmlns:a16="http://schemas.microsoft.com/office/drawing/2014/main" id="{780A9D84-2B67-CC59-F846-B5155145196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854021" y="3804471"/>
              <a:ext cx="4477" cy="21339"/>
            </a:xfrm>
            <a:custGeom>
              <a:avLst/>
              <a:gdLst>
                <a:gd name="T0" fmla="*/ 0 w 111"/>
                <a:gd name="T1" fmla="*/ 0 h 152"/>
                <a:gd name="T2" fmla="*/ 0 w 111"/>
                <a:gd name="T3" fmla="*/ 0 h 152"/>
                <a:gd name="T4" fmla="*/ 0 w 111"/>
                <a:gd name="T5" fmla="*/ 0 h 152"/>
                <a:gd name="T6" fmla="*/ 0 w 111"/>
                <a:gd name="T7" fmla="*/ 0 h 152"/>
                <a:gd name="T8" fmla="*/ 0 w 111"/>
                <a:gd name="T9" fmla="*/ 0 h 152"/>
                <a:gd name="T10" fmla="*/ 0 w 111"/>
                <a:gd name="T11" fmla="*/ 0 h 152"/>
                <a:gd name="T12" fmla="*/ 0 w 111"/>
                <a:gd name="T13" fmla="*/ 0 h 152"/>
                <a:gd name="T14" fmla="*/ 0 w 111"/>
                <a:gd name="T15" fmla="*/ 0 h 152"/>
                <a:gd name="T16" fmla="*/ 0 w 111"/>
                <a:gd name="T17" fmla="*/ 0 h 152"/>
                <a:gd name="T18" fmla="*/ 0 w 111"/>
                <a:gd name="T19" fmla="*/ 0 h 15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1"/>
                <a:gd name="T31" fmla="*/ 0 h 152"/>
                <a:gd name="T32" fmla="*/ 111 w 111"/>
                <a:gd name="T33" fmla="*/ 152 h 15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1" h="152">
                  <a:moveTo>
                    <a:pt x="4" y="0"/>
                  </a:moveTo>
                  <a:lnTo>
                    <a:pt x="32" y="7"/>
                  </a:lnTo>
                  <a:lnTo>
                    <a:pt x="66" y="41"/>
                  </a:lnTo>
                  <a:lnTo>
                    <a:pt x="111" y="138"/>
                  </a:lnTo>
                  <a:lnTo>
                    <a:pt x="105" y="145"/>
                  </a:lnTo>
                  <a:lnTo>
                    <a:pt x="66" y="152"/>
                  </a:lnTo>
                  <a:lnTo>
                    <a:pt x="49" y="138"/>
                  </a:lnTo>
                  <a:lnTo>
                    <a:pt x="7" y="47"/>
                  </a:lnTo>
                  <a:lnTo>
                    <a:pt x="0" y="23"/>
                  </a:lnTo>
                  <a:lnTo>
                    <a:pt x="4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04" name="Freeform 329">
              <a:extLst>
                <a:ext uri="{FF2B5EF4-FFF2-40B4-BE49-F238E27FC236}">
                  <a16:creationId xmlns:a16="http://schemas.microsoft.com/office/drawing/2014/main" id="{E067F7CC-7529-0811-7FD4-761452FD242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892822" y="3941651"/>
              <a:ext cx="4477" cy="9145"/>
            </a:xfrm>
            <a:custGeom>
              <a:avLst/>
              <a:gdLst>
                <a:gd name="T0" fmla="*/ 0 w 86"/>
                <a:gd name="T1" fmla="*/ 0 h 63"/>
                <a:gd name="T2" fmla="*/ 0 w 86"/>
                <a:gd name="T3" fmla="*/ 0 h 63"/>
                <a:gd name="T4" fmla="*/ 0 w 86"/>
                <a:gd name="T5" fmla="*/ 0 h 63"/>
                <a:gd name="T6" fmla="*/ 0 w 86"/>
                <a:gd name="T7" fmla="*/ 0 h 63"/>
                <a:gd name="T8" fmla="*/ 0 w 86"/>
                <a:gd name="T9" fmla="*/ 0 h 63"/>
                <a:gd name="T10" fmla="*/ 0 w 86"/>
                <a:gd name="T11" fmla="*/ 0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6"/>
                <a:gd name="T19" fmla="*/ 0 h 63"/>
                <a:gd name="T20" fmla="*/ 86 w 86"/>
                <a:gd name="T21" fmla="*/ 63 h 6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6" h="63">
                  <a:moveTo>
                    <a:pt x="86" y="0"/>
                  </a:moveTo>
                  <a:lnTo>
                    <a:pt x="51" y="11"/>
                  </a:lnTo>
                  <a:lnTo>
                    <a:pt x="0" y="52"/>
                  </a:lnTo>
                  <a:lnTo>
                    <a:pt x="14" y="63"/>
                  </a:lnTo>
                  <a:lnTo>
                    <a:pt x="62" y="31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05" name="Freeform 330">
              <a:extLst>
                <a:ext uri="{FF2B5EF4-FFF2-40B4-BE49-F238E27FC236}">
                  <a16:creationId xmlns:a16="http://schemas.microsoft.com/office/drawing/2014/main" id="{1E23573D-1B1C-88DD-4057-FE55DB9D816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882375" y="3969087"/>
              <a:ext cx="14923" cy="28959"/>
            </a:xfrm>
            <a:custGeom>
              <a:avLst/>
              <a:gdLst>
                <a:gd name="T0" fmla="*/ 0 w 287"/>
                <a:gd name="T1" fmla="*/ 0 h 245"/>
                <a:gd name="T2" fmla="*/ 0 w 287"/>
                <a:gd name="T3" fmla="*/ 0 h 245"/>
                <a:gd name="T4" fmla="*/ 0 w 287"/>
                <a:gd name="T5" fmla="*/ 0 h 245"/>
                <a:gd name="T6" fmla="*/ 0 w 287"/>
                <a:gd name="T7" fmla="*/ 0 h 245"/>
                <a:gd name="T8" fmla="*/ 0 w 287"/>
                <a:gd name="T9" fmla="*/ 0 h 245"/>
                <a:gd name="T10" fmla="*/ 0 w 287"/>
                <a:gd name="T11" fmla="*/ 0 h 245"/>
                <a:gd name="T12" fmla="*/ 0 w 287"/>
                <a:gd name="T13" fmla="*/ 0 h 245"/>
                <a:gd name="T14" fmla="*/ 0 w 287"/>
                <a:gd name="T15" fmla="*/ 0 h 245"/>
                <a:gd name="T16" fmla="*/ 0 w 287"/>
                <a:gd name="T17" fmla="*/ 0 h 245"/>
                <a:gd name="T18" fmla="*/ 0 w 287"/>
                <a:gd name="T19" fmla="*/ 0 h 245"/>
                <a:gd name="T20" fmla="*/ 0 w 287"/>
                <a:gd name="T21" fmla="*/ 0 h 245"/>
                <a:gd name="T22" fmla="*/ 0 w 287"/>
                <a:gd name="T23" fmla="*/ 0 h 245"/>
                <a:gd name="T24" fmla="*/ 0 w 287"/>
                <a:gd name="T25" fmla="*/ 0 h 245"/>
                <a:gd name="T26" fmla="*/ 0 w 287"/>
                <a:gd name="T27" fmla="*/ 0 h 245"/>
                <a:gd name="T28" fmla="*/ 0 w 287"/>
                <a:gd name="T29" fmla="*/ 0 h 245"/>
                <a:gd name="T30" fmla="*/ 0 w 287"/>
                <a:gd name="T31" fmla="*/ 0 h 245"/>
                <a:gd name="T32" fmla="*/ 0 w 287"/>
                <a:gd name="T33" fmla="*/ 0 h 245"/>
                <a:gd name="T34" fmla="*/ 0 w 287"/>
                <a:gd name="T35" fmla="*/ 0 h 245"/>
                <a:gd name="T36" fmla="*/ 0 w 287"/>
                <a:gd name="T37" fmla="*/ 0 h 245"/>
                <a:gd name="T38" fmla="*/ 0 w 287"/>
                <a:gd name="T39" fmla="*/ 0 h 245"/>
                <a:gd name="T40" fmla="*/ 0 w 287"/>
                <a:gd name="T41" fmla="*/ 0 h 245"/>
                <a:gd name="T42" fmla="*/ 0 w 287"/>
                <a:gd name="T43" fmla="*/ 0 h 245"/>
                <a:gd name="T44" fmla="*/ 0 w 287"/>
                <a:gd name="T45" fmla="*/ 0 h 2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87"/>
                <a:gd name="T70" fmla="*/ 0 h 245"/>
                <a:gd name="T71" fmla="*/ 287 w 287"/>
                <a:gd name="T72" fmla="*/ 245 h 245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87" h="245">
                  <a:moveTo>
                    <a:pt x="287" y="26"/>
                  </a:moveTo>
                  <a:lnTo>
                    <a:pt x="267" y="48"/>
                  </a:lnTo>
                  <a:lnTo>
                    <a:pt x="259" y="106"/>
                  </a:lnTo>
                  <a:lnTo>
                    <a:pt x="267" y="144"/>
                  </a:lnTo>
                  <a:lnTo>
                    <a:pt x="276" y="153"/>
                  </a:lnTo>
                  <a:lnTo>
                    <a:pt x="270" y="204"/>
                  </a:lnTo>
                  <a:lnTo>
                    <a:pt x="233" y="232"/>
                  </a:lnTo>
                  <a:lnTo>
                    <a:pt x="173" y="245"/>
                  </a:lnTo>
                  <a:lnTo>
                    <a:pt x="3" y="245"/>
                  </a:lnTo>
                  <a:lnTo>
                    <a:pt x="0" y="232"/>
                  </a:lnTo>
                  <a:lnTo>
                    <a:pt x="102" y="194"/>
                  </a:lnTo>
                  <a:lnTo>
                    <a:pt x="118" y="156"/>
                  </a:lnTo>
                  <a:lnTo>
                    <a:pt x="128" y="85"/>
                  </a:lnTo>
                  <a:lnTo>
                    <a:pt x="123" y="72"/>
                  </a:lnTo>
                  <a:lnTo>
                    <a:pt x="111" y="65"/>
                  </a:lnTo>
                  <a:lnTo>
                    <a:pt x="77" y="60"/>
                  </a:lnTo>
                  <a:lnTo>
                    <a:pt x="72" y="34"/>
                  </a:lnTo>
                  <a:lnTo>
                    <a:pt x="85" y="34"/>
                  </a:lnTo>
                  <a:lnTo>
                    <a:pt x="111" y="23"/>
                  </a:lnTo>
                  <a:lnTo>
                    <a:pt x="207" y="18"/>
                  </a:lnTo>
                  <a:lnTo>
                    <a:pt x="276" y="0"/>
                  </a:lnTo>
                  <a:lnTo>
                    <a:pt x="287" y="0"/>
                  </a:lnTo>
                  <a:lnTo>
                    <a:pt x="287" y="26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06" name="Freeform 331">
              <a:extLst>
                <a:ext uri="{FF2B5EF4-FFF2-40B4-BE49-F238E27FC236}">
                  <a16:creationId xmlns:a16="http://schemas.microsoft.com/office/drawing/2014/main" id="{220115D5-4462-1FDE-BA8C-94B6F427EBD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591369" y="3682535"/>
              <a:ext cx="2985" cy="6097"/>
            </a:xfrm>
            <a:custGeom>
              <a:avLst/>
              <a:gdLst>
                <a:gd name="T0" fmla="*/ 0 w 68"/>
                <a:gd name="T1" fmla="*/ 0 h 42"/>
                <a:gd name="T2" fmla="*/ 0 w 68"/>
                <a:gd name="T3" fmla="*/ 0 h 42"/>
                <a:gd name="T4" fmla="*/ 0 w 68"/>
                <a:gd name="T5" fmla="*/ 0 h 42"/>
                <a:gd name="T6" fmla="*/ 0 w 68"/>
                <a:gd name="T7" fmla="*/ 0 h 42"/>
                <a:gd name="T8" fmla="*/ 0 w 68"/>
                <a:gd name="T9" fmla="*/ 0 h 42"/>
                <a:gd name="T10" fmla="*/ 0 w 68"/>
                <a:gd name="T11" fmla="*/ 0 h 42"/>
                <a:gd name="T12" fmla="*/ 0 w 68"/>
                <a:gd name="T13" fmla="*/ 0 h 42"/>
                <a:gd name="T14" fmla="*/ 0 w 68"/>
                <a:gd name="T15" fmla="*/ 0 h 42"/>
                <a:gd name="T16" fmla="*/ 0 w 68"/>
                <a:gd name="T17" fmla="*/ 0 h 42"/>
                <a:gd name="T18" fmla="*/ 0 w 68"/>
                <a:gd name="T19" fmla="*/ 0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8"/>
                <a:gd name="T31" fmla="*/ 0 h 42"/>
                <a:gd name="T32" fmla="*/ 68 w 68"/>
                <a:gd name="T33" fmla="*/ 42 h 4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8" h="42">
                  <a:moveTo>
                    <a:pt x="26" y="0"/>
                  </a:moveTo>
                  <a:lnTo>
                    <a:pt x="39" y="0"/>
                  </a:lnTo>
                  <a:lnTo>
                    <a:pt x="68" y="20"/>
                  </a:lnTo>
                  <a:lnTo>
                    <a:pt x="63" y="42"/>
                  </a:lnTo>
                  <a:lnTo>
                    <a:pt x="14" y="42"/>
                  </a:lnTo>
                  <a:lnTo>
                    <a:pt x="5" y="34"/>
                  </a:lnTo>
                  <a:lnTo>
                    <a:pt x="0" y="20"/>
                  </a:lnTo>
                  <a:lnTo>
                    <a:pt x="5" y="9"/>
                  </a:lnTo>
                  <a:lnTo>
                    <a:pt x="17" y="9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07" name="Freeform 333">
              <a:extLst>
                <a:ext uri="{FF2B5EF4-FFF2-40B4-BE49-F238E27FC236}">
                  <a16:creationId xmlns:a16="http://schemas.microsoft.com/office/drawing/2014/main" id="{3CEE21F2-729C-1CE5-4377-FB07E788220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597338" y="3725212"/>
              <a:ext cx="7461" cy="12193"/>
            </a:xfrm>
            <a:custGeom>
              <a:avLst/>
              <a:gdLst>
                <a:gd name="T0" fmla="*/ 0 w 147"/>
                <a:gd name="T1" fmla="*/ 0 h 83"/>
                <a:gd name="T2" fmla="*/ 0 w 147"/>
                <a:gd name="T3" fmla="*/ 0 h 83"/>
                <a:gd name="T4" fmla="*/ 0 w 147"/>
                <a:gd name="T5" fmla="*/ 0 h 83"/>
                <a:gd name="T6" fmla="*/ 0 w 147"/>
                <a:gd name="T7" fmla="*/ 0 h 83"/>
                <a:gd name="T8" fmla="*/ 0 w 147"/>
                <a:gd name="T9" fmla="*/ 0 h 83"/>
                <a:gd name="T10" fmla="*/ 0 w 147"/>
                <a:gd name="T11" fmla="*/ 0 h 83"/>
                <a:gd name="T12" fmla="*/ 0 w 147"/>
                <a:gd name="T13" fmla="*/ 0 h 83"/>
                <a:gd name="T14" fmla="*/ 0 w 147"/>
                <a:gd name="T15" fmla="*/ 0 h 8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7"/>
                <a:gd name="T25" fmla="*/ 0 h 83"/>
                <a:gd name="T26" fmla="*/ 147 w 147"/>
                <a:gd name="T27" fmla="*/ 83 h 8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7" h="83">
                  <a:moveTo>
                    <a:pt x="89" y="8"/>
                  </a:moveTo>
                  <a:lnTo>
                    <a:pt x="138" y="32"/>
                  </a:lnTo>
                  <a:lnTo>
                    <a:pt x="147" y="83"/>
                  </a:lnTo>
                  <a:lnTo>
                    <a:pt x="105" y="62"/>
                  </a:lnTo>
                  <a:lnTo>
                    <a:pt x="29" y="56"/>
                  </a:lnTo>
                  <a:lnTo>
                    <a:pt x="0" y="14"/>
                  </a:lnTo>
                  <a:lnTo>
                    <a:pt x="32" y="0"/>
                  </a:lnTo>
                  <a:lnTo>
                    <a:pt x="89" y="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08" name="Freeform 334">
              <a:extLst>
                <a:ext uri="{FF2B5EF4-FFF2-40B4-BE49-F238E27FC236}">
                  <a16:creationId xmlns:a16="http://schemas.microsoft.com/office/drawing/2014/main" id="{D40F0379-3C97-D761-9727-E33E48BD3B2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577937" y="3688631"/>
              <a:ext cx="47755" cy="79259"/>
            </a:xfrm>
            <a:custGeom>
              <a:avLst/>
              <a:gdLst>
                <a:gd name="T0" fmla="*/ 0 w 877"/>
                <a:gd name="T1" fmla="*/ 0 h 627"/>
                <a:gd name="T2" fmla="*/ 0 w 877"/>
                <a:gd name="T3" fmla="*/ 0 h 627"/>
                <a:gd name="T4" fmla="*/ 0 w 877"/>
                <a:gd name="T5" fmla="*/ 0 h 627"/>
                <a:gd name="T6" fmla="*/ 0 w 877"/>
                <a:gd name="T7" fmla="*/ 0 h 627"/>
                <a:gd name="T8" fmla="*/ 0 w 877"/>
                <a:gd name="T9" fmla="*/ 0 h 627"/>
                <a:gd name="T10" fmla="*/ 0 w 877"/>
                <a:gd name="T11" fmla="*/ 0 h 627"/>
                <a:gd name="T12" fmla="*/ 0 w 877"/>
                <a:gd name="T13" fmla="*/ 0 h 627"/>
                <a:gd name="T14" fmla="*/ 0 w 877"/>
                <a:gd name="T15" fmla="*/ 0 h 627"/>
                <a:gd name="T16" fmla="*/ 0 w 877"/>
                <a:gd name="T17" fmla="*/ 0 h 627"/>
                <a:gd name="T18" fmla="*/ 0 w 877"/>
                <a:gd name="T19" fmla="*/ 0 h 627"/>
                <a:gd name="T20" fmla="*/ 0 w 877"/>
                <a:gd name="T21" fmla="*/ 0 h 627"/>
                <a:gd name="T22" fmla="*/ 0 w 877"/>
                <a:gd name="T23" fmla="*/ 0 h 627"/>
                <a:gd name="T24" fmla="*/ 0 w 877"/>
                <a:gd name="T25" fmla="*/ 0 h 627"/>
                <a:gd name="T26" fmla="*/ 0 w 877"/>
                <a:gd name="T27" fmla="*/ 0 h 627"/>
                <a:gd name="T28" fmla="*/ 0 w 877"/>
                <a:gd name="T29" fmla="*/ 0 h 627"/>
                <a:gd name="T30" fmla="*/ 0 w 877"/>
                <a:gd name="T31" fmla="*/ 0 h 627"/>
                <a:gd name="T32" fmla="*/ 0 w 877"/>
                <a:gd name="T33" fmla="*/ 0 h 627"/>
                <a:gd name="T34" fmla="*/ 0 w 877"/>
                <a:gd name="T35" fmla="*/ 0 h 627"/>
                <a:gd name="T36" fmla="*/ 0 w 877"/>
                <a:gd name="T37" fmla="*/ 0 h 627"/>
                <a:gd name="T38" fmla="*/ 0 w 877"/>
                <a:gd name="T39" fmla="*/ 0 h 627"/>
                <a:gd name="T40" fmla="*/ 0 w 877"/>
                <a:gd name="T41" fmla="*/ 0 h 627"/>
                <a:gd name="T42" fmla="*/ 0 w 877"/>
                <a:gd name="T43" fmla="*/ 0 h 627"/>
                <a:gd name="T44" fmla="*/ 0 w 877"/>
                <a:gd name="T45" fmla="*/ 0 h 627"/>
                <a:gd name="T46" fmla="*/ 0 w 877"/>
                <a:gd name="T47" fmla="*/ 0 h 627"/>
                <a:gd name="T48" fmla="*/ 0 w 877"/>
                <a:gd name="T49" fmla="*/ 0 h 627"/>
                <a:gd name="T50" fmla="*/ 0 w 877"/>
                <a:gd name="T51" fmla="*/ 0 h 627"/>
                <a:gd name="T52" fmla="*/ 0 w 877"/>
                <a:gd name="T53" fmla="*/ 0 h 627"/>
                <a:gd name="T54" fmla="*/ 0 w 877"/>
                <a:gd name="T55" fmla="*/ 0 h 627"/>
                <a:gd name="T56" fmla="*/ 0 w 877"/>
                <a:gd name="T57" fmla="*/ 0 h 627"/>
                <a:gd name="T58" fmla="*/ 0 w 877"/>
                <a:gd name="T59" fmla="*/ 0 h 627"/>
                <a:gd name="T60" fmla="*/ 0 w 877"/>
                <a:gd name="T61" fmla="*/ 0 h 627"/>
                <a:gd name="T62" fmla="*/ 0 w 877"/>
                <a:gd name="T63" fmla="*/ 0 h 627"/>
                <a:gd name="T64" fmla="*/ 0 w 877"/>
                <a:gd name="T65" fmla="*/ 0 h 627"/>
                <a:gd name="T66" fmla="*/ 0 w 877"/>
                <a:gd name="T67" fmla="*/ 0 h 627"/>
                <a:gd name="T68" fmla="*/ 0 w 877"/>
                <a:gd name="T69" fmla="*/ 0 h 627"/>
                <a:gd name="T70" fmla="*/ 0 w 877"/>
                <a:gd name="T71" fmla="*/ 0 h 627"/>
                <a:gd name="T72" fmla="*/ 0 w 877"/>
                <a:gd name="T73" fmla="*/ 0 h 627"/>
                <a:gd name="T74" fmla="*/ 0 w 877"/>
                <a:gd name="T75" fmla="*/ 0 h 627"/>
                <a:gd name="T76" fmla="*/ 0 w 877"/>
                <a:gd name="T77" fmla="*/ 0 h 627"/>
                <a:gd name="T78" fmla="*/ 0 w 877"/>
                <a:gd name="T79" fmla="*/ 0 h 627"/>
                <a:gd name="T80" fmla="*/ 0 w 877"/>
                <a:gd name="T81" fmla="*/ 0 h 627"/>
                <a:gd name="T82" fmla="*/ 0 w 877"/>
                <a:gd name="T83" fmla="*/ 0 h 627"/>
                <a:gd name="T84" fmla="*/ 0 w 877"/>
                <a:gd name="T85" fmla="*/ 0 h 627"/>
                <a:gd name="T86" fmla="*/ 0 w 877"/>
                <a:gd name="T87" fmla="*/ 0 h 627"/>
                <a:gd name="T88" fmla="*/ 0 w 877"/>
                <a:gd name="T89" fmla="*/ 0 h 627"/>
                <a:gd name="T90" fmla="*/ 0 w 877"/>
                <a:gd name="T91" fmla="*/ 0 h 627"/>
                <a:gd name="T92" fmla="*/ 0 w 877"/>
                <a:gd name="T93" fmla="*/ 0 h 627"/>
                <a:gd name="T94" fmla="*/ 0 w 877"/>
                <a:gd name="T95" fmla="*/ 0 h 627"/>
                <a:gd name="T96" fmla="*/ 0 w 877"/>
                <a:gd name="T97" fmla="*/ 0 h 627"/>
                <a:gd name="T98" fmla="*/ 0 w 877"/>
                <a:gd name="T99" fmla="*/ 0 h 627"/>
                <a:gd name="T100" fmla="*/ 0 w 877"/>
                <a:gd name="T101" fmla="*/ 0 h 627"/>
                <a:gd name="T102" fmla="*/ 0 w 877"/>
                <a:gd name="T103" fmla="*/ 0 h 627"/>
                <a:gd name="T104" fmla="*/ 0 w 877"/>
                <a:gd name="T105" fmla="*/ 0 h 627"/>
                <a:gd name="T106" fmla="*/ 0 w 877"/>
                <a:gd name="T107" fmla="*/ 0 h 627"/>
                <a:gd name="T108" fmla="*/ 0 w 877"/>
                <a:gd name="T109" fmla="*/ 0 h 627"/>
                <a:gd name="T110" fmla="*/ 0 w 877"/>
                <a:gd name="T111" fmla="*/ 0 h 627"/>
                <a:gd name="T112" fmla="*/ 0 w 877"/>
                <a:gd name="T113" fmla="*/ 0 h 627"/>
                <a:gd name="T114" fmla="*/ 0 w 877"/>
                <a:gd name="T115" fmla="*/ 0 h 627"/>
                <a:gd name="T116" fmla="*/ 0 w 877"/>
                <a:gd name="T117" fmla="*/ 0 h 627"/>
                <a:gd name="T118" fmla="*/ 0 w 877"/>
                <a:gd name="T119" fmla="*/ 0 h 627"/>
                <a:gd name="T120" fmla="*/ 0 w 877"/>
                <a:gd name="T121" fmla="*/ 0 h 627"/>
                <a:gd name="T122" fmla="*/ 0 w 877"/>
                <a:gd name="T123" fmla="*/ 0 h 627"/>
                <a:gd name="T124" fmla="*/ 0 w 877"/>
                <a:gd name="T125" fmla="*/ 0 h 627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877"/>
                <a:gd name="T190" fmla="*/ 0 h 627"/>
                <a:gd name="T191" fmla="*/ 877 w 877"/>
                <a:gd name="T192" fmla="*/ 627 h 627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877" h="627">
                  <a:moveTo>
                    <a:pt x="826" y="627"/>
                  </a:moveTo>
                  <a:lnTo>
                    <a:pt x="835" y="614"/>
                  </a:lnTo>
                  <a:lnTo>
                    <a:pt x="843" y="539"/>
                  </a:lnTo>
                  <a:lnTo>
                    <a:pt x="835" y="504"/>
                  </a:lnTo>
                  <a:lnTo>
                    <a:pt x="801" y="466"/>
                  </a:lnTo>
                  <a:lnTo>
                    <a:pt x="801" y="442"/>
                  </a:lnTo>
                  <a:lnTo>
                    <a:pt x="809" y="425"/>
                  </a:lnTo>
                  <a:lnTo>
                    <a:pt x="852" y="392"/>
                  </a:lnTo>
                  <a:lnTo>
                    <a:pt x="847" y="298"/>
                  </a:lnTo>
                  <a:lnTo>
                    <a:pt x="868" y="277"/>
                  </a:lnTo>
                  <a:lnTo>
                    <a:pt x="877" y="243"/>
                  </a:lnTo>
                  <a:lnTo>
                    <a:pt x="852" y="214"/>
                  </a:lnTo>
                  <a:lnTo>
                    <a:pt x="860" y="135"/>
                  </a:lnTo>
                  <a:lnTo>
                    <a:pt x="847" y="88"/>
                  </a:lnTo>
                  <a:lnTo>
                    <a:pt x="813" y="46"/>
                  </a:lnTo>
                  <a:lnTo>
                    <a:pt x="818" y="37"/>
                  </a:lnTo>
                  <a:lnTo>
                    <a:pt x="809" y="37"/>
                  </a:lnTo>
                  <a:lnTo>
                    <a:pt x="775" y="63"/>
                  </a:lnTo>
                  <a:lnTo>
                    <a:pt x="639" y="67"/>
                  </a:lnTo>
                  <a:lnTo>
                    <a:pt x="606" y="59"/>
                  </a:lnTo>
                  <a:lnTo>
                    <a:pt x="564" y="29"/>
                  </a:lnTo>
                  <a:lnTo>
                    <a:pt x="513" y="8"/>
                  </a:lnTo>
                  <a:lnTo>
                    <a:pt x="445" y="0"/>
                  </a:lnTo>
                  <a:lnTo>
                    <a:pt x="356" y="17"/>
                  </a:lnTo>
                  <a:lnTo>
                    <a:pt x="317" y="37"/>
                  </a:lnTo>
                  <a:lnTo>
                    <a:pt x="300" y="63"/>
                  </a:lnTo>
                  <a:lnTo>
                    <a:pt x="305" y="101"/>
                  </a:lnTo>
                  <a:lnTo>
                    <a:pt x="326" y="109"/>
                  </a:lnTo>
                  <a:lnTo>
                    <a:pt x="445" y="109"/>
                  </a:lnTo>
                  <a:lnTo>
                    <a:pt x="492" y="135"/>
                  </a:lnTo>
                  <a:lnTo>
                    <a:pt x="504" y="172"/>
                  </a:lnTo>
                  <a:lnTo>
                    <a:pt x="504" y="298"/>
                  </a:lnTo>
                  <a:lnTo>
                    <a:pt x="513" y="327"/>
                  </a:lnTo>
                  <a:lnTo>
                    <a:pt x="584" y="387"/>
                  </a:lnTo>
                  <a:lnTo>
                    <a:pt x="631" y="412"/>
                  </a:lnTo>
                  <a:lnTo>
                    <a:pt x="635" y="442"/>
                  </a:lnTo>
                  <a:lnTo>
                    <a:pt x="618" y="459"/>
                  </a:lnTo>
                  <a:lnTo>
                    <a:pt x="581" y="459"/>
                  </a:lnTo>
                  <a:lnTo>
                    <a:pt x="516" y="476"/>
                  </a:lnTo>
                  <a:lnTo>
                    <a:pt x="377" y="479"/>
                  </a:lnTo>
                  <a:lnTo>
                    <a:pt x="262" y="466"/>
                  </a:lnTo>
                  <a:lnTo>
                    <a:pt x="186" y="445"/>
                  </a:lnTo>
                  <a:lnTo>
                    <a:pt x="8" y="445"/>
                  </a:lnTo>
                  <a:lnTo>
                    <a:pt x="0" y="459"/>
                  </a:lnTo>
                  <a:lnTo>
                    <a:pt x="0" y="491"/>
                  </a:lnTo>
                  <a:lnTo>
                    <a:pt x="42" y="550"/>
                  </a:lnTo>
                  <a:lnTo>
                    <a:pt x="131" y="589"/>
                  </a:lnTo>
                  <a:lnTo>
                    <a:pt x="164" y="623"/>
                  </a:lnTo>
                  <a:lnTo>
                    <a:pt x="186" y="614"/>
                  </a:lnTo>
                  <a:lnTo>
                    <a:pt x="181" y="584"/>
                  </a:lnTo>
                  <a:lnTo>
                    <a:pt x="198" y="567"/>
                  </a:lnTo>
                  <a:lnTo>
                    <a:pt x="224" y="555"/>
                  </a:lnTo>
                  <a:lnTo>
                    <a:pt x="249" y="555"/>
                  </a:lnTo>
                  <a:lnTo>
                    <a:pt x="339" y="559"/>
                  </a:lnTo>
                  <a:lnTo>
                    <a:pt x="504" y="601"/>
                  </a:lnTo>
                  <a:lnTo>
                    <a:pt x="547" y="597"/>
                  </a:lnTo>
                  <a:lnTo>
                    <a:pt x="648" y="567"/>
                  </a:lnTo>
                  <a:lnTo>
                    <a:pt x="690" y="567"/>
                  </a:lnTo>
                  <a:lnTo>
                    <a:pt x="729" y="575"/>
                  </a:lnTo>
                  <a:lnTo>
                    <a:pt x="758" y="592"/>
                  </a:lnTo>
                  <a:lnTo>
                    <a:pt x="787" y="601"/>
                  </a:lnTo>
                  <a:lnTo>
                    <a:pt x="821" y="617"/>
                  </a:lnTo>
                  <a:lnTo>
                    <a:pt x="826" y="627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09" name="Freeform 335">
              <a:extLst>
                <a:ext uri="{FF2B5EF4-FFF2-40B4-BE49-F238E27FC236}">
                  <a16:creationId xmlns:a16="http://schemas.microsoft.com/office/drawing/2014/main" id="{D418DC0E-EFEE-725E-182F-D51817746A62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709264" y="3705397"/>
              <a:ext cx="25370" cy="21339"/>
            </a:xfrm>
            <a:custGeom>
              <a:avLst/>
              <a:gdLst>
                <a:gd name="T0" fmla="*/ 0 w 471"/>
                <a:gd name="T1" fmla="*/ 0 h 180"/>
                <a:gd name="T2" fmla="*/ 0 w 471"/>
                <a:gd name="T3" fmla="*/ 0 h 180"/>
                <a:gd name="T4" fmla="*/ 0 w 471"/>
                <a:gd name="T5" fmla="*/ 0 h 180"/>
                <a:gd name="T6" fmla="*/ 0 w 471"/>
                <a:gd name="T7" fmla="*/ 0 h 180"/>
                <a:gd name="T8" fmla="*/ 0 w 471"/>
                <a:gd name="T9" fmla="*/ 0 h 180"/>
                <a:gd name="T10" fmla="*/ 0 w 471"/>
                <a:gd name="T11" fmla="*/ 0 h 180"/>
                <a:gd name="T12" fmla="*/ 0 w 471"/>
                <a:gd name="T13" fmla="*/ 0 h 180"/>
                <a:gd name="T14" fmla="*/ 0 w 471"/>
                <a:gd name="T15" fmla="*/ 0 h 180"/>
                <a:gd name="T16" fmla="*/ 0 w 471"/>
                <a:gd name="T17" fmla="*/ 0 h 180"/>
                <a:gd name="T18" fmla="*/ 0 w 471"/>
                <a:gd name="T19" fmla="*/ 0 h 180"/>
                <a:gd name="T20" fmla="*/ 0 w 471"/>
                <a:gd name="T21" fmla="*/ 0 h 180"/>
                <a:gd name="T22" fmla="*/ 0 w 471"/>
                <a:gd name="T23" fmla="*/ 0 h 180"/>
                <a:gd name="T24" fmla="*/ 0 w 471"/>
                <a:gd name="T25" fmla="*/ 0 h 180"/>
                <a:gd name="T26" fmla="*/ 0 w 471"/>
                <a:gd name="T27" fmla="*/ 0 h 180"/>
                <a:gd name="T28" fmla="*/ 0 w 471"/>
                <a:gd name="T29" fmla="*/ 0 h 180"/>
                <a:gd name="T30" fmla="*/ 0 w 471"/>
                <a:gd name="T31" fmla="*/ 0 h 180"/>
                <a:gd name="T32" fmla="*/ 0 w 471"/>
                <a:gd name="T33" fmla="*/ 0 h 180"/>
                <a:gd name="T34" fmla="*/ 0 w 471"/>
                <a:gd name="T35" fmla="*/ 0 h 18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71"/>
                <a:gd name="T55" fmla="*/ 0 h 180"/>
                <a:gd name="T56" fmla="*/ 471 w 471"/>
                <a:gd name="T57" fmla="*/ 180 h 18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71" h="180">
                  <a:moveTo>
                    <a:pt x="442" y="20"/>
                  </a:moveTo>
                  <a:lnTo>
                    <a:pt x="462" y="54"/>
                  </a:lnTo>
                  <a:lnTo>
                    <a:pt x="471" y="99"/>
                  </a:lnTo>
                  <a:lnTo>
                    <a:pt x="425" y="141"/>
                  </a:lnTo>
                  <a:lnTo>
                    <a:pt x="393" y="159"/>
                  </a:lnTo>
                  <a:lnTo>
                    <a:pt x="292" y="180"/>
                  </a:lnTo>
                  <a:lnTo>
                    <a:pt x="224" y="180"/>
                  </a:lnTo>
                  <a:lnTo>
                    <a:pt x="156" y="172"/>
                  </a:lnTo>
                  <a:lnTo>
                    <a:pt x="51" y="176"/>
                  </a:lnTo>
                  <a:lnTo>
                    <a:pt x="42" y="172"/>
                  </a:lnTo>
                  <a:lnTo>
                    <a:pt x="30" y="113"/>
                  </a:lnTo>
                  <a:lnTo>
                    <a:pt x="0" y="66"/>
                  </a:lnTo>
                  <a:lnTo>
                    <a:pt x="0" y="23"/>
                  </a:lnTo>
                  <a:lnTo>
                    <a:pt x="30" y="0"/>
                  </a:lnTo>
                  <a:lnTo>
                    <a:pt x="385" y="0"/>
                  </a:lnTo>
                  <a:lnTo>
                    <a:pt x="416" y="3"/>
                  </a:lnTo>
                  <a:lnTo>
                    <a:pt x="437" y="11"/>
                  </a:lnTo>
                  <a:lnTo>
                    <a:pt x="442" y="2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10" name="Freeform 336">
              <a:extLst>
                <a:ext uri="{FF2B5EF4-FFF2-40B4-BE49-F238E27FC236}">
                  <a16:creationId xmlns:a16="http://schemas.microsoft.com/office/drawing/2014/main" id="{71752832-FDC6-3B92-11BD-AD5252BD609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871929" y="3870012"/>
              <a:ext cx="0" cy="7622"/>
            </a:xfrm>
            <a:custGeom>
              <a:avLst/>
              <a:gdLst>
                <a:gd name="T0" fmla="*/ 0 w 14"/>
                <a:gd name="T1" fmla="*/ 0 h 76"/>
                <a:gd name="T2" fmla="*/ 0 w 14"/>
                <a:gd name="T3" fmla="*/ 0 h 76"/>
                <a:gd name="T4" fmla="*/ 0 w 14"/>
                <a:gd name="T5" fmla="*/ 0 h 76"/>
                <a:gd name="T6" fmla="*/ 0 w 14"/>
                <a:gd name="T7" fmla="*/ 0 h 76"/>
                <a:gd name="T8" fmla="*/ 0 w 14"/>
                <a:gd name="T9" fmla="*/ 0 h 7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76"/>
                <a:gd name="T17" fmla="*/ 0 w 14"/>
                <a:gd name="T18" fmla="*/ 76 h 7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76">
                  <a:moveTo>
                    <a:pt x="14" y="0"/>
                  </a:moveTo>
                  <a:lnTo>
                    <a:pt x="0" y="7"/>
                  </a:lnTo>
                  <a:lnTo>
                    <a:pt x="0" y="76"/>
                  </a:lnTo>
                  <a:lnTo>
                    <a:pt x="14" y="59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11" name="Freeform 337">
              <a:extLst>
                <a:ext uri="{FF2B5EF4-FFF2-40B4-BE49-F238E27FC236}">
                  <a16:creationId xmlns:a16="http://schemas.microsoft.com/office/drawing/2014/main" id="{7DB25277-FA6B-BDBF-2FF3-EECB0EE83A3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825666" y="3749600"/>
              <a:ext cx="8954" cy="19815"/>
            </a:xfrm>
            <a:custGeom>
              <a:avLst/>
              <a:gdLst>
                <a:gd name="T0" fmla="*/ 0 w 173"/>
                <a:gd name="T1" fmla="*/ 0 h 163"/>
                <a:gd name="T2" fmla="*/ 0 w 173"/>
                <a:gd name="T3" fmla="*/ 0 h 163"/>
                <a:gd name="T4" fmla="*/ 0 w 173"/>
                <a:gd name="T5" fmla="*/ 0 h 163"/>
                <a:gd name="T6" fmla="*/ 0 w 173"/>
                <a:gd name="T7" fmla="*/ 0 h 163"/>
                <a:gd name="T8" fmla="*/ 0 w 173"/>
                <a:gd name="T9" fmla="*/ 0 h 163"/>
                <a:gd name="T10" fmla="*/ 0 w 173"/>
                <a:gd name="T11" fmla="*/ 0 h 163"/>
                <a:gd name="T12" fmla="*/ 0 w 173"/>
                <a:gd name="T13" fmla="*/ 0 h 163"/>
                <a:gd name="T14" fmla="*/ 0 w 173"/>
                <a:gd name="T15" fmla="*/ 0 h 163"/>
                <a:gd name="T16" fmla="*/ 0 w 173"/>
                <a:gd name="T17" fmla="*/ 0 h 163"/>
                <a:gd name="T18" fmla="*/ 0 w 173"/>
                <a:gd name="T19" fmla="*/ 0 h 163"/>
                <a:gd name="T20" fmla="*/ 0 w 173"/>
                <a:gd name="T21" fmla="*/ 0 h 163"/>
                <a:gd name="T22" fmla="*/ 0 w 173"/>
                <a:gd name="T23" fmla="*/ 0 h 163"/>
                <a:gd name="T24" fmla="*/ 0 w 173"/>
                <a:gd name="T25" fmla="*/ 0 h 163"/>
                <a:gd name="T26" fmla="*/ 0 w 173"/>
                <a:gd name="T27" fmla="*/ 0 h 16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73"/>
                <a:gd name="T43" fmla="*/ 0 h 163"/>
                <a:gd name="T44" fmla="*/ 173 w 173"/>
                <a:gd name="T45" fmla="*/ 163 h 16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73" h="163">
                  <a:moveTo>
                    <a:pt x="122" y="0"/>
                  </a:moveTo>
                  <a:lnTo>
                    <a:pt x="98" y="4"/>
                  </a:lnTo>
                  <a:lnTo>
                    <a:pt x="81" y="52"/>
                  </a:lnTo>
                  <a:lnTo>
                    <a:pt x="17" y="45"/>
                  </a:lnTo>
                  <a:lnTo>
                    <a:pt x="0" y="104"/>
                  </a:lnTo>
                  <a:lnTo>
                    <a:pt x="8" y="160"/>
                  </a:lnTo>
                  <a:lnTo>
                    <a:pt x="53" y="163"/>
                  </a:lnTo>
                  <a:lnTo>
                    <a:pt x="70" y="104"/>
                  </a:lnTo>
                  <a:lnTo>
                    <a:pt x="83" y="93"/>
                  </a:lnTo>
                  <a:lnTo>
                    <a:pt x="132" y="91"/>
                  </a:lnTo>
                  <a:lnTo>
                    <a:pt x="173" y="74"/>
                  </a:lnTo>
                  <a:lnTo>
                    <a:pt x="166" y="52"/>
                  </a:lnTo>
                  <a:lnTo>
                    <a:pt x="135" y="38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12" name="Freeform 338">
              <a:extLst>
                <a:ext uri="{FF2B5EF4-FFF2-40B4-BE49-F238E27FC236}">
                  <a16:creationId xmlns:a16="http://schemas.microsoft.com/office/drawing/2014/main" id="{021B3F1E-34CD-59FD-2684-C34417B0483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749557" y="3699301"/>
              <a:ext cx="0" cy="3049"/>
            </a:xfrm>
            <a:custGeom>
              <a:avLst/>
              <a:gdLst>
                <a:gd name="T0" fmla="*/ 0 w 28"/>
                <a:gd name="T1" fmla="*/ 0 h 39"/>
                <a:gd name="T2" fmla="*/ 0 w 28"/>
                <a:gd name="T3" fmla="*/ 0 h 39"/>
                <a:gd name="T4" fmla="*/ 0 w 28"/>
                <a:gd name="T5" fmla="*/ 0 h 39"/>
                <a:gd name="T6" fmla="*/ 0 w 28"/>
                <a:gd name="T7" fmla="*/ 0 h 39"/>
                <a:gd name="T8" fmla="*/ 0 w 28"/>
                <a:gd name="T9" fmla="*/ 0 h 3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8"/>
                <a:gd name="T16" fmla="*/ 0 h 39"/>
                <a:gd name="T17" fmla="*/ 0 w 28"/>
                <a:gd name="T18" fmla="*/ 39 h 3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8" h="39">
                  <a:moveTo>
                    <a:pt x="28" y="0"/>
                  </a:moveTo>
                  <a:lnTo>
                    <a:pt x="0" y="21"/>
                  </a:lnTo>
                  <a:lnTo>
                    <a:pt x="3" y="39"/>
                  </a:lnTo>
                  <a:lnTo>
                    <a:pt x="28" y="32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13" name="Freeform 339">
              <a:extLst>
                <a:ext uri="{FF2B5EF4-FFF2-40B4-BE49-F238E27FC236}">
                  <a16:creationId xmlns:a16="http://schemas.microsoft.com/office/drawing/2014/main" id="{20F93EF1-09D8-1B56-1035-724C68AF3B3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754034" y="3723688"/>
              <a:ext cx="2985" cy="3049"/>
            </a:xfrm>
            <a:custGeom>
              <a:avLst/>
              <a:gdLst>
                <a:gd name="T0" fmla="*/ 0 w 42"/>
                <a:gd name="T1" fmla="*/ 0 h 34"/>
                <a:gd name="T2" fmla="*/ 0 w 42"/>
                <a:gd name="T3" fmla="*/ 0 h 34"/>
                <a:gd name="T4" fmla="*/ 0 w 42"/>
                <a:gd name="T5" fmla="*/ 0 h 34"/>
                <a:gd name="T6" fmla="*/ 0 w 42"/>
                <a:gd name="T7" fmla="*/ 0 h 34"/>
                <a:gd name="T8" fmla="*/ 0 w 42"/>
                <a:gd name="T9" fmla="*/ 0 h 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2"/>
                <a:gd name="T16" fmla="*/ 0 h 34"/>
                <a:gd name="T17" fmla="*/ 42 w 42"/>
                <a:gd name="T18" fmla="*/ 34 h 3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2" h="34">
                  <a:moveTo>
                    <a:pt x="6" y="8"/>
                  </a:moveTo>
                  <a:lnTo>
                    <a:pt x="0" y="17"/>
                  </a:lnTo>
                  <a:lnTo>
                    <a:pt x="6" y="34"/>
                  </a:lnTo>
                  <a:lnTo>
                    <a:pt x="42" y="0"/>
                  </a:lnTo>
                  <a:lnTo>
                    <a:pt x="6" y="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14" name="Freeform 340">
              <a:extLst>
                <a:ext uri="{FF2B5EF4-FFF2-40B4-BE49-F238E27FC236}">
                  <a16:creationId xmlns:a16="http://schemas.microsoft.com/office/drawing/2014/main" id="{BA2022D9-DE39-10C3-9CE2-16DB26EEAAC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839098" y="3783133"/>
              <a:ext cx="5969" cy="12193"/>
            </a:xfrm>
            <a:custGeom>
              <a:avLst/>
              <a:gdLst>
                <a:gd name="T0" fmla="*/ 0 w 52"/>
                <a:gd name="T1" fmla="*/ 0 h 124"/>
                <a:gd name="T2" fmla="*/ 0 w 52"/>
                <a:gd name="T3" fmla="*/ 0 h 124"/>
                <a:gd name="T4" fmla="*/ 0 w 52"/>
                <a:gd name="T5" fmla="*/ 0 h 124"/>
                <a:gd name="T6" fmla="*/ 0 w 52"/>
                <a:gd name="T7" fmla="*/ 0 h 124"/>
                <a:gd name="T8" fmla="*/ 0 w 52"/>
                <a:gd name="T9" fmla="*/ 0 h 124"/>
                <a:gd name="T10" fmla="*/ 0 w 52"/>
                <a:gd name="T11" fmla="*/ 0 h 124"/>
                <a:gd name="T12" fmla="*/ 0 w 52"/>
                <a:gd name="T13" fmla="*/ 0 h 124"/>
                <a:gd name="T14" fmla="*/ 0 w 52"/>
                <a:gd name="T15" fmla="*/ 0 h 12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2"/>
                <a:gd name="T25" fmla="*/ 0 h 124"/>
                <a:gd name="T26" fmla="*/ 52 w 52"/>
                <a:gd name="T27" fmla="*/ 124 h 12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2" h="124">
                  <a:moveTo>
                    <a:pt x="18" y="0"/>
                  </a:moveTo>
                  <a:lnTo>
                    <a:pt x="0" y="0"/>
                  </a:lnTo>
                  <a:lnTo>
                    <a:pt x="0" y="86"/>
                  </a:lnTo>
                  <a:lnTo>
                    <a:pt x="14" y="124"/>
                  </a:lnTo>
                  <a:lnTo>
                    <a:pt x="42" y="124"/>
                  </a:lnTo>
                  <a:lnTo>
                    <a:pt x="52" y="90"/>
                  </a:lnTo>
                  <a:lnTo>
                    <a:pt x="49" y="2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15" name="Freeform 341">
              <a:extLst>
                <a:ext uri="{FF2B5EF4-FFF2-40B4-BE49-F238E27FC236}">
                  <a16:creationId xmlns:a16="http://schemas.microsoft.com/office/drawing/2014/main" id="{4C0CCB47-ACA5-5095-8B39-BD641D073CE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871929" y="3914216"/>
              <a:ext cx="2985" cy="10669"/>
            </a:xfrm>
            <a:custGeom>
              <a:avLst/>
              <a:gdLst>
                <a:gd name="T0" fmla="*/ 0 w 49"/>
                <a:gd name="T1" fmla="*/ 0 h 62"/>
                <a:gd name="T2" fmla="*/ 0 w 49"/>
                <a:gd name="T3" fmla="*/ 0 h 62"/>
                <a:gd name="T4" fmla="*/ 0 w 49"/>
                <a:gd name="T5" fmla="*/ 0 h 62"/>
                <a:gd name="T6" fmla="*/ 0 w 49"/>
                <a:gd name="T7" fmla="*/ 0 h 62"/>
                <a:gd name="T8" fmla="*/ 0 w 49"/>
                <a:gd name="T9" fmla="*/ 0 h 6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9"/>
                <a:gd name="T16" fmla="*/ 0 h 62"/>
                <a:gd name="T17" fmla="*/ 49 w 49"/>
                <a:gd name="T18" fmla="*/ 62 h 6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9" h="62">
                  <a:moveTo>
                    <a:pt x="49" y="0"/>
                  </a:moveTo>
                  <a:lnTo>
                    <a:pt x="17" y="14"/>
                  </a:lnTo>
                  <a:lnTo>
                    <a:pt x="0" y="62"/>
                  </a:lnTo>
                  <a:lnTo>
                    <a:pt x="38" y="41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16" name="Freeform 342">
              <a:extLst>
                <a:ext uri="{FF2B5EF4-FFF2-40B4-BE49-F238E27FC236}">
                  <a16:creationId xmlns:a16="http://schemas.microsoft.com/office/drawing/2014/main" id="{D3AB7557-9450-1D82-D5BC-71FED6BBA73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358564" y="3603275"/>
              <a:ext cx="198481" cy="138704"/>
            </a:xfrm>
            <a:custGeom>
              <a:avLst/>
              <a:gdLst>
                <a:gd name="T0" fmla="*/ 0 w 3347"/>
                <a:gd name="T1" fmla="*/ 0 h 1123"/>
                <a:gd name="T2" fmla="*/ 0 w 3347"/>
                <a:gd name="T3" fmla="*/ 0 h 1123"/>
                <a:gd name="T4" fmla="*/ 0 w 3347"/>
                <a:gd name="T5" fmla="*/ 0 h 1123"/>
                <a:gd name="T6" fmla="*/ 0 w 3347"/>
                <a:gd name="T7" fmla="*/ 0 h 1123"/>
                <a:gd name="T8" fmla="*/ 0 w 3347"/>
                <a:gd name="T9" fmla="*/ 0 h 1123"/>
                <a:gd name="T10" fmla="*/ 0 w 3347"/>
                <a:gd name="T11" fmla="*/ 0 h 1123"/>
                <a:gd name="T12" fmla="*/ 0 w 3347"/>
                <a:gd name="T13" fmla="*/ 0 h 1123"/>
                <a:gd name="T14" fmla="*/ 0 w 3347"/>
                <a:gd name="T15" fmla="*/ 0 h 1123"/>
                <a:gd name="T16" fmla="*/ 0 w 3347"/>
                <a:gd name="T17" fmla="*/ 0 h 1123"/>
                <a:gd name="T18" fmla="*/ 0 w 3347"/>
                <a:gd name="T19" fmla="*/ 0 h 1123"/>
                <a:gd name="T20" fmla="*/ 0 w 3347"/>
                <a:gd name="T21" fmla="*/ 0 h 1123"/>
                <a:gd name="T22" fmla="*/ 0 w 3347"/>
                <a:gd name="T23" fmla="*/ 0 h 1123"/>
                <a:gd name="T24" fmla="*/ 0 w 3347"/>
                <a:gd name="T25" fmla="*/ 0 h 1123"/>
                <a:gd name="T26" fmla="*/ 0 w 3347"/>
                <a:gd name="T27" fmla="*/ 0 h 1123"/>
                <a:gd name="T28" fmla="*/ 0 w 3347"/>
                <a:gd name="T29" fmla="*/ 0 h 1123"/>
                <a:gd name="T30" fmla="*/ 0 w 3347"/>
                <a:gd name="T31" fmla="*/ 0 h 1123"/>
                <a:gd name="T32" fmla="*/ 0 w 3347"/>
                <a:gd name="T33" fmla="*/ 0 h 1123"/>
                <a:gd name="T34" fmla="*/ 0 w 3347"/>
                <a:gd name="T35" fmla="*/ 0 h 1123"/>
                <a:gd name="T36" fmla="*/ 0 w 3347"/>
                <a:gd name="T37" fmla="*/ 0 h 1123"/>
                <a:gd name="T38" fmla="*/ 0 w 3347"/>
                <a:gd name="T39" fmla="*/ 0 h 1123"/>
                <a:gd name="T40" fmla="*/ 0 w 3347"/>
                <a:gd name="T41" fmla="*/ 0 h 1123"/>
                <a:gd name="T42" fmla="*/ 0 w 3347"/>
                <a:gd name="T43" fmla="*/ 0 h 1123"/>
                <a:gd name="T44" fmla="*/ 0 w 3347"/>
                <a:gd name="T45" fmla="*/ 0 h 1123"/>
                <a:gd name="T46" fmla="*/ 0 w 3347"/>
                <a:gd name="T47" fmla="*/ 0 h 1123"/>
                <a:gd name="T48" fmla="*/ 0 w 3347"/>
                <a:gd name="T49" fmla="*/ 0 h 1123"/>
                <a:gd name="T50" fmla="*/ 0 w 3347"/>
                <a:gd name="T51" fmla="*/ 0 h 1123"/>
                <a:gd name="T52" fmla="*/ 0 w 3347"/>
                <a:gd name="T53" fmla="*/ 0 h 1123"/>
                <a:gd name="T54" fmla="*/ 0 w 3347"/>
                <a:gd name="T55" fmla="*/ 0 h 1123"/>
                <a:gd name="T56" fmla="*/ 0 w 3347"/>
                <a:gd name="T57" fmla="*/ 0 h 1123"/>
                <a:gd name="T58" fmla="*/ 0 w 3347"/>
                <a:gd name="T59" fmla="*/ 0 h 1123"/>
                <a:gd name="T60" fmla="*/ 0 w 3347"/>
                <a:gd name="T61" fmla="*/ 0 h 1123"/>
                <a:gd name="T62" fmla="*/ 0 w 3347"/>
                <a:gd name="T63" fmla="*/ 0 h 1123"/>
                <a:gd name="T64" fmla="*/ 0 w 3347"/>
                <a:gd name="T65" fmla="*/ 0 h 1123"/>
                <a:gd name="T66" fmla="*/ 0 w 3347"/>
                <a:gd name="T67" fmla="*/ 0 h 1123"/>
                <a:gd name="T68" fmla="*/ 0 w 3347"/>
                <a:gd name="T69" fmla="*/ 0 h 1123"/>
                <a:gd name="T70" fmla="*/ 0 w 3347"/>
                <a:gd name="T71" fmla="*/ 0 h 1123"/>
                <a:gd name="T72" fmla="*/ 0 w 3347"/>
                <a:gd name="T73" fmla="*/ 0 h 1123"/>
                <a:gd name="T74" fmla="*/ 0 w 3347"/>
                <a:gd name="T75" fmla="*/ 0 h 1123"/>
                <a:gd name="T76" fmla="*/ 0 w 3347"/>
                <a:gd name="T77" fmla="*/ 0 h 1123"/>
                <a:gd name="T78" fmla="*/ 0 w 3347"/>
                <a:gd name="T79" fmla="*/ 0 h 1123"/>
                <a:gd name="T80" fmla="*/ 0 w 3347"/>
                <a:gd name="T81" fmla="*/ 0 h 1123"/>
                <a:gd name="T82" fmla="*/ 0 w 3347"/>
                <a:gd name="T83" fmla="*/ 0 h 1123"/>
                <a:gd name="T84" fmla="*/ 0 w 3347"/>
                <a:gd name="T85" fmla="*/ 0 h 1123"/>
                <a:gd name="T86" fmla="*/ 0 w 3347"/>
                <a:gd name="T87" fmla="*/ 0 h 1123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347"/>
                <a:gd name="T133" fmla="*/ 0 h 1123"/>
                <a:gd name="T134" fmla="*/ 3347 w 3347"/>
                <a:gd name="T135" fmla="*/ 1123 h 1123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347" h="1123">
                  <a:moveTo>
                    <a:pt x="2394" y="508"/>
                  </a:moveTo>
                  <a:lnTo>
                    <a:pt x="2399" y="517"/>
                  </a:lnTo>
                  <a:lnTo>
                    <a:pt x="2488" y="571"/>
                  </a:lnTo>
                  <a:lnTo>
                    <a:pt x="2559" y="627"/>
                  </a:lnTo>
                  <a:lnTo>
                    <a:pt x="2605" y="644"/>
                  </a:lnTo>
                  <a:lnTo>
                    <a:pt x="2639" y="644"/>
                  </a:lnTo>
                  <a:lnTo>
                    <a:pt x="2665" y="652"/>
                  </a:lnTo>
                  <a:lnTo>
                    <a:pt x="2687" y="669"/>
                  </a:lnTo>
                  <a:lnTo>
                    <a:pt x="2750" y="689"/>
                  </a:lnTo>
                  <a:lnTo>
                    <a:pt x="2793" y="689"/>
                  </a:lnTo>
                  <a:lnTo>
                    <a:pt x="2835" y="680"/>
                  </a:lnTo>
                  <a:lnTo>
                    <a:pt x="2869" y="689"/>
                  </a:lnTo>
                  <a:lnTo>
                    <a:pt x="2886" y="719"/>
                  </a:lnTo>
                  <a:lnTo>
                    <a:pt x="2886" y="744"/>
                  </a:lnTo>
                  <a:lnTo>
                    <a:pt x="2865" y="787"/>
                  </a:lnTo>
                  <a:lnTo>
                    <a:pt x="2865" y="803"/>
                  </a:lnTo>
                  <a:lnTo>
                    <a:pt x="2874" y="811"/>
                  </a:lnTo>
                  <a:lnTo>
                    <a:pt x="2916" y="820"/>
                  </a:lnTo>
                  <a:lnTo>
                    <a:pt x="3094" y="816"/>
                  </a:lnTo>
                  <a:lnTo>
                    <a:pt x="3128" y="828"/>
                  </a:lnTo>
                  <a:lnTo>
                    <a:pt x="3170" y="871"/>
                  </a:lnTo>
                  <a:lnTo>
                    <a:pt x="3182" y="891"/>
                  </a:lnTo>
                  <a:lnTo>
                    <a:pt x="3259" y="947"/>
                  </a:lnTo>
                  <a:lnTo>
                    <a:pt x="3309" y="951"/>
                  </a:lnTo>
                  <a:lnTo>
                    <a:pt x="3343" y="964"/>
                  </a:lnTo>
                  <a:lnTo>
                    <a:pt x="3347" y="1002"/>
                  </a:lnTo>
                  <a:lnTo>
                    <a:pt x="3137" y="1073"/>
                  </a:lnTo>
                  <a:lnTo>
                    <a:pt x="3072" y="1103"/>
                  </a:lnTo>
                  <a:lnTo>
                    <a:pt x="2996" y="1115"/>
                  </a:lnTo>
                  <a:lnTo>
                    <a:pt x="2908" y="1111"/>
                  </a:lnTo>
                  <a:lnTo>
                    <a:pt x="2852" y="1094"/>
                  </a:lnTo>
                  <a:lnTo>
                    <a:pt x="2793" y="1090"/>
                  </a:lnTo>
                  <a:lnTo>
                    <a:pt x="2531" y="1086"/>
                  </a:lnTo>
                  <a:lnTo>
                    <a:pt x="2394" y="1103"/>
                  </a:lnTo>
                  <a:lnTo>
                    <a:pt x="2314" y="1123"/>
                  </a:lnTo>
                  <a:lnTo>
                    <a:pt x="2269" y="1123"/>
                  </a:lnTo>
                  <a:lnTo>
                    <a:pt x="2243" y="1115"/>
                  </a:lnTo>
                  <a:lnTo>
                    <a:pt x="2235" y="1094"/>
                  </a:lnTo>
                  <a:lnTo>
                    <a:pt x="2255" y="1069"/>
                  </a:lnTo>
                  <a:lnTo>
                    <a:pt x="2314" y="1019"/>
                  </a:lnTo>
                  <a:lnTo>
                    <a:pt x="2373" y="985"/>
                  </a:lnTo>
                  <a:lnTo>
                    <a:pt x="2449" y="951"/>
                  </a:lnTo>
                  <a:lnTo>
                    <a:pt x="2457" y="917"/>
                  </a:lnTo>
                  <a:lnTo>
                    <a:pt x="2454" y="900"/>
                  </a:lnTo>
                  <a:lnTo>
                    <a:pt x="2416" y="880"/>
                  </a:lnTo>
                  <a:lnTo>
                    <a:pt x="2319" y="849"/>
                  </a:lnTo>
                  <a:lnTo>
                    <a:pt x="2141" y="837"/>
                  </a:lnTo>
                  <a:lnTo>
                    <a:pt x="2107" y="803"/>
                  </a:lnTo>
                  <a:lnTo>
                    <a:pt x="2056" y="770"/>
                  </a:lnTo>
                  <a:lnTo>
                    <a:pt x="2019" y="727"/>
                  </a:lnTo>
                  <a:lnTo>
                    <a:pt x="1989" y="660"/>
                  </a:lnTo>
                  <a:lnTo>
                    <a:pt x="1977" y="606"/>
                  </a:lnTo>
                  <a:lnTo>
                    <a:pt x="1938" y="560"/>
                  </a:lnTo>
                  <a:lnTo>
                    <a:pt x="1832" y="547"/>
                  </a:lnTo>
                  <a:lnTo>
                    <a:pt x="1734" y="551"/>
                  </a:lnTo>
                  <a:lnTo>
                    <a:pt x="1700" y="547"/>
                  </a:lnTo>
                  <a:lnTo>
                    <a:pt x="1675" y="534"/>
                  </a:lnTo>
                  <a:lnTo>
                    <a:pt x="1564" y="513"/>
                  </a:lnTo>
                  <a:lnTo>
                    <a:pt x="1473" y="472"/>
                  </a:lnTo>
                  <a:lnTo>
                    <a:pt x="1405" y="412"/>
                  </a:lnTo>
                  <a:lnTo>
                    <a:pt x="1354" y="387"/>
                  </a:lnTo>
                  <a:lnTo>
                    <a:pt x="1222" y="383"/>
                  </a:lnTo>
                  <a:lnTo>
                    <a:pt x="1184" y="366"/>
                  </a:lnTo>
                  <a:lnTo>
                    <a:pt x="1159" y="366"/>
                  </a:lnTo>
                  <a:lnTo>
                    <a:pt x="1129" y="378"/>
                  </a:lnTo>
                  <a:lnTo>
                    <a:pt x="1091" y="383"/>
                  </a:lnTo>
                  <a:lnTo>
                    <a:pt x="1049" y="370"/>
                  </a:lnTo>
                  <a:lnTo>
                    <a:pt x="1037" y="358"/>
                  </a:lnTo>
                  <a:lnTo>
                    <a:pt x="955" y="353"/>
                  </a:lnTo>
                  <a:lnTo>
                    <a:pt x="904" y="341"/>
                  </a:lnTo>
                  <a:lnTo>
                    <a:pt x="887" y="327"/>
                  </a:lnTo>
                  <a:lnTo>
                    <a:pt x="870" y="293"/>
                  </a:lnTo>
                  <a:lnTo>
                    <a:pt x="870" y="276"/>
                  </a:lnTo>
                  <a:lnTo>
                    <a:pt x="972" y="251"/>
                  </a:lnTo>
                  <a:lnTo>
                    <a:pt x="990" y="231"/>
                  </a:lnTo>
                  <a:lnTo>
                    <a:pt x="981" y="209"/>
                  </a:lnTo>
                  <a:lnTo>
                    <a:pt x="943" y="201"/>
                  </a:lnTo>
                  <a:lnTo>
                    <a:pt x="929" y="189"/>
                  </a:lnTo>
                  <a:lnTo>
                    <a:pt x="718" y="167"/>
                  </a:lnTo>
                  <a:lnTo>
                    <a:pt x="658" y="172"/>
                  </a:lnTo>
                  <a:lnTo>
                    <a:pt x="604" y="205"/>
                  </a:lnTo>
                  <a:lnTo>
                    <a:pt x="557" y="251"/>
                  </a:lnTo>
                  <a:lnTo>
                    <a:pt x="519" y="302"/>
                  </a:lnTo>
                  <a:lnTo>
                    <a:pt x="451" y="325"/>
                  </a:lnTo>
                  <a:lnTo>
                    <a:pt x="370" y="332"/>
                  </a:lnTo>
                  <a:lnTo>
                    <a:pt x="323" y="349"/>
                  </a:lnTo>
                  <a:lnTo>
                    <a:pt x="281" y="403"/>
                  </a:lnTo>
                  <a:lnTo>
                    <a:pt x="230" y="412"/>
                  </a:lnTo>
                  <a:lnTo>
                    <a:pt x="213" y="420"/>
                  </a:lnTo>
                  <a:lnTo>
                    <a:pt x="129" y="482"/>
                  </a:lnTo>
                  <a:lnTo>
                    <a:pt x="120" y="482"/>
                  </a:lnTo>
                  <a:lnTo>
                    <a:pt x="117" y="466"/>
                  </a:lnTo>
                  <a:lnTo>
                    <a:pt x="99" y="449"/>
                  </a:lnTo>
                  <a:lnTo>
                    <a:pt x="0" y="455"/>
                  </a:lnTo>
                  <a:lnTo>
                    <a:pt x="0" y="441"/>
                  </a:lnTo>
                  <a:lnTo>
                    <a:pt x="78" y="396"/>
                  </a:lnTo>
                  <a:lnTo>
                    <a:pt x="133" y="390"/>
                  </a:lnTo>
                  <a:lnTo>
                    <a:pt x="141" y="383"/>
                  </a:lnTo>
                  <a:lnTo>
                    <a:pt x="147" y="366"/>
                  </a:lnTo>
                  <a:lnTo>
                    <a:pt x="147" y="257"/>
                  </a:lnTo>
                  <a:lnTo>
                    <a:pt x="163" y="226"/>
                  </a:lnTo>
                  <a:lnTo>
                    <a:pt x="238" y="176"/>
                  </a:lnTo>
                  <a:lnTo>
                    <a:pt x="337" y="130"/>
                  </a:lnTo>
                  <a:lnTo>
                    <a:pt x="358" y="125"/>
                  </a:lnTo>
                  <a:lnTo>
                    <a:pt x="454" y="79"/>
                  </a:lnTo>
                  <a:lnTo>
                    <a:pt x="675" y="29"/>
                  </a:lnTo>
                  <a:lnTo>
                    <a:pt x="752" y="3"/>
                  </a:lnTo>
                  <a:lnTo>
                    <a:pt x="1003" y="0"/>
                  </a:lnTo>
                  <a:lnTo>
                    <a:pt x="1112" y="20"/>
                  </a:lnTo>
                  <a:lnTo>
                    <a:pt x="1227" y="25"/>
                  </a:lnTo>
                  <a:lnTo>
                    <a:pt x="1295" y="20"/>
                  </a:lnTo>
                  <a:lnTo>
                    <a:pt x="1336" y="54"/>
                  </a:lnTo>
                  <a:lnTo>
                    <a:pt x="1366" y="67"/>
                  </a:lnTo>
                  <a:lnTo>
                    <a:pt x="1490" y="62"/>
                  </a:lnTo>
                  <a:lnTo>
                    <a:pt x="1524" y="79"/>
                  </a:lnTo>
                  <a:lnTo>
                    <a:pt x="1612" y="150"/>
                  </a:lnTo>
                  <a:lnTo>
                    <a:pt x="1637" y="189"/>
                  </a:lnTo>
                  <a:lnTo>
                    <a:pt x="1700" y="240"/>
                  </a:lnTo>
                  <a:lnTo>
                    <a:pt x="1751" y="257"/>
                  </a:lnTo>
                  <a:lnTo>
                    <a:pt x="1879" y="251"/>
                  </a:lnTo>
                  <a:lnTo>
                    <a:pt x="1913" y="273"/>
                  </a:lnTo>
                  <a:lnTo>
                    <a:pt x="1968" y="273"/>
                  </a:lnTo>
                  <a:lnTo>
                    <a:pt x="1985" y="293"/>
                  </a:lnTo>
                  <a:lnTo>
                    <a:pt x="1968" y="293"/>
                  </a:lnTo>
                  <a:lnTo>
                    <a:pt x="1964" y="311"/>
                  </a:lnTo>
                  <a:lnTo>
                    <a:pt x="1989" y="325"/>
                  </a:lnTo>
                  <a:lnTo>
                    <a:pt x="2056" y="335"/>
                  </a:lnTo>
                  <a:lnTo>
                    <a:pt x="2099" y="358"/>
                  </a:lnTo>
                  <a:lnTo>
                    <a:pt x="2167" y="429"/>
                  </a:lnTo>
                  <a:lnTo>
                    <a:pt x="2269" y="458"/>
                  </a:lnTo>
                  <a:lnTo>
                    <a:pt x="2344" y="496"/>
                  </a:lnTo>
                  <a:lnTo>
                    <a:pt x="2394" y="508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17" name="Freeform 343">
              <a:extLst>
                <a:ext uri="{FF2B5EF4-FFF2-40B4-BE49-F238E27FC236}">
                  <a16:creationId xmlns:a16="http://schemas.microsoft.com/office/drawing/2014/main" id="{612029D8-340F-5446-E36D-D319B7C5155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391395" y="3676437"/>
              <a:ext cx="7461" cy="15242"/>
            </a:xfrm>
            <a:custGeom>
              <a:avLst/>
              <a:gdLst>
                <a:gd name="T0" fmla="*/ 0 w 165"/>
                <a:gd name="T1" fmla="*/ 0 h 156"/>
                <a:gd name="T2" fmla="*/ 0 w 165"/>
                <a:gd name="T3" fmla="*/ 0 h 156"/>
                <a:gd name="T4" fmla="*/ 0 w 165"/>
                <a:gd name="T5" fmla="*/ 0 h 156"/>
                <a:gd name="T6" fmla="*/ 0 w 165"/>
                <a:gd name="T7" fmla="*/ 0 h 156"/>
                <a:gd name="T8" fmla="*/ 0 w 165"/>
                <a:gd name="T9" fmla="*/ 0 h 156"/>
                <a:gd name="T10" fmla="*/ 0 w 165"/>
                <a:gd name="T11" fmla="*/ 0 h 156"/>
                <a:gd name="T12" fmla="*/ 0 w 165"/>
                <a:gd name="T13" fmla="*/ 0 h 156"/>
                <a:gd name="T14" fmla="*/ 0 w 165"/>
                <a:gd name="T15" fmla="*/ 0 h 156"/>
                <a:gd name="T16" fmla="*/ 0 w 165"/>
                <a:gd name="T17" fmla="*/ 0 h 156"/>
                <a:gd name="T18" fmla="*/ 0 w 165"/>
                <a:gd name="T19" fmla="*/ 0 h 156"/>
                <a:gd name="T20" fmla="*/ 0 w 165"/>
                <a:gd name="T21" fmla="*/ 0 h 156"/>
                <a:gd name="T22" fmla="*/ 0 w 165"/>
                <a:gd name="T23" fmla="*/ 0 h 156"/>
                <a:gd name="T24" fmla="*/ 0 w 165"/>
                <a:gd name="T25" fmla="*/ 0 h 156"/>
                <a:gd name="T26" fmla="*/ 0 w 165"/>
                <a:gd name="T27" fmla="*/ 0 h 156"/>
                <a:gd name="T28" fmla="*/ 0 w 165"/>
                <a:gd name="T29" fmla="*/ 0 h 156"/>
                <a:gd name="T30" fmla="*/ 0 w 165"/>
                <a:gd name="T31" fmla="*/ 0 h 156"/>
                <a:gd name="T32" fmla="*/ 0 w 165"/>
                <a:gd name="T33" fmla="*/ 0 h 156"/>
                <a:gd name="T34" fmla="*/ 0 w 165"/>
                <a:gd name="T35" fmla="*/ 0 h 15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65"/>
                <a:gd name="T55" fmla="*/ 0 h 156"/>
                <a:gd name="T56" fmla="*/ 165 w 165"/>
                <a:gd name="T57" fmla="*/ 156 h 15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65" h="156">
                  <a:moveTo>
                    <a:pt x="128" y="5"/>
                  </a:moveTo>
                  <a:lnTo>
                    <a:pt x="136" y="42"/>
                  </a:lnTo>
                  <a:lnTo>
                    <a:pt x="153" y="64"/>
                  </a:lnTo>
                  <a:lnTo>
                    <a:pt x="165" y="128"/>
                  </a:lnTo>
                  <a:lnTo>
                    <a:pt x="77" y="156"/>
                  </a:lnTo>
                  <a:lnTo>
                    <a:pt x="38" y="156"/>
                  </a:lnTo>
                  <a:lnTo>
                    <a:pt x="22" y="144"/>
                  </a:lnTo>
                  <a:lnTo>
                    <a:pt x="8" y="131"/>
                  </a:lnTo>
                  <a:lnTo>
                    <a:pt x="0" y="98"/>
                  </a:lnTo>
                  <a:lnTo>
                    <a:pt x="51" y="123"/>
                  </a:lnTo>
                  <a:lnTo>
                    <a:pt x="63" y="89"/>
                  </a:lnTo>
                  <a:lnTo>
                    <a:pt x="51" y="68"/>
                  </a:lnTo>
                  <a:lnTo>
                    <a:pt x="47" y="42"/>
                  </a:lnTo>
                  <a:lnTo>
                    <a:pt x="51" y="9"/>
                  </a:lnTo>
                  <a:lnTo>
                    <a:pt x="89" y="0"/>
                  </a:lnTo>
                  <a:lnTo>
                    <a:pt x="114" y="5"/>
                  </a:lnTo>
                  <a:lnTo>
                    <a:pt x="128" y="14"/>
                  </a:lnTo>
                  <a:lnTo>
                    <a:pt x="128" y="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18" name="Freeform 344">
              <a:extLst>
                <a:ext uri="{FF2B5EF4-FFF2-40B4-BE49-F238E27FC236}">
                  <a16:creationId xmlns:a16="http://schemas.microsoft.com/office/drawing/2014/main" id="{143462B3-4086-D4AC-C1C4-23D1937682A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463028" y="3620041"/>
              <a:ext cx="17908" cy="25912"/>
            </a:xfrm>
            <a:custGeom>
              <a:avLst/>
              <a:gdLst>
                <a:gd name="T0" fmla="*/ 0 w 317"/>
                <a:gd name="T1" fmla="*/ 0 h 201"/>
                <a:gd name="T2" fmla="*/ 0 w 317"/>
                <a:gd name="T3" fmla="*/ 0 h 201"/>
                <a:gd name="T4" fmla="*/ 0 w 317"/>
                <a:gd name="T5" fmla="*/ 0 h 201"/>
                <a:gd name="T6" fmla="*/ 0 w 317"/>
                <a:gd name="T7" fmla="*/ 0 h 201"/>
                <a:gd name="T8" fmla="*/ 0 w 317"/>
                <a:gd name="T9" fmla="*/ 0 h 201"/>
                <a:gd name="T10" fmla="*/ 0 w 317"/>
                <a:gd name="T11" fmla="*/ 0 h 201"/>
                <a:gd name="T12" fmla="*/ 0 w 317"/>
                <a:gd name="T13" fmla="*/ 0 h 201"/>
                <a:gd name="T14" fmla="*/ 0 w 317"/>
                <a:gd name="T15" fmla="*/ 0 h 201"/>
                <a:gd name="T16" fmla="*/ 0 w 317"/>
                <a:gd name="T17" fmla="*/ 0 h 201"/>
                <a:gd name="T18" fmla="*/ 0 w 317"/>
                <a:gd name="T19" fmla="*/ 0 h 201"/>
                <a:gd name="T20" fmla="*/ 0 w 317"/>
                <a:gd name="T21" fmla="*/ 0 h 201"/>
                <a:gd name="T22" fmla="*/ 0 w 317"/>
                <a:gd name="T23" fmla="*/ 0 h 201"/>
                <a:gd name="T24" fmla="*/ 0 w 317"/>
                <a:gd name="T25" fmla="*/ 0 h 201"/>
                <a:gd name="T26" fmla="*/ 0 w 317"/>
                <a:gd name="T27" fmla="*/ 0 h 201"/>
                <a:gd name="T28" fmla="*/ 0 w 317"/>
                <a:gd name="T29" fmla="*/ 0 h 20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17"/>
                <a:gd name="T46" fmla="*/ 0 h 201"/>
                <a:gd name="T47" fmla="*/ 317 w 317"/>
                <a:gd name="T48" fmla="*/ 201 h 20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17" h="201">
                  <a:moveTo>
                    <a:pt x="211" y="85"/>
                  </a:moveTo>
                  <a:lnTo>
                    <a:pt x="283" y="127"/>
                  </a:lnTo>
                  <a:lnTo>
                    <a:pt x="308" y="156"/>
                  </a:lnTo>
                  <a:lnTo>
                    <a:pt x="317" y="201"/>
                  </a:lnTo>
                  <a:lnTo>
                    <a:pt x="266" y="198"/>
                  </a:lnTo>
                  <a:lnTo>
                    <a:pt x="208" y="156"/>
                  </a:lnTo>
                  <a:lnTo>
                    <a:pt x="169" y="97"/>
                  </a:lnTo>
                  <a:lnTo>
                    <a:pt x="135" y="68"/>
                  </a:lnTo>
                  <a:lnTo>
                    <a:pt x="59" y="59"/>
                  </a:lnTo>
                  <a:lnTo>
                    <a:pt x="38" y="50"/>
                  </a:lnTo>
                  <a:lnTo>
                    <a:pt x="8" y="29"/>
                  </a:lnTo>
                  <a:lnTo>
                    <a:pt x="0" y="17"/>
                  </a:lnTo>
                  <a:lnTo>
                    <a:pt x="0" y="0"/>
                  </a:lnTo>
                  <a:lnTo>
                    <a:pt x="85" y="4"/>
                  </a:lnTo>
                  <a:lnTo>
                    <a:pt x="211" y="85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19" name="Freeform 345">
              <a:extLst>
                <a:ext uri="{FF2B5EF4-FFF2-40B4-BE49-F238E27FC236}">
                  <a16:creationId xmlns:a16="http://schemas.microsoft.com/office/drawing/2014/main" id="{428F9684-476B-03E8-8310-45190D48DBB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797312" y="3723688"/>
              <a:ext cx="0" cy="7622"/>
            </a:xfrm>
            <a:custGeom>
              <a:avLst/>
              <a:gdLst>
                <a:gd name="T0" fmla="*/ 0 w 46"/>
                <a:gd name="T1" fmla="*/ 0 h 47"/>
                <a:gd name="T2" fmla="*/ 0 w 46"/>
                <a:gd name="T3" fmla="*/ 0 h 47"/>
                <a:gd name="T4" fmla="*/ 0 w 46"/>
                <a:gd name="T5" fmla="*/ 0 h 47"/>
                <a:gd name="T6" fmla="*/ 0 w 46"/>
                <a:gd name="T7" fmla="*/ 0 h 47"/>
                <a:gd name="T8" fmla="*/ 0 w 46"/>
                <a:gd name="T9" fmla="*/ 0 h 47"/>
                <a:gd name="T10" fmla="*/ 0 w 46"/>
                <a:gd name="T11" fmla="*/ 0 h 47"/>
                <a:gd name="T12" fmla="*/ 0 w 46"/>
                <a:gd name="T13" fmla="*/ 0 h 4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6"/>
                <a:gd name="T22" fmla="*/ 0 h 47"/>
                <a:gd name="T23" fmla="*/ 0 w 46"/>
                <a:gd name="T24" fmla="*/ 47 h 4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6" h="47">
                  <a:moveTo>
                    <a:pt x="34" y="2"/>
                  </a:moveTo>
                  <a:lnTo>
                    <a:pt x="0" y="0"/>
                  </a:lnTo>
                  <a:lnTo>
                    <a:pt x="11" y="30"/>
                  </a:lnTo>
                  <a:lnTo>
                    <a:pt x="31" y="47"/>
                  </a:lnTo>
                  <a:lnTo>
                    <a:pt x="46" y="42"/>
                  </a:lnTo>
                  <a:lnTo>
                    <a:pt x="46" y="10"/>
                  </a:lnTo>
                  <a:lnTo>
                    <a:pt x="34" y="2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20" name="Freeform 346">
              <a:extLst>
                <a:ext uri="{FF2B5EF4-FFF2-40B4-BE49-F238E27FC236}">
                  <a16:creationId xmlns:a16="http://schemas.microsoft.com/office/drawing/2014/main" id="{95267F77-EA3F-0337-D88C-06A2C2216D4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20552049">
              <a:off x="3865960" y="3842577"/>
              <a:ext cx="2985" cy="10670"/>
            </a:xfrm>
            <a:custGeom>
              <a:avLst/>
              <a:gdLst>
                <a:gd name="T0" fmla="*/ 0 w 45"/>
                <a:gd name="T1" fmla="*/ 0 h 103"/>
                <a:gd name="T2" fmla="*/ 0 w 45"/>
                <a:gd name="T3" fmla="*/ 0 h 103"/>
                <a:gd name="T4" fmla="*/ 0 w 45"/>
                <a:gd name="T5" fmla="*/ 0 h 103"/>
                <a:gd name="T6" fmla="*/ 0 w 45"/>
                <a:gd name="T7" fmla="*/ 0 h 103"/>
                <a:gd name="T8" fmla="*/ 0 w 45"/>
                <a:gd name="T9" fmla="*/ 0 h 103"/>
                <a:gd name="T10" fmla="*/ 0 w 45"/>
                <a:gd name="T11" fmla="*/ 0 h 103"/>
                <a:gd name="T12" fmla="*/ 0 w 45"/>
                <a:gd name="T13" fmla="*/ 0 h 10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5"/>
                <a:gd name="T22" fmla="*/ 0 h 103"/>
                <a:gd name="T23" fmla="*/ 45 w 45"/>
                <a:gd name="T24" fmla="*/ 103 h 10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5" h="103">
                  <a:moveTo>
                    <a:pt x="25" y="0"/>
                  </a:moveTo>
                  <a:lnTo>
                    <a:pt x="0" y="97"/>
                  </a:lnTo>
                  <a:lnTo>
                    <a:pt x="25" y="103"/>
                  </a:lnTo>
                  <a:lnTo>
                    <a:pt x="45" y="94"/>
                  </a:lnTo>
                  <a:lnTo>
                    <a:pt x="45" y="62"/>
                  </a:lnTo>
                  <a:lnTo>
                    <a:pt x="39" y="20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321" name="Freeform 54">
              <a:extLst>
                <a:ext uri="{FF2B5EF4-FFF2-40B4-BE49-F238E27FC236}">
                  <a16:creationId xmlns:a16="http://schemas.microsoft.com/office/drawing/2014/main" id="{AA32B0FB-FE5F-6EAE-80BA-877968CF1C4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081694" y="4674800"/>
              <a:ext cx="1183428" cy="984645"/>
            </a:xfrm>
            <a:custGeom>
              <a:avLst/>
              <a:gdLst>
                <a:gd name="T0" fmla="*/ 2147483647 w 2217"/>
                <a:gd name="T1" fmla="*/ 2147483647 h 1736"/>
                <a:gd name="T2" fmla="*/ 2147483647 w 2217"/>
                <a:gd name="T3" fmla="*/ 2147483647 h 1736"/>
                <a:gd name="T4" fmla="*/ 2147483647 w 2217"/>
                <a:gd name="T5" fmla="*/ 2147483647 h 1736"/>
                <a:gd name="T6" fmla="*/ 2147483647 w 2217"/>
                <a:gd name="T7" fmla="*/ 2147483647 h 1736"/>
                <a:gd name="T8" fmla="*/ 2147483647 w 2217"/>
                <a:gd name="T9" fmla="*/ 2147483647 h 1736"/>
                <a:gd name="T10" fmla="*/ 2147483647 w 2217"/>
                <a:gd name="T11" fmla="*/ 2147483647 h 1736"/>
                <a:gd name="T12" fmla="*/ 2147483647 w 2217"/>
                <a:gd name="T13" fmla="*/ 2147483647 h 1736"/>
                <a:gd name="T14" fmla="*/ 2147483647 w 2217"/>
                <a:gd name="T15" fmla="*/ 2147483647 h 1736"/>
                <a:gd name="T16" fmla="*/ 2147483647 w 2217"/>
                <a:gd name="T17" fmla="*/ 2147483647 h 1736"/>
                <a:gd name="T18" fmla="*/ 2147483647 w 2217"/>
                <a:gd name="T19" fmla="*/ 2147483647 h 1736"/>
                <a:gd name="T20" fmla="*/ 2147483647 w 2217"/>
                <a:gd name="T21" fmla="*/ 2147483647 h 1736"/>
                <a:gd name="T22" fmla="*/ 2147483647 w 2217"/>
                <a:gd name="T23" fmla="*/ 2147483647 h 1736"/>
                <a:gd name="T24" fmla="*/ 2147483647 w 2217"/>
                <a:gd name="T25" fmla="*/ 2147483647 h 1736"/>
                <a:gd name="T26" fmla="*/ 2147483647 w 2217"/>
                <a:gd name="T27" fmla="*/ 0 h 1736"/>
                <a:gd name="T28" fmla="*/ 2147483647 w 2217"/>
                <a:gd name="T29" fmla="*/ 0 h 1736"/>
                <a:gd name="T30" fmla="*/ 2147483647 w 2217"/>
                <a:gd name="T31" fmla="*/ 0 h 1736"/>
                <a:gd name="T32" fmla="*/ 2147483647 w 2217"/>
                <a:gd name="T33" fmla="*/ 2147483647 h 1736"/>
                <a:gd name="T34" fmla="*/ 2147483647 w 2217"/>
                <a:gd name="T35" fmla="*/ 2147483647 h 1736"/>
                <a:gd name="T36" fmla="*/ 2147483647 w 2217"/>
                <a:gd name="T37" fmla="*/ 2147483647 h 1736"/>
                <a:gd name="T38" fmla="*/ 2147483647 w 2217"/>
                <a:gd name="T39" fmla="*/ 2147483647 h 1736"/>
                <a:gd name="T40" fmla="*/ 2147483647 w 2217"/>
                <a:gd name="T41" fmla="*/ 2147483647 h 1736"/>
                <a:gd name="T42" fmla="*/ 2147483647 w 2217"/>
                <a:gd name="T43" fmla="*/ 2147483647 h 1736"/>
                <a:gd name="T44" fmla="*/ 2147483647 w 2217"/>
                <a:gd name="T45" fmla="*/ 2147483647 h 1736"/>
                <a:gd name="T46" fmla="*/ 2147483647 w 2217"/>
                <a:gd name="T47" fmla="*/ 0 h 1736"/>
                <a:gd name="T48" fmla="*/ 2147483647 w 2217"/>
                <a:gd name="T49" fmla="*/ 0 h 1736"/>
                <a:gd name="T50" fmla="*/ 2147483647 w 2217"/>
                <a:gd name="T51" fmla="*/ 2147483647 h 1736"/>
                <a:gd name="T52" fmla="*/ 2147483647 w 2217"/>
                <a:gd name="T53" fmla="*/ 2147483647 h 1736"/>
                <a:gd name="T54" fmla="*/ 2147483647 w 2217"/>
                <a:gd name="T55" fmla="*/ 2147483647 h 1736"/>
                <a:gd name="T56" fmla="*/ 2147483647 w 2217"/>
                <a:gd name="T57" fmla="*/ 2147483647 h 1736"/>
                <a:gd name="T58" fmla="*/ 2147483647 w 2217"/>
                <a:gd name="T59" fmla="*/ 2147483647 h 1736"/>
                <a:gd name="T60" fmla="*/ 2147483647 w 2217"/>
                <a:gd name="T61" fmla="*/ 2147483647 h 1736"/>
                <a:gd name="T62" fmla="*/ 2147483647 w 2217"/>
                <a:gd name="T63" fmla="*/ 2147483647 h 1736"/>
                <a:gd name="T64" fmla="*/ 2147483647 w 2217"/>
                <a:gd name="T65" fmla="*/ 2147483647 h 1736"/>
                <a:gd name="T66" fmla="*/ 2147483647 w 2217"/>
                <a:gd name="T67" fmla="*/ 2147483647 h 1736"/>
                <a:gd name="T68" fmla="*/ 2147483647 w 2217"/>
                <a:gd name="T69" fmla="*/ 2147483647 h 1736"/>
                <a:gd name="T70" fmla="*/ 2147483647 w 2217"/>
                <a:gd name="T71" fmla="*/ 2147483647 h 1736"/>
                <a:gd name="T72" fmla="*/ 2147483647 w 2217"/>
                <a:gd name="T73" fmla="*/ 2147483647 h 1736"/>
                <a:gd name="T74" fmla="*/ 2147483647 w 2217"/>
                <a:gd name="T75" fmla="*/ 2147483647 h 1736"/>
                <a:gd name="T76" fmla="*/ 2147483647 w 2217"/>
                <a:gd name="T77" fmla="*/ 2147483647 h 1736"/>
                <a:gd name="T78" fmla="*/ 2147483647 w 2217"/>
                <a:gd name="T79" fmla="*/ 2147483647 h 1736"/>
                <a:gd name="T80" fmla="*/ 2147483647 w 2217"/>
                <a:gd name="T81" fmla="*/ 2147483647 h 1736"/>
                <a:gd name="T82" fmla="*/ 2147483647 w 2217"/>
                <a:gd name="T83" fmla="*/ 2147483647 h 1736"/>
                <a:gd name="T84" fmla="*/ 2147483647 w 2217"/>
                <a:gd name="T85" fmla="*/ 2147483647 h 1736"/>
                <a:gd name="T86" fmla="*/ 2147483647 w 2217"/>
                <a:gd name="T87" fmla="*/ 2147483647 h 1736"/>
                <a:gd name="T88" fmla="*/ 2147483647 w 2217"/>
                <a:gd name="T89" fmla="*/ 2147483647 h 1736"/>
                <a:gd name="T90" fmla="*/ 2147483647 w 2217"/>
                <a:gd name="T91" fmla="*/ 2147483647 h 1736"/>
                <a:gd name="T92" fmla="*/ 2147483647 w 2217"/>
                <a:gd name="T93" fmla="*/ 2147483647 h 1736"/>
                <a:gd name="T94" fmla="*/ 2147483647 w 2217"/>
                <a:gd name="T95" fmla="*/ 2147483647 h 1736"/>
                <a:gd name="T96" fmla="*/ 2147483647 w 2217"/>
                <a:gd name="T97" fmla="*/ 2147483647 h 1736"/>
                <a:gd name="T98" fmla="*/ 2147483647 w 2217"/>
                <a:gd name="T99" fmla="*/ 2147483647 h 1736"/>
                <a:gd name="T100" fmla="*/ 2147483647 w 2217"/>
                <a:gd name="T101" fmla="*/ 2147483647 h 1736"/>
                <a:gd name="T102" fmla="*/ 2147483647 w 2217"/>
                <a:gd name="T103" fmla="*/ 2147483647 h 1736"/>
                <a:gd name="T104" fmla="*/ 2147483647 w 2217"/>
                <a:gd name="T105" fmla="*/ 2147483647 h 1736"/>
                <a:gd name="T106" fmla="*/ 2147483647 w 2217"/>
                <a:gd name="T107" fmla="*/ 2147483647 h 1736"/>
                <a:gd name="T108" fmla="*/ 2147483647 w 2217"/>
                <a:gd name="T109" fmla="*/ 2147483647 h 1736"/>
                <a:gd name="T110" fmla="*/ 2147483647 w 2217"/>
                <a:gd name="T111" fmla="*/ 2147483647 h 1736"/>
                <a:gd name="T112" fmla="*/ 2147483647 w 2217"/>
                <a:gd name="T113" fmla="*/ 2147483647 h 1736"/>
                <a:gd name="T114" fmla="*/ 2147483647 w 2217"/>
                <a:gd name="T115" fmla="*/ 2147483647 h 1736"/>
                <a:gd name="T116" fmla="*/ 0 w 2217"/>
                <a:gd name="T117" fmla="*/ 2147483647 h 1736"/>
                <a:gd name="T118" fmla="*/ 0 w 2217"/>
                <a:gd name="T119" fmla="*/ 2147483647 h 1736"/>
                <a:gd name="T120" fmla="*/ 0 w 2217"/>
                <a:gd name="T121" fmla="*/ 2147483647 h 17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217"/>
                <a:gd name="T184" fmla="*/ 0 h 1736"/>
                <a:gd name="T185" fmla="*/ 2217 w 2217"/>
                <a:gd name="T186" fmla="*/ 1736 h 17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217" h="1736">
                  <a:moveTo>
                    <a:pt x="43" y="634"/>
                  </a:moveTo>
                  <a:lnTo>
                    <a:pt x="49" y="629"/>
                  </a:lnTo>
                  <a:lnTo>
                    <a:pt x="48" y="645"/>
                  </a:lnTo>
                  <a:lnTo>
                    <a:pt x="48" y="647"/>
                  </a:lnTo>
                  <a:lnTo>
                    <a:pt x="45" y="651"/>
                  </a:lnTo>
                  <a:lnTo>
                    <a:pt x="44" y="656"/>
                  </a:lnTo>
                  <a:lnTo>
                    <a:pt x="48" y="658"/>
                  </a:lnTo>
                  <a:lnTo>
                    <a:pt x="46" y="666"/>
                  </a:lnTo>
                  <a:lnTo>
                    <a:pt x="45" y="671"/>
                  </a:lnTo>
                  <a:lnTo>
                    <a:pt x="50" y="673"/>
                  </a:lnTo>
                  <a:lnTo>
                    <a:pt x="59" y="666"/>
                  </a:lnTo>
                  <a:lnTo>
                    <a:pt x="62" y="652"/>
                  </a:lnTo>
                  <a:lnTo>
                    <a:pt x="72" y="636"/>
                  </a:lnTo>
                  <a:lnTo>
                    <a:pt x="80" y="633"/>
                  </a:lnTo>
                  <a:lnTo>
                    <a:pt x="87" y="628"/>
                  </a:lnTo>
                  <a:lnTo>
                    <a:pt x="94" y="626"/>
                  </a:lnTo>
                  <a:lnTo>
                    <a:pt x="102" y="620"/>
                  </a:lnTo>
                  <a:lnTo>
                    <a:pt x="120" y="617"/>
                  </a:lnTo>
                  <a:lnTo>
                    <a:pt x="125" y="608"/>
                  </a:lnTo>
                  <a:lnTo>
                    <a:pt x="132" y="601"/>
                  </a:lnTo>
                  <a:lnTo>
                    <a:pt x="140" y="596"/>
                  </a:lnTo>
                  <a:lnTo>
                    <a:pt x="146" y="586"/>
                  </a:lnTo>
                  <a:lnTo>
                    <a:pt x="161" y="580"/>
                  </a:lnTo>
                  <a:lnTo>
                    <a:pt x="167" y="575"/>
                  </a:lnTo>
                  <a:lnTo>
                    <a:pt x="174" y="571"/>
                  </a:lnTo>
                  <a:lnTo>
                    <a:pt x="191" y="559"/>
                  </a:lnTo>
                  <a:lnTo>
                    <a:pt x="195" y="558"/>
                  </a:lnTo>
                  <a:lnTo>
                    <a:pt x="198" y="560"/>
                  </a:lnTo>
                  <a:lnTo>
                    <a:pt x="214" y="561"/>
                  </a:lnTo>
                  <a:lnTo>
                    <a:pt x="222" y="564"/>
                  </a:lnTo>
                  <a:lnTo>
                    <a:pt x="232" y="565"/>
                  </a:lnTo>
                  <a:lnTo>
                    <a:pt x="241" y="564"/>
                  </a:lnTo>
                  <a:lnTo>
                    <a:pt x="249" y="561"/>
                  </a:lnTo>
                  <a:lnTo>
                    <a:pt x="260" y="553"/>
                  </a:lnTo>
                  <a:lnTo>
                    <a:pt x="270" y="547"/>
                  </a:lnTo>
                  <a:lnTo>
                    <a:pt x="280" y="544"/>
                  </a:lnTo>
                  <a:lnTo>
                    <a:pt x="291" y="544"/>
                  </a:lnTo>
                  <a:lnTo>
                    <a:pt x="301" y="542"/>
                  </a:lnTo>
                  <a:lnTo>
                    <a:pt x="322" y="522"/>
                  </a:lnTo>
                  <a:lnTo>
                    <a:pt x="335" y="522"/>
                  </a:lnTo>
                  <a:lnTo>
                    <a:pt x="345" y="527"/>
                  </a:lnTo>
                  <a:lnTo>
                    <a:pt x="357" y="522"/>
                  </a:lnTo>
                  <a:lnTo>
                    <a:pt x="370" y="522"/>
                  </a:lnTo>
                  <a:lnTo>
                    <a:pt x="378" y="520"/>
                  </a:lnTo>
                  <a:lnTo>
                    <a:pt x="388" y="515"/>
                  </a:lnTo>
                  <a:lnTo>
                    <a:pt x="413" y="510"/>
                  </a:lnTo>
                  <a:lnTo>
                    <a:pt x="424" y="504"/>
                  </a:lnTo>
                  <a:lnTo>
                    <a:pt x="432" y="499"/>
                  </a:lnTo>
                  <a:lnTo>
                    <a:pt x="454" y="478"/>
                  </a:lnTo>
                  <a:lnTo>
                    <a:pt x="458" y="470"/>
                  </a:lnTo>
                  <a:lnTo>
                    <a:pt x="459" y="461"/>
                  </a:lnTo>
                  <a:lnTo>
                    <a:pt x="467" y="450"/>
                  </a:lnTo>
                  <a:lnTo>
                    <a:pt x="469" y="445"/>
                  </a:lnTo>
                  <a:lnTo>
                    <a:pt x="469" y="439"/>
                  </a:lnTo>
                  <a:lnTo>
                    <a:pt x="476" y="440"/>
                  </a:lnTo>
                  <a:lnTo>
                    <a:pt x="497" y="418"/>
                  </a:lnTo>
                  <a:lnTo>
                    <a:pt x="500" y="413"/>
                  </a:lnTo>
                  <a:lnTo>
                    <a:pt x="497" y="410"/>
                  </a:lnTo>
                  <a:lnTo>
                    <a:pt x="490" y="381"/>
                  </a:lnTo>
                  <a:lnTo>
                    <a:pt x="491" y="369"/>
                  </a:lnTo>
                  <a:lnTo>
                    <a:pt x="499" y="355"/>
                  </a:lnTo>
                  <a:lnTo>
                    <a:pt x="502" y="353"/>
                  </a:lnTo>
                  <a:lnTo>
                    <a:pt x="508" y="353"/>
                  </a:lnTo>
                  <a:lnTo>
                    <a:pt x="512" y="345"/>
                  </a:lnTo>
                  <a:lnTo>
                    <a:pt x="521" y="338"/>
                  </a:lnTo>
                  <a:lnTo>
                    <a:pt x="524" y="338"/>
                  </a:lnTo>
                  <a:lnTo>
                    <a:pt x="523" y="333"/>
                  </a:lnTo>
                  <a:lnTo>
                    <a:pt x="528" y="322"/>
                  </a:lnTo>
                  <a:lnTo>
                    <a:pt x="530" y="321"/>
                  </a:lnTo>
                  <a:lnTo>
                    <a:pt x="533" y="330"/>
                  </a:lnTo>
                  <a:lnTo>
                    <a:pt x="537" y="337"/>
                  </a:lnTo>
                  <a:lnTo>
                    <a:pt x="543" y="353"/>
                  </a:lnTo>
                  <a:lnTo>
                    <a:pt x="549" y="365"/>
                  </a:lnTo>
                  <a:lnTo>
                    <a:pt x="555" y="372"/>
                  </a:lnTo>
                  <a:lnTo>
                    <a:pt x="560" y="381"/>
                  </a:lnTo>
                  <a:lnTo>
                    <a:pt x="564" y="386"/>
                  </a:lnTo>
                  <a:lnTo>
                    <a:pt x="569" y="375"/>
                  </a:lnTo>
                  <a:lnTo>
                    <a:pt x="569" y="360"/>
                  </a:lnTo>
                  <a:lnTo>
                    <a:pt x="571" y="360"/>
                  </a:lnTo>
                  <a:lnTo>
                    <a:pt x="578" y="359"/>
                  </a:lnTo>
                  <a:lnTo>
                    <a:pt x="576" y="346"/>
                  </a:lnTo>
                  <a:lnTo>
                    <a:pt x="570" y="335"/>
                  </a:lnTo>
                  <a:lnTo>
                    <a:pt x="564" y="330"/>
                  </a:lnTo>
                  <a:lnTo>
                    <a:pt x="566" y="326"/>
                  </a:lnTo>
                  <a:lnTo>
                    <a:pt x="565" y="310"/>
                  </a:lnTo>
                  <a:lnTo>
                    <a:pt x="570" y="305"/>
                  </a:lnTo>
                  <a:lnTo>
                    <a:pt x="580" y="310"/>
                  </a:lnTo>
                  <a:lnTo>
                    <a:pt x="588" y="308"/>
                  </a:lnTo>
                  <a:lnTo>
                    <a:pt x="601" y="324"/>
                  </a:lnTo>
                  <a:lnTo>
                    <a:pt x="618" y="327"/>
                  </a:lnTo>
                  <a:lnTo>
                    <a:pt x="619" y="319"/>
                  </a:lnTo>
                  <a:lnTo>
                    <a:pt x="610" y="316"/>
                  </a:lnTo>
                  <a:lnTo>
                    <a:pt x="613" y="303"/>
                  </a:lnTo>
                  <a:lnTo>
                    <a:pt x="623" y="294"/>
                  </a:lnTo>
                  <a:lnTo>
                    <a:pt x="625" y="287"/>
                  </a:lnTo>
                  <a:lnTo>
                    <a:pt x="620" y="270"/>
                  </a:lnTo>
                  <a:lnTo>
                    <a:pt x="625" y="264"/>
                  </a:lnTo>
                  <a:lnTo>
                    <a:pt x="634" y="262"/>
                  </a:lnTo>
                  <a:lnTo>
                    <a:pt x="645" y="268"/>
                  </a:lnTo>
                  <a:lnTo>
                    <a:pt x="647" y="265"/>
                  </a:lnTo>
                  <a:lnTo>
                    <a:pt x="641" y="253"/>
                  </a:lnTo>
                  <a:lnTo>
                    <a:pt x="642" y="247"/>
                  </a:lnTo>
                  <a:lnTo>
                    <a:pt x="646" y="242"/>
                  </a:lnTo>
                  <a:lnTo>
                    <a:pt x="663" y="248"/>
                  </a:lnTo>
                  <a:lnTo>
                    <a:pt x="663" y="243"/>
                  </a:lnTo>
                  <a:lnTo>
                    <a:pt x="657" y="233"/>
                  </a:lnTo>
                  <a:lnTo>
                    <a:pt x="657" y="221"/>
                  </a:lnTo>
                  <a:lnTo>
                    <a:pt x="666" y="217"/>
                  </a:lnTo>
                  <a:lnTo>
                    <a:pt x="671" y="217"/>
                  </a:lnTo>
                  <a:lnTo>
                    <a:pt x="677" y="215"/>
                  </a:lnTo>
                  <a:lnTo>
                    <a:pt x="687" y="214"/>
                  </a:lnTo>
                  <a:lnTo>
                    <a:pt x="688" y="222"/>
                  </a:lnTo>
                  <a:lnTo>
                    <a:pt x="693" y="220"/>
                  </a:lnTo>
                  <a:lnTo>
                    <a:pt x="700" y="214"/>
                  </a:lnTo>
                  <a:lnTo>
                    <a:pt x="705" y="201"/>
                  </a:lnTo>
                  <a:lnTo>
                    <a:pt x="705" y="197"/>
                  </a:lnTo>
                  <a:lnTo>
                    <a:pt x="699" y="189"/>
                  </a:lnTo>
                  <a:lnTo>
                    <a:pt x="702" y="183"/>
                  </a:lnTo>
                  <a:lnTo>
                    <a:pt x="707" y="189"/>
                  </a:lnTo>
                  <a:lnTo>
                    <a:pt x="709" y="198"/>
                  </a:lnTo>
                  <a:lnTo>
                    <a:pt x="715" y="194"/>
                  </a:lnTo>
                  <a:lnTo>
                    <a:pt x="718" y="188"/>
                  </a:lnTo>
                  <a:lnTo>
                    <a:pt x="721" y="189"/>
                  </a:lnTo>
                  <a:lnTo>
                    <a:pt x="722" y="194"/>
                  </a:lnTo>
                  <a:lnTo>
                    <a:pt x="728" y="193"/>
                  </a:lnTo>
                  <a:lnTo>
                    <a:pt x="739" y="187"/>
                  </a:lnTo>
                  <a:lnTo>
                    <a:pt x="743" y="183"/>
                  </a:lnTo>
                  <a:lnTo>
                    <a:pt x="741" y="176"/>
                  </a:lnTo>
                  <a:lnTo>
                    <a:pt x="749" y="174"/>
                  </a:lnTo>
                  <a:lnTo>
                    <a:pt x="753" y="177"/>
                  </a:lnTo>
                  <a:lnTo>
                    <a:pt x="761" y="181"/>
                  </a:lnTo>
                  <a:lnTo>
                    <a:pt x="770" y="181"/>
                  </a:lnTo>
                  <a:lnTo>
                    <a:pt x="780" y="187"/>
                  </a:lnTo>
                  <a:lnTo>
                    <a:pt x="788" y="193"/>
                  </a:lnTo>
                  <a:lnTo>
                    <a:pt x="804" y="215"/>
                  </a:lnTo>
                  <a:lnTo>
                    <a:pt x="818" y="226"/>
                  </a:lnTo>
                  <a:lnTo>
                    <a:pt x="814" y="242"/>
                  </a:lnTo>
                  <a:lnTo>
                    <a:pt x="814" y="253"/>
                  </a:lnTo>
                  <a:lnTo>
                    <a:pt x="815" y="255"/>
                  </a:lnTo>
                  <a:lnTo>
                    <a:pt x="818" y="257"/>
                  </a:lnTo>
                  <a:lnTo>
                    <a:pt x="819" y="254"/>
                  </a:lnTo>
                  <a:lnTo>
                    <a:pt x="822" y="247"/>
                  </a:lnTo>
                  <a:lnTo>
                    <a:pt x="820" y="243"/>
                  </a:lnTo>
                  <a:lnTo>
                    <a:pt x="825" y="238"/>
                  </a:lnTo>
                  <a:lnTo>
                    <a:pt x="829" y="240"/>
                  </a:lnTo>
                  <a:lnTo>
                    <a:pt x="830" y="237"/>
                  </a:lnTo>
                  <a:lnTo>
                    <a:pt x="836" y="240"/>
                  </a:lnTo>
                  <a:lnTo>
                    <a:pt x="836" y="232"/>
                  </a:lnTo>
                  <a:lnTo>
                    <a:pt x="839" y="231"/>
                  </a:lnTo>
                  <a:lnTo>
                    <a:pt x="849" y="233"/>
                  </a:lnTo>
                  <a:lnTo>
                    <a:pt x="862" y="233"/>
                  </a:lnTo>
                  <a:lnTo>
                    <a:pt x="873" y="232"/>
                  </a:lnTo>
                  <a:lnTo>
                    <a:pt x="881" y="236"/>
                  </a:lnTo>
                  <a:lnTo>
                    <a:pt x="898" y="254"/>
                  </a:lnTo>
                  <a:lnTo>
                    <a:pt x="903" y="253"/>
                  </a:lnTo>
                  <a:lnTo>
                    <a:pt x="903" y="249"/>
                  </a:lnTo>
                  <a:lnTo>
                    <a:pt x="899" y="237"/>
                  </a:lnTo>
                  <a:lnTo>
                    <a:pt x="906" y="233"/>
                  </a:lnTo>
                  <a:lnTo>
                    <a:pt x="908" y="232"/>
                  </a:lnTo>
                  <a:lnTo>
                    <a:pt x="894" y="217"/>
                  </a:lnTo>
                  <a:lnTo>
                    <a:pt x="886" y="205"/>
                  </a:lnTo>
                  <a:lnTo>
                    <a:pt x="890" y="189"/>
                  </a:lnTo>
                  <a:lnTo>
                    <a:pt x="893" y="192"/>
                  </a:lnTo>
                  <a:lnTo>
                    <a:pt x="898" y="189"/>
                  </a:lnTo>
                  <a:lnTo>
                    <a:pt x="909" y="172"/>
                  </a:lnTo>
                  <a:lnTo>
                    <a:pt x="909" y="165"/>
                  </a:lnTo>
                  <a:lnTo>
                    <a:pt x="914" y="158"/>
                  </a:lnTo>
                  <a:lnTo>
                    <a:pt x="921" y="160"/>
                  </a:lnTo>
                  <a:lnTo>
                    <a:pt x="931" y="160"/>
                  </a:lnTo>
                  <a:lnTo>
                    <a:pt x="937" y="154"/>
                  </a:lnTo>
                  <a:lnTo>
                    <a:pt x="936" y="141"/>
                  </a:lnTo>
                  <a:lnTo>
                    <a:pt x="929" y="141"/>
                  </a:lnTo>
                  <a:lnTo>
                    <a:pt x="930" y="135"/>
                  </a:lnTo>
                  <a:lnTo>
                    <a:pt x="931" y="125"/>
                  </a:lnTo>
                  <a:lnTo>
                    <a:pt x="935" y="115"/>
                  </a:lnTo>
                  <a:lnTo>
                    <a:pt x="944" y="113"/>
                  </a:lnTo>
                  <a:lnTo>
                    <a:pt x="953" y="109"/>
                  </a:lnTo>
                  <a:lnTo>
                    <a:pt x="954" y="102"/>
                  </a:lnTo>
                  <a:lnTo>
                    <a:pt x="962" y="103"/>
                  </a:lnTo>
                  <a:lnTo>
                    <a:pt x="969" y="108"/>
                  </a:lnTo>
                  <a:lnTo>
                    <a:pt x="973" y="115"/>
                  </a:lnTo>
                  <a:lnTo>
                    <a:pt x="974" y="108"/>
                  </a:lnTo>
                  <a:lnTo>
                    <a:pt x="968" y="98"/>
                  </a:lnTo>
                  <a:lnTo>
                    <a:pt x="971" y="96"/>
                  </a:lnTo>
                  <a:lnTo>
                    <a:pt x="978" y="88"/>
                  </a:lnTo>
                  <a:lnTo>
                    <a:pt x="991" y="92"/>
                  </a:lnTo>
                  <a:lnTo>
                    <a:pt x="992" y="87"/>
                  </a:lnTo>
                  <a:lnTo>
                    <a:pt x="1003" y="90"/>
                  </a:lnTo>
                  <a:lnTo>
                    <a:pt x="1016" y="88"/>
                  </a:lnTo>
                  <a:lnTo>
                    <a:pt x="1026" y="91"/>
                  </a:lnTo>
                  <a:lnTo>
                    <a:pt x="1034" y="91"/>
                  </a:lnTo>
                  <a:lnTo>
                    <a:pt x="1054" y="85"/>
                  </a:lnTo>
                  <a:lnTo>
                    <a:pt x="1062" y="79"/>
                  </a:lnTo>
                  <a:lnTo>
                    <a:pt x="1062" y="55"/>
                  </a:lnTo>
                  <a:lnTo>
                    <a:pt x="1056" y="49"/>
                  </a:lnTo>
                  <a:lnTo>
                    <a:pt x="1045" y="48"/>
                  </a:lnTo>
                  <a:lnTo>
                    <a:pt x="1038" y="49"/>
                  </a:lnTo>
                  <a:lnTo>
                    <a:pt x="1030" y="44"/>
                  </a:lnTo>
                  <a:lnTo>
                    <a:pt x="1026" y="38"/>
                  </a:lnTo>
                  <a:lnTo>
                    <a:pt x="1017" y="34"/>
                  </a:lnTo>
                  <a:lnTo>
                    <a:pt x="1017" y="33"/>
                  </a:lnTo>
                  <a:lnTo>
                    <a:pt x="1021" y="32"/>
                  </a:lnTo>
                  <a:lnTo>
                    <a:pt x="1024" y="34"/>
                  </a:lnTo>
                  <a:lnTo>
                    <a:pt x="1027" y="29"/>
                  </a:lnTo>
                  <a:lnTo>
                    <a:pt x="1029" y="27"/>
                  </a:lnTo>
                  <a:lnTo>
                    <a:pt x="1032" y="31"/>
                  </a:lnTo>
                  <a:lnTo>
                    <a:pt x="1035" y="45"/>
                  </a:lnTo>
                  <a:lnTo>
                    <a:pt x="1039" y="38"/>
                  </a:lnTo>
                  <a:lnTo>
                    <a:pt x="1039" y="29"/>
                  </a:lnTo>
                  <a:lnTo>
                    <a:pt x="1044" y="29"/>
                  </a:lnTo>
                  <a:lnTo>
                    <a:pt x="1046" y="33"/>
                  </a:lnTo>
                  <a:lnTo>
                    <a:pt x="1051" y="32"/>
                  </a:lnTo>
                  <a:lnTo>
                    <a:pt x="1055" y="38"/>
                  </a:lnTo>
                  <a:lnTo>
                    <a:pt x="1059" y="43"/>
                  </a:lnTo>
                  <a:lnTo>
                    <a:pt x="1067" y="49"/>
                  </a:lnTo>
                  <a:lnTo>
                    <a:pt x="1070" y="42"/>
                  </a:lnTo>
                  <a:lnTo>
                    <a:pt x="1075" y="41"/>
                  </a:lnTo>
                  <a:lnTo>
                    <a:pt x="1080" y="44"/>
                  </a:lnTo>
                  <a:lnTo>
                    <a:pt x="1082" y="50"/>
                  </a:lnTo>
                  <a:lnTo>
                    <a:pt x="1089" y="58"/>
                  </a:lnTo>
                  <a:lnTo>
                    <a:pt x="1104" y="61"/>
                  </a:lnTo>
                  <a:lnTo>
                    <a:pt x="1108" y="61"/>
                  </a:lnTo>
                  <a:lnTo>
                    <a:pt x="1113" y="63"/>
                  </a:lnTo>
                  <a:lnTo>
                    <a:pt x="1116" y="65"/>
                  </a:lnTo>
                  <a:lnTo>
                    <a:pt x="1123" y="60"/>
                  </a:lnTo>
                  <a:lnTo>
                    <a:pt x="1126" y="59"/>
                  </a:lnTo>
                  <a:lnTo>
                    <a:pt x="1126" y="66"/>
                  </a:lnTo>
                  <a:lnTo>
                    <a:pt x="1131" y="69"/>
                  </a:lnTo>
                  <a:lnTo>
                    <a:pt x="1141" y="69"/>
                  </a:lnTo>
                  <a:lnTo>
                    <a:pt x="1151" y="76"/>
                  </a:lnTo>
                  <a:lnTo>
                    <a:pt x="1159" y="75"/>
                  </a:lnTo>
                  <a:lnTo>
                    <a:pt x="1167" y="79"/>
                  </a:lnTo>
                  <a:lnTo>
                    <a:pt x="1177" y="74"/>
                  </a:lnTo>
                  <a:lnTo>
                    <a:pt x="1179" y="74"/>
                  </a:lnTo>
                  <a:lnTo>
                    <a:pt x="1184" y="81"/>
                  </a:lnTo>
                  <a:lnTo>
                    <a:pt x="1195" y="81"/>
                  </a:lnTo>
                  <a:lnTo>
                    <a:pt x="1200" y="84"/>
                  </a:lnTo>
                  <a:lnTo>
                    <a:pt x="1205" y="90"/>
                  </a:lnTo>
                  <a:lnTo>
                    <a:pt x="1216" y="79"/>
                  </a:lnTo>
                  <a:lnTo>
                    <a:pt x="1221" y="76"/>
                  </a:lnTo>
                  <a:lnTo>
                    <a:pt x="1225" y="75"/>
                  </a:lnTo>
                  <a:lnTo>
                    <a:pt x="1234" y="76"/>
                  </a:lnTo>
                  <a:lnTo>
                    <a:pt x="1244" y="71"/>
                  </a:lnTo>
                  <a:lnTo>
                    <a:pt x="1238" y="82"/>
                  </a:lnTo>
                  <a:lnTo>
                    <a:pt x="1241" y="85"/>
                  </a:lnTo>
                  <a:lnTo>
                    <a:pt x="1243" y="86"/>
                  </a:lnTo>
                  <a:lnTo>
                    <a:pt x="1248" y="81"/>
                  </a:lnTo>
                  <a:lnTo>
                    <a:pt x="1249" y="85"/>
                  </a:lnTo>
                  <a:lnTo>
                    <a:pt x="1248" y="101"/>
                  </a:lnTo>
                  <a:lnTo>
                    <a:pt x="1249" y="104"/>
                  </a:lnTo>
                  <a:lnTo>
                    <a:pt x="1259" y="101"/>
                  </a:lnTo>
                  <a:lnTo>
                    <a:pt x="1264" y="90"/>
                  </a:lnTo>
                  <a:lnTo>
                    <a:pt x="1263" y="88"/>
                  </a:lnTo>
                  <a:lnTo>
                    <a:pt x="1264" y="79"/>
                  </a:lnTo>
                  <a:lnTo>
                    <a:pt x="1274" y="70"/>
                  </a:lnTo>
                  <a:lnTo>
                    <a:pt x="1276" y="72"/>
                  </a:lnTo>
                  <a:lnTo>
                    <a:pt x="1279" y="77"/>
                  </a:lnTo>
                  <a:lnTo>
                    <a:pt x="1280" y="92"/>
                  </a:lnTo>
                  <a:lnTo>
                    <a:pt x="1288" y="87"/>
                  </a:lnTo>
                  <a:lnTo>
                    <a:pt x="1295" y="87"/>
                  </a:lnTo>
                  <a:lnTo>
                    <a:pt x="1299" y="91"/>
                  </a:lnTo>
                  <a:lnTo>
                    <a:pt x="1297" y="96"/>
                  </a:lnTo>
                  <a:lnTo>
                    <a:pt x="1293" y="106"/>
                  </a:lnTo>
                  <a:lnTo>
                    <a:pt x="1287" y="115"/>
                  </a:lnTo>
                  <a:lnTo>
                    <a:pt x="1284" y="119"/>
                  </a:lnTo>
                  <a:lnTo>
                    <a:pt x="1279" y="118"/>
                  </a:lnTo>
                  <a:lnTo>
                    <a:pt x="1277" y="122"/>
                  </a:lnTo>
                  <a:lnTo>
                    <a:pt x="1284" y="130"/>
                  </a:lnTo>
                  <a:lnTo>
                    <a:pt x="1276" y="141"/>
                  </a:lnTo>
                  <a:lnTo>
                    <a:pt x="1272" y="144"/>
                  </a:lnTo>
                  <a:lnTo>
                    <a:pt x="1264" y="141"/>
                  </a:lnTo>
                  <a:lnTo>
                    <a:pt x="1263" y="136"/>
                  </a:lnTo>
                  <a:lnTo>
                    <a:pt x="1258" y="142"/>
                  </a:lnTo>
                  <a:lnTo>
                    <a:pt x="1259" y="151"/>
                  </a:lnTo>
                  <a:lnTo>
                    <a:pt x="1261" y="156"/>
                  </a:lnTo>
                  <a:lnTo>
                    <a:pt x="1258" y="152"/>
                  </a:lnTo>
                  <a:lnTo>
                    <a:pt x="1253" y="145"/>
                  </a:lnTo>
                  <a:lnTo>
                    <a:pt x="1248" y="144"/>
                  </a:lnTo>
                  <a:lnTo>
                    <a:pt x="1247" y="156"/>
                  </a:lnTo>
                  <a:lnTo>
                    <a:pt x="1243" y="165"/>
                  </a:lnTo>
                  <a:lnTo>
                    <a:pt x="1243" y="171"/>
                  </a:lnTo>
                  <a:lnTo>
                    <a:pt x="1253" y="168"/>
                  </a:lnTo>
                  <a:lnTo>
                    <a:pt x="1248" y="187"/>
                  </a:lnTo>
                  <a:lnTo>
                    <a:pt x="1248" y="190"/>
                  </a:lnTo>
                  <a:lnTo>
                    <a:pt x="1238" y="210"/>
                  </a:lnTo>
                  <a:lnTo>
                    <a:pt x="1234" y="221"/>
                  </a:lnTo>
                  <a:lnTo>
                    <a:pt x="1232" y="225"/>
                  </a:lnTo>
                  <a:lnTo>
                    <a:pt x="1228" y="231"/>
                  </a:lnTo>
                  <a:lnTo>
                    <a:pt x="1228" y="242"/>
                  </a:lnTo>
                  <a:lnTo>
                    <a:pt x="1234" y="246"/>
                  </a:lnTo>
                  <a:lnTo>
                    <a:pt x="1238" y="252"/>
                  </a:lnTo>
                  <a:lnTo>
                    <a:pt x="1245" y="251"/>
                  </a:lnTo>
                  <a:lnTo>
                    <a:pt x="1254" y="258"/>
                  </a:lnTo>
                  <a:lnTo>
                    <a:pt x="1269" y="264"/>
                  </a:lnTo>
                  <a:lnTo>
                    <a:pt x="1271" y="274"/>
                  </a:lnTo>
                  <a:lnTo>
                    <a:pt x="1275" y="283"/>
                  </a:lnTo>
                  <a:lnTo>
                    <a:pt x="1275" y="297"/>
                  </a:lnTo>
                  <a:lnTo>
                    <a:pt x="1285" y="290"/>
                  </a:lnTo>
                  <a:lnTo>
                    <a:pt x="1307" y="296"/>
                  </a:lnTo>
                  <a:lnTo>
                    <a:pt x="1320" y="295"/>
                  </a:lnTo>
                  <a:lnTo>
                    <a:pt x="1324" y="302"/>
                  </a:lnTo>
                  <a:lnTo>
                    <a:pt x="1335" y="308"/>
                  </a:lnTo>
                  <a:lnTo>
                    <a:pt x="1345" y="313"/>
                  </a:lnTo>
                  <a:lnTo>
                    <a:pt x="1355" y="319"/>
                  </a:lnTo>
                  <a:lnTo>
                    <a:pt x="1361" y="327"/>
                  </a:lnTo>
                  <a:lnTo>
                    <a:pt x="1370" y="334"/>
                  </a:lnTo>
                  <a:lnTo>
                    <a:pt x="1377" y="335"/>
                  </a:lnTo>
                  <a:lnTo>
                    <a:pt x="1384" y="339"/>
                  </a:lnTo>
                  <a:lnTo>
                    <a:pt x="1411" y="346"/>
                  </a:lnTo>
                  <a:lnTo>
                    <a:pt x="1421" y="354"/>
                  </a:lnTo>
                  <a:lnTo>
                    <a:pt x="1425" y="365"/>
                  </a:lnTo>
                  <a:lnTo>
                    <a:pt x="1430" y="371"/>
                  </a:lnTo>
                  <a:lnTo>
                    <a:pt x="1460" y="392"/>
                  </a:lnTo>
                  <a:lnTo>
                    <a:pt x="1475" y="398"/>
                  </a:lnTo>
                  <a:lnTo>
                    <a:pt x="1487" y="394"/>
                  </a:lnTo>
                  <a:lnTo>
                    <a:pt x="1498" y="389"/>
                  </a:lnTo>
                  <a:lnTo>
                    <a:pt x="1516" y="384"/>
                  </a:lnTo>
                  <a:lnTo>
                    <a:pt x="1521" y="377"/>
                  </a:lnTo>
                  <a:lnTo>
                    <a:pt x="1524" y="356"/>
                  </a:lnTo>
                  <a:lnTo>
                    <a:pt x="1537" y="333"/>
                  </a:lnTo>
                  <a:lnTo>
                    <a:pt x="1548" y="287"/>
                  </a:lnTo>
                  <a:lnTo>
                    <a:pt x="1553" y="270"/>
                  </a:lnTo>
                  <a:lnTo>
                    <a:pt x="1557" y="258"/>
                  </a:lnTo>
                  <a:lnTo>
                    <a:pt x="1560" y="246"/>
                  </a:lnTo>
                  <a:lnTo>
                    <a:pt x="1559" y="231"/>
                  </a:lnTo>
                  <a:lnTo>
                    <a:pt x="1553" y="213"/>
                  </a:lnTo>
                  <a:lnTo>
                    <a:pt x="1555" y="197"/>
                  </a:lnTo>
                  <a:lnTo>
                    <a:pt x="1553" y="165"/>
                  </a:lnTo>
                  <a:lnTo>
                    <a:pt x="1561" y="145"/>
                  </a:lnTo>
                  <a:lnTo>
                    <a:pt x="1560" y="128"/>
                  </a:lnTo>
                  <a:lnTo>
                    <a:pt x="1565" y="118"/>
                  </a:lnTo>
                  <a:lnTo>
                    <a:pt x="1566" y="108"/>
                  </a:lnTo>
                  <a:lnTo>
                    <a:pt x="1559" y="106"/>
                  </a:lnTo>
                  <a:lnTo>
                    <a:pt x="1560" y="95"/>
                  </a:lnTo>
                  <a:lnTo>
                    <a:pt x="1564" y="76"/>
                  </a:lnTo>
                  <a:lnTo>
                    <a:pt x="1575" y="72"/>
                  </a:lnTo>
                  <a:lnTo>
                    <a:pt x="1578" y="64"/>
                  </a:lnTo>
                  <a:lnTo>
                    <a:pt x="1583" y="45"/>
                  </a:lnTo>
                  <a:lnTo>
                    <a:pt x="1596" y="29"/>
                  </a:lnTo>
                  <a:lnTo>
                    <a:pt x="1596" y="16"/>
                  </a:lnTo>
                  <a:lnTo>
                    <a:pt x="1596" y="15"/>
                  </a:lnTo>
                  <a:lnTo>
                    <a:pt x="1599" y="11"/>
                  </a:lnTo>
                  <a:lnTo>
                    <a:pt x="1604" y="10"/>
                  </a:lnTo>
                  <a:lnTo>
                    <a:pt x="1613" y="5"/>
                  </a:lnTo>
                  <a:lnTo>
                    <a:pt x="1616" y="0"/>
                  </a:lnTo>
                  <a:lnTo>
                    <a:pt x="1623" y="2"/>
                  </a:lnTo>
                  <a:lnTo>
                    <a:pt x="1623" y="7"/>
                  </a:lnTo>
                  <a:lnTo>
                    <a:pt x="1624" y="16"/>
                  </a:lnTo>
                  <a:lnTo>
                    <a:pt x="1623" y="16"/>
                  </a:lnTo>
                  <a:lnTo>
                    <a:pt x="1623" y="17"/>
                  </a:lnTo>
                  <a:lnTo>
                    <a:pt x="1625" y="31"/>
                  </a:lnTo>
                  <a:lnTo>
                    <a:pt x="1625" y="58"/>
                  </a:lnTo>
                  <a:lnTo>
                    <a:pt x="1629" y="68"/>
                  </a:lnTo>
                  <a:lnTo>
                    <a:pt x="1639" y="68"/>
                  </a:lnTo>
                  <a:lnTo>
                    <a:pt x="1641" y="74"/>
                  </a:lnTo>
                  <a:lnTo>
                    <a:pt x="1640" y="88"/>
                  </a:lnTo>
                  <a:lnTo>
                    <a:pt x="1646" y="93"/>
                  </a:lnTo>
                  <a:lnTo>
                    <a:pt x="1650" y="103"/>
                  </a:lnTo>
                  <a:lnTo>
                    <a:pt x="1655" y="107"/>
                  </a:lnTo>
                  <a:lnTo>
                    <a:pt x="1656" y="122"/>
                  </a:lnTo>
                  <a:lnTo>
                    <a:pt x="1661" y="124"/>
                  </a:lnTo>
                  <a:lnTo>
                    <a:pt x="1663" y="139"/>
                  </a:lnTo>
                  <a:lnTo>
                    <a:pt x="1667" y="151"/>
                  </a:lnTo>
                  <a:lnTo>
                    <a:pt x="1667" y="171"/>
                  </a:lnTo>
                  <a:lnTo>
                    <a:pt x="1670" y="179"/>
                  </a:lnTo>
                  <a:lnTo>
                    <a:pt x="1672" y="189"/>
                  </a:lnTo>
                  <a:lnTo>
                    <a:pt x="1677" y="199"/>
                  </a:lnTo>
                  <a:lnTo>
                    <a:pt x="1684" y="208"/>
                  </a:lnTo>
                  <a:lnTo>
                    <a:pt x="1693" y="211"/>
                  </a:lnTo>
                  <a:lnTo>
                    <a:pt x="1705" y="200"/>
                  </a:lnTo>
                  <a:lnTo>
                    <a:pt x="1715" y="198"/>
                  </a:lnTo>
                  <a:lnTo>
                    <a:pt x="1723" y="199"/>
                  </a:lnTo>
                  <a:lnTo>
                    <a:pt x="1729" y="215"/>
                  </a:lnTo>
                  <a:lnTo>
                    <a:pt x="1739" y="219"/>
                  </a:lnTo>
                  <a:lnTo>
                    <a:pt x="1747" y="228"/>
                  </a:lnTo>
                  <a:lnTo>
                    <a:pt x="1755" y="232"/>
                  </a:lnTo>
                  <a:lnTo>
                    <a:pt x="1764" y="242"/>
                  </a:lnTo>
                  <a:lnTo>
                    <a:pt x="1761" y="252"/>
                  </a:lnTo>
                  <a:lnTo>
                    <a:pt x="1764" y="258"/>
                  </a:lnTo>
                  <a:lnTo>
                    <a:pt x="1763" y="276"/>
                  </a:lnTo>
                  <a:lnTo>
                    <a:pt x="1766" y="286"/>
                  </a:lnTo>
                  <a:lnTo>
                    <a:pt x="1766" y="295"/>
                  </a:lnTo>
                  <a:lnTo>
                    <a:pt x="1771" y="303"/>
                  </a:lnTo>
                  <a:lnTo>
                    <a:pt x="1771" y="319"/>
                  </a:lnTo>
                  <a:lnTo>
                    <a:pt x="1775" y="332"/>
                  </a:lnTo>
                  <a:lnTo>
                    <a:pt x="1787" y="349"/>
                  </a:lnTo>
                  <a:lnTo>
                    <a:pt x="1796" y="349"/>
                  </a:lnTo>
                  <a:lnTo>
                    <a:pt x="1797" y="361"/>
                  </a:lnTo>
                  <a:lnTo>
                    <a:pt x="1804" y="381"/>
                  </a:lnTo>
                  <a:lnTo>
                    <a:pt x="1807" y="393"/>
                  </a:lnTo>
                  <a:lnTo>
                    <a:pt x="1808" y="409"/>
                  </a:lnTo>
                  <a:lnTo>
                    <a:pt x="1806" y="416"/>
                  </a:lnTo>
                  <a:lnTo>
                    <a:pt x="1806" y="426"/>
                  </a:lnTo>
                  <a:lnTo>
                    <a:pt x="1808" y="437"/>
                  </a:lnTo>
                  <a:lnTo>
                    <a:pt x="1814" y="443"/>
                  </a:lnTo>
                  <a:lnTo>
                    <a:pt x="1819" y="445"/>
                  </a:lnTo>
                  <a:lnTo>
                    <a:pt x="1818" y="448"/>
                  </a:lnTo>
                  <a:lnTo>
                    <a:pt x="1822" y="445"/>
                  </a:lnTo>
                  <a:lnTo>
                    <a:pt x="1822" y="447"/>
                  </a:lnTo>
                  <a:lnTo>
                    <a:pt x="1819" y="452"/>
                  </a:lnTo>
                  <a:lnTo>
                    <a:pt x="1820" y="454"/>
                  </a:lnTo>
                  <a:lnTo>
                    <a:pt x="1820" y="461"/>
                  </a:lnTo>
                  <a:lnTo>
                    <a:pt x="1824" y="470"/>
                  </a:lnTo>
                  <a:lnTo>
                    <a:pt x="1838" y="475"/>
                  </a:lnTo>
                  <a:lnTo>
                    <a:pt x="1841" y="480"/>
                  </a:lnTo>
                  <a:lnTo>
                    <a:pt x="1851" y="485"/>
                  </a:lnTo>
                  <a:lnTo>
                    <a:pt x="1871" y="490"/>
                  </a:lnTo>
                  <a:lnTo>
                    <a:pt x="1874" y="489"/>
                  </a:lnTo>
                  <a:lnTo>
                    <a:pt x="1881" y="485"/>
                  </a:lnTo>
                  <a:lnTo>
                    <a:pt x="1884" y="502"/>
                  </a:lnTo>
                  <a:lnTo>
                    <a:pt x="1888" y="511"/>
                  </a:lnTo>
                  <a:lnTo>
                    <a:pt x="1893" y="515"/>
                  </a:lnTo>
                  <a:lnTo>
                    <a:pt x="1903" y="512"/>
                  </a:lnTo>
                  <a:lnTo>
                    <a:pt x="1911" y="517"/>
                  </a:lnTo>
                  <a:lnTo>
                    <a:pt x="1920" y="518"/>
                  </a:lnTo>
                  <a:lnTo>
                    <a:pt x="1925" y="527"/>
                  </a:lnTo>
                  <a:lnTo>
                    <a:pt x="1931" y="533"/>
                  </a:lnTo>
                  <a:lnTo>
                    <a:pt x="1937" y="529"/>
                  </a:lnTo>
                  <a:lnTo>
                    <a:pt x="1942" y="533"/>
                  </a:lnTo>
                  <a:lnTo>
                    <a:pt x="1954" y="540"/>
                  </a:lnTo>
                  <a:lnTo>
                    <a:pt x="1958" y="545"/>
                  </a:lnTo>
                  <a:lnTo>
                    <a:pt x="1960" y="556"/>
                  </a:lnTo>
                  <a:lnTo>
                    <a:pt x="1953" y="554"/>
                  </a:lnTo>
                  <a:lnTo>
                    <a:pt x="1952" y="566"/>
                  </a:lnTo>
                  <a:lnTo>
                    <a:pt x="1958" y="572"/>
                  </a:lnTo>
                  <a:lnTo>
                    <a:pt x="1968" y="574"/>
                  </a:lnTo>
                  <a:lnTo>
                    <a:pt x="1970" y="580"/>
                  </a:lnTo>
                  <a:lnTo>
                    <a:pt x="1978" y="588"/>
                  </a:lnTo>
                  <a:lnTo>
                    <a:pt x="1980" y="597"/>
                  </a:lnTo>
                  <a:lnTo>
                    <a:pt x="1983" y="603"/>
                  </a:lnTo>
                  <a:lnTo>
                    <a:pt x="1985" y="610"/>
                  </a:lnTo>
                  <a:lnTo>
                    <a:pt x="1992" y="612"/>
                  </a:lnTo>
                  <a:lnTo>
                    <a:pt x="1994" y="619"/>
                  </a:lnTo>
                  <a:lnTo>
                    <a:pt x="1994" y="645"/>
                  </a:lnTo>
                  <a:lnTo>
                    <a:pt x="1996" y="651"/>
                  </a:lnTo>
                  <a:lnTo>
                    <a:pt x="1997" y="658"/>
                  </a:lnTo>
                  <a:lnTo>
                    <a:pt x="2002" y="662"/>
                  </a:lnTo>
                  <a:lnTo>
                    <a:pt x="2005" y="671"/>
                  </a:lnTo>
                  <a:lnTo>
                    <a:pt x="2007" y="672"/>
                  </a:lnTo>
                  <a:lnTo>
                    <a:pt x="2011" y="669"/>
                  </a:lnTo>
                  <a:lnTo>
                    <a:pt x="2017" y="669"/>
                  </a:lnTo>
                  <a:lnTo>
                    <a:pt x="2017" y="655"/>
                  </a:lnTo>
                  <a:lnTo>
                    <a:pt x="2023" y="650"/>
                  </a:lnTo>
                  <a:lnTo>
                    <a:pt x="2027" y="660"/>
                  </a:lnTo>
                  <a:lnTo>
                    <a:pt x="2032" y="665"/>
                  </a:lnTo>
                  <a:lnTo>
                    <a:pt x="2043" y="669"/>
                  </a:lnTo>
                  <a:lnTo>
                    <a:pt x="2051" y="676"/>
                  </a:lnTo>
                  <a:lnTo>
                    <a:pt x="2054" y="661"/>
                  </a:lnTo>
                  <a:lnTo>
                    <a:pt x="2057" y="665"/>
                  </a:lnTo>
                  <a:lnTo>
                    <a:pt x="2059" y="671"/>
                  </a:lnTo>
                  <a:lnTo>
                    <a:pt x="2061" y="674"/>
                  </a:lnTo>
                  <a:lnTo>
                    <a:pt x="2065" y="690"/>
                  </a:lnTo>
                  <a:lnTo>
                    <a:pt x="2065" y="720"/>
                  </a:lnTo>
                  <a:lnTo>
                    <a:pt x="2068" y="733"/>
                  </a:lnTo>
                  <a:lnTo>
                    <a:pt x="2077" y="739"/>
                  </a:lnTo>
                  <a:lnTo>
                    <a:pt x="2083" y="748"/>
                  </a:lnTo>
                  <a:lnTo>
                    <a:pt x="2098" y="760"/>
                  </a:lnTo>
                  <a:lnTo>
                    <a:pt x="2110" y="760"/>
                  </a:lnTo>
                  <a:lnTo>
                    <a:pt x="2118" y="766"/>
                  </a:lnTo>
                  <a:lnTo>
                    <a:pt x="2124" y="774"/>
                  </a:lnTo>
                  <a:lnTo>
                    <a:pt x="2130" y="785"/>
                  </a:lnTo>
                  <a:lnTo>
                    <a:pt x="2132" y="791"/>
                  </a:lnTo>
                  <a:lnTo>
                    <a:pt x="2141" y="800"/>
                  </a:lnTo>
                  <a:lnTo>
                    <a:pt x="2151" y="802"/>
                  </a:lnTo>
                  <a:lnTo>
                    <a:pt x="2151" y="806"/>
                  </a:lnTo>
                  <a:lnTo>
                    <a:pt x="2163" y="824"/>
                  </a:lnTo>
                  <a:lnTo>
                    <a:pt x="2162" y="830"/>
                  </a:lnTo>
                  <a:lnTo>
                    <a:pt x="2173" y="835"/>
                  </a:lnTo>
                  <a:lnTo>
                    <a:pt x="2177" y="844"/>
                  </a:lnTo>
                  <a:lnTo>
                    <a:pt x="2178" y="862"/>
                  </a:lnTo>
                  <a:lnTo>
                    <a:pt x="2184" y="872"/>
                  </a:lnTo>
                  <a:lnTo>
                    <a:pt x="2186" y="876"/>
                  </a:lnTo>
                  <a:lnTo>
                    <a:pt x="2190" y="871"/>
                  </a:lnTo>
                  <a:lnTo>
                    <a:pt x="2191" y="886"/>
                  </a:lnTo>
                  <a:lnTo>
                    <a:pt x="2189" y="900"/>
                  </a:lnTo>
                  <a:lnTo>
                    <a:pt x="2191" y="911"/>
                  </a:lnTo>
                  <a:lnTo>
                    <a:pt x="2194" y="938"/>
                  </a:lnTo>
                  <a:lnTo>
                    <a:pt x="2197" y="948"/>
                  </a:lnTo>
                  <a:lnTo>
                    <a:pt x="2193" y="945"/>
                  </a:lnTo>
                  <a:lnTo>
                    <a:pt x="2191" y="952"/>
                  </a:lnTo>
                  <a:lnTo>
                    <a:pt x="2193" y="956"/>
                  </a:lnTo>
                  <a:lnTo>
                    <a:pt x="2194" y="963"/>
                  </a:lnTo>
                  <a:lnTo>
                    <a:pt x="2197" y="967"/>
                  </a:lnTo>
                  <a:lnTo>
                    <a:pt x="2200" y="979"/>
                  </a:lnTo>
                  <a:lnTo>
                    <a:pt x="2207" y="995"/>
                  </a:lnTo>
                  <a:lnTo>
                    <a:pt x="2216" y="1023"/>
                  </a:lnTo>
                  <a:lnTo>
                    <a:pt x="2217" y="1050"/>
                  </a:lnTo>
                  <a:lnTo>
                    <a:pt x="2215" y="1066"/>
                  </a:lnTo>
                  <a:lnTo>
                    <a:pt x="2211" y="1074"/>
                  </a:lnTo>
                  <a:lnTo>
                    <a:pt x="2206" y="1090"/>
                  </a:lnTo>
                  <a:lnTo>
                    <a:pt x="2204" y="1110"/>
                  </a:lnTo>
                  <a:lnTo>
                    <a:pt x="2199" y="1142"/>
                  </a:lnTo>
                  <a:lnTo>
                    <a:pt x="2196" y="1145"/>
                  </a:lnTo>
                  <a:lnTo>
                    <a:pt x="2189" y="1164"/>
                  </a:lnTo>
                  <a:lnTo>
                    <a:pt x="2188" y="1182"/>
                  </a:lnTo>
                  <a:lnTo>
                    <a:pt x="2190" y="1201"/>
                  </a:lnTo>
                  <a:lnTo>
                    <a:pt x="2186" y="1207"/>
                  </a:lnTo>
                  <a:lnTo>
                    <a:pt x="2186" y="1214"/>
                  </a:lnTo>
                  <a:lnTo>
                    <a:pt x="2172" y="1252"/>
                  </a:lnTo>
                  <a:lnTo>
                    <a:pt x="2167" y="1258"/>
                  </a:lnTo>
                  <a:lnTo>
                    <a:pt x="2162" y="1266"/>
                  </a:lnTo>
                  <a:lnTo>
                    <a:pt x="2156" y="1273"/>
                  </a:lnTo>
                  <a:lnTo>
                    <a:pt x="2156" y="1280"/>
                  </a:lnTo>
                  <a:lnTo>
                    <a:pt x="2158" y="1285"/>
                  </a:lnTo>
                  <a:lnTo>
                    <a:pt x="2153" y="1291"/>
                  </a:lnTo>
                  <a:lnTo>
                    <a:pt x="2145" y="1302"/>
                  </a:lnTo>
                  <a:lnTo>
                    <a:pt x="2137" y="1302"/>
                  </a:lnTo>
                  <a:lnTo>
                    <a:pt x="2135" y="1306"/>
                  </a:lnTo>
                  <a:lnTo>
                    <a:pt x="2141" y="1308"/>
                  </a:lnTo>
                  <a:lnTo>
                    <a:pt x="2130" y="1312"/>
                  </a:lnTo>
                  <a:lnTo>
                    <a:pt x="2123" y="1316"/>
                  </a:lnTo>
                  <a:lnTo>
                    <a:pt x="2120" y="1323"/>
                  </a:lnTo>
                  <a:lnTo>
                    <a:pt x="2114" y="1331"/>
                  </a:lnTo>
                  <a:lnTo>
                    <a:pt x="2108" y="1346"/>
                  </a:lnTo>
                  <a:lnTo>
                    <a:pt x="2100" y="1357"/>
                  </a:lnTo>
                  <a:lnTo>
                    <a:pt x="2094" y="1359"/>
                  </a:lnTo>
                  <a:lnTo>
                    <a:pt x="2091" y="1360"/>
                  </a:lnTo>
                  <a:lnTo>
                    <a:pt x="2089" y="1365"/>
                  </a:lnTo>
                  <a:lnTo>
                    <a:pt x="2097" y="1367"/>
                  </a:lnTo>
                  <a:lnTo>
                    <a:pt x="2096" y="1379"/>
                  </a:lnTo>
                  <a:lnTo>
                    <a:pt x="2091" y="1392"/>
                  </a:lnTo>
                  <a:lnTo>
                    <a:pt x="2088" y="1392"/>
                  </a:lnTo>
                  <a:lnTo>
                    <a:pt x="2087" y="1400"/>
                  </a:lnTo>
                  <a:lnTo>
                    <a:pt x="2078" y="1411"/>
                  </a:lnTo>
                  <a:lnTo>
                    <a:pt x="2065" y="1458"/>
                  </a:lnTo>
                  <a:lnTo>
                    <a:pt x="2065" y="1468"/>
                  </a:lnTo>
                  <a:lnTo>
                    <a:pt x="2056" y="1462"/>
                  </a:lnTo>
                  <a:lnTo>
                    <a:pt x="2049" y="1481"/>
                  </a:lnTo>
                  <a:lnTo>
                    <a:pt x="2044" y="1487"/>
                  </a:lnTo>
                  <a:lnTo>
                    <a:pt x="2041" y="1497"/>
                  </a:lnTo>
                  <a:lnTo>
                    <a:pt x="2038" y="1500"/>
                  </a:lnTo>
                  <a:lnTo>
                    <a:pt x="2034" y="1506"/>
                  </a:lnTo>
                  <a:lnTo>
                    <a:pt x="2033" y="1521"/>
                  </a:lnTo>
                  <a:lnTo>
                    <a:pt x="2029" y="1538"/>
                  </a:lnTo>
                  <a:lnTo>
                    <a:pt x="2033" y="1546"/>
                  </a:lnTo>
                  <a:lnTo>
                    <a:pt x="2030" y="1550"/>
                  </a:lnTo>
                  <a:lnTo>
                    <a:pt x="2029" y="1562"/>
                  </a:lnTo>
                  <a:lnTo>
                    <a:pt x="2023" y="1577"/>
                  </a:lnTo>
                  <a:lnTo>
                    <a:pt x="2021" y="1587"/>
                  </a:lnTo>
                  <a:lnTo>
                    <a:pt x="2021" y="1593"/>
                  </a:lnTo>
                  <a:lnTo>
                    <a:pt x="2024" y="1603"/>
                  </a:lnTo>
                  <a:lnTo>
                    <a:pt x="2024" y="1613"/>
                  </a:lnTo>
                  <a:lnTo>
                    <a:pt x="2023" y="1621"/>
                  </a:lnTo>
                  <a:lnTo>
                    <a:pt x="2021" y="1629"/>
                  </a:lnTo>
                  <a:lnTo>
                    <a:pt x="2012" y="1624"/>
                  </a:lnTo>
                  <a:lnTo>
                    <a:pt x="2008" y="1625"/>
                  </a:lnTo>
                  <a:lnTo>
                    <a:pt x="2007" y="1637"/>
                  </a:lnTo>
                  <a:lnTo>
                    <a:pt x="1987" y="1643"/>
                  </a:lnTo>
                  <a:lnTo>
                    <a:pt x="1932" y="1645"/>
                  </a:lnTo>
                  <a:lnTo>
                    <a:pt x="1920" y="1648"/>
                  </a:lnTo>
                  <a:lnTo>
                    <a:pt x="1898" y="1661"/>
                  </a:lnTo>
                  <a:lnTo>
                    <a:pt x="1888" y="1669"/>
                  </a:lnTo>
                  <a:lnTo>
                    <a:pt x="1874" y="1678"/>
                  </a:lnTo>
                  <a:lnTo>
                    <a:pt x="1868" y="1685"/>
                  </a:lnTo>
                  <a:lnTo>
                    <a:pt x="1866" y="1691"/>
                  </a:lnTo>
                  <a:lnTo>
                    <a:pt x="1854" y="1699"/>
                  </a:lnTo>
                  <a:lnTo>
                    <a:pt x="1847" y="1705"/>
                  </a:lnTo>
                  <a:lnTo>
                    <a:pt x="1844" y="1701"/>
                  </a:lnTo>
                  <a:lnTo>
                    <a:pt x="1830" y="1705"/>
                  </a:lnTo>
                  <a:lnTo>
                    <a:pt x="1823" y="1705"/>
                  </a:lnTo>
                  <a:lnTo>
                    <a:pt x="1819" y="1706"/>
                  </a:lnTo>
                  <a:lnTo>
                    <a:pt x="1818" y="1715"/>
                  </a:lnTo>
                  <a:lnTo>
                    <a:pt x="1822" y="1720"/>
                  </a:lnTo>
                  <a:lnTo>
                    <a:pt x="1825" y="1713"/>
                  </a:lnTo>
                  <a:lnTo>
                    <a:pt x="1831" y="1709"/>
                  </a:lnTo>
                  <a:lnTo>
                    <a:pt x="1836" y="1709"/>
                  </a:lnTo>
                  <a:lnTo>
                    <a:pt x="1833" y="1720"/>
                  </a:lnTo>
                  <a:lnTo>
                    <a:pt x="1831" y="1729"/>
                  </a:lnTo>
                  <a:lnTo>
                    <a:pt x="1826" y="1736"/>
                  </a:lnTo>
                  <a:lnTo>
                    <a:pt x="1813" y="1717"/>
                  </a:lnTo>
                  <a:lnTo>
                    <a:pt x="1808" y="1717"/>
                  </a:lnTo>
                  <a:lnTo>
                    <a:pt x="1799" y="1713"/>
                  </a:lnTo>
                  <a:lnTo>
                    <a:pt x="1796" y="1704"/>
                  </a:lnTo>
                  <a:lnTo>
                    <a:pt x="1785" y="1704"/>
                  </a:lnTo>
                  <a:lnTo>
                    <a:pt x="1777" y="1696"/>
                  </a:lnTo>
                  <a:lnTo>
                    <a:pt x="1776" y="1690"/>
                  </a:lnTo>
                  <a:lnTo>
                    <a:pt x="1779" y="1679"/>
                  </a:lnTo>
                  <a:lnTo>
                    <a:pt x="1772" y="1673"/>
                  </a:lnTo>
                  <a:lnTo>
                    <a:pt x="1760" y="1682"/>
                  </a:lnTo>
                  <a:lnTo>
                    <a:pt x="1750" y="1685"/>
                  </a:lnTo>
                  <a:lnTo>
                    <a:pt x="1739" y="1682"/>
                  </a:lnTo>
                  <a:lnTo>
                    <a:pt x="1736" y="1675"/>
                  </a:lnTo>
                  <a:lnTo>
                    <a:pt x="1749" y="1675"/>
                  </a:lnTo>
                  <a:lnTo>
                    <a:pt x="1752" y="1666"/>
                  </a:lnTo>
                  <a:lnTo>
                    <a:pt x="1750" y="1652"/>
                  </a:lnTo>
                  <a:lnTo>
                    <a:pt x="1741" y="1647"/>
                  </a:lnTo>
                  <a:lnTo>
                    <a:pt x="1725" y="1659"/>
                  </a:lnTo>
                  <a:lnTo>
                    <a:pt x="1715" y="1661"/>
                  </a:lnTo>
                  <a:lnTo>
                    <a:pt x="1728" y="1669"/>
                  </a:lnTo>
                  <a:lnTo>
                    <a:pt x="1729" y="1672"/>
                  </a:lnTo>
                  <a:lnTo>
                    <a:pt x="1721" y="1673"/>
                  </a:lnTo>
                  <a:lnTo>
                    <a:pt x="1710" y="1678"/>
                  </a:lnTo>
                  <a:lnTo>
                    <a:pt x="1699" y="1686"/>
                  </a:lnTo>
                  <a:lnTo>
                    <a:pt x="1690" y="1701"/>
                  </a:lnTo>
                  <a:lnTo>
                    <a:pt x="1672" y="1710"/>
                  </a:lnTo>
                  <a:lnTo>
                    <a:pt x="1658" y="1713"/>
                  </a:lnTo>
                  <a:lnTo>
                    <a:pt x="1655" y="1709"/>
                  </a:lnTo>
                  <a:lnTo>
                    <a:pt x="1635" y="1699"/>
                  </a:lnTo>
                  <a:lnTo>
                    <a:pt x="1616" y="1686"/>
                  </a:lnTo>
                  <a:lnTo>
                    <a:pt x="1607" y="1683"/>
                  </a:lnTo>
                  <a:lnTo>
                    <a:pt x="1593" y="1682"/>
                  </a:lnTo>
                  <a:lnTo>
                    <a:pt x="1572" y="1674"/>
                  </a:lnTo>
                  <a:lnTo>
                    <a:pt x="1564" y="1675"/>
                  </a:lnTo>
                  <a:lnTo>
                    <a:pt x="1555" y="1682"/>
                  </a:lnTo>
                  <a:lnTo>
                    <a:pt x="1548" y="1671"/>
                  </a:lnTo>
                  <a:lnTo>
                    <a:pt x="1529" y="1659"/>
                  </a:lnTo>
                  <a:lnTo>
                    <a:pt x="1511" y="1658"/>
                  </a:lnTo>
                  <a:lnTo>
                    <a:pt x="1496" y="1650"/>
                  </a:lnTo>
                  <a:lnTo>
                    <a:pt x="1486" y="1639"/>
                  </a:lnTo>
                  <a:lnTo>
                    <a:pt x="1481" y="1625"/>
                  </a:lnTo>
                  <a:lnTo>
                    <a:pt x="1470" y="1618"/>
                  </a:lnTo>
                  <a:lnTo>
                    <a:pt x="1458" y="1588"/>
                  </a:lnTo>
                  <a:lnTo>
                    <a:pt x="1457" y="1582"/>
                  </a:lnTo>
                  <a:lnTo>
                    <a:pt x="1462" y="1572"/>
                  </a:lnTo>
                  <a:lnTo>
                    <a:pt x="1463" y="1559"/>
                  </a:lnTo>
                  <a:lnTo>
                    <a:pt x="1453" y="1530"/>
                  </a:lnTo>
                  <a:lnTo>
                    <a:pt x="1430" y="1500"/>
                  </a:lnTo>
                  <a:lnTo>
                    <a:pt x="1437" y="1483"/>
                  </a:lnTo>
                  <a:lnTo>
                    <a:pt x="1436" y="1480"/>
                  </a:lnTo>
                  <a:lnTo>
                    <a:pt x="1421" y="1481"/>
                  </a:lnTo>
                  <a:lnTo>
                    <a:pt x="1406" y="1490"/>
                  </a:lnTo>
                  <a:lnTo>
                    <a:pt x="1389" y="1496"/>
                  </a:lnTo>
                  <a:lnTo>
                    <a:pt x="1379" y="1497"/>
                  </a:lnTo>
                  <a:lnTo>
                    <a:pt x="1372" y="1495"/>
                  </a:lnTo>
                  <a:lnTo>
                    <a:pt x="1379" y="1484"/>
                  </a:lnTo>
                  <a:lnTo>
                    <a:pt x="1387" y="1468"/>
                  </a:lnTo>
                  <a:lnTo>
                    <a:pt x="1390" y="1453"/>
                  </a:lnTo>
                  <a:lnTo>
                    <a:pt x="1390" y="1436"/>
                  </a:lnTo>
                  <a:lnTo>
                    <a:pt x="1384" y="1419"/>
                  </a:lnTo>
                  <a:lnTo>
                    <a:pt x="1376" y="1406"/>
                  </a:lnTo>
                  <a:lnTo>
                    <a:pt x="1368" y="1400"/>
                  </a:lnTo>
                  <a:lnTo>
                    <a:pt x="1356" y="1424"/>
                  </a:lnTo>
                  <a:lnTo>
                    <a:pt x="1356" y="1436"/>
                  </a:lnTo>
                  <a:lnTo>
                    <a:pt x="1352" y="1448"/>
                  </a:lnTo>
                  <a:lnTo>
                    <a:pt x="1350" y="1460"/>
                  </a:lnTo>
                  <a:lnTo>
                    <a:pt x="1349" y="1463"/>
                  </a:lnTo>
                  <a:lnTo>
                    <a:pt x="1340" y="1462"/>
                  </a:lnTo>
                  <a:lnTo>
                    <a:pt x="1329" y="1467"/>
                  </a:lnTo>
                  <a:lnTo>
                    <a:pt x="1317" y="1467"/>
                  </a:lnTo>
                  <a:lnTo>
                    <a:pt x="1307" y="1473"/>
                  </a:lnTo>
                  <a:lnTo>
                    <a:pt x="1301" y="1467"/>
                  </a:lnTo>
                  <a:lnTo>
                    <a:pt x="1306" y="1448"/>
                  </a:lnTo>
                  <a:lnTo>
                    <a:pt x="1319" y="1449"/>
                  </a:lnTo>
                  <a:lnTo>
                    <a:pt x="1330" y="1443"/>
                  </a:lnTo>
                  <a:lnTo>
                    <a:pt x="1334" y="1429"/>
                  </a:lnTo>
                  <a:lnTo>
                    <a:pt x="1335" y="1417"/>
                  </a:lnTo>
                  <a:lnTo>
                    <a:pt x="1333" y="1415"/>
                  </a:lnTo>
                  <a:lnTo>
                    <a:pt x="1333" y="1411"/>
                  </a:lnTo>
                  <a:lnTo>
                    <a:pt x="1334" y="1405"/>
                  </a:lnTo>
                  <a:lnTo>
                    <a:pt x="1334" y="1397"/>
                  </a:lnTo>
                  <a:lnTo>
                    <a:pt x="1339" y="1384"/>
                  </a:lnTo>
                  <a:lnTo>
                    <a:pt x="1345" y="1368"/>
                  </a:lnTo>
                  <a:lnTo>
                    <a:pt x="1351" y="1365"/>
                  </a:lnTo>
                  <a:lnTo>
                    <a:pt x="1357" y="1355"/>
                  </a:lnTo>
                  <a:lnTo>
                    <a:pt x="1357" y="1330"/>
                  </a:lnTo>
                  <a:lnTo>
                    <a:pt x="1363" y="1331"/>
                  </a:lnTo>
                  <a:lnTo>
                    <a:pt x="1362" y="1324"/>
                  </a:lnTo>
                  <a:lnTo>
                    <a:pt x="1358" y="1317"/>
                  </a:lnTo>
                  <a:lnTo>
                    <a:pt x="1358" y="1307"/>
                  </a:lnTo>
                  <a:lnTo>
                    <a:pt x="1355" y="1304"/>
                  </a:lnTo>
                  <a:lnTo>
                    <a:pt x="1355" y="1293"/>
                  </a:lnTo>
                  <a:lnTo>
                    <a:pt x="1350" y="1288"/>
                  </a:lnTo>
                  <a:lnTo>
                    <a:pt x="1347" y="1297"/>
                  </a:lnTo>
                  <a:lnTo>
                    <a:pt x="1347" y="1317"/>
                  </a:lnTo>
                  <a:lnTo>
                    <a:pt x="1342" y="1318"/>
                  </a:lnTo>
                  <a:lnTo>
                    <a:pt x="1335" y="1330"/>
                  </a:lnTo>
                  <a:lnTo>
                    <a:pt x="1330" y="1341"/>
                  </a:lnTo>
                  <a:lnTo>
                    <a:pt x="1324" y="1354"/>
                  </a:lnTo>
                  <a:lnTo>
                    <a:pt x="1323" y="1360"/>
                  </a:lnTo>
                  <a:lnTo>
                    <a:pt x="1318" y="1368"/>
                  </a:lnTo>
                  <a:lnTo>
                    <a:pt x="1307" y="1367"/>
                  </a:lnTo>
                  <a:lnTo>
                    <a:pt x="1302" y="1370"/>
                  </a:lnTo>
                  <a:lnTo>
                    <a:pt x="1301" y="1374"/>
                  </a:lnTo>
                  <a:lnTo>
                    <a:pt x="1287" y="1382"/>
                  </a:lnTo>
                  <a:lnTo>
                    <a:pt x="1282" y="1388"/>
                  </a:lnTo>
                  <a:lnTo>
                    <a:pt x="1275" y="1390"/>
                  </a:lnTo>
                  <a:lnTo>
                    <a:pt x="1269" y="1405"/>
                  </a:lnTo>
                  <a:lnTo>
                    <a:pt x="1259" y="1417"/>
                  </a:lnTo>
                  <a:lnTo>
                    <a:pt x="1249" y="1425"/>
                  </a:lnTo>
                  <a:lnTo>
                    <a:pt x="1245" y="1437"/>
                  </a:lnTo>
                  <a:lnTo>
                    <a:pt x="1252" y="1437"/>
                  </a:lnTo>
                  <a:lnTo>
                    <a:pt x="1252" y="1454"/>
                  </a:lnTo>
                  <a:lnTo>
                    <a:pt x="1245" y="1449"/>
                  </a:lnTo>
                  <a:lnTo>
                    <a:pt x="1238" y="1452"/>
                  </a:lnTo>
                  <a:lnTo>
                    <a:pt x="1229" y="1440"/>
                  </a:lnTo>
                  <a:lnTo>
                    <a:pt x="1220" y="1433"/>
                  </a:lnTo>
                  <a:lnTo>
                    <a:pt x="1214" y="1427"/>
                  </a:lnTo>
                  <a:lnTo>
                    <a:pt x="1205" y="1426"/>
                  </a:lnTo>
                  <a:lnTo>
                    <a:pt x="1205" y="1416"/>
                  </a:lnTo>
                  <a:lnTo>
                    <a:pt x="1221" y="1427"/>
                  </a:lnTo>
                  <a:lnTo>
                    <a:pt x="1222" y="1419"/>
                  </a:lnTo>
                  <a:lnTo>
                    <a:pt x="1220" y="1405"/>
                  </a:lnTo>
                  <a:lnTo>
                    <a:pt x="1214" y="1398"/>
                  </a:lnTo>
                  <a:lnTo>
                    <a:pt x="1211" y="1383"/>
                  </a:lnTo>
                  <a:lnTo>
                    <a:pt x="1204" y="1372"/>
                  </a:lnTo>
                  <a:lnTo>
                    <a:pt x="1195" y="1365"/>
                  </a:lnTo>
                  <a:lnTo>
                    <a:pt x="1190" y="1347"/>
                  </a:lnTo>
                  <a:lnTo>
                    <a:pt x="1186" y="1343"/>
                  </a:lnTo>
                  <a:lnTo>
                    <a:pt x="1183" y="1334"/>
                  </a:lnTo>
                  <a:lnTo>
                    <a:pt x="1177" y="1335"/>
                  </a:lnTo>
                  <a:lnTo>
                    <a:pt x="1166" y="1330"/>
                  </a:lnTo>
                  <a:lnTo>
                    <a:pt x="1156" y="1324"/>
                  </a:lnTo>
                  <a:lnTo>
                    <a:pt x="1150" y="1316"/>
                  </a:lnTo>
                  <a:lnTo>
                    <a:pt x="1150" y="1306"/>
                  </a:lnTo>
                  <a:lnTo>
                    <a:pt x="1155" y="1306"/>
                  </a:lnTo>
                  <a:lnTo>
                    <a:pt x="1156" y="1292"/>
                  </a:lnTo>
                  <a:lnTo>
                    <a:pt x="1135" y="1286"/>
                  </a:lnTo>
                  <a:lnTo>
                    <a:pt x="1114" y="1265"/>
                  </a:lnTo>
                  <a:lnTo>
                    <a:pt x="1108" y="1263"/>
                  </a:lnTo>
                  <a:lnTo>
                    <a:pt x="1110" y="1270"/>
                  </a:lnTo>
                  <a:lnTo>
                    <a:pt x="1100" y="1269"/>
                  </a:lnTo>
                  <a:lnTo>
                    <a:pt x="1091" y="1263"/>
                  </a:lnTo>
                  <a:lnTo>
                    <a:pt x="1069" y="1252"/>
                  </a:lnTo>
                  <a:lnTo>
                    <a:pt x="1062" y="1253"/>
                  </a:lnTo>
                  <a:lnTo>
                    <a:pt x="1054" y="1259"/>
                  </a:lnTo>
                  <a:lnTo>
                    <a:pt x="1051" y="1258"/>
                  </a:lnTo>
                  <a:lnTo>
                    <a:pt x="1045" y="1255"/>
                  </a:lnTo>
                  <a:lnTo>
                    <a:pt x="1017" y="1231"/>
                  </a:lnTo>
                  <a:lnTo>
                    <a:pt x="1006" y="1227"/>
                  </a:lnTo>
                  <a:lnTo>
                    <a:pt x="995" y="1226"/>
                  </a:lnTo>
                  <a:lnTo>
                    <a:pt x="974" y="1225"/>
                  </a:lnTo>
                  <a:lnTo>
                    <a:pt x="941" y="1230"/>
                  </a:lnTo>
                  <a:lnTo>
                    <a:pt x="899" y="1228"/>
                  </a:lnTo>
                  <a:lnTo>
                    <a:pt x="881" y="1228"/>
                  </a:lnTo>
                  <a:lnTo>
                    <a:pt x="840" y="1248"/>
                  </a:lnTo>
                  <a:lnTo>
                    <a:pt x="820" y="1261"/>
                  </a:lnTo>
                  <a:lnTo>
                    <a:pt x="795" y="1263"/>
                  </a:lnTo>
                  <a:lnTo>
                    <a:pt x="779" y="1270"/>
                  </a:lnTo>
                  <a:lnTo>
                    <a:pt x="758" y="1274"/>
                  </a:lnTo>
                  <a:lnTo>
                    <a:pt x="722" y="1273"/>
                  </a:lnTo>
                  <a:lnTo>
                    <a:pt x="710" y="1270"/>
                  </a:lnTo>
                  <a:lnTo>
                    <a:pt x="695" y="1274"/>
                  </a:lnTo>
                  <a:lnTo>
                    <a:pt x="685" y="1282"/>
                  </a:lnTo>
                  <a:lnTo>
                    <a:pt x="658" y="1297"/>
                  </a:lnTo>
                  <a:lnTo>
                    <a:pt x="642" y="1302"/>
                  </a:lnTo>
                  <a:lnTo>
                    <a:pt x="634" y="1309"/>
                  </a:lnTo>
                  <a:lnTo>
                    <a:pt x="625" y="1313"/>
                  </a:lnTo>
                  <a:lnTo>
                    <a:pt x="614" y="1314"/>
                  </a:lnTo>
                  <a:lnTo>
                    <a:pt x="602" y="1320"/>
                  </a:lnTo>
                  <a:lnTo>
                    <a:pt x="596" y="1333"/>
                  </a:lnTo>
                  <a:lnTo>
                    <a:pt x="592" y="1349"/>
                  </a:lnTo>
                  <a:lnTo>
                    <a:pt x="587" y="1354"/>
                  </a:lnTo>
                  <a:lnTo>
                    <a:pt x="581" y="1363"/>
                  </a:lnTo>
                  <a:lnTo>
                    <a:pt x="577" y="1372"/>
                  </a:lnTo>
                  <a:lnTo>
                    <a:pt x="558" y="1377"/>
                  </a:lnTo>
                  <a:lnTo>
                    <a:pt x="549" y="1377"/>
                  </a:lnTo>
                  <a:lnTo>
                    <a:pt x="539" y="1373"/>
                  </a:lnTo>
                  <a:lnTo>
                    <a:pt x="518" y="1376"/>
                  </a:lnTo>
                  <a:lnTo>
                    <a:pt x="496" y="1382"/>
                  </a:lnTo>
                  <a:lnTo>
                    <a:pt x="491" y="1374"/>
                  </a:lnTo>
                  <a:lnTo>
                    <a:pt x="486" y="1372"/>
                  </a:lnTo>
                  <a:lnTo>
                    <a:pt x="480" y="1374"/>
                  </a:lnTo>
                  <a:lnTo>
                    <a:pt x="464" y="1376"/>
                  </a:lnTo>
                  <a:lnTo>
                    <a:pt x="447" y="1372"/>
                  </a:lnTo>
                  <a:lnTo>
                    <a:pt x="435" y="1372"/>
                  </a:lnTo>
                  <a:lnTo>
                    <a:pt x="419" y="1379"/>
                  </a:lnTo>
                  <a:lnTo>
                    <a:pt x="376" y="1378"/>
                  </a:lnTo>
                  <a:lnTo>
                    <a:pt x="365" y="1383"/>
                  </a:lnTo>
                  <a:lnTo>
                    <a:pt x="355" y="1392"/>
                  </a:lnTo>
                  <a:lnTo>
                    <a:pt x="350" y="1399"/>
                  </a:lnTo>
                  <a:lnTo>
                    <a:pt x="352" y="1404"/>
                  </a:lnTo>
                  <a:lnTo>
                    <a:pt x="350" y="1405"/>
                  </a:lnTo>
                  <a:lnTo>
                    <a:pt x="344" y="1411"/>
                  </a:lnTo>
                  <a:lnTo>
                    <a:pt x="333" y="1414"/>
                  </a:lnTo>
                  <a:lnTo>
                    <a:pt x="316" y="1416"/>
                  </a:lnTo>
                  <a:lnTo>
                    <a:pt x="301" y="1426"/>
                  </a:lnTo>
                  <a:lnTo>
                    <a:pt x="292" y="1436"/>
                  </a:lnTo>
                  <a:lnTo>
                    <a:pt x="287" y="1443"/>
                  </a:lnTo>
                  <a:lnTo>
                    <a:pt x="280" y="1449"/>
                  </a:lnTo>
                  <a:lnTo>
                    <a:pt x="271" y="1452"/>
                  </a:lnTo>
                  <a:lnTo>
                    <a:pt x="261" y="1447"/>
                  </a:lnTo>
                  <a:lnTo>
                    <a:pt x="260" y="1458"/>
                  </a:lnTo>
                  <a:lnTo>
                    <a:pt x="253" y="1454"/>
                  </a:lnTo>
                  <a:lnTo>
                    <a:pt x="244" y="1458"/>
                  </a:lnTo>
                  <a:lnTo>
                    <a:pt x="238" y="1451"/>
                  </a:lnTo>
                  <a:lnTo>
                    <a:pt x="205" y="1453"/>
                  </a:lnTo>
                  <a:lnTo>
                    <a:pt x="190" y="1451"/>
                  </a:lnTo>
                  <a:lnTo>
                    <a:pt x="183" y="1443"/>
                  </a:lnTo>
                  <a:lnTo>
                    <a:pt x="174" y="1440"/>
                  </a:lnTo>
                  <a:lnTo>
                    <a:pt x="174" y="1441"/>
                  </a:lnTo>
                  <a:lnTo>
                    <a:pt x="163" y="1440"/>
                  </a:lnTo>
                  <a:lnTo>
                    <a:pt x="148" y="1424"/>
                  </a:lnTo>
                  <a:lnTo>
                    <a:pt x="141" y="1415"/>
                  </a:lnTo>
                  <a:lnTo>
                    <a:pt x="130" y="1405"/>
                  </a:lnTo>
                  <a:lnTo>
                    <a:pt x="120" y="1402"/>
                  </a:lnTo>
                  <a:lnTo>
                    <a:pt x="108" y="1399"/>
                  </a:lnTo>
                  <a:lnTo>
                    <a:pt x="105" y="1370"/>
                  </a:lnTo>
                  <a:lnTo>
                    <a:pt x="107" y="1357"/>
                  </a:lnTo>
                  <a:lnTo>
                    <a:pt x="107" y="1356"/>
                  </a:lnTo>
                  <a:lnTo>
                    <a:pt x="117" y="1360"/>
                  </a:lnTo>
                  <a:lnTo>
                    <a:pt x="125" y="1359"/>
                  </a:lnTo>
                  <a:lnTo>
                    <a:pt x="136" y="1343"/>
                  </a:lnTo>
                  <a:lnTo>
                    <a:pt x="142" y="1328"/>
                  </a:lnTo>
                  <a:lnTo>
                    <a:pt x="142" y="1318"/>
                  </a:lnTo>
                  <a:lnTo>
                    <a:pt x="137" y="1306"/>
                  </a:lnTo>
                  <a:lnTo>
                    <a:pt x="137" y="1291"/>
                  </a:lnTo>
                  <a:lnTo>
                    <a:pt x="139" y="1297"/>
                  </a:lnTo>
                  <a:lnTo>
                    <a:pt x="142" y="1286"/>
                  </a:lnTo>
                  <a:lnTo>
                    <a:pt x="141" y="1265"/>
                  </a:lnTo>
                  <a:lnTo>
                    <a:pt x="144" y="1248"/>
                  </a:lnTo>
                  <a:lnTo>
                    <a:pt x="141" y="1234"/>
                  </a:lnTo>
                  <a:lnTo>
                    <a:pt x="124" y="1196"/>
                  </a:lnTo>
                  <a:lnTo>
                    <a:pt x="121" y="1185"/>
                  </a:lnTo>
                  <a:lnTo>
                    <a:pt x="117" y="1178"/>
                  </a:lnTo>
                  <a:lnTo>
                    <a:pt x="109" y="1168"/>
                  </a:lnTo>
                  <a:lnTo>
                    <a:pt x="103" y="1150"/>
                  </a:lnTo>
                  <a:lnTo>
                    <a:pt x="98" y="1124"/>
                  </a:lnTo>
                  <a:lnTo>
                    <a:pt x="98" y="1092"/>
                  </a:lnTo>
                  <a:lnTo>
                    <a:pt x="94" y="1081"/>
                  </a:lnTo>
                  <a:lnTo>
                    <a:pt x="78" y="1053"/>
                  </a:lnTo>
                  <a:lnTo>
                    <a:pt x="76" y="1039"/>
                  </a:lnTo>
                  <a:lnTo>
                    <a:pt x="66" y="1024"/>
                  </a:lnTo>
                  <a:lnTo>
                    <a:pt x="54" y="1004"/>
                  </a:lnTo>
                  <a:lnTo>
                    <a:pt x="54" y="983"/>
                  </a:lnTo>
                  <a:lnTo>
                    <a:pt x="46" y="965"/>
                  </a:lnTo>
                  <a:lnTo>
                    <a:pt x="40" y="945"/>
                  </a:lnTo>
                  <a:lnTo>
                    <a:pt x="29" y="938"/>
                  </a:lnTo>
                  <a:lnTo>
                    <a:pt x="19" y="927"/>
                  </a:lnTo>
                  <a:lnTo>
                    <a:pt x="13" y="919"/>
                  </a:lnTo>
                  <a:lnTo>
                    <a:pt x="11" y="909"/>
                  </a:lnTo>
                  <a:lnTo>
                    <a:pt x="5" y="905"/>
                  </a:lnTo>
                  <a:lnTo>
                    <a:pt x="0" y="895"/>
                  </a:lnTo>
                  <a:lnTo>
                    <a:pt x="1" y="889"/>
                  </a:lnTo>
                  <a:lnTo>
                    <a:pt x="3" y="894"/>
                  </a:lnTo>
                  <a:lnTo>
                    <a:pt x="8" y="895"/>
                  </a:lnTo>
                  <a:lnTo>
                    <a:pt x="12" y="897"/>
                  </a:lnTo>
                  <a:lnTo>
                    <a:pt x="15" y="904"/>
                  </a:lnTo>
                  <a:lnTo>
                    <a:pt x="16" y="914"/>
                  </a:lnTo>
                  <a:lnTo>
                    <a:pt x="21" y="911"/>
                  </a:lnTo>
                  <a:lnTo>
                    <a:pt x="23" y="918"/>
                  </a:lnTo>
                  <a:lnTo>
                    <a:pt x="31" y="919"/>
                  </a:lnTo>
                  <a:lnTo>
                    <a:pt x="35" y="913"/>
                  </a:lnTo>
                  <a:lnTo>
                    <a:pt x="34" y="904"/>
                  </a:lnTo>
                  <a:lnTo>
                    <a:pt x="26" y="895"/>
                  </a:lnTo>
                  <a:lnTo>
                    <a:pt x="13" y="866"/>
                  </a:lnTo>
                  <a:lnTo>
                    <a:pt x="13" y="856"/>
                  </a:lnTo>
                  <a:lnTo>
                    <a:pt x="17" y="860"/>
                  </a:lnTo>
                  <a:lnTo>
                    <a:pt x="22" y="871"/>
                  </a:lnTo>
                  <a:lnTo>
                    <a:pt x="27" y="894"/>
                  </a:lnTo>
                  <a:lnTo>
                    <a:pt x="35" y="884"/>
                  </a:lnTo>
                  <a:lnTo>
                    <a:pt x="38" y="893"/>
                  </a:lnTo>
                  <a:lnTo>
                    <a:pt x="39" y="904"/>
                  </a:lnTo>
                  <a:lnTo>
                    <a:pt x="46" y="905"/>
                  </a:lnTo>
                  <a:lnTo>
                    <a:pt x="51" y="898"/>
                  </a:lnTo>
                  <a:lnTo>
                    <a:pt x="54" y="886"/>
                  </a:lnTo>
                  <a:lnTo>
                    <a:pt x="53" y="867"/>
                  </a:lnTo>
                  <a:lnTo>
                    <a:pt x="45" y="860"/>
                  </a:lnTo>
                  <a:lnTo>
                    <a:pt x="39" y="848"/>
                  </a:lnTo>
                  <a:lnTo>
                    <a:pt x="37" y="851"/>
                  </a:lnTo>
                  <a:lnTo>
                    <a:pt x="38" y="844"/>
                  </a:lnTo>
                  <a:lnTo>
                    <a:pt x="31" y="832"/>
                  </a:lnTo>
                  <a:lnTo>
                    <a:pt x="23" y="814"/>
                  </a:lnTo>
                  <a:lnTo>
                    <a:pt x="8" y="787"/>
                  </a:lnTo>
                  <a:lnTo>
                    <a:pt x="8" y="758"/>
                  </a:lnTo>
                  <a:lnTo>
                    <a:pt x="13" y="748"/>
                  </a:lnTo>
                  <a:lnTo>
                    <a:pt x="28" y="733"/>
                  </a:lnTo>
                  <a:lnTo>
                    <a:pt x="29" y="725"/>
                  </a:lnTo>
                  <a:lnTo>
                    <a:pt x="28" y="716"/>
                  </a:lnTo>
                  <a:lnTo>
                    <a:pt x="29" y="695"/>
                  </a:lnTo>
                  <a:lnTo>
                    <a:pt x="22" y="683"/>
                  </a:lnTo>
                  <a:lnTo>
                    <a:pt x="27" y="661"/>
                  </a:lnTo>
                  <a:lnTo>
                    <a:pt x="33" y="652"/>
                  </a:lnTo>
                  <a:lnTo>
                    <a:pt x="39" y="637"/>
                  </a:lnTo>
                  <a:lnTo>
                    <a:pt x="43" y="634"/>
                  </a:lnTo>
                  <a:close/>
                </a:path>
              </a:pathLst>
            </a:custGeom>
            <a:solidFill>
              <a:schemeClr val="bg1">
                <a:lumMod val="50000"/>
                <a:alpha val="16000"/>
              </a:scheme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cxnSp>
          <p:nvCxnSpPr>
            <p:cNvPr id="322" name="AutoShape 6">
              <a:extLst>
                <a:ext uri="{FF2B5EF4-FFF2-40B4-BE49-F238E27FC236}">
                  <a16:creationId xmlns:a16="http://schemas.microsoft.com/office/drawing/2014/main" id="{99003408-2D1E-5EAC-E36E-85214C080ACB}"/>
                </a:ext>
              </a:extLst>
            </p:cNvPr>
            <p:cNvCxnSpPr>
              <a:cxnSpLocks noChangeShapeType="1"/>
            </p:cNvCxnSpPr>
            <p:nvPr userDrawn="1"/>
          </p:nvCxnSpPr>
          <p:spPr bwMode="auto">
            <a:xfrm flipH="1">
              <a:off x="5861221" y="2339698"/>
              <a:ext cx="217882" cy="100598"/>
            </a:xfrm>
            <a:prstGeom prst="straightConnector1">
              <a:avLst/>
            </a:prstGeom>
            <a:solidFill>
              <a:schemeClr val="bg1">
                <a:lumMod val="50000"/>
              </a:schemeClr>
            </a:solidFill>
            <a:ln w="19080">
              <a:solidFill>
                <a:srgbClr val="FFFFFF"/>
              </a:solidFill>
              <a:round/>
              <a:headEnd type="triangle" w="med" len="med"/>
              <a:tailEnd/>
            </a:ln>
          </p:spPr>
        </p:cxn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54968733-400C-5979-E644-B56A408FA4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2D4DD51-735A-7535-A95D-705BC060EA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799F83DB-AA7E-BB5E-7B33-972A27C7753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DBDD38F8-B076-4153-93C6-90795F887522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1359ABA9-E719-0B1D-942C-C6EA5B5666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C05DBC64-9732-7E1D-33A5-8C08DBE34CE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EECC099-23FB-6B9B-8617-EE5036B15E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03875" y="88565"/>
            <a:ext cx="984250" cy="250052"/>
          </a:xfrm>
          <a:prstGeom prst="rect">
            <a:avLst/>
          </a:prstGeom>
        </p:spPr>
      </p:pic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B678A9A4-7FD7-E1B9-4BE5-7A16BDAEA394}"/>
              </a:ext>
            </a:extLst>
          </p:cNvPr>
          <p:cNvCxnSpPr>
            <a:cxnSpLocks/>
          </p:cNvCxnSpPr>
          <p:nvPr userDrawn="1"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" name="Straight Connector 323">
            <a:extLst>
              <a:ext uri="{FF2B5EF4-FFF2-40B4-BE49-F238E27FC236}">
                <a16:creationId xmlns:a16="http://schemas.microsoft.com/office/drawing/2014/main" id="{B1BDC16D-757D-CCF4-10B9-A6593882277F}"/>
              </a:ext>
            </a:extLst>
          </p:cNvPr>
          <p:cNvCxnSpPr>
            <a:cxnSpLocks/>
          </p:cNvCxnSpPr>
          <p:nvPr userDrawn="1"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106839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+ Subtitle - Ligh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644F2F-8058-0037-6983-DD53BBDAE6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E6CDED-3690-C823-89B5-50C27CBFD3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985037-0DF6-C09A-FF7F-5A35AE79B3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8015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8FE771C-AF3B-746F-8A25-2C5C4A4812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Date Placeholder 12">
            <a:extLst>
              <a:ext uri="{FF2B5EF4-FFF2-40B4-BE49-F238E27FC236}">
                <a16:creationId xmlns:a16="http://schemas.microsoft.com/office/drawing/2014/main" id="{59D8E57A-19A4-8130-A78B-E7988B8DA91F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78FAA32-B910-4033-ACC0-2DF9C585C3FB}" type="datetime4">
              <a:rPr lang="en-US" smtClean="0"/>
              <a:t>October 23, 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403094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25387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1 - 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4ADC32B5-6938-17C4-2DFC-3B7C1D44061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8710864" y="2586790"/>
            <a:ext cx="309211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6000"/>
              <a:t>Vis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1E4B1B9-CCF8-13DC-9010-DF09F26923D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517358" y="2586790"/>
            <a:ext cx="309211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6000"/>
              <a:t>Mission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4CCA385-BADC-9412-0D5E-D86D6665ADB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609600" y="3730948"/>
            <a:ext cx="2936240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aphic 3">
            <a:extLst>
              <a:ext uri="{FF2B5EF4-FFF2-40B4-BE49-F238E27FC236}">
                <a16:creationId xmlns:a16="http://schemas.microsoft.com/office/drawing/2014/main" id="{B3F109DD-32AE-D92D-4621-BF43B58FB4A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09600" y="557212"/>
            <a:ext cx="1734668" cy="438912"/>
            <a:chOff x="609600" y="557212"/>
            <a:chExt cx="2667656" cy="674980"/>
          </a:xfrm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8BF33003-98EC-AC6E-F2E8-D433A9977017}"/>
                </a:ext>
              </a:extLst>
            </p:cNvPr>
            <p:cNvSpPr/>
            <p:nvPr/>
          </p:nvSpPr>
          <p:spPr>
            <a:xfrm>
              <a:off x="1180659" y="790421"/>
              <a:ext cx="2096597" cy="283512"/>
            </a:xfrm>
            <a:custGeom>
              <a:avLst/>
              <a:gdLst>
                <a:gd name="connsiteX0" fmla="*/ 129433 w 2096597"/>
                <a:gd name="connsiteY0" fmla="*/ 283512 h 283512"/>
                <a:gd name="connsiteX1" fmla="*/ 76968 w 2096597"/>
                <a:gd name="connsiteY1" fmla="*/ 273567 h 283512"/>
                <a:gd name="connsiteX2" fmla="*/ 36610 w 2096597"/>
                <a:gd name="connsiteY2" fmla="*/ 245461 h 283512"/>
                <a:gd name="connsiteX3" fmla="*/ 9369 w 2096597"/>
                <a:gd name="connsiteY3" fmla="*/ 199770 h 283512"/>
                <a:gd name="connsiteX4" fmla="*/ 0 w 2096597"/>
                <a:gd name="connsiteY4" fmla="*/ 142260 h 283512"/>
                <a:gd name="connsiteX5" fmla="*/ 10522 w 2096597"/>
                <a:gd name="connsiteY5" fmla="*/ 82733 h 283512"/>
                <a:gd name="connsiteX6" fmla="*/ 40358 w 2096597"/>
                <a:gd name="connsiteY6" fmla="*/ 36178 h 283512"/>
                <a:gd name="connsiteX7" fmla="*/ 80715 w 2096597"/>
                <a:gd name="connsiteY7" fmla="*/ 9513 h 283512"/>
                <a:gd name="connsiteX8" fmla="*/ 133612 w 2096597"/>
                <a:gd name="connsiteY8" fmla="*/ 0 h 283512"/>
                <a:gd name="connsiteX9" fmla="*/ 180744 w 2096597"/>
                <a:gd name="connsiteY9" fmla="*/ 6630 h 283512"/>
                <a:gd name="connsiteX10" fmla="*/ 216922 w 2096597"/>
                <a:gd name="connsiteY10" fmla="*/ 25656 h 283512"/>
                <a:gd name="connsiteX11" fmla="*/ 241425 w 2096597"/>
                <a:gd name="connsiteY11" fmla="*/ 55492 h 283512"/>
                <a:gd name="connsiteX12" fmla="*/ 254109 w 2096597"/>
                <a:gd name="connsiteY12" fmla="*/ 94264 h 283512"/>
                <a:gd name="connsiteX13" fmla="*/ 188672 w 2096597"/>
                <a:gd name="connsiteY13" fmla="*/ 94264 h 283512"/>
                <a:gd name="connsiteX14" fmla="*/ 171520 w 2096597"/>
                <a:gd name="connsiteY14" fmla="*/ 66446 h 283512"/>
                <a:gd name="connsiteX15" fmla="*/ 135774 w 2096597"/>
                <a:gd name="connsiteY15" fmla="*/ 55348 h 283512"/>
                <a:gd name="connsiteX16" fmla="*/ 106227 w 2096597"/>
                <a:gd name="connsiteY16" fmla="*/ 61978 h 283512"/>
                <a:gd name="connsiteX17" fmla="*/ 85039 w 2096597"/>
                <a:gd name="connsiteY17" fmla="*/ 80283 h 283512"/>
                <a:gd name="connsiteX18" fmla="*/ 72500 w 2096597"/>
                <a:gd name="connsiteY18" fmla="*/ 107668 h 283512"/>
                <a:gd name="connsiteX19" fmla="*/ 68320 w 2096597"/>
                <a:gd name="connsiteY19" fmla="*/ 142116 h 283512"/>
                <a:gd name="connsiteX20" fmla="*/ 73076 w 2096597"/>
                <a:gd name="connsiteY20" fmla="*/ 176709 h 283512"/>
                <a:gd name="connsiteX21" fmla="*/ 86625 w 2096597"/>
                <a:gd name="connsiteY21" fmla="*/ 204238 h 283512"/>
                <a:gd name="connsiteX22" fmla="*/ 108101 w 2096597"/>
                <a:gd name="connsiteY22" fmla="*/ 222255 h 283512"/>
                <a:gd name="connsiteX23" fmla="*/ 136783 w 2096597"/>
                <a:gd name="connsiteY23" fmla="*/ 228741 h 283512"/>
                <a:gd name="connsiteX24" fmla="*/ 160566 w 2096597"/>
                <a:gd name="connsiteY24" fmla="*/ 224705 h 283512"/>
                <a:gd name="connsiteX25" fmla="*/ 178438 w 2096597"/>
                <a:gd name="connsiteY25" fmla="*/ 214039 h 283512"/>
                <a:gd name="connsiteX26" fmla="*/ 190257 w 2096597"/>
                <a:gd name="connsiteY26" fmla="*/ 198761 h 283512"/>
                <a:gd name="connsiteX27" fmla="*/ 195734 w 2096597"/>
                <a:gd name="connsiteY27" fmla="*/ 181033 h 283512"/>
                <a:gd name="connsiteX28" fmla="*/ 195734 w 2096597"/>
                <a:gd name="connsiteY28" fmla="*/ 180312 h 283512"/>
                <a:gd name="connsiteX29" fmla="*/ 144711 w 2096597"/>
                <a:gd name="connsiteY29" fmla="*/ 180312 h 283512"/>
                <a:gd name="connsiteX30" fmla="*/ 144711 w 2096597"/>
                <a:gd name="connsiteY30" fmla="*/ 130874 h 283512"/>
                <a:gd name="connsiteX31" fmla="*/ 258144 w 2096597"/>
                <a:gd name="connsiteY31" fmla="*/ 130874 h 283512"/>
                <a:gd name="connsiteX32" fmla="*/ 258144 w 2096597"/>
                <a:gd name="connsiteY32" fmla="*/ 277026 h 283512"/>
                <a:gd name="connsiteX33" fmla="*/ 211013 w 2096597"/>
                <a:gd name="connsiteY33" fmla="*/ 277026 h 283512"/>
                <a:gd name="connsiteX34" fmla="*/ 207265 w 2096597"/>
                <a:gd name="connsiteY34" fmla="*/ 244308 h 283512"/>
                <a:gd name="connsiteX35" fmla="*/ 206544 w 2096597"/>
                <a:gd name="connsiteY35" fmla="*/ 244308 h 283512"/>
                <a:gd name="connsiteX36" fmla="*/ 173682 w 2096597"/>
                <a:gd name="connsiteY36" fmla="*/ 274143 h 283512"/>
                <a:gd name="connsiteX37" fmla="*/ 129288 w 2096597"/>
                <a:gd name="connsiteY37" fmla="*/ 283080 h 283512"/>
                <a:gd name="connsiteX38" fmla="*/ 358029 w 2096597"/>
                <a:gd name="connsiteY38" fmla="*/ 282647 h 283512"/>
                <a:gd name="connsiteX39" fmla="*/ 306862 w 2096597"/>
                <a:gd name="connsiteY39" fmla="*/ 262613 h 283512"/>
                <a:gd name="connsiteX40" fmla="*/ 289566 w 2096597"/>
                <a:gd name="connsiteY40" fmla="*/ 209859 h 283512"/>
                <a:gd name="connsiteX41" fmla="*/ 289566 w 2096597"/>
                <a:gd name="connsiteY41" fmla="*/ 82012 h 283512"/>
                <a:gd name="connsiteX42" fmla="*/ 351255 w 2096597"/>
                <a:gd name="connsiteY42" fmla="*/ 82012 h 283512"/>
                <a:gd name="connsiteX43" fmla="*/ 351255 w 2096597"/>
                <a:gd name="connsiteY43" fmla="*/ 197032 h 283512"/>
                <a:gd name="connsiteX44" fmla="*/ 358462 w 2096597"/>
                <a:gd name="connsiteY44" fmla="*/ 221534 h 283512"/>
                <a:gd name="connsiteX45" fmla="*/ 380514 w 2096597"/>
                <a:gd name="connsiteY45" fmla="*/ 230038 h 283512"/>
                <a:gd name="connsiteX46" fmla="*/ 405594 w 2096597"/>
                <a:gd name="connsiteY46" fmla="*/ 219228 h 283512"/>
                <a:gd name="connsiteX47" fmla="*/ 414674 w 2096597"/>
                <a:gd name="connsiteY47" fmla="*/ 190834 h 283512"/>
                <a:gd name="connsiteX48" fmla="*/ 414674 w 2096597"/>
                <a:gd name="connsiteY48" fmla="*/ 82012 h 283512"/>
                <a:gd name="connsiteX49" fmla="*/ 476652 w 2096597"/>
                <a:gd name="connsiteY49" fmla="*/ 82012 h 283512"/>
                <a:gd name="connsiteX50" fmla="*/ 476652 w 2096597"/>
                <a:gd name="connsiteY50" fmla="*/ 276882 h 283512"/>
                <a:gd name="connsiteX51" fmla="*/ 417269 w 2096597"/>
                <a:gd name="connsiteY51" fmla="*/ 276882 h 283512"/>
                <a:gd name="connsiteX52" fmla="*/ 417269 w 2096597"/>
                <a:gd name="connsiteY52" fmla="*/ 252956 h 283512"/>
                <a:gd name="connsiteX53" fmla="*/ 416116 w 2096597"/>
                <a:gd name="connsiteY53" fmla="*/ 252956 h 283512"/>
                <a:gd name="connsiteX54" fmla="*/ 391901 w 2096597"/>
                <a:gd name="connsiteY54" fmla="*/ 275008 h 283512"/>
                <a:gd name="connsiteX55" fmla="*/ 357885 w 2096597"/>
                <a:gd name="connsiteY55" fmla="*/ 282647 h 283512"/>
                <a:gd name="connsiteX56" fmla="*/ 511965 w 2096597"/>
                <a:gd name="connsiteY56" fmla="*/ 2162 h 283512"/>
                <a:gd name="connsiteX57" fmla="*/ 573943 w 2096597"/>
                <a:gd name="connsiteY57" fmla="*/ 2162 h 283512"/>
                <a:gd name="connsiteX58" fmla="*/ 573943 w 2096597"/>
                <a:gd name="connsiteY58" fmla="*/ 55059 h 283512"/>
                <a:gd name="connsiteX59" fmla="*/ 511965 w 2096597"/>
                <a:gd name="connsiteY59" fmla="*/ 55059 h 283512"/>
                <a:gd name="connsiteX60" fmla="*/ 511965 w 2096597"/>
                <a:gd name="connsiteY60" fmla="*/ 2162 h 283512"/>
                <a:gd name="connsiteX61" fmla="*/ 511965 w 2096597"/>
                <a:gd name="connsiteY61" fmla="*/ 82012 h 283512"/>
                <a:gd name="connsiteX62" fmla="*/ 573943 w 2096597"/>
                <a:gd name="connsiteY62" fmla="*/ 82012 h 283512"/>
                <a:gd name="connsiteX63" fmla="*/ 573943 w 2096597"/>
                <a:gd name="connsiteY63" fmla="*/ 276882 h 283512"/>
                <a:gd name="connsiteX64" fmla="*/ 511965 w 2096597"/>
                <a:gd name="connsiteY64" fmla="*/ 276882 h 283512"/>
                <a:gd name="connsiteX65" fmla="*/ 511965 w 2096597"/>
                <a:gd name="connsiteY65" fmla="*/ 82012 h 283512"/>
                <a:gd name="connsiteX66" fmla="*/ 685935 w 2096597"/>
                <a:gd name="connsiteY66" fmla="*/ 282936 h 283512"/>
                <a:gd name="connsiteX67" fmla="*/ 651631 w 2096597"/>
                <a:gd name="connsiteY67" fmla="*/ 275873 h 283512"/>
                <a:gd name="connsiteX68" fmla="*/ 624678 w 2096597"/>
                <a:gd name="connsiteY68" fmla="*/ 255550 h 283512"/>
                <a:gd name="connsiteX69" fmla="*/ 606949 w 2096597"/>
                <a:gd name="connsiteY69" fmla="*/ 222976 h 283512"/>
                <a:gd name="connsiteX70" fmla="*/ 600607 w 2096597"/>
                <a:gd name="connsiteY70" fmla="*/ 179447 h 283512"/>
                <a:gd name="connsiteX71" fmla="*/ 606949 w 2096597"/>
                <a:gd name="connsiteY71" fmla="*/ 137504 h 283512"/>
                <a:gd name="connsiteX72" fmla="*/ 624390 w 2096597"/>
                <a:gd name="connsiteY72" fmla="*/ 104930 h 283512"/>
                <a:gd name="connsiteX73" fmla="*/ 651199 w 2096597"/>
                <a:gd name="connsiteY73" fmla="*/ 83742 h 283512"/>
                <a:gd name="connsiteX74" fmla="*/ 685791 w 2096597"/>
                <a:gd name="connsiteY74" fmla="*/ 76103 h 283512"/>
                <a:gd name="connsiteX75" fmla="*/ 718942 w 2096597"/>
                <a:gd name="connsiteY75" fmla="*/ 83886 h 283512"/>
                <a:gd name="connsiteX76" fmla="*/ 740273 w 2096597"/>
                <a:gd name="connsiteY76" fmla="*/ 103921 h 283512"/>
                <a:gd name="connsiteX77" fmla="*/ 741426 w 2096597"/>
                <a:gd name="connsiteY77" fmla="*/ 103921 h 283512"/>
                <a:gd name="connsiteX78" fmla="*/ 741426 w 2096597"/>
                <a:gd name="connsiteY78" fmla="*/ 1874 h 283512"/>
                <a:gd name="connsiteX79" fmla="*/ 803404 w 2096597"/>
                <a:gd name="connsiteY79" fmla="*/ 1874 h 283512"/>
                <a:gd name="connsiteX80" fmla="*/ 803404 w 2096597"/>
                <a:gd name="connsiteY80" fmla="*/ 276738 h 283512"/>
                <a:gd name="connsiteX81" fmla="*/ 744021 w 2096597"/>
                <a:gd name="connsiteY81" fmla="*/ 276738 h 283512"/>
                <a:gd name="connsiteX82" fmla="*/ 744021 w 2096597"/>
                <a:gd name="connsiteY82" fmla="*/ 250505 h 283512"/>
                <a:gd name="connsiteX83" fmla="*/ 743300 w 2096597"/>
                <a:gd name="connsiteY83" fmla="*/ 250505 h 283512"/>
                <a:gd name="connsiteX84" fmla="*/ 719951 w 2096597"/>
                <a:gd name="connsiteY84" fmla="*/ 274287 h 283512"/>
                <a:gd name="connsiteX85" fmla="*/ 685935 w 2096597"/>
                <a:gd name="connsiteY85" fmla="*/ 282791 h 283512"/>
                <a:gd name="connsiteX86" fmla="*/ 701934 w 2096597"/>
                <a:gd name="connsiteY86" fmla="*/ 233642 h 283512"/>
                <a:gd name="connsiteX87" fmla="*/ 732202 w 2096597"/>
                <a:gd name="connsiteY87" fmla="*/ 218363 h 283512"/>
                <a:gd name="connsiteX88" fmla="*/ 743012 w 2096597"/>
                <a:gd name="connsiteY88" fmla="*/ 179159 h 283512"/>
                <a:gd name="connsiteX89" fmla="*/ 740562 w 2096597"/>
                <a:gd name="connsiteY89" fmla="*/ 156530 h 283512"/>
                <a:gd name="connsiteX90" fmla="*/ 732923 w 2096597"/>
                <a:gd name="connsiteY90" fmla="*/ 138657 h 283512"/>
                <a:gd name="connsiteX91" fmla="*/ 720383 w 2096597"/>
                <a:gd name="connsiteY91" fmla="*/ 126982 h 283512"/>
                <a:gd name="connsiteX92" fmla="*/ 702654 w 2096597"/>
                <a:gd name="connsiteY92" fmla="*/ 122802 h 283512"/>
                <a:gd name="connsiteX93" fmla="*/ 673683 w 2096597"/>
                <a:gd name="connsiteY93" fmla="*/ 138225 h 283512"/>
                <a:gd name="connsiteX94" fmla="*/ 663450 w 2096597"/>
                <a:gd name="connsiteY94" fmla="*/ 178438 h 283512"/>
                <a:gd name="connsiteX95" fmla="*/ 673539 w 2096597"/>
                <a:gd name="connsiteY95" fmla="*/ 218796 h 283512"/>
                <a:gd name="connsiteX96" fmla="*/ 701934 w 2096597"/>
                <a:gd name="connsiteY96" fmla="*/ 233642 h 283512"/>
                <a:gd name="connsiteX97" fmla="*/ 930242 w 2096597"/>
                <a:gd name="connsiteY97" fmla="*/ 282359 h 283512"/>
                <a:gd name="connsiteX98" fmla="*/ 886858 w 2096597"/>
                <a:gd name="connsiteY98" fmla="*/ 274576 h 283512"/>
                <a:gd name="connsiteX99" fmla="*/ 854139 w 2096597"/>
                <a:gd name="connsiteY99" fmla="*/ 252811 h 283512"/>
                <a:gd name="connsiteX100" fmla="*/ 833528 w 2096597"/>
                <a:gd name="connsiteY100" fmla="*/ 219949 h 283512"/>
                <a:gd name="connsiteX101" fmla="*/ 826322 w 2096597"/>
                <a:gd name="connsiteY101" fmla="*/ 178871 h 283512"/>
                <a:gd name="connsiteX102" fmla="*/ 833528 w 2096597"/>
                <a:gd name="connsiteY102" fmla="*/ 138369 h 283512"/>
                <a:gd name="connsiteX103" fmla="*/ 854139 w 2096597"/>
                <a:gd name="connsiteY103" fmla="*/ 105650 h 283512"/>
                <a:gd name="connsiteX104" fmla="*/ 885705 w 2096597"/>
                <a:gd name="connsiteY104" fmla="*/ 84030 h 283512"/>
                <a:gd name="connsiteX105" fmla="*/ 926495 w 2096597"/>
                <a:gd name="connsiteY105" fmla="*/ 76247 h 283512"/>
                <a:gd name="connsiteX106" fmla="*/ 963970 w 2096597"/>
                <a:gd name="connsiteY106" fmla="*/ 82733 h 283512"/>
                <a:gd name="connsiteX107" fmla="*/ 993085 w 2096597"/>
                <a:gd name="connsiteY107" fmla="*/ 100606 h 283512"/>
                <a:gd name="connsiteX108" fmla="*/ 1019173 w 2096597"/>
                <a:gd name="connsiteY108" fmla="*/ 141107 h 283512"/>
                <a:gd name="connsiteX109" fmla="*/ 1027389 w 2096597"/>
                <a:gd name="connsiteY109" fmla="*/ 195302 h 283512"/>
                <a:gd name="connsiteX110" fmla="*/ 887290 w 2096597"/>
                <a:gd name="connsiteY110" fmla="*/ 195302 h 283512"/>
                <a:gd name="connsiteX111" fmla="*/ 900983 w 2096597"/>
                <a:gd name="connsiteY111" fmla="*/ 226579 h 283512"/>
                <a:gd name="connsiteX112" fmla="*/ 931107 w 2096597"/>
                <a:gd name="connsiteY112" fmla="*/ 237966 h 283512"/>
                <a:gd name="connsiteX113" fmla="*/ 951286 w 2096597"/>
                <a:gd name="connsiteY113" fmla="*/ 232777 h 283512"/>
                <a:gd name="connsiteX114" fmla="*/ 963393 w 2096597"/>
                <a:gd name="connsiteY114" fmla="*/ 218508 h 283512"/>
                <a:gd name="connsiteX115" fmla="*/ 1023930 w 2096597"/>
                <a:gd name="connsiteY115" fmla="*/ 218508 h 283512"/>
                <a:gd name="connsiteX116" fmla="*/ 1012543 w 2096597"/>
                <a:gd name="connsiteY116" fmla="*/ 243875 h 283512"/>
                <a:gd name="connsiteX117" fmla="*/ 991211 w 2096597"/>
                <a:gd name="connsiteY117" fmla="*/ 264630 h 283512"/>
                <a:gd name="connsiteX118" fmla="*/ 963970 w 2096597"/>
                <a:gd name="connsiteY118" fmla="*/ 277891 h 283512"/>
                <a:gd name="connsiteX119" fmla="*/ 930242 w 2096597"/>
                <a:gd name="connsiteY119" fmla="*/ 282503 h 283512"/>
                <a:gd name="connsiteX120" fmla="*/ 964546 w 2096597"/>
                <a:gd name="connsiteY120" fmla="*/ 158404 h 283512"/>
                <a:gd name="connsiteX121" fmla="*/ 952727 w 2096597"/>
                <a:gd name="connsiteY121" fmla="*/ 130586 h 283512"/>
                <a:gd name="connsiteX122" fmla="*/ 927648 w 2096597"/>
                <a:gd name="connsiteY122" fmla="*/ 120352 h 283512"/>
                <a:gd name="connsiteX123" fmla="*/ 900262 w 2096597"/>
                <a:gd name="connsiteY123" fmla="*/ 130586 h 283512"/>
                <a:gd name="connsiteX124" fmla="*/ 887723 w 2096597"/>
                <a:gd name="connsiteY124" fmla="*/ 158404 h 283512"/>
                <a:gd name="connsiteX125" fmla="*/ 964546 w 2096597"/>
                <a:gd name="connsiteY125" fmla="*/ 158404 h 283512"/>
                <a:gd name="connsiteX126" fmla="*/ 1050162 w 2096597"/>
                <a:gd name="connsiteY126" fmla="*/ 2018 h 283512"/>
                <a:gd name="connsiteX127" fmla="*/ 1112140 w 2096597"/>
                <a:gd name="connsiteY127" fmla="*/ 2018 h 283512"/>
                <a:gd name="connsiteX128" fmla="*/ 1112140 w 2096597"/>
                <a:gd name="connsiteY128" fmla="*/ 105939 h 283512"/>
                <a:gd name="connsiteX129" fmla="*/ 1113293 w 2096597"/>
                <a:gd name="connsiteY129" fmla="*/ 105939 h 283512"/>
                <a:gd name="connsiteX130" fmla="*/ 1137219 w 2096597"/>
                <a:gd name="connsiteY130" fmla="*/ 84030 h 283512"/>
                <a:gd name="connsiteX131" fmla="*/ 1171091 w 2096597"/>
                <a:gd name="connsiteY131" fmla="*/ 76247 h 283512"/>
                <a:gd name="connsiteX132" fmla="*/ 1199629 w 2096597"/>
                <a:gd name="connsiteY132" fmla="*/ 81724 h 283512"/>
                <a:gd name="connsiteX133" fmla="*/ 1220961 w 2096597"/>
                <a:gd name="connsiteY133" fmla="*/ 97002 h 283512"/>
                <a:gd name="connsiteX134" fmla="*/ 1234366 w 2096597"/>
                <a:gd name="connsiteY134" fmla="*/ 120208 h 283512"/>
                <a:gd name="connsiteX135" fmla="*/ 1238978 w 2096597"/>
                <a:gd name="connsiteY135" fmla="*/ 150044 h 283512"/>
                <a:gd name="connsiteX136" fmla="*/ 1238978 w 2096597"/>
                <a:gd name="connsiteY136" fmla="*/ 276738 h 283512"/>
                <a:gd name="connsiteX137" fmla="*/ 1177000 w 2096597"/>
                <a:gd name="connsiteY137" fmla="*/ 276738 h 283512"/>
                <a:gd name="connsiteX138" fmla="*/ 1177000 w 2096597"/>
                <a:gd name="connsiteY138" fmla="*/ 162583 h 283512"/>
                <a:gd name="connsiteX139" fmla="*/ 1169361 w 2096597"/>
                <a:gd name="connsiteY139" fmla="*/ 137504 h 283512"/>
                <a:gd name="connsiteX140" fmla="*/ 1146588 w 2096597"/>
                <a:gd name="connsiteY140" fmla="*/ 127991 h 283512"/>
                <a:gd name="connsiteX141" fmla="*/ 1121653 w 2096597"/>
                <a:gd name="connsiteY141" fmla="*/ 139378 h 283512"/>
                <a:gd name="connsiteX142" fmla="*/ 1112284 w 2096597"/>
                <a:gd name="connsiteY142" fmla="*/ 169069 h 283512"/>
                <a:gd name="connsiteX143" fmla="*/ 1112284 w 2096597"/>
                <a:gd name="connsiteY143" fmla="*/ 276738 h 283512"/>
                <a:gd name="connsiteX144" fmla="*/ 1050306 w 2096597"/>
                <a:gd name="connsiteY144" fmla="*/ 276738 h 283512"/>
                <a:gd name="connsiteX145" fmla="*/ 1050306 w 2096597"/>
                <a:gd name="connsiteY145" fmla="*/ 1874 h 283512"/>
                <a:gd name="connsiteX146" fmla="*/ 1362645 w 2096597"/>
                <a:gd name="connsiteY146" fmla="*/ 282936 h 283512"/>
                <a:gd name="connsiteX147" fmla="*/ 1319837 w 2096597"/>
                <a:gd name="connsiteY147" fmla="*/ 275152 h 283512"/>
                <a:gd name="connsiteX148" fmla="*/ 1286830 w 2096597"/>
                <a:gd name="connsiteY148" fmla="*/ 253388 h 283512"/>
                <a:gd name="connsiteX149" fmla="*/ 1265787 w 2096597"/>
                <a:gd name="connsiteY149" fmla="*/ 220670 h 283512"/>
                <a:gd name="connsiteX150" fmla="*/ 1258292 w 2096597"/>
                <a:gd name="connsiteY150" fmla="*/ 179735 h 283512"/>
                <a:gd name="connsiteX151" fmla="*/ 1265787 w 2096597"/>
                <a:gd name="connsiteY151" fmla="*/ 138801 h 283512"/>
                <a:gd name="connsiteX152" fmla="*/ 1286830 w 2096597"/>
                <a:gd name="connsiteY152" fmla="*/ 106083 h 283512"/>
                <a:gd name="connsiteX153" fmla="*/ 1319837 w 2096597"/>
                <a:gd name="connsiteY153" fmla="*/ 84463 h 283512"/>
                <a:gd name="connsiteX154" fmla="*/ 1362645 w 2096597"/>
                <a:gd name="connsiteY154" fmla="*/ 76679 h 283512"/>
                <a:gd name="connsiteX155" fmla="*/ 1405453 w 2096597"/>
                <a:gd name="connsiteY155" fmla="*/ 84463 h 283512"/>
                <a:gd name="connsiteX156" fmla="*/ 1438171 w 2096597"/>
                <a:gd name="connsiteY156" fmla="*/ 106083 h 283512"/>
                <a:gd name="connsiteX157" fmla="*/ 1459071 w 2096597"/>
                <a:gd name="connsiteY157" fmla="*/ 138801 h 283512"/>
                <a:gd name="connsiteX158" fmla="*/ 1466422 w 2096597"/>
                <a:gd name="connsiteY158" fmla="*/ 179735 h 283512"/>
                <a:gd name="connsiteX159" fmla="*/ 1459071 w 2096597"/>
                <a:gd name="connsiteY159" fmla="*/ 220670 h 283512"/>
                <a:gd name="connsiteX160" fmla="*/ 1438171 w 2096597"/>
                <a:gd name="connsiteY160" fmla="*/ 253388 h 283512"/>
                <a:gd name="connsiteX161" fmla="*/ 1405453 w 2096597"/>
                <a:gd name="connsiteY161" fmla="*/ 275152 h 283512"/>
                <a:gd name="connsiteX162" fmla="*/ 1362645 w 2096597"/>
                <a:gd name="connsiteY162" fmla="*/ 282936 h 283512"/>
                <a:gd name="connsiteX163" fmla="*/ 1362213 w 2096597"/>
                <a:gd name="connsiteY163" fmla="*/ 238830 h 283512"/>
                <a:gd name="connsiteX164" fmla="*/ 1393201 w 2096597"/>
                <a:gd name="connsiteY164" fmla="*/ 222687 h 283512"/>
                <a:gd name="connsiteX165" fmla="*/ 1403723 w 2096597"/>
                <a:gd name="connsiteY165" fmla="*/ 179880 h 283512"/>
                <a:gd name="connsiteX166" fmla="*/ 1393201 w 2096597"/>
                <a:gd name="connsiteY166" fmla="*/ 136928 h 283512"/>
                <a:gd name="connsiteX167" fmla="*/ 1362213 w 2096597"/>
                <a:gd name="connsiteY167" fmla="*/ 120496 h 283512"/>
                <a:gd name="connsiteX168" fmla="*/ 1331368 w 2096597"/>
                <a:gd name="connsiteY168" fmla="*/ 136928 h 283512"/>
                <a:gd name="connsiteX169" fmla="*/ 1321134 w 2096597"/>
                <a:gd name="connsiteY169" fmla="*/ 179880 h 283512"/>
                <a:gd name="connsiteX170" fmla="*/ 1331368 w 2096597"/>
                <a:gd name="connsiteY170" fmla="*/ 222687 h 283512"/>
                <a:gd name="connsiteX171" fmla="*/ 1362213 w 2096597"/>
                <a:gd name="connsiteY171" fmla="*/ 238830 h 283512"/>
                <a:gd name="connsiteX172" fmla="*/ 1554488 w 2096597"/>
                <a:gd name="connsiteY172" fmla="*/ 282647 h 283512"/>
                <a:gd name="connsiteX173" fmla="*/ 1503320 w 2096597"/>
                <a:gd name="connsiteY173" fmla="*/ 262613 h 283512"/>
                <a:gd name="connsiteX174" fmla="*/ 1486024 w 2096597"/>
                <a:gd name="connsiteY174" fmla="*/ 209859 h 283512"/>
                <a:gd name="connsiteX175" fmla="*/ 1486024 w 2096597"/>
                <a:gd name="connsiteY175" fmla="*/ 82012 h 283512"/>
                <a:gd name="connsiteX176" fmla="*/ 1547713 w 2096597"/>
                <a:gd name="connsiteY176" fmla="*/ 82012 h 283512"/>
                <a:gd name="connsiteX177" fmla="*/ 1547713 w 2096597"/>
                <a:gd name="connsiteY177" fmla="*/ 197032 h 283512"/>
                <a:gd name="connsiteX178" fmla="*/ 1554920 w 2096597"/>
                <a:gd name="connsiteY178" fmla="*/ 221534 h 283512"/>
                <a:gd name="connsiteX179" fmla="*/ 1576973 w 2096597"/>
                <a:gd name="connsiteY179" fmla="*/ 230038 h 283512"/>
                <a:gd name="connsiteX180" fmla="*/ 1602052 w 2096597"/>
                <a:gd name="connsiteY180" fmla="*/ 219228 h 283512"/>
                <a:gd name="connsiteX181" fmla="*/ 1611132 w 2096597"/>
                <a:gd name="connsiteY181" fmla="*/ 190834 h 283512"/>
                <a:gd name="connsiteX182" fmla="*/ 1611132 w 2096597"/>
                <a:gd name="connsiteY182" fmla="*/ 82012 h 283512"/>
                <a:gd name="connsiteX183" fmla="*/ 1673110 w 2096597"/>
                <a:gd name="connsiteY183" fmla="*/ 82012 h 283512"/>
                <a:gd name="connsiteX184" fmla="*/ 1673110 w 2096597"/>
                <a:gd name="connsiteY184" fmla="*/ 276882 h 283512"/>
                <a:gd name="connsiteX185" fmla="*/ 1613727 w 2096597"/>
                <a:gd name="connsiteY185" fmla="*/ 276882 h 283512"/>
                <a:gd name="connsiteX186" fmla="*/ 1613727 w 2096597"/>
                <a:gd name="connsiteY186" fmla="*/ 252956 h 283512"/>
                <a:gd name="connsiteX187" fmla="*/ 1612574 w 2096597"/>
                <a:gd name="connsiteY187" fmla="*/ 252956 h 283512"/>
                <a:gd name="connsiteX188" fmla="*/ 1588359 w 2096597"/>
                <a:gd name="connsiteY188" fmla="*/ 275008 h 283512"/>
                <a:gd name="connsiteX189" fmla="*/ 1554344 w 2096597"/>
                <a:gd name="connsiteY189" fmla="*/ 282647 h 283512"/>
                <a:gd name="connsiteX190" fmla="*/ 1789571 w 2096597"/>
                <a:gd name="connsiteY190" fmla="*/ 283080 h 283512"/>
                <a:gd name="connsiteX191" fmla="*/ 1721395 w 2096597"/>
                <a:gd name="connsiteY191" fmla="*/ 264630 h 283512"/>
                <a:gd name="connsiteX192" fmla="*/ 1694730 w 2096597"/>
                <a:gd name="connsiteY192" fmla="*/ 213751 h 283512"/>
                <a:gd name="connsiteX193" fmla="*/ 1753393 w 2096597"/>
                <a:gd name="connsiteY193" fmla="*/ 213751 h 283512"/>
                <a:gd name="connsiteX194" fmla="*/ 1764491 w 2096597"/>
                <a:gd name="connsiteY194" fmla="*/ 235515 h 283512"/>
                <a:gd name="connsiteX195" fmla="*/ 1789282 w 2096597"/>
                <a:gd name="connsiteY195" fmla="*/ 242722 h 283512"/>
                <a:gd name="connsiteX196" fmla="*/ 1811479 w 2096597"/>
                <a:gd name="connsiteY196" fmla="*/ 237821 h 283512"/>
                <a:gd name="connsiteX197" fmla="*/ 1819695 w 2096597"/>
                <a:gd name="connsiteY197" fmla="*/ 223408 h 283512"/>
                <a:gd name="connsiteX198" fmla="*/ 1815515 w 2096597"/>
                <a:gd name="connsiteY198" fmla="*/ 212886 h 283512"/>
                <a:gd name="connsiteX199" fmla="*/ 1804416 w 2096597"/>
                <a:gd name="connsiteY199" fmla="*/ 206400 h 283512"/>
                <a:gd name="connsiteX200" fmla="*/ 1788562 w 2096597"/>
                <a:gd name="connsiteY200" fmla="*/ 202653 h 283512"/>
                <a:gd name="connsiteX201" fmla="*/ 1770112 w 2096597"/>
                <a:gd name="connsiteY201" fmla="*/ 199482 h 283512"/>
                <a:gd name="connsiteX202" fmla="*/ 1745033 w 2096597"/>
                <a:gd name="connsiteY202" fmla="*/ 194005 h 283512"/>
                <a:gd name="connsiteX203" fmla="*/ 1722404 w 2096597"/>
                <a:gd name="connsiteY203" fmla="*/ 184348 h 283512"/>
                <a:gd name="connsiteX204" fmla="*/ 1706261 w 2096597"/>
                <a:gd name="connsiteY204" fmla="*/ 167052 h 283512"/>
                <a:gd name="connsiteX205" fmla="*/ 1700207 w 2096597"/>
                <a:gd name="connsiteY205" fmla="*/ 139090 h 283512"/>
                <a:gd name="connsiteX206" fmla="*/ 1706837 w 2096597"/>
                <a:gd name="connsiteY206" fmla="*/ 111992 h 283512"/>
                <a:gd name="connsiteX207" fmla="*/ 1724999 w 2096597"/>
                <a:gd name="connsiteY207" fmla="*/ 92390 h 283512"/>
                <a:gd name="connsiteX208" fmla="*/ 1751808 w 2096597"/>
                <a:gd name="connsiteY208" fmla="*/ 80571 h 283512"/>
                <a:gd name="connsiteX209" fmla="*/ 1784382 w 2096597"/>
                <a:gd name="connsiteY209" fmla="*/ 76535 h 283512"/>
                <a:gd name="connsiteX210" fmla="*/ 1847945 w 2096597"/>
                <a:gd name="connsiteY210" fmla="*/ 93255 h 283512"/>
                <a:gd name="connsiteX211" fmla="*/ 1872304 w 2096597"/>
                <a:gd name="connsiteY211" fmla="*/ 138945 h 283512"/>
                <a:gd name="connsiteX212" fmla="*/ 1815226 w 2096597"/>
                <a:gd name="connsiteY212" fmla="*/ 138945 h 283512"/>
                <a:gd name="connsiteX213" fmla="*/ 1805137 w 2096597"/>
                <a:gd name="connsiteY213" fmla="*/ 120929 h 283512"/>
                <a:gd name="connsiteX214" fmla="*/ 1783949 w 2096597"/>
                <a:gd name="connsiteY214" fmla="*/ 116172 h 283512"/>
                <a:gd name="connsiteX215" fmla="*/ 1764780 w 2096597"/>
                <a:gd name="connsiteY215" fmla="*/ 120496 h 283512"/>
                <a:gd name="connsiteX216" fmla="*/ 1756996 w 2096597"/>
                <a:gd name="connsiteY216" fmla="*/ 134045 h 283512"/>
                <a:gd name="connsiteX217" fmla="*/ 1760744 w 2096597"/>
                <a:gd name="connsiteY217" fmla="*/ 142405 h 283512"/>
                <a:gd name="connsiteX218" fmla="*/ 1770977 w 2096597"/>
                <a:gd name="connsiteY218" fmla="*/ 147593 h 283512"/>
                <a:gd name="connsiteX219" fmla="*/ 1785967 w 2096597"/>
                <a:gd name="connsiteY219" fmla="*/ 151197 h 283512"/>
                <a:gd name="connsiteX220" fmla="*/ 1803696 w 2096597"/>
                <a:gd name="connsiteY220" fmla="*/ 154224 h 283512"/>
                <a:gd name="connsiteX221" fmla="*/ 1829784 w 2096597"/>
                <a:gd name="connsiteY221" fmla="*/ 159701 h 283512"/>
                <a:gd name="connsiteX222" fmla="*/ 1853710 w 2096597"/>
                <a:gd name="connsiteY222" fmla="*/ 169790 h 283512"/>
                <a:gd name="connsiteX223" fmla="*/ 1871439 w 2096597"/>
                <a:gd name="connsiteY223" fmla="*/ 188239 h 283512"/>
                <a:gd name="connsiteX224" fmla="*/ 1878357 w 2096597"/>
                <a:gd name="connsiteY224" fmla="*/ 218508 h 283512"/>
                <a:gd name="connsiteX225" fmla="*/ 1871727 w 2096597"/>
                <a:gd name="connsiteY225" fmla="*/ 246614 h 283512"/>
                <a:gd name="connsiteX226" fmla="*/ 1853278 w 2096597"/>
                <a:gd name="connsiteY226" fmla="*/ 266792 h 283512"/>
                <a:gd name="connsiteX227" fmla="*/ 1825172 w 2096597"/>
                <a:gd name="connsiteY227" fmla="*/ 279044 h 283512"/>
                <a:gd name="connsiteX228" fmla="*/ 1789715 w 2096597"/>
                <a:gd name="connsiteY228" fmla="*/ 283224 h 283512"/>
                <a:gd name="connsiteX229" fmla="*/ 1999430 w 2096597"/>
                <a:gd name="connsiteY229" fmla="*/ 282791 h 283512"/>
                <a:gd name="connsiteX230" fmla="*/ 1956046 w 2096597"/>
                <a:gd name="connsiteY230" fmla="*/ 275008 h 283512"/>
                <a:gd name="connsiteX231" fmla="*/ 1923327 w 2096597"/>
                <a:gd name="connsiteY231" fmla="*/ 253244 h 283512"/>
                <a:gd name="connsiteX232" fmla="*/ 1902716 w 2096597"/>
                <a:gd name="connsiteY232" fmla="*/ 220381 h 283512"/>
                <a:gd name="connsiteX233" fmla="*/ 1895509 w 2096597"/>
                <a:gd name="connsiteY233" fmla="*/ 179303 h 283512"/>
                <a:gd name="connsiteX234" fmla="*/ 1902716 w 2096597"/>
                <a:gd name="connsiteY234" fmla="*/ 138801 h 283512"/>
                <a:gd name="connsiteX235" fmla="*/ 1923327 w 2096597"/>
                <a:gd name="connsiteY235" fmla="*/ 106083 h 283512"/>
                <a:gd name="connsiteX236" fmla="*/ 1954893 w 2096597"/>
                <a:gd name="connsiteY236" fmla="*/ 84463 h 283512"/>
                <a:gd name="connsiteX237" fmla="*/ 1995683 w 2096597"/>
                <a:gd name="connsiteY237" fmla="*/ 76679 h 283512"/>
                <a:gd name="connsiteX238" fmla="*/ 2033157 w 2096597"/>
                <a:gd name="connsiteY238" fmla="*/ 83165 h 283512"/>
                <a:gd name="connsiteX239" fmla="*/ 2062273 w 2096597"/>
                <a:gd name="connsiteY239" fmla="*/ 101038 h 283512"/>
                <a:gd name="connsiteX240" fmla="*/ 2088361 w 2096597"/>
                <a:gd name="connsiteY240" fmla="*/ 141540 h 283512"/>
                <a:gd name="connsiteX241" fmla="*/ 2096577 w 2096597"/>
                <a:gd name="connsiteY241" fmla="*/ 195734 h 283512"/>
                <a:gd name="connsiteX242" fmla="*/ 1956478 w 2096597"/>
                <a:gd name="connsiteY242" fmla="*/ 195734 h 283512"/>
                <a:gd name="connsiteX243" fmla="*/ 1970171 w 2096597"/>
                <a:gd name="connsiteY243" fmla="*/ 227011 h 283512"/>
                <a:gd name="connsiteX244" fmla="*/ 2000295 w 2096597"/>
                <a:gd name="connsiteY244" fmla="*/ 238398 h 283512"/>
                <a:gd name="connsiteX245" fmla="*/ 2020474 w 2096597"/>
                <a:gd name="connsiteY245" fmla="*/ 233209 h 283512"/>
                <a:gd name="connsiteX246" fmla="*/ 2032725 w 2096597"/>
                <a:gd name="connsiteY246" fmla="*/ 218940 h 283512"/>
                <a:gd name="connsiteX247" fmla="*/ 2093262 w 2096597"/>
                <a:gd name="connsiteY247" fmla="*/ 218940 h 283512"/>
                <a:gd name="connsiteX248" fmla="*/ 2081875 w 2096597"/>
                <a:gd name="connsiteY248" fmla="*/ 244308 h 283512"/>
                <a:gd name="connsiteX249" fmla="*/ 2060543 w 2096597"/>
                <a:gd name="connsiteY249" fmla="*/ 265063 h 283512"/>
                <a:gd name="connsiteX250" fmla="*/ 2033302 w 2096597"/>
                <a:gd name="connsiteY250" fmla="*/ 278323 h 283512"/>
                <a:gd name="connsiteX251" fmla="*/ 1999574 w 2096597"/>
                <a:gd name="connsiteY251" fmla="*/ 282936 h 283512"/>
                <a:gd name="connsiteX252" fmla="*/ 2033878 w 2096597"/>
                <a:gd name="connsiteY252" fmla="*/ 158836 h 283512"/>
                <a:gd name="connsiteX253" fmla="*/ 2022059 w 2096597"/>
                <a:gd name="connsiteY253" fmla="*/ 131018 h 283512"/>
                <a:gd name="connsiteX254" fmla="*/ 1996980 w 2096597"/>
                <a:gd name="connsiteY254" fmla="*/ 120784 h 283512"/>
                <a:gd name="connsiteX255" fmla="*/ 1969594 w 2096597"/>
                <a:gd name="connsiteY255" fmla="*/ 131018 h 283512"/>
                <a:gd name="connsiteX256" fmla="*/ 1957055 w 2096597"/>
                <a:gd name="connsiteY256" fmla="*/ 158836 h 283512"/>
                <a:gd name="connsiteX257" fmla="*/ 2033878 w 2096597"/>
                <a:gd name="connsiteY257" fmla="*/ 158836 h 283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</a:cxnLst>
              <a:rect l="l" t="t" r="r" b="b"/>
              <a:pathLst>
                <a:path w="2096597" h="283512">
                  <a:moveTo>
                    <a:pt x="129433" y="283512"/>
                  </a:moveTo>
                  <a:cubicBezTo>
                    <a:pt x="109830" y="283512"/>
                    <a:pt x="92390" y="280197"/>
                    <a:pt x="76968" y="273567"/>
                  </a:cubicBezTo>
                  <a:cubicBezTo>
                    <a:pt x="61545" y="266937"/>
                    <a:pt x="47997" y="257568"/>
                    <a:pt x="36610" y="245461"/>
                  </a:cubicBezTo>
                  <a:cubicBezTo>
                    <a:pt x="24647" y="232489"/>
                    <a:pt x="15567" y="217354"/>
                    <a:pt x="9369" y="199770"/>
                  </a:cubicBezTo>
                  <a:cubicBezTo>
                    <a:pt x="3171" y="182330"/>
                    <a:pt x="0" y="163160"/>
                    <a:pt x="0" y="142260"/>
                  </a:cubicBezTo>
                  <a:cubicBezTo>
                    <a:pt x="0" y="121361"/>
                    <a:pt x="3459" y="100894"/>
                    <a:pt x="10522" y="82733"/>
                  </a:cubicBezTo>
                  <a:cubicBezTo>
                    <a:pt x="17440" y="64572"/>
                    <a:pt x="27386" y="49006"/>
                    <a:pt x="40358" y="36178"/>
                  </a:cubicBezTo>
                  <a:cubicBezTo>
                    <a:pt x="51744" y="24791"/>
                    <a:pt x="65149" y="15855"/>
                    <a:pt x="80715" y="9513"/>
                  </a:cubicBezTo>
                  <a:cubicBezTo>
                    <a:pt x="96138" y="3171"/>
                    <a:pt x="113866" y="0"/>
                    <a:pt x="133612" y="0"/>
                  </a:cubicBezTo>
                  <a:cubicBezTo>
                    <a:pt x="151053" y="0"/>
                    <a:pt x="166907" y="2162"/>
                    <a:pt x="180744" y="6630"/>
                  </a:cubicBezTo>
                  <a:cubicBezTo>
                    <a:pt x="194725" y="11098"/>
                    <a:pt x="206833" y="17440"/>
                    <a:pt x="216922" y="25656"/>
                  </a:cubicBezTo>
                  <a:cubicBezTo>
                    <a:pt x="227011" y="33872"/>
                    <a:pt x="235227" y="43817"/>
                    <a:pt x="241425" y="55492"/>
                  </a:cubicBezTo>
                  <a:cubicBezTo>
                    <a:pt x="247623" y="67167"/>
                    <a:pt x="251947" y="80139"/>
                    <a:pt x="254109" y="94264"/>
                  </a:cubicBezTo>
                  <a:lnTo>
                    <a:pt x="188672" y="94264"/>
                  </a:lnTo>
                  <a:cubicBezTo>
                    <a:pt x="186077" y="83165"/>
                    <a:pt x="180456" y="73797"/>
                    <a:pt x="171520" y="66446"/>
                  </a:cubicBezTo>
                  <a:cubicBezTo>
                    <a:pt x="162583" y="59095"/>
                    <a:pt x="150764" y="55348"/>
                    <a:pt x="135774" y="55348"/>
                  </a:cubicBezTo>
                  <a:cubicBezTo>
                    <a:pt x="124532" y="55348"/>
                    <a:pt x="114731" y="57654"/>
                    <a:pt x="106227" y="61978"/>
                  </a:cubicBezTo>
                  <a:cubicBezTo>
                    <a:pt x="97723" y="66446"/>
                    <a:pt x="90660" y="72500"/>
                    <a:pt x="85039" y="80283"/>
                  </a:cubicBezTo>
                  <a:cubicBezTo>
                    <a:pt x="79418" y="88066"/>
                    <a:pt x="75238" y="97146"/>
                    <a:pt x="72500" y="107668"/>
                  </a:cubicBezTo>
                  <a:cubicBezTo>
                    <a:pt x="69761" y="118190"/>
                    <a:pt x="68320" y="129721"/>
                    <a:pt x="68320" y="142116"/>
                  </a:cubicBezTo>
                  <a:cubicBezTo>
                    <a:pt x="68320" y="154512"/>
                    <a:pt x="69905" y="166043"/>
                    <a:pt x="73076" y="176709"/>
                  </a:cubicBezTo>
                  <a:cubicBezTo>
                    <a:pt x="76247" y="187375"/>
                    <a:pt x="80715" y="196599"/>
                    <a:pt x="86625" y="204238"/>
                  </a:cubicBezTo>
                  <a:cubicBezTo>
                    <a:pt x="92534" y="212021"/>
                    <a:pt x="99597" y="218075"/>
                    <a:pt x="108101" y="222255"/>
                  </a:cubicBezTo>
                  <a:cubicBezTo>
                    <a:pt x="116605" y="226579"/>
                    <a:pt x="126117" y="228741"/>
                    <a:pt x="136783" y="228741"/>
                  </a:cubicBezTo>
                  <a:cubicBezTo>
                    <a:pt x="145576" y="228741"/>
                    <a:pt x="153647" y="227444"/>
                    <a:pt x="160566" y="224705"/>
                  </a:cubicBezTo>
                  <a:cubicBezTo>
                    <a:pt x="167484" y="222111"/>
                    <a:pt x="173538" y="218508"/>
                    <a:pt x="178438" y="214039"/>
                  </a:cubicBezTo>
                  <a:cubicBezTo>
                    <a:pt x="183339" y="209571"/>
                    <a:pt x="187375" y="204526"/>
                    <a:pt x="190257" y="198761"/>
                  </a:cubicBezTo>
                  <a:cubicBezTo>
                    <a:pt x="193140" y="193140"/>
                    <a:pt x="195014" y="187230"/>
                    <a:pt x="195734" y="181033"/>
                  </a:cubicBezTo>
                  <a:lnTo>
                    <a:pt x="195734" y="180312"/>
                  </a:lnTo>
                  <a:lnTo>
                    <a:pt x="144711" y="180312"/>
                  </a:lnTo>
                  <a:lnTo>
                    <a:pt x="144711" y="130874"/>
                  </a:lnTo>
                  <a:lnTo>
                    <a:pt x="258144" y="130874"/>
                  </a:lnTo>
                  <a:lnTo>
                    <a:pt x="258144" y="277026"/>
                  </a:lnTo>
                  <a:lnTo>
                    <a:pt x="211013" y="277026"/>
                  </a:lnTo>
                  <a:lnTo>
                    <a:pt x="207265" y="244308"/>
                  </a:lnTo>
                  <a:lnTo>
                    <a:pt x="206544" y="244308"/>
                  </a:lnTo>
                  <a:cubicBezTo>
                    <a:pt x="197608" y="258289"/>
                    <a:pt x="186654" y="268234"/>
                    <a:pt x="173682" y="274143"/>
                  </a:cubicBezTo>
                  <a:cubicBezTo>
                    <a:pt x="160566" y="280053"/>
                    <a:pt x="145864" y="283080"/>
                    <a:pt x="129288" y="283080"/>
                  </a:cubicBezTo>
                  <a:moveTo>
                    <a:pt x="358029" y="282647"/>
                  </a:moveTo>
                  <a:cubicBezTo>
                    <a:pt x="335400" y="282647"/>
                    <a:pt x="318393" y="276017"/>
                    <a:pt x="306862" y="262613"/>
                  </a:cubicBezTo>
                  <a:cubicBezTo>
                    <a:pt x="295331" y="249352"/>
                    <a:pt x="289566" y="231768"/>
                    <a:pt x="289566" y="209859"/>
                  </a:cubicBezTo>
                  <a:lnTo>
                    <a:pt x="289566" y="82012"/>
                  </a:lnTo>
                  <a:lnTo>
                    <a:pt x="351255" y="82012"/>
                  </a:lnTo>
                  <a:lnTo>
                    <a:pt x="351255" y="197032"/>
                  </a:lnTo>
                  <a:cubicBezTo>
                    <a:pt x="351255" y="207697"/>
                    <a:pt x="353705" y="215913"/>
                    <a:pt x="358462" y="221534"/>
                  </a:cubicBezTo>
                  <a:cubicBezTo>
                    <a:pt x="363218" y="227300"/>
                    <a:pt x="370713" y="230038"/>
                    <a:pt x="380514" y="230038"/>
                  </a:cubicBezTo>
                  <a:cubicBezTo>
                    <a:pt x="391180" y="230038"/>
                    <a:pt x="399540" y="226435"/>
                    <a:pt x="405594" y="219228"/>
                  </a:cubicBezTo>
                  <a:cubicBezTo>
                    <a:pt x="411647" y="212021"/>
                    <a:pt x="414674" y="202509"/>
                    <a:pt x="414674" y="190834"/>
                  </a:cubicBezTo>
                  <a:lnTo>
                    <a:pt x="414674" y="82012"/>
                  </a:lnTo>
                  <a:lnTo>
                    <a:pt x="476652" y="82012"/>
                  </a:lnTo>
                  <a:lnTo>
                    <a:pt x="476652" y="276882"/>
                  </a:lnTo>
                  <a:lnTo>
                    <a:pt x="417269" y="276882"/>
                  </a:lnTo>
                  <a:lnTo>
                    <a:pt x="417269" y="252956"/>
                  </a:lnTo>
                  <a:lnTo>
                    <a:pt x="416116" y="252956"/>
                  </a:lnTo>
                  <a:cubicBezTo>
                    <a:pt x="409053" y="262613"/>
                    <a:pt x="400981" y="269963"/>
                    <a:pt x="391901" y="275008"/>
                  </a:cubicBezTo>
                  <a:cubicBezTo>
                    <a:pt x="382965" y="280053"/>
                    <a:pt x="371578" y="282647"/>
                    <a:pt x="357885" y="282647"/>
                  </a:cubicBezTo>
                  <a:moveTo>
                    <a:pt x="511965" y="2162"/>
                  </a:moveTo>
                  <a:lnTo>
                    <a:pt x="573943" y="2162"/>
                  </a:lnTo>
                  <a:lnTo>
                    <a:pt x="573943" y="55059"/>
                  </a:lnTo>
                  <a:lnTo>
                    <a:pt x="511965" y="55059"/>
                  </a:lnTo>
                  <a:lnTo>
                    <a:pt x="511965" y="2162"/>
                  </a:lnTo>
                  <a:close/>
                  <a:moveTo>
                    <a:pt x="511965" y="82012"/>
                  </a:moveTo>
                  <a:lnTo>
                    <a:pt x="573943" y="82012"/>
                  </a:lnTo>
                  <a:lnTo>
                    <a:pt x="573943" y="276882"/>
                  </a:lnTo>
                  <a:lnTo>
                    <a:pt x="511965" y="276882"/>
                  </a:lnTo>
                  <a:lnTo>
                    <a:pt x="511965" y="82012"/>
                  </a:lnTo>
                  <a:close/>
                  <a:moveTo>
                    <a:pt x="685935" y="282936"/>
                  </a:moveTo>
                  <a:cubicBezTo>
                    <a:pt x="673539" y="282936"/>
                    <a:pt x="662009" y="280629"/>
                    <a:pt x="651631" y="275873"/>
                  </a:cubicBezTo>
                  <a:cubicBezTo>
                    <a:pt x="641253" y="271117"/>
                    <a:pt x="632173" y="264342"/>
                    <a:pt x="624678" y="255550"/>
                  </a:cubicBezTo>
                  <a:cubicBezTo>
                    <a:pt x="617039" y="246614"/>
                    <a:pt x="611129" y="235804"/>
                    <a:pt x="606949" y="222976"/>
                  </a:cubicBezTo>
                  <a:cubicBezTo>
                    <a:pt x="602769" y="210148"/>
                    <a:pt x="600607" y="195590"/>
                    <a:pt x="600607" y="179447"/>
                  </a:cubicBezTo>
                  <a:cubicBezTo>
                    <a:pt x="600607" y="164169"/>
                    <a:pt x="602769" y="150332"/>
                    <a:pt x="606949" y="137504"/>
                  </a:cubicBezTo>
                  <a:cubicBezTo>
                    <a:pt x="611129" y="124820"/>
                    <a:pt x="617039" y="114010"/>
                    <a:pt x="624390" y="104930"/>
                  </a:cubicBezTo>
                  <a:cubicBezTo>
                    <a:pt x="631884" y="95993"/>
                    <a:pt x="640821" y="88931"/>
                    <a:pt x="651199" y="83742"/>
                  </a:cubicBezTo>
                  <a:cubicBezTo>
                    <a:pt x="661576" y="78697"/>
                    <a:pt x="673107" y="76103"/>
                    <a:pt x="685791" y="76103"/>
                  </a:cubicBezTo>
                  <a:cubicBezTo>
                    <a:pt x="699483" y="76103"/>
                    <a:pt x="710582" y="78697"/>
                    <a:pt x="718942" y="83886"/>
                  </a:cubicBezTo>
                  <a:cubicBezTo>
                    <a:pt x="727301" y="89075"/>
                    <a:pt x="734364" y="95705"/>
                    <a:pt x="740273" y="103921"/>
                  </a:cubicBezTo>
                  <a:lnTo>
                    <a:pt x="741426" y="103921"/>
                  </a:lnTo>
                  <a:lnTo>
                    <a:pt x="741426" y="1874"/>
                  </a:lnTo>
                  <a:lnTo>
                    <a:pt x="803404" y="1874"/>
                  </a:lnTo>
                  <a:lnTo>
                    <a:pt x="803404" y="276738"/>
                  </a:lnTo>
                  <a:lnTo>
                    <a:pt x="744021" y="276738"/>
                  </a:lnTo>
                  <a:lnTo>
                    <a:pt x="744021" y="250505"/>
                  </a:lnTo>
                  <a:lnTo>
                    <a:pt x="743300" y="250505"/>
                  </a:lnTo>
                  <a:cubicBezTo>
                    <a:pt x="737535" y="260595"/>
                    <a:pt x="729607" y="268522"/>
                    <a:pt x="719951" y="274287"/>
                  </a:cubicBezTo>
                  <a:cubicBezTo>
                    <a:pt x="710149" y="280053"/>
                    <a:pt x="698907" y="282791"/>
                    <a:pt x="685935" y="282791"/>
                  </a:cubicBezTo>
                  <a:moveTo>
                    <a:pt x="701934" y="233642"/>
                  </a:moveTo>
                  <a:cubicBezTo>
                    <a:pt x="714906" y="233642"/>
                    <a:pt x="724995" y="228597"/>
                    <a:pt x="732202" y="218363"/>
                  </a:cubicBezTo>
                  <a:cubicBezTo>
                    <a:pt x="739409" y="208274"/>
                    <a:pt x="743012" y="195158"/>
                    <a:pt x="743012" y="179159"/>
                  </a:cubicBezTo>
                  <a:cubicBezTo>
                    <a:pt x="743012" y="171087"/>
                    <a:pt x="742147" y="163448"/>
                    <a:pt x="740562" y="156530"/>
                  </a:cubicBezTo>
                  <a:cubicBezTo>
                    <a:pt x="738976" y="149611"/>
                    <a:pt x="736382" y="143558"/>
                    <a:pt x="732923" y="138657"/>
                  </a:cubicBezTo>
                  <a:cubicBezTo>
                    <a:pt x="729463" y="133757"/>
                    <a:pt x="725284" y="129865"/>
                    <a:pt x="720383" y="126982"/>
                  </a:cubicBezTo>
                  <a:cubicBezTo>
                    <a:pt x="715482" y="124244"/>
                    <a:pt x="709573" y="122802"/>
                    <a:pt x="702654" y="122802"/>
                  </a:cubicBezTo>
                  <a:cubicBezTo>
                    <a:pt x="690259" y="122802"/>
                    <a:pt x="680602" y="127991"/>
                    <a:pt x="673683" y="138225"/>
                  </a:cubicBezTo>
                  <a:cubicBezTo>
                    <a:pt x="666765" y="148458"/>
                    <a:pt x="663450" y="161863"/>
                    <a:pt x="663450" y="178438"/>
                  </a:cubicBezTo>
                  <a:cubicBezTo>
                    <a:pt x="663450" y="195014"/>
                    <a:pt x="666765" y="208851"/>
                    <a:pt x="673539" y="218796"/>
                  </a:cubicBezTo>
                  <a:cubicBezTo>
                    <a:pt x="680314" y="228741"/>
                    <a:pt x="689682" y="233642"/>
                    <a:pt x="701934" y="233642"/>
                  </a:cubicBezTo>
                  <a:moveTo>
                    <a:pt x="930242" y="282359"/>
                  </a:moveTo>
                  <a:cubicBezTo>
                    <a:pt x="914243" y="282359"/>
                    <a:pt x="899830" y="279765"/>
                    <a:pt x="886858" y="274576"/>
                  </a:cubicBezTo>
                  <a:cubicBezTo>
                    <a:pt x="873886" y="269387"/>
                    <a:pt x="862932" y="262180"/>
                    <a:pt x="854139" y="252811"/>
                  </a:cubicBezTo>
                  <a:cubicBezTo>
                    <a:pt x="845203" y="243587"/>
                    <a:pt x="838429" y="232633"/>
                    <a:pt x="833528" y="219949"/>
                  </a:cubicBezTo>
                  <a:cubicBezTo>
                    <a:pt x="828772" y="207265"/>
                    <a:pt x="826322" y="193572"/>
                    <a:pt x="826322" y="178871"/>
                  </a:cubicBezTo>
                  <a:cubicBezTo>
                    <a:pt x="826322" y="164169"/>
                    <a:pt x="828772" y="150909"/>
                    <a:pt x="833528" y="138369"/>
                  </a:cubicBezTo>
                  <a:cubicBezTo>
                    <a:pt x="838285" y="125829"/>
                    <a:pt x="845203" y="114875"/>
                    <a:pt x="854139" y="105650"/>
                  </a:cubicBezTo>
                  <a:cubicBezTo>
                    <a:pt x="863076" y="96426"/>
                    <a:pt x="873598" y="89219"/>
                    <a:pt x="885705" y="84030"/>
                  </a:cubicBezTo>
                  <a:cubicBezTo>
                    <a:pt x="897812" y="78841"/>
                    <a:pt x="911505" y="76247"/>
                    <a:pt x="926495" y="76247"/>
                  </a:cubicBezTo>
                  <a:cubicBezTo>
                    <a:pt x="940476" y="76247"/>
                    <a:pt x="953016" y="78409"/>
                    <a:pt x="963970" y="82733"/>
                  </a:cubicBezTo>
                  <a:cubicBezTo>
                    <a:pt x="975068" y="87057"/>
                    <a:pt x="984725" y="92967"/>
                    <a:pt x="993085" y="100606"/>
                  </a:cubicBezTo>
                  <a:cubicBezTo>
                    <a:pt x="1004760" y="111272"/>
                    <a:pt x="1013408" y="124820"/>
                    <a:pt x="1019173" y="141107"/>
                  </a:cubicBezTo>
                  <a:cubicBezTo>
                    <a:pt x="1024939" y="157539"/>
                    <a:pt x="1027533" y="175556"/>
                    <a:pt x="1027389" y="195302"/>
                  </a:cubicBezTo>
                  <a:lnTo>
                    <a:pt x="887290" y="195302"/>
                  </a:lnTo>
                  <a:cubicBezTo>
                    <a:pt x="889308" y="208562"/>
                    <a:pt x="893921" y="218940"/>
                    <a:pt x="900983" y="226579"/>
                  </a:cubicBezTo>
                  <a:cubicBezTo>
                    <a:pt x="908046" y="234218"/>
                    <a:pt x="918135" y="237966"/>
                    <a:pt x="931107" y="237966"/>
                  </a:cubicBezTo>
                  <a:cubicBezTo>
                    <a:pt x="939179" y="237966"/>
                    <a:pt x="945953" y="236236"/>
                    <a:pt x="951286" y="232777"/>
                  </a:cubicBezTo>
                  <a:cubicBezTo>
                    <a:pt x="956619" y="229318"/>
                    <a:pt x="960655" y="224561"/>
                    <a:pt x="963393" y="218508"/>
                  </a:cubicBezTo>
                  <a:lnTo>
                    <a:pt x="1023930" y="218508"/>
                  </a:lnTo>
                  <a:cubicBezTo>
                    <a:pt x="1021912" y="227444"/>
                    <a:pt x="1018020" y="235804"/>
                    <a:pt x="1012543" y="243875"/>
                  </a:cubicBezTo>
                  <a:cubicBezTo>
                    <a:pt x="1006922" y="251803"/>
                    <a:pt x="999859" y="258721"/>
                    <a:pt x="991211" y="264630"/>
                  </a:cubicBezTo>
                  <a:cubicBezTo>
                    <a:pt x="983140" y="270540"/>
                    <a:pt x="974059" y="274864"/>
                    <a:pt x="963970" y="277891"/>
                  </a:cubicBezTo>
                  <a:cubicBezTo>
                    <a:pt x="954024" y="280918"/>
                    <a:pt x="942782" y="282503"/>
                    <a:pt x="930242" y="282503"/>
                  </a:cubicBezTo>
                  <a:moveTo>
                    <a:pt x="964546" y="158404"/>
                  </a:moveTo>
                  <a:cubicBezTo>
                    <a:pt x="963249" y="146729"/>
                    <a:pt x="959357" y="137504"/>
                    <a:pt x="952727" y="130586"/>
                  </a:cubicBezTo>
                  <a:cubicBezTo>
                    <a:pt x="946097" y="123811"/>
                    <a:pt x="937737" y="120352"/>
                    <a:pt x="927648" y="120352"/>
                  </a:cubicBezTo>
                  <a:cubicBezTo>
                    <a:pt x="915685" y="120352"/>
                    <a:pt x="906604" y="123811"/>
                    <a:pt x="900262" y="130586"/>
                  </a:cubicBezTo>
                  <a:cubicBezTo>
                    <a:pt x="893921" y="137504"/>
                    <a:pt x="889741" y="146729"/>
                    <a:pt x="887723" y="158404"/>
                  </a:cubicBezTo>
                  <a:lnTo>
                    <a:pt x="964546" y="158404"/>
                  </a:lnTo>
                  <a:close/>
                  <a:moveTo>
                    <a:pt x="1050162" y="2018"/>
                  </a:moveTo>
                  <a:lnTo>
                    <a:pt x="1112140" y="2018"/>
                  </a:lnTo>
                  <a:lnTo>
                    <a:pt x="1112140" y="105939"/>
                  </a:lnTo>
                  <a:lnTo>
                    <a:pt x="1113293" y="105939"/>
                  </a:lnTo>
                  <a:cubicBezTo>
                    <a:pt x="1120355" y="96570"/>
                    <a:pt x="1128427" y="89219"/>
                    <a:pt x="1137219" y="84030"/>
                  </a:cubicBezTo>
                  <a:cubicBezTo>
                    <a:pt x="1146155" y="78841"/>
                    <a:pt x="1157398" y="76247"/>
                    <a:pt x="1171091" y="76247"/>
                  </a:cubicBezTo>
                  <a:cubicBezTo>
                    <a:pt x="1181757" y="76247"/>
                    <a:pt x="1191269" y="78121"/>
                    <a:pt x="1199629" y="81724"/>
                  </a:cubicBezTo>
                  <a:cubicBezTo>
                    <a:pt x="1207989" y="85327"/>
                    <a:pt x="1215052" y="90516"/>
                    <a:pt x="1220961" y="97002"/>
                  </a:cubicBezTo>
                  <a:cubicBezTo>
                    <a:pt x="1226871" y="103488"/>
                    <a:pt x="1231195" y="111272"/>
                    <a:pt x="1234366" y="120208"/>
                  </a:cubicBezTo>
                  <a:cubicBezTo>
                    <a:pt x="1237392" y="129144"/>
                    <a:pt x="1238978" y="139234"/>
                    <a:pt x="1238978" y="150044"/>
                  </a:cubicBezTo>
                  <a:lnTo>
                    <a:pt x="1238978" y="276738"/>
                  </a:lnTo>
                  <a:lnTo>
                    <a:pt x="1177000" y="276738"/>
                  </a:lnTo>
                  <a:lnTo>
                    <a:pt x="1177000" y="162583"/>
                  </a:lnTo>
                  <a:cubicBezTo>
                    <a:pt x="1177000" y="152206"/>
                    <a:pt x="1174406" y="143846"/>
                    <a:pt x="1169361" y="137504"/>
                  </a:cubicBezTo>
                  <a:cubicBezTo>
                    <a:pt x="1164316" y="131162"/>
                    <a:pt x="1156677" y="127991"/>
                    <a:pt x="1146588" y="127991"/>
                  </a:cubicBezTo>
                  <a:cubicBezTo>
                    <a:pt x="1136498" y="127991"/>
                    <a:pt x="1127850" y="131739"/>
                    <a:pt x="1121653" y="139378"/>
                  </a:cubicBezTo>
                  <a:cubicBezTo>
                    <a:pt x="1115455" y="147017"/>
                    <a:pt x="1112284" y="156962"/>
                    <a:pt x="1112284" y="169069"/>
                  </a:cubicBezTo>
                  <a:lnTo>
                    <a:pt x="1112284" y="276738"/>
                  </a:lnTo>
                  <a:lnTo>
                    <a:pt x="1050306" y="276738"/>
                  </a:lnTo>
                  <a:lnTo>
                    <a:pt x="1050306" y="1874"/>
                  </a:lnTo>
                  <a:close/>
                  <a:moveTo>
                    <a:pt x="1362645" y="282936"/>
                  </a:moveTo>
                  <a:cubicBezTo>
                    <a:pt x="1346935" y="282936"/>
                    <a:pt x="1332665" y="280341"/>
                    <a:pt x="1319837" y="275152"/>
                  </a:cubicBezTo>
                  <a:cubicBezTo>
                    <a:pt x="1307009" y="269963"/>
                    <a:pt x="1296055" y="262757"/>
                    <a:pt x="1286830" y="253388"/>
                  </a:cubicBezTo>
                  <a:cubicBezTo>
                    <a:pt x="1277750" y="244163"/>
                    <a:pt x="1270687" y="233209"/>
                    <a:pt x="1265787" y="220670"/>
                  </a:cubicBezTo>
                  <a:cubicBezTo>
                    <a:pt x="1260886" y="208130"/>
                    <a:pt x="1258292" y="194437"/>
                    <a:pt x="1258292" y="179735"/>
                  </a:cubicBezTo>
                  <a:cubicBezTo>
                    <a:pt x="1258292" y="165034"/>
                    <a:pt x="1260742" y="151341"/>
                    <a:pt x="1265787" y="138801"/>
                  </a:cubicBezTo>
                  <a:cubicBezTo>
                    <a:pt x="1270687" y="126262"/>
                    <a:pt x="1277750" y="115307"/>
                    <a:pt x="1286830" y="106083"/>
                  </a:cubicBezTo>
                  <a:cubicBezTo>
                    <a:pt x="1295911" y="96858"/>
                    <a:pt x="1307009" y="89651"/>
                    <a:pt x="1319837" y="84463"/>
                  </a:cubicBezTo>
                  <a:cubicBezTo>
                    <a:pt x="1332665" y="79274"/>
                    <a:pt x="1346935" y="76679"/>
                    <a:pt x="1362645" y="76679"/>
                  </a:cubicBezTo>
                  <a:cubicBezTo>
                    <a:pt x="1378356" y="76679"/>
                    <a:pt x="1392625" y="79274"/>
                    <a:pt x="1405453" y="84463"/>
                  </a:cubicBezTo>
                  <a:cubicBezTo>
                    <a:pt x="1418281" y="89651"/>
                    <a:pt x="1429235" y="96858"/>
                    <a:pt x="1438171" y="106083"/>
                  </a:cubicBezTo>
                  <a:cubicBezTo>
                    <a:pt x="1447108" y="115307"/>
                    <a:pt x="1454170" y="126262"/>
                    <a:pt x="1459071" y="138801"/>
                  </a:cubicBezTo>
                  <a:cubicBezTo>
                    <a:pt x="1463971" y="151341"/>
                    <a:pt x="1466422" y="165034"/>
                    <a:pt x="1466422" y="179735"/>
                  </a:cubicBezTo>
                  <a:cubicBezTo>
                    <a:pt x="1466422" y="194437"/>
                    <a:pt x="1463971" y="208130"/>
                    <a:pt x="1459071" y="220670"/>
                  </a:cubicBezTo>
                  <a:cubicBezTo>
                    <a:pt x="1454170" y="233209"/>
                    <a:pt x="1447108" y="244163"/>
                    <a:pt x="1438171" y="253388"/>
                  </a:cubicBezTo>
                  <a:cubicBezTo>
                    <a:pt x="1429235" y="262613"/>
                    <a:pt x="1418281" y="269819"/>
                    <a:pt x="1405453" y="275152"/>
                  </a:cubicBezTo>
                  <a:cubicBezTo>
                    <a:pt x="1392625" y="280341"/>
                    <a:pt x="1378356" y="282936"/>
                    <a:pt x="1362645" y="282936"/>
                  </a:cubicBezTo>
                  <a:moveTo>
                    <a:pt x="1362213" y="238830"/>
                  </a:moveTo>
                  <a:cubicBezTo>
                    <a:pt x="1375905" y="238830"/>
                    <a:pt x="1386283" y="233497"/>
                    <a:pt x="1393201" y="222687"/>
                  </a:cubicBezTo>
                  <a:cubicBezTo>
                    <a:pt x="1400264" y="211877"/>
                    <a:pt x="1403723" y="197608"/>
                    <a:pt x="1403723" y="179880"/>
                  </a:cubicBezTo>
                  <a:cubicBezTo>
                    <a:pt x="1403723" y="162151"/>
                    <a:pt x="1400264" y="147738"/>
                    <a:pt x="1393201" y="136928"/>
                  </a:cubicBezTo>
                  <a:cubicBezTo>
                    <a:pt x="1386283" y="125973"/>
                    <a:pt x="1375905" y="120496"/>
                    <a:pt x="1362213" y="120496"/>
                  </a:cubicBezTo>
                  <a:cubicBezTo>
                    <a:pt x="1348520" y="120496"/>
                    <a:pt x="1338286" y="125973"/>
                    <a:pt x="1331368" y="136928"/>
                  </a:cubicBezTo>
                  <a:cubicBezTo>
                    <a:pt x="1324594" y="147882"/>
                    <a:pt x="1321134" y="162151"/>
                    <a:pt x="1321134" y="179880"/>
                  </a:cubicBezTo>
                  <a:cubicBezTo>
                    <a:pt x="1321134" y="197608"/>
                    <a:pt x="1324594" y="211877"/>
                    <a:pt x="1331368" y="222687"/>
                  </a:cubicBezTo>
                  <a:cubicBezTo>
                    <a:pt x="1338286" y="233497"/>
                    <a:pt x="1348520" y="238830"/>
                    <a:pt x="1362213" y="238830"/>
                  </a:cubicBezTo>
                  <a:moveTo>
                    <a:pt x="1554488" y="282647"/>
                  </a:moveTo>
                  <a:cubicBezTo>
                    <a:pt x="1531859" y="282647"/>
                    <a:pt x="1514851" y="276017"/>
                    <a:pt x="1503320" y="262613"/>
                  </a:cubicBezTo>
                  <a:cubicBezTo>
                    <a:pt x="1491789" y="249352"/>
                    <a:pt x="1486024" y="231768"/>
                    <a:pt x="1486024" y="209859"/>
                  </a:cubicBezTo>
                  <a:lnTo>
                    <a:pt x="1486024" y="82012"/>
                  </a:lnTo>
                  <a:lnTo>
                    <a:pt x="1547713" y="82012"/>
                  </a:lnTo>
                  <a:lnTo>
                    <a:pt x="1547713" y="197032"/>
                  </a:lnTo>
                  <a:cubicBezTo>
                    <a:pt x="1547713" y="207697"/>
                    <a:pt x="1550164" y="215913"/>
                    <a:pt x="1554920" y="221534"/>
                  </a:cubicBezTo>
                  <a:cubicBezTo>
                    <a:pt x="1559677" y="227300"/>
                    <a:pt x="1567172" y="230038"/>
                    <a:pt x="1576973" y="230038"/>
                  </a:cubicBezTo>
                  <a:cubicBezTo>
                    <a:pt x="1587639" y="230038"/>
                    <a:pt x="1595998" y="226435"/>
                    <a:pt x="1602052" y="219228"/>
                  </a:cubicBezTo>
                  <a:cubicBezTo>
                    <a:pt x="1608106" y="212021"/>
                    <a:pt x="1611132" y="202509"/>
                    <a:pt x="1611132" y="190834"/>
                  </a:cubicBezTo>
                  <a:lnTo>
                    <a:pt x="1611132" y="82012"/>
                  </a:lnTo>
                  <a:lnTo>
                    <a:pt x="1673110" y="82012"/>
                  </a:lnTo>
                  <a:lnTo>
                    <a:pt x="1673110" y="276882"/>
                  </a:lnTo>
                  <a:lnTo>
                    <a:pt x="1613727" y="276882"/>
                  </a:lnTo>
                  <a:lnTo>
                    <a:pt x="1613727" y="252956"/>
                  </a:lnTo>
                  <a:lnTo>
                    <a:pt x="1612574" y="252956"/>
                  </a:lnTo>
                  <a:cubicBezTo>
                    <a:pt x="1605511" y="262613"/>
                    <a:pt x="1597440" y="269963"/>
                    <a:pt x="1588359" y="275008"/>
                  </a:cubicBezTo>
                  <a:cubicBezTo>
                    <a:pt x="1579423" y="280053"/>
                    <a:pt x="1568036" y="282647"/>
                    <a:pt x="1554344" y="282647"/>
                  </a:cubicBezTo>
                  <a:moveTo>
                    <a:pt x="1789571" y="283080"/>
                  </a:moveTo>
                  <a:cubicBezTo>
                    <a:pt x="1760888" y="283080"/>
                    <a:pt x="1738259" y="276882"/>
                    <a:pt x="1721395" y="264630"/>
                  </a:cubicBezTo>
                  <a:cubicBezTo>
                    <a:pt x="1704676" y="252379"/>
                    <a:pt x="1695739" y="235371"/>
                    <a:pt x="1694730" y="213751"/>
                  </a:cubicBezTo>
                  <a:lnTo>
                    <a:pt x="1753393" y="213751"/>
                  </a:lnTo>
                  <a:cubicBezTo>
                    <a:pt x="1754690" y="223408"/>
                    <a:pt x="1758294" y="230615"/>
                    <a:pt x="1764491" y="235515"/>
                  </a:cubicBezTo>
                  <a:cubicBezTo>
                    <a:pt x="1770545" y="240272"/>
                    <a:pt x="1778761" y="242722"/>
                    <a:pt x="1789282" y="242722"/>
                  </a:cubicBezTo>
                  <a:cubicBezTo>
                    <a:pt x="1798651" y="242722"/>
                    <a:pt x="1806146" y="241137"/>
                    <a:pt x="1811479" y="237821"/>
                  </a:cubicBezTo>
                  <a:cubicBezTo>
                    <a:pt x="1816956" y="234506"/>
                    <a:pt x="1819695" y="229750"/>
                    <a:pt x="1819695" y="223408"/>
                  </a:cubicBezTo>
                  <a:cubicBezTo>
                    <a:pt x="1819695" y="219084"/>
                    <a:pt x="1818253" y="215625"/>
                    <a:pt x="1815515" y="212886"/>
                  </a:cubicBezTo>
                  <a:cubicBezTo>
                    <a:pt x="1812776" y="210292"/>
                    <a:pt x="1809029" y="208130"/>
                    <a:pt x="1804416" y="206400"/>
                  </a:cubicBezTo>
                  <a:cubicBezTo>
                    <a:pt x="1799804" y="204815"/>
                    <a:pt x="1794615" y="203518"/>
                    <a:pt x="1788562" y="202653"/>
                  </a:cubicBezTo>
                  <a:cubicBezTo>
                    <a:pt x="1782652" y="201788"/>
                    <a:pt x="1776454" y="200635"/>
                    <a:pt x="1770112" y="199482"/>
                  </a:cubicBezTo>
                  <a:cubicBezTo>
                    <a:pt x="1761753" y="197896"/>
                    <a:pt x="1753393" y="196167"/>
                    <a:pt x="1745033" y="194005"/>
                  </a:cubicBezTo>
                  <a:cubicBezTo>
                    <a:pt x="1736673" y="191843"/>
                    <a:pt x="1729178" y="188672"/>
                    <a:pt x="1722404" y="184348"/>
                  </a:cubicBezTo>
                  <a:cubicBezTo>
                    <a:pt x="1715630" y="180024"/>
                    <a:pt x="1710297" y="174258"/>
                    <a:pt x="1706261" y="167052"/>
                  </a:cubicBezTo>
                  <a:cubicBezTo>
                    <a:pt x="1702225" y="159845"/>
                    <a:pt x="1700207" y="150476"/>
                    <a:pt x="1700207" y="139090"/>
                  </a:cubicBezTo>
                  <a:cubicBezTo>
                    <a:pt x="1700207" y="129000"/>
                    <a:pt x="1702369" y="119920"/>
                    <a:pt x="1706837" y="111992"/>
                  </a:cubicBezTo>
                  <a:cubicBezTo>
                    <a:pt x="1711306" y="104209"/>
                    <a:pt x="1717359" y="97579"/>
                    <a:pt x="1724999" y="92390"/>
                  </a:cubicBezTo>
                  <a:cubicBezTo>
                    <a:pt x="1732638" y="87201"/>
                    <a:pt x="1741574" y="83310"/>
                    <a:pt x="1751808" y="80571"/>
                  </a:cubicBezTo>
                  <a:cubicBezTo>
                    <a:pt x="1762041" y="77977"/>
                    <a:pt x="1772995" y="76535"/>
                    <a:pt x="1784382" y="76535"/>
                  </a:cubicBezTo>
                  <a:cubicBezTo>
                    <a:pt x="1812056" y="76535"/>
                    <a:pt x="1833243" y="82157"/>
                    <a:pt x="1847945" y="93255"/>
                  </a:cubicBezTo>
                  <a:cubicBezTo>
                    <a:pt x="1862647" y="104353"/>
                    <a:pt x="1870718" y="119631"/>
                    <a:pt x="1872304" y="138945"/>
                  </a:cubicBezTo>
                  <a:lnTo>
                    <a:pt x="1815226" y="138945"/>
                  </a:lnTo>
                  <a:cubicBezTo>
                    <a:pt x="1813929" y="130009"/>
                    <a:pt x="1810614" y="124100"/>
                    <a:pt x="1805137" y="120929"/>
                  </a:cubicBezTo>
                  <a:cubicBezTo>
                    <a:pt x="1799660" y="117758"/>
                    <a:pt x="1792598" y="116172"/>
                    <a:pt x="1783949" y="116172"/>
                  </a:cubicBezTo>
                  <a:cubicBezTo>
                    <a:pt x="1776310" y="116172"/>
                    <a:pt x="1769968" y="117614"/>
                    <a:pt x="1764780" y="120496"/>
                  </a:cubicBezTo>
                  <a:cubicBezTo>
                    <a:pt x="1759591" y="123379"/>
                    <a:pt x="1756996" y="127847"/>
                    <a:pt x="1756996" y="134045"/>
                  </a:cubicBezTo>
                  <a:cubicBezTo>
                    <a:pt x="1756996" y="137648"/>
                    <a:pt x="1758294" y="140387"/>
                    <a:pt x="1760744" y="142405"/>
                  </a:cubicBezTo>
                  <a:cubicBezTo>
                    <a:pt x="1763338" y="144423"/>
                    <a:pt x="1766653" y="146152"/>
                    <a:pt x="1770977" y="147593"/>
                  </a:cubicBezTo>
                  <a:cubicBezTo>
                    <a:pt x="1775301" y="149035"/>
                    <a:pt x="1780346" y="150188"/>
                    <a:pt x="1785967" y="151197"/>
                  </a:cubicBezTo>
                  <a:cubicBezTo>
                    <a:pt x="1791733" y="152206"/>
                    <a:pt x="1797642" y="153215"/>
                    <a:pt x="1803696" y="154224"/>
                  </a:cubicBezTo>
                  <a:cubicBezTo>
                    <a:pt x="1812344" y="155665"/>
                    <a:pt x="1820992" y="157539"/>
                    <a:pt x="1829784" y="159701"/>
                  </a:cubicBezTo>
                  <a:cubicBezTo>
                    <a:pt x="1838576" y="161863"/>
                    <a:pt x="1846504" y="165178"/>
                    <a:pt x="1853710" y="169790"/>
                  </a:cubicBezTo>
                  <a:cubicBezTo>
                    <a:pt x="1860917" y="174402"/>
                    <a:pt x="1866827" y="180456"/>
                    <a:pt x="1871439" y="188239"/>
                  </a:cubicBezTo>
                  <a:cubicBezTo>
                    <a:pt x="1876051" y="196023"/>
                    <a:pt x="1878357" y="206112"/>
                    <a:pt x="1878357" y="218508"/>
                  </a:cubicBezTo>
                  <a:cubicBezTo>
                    <a:pt x="1878357" y="229173"/>
                    <a:pt x="1876051" y="238542"/>
                    <a:pt x="1871727" y="246614"/>
                  </a:cubicBezTo>
                  <a:cubicBezTo>
                    <a:pt x="1867259" y="254685"/>
                    <a:pt x="1861061" y="261460"/>
                    <a:pt x="1853278" y="266792"/>
                  </a:cubicBezTo>
                  <a:cubicBezTo>
                    <a:pt x="1845350" y="272125"/>
                    <a:pt x="1835982" y="276161"/>
                    <a:pt x="1825172" y="279044"/>
                  </a:cubicBezTo>
                  <a:cubicBezTo>
                    <a:pt x="1814218" y="281782"/>
                    <a:pt x="1802399" y="283224"/>
                    <a:pt x="1789715" y="283224"/>
                  </a:cubicBezTo>
                  <a:moveTo>
                    <a:pt x="1999430" y="282791"/>
                  </a:moveTo>
                  <a:cubicBezTo>
                    <a:pt x="1983431" y="282791"/>
                    <a:pt x="1969018" y="280197"/>
                    <a:pt x="1956046" y="275008"/>
                  </a:cubicBezTo>
                  <a:cubicBezTo>
                    <a:pt x="1943073" y="269819"/>
                    <a:pt x="1932263" y="262613"/>
                    <a:pt x="1923327" y="253244"/>
                  </a:cubicBezTo>
                  <a:cubicBezTo>
                    <a:pt x="1914391" y="244019"/>
                    <a:pt x="1907617" y="233065"/>
                    <a:pt x="1902716" y="220381"/>
                  </a:cubicBezTo>
                  <a:cubicBezTo>
                    <a:pt x="1897960" y="207697"/>
                    <a:pt x="1895509" y="194005"/>
                    <a:pt x="1895509" y="179303"/>
                  </a:cubicBezTo>
                  <a:cubicBezTo>
                    <a:pt x="1895509" y="164601"/>
                    <a:pt x="1897960" y="151341"/>
                    <a:pt x="1902716" y="138801"/>
                  </a:cubicBezTo>
                  <a:cubicBezTo>
                    <a:pt x="1907473" y="126262"/>
                    <a:pt x="1914391" y="115307"/>
                    <a:pt x="1923327" y="106083"/>
                  </a:cubicBezTo>
                  <a:cubicBezTo>
                    <a:pt x="1932263" y="96858"/>
                    <a:pt x="1942785" y="89651"/>
                    <a:pt x="1954893" y="84463"/>
                  </a:cubicBezTo>
                  <a:cubicBezTo>
                    <a:pt x="1967144" y="79274"/>
                    <a:pt x="1980693" y="76679"/>
                    <a:pt x="1995683" y="76679"/>
                  </a:cubicBezTo>
                  <a:cubicBezTo>
                    <a:pt x="2009664" y="76679"/>
                    <a:pt x="2022059" y="78841"/>
                    <a:pt x="2033157" y="83165"/>
                  </a:cubicBezTo>
                  <a:cubicBezTo>
                    <a:pt x="2044256" y="87489"/>
                    <a:pt x="2053913" y="93399"/>
                    <a:pt x="2062273" y="101038"/>
                  </a:cubicBezTo>
                  <a:cubicBezTo>
                    <a:pt x="2073947" y="111704"/>
                    <a:pt x="2082596" y="125253"/>
                    <a:pt x="2088361" y="141540"/>
                  </a:cubicBezTo>
                  <a:cubicBezTo>
                    <a:pt x="2094126" y="157971"/>
                    <a:pt x="2096865" y="175988"/>
                    <a:pt x="2096577" y="195734"/>
                  </a:cubicBezTo>
                  <a:lnTo>
                    <a:pt x="1956478" y="195734"/>
                  </a:lnTo>
                  <a:cubicBezTo>
                    <a:pt x="1958496" y="208995"/>
                    <a:pt x="1963108" y="219372"/>
                    <a:pt x="1970171" y="227011"/>
                  </a:cubicBezTo>
                  <a:cubicBezTo>
                    <a:pt x="1977233" y="234651"/>
                    <a:pt x="1987323" y="238398"/>
                    <a:pt x="2000295" y="238398"/>
                  </a:cubicBezTo>
                  <a:cubicBezTo>
                    <a:pt x="2008366" y="238398"/>
                    <a:pt x="2015141" y="236668"/>
                    <a:pt x="2020474" y="233209"/>
                  </a:cubicBezTo>
                  <a:cubicBezTo>
                    <a:pt x="2025807" y="229750"/>
                    <a:pt x="2029842" y="224994"/>
                    <a:pt x="2032725" y="218940"/>
                  </a:cubicBezTo>
                  <a:lnTo>
                    <a:pt x="2093262" y="218940"/>
                  </a:lnTo>
                  <a:cubicBezTo>
                    <a:pt x="2091244" y="227876"/>
                    <a:pt x="2087496" y="236236"/>
                    <a:pt x="2081875" y="244308"/>
                  </a:cubicBezTo>
                  <a:cubicBezTo>
                    <a:pt x="2076254" y="252379"/>
                    <a:pt x="2069191" y="259153"/>
                    <a:pt x="2060543" y="265063"/>
                  </a:cubicBezTo>
                  <a:cubicBezTo>
                    <a:pt x="2052472" y="270972"/>
                    <a:pt x="2043391" y="275296"/>
                    <a:pt x="2033302" y="278323"/>
                  </a:cubicBezTo>
                  <a:cubicBezTo>
                    <a:pt x="2023212" y="281350"/>
                    <a:pt x="2011970" y="282936"/>
                    <a:pt x="1999574" y="282936"/>
                  </a:cubicBezTo>
                  <a:moveTo>
                    <a:pt x="2033878" y="158836"/>
                  </a:moveTo>
                  <a:cubicBezTo>
                    <a:pt x="2032581" y="147161"/>
                    <a:pt x="2028689" y="137936"/>
                    <a:pt x="2022059" y="131018"/>
                  </a:cubicBezTo>
                  <a:cubicBezTo>
                    <a:pt x="2015429" y="124244"/>
                    <a:pt x="2007069" y="120784"/>
                    <a:pt x="1996980" y="120784"/>
                  </a:cubicBezTo>
                  <a:cubicBezTo>
                    <a:pt x="1985017" y="120784"/>
                    <a:pt x="1975936" y="124244"/>
                    <a:pt x="1969594" y="131018"/>
                  </a:cubicBezTo>
                  <a:cubicBezTo>
                    <a:pt x="1963252" y="137936"/>
                    <a:pt x="1959072" y="147161"/>
                    <a:pt x="1957055" y="158836"/>
                  </a:cubicBezTo>
                  <a:lnTo>
                    <a:pt x="2033878" y="158836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15457261-1C34-087B-4575-1B5E779EBBAB}"/>
                </a:ext>
              </a:extLst>
            </p:cNvPr>
            <p:cNvSpPr/>
            <p:nvPr/>
          </p:nvSpPr>
          <p:spPr>
            <a:xfrm>
              <a:off x="882878" y="557212"/>
              <a:ext cx="273278" cy="674980"/>
            </a:xfrm>
            <a:custGeom>
              <a:avLst/>
              <a:gdLst>
                <a:gd name="connsiteX0" fmla="*/ 0 w 273278"/>
                <a:gd name="connsiteY0" fmla="*/ 0 h 674980"/>
                <a:gd name="connsiteX1" fmla="*/ 0 w 273278"/>
                <a:gd name="connsiteY1" fmla="*/ 476508 h 674980"/>
                <a:gd name="connsiteX2" fmla="*/ 272558 w 273278"/>
                <a:gd name="connsiteY2" fmla="*/ 674981 h 674980"/>
                <a:gd name="connsiteX3" fmla="*/ 273278 w 273278"/>
                <a:gd name="connsiteY3" fmla="*/ 674260 h 674980"/>
                <a:gd name="connsiteX4" fmla="*/ 0 w 273278"/>
                <a:gd name="connsiteY4" fmla="*/ 0 h 674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278" h="674980">
                  <a:moveTo>
                    <a:pt x="0" y="0"/>
                  </a:moveTo>
                  <a:lnTo>
                    <a:pt x="0" y="476508"/>
                  </a:lnTo>
                  <a:lnTo>
                    <a:pt x="272558" y="674981"/>
                  </a:lnTo>
                  <a:cubicBezTo>
                    <a:pt x="272558" y="674981"/>
                    <a:pt x="273134" y="674404"/>
                    <a:pt x="273278" y="67426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3D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0CDB77CD-C5E1-9227-DF1A-82C8E96E04A3}"/>
                </a:ext>
              </a:extLst>
            </p:cNvPr>
            <p:cNvSpPr/>
            <p:nvPr/>
          </p:nvSpPr>
          <p:spPr>
            <a:xfrm>
              <a:off x="609600" y="557212"/>
              <a:ext cx="273278" cy="674836"/>
            </a:xfrm>
            <a:custGeom>
              <a:avLst/>
              <a:gdLst>
                <a:gd name="connsiteX0" fmla="*/ 0 w 273278"/>
                <a:gd name="connsiteY0" fmla="*/ 674116 h 674836"/>
                <a:gd name="connsiteX1" fmla="*/ 721 w 273278"/>
                <a:gd name="connsiteY1" fmla="*/ 674837 h 674836"/>
                <a:gd name="connsiteX2" fmla="*/ 273278 w 273278"/>
                <a:gd name="connsiteY2" fmla="*/ 476364 h 674836"/>
                <a:gd name="connsiteX3" fmla="*/ 273278 w 273278"/>
                <a:gd name="connsiteY3" fmla="*/ 0 h 674836"/>
                <a:gd name="connsiteX4" fmla="*/ 0 w 273278"/>
                <a:gd name="connsiteY4" fmla="*/ 674116 h 674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278" h="674836">
                  <a:moveTo>
                    <a:pt x="0" y="674116"/>
                  </a:moveTo>
                  <a:cubicBezTo>
                    <a:pt x="0" y="674116"/>
                    <a:pt x="577" y="674692"/>
                    <a:pt x="721" y="674837"/>
                  </a:cubicBezTo>
                  <a:lnTo>
                    <a:pt x="273278" y="476364"/>
                  </a:lnTo>
                  <a:lnTo>
                    <a:pt x="273278" y="0"/>
                  </a:lnTo>
                  <a:lnTo>
                    <a:pt x="0" y="674116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6" name="Graphic 5">
            <a:extLst>
              <a:ext uri="{FF2B5EF4-FFF2-40B4-BE49-F238E27FC236}">
                <a16:creationId xmlns:a16="http://schemas.microsoft.com/office/drawing/2014/main" id="{0DBEBFD3-3735-BFC8-D7E6-A618637D48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6090476"/>
            <a:ext cx="1834388" cy="210312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6D9E022-BE89-FB15-252F-12F87B4655DB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8802624" y="3730948"/>
            <a:ext cx="2688336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A green and black triangle&#10;&#10;Description automatically generated">
            <a:extLst>
              <a:ext uri="{FF2B5EF4-FFF2-40B4-BE49-F238E27FC236}">
                <a16:creationId xmlns:a16="http://schemas.microsoft.com/office/drawing/2014/main" id="{A86F892C-2F81-39A8-7421-B03C5A21711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0432" y="0"/>
            <a:ext cx="5577121" cy="68580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DC0E9AD-7754-6000-D95A-ABDACDA8FEC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8710864" y="3962402"/>
            <a:ext cx="309211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800"/>
              <a:t>To earn a seat at the table for our clients’ most complex issues, creating meaningful opportunities and impact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CFBA21A-B743-3338-65FE-BEC48305E79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517358" y="3962402"/>
            <a:ext cx="30921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indent="0"/>
            <a:r>
              <a:rPr lang="en-US" sz="1800"/>
              <a:t>To solve big problems, build trust in society, and empower clients to shape the future.</a:t>
            </a:r>
          </a:p>
        </p:txBody>
      </p:sp>
    </p:spTree>
    <p:extLst>
      <p:ext uri="{BB962C8B-B14F-4D97-AF65-F5344CB8AC3E}">
        <p14:creationId xmlns:p14="http://schemas.microsoft.com/office/powerpoint/2010/main" val="28819414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 with image - Dark ">
    <p:bg>
      <p:bgPr>
        <a:solidFill>
          <a:schemeClr val="tx2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C1A42ED-98C2-0925-4548-9A57C0E8C3BF}"/>
              </a:ext>
            </a:extLst>
          </p:cNvPr>
          <p:cNvSpPr/>
          <p:nvPr/>
        </p:nvSpPr>
        <p:spPr>
          <a:xfrm>
            <a:off x="0" y="0"/>
            <a:ext cx="66294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aphic 7">
            <a:extLst>
              <a:ext uri="{FF2B5EF4-FFF2-40B4-BE49-F238E27FC236}">
                <a16:creationId xmlns:a16="http://schemas.microsoft.com/office/drawing/2014/main" id="{C5A0A539-4BAC-8953-4BBA-6D59087AD769}"/>
              </a:ext>
            </a:extLst>
          </p:cNvPr>
          <p:cNvGrpSpPr/>
          <p:nvPr userDrawn="1"/>
        </p:nvGrpSpPr>
        <p:grpSpPr>
          <a:xfrm>
            <a:off x="609600" y="557212"/>
            <a:ext cx="1729317" cy="437558"/>
            <a:chOff x="609600" y="557212"/>
            <a:chExt cx="2670098" cy="675598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CABD304E-130C-E81B-7AD9-4DF1D35529F5}"/>
                </a:ext>
              </a:extLst>
            </p:cNvPr>
            <p:cNvSpPr/>
            <p:nvPr/>
          </p:nvSpPr>
          <p:spPr>
            <a:xfrm>
              <a:off x="1181182" y="790634"/>
              <a:ext cx="2098515" cy="283771"/>
            </a:xfrm>
            <a:custGeom>
              <a:avLst/>
              <a:gdLst>
                <a:gd name="connsiteX0" fmla="*/ 129551 w 2098515"/>
                <a:gd name="connsiteY0" fmla="*/ 283771 h 283771"/>
                <a:gd name="connsiteX1" fmla="*/ 77038 w 2098515"/>
                <a:gd name="connsiteY1" fmla="*/ 273817 h 283771"/>
                <a:gd name="connsiteX2" fmla="*/ 36644 w 2098515"/>
                <a:gd name="connsiteY2" fmla="*/ 245685 h 283771"/>
                <a:gd name="connsiteX3" fmla="*/ 9377 w 2098515"/>
                <a:gd name="connsiteY3" fmla="*/ 199953 h 283771"/>
                <a:gd name="connsiteX4" fmla="*/ 0 w 2098515"/>
                <a:gd name="connsiteY4" fmla="*/ 142391 h 283771"/>
                <a:gd name="connsiteX5" fmla="*/ 10531 w 2098515"/>
                <a:gd name="connsiteY5" fmla="*/ 82809 h 283771"/>
                <a:gd name="connsiteX6" fmla="*/ 40395 w 2098515"/>
                <a:gd name="connsiteY6" fmla="*/ 36211 h 283771"/>
                <a:gd name="connsiteX7" fmla="*/ 80789 w 2098515"/>
                <a:gd name="connsiteY7" fmla="*/ 9522 h 283771"/>
                <a:gd name="connsiteX8" fmla="*/ 133735 w 2098515"/>
                <a:gd name="connsiteY8" fmla="*/ 0 h 283771"/>
                <a:gd name="connsiteX9" fmla="*/ 180910 w 2098515"/>
                <a:gd name="connsiteY9" fmla="*/ 6636 h 283771"/>
                <a:gd name="connsiteX10" fmla="*/ 217121 w 2098515"/>
                <a:gd name="connsiteY10" fmla="*/ 25679 h 283771"/>
                <a:gd name="connsiteX11" fmla="*/ 241646 w 2098515"/>
                <a:gd name="connsiteY11" fmla="*/ 55542 h 283771"/>
                <a:gd name="connsiteX12" fmla="*/ 254341 w 2098515"/>
                <a:gd name="connsiteY12" fmla="*/ 94350 h 283771"/>
                <a:gd name="connsiteX13" fmla="*/ 188844 w 2098515"/>
                <a:gd name="connsiteY13" fmla="*/ 94350 h 283771"/>
                <a:gd name="connsiteX14" fmla="*/ 171677 w 2098515"/>
                <a:gd name="connsiteY14" fmla="*/ 66507 h 283771"/>
                <a:gd name="connsiteX15" fmla="*/ 135899 w 2098515"/>
                <a:gd name="connsiteY15" fmla="*/ 55398 h 283771"/>
                <a:gd name="connsiteX16" fmla="*/ 106324 w 2098515"/>
                <a:gd name="connsiteY16" fmla="*/ 62034 h 283771"/>
                <a:gd name="connsiteX17" fmla="*/ 85117 w 2098515"/>
                <a:gd name="connsiteY17" fmla="*/ 80356 h 283771"/>
                <a:gd name="connsiteX18" fmla="*/ 72566 w 2098515"/>
                <a:gd name="connsiteY18" fmla="*/ 107767 h 283771"/>
                <a:gd name="connsiteX19" fmla="*/ 68382 w 2098515"/>
                <a:gd name="connsiteY19" fmla="*/ 142246 h 283771"/>
                <a:gd name="connsiteX20" fmla="*/ 73143 w 2098515"/>
                <a:gd name="connsiteY20" fmla="*/ 176870 h 283771"/>
                <a:gd name="connsiteX21" fmla="*/ 86704 w 2098515"/>
                <a:gd name="connsiteY21" fmla="*/ 204425 h 283771"/>
                <a:gd name="connsiteX22" fmla="*/ 108200 w 2098515"/>
                <a:gd name="connsiteY22" fmla="*/ 222458 h 283771"/>
                <a:gd name="connsiteX23" fmla="*/ 136909 w 2098515"/>
                <a:gd name="connsiteY23" fmla="*/ 228950 h 283771"/>
                <a:gd name="connsiteX24" fmla="*/ 160712 w 2098515"/>
                <a:gd name="connsiteY24" fmla="*/ 224911 h 283771"/>
                <a:gd name="connsiteX25" fmla="*/ 178601 w 2098515"/>
                <a:gd name="connsiteY25" fmla="*/ 214235 h 283771"/>
                <a:gd name="connsiteX26" fmla="*/ 190431 w 2098515"/>
                <a:gd name="connsiteY26" fmla="*/ 198943 h 283771"/>
                <a:gd name="connsiteX27" fmla="*/ 195913 w 2098515"/>
                <a:gd name="connsiteY27" fmla="*/ 181198 h 283771"/>
                <a:gd name="connsiteX28" fmla="*/ 195913 w 2098515"/>
                <a:gd name="connsiteY28" fmla="*/ 180477 h 283771"/>
                <a:gd name="connsiteX29" fmla="*/ 144843 w 2098515"/>
                <a:gd name="connsiteY29" fmla="*/ 180477 h 283771"/>
                <a:gd name="connsiteX30" fmla="*/ 144843 w 2098515"/>
                <a:gd name="connsiteY30" fmla="*/ 130994 h 283771"/>
                <a:gd name="connsiteX31" fmla="*/ 258381 w 2098515"/>
                <a:gd name="connsiteY31" fmla="*/ 130994 h 283771"/>
                <a:gd name="connsiteX32" fmla="*/ 258381 w 2098515"/>
                <a:gd name="connsiteY32" fmla="*/ 277279 h 283771"/>
                <a:gd name="connsiteX33" fmla="*/ 211206 w 2098515"/>
                <a:gd name="connsiteY33" fmla="*/ 277279 h 283771"/>
                <a:gd name="connsiteX34" fmla="*/ 207455 w 2098515"/>
                <a:gd name="connsiteY34" fmla="*/ 244531 h 283771"/>
                <a:gd name="connsiteX35" fmla="*/ 206733 w 2098515"/>
                <a:gd name="connsiteY35" fmla="*/ 244531 h 283771"/>
                <a:gd name="connsiteX36" fmla="*/ 173841 w 2098515"/>
                <a:gd name="connsiteY36" fmla="*/ 274394 h 283771"/>
                <a:gd name="connsiteX37" fmla="*/ 129407 w 2098515"/>
                <a:gd name="connsiteY37" fmla="*/ 283339 h 283771"/>
                <a:gd name="connsiteX38" fmla="*/ 358357 w 2098515"/>
                <a:gd name="connsiteY38" fmla="*/ 282906 h 283771"/>
                <a:gd name="connsiteX39" fmla="*/ 307143 w 2098515"/>
                <a:gd name="connsiteY39" fmla="*/ 262853 h 283771"/>
                <a:gd name="connsiteX40" fmla="*/ 289831 w 2098515"/>
                <a:gd name="connsiteY40" fmla="*/ 210051 h 283771"/>
                <a:gd name="connsiteX41" fmla="*/ 289831 w 2098515"/>
                <a:gd name="connsiteY41" fmla="*/ 82087 h 283771"/>
                <a:gd name="connsiteX42" fmla="*/ 351577 w 2098515"/>
                <a:gd name="connsiteY42" fmla="*/ 82087 h 283771"/>
                <a:gd name="connsiteX43" fmla="*/ 351577 w 2098515"/>
                <a:gd name="connsiteY43" fmla="*/ 197212 h 283771"/>
                <a:gd name="connsiteX44" fmla="*/ 358790 w 2098515"/>
                <a:gd name="connsiteY44" fmla="*/ 221737 h 283771"/>
                <a:gd name="connsiteX45" fmla="*/ 380863 w 2098515"/>
                <a:gd name="connsiteY45" fmla="*/ 230249 h 283771"/>
                <a:gd name="connsiteX46" fmla="*/ 405965 w 2098515"/>
                <a:gd name="connsiteY46" fmla="*/ 219429 h 283771"/>
                <a:gd name="connsiteX47" fmla="*/ 415054 w 2098515"/>
                <a:gd name="connsiteY47" fmla="*/ 191008 h 283771"/>
                <a:gd name="connsiteX48" fmla="*/ 415054 w 2098515"/>
                <a:gd name="connsiteY48" fmla="*/ 82087 h 283771"/>
                <a:gd name="connsiteX49" fmla="*/ 477088 w 2098515"/>
                <a:gd name="connsiteY49" fmla="*/ 82087 h 283771"/>
                <a:gd name="connsiteX50" fmla="*/ 477088 w 2098515"/>
                <a:gd name="connsiteY50" fmla="*/ 277135 h 283771"/>
                <a:gd name="connsiteX51" fmla="*/ 417650 w 2098515"/>
                <a:gd name="connsiteY51" fmla="*/ 277135 h 283771"/>
                <a:gd name="connsiteX52" fmla="*/ 417650 w 2098515"/>
                <a:gd name="connsiteY52" fmla="*/ 253187 h 283771"/>
                <a:gd name="connsiteX53" fmla="*/ 416496 w 2098515"/>
                <a:gd name="connsiteY53" fmla="*/ 253187 h 283771"/>
                <a:gd name="connsiteX54" fmla="*/ 392260 w 2098515"/>
                <a:gd name="connsiteY54" fmla="*/ 275260 h 283771"/>
                <a:gd name="connsiteX55" fmla="*/ 358213 w 2098515"/>
                <a:gd name="connsiteY55" fmla="*/ 282906 h 283771"/>
                <a:gd name="connsiteX56" fmla="*/ 512433 w 2098515"/>
                <a:gd name="connsiteY56" fmla="*/ 2164 h 283771"/>
                <a:gd name="connsiteX57" fmla="*/ 574468 w 2098515"/>
                <a:gd name="connsiteY57" fmla="*/ 2164 h 283771"/>
                <a:gd name="connsiteX58" fmla="*/ 574468 w 2098515"/>
                <a:gd name="connsiteY58" fmla="*/ 55110 h 283771"/>
                <a:gd name="connsiteX59" fmla="*/ 512433 w 2098515"/>
                <a:gd name="connsiteY59" fmla="*/ 55110 h 283771"/>
                <a:gd name="connsiteX60" fmla="*/ 512433 w 2098515"/>
                <a:gd name="connsiteY60" fmla="*/ 2164 h 283771"/>
                <a:gd name="connsiteX61" fmla="*/ 512433 w 2098515"/>
                <a:gd name="connsiteY61" fmla="*/ 82087 h 283771"/>
                <a:gd name="connsiteX62" fmla="*/ 574468 w 2098515"/>
                <a:gd name="connsiteY62" fmla="*/ 82087 h 283771"/>
                <a:gd name="connsiteX63" fmla="*/ 574468 w 2098515"/>
                <a:gd name="connsiteY63" fmla="*/ 277135 h 283771"/>
                <a:gd name="connsiteX64" fmla="*/ 512433 w 2098515"/>
                <a:gd name="connsiteY64" fmla="*/ 277135 h 283771"/>
                <a:gd name="connsiteX65" fmla="*/ 512433 w 2098515"/>
                <a:gd name="connsiteY65" fmla="*/ 82087 h 283771"/>
                <a:gd name="connsiteX66" fmla="*/ 686563 w 2098515"/>
                <a:gd name="connsiteY66" fmla="*/ 283194 h 283771"/>
                <a:gd name="connsiteX67" fmla="*/ 652227 w 2098515"/>
                <a:gd name="connsiteY67" fmla="*/ 276125 h 283771"/>
                <a:gd name="connsiteX68" fmla="*/ 625249 w 2098515"/>
                <a:gd name="connsiteY68" fmla="*/ 255784 h 283771"/>
                <a:gd name="connsiteX69" fmla="*/ 607505 w 2098515"/>
                <a:gd name="connsiteY69" fmla="*/ 223180 h 283771"/>
                <a:gd name="connsiteX70" fmla="*/ 601157 w 2098515"/>
                <a:gd name="connsiteY70" fmla="*/ 179611 h 283771"/>
                <a:gd name="connsiteX71" fmla="*/ 607505 w 2098515"/>
                <a:gd name="connsiteY71" fmla="*/ 137630 h 283771"/>
                <a:gd name="connsiteX72" fmla="*/ 624961 w 2098515"/>
                <a:gd name="connsiteY72" fmla="*/ 105026 h 283771"/>
                <a:gd name="connsiteX73" fmla="*/ 651794 w 2098515"/>
                <a:gd name="connsiteY73" fmla="*/ 83819 h 283771"/>
                <a:gd name="connsiteX74" fmla="*/ 686418 w 2098515"/>
                <a:gd name="connsiteY74" fmla="*/ 76172 h 283771"/>
                <a:gd name="connsiteX75" fmla="*/ 719600 w 2098515"/>
                <a:gd name="connsiteY75" fmla="*/ 83963 h 283771"/>
                <a:gd name="connsiteX76" fmla="*/ 740951 w 2098515"/>
                <a:gd name="connsiteY76" fmla="*/ 104016 h 283771"/>
                <a:gd name="connsiteX77" fmla="*/ 742105 w 2098515"/>
                <a:gd name="connsiteY77" fmla="*/ 104016 h 283771"/>
                <a:gd name="connsiteX78" fmla="*/ 742105 w 2098515"/>
                <a:gd name="connsiteY78" fmla="*/ 1875 h 283771"/>
                <a:gd name="connsiteX79" fmla="*/ 804139 w 2098515"/>
                <a:gd name="connsiteY79" fmla="*/ 1875 h 283771"/>
                <a:gd name="connsiteX80" fmla="*/ 804139 w 2098515"/>
                <a:gd name="connsiteY80" fmla="*/ 276991 h 283771"/>
                <a:gd name="connsiteX81" fmla="*/ 744702 w 2098515"/>
                <a:gd name="connsiteY81" fmla="*/ 276991 h 283771"/>
                <a:gd name="connsiteX82" fmla="*/ 744702 w 2098515"/>
                <a:gd name="connsiteY82" fmla="*/ 250735 h 283771"/>
                <a:gd name="connsiteX83" fmla="*/ 743981 w 2098515"/>
                <a:gd name="connsiteY83" fmla="*/ 250735 h 283771"/>
                <a:gd name="connsiteX84" fmla="*/ 720609 w 2098515"/>
                <a:gd name="connsiteY84" fmla="*/ 274538 h 283771"/>
                <a:gd name="connsiteX85" fmla="*/ 686563 w 2098515"/>
                <a:gd name="connsiteY85" fmla="*/ 283050 h 283771"/>
                <a:gd name="connsiteX86" fmla="*/ 702576 w 2098515"/>
                <a:gd name="connsiteY86" fmla="*/ 233855 h 283771"/>
                <a:gd name="connsiteX87" fmla="*/ 732872 w 2098515"/>
                <a:gd name="connsiteY87" fmla="*/ 218563 h 283771"/>
                <a:gd name="connsiteX88" fmla="*/ 743692 w 2098515"/>
                <a:gd name="connsiteY88" fmla="*/ 179323 h 283771"/>
                <a:gd name="connsiteX89" fmla="*/ 741239 w 2098515"/>
                <a:gd name="connsiteY89" fmla="*/ 156673 h 283771"/>
                <a:gd name="connsiteX90" fmla="*/ 733593 w 2098515"/>
                <a:gd name="connsiteY90" fmla="*/ 138784 h 283771"/>
                <a:gd name="connsiteX91" fmla="*/ 721042 w 2098515"/>
                <a:gd name="connsiteY91" fmla="*/ 127098 h 283771"/>
                <a:gd name="connsiteX92" fmla="*/ 703297 w 2098515"/>
                <a:gd name="connsiteY92" fmla="*/ 122915 h 283771"/>
                <a:gd name="connsiteX93" fmla="*/ 674300 w 2098515"/>
                <a:gd name="connsiteY93" fmla="*/ 138351 h 283771"/>
                <a:gd name="connsiteX94" fmla="*/ 664057 w 2098515"/>
                <a:gd name="connsiteY94" fmla="*/ 178601 h 283771"/>
                <a:gd name="connsiteX95" fmla="*/ 674156 w 2098515"/>
                <a:gd name="connsiteY95" fmla="*/ 218996 h 283771"/>
                <a:gd name="connsiteX96" fmla="*/ 702576 w 2098515"/>
                <a:gd name="connsiteY96" fmla="*/ 233855 h 283771"/>
                <a:gd name="connsiteX97" fmla="*/ 931094 w 2098515"/>
                <a:gd name="connsiteY97" fmla="*/ 282617 h 283771"/>
                <a:gd name="connsiteX98" fmla="*/ 887670 w 2098515"/>
                <a:gd name="connsiteY98" fmla="*/ 274827 h 283771"/>
                <a:gd name="connsiteX99" fmla="*/ 854921 w 2098515"/>
                <a:gd name="connsiteY99" fmla="*/ 253043 h 283771"/>
                <a:gd name="connsiteX100" fmla="*/ 834291 w 2098515"/>
                <a:gd name="connsiteY100" fmla="*/ 220150 h 283771"/>
                <a:gd name="connsiteX101" fmla="*/ 827078 w 2098515"/>
                <a:gd name="connsiteY101" fmla="*/ 179034 h 283771"/>
                <a:gd name="connsiteX102" fmla="*/ 834291 w 2098515"/>
                <a:gd name="connsiteY102" fmla="*/ 138495 h 283771"/>
                <a:gd name="connsiteX103" fmla="*/ 854921 w 2098515"/>
                <a:gd name="connsiteY103" fmla="*/ 105747 h 283771"/>
                <a:gd name="connsiteX104" fmla="*/ 886515 w 2098515"/>
                <a:gd name="connsiteY104" fmla="*/ 84107 h 283771"/>
                <a:gd name="connsiteX105" fmla="*/ 927343 w 2098515"/>
                <a:gd name="connsiteY105" fmla="*/ 76317 h 283771"/>
                <a:gd name="connsiteX106" fmla="*/ 964852 w 2098515"/>
                <a:gd name="connsiteY106" fmla="*/ 82809 h 283771"/>
                <a:gd name="connsiteX107" fmla="*/ 993994 w 2098515"/>
                <a:gd name="connsiteY107" fmla="*/ 100698 h 283771"/>
                <a:gd name="connsiteX108" fmla="*/ 1020106 w 2098515"/>
                <a:gd name="connsiteY108" fmla="*/ 141237 h 283771"/>
                <a:gd name="connsiteX109" fmla="*/ 1028329 w 2098515"/>
                <a:gd name="connsiteY109" fmla="*/ 195481 h 283771"/>
                <a:gd name="connsiteX110" fmla="*/ 888102 w 2098515"/>
                <a:gd name="connsiteY110" fmla="*/ 195481 h 283771"/>
                <a:gd name="connsiteX111" fmla="*/ 901808 w 2098515"/>
                <a:gd name="connsiteY111" fmla="*/ 226786 h 283771"/>
                <a:gd name="connsiteX112" fmla="*/ 931959 w 2098515"/>
                <a:gd name="connsiteY112" fmla="*/ 238183 h 283771"/>
                <a:gd name="connsiteX113" fmla="*/ 952157 w 2098515"/>
                <a:gd name="connsiteY113" fmla="*/ 232990 h 283771"/>
                <a:gd name="connsiteX114" fmla="*/ 964275 w 2098515"/>
                <a:gd name="connsiteY114" fmla="*/ 218707 h 283771"/>
                <a:gd name="connsiteX115" fmla="*/ 1024867 w 2098515"/>
                <a:gd name="connsiteY115" fmla="*/ 218707 h 283771"/>
                <a:gd name="connsiteX116" fmla="*/ 1013470 w 2098515"/>
                <a:gd name="connsiteY116" fmla="*/ 244098 h 283771"/>
                <a:gd name="connsiteX117" fmla="*/ 992118 w 2098515"/>
                <a:gd name="connsiteY117" fmla="*/ 264873 h 283771"/>
                <a:gd name="connsiteX118" fmla="*/ 964852 w 2098515"/>
                <a:gd name="connsiteY118" fmla="*/ 278145 h 283771"/>
                <a:gd name="connsiteX119" fmla="*/ 931094 w 2098515"/>
                <a:gd name="connsiteY119" fmla="*/ 282762 h 283771"/>
                <a:gd name="connsiteX120" fmla="*/ 965429 w 2098515"/>
                <a:gd name="connsiteY120" fmla="*/ 158548 h 283771"/>
                <a:gd name="connsiteX121" fmla="*/ 953599 w 2098515"/>
                <a:gd name="connsiteY121" fmla="*/ 130705 h 283771"/>
                <a:gd name="connsiteX122" fmla="*/ 928497 w 2098515"/>
                <a:gd name="connsiteY122" fmla="*/ 120462 h 283771"/>
                <a:gd name="connsiteX123" fmla="*/ 901086 w 2098515"/>
                <a:gd name="connsiteY123" fmla="*/ 130705 h 283771"/>
                <a:gd name="connsiteX124" fmla="*/ 888535 w 2098515"/>
                <a:gd name="connsiteY124" fmla="*/ 158548 h 283771"/>
                <a:gd name="connsiteX125" fmla="*/ 965429 w 2098515"/>
                <a:gd name="connsiteY125" fmla="*/ 158548 h 283771"/>
                <a:gd name="connsiteX126" fmla="*/ 1051123 w 2098515"/>
                <a:gd name="connsiteY126" fmla="*/ 2020 h 283771"/>
                <a:gd name="connsiteX127" fmla="*/ 1113158 w 2098515"/>
                <a:gd name="connsiteY127" fmla="*/ 2020 h 283771"/>
                <a:gd name="connsiteX128" fmla="*/ 1113158 w 2098515"/>
                <a:gd name="connsiteY128" fmla="*/ 106036 h 283771"/>
                <a:gd name="connsiteX129" fmla="*/ 1114312 w 2098515"/>
                <a:gd name="connsiteY129" fmla="*/ 106036 h 283771"/>
                <a:gd name="connsiteX130" fmla="*/ 1138260 w 2098515"/>
                <a:gd name="connsiteY130" fmla="*/ 84107 h 283771"/>
                <a:gd name="connsiteX131" fmla="*/ 1172162 w 2098515"/>
                <a:gd name="connsiteY131" fmla="*/ 76317 h 283771"/>
                <a:gd name="connsiteX132" fmla="*/ 1200727 w 2098515"/>
                <a:gd name="connsiteY132" fmla="*/ 81799 h 283771"/>
                <a:gd name="connsiteX133" fmla="*/ 1222079 w 2098515"/>
                <a:gd name="connsiteY133" fmla="*/ 97091 h 283771"/>
                <a:gd name="connsiteX134" fmla="*/ 1235495 w 2098515"/>
                <a:gd name="connsiteY134" fmla="*/ 120318 h 283771"/>
                <a:gd name="connsiteX135" fmla="*/ 1240112 w 2098515"/>
                <a:gd name="connsiteY135" fmla="*/ 150181 h 283771"/>
                <a:gd name="connsiteX136" fmla="*/ 1240112 w 2098515"/>
                <a:gd name="connsiteY136" fmla="*/ 276991 h 283771"/>
                <a:gd name="connsiteX137" fmla="*/ 1178077 w 2098515"/>
                <a:gd name="connsiteY137" fmla="*/ 276991 h 283771"/>
                <a:gd name="connsiteX138" fmla="*/ 1178077 w 2098515"/>
                <a:gd name="connsiteY138" fmla="*/ 162732 h 283771"/>
                <a:gd name="connsiteX139" fmla="*/ 1170431 w 2098515"/>
                <a:gd name="connsiteY139" fmla="*/ 137630 h 283771"/>
                <a:gd name="connsiteX140" fmla="*/ 1147637 w 2098515"/>
                <a:gd name="connsiteY140" fmla="*/ 128108 h 283771"/>
                <a:gd name="connsiteX141" fmla="*/ 1122679 w 2098515"/>
                <a:gd name="connsiteY141" fmla="*/ 139505 h 283771"/>
                <a:gd name="connsiteX142" fmla="*/ 1113302 w 2098515"/>
                <a:gd name="connsiteY142" fmla="*/ 169224 h 283771"/>
                <a:gd name="connsiteX143" fmla="*/ 1113302 w 2098515"/>
                <a:gd name="connsiteY143" fmla="*/ 276991 h 283771"/>
                <a:gd name="connsiteX144" fmla="*/ 1051267 w 2098515"/>
                <a:gd name="connsiteY144" fmla="*/ 276991 h 283771"/>
                <a:gd name="connsiteX145" fmla="*/ 1051267 w 2098515"/>
                <a:gd name="connsiteY145" fmla="*/ 1875 h 283771"/>
                <a:gd name="connsiteX146" fmla="*/ 1363892 w 2098515"/>
                <a:gd name="connsiteY146" fmla="*/ 283194 h 283771"/>
                <a:gd name="connsiteX147" fmla="*/ 1321045 w 2098515"/>
                <a:gd name="connsiteY147" fmla="*/ 275404 h 283771"/>
                <a:gd name="connsiteX148" fmla="*/ 1288008 w 2098515"/>
                <a:gd name="connsiteY148" fmla="*/ 253620 h 283771"/>
                <a:gd name="connsiteX149" fmla="*/ 1266945 w 2098515"/>
                <a:gd name="connsiteY149" fmla="*/ 220871 h 283771"/>
                <a:gd name="connsiteX150" fmla="*/ 1259443 w 2098515"/>
                <a:gd name="connsiteY150" fmla="*/ 179900 h 283771"/>
                <a:gd name="connsiteX151" fmla="*/ 1266945 w 2098515"/>
                <a:gd name="connsiteY151" fmla="*/ 138928 h 283771"/>
                <a:gd name="connsiteX152" fmla="*/ 1288008 w 2098515"/>
                <a:gd name="connsiteY152" fmla="*/ 106180 h 283771"/>
                <a:gd name="connsiteX153" fmla="*/ 1321045 w 2098515"/>
                <a:gd name="connsiteY153" fmla="*/ 84540 h 283771"/>
                <a:gd name="connsiteX154" fmla="*/ 1363892 w 2098515"/>
                <a:gd name="connsiteY154" fmla="*/ 76750 h 283771"/>
                <a:gd name="connsiteX155" fmla="*/ 1406739 w 2098515"/>
                <a:gd name="connsiteY155" fmla="*/ 84540 h 283771"/>
                <a:gd name="connsiteX156" fmla="*/ 1439487 w 2098515"/>
                <a:gd name="connsiteY156" fmla="*/ 106180 h 283771"/>
                <a:gd name="connsiteX157" fmla="*/ 1460406 w 2098515"/>
                <a:gd name="connsiteY157" fmla="*/ 138928 h 283771"/>
                <a:gd name="connsiteX158" fmla="*/ 1467764 w 2098515"/>
                <a:gd name="connsiteY158" fmla="*/ 179900 h 283771"/>
                <a:gd name="connsiteX159" fmla="*/ 1460406 w 2098515"/>
                <a:gd name="connsiteY159" fmla="*/ 220871 h 283771"/>
                <a:gd name="connsiteX160" fmla="*/ 1439487 w 2098515"/>
                <a:gd name="connsiteY160" fmla="*/ 253620 h 283771"/>
                <a:gd name="connsiteX161" fmla="*/ 1406739 w 2098515"/>
                <a:gd name="connsiteY161" fmla="*/ 275404 h 283771"/>
                <a:gd name="connsiteX162" fmla="*/ 1363892 w 2098515"/>
                <a:gd name="connsiteY162" fmla="*/ 283194 h 283771"/>
                <a:gd name="connsiteX163" fmla="*/ 1363459 w 2098515"/>
                <a:gd name="connsiteY163" fmla="*/ 239049 h 283771"/>
                <a:gd name="connsiteX164" fmla="*/ 1394477 w 2098515"/>
                <a:gd name="connsiteY164" fmla="*/ 222891 h 283771"/>
                <a:gd name="connsiteX165" fmla="*/ 1405008 w 2098515"/>
                <a:gd name="connsiteY165" fmla="*/ 180044 h 283771"/>
                <a:gd name="connsiteX166" fmla="*/ 1394477 w 2098515"/>
                <a:gd name="connsiteY166" fmla="*/ 137053 h 283771"/>
                <a:gd name="connsiteX167" fmla="*/ 1363459 w 2098515"/>
                <a:gd name="connsiteY167" fmla="*/ 120606 h 283771"/>
                <a:gd name="connsiteX168" fmla="*/ 1332586 w 2098515"/>
                <a:gd name="connsiteY168" fmla="*/ 137053 h 283771"/>
                <a:gd name="connsiteX169" fmla="*/ 1322343 w 2098515"/>
                <a:gd name="connsiteY169" fmla="*/ 180044 h 283771"/>
                <a:gd name="connsiteX170" fmla="*/ 1332586 w 2098515"/>
                <a:gd name="connsiteY170" fmla="*/ 222891 h 283771"/>
                <a:gd name="connsiteX171" fmla="*/ 1363459 w 2098515"/>
                <a:gd name="connsiteY171" fmla="*/ 239049 h 283771"/>
                <a:gd name="connsiteX172" fmla="*/ 1555910 w 2098515"/>
                <a:gd name="connsiteY172" fmla="*/ 282906 h 283771"/>
                <a:gd name="connsiteX173" fmla="*/ 1504696 w 2098515"/>
                <a:gd name="connsiteY173" fmla="*/ 262853 h 283771"/>
                <a:gd name="connsiteX174" fmla="*/ 1487384 w 2098515"/>
                <a:gd name="connsiteY174" fmla="*/ 210051 h 283771"/>
                <a:gd name="connsiteX175" fmla="*/ 1487384 w 2098515"/>
                <a:gd name="connsiteY175" fmla="*/ 82087 h 283771"/>
                <a:gd name="connsiteX176" fmla="*/ 1549130 w 2098515"/>
                <a:gd name="connsiteY176" fmla="*/ 82087 h 283771"/>
                <a:gd name="connsiteX177" fmla="*/ 1549130 w 2098515"/>
                <a:gd name="connsiteY177" fmla="*/ 197212 h 283771"/>
                <a:gd name="connsiteX178" fmla="*/ 1556343 w 2098515"/>
                <a:gd name="connsiteY178" fmla="*/ 221737 h 283771"/>
                <a:gd name="connsiteX179" fmla="*/ 1578416 w 2098515"/>
                <a:gd name="connsiteY179" fmla="*/ 230249 h 283771"/>
                <a:gd name="connsiteX180" fmla="*/ 1603518 w 2098515"/>
                <a:gd name="connsiteY180" fmla="*/ 219429 h 283771"/>
                <a:gd name="connsiteX181" fmla="*/ 1612607 w 2098515"/>
                <a:gd name="connsiteY181" fmla="*/ 191008 h 283771"/>
                <a:gd name="connsiteX182" fmla="*/ 1612607 w 2098515"/>
                <a:gd name="connsiteY182" fmla="*/ 82087 h 283771"/>
                <a:gd name="connsiteX183" fmla="*/ 1674641 w 2098515"/>
                <a:gd name="connsiteY183" fmla="*/ 82087 h 283771"/>
                <a:gd name="connsiteX184" fmla="*/ 1674641 w 2098515"/>
                <a:gd name="connsiteY184" fmla="*/ 277135 h 283771"/>
                <a:gd name="connsiteX185" fmla="*/ 1615204 w 2098515"/>
                <a:gd name="connsiteY185" fmla="*/ 277135 h 283771"/>
                <a:gd name="connsiteX186" fmla="*/ 1615204 w 2098515"/>
                <a:gd name="connsiteY186" fmla="*/ 253187 h 283771"/>
                <a:gd name="connsiteX187" fmla="*/ 1614050 w 2098515"/>
                <a:gd name="connsiteY187" fmla="*/ 253187 h 283771"/>
                <a:gd name="connsiteX188" fmla="*/ 1589813 w 2098515"/>
                <a:gd name="connsiteY188" fmla="*/ 275260 h 283771"/>
                <a:gd name="connsiteX189" fmla="*/ 1555766 w 2098515"/>
                <a:gd name="connsiteY189" fmla="*/ 282906 h 283771"/>
                <a:gd name="connsiteX190" fmla="*/ 1791208 w 2098515"/>
                <a:gd name="connsiteY190" fmla="*/ 283339 h 283771"/>
                <a:gd name="connsiteX191" fmla="*/ 1722971 w 2098515"/>
                <a:gd name="connsiteY191" fmla="*/ 264873 h 283771"/>
                <a:gd name="connsiteX192" fmla="*/ 1696281 w 2098515"/>
                <a:gd name="connsiteY192" fmla="*/ 213947 h 283771"/>
                <a:gd name="connsiteX193" fmla="*/ 1754998 w 2098515"/>
                <a:gd name="connsiteY193" fmla="*/ 213947 h 283771"/>
                <a:gd name="connsiteX194" fmla="*/ 1766106 w 2098515"/>
                <a:gd name="connsiteY194" fmla="*/ 235731 h 283771"/>
                <a:gd name="connsiteX195" fmla="*/ 1790920 w 2098515"/>
                <a:gd name="connsiteY195" fmla="*/ 242944 h 283771"/>
                <a:gd name="connsiteX196" fmla="*/ 1813137 w 2098515"/>
                <a:gd name="connsiteY196" fmla="*/ 238039 h 283771"/>
                <a:gd name="connsiteX197" fmla="*/ 1821360 w 2098515"/>
                <a:gd name="connsiteY197" fmla="*/ 223612 h 283771"/>
                <a:gd name="connsiteX198" fmla="*/ 1817176 w 2098515"/>
                <a:gd name="connsiteY198" fmla="*/ 213081 h 283771"/>
                <a:gd name="connsiteX199" fmla="*/ 1806068 w 2098515"/>
                <a:gd name="connsiteY199" fmla="*/ 206589 h 283771"/>
                <a:gd name="connsiteX200" fmla="*/ 1790199 w 2098515"/>
                <a:gd name="connsiteY200" fmla="*/ 202838 h 283771"/>
                <a:gd name="connsiteX201" fmla="*/ 1771732 w 2098515"/>
                <a:gd name="connsiteY201" fmla="*/ 199664 h 283771"/>
                <a:gd name="connsiteX202" fmla="*/ 1746630 w 2098515"/>
                <a:gd name="connsiteY202" fmla="*/ 194182 h 283771"/>
                <a:gd name="connsiteX203" fmla="*/ 1723980 w 2098515"/>
                <a:gd name="connsiteY203" fmla="*/ 184516 h 283771"/>
                <a:gd name="connsiteX204" fmla="*/ 1707823 w 2098515"/>
                <a:gd name="connsiteY204" fmla="*/ 167204 h 283771"/>
                <a:gd name="connsiteX205" fmla="*/ 1701763 w 2098515"/>
                <a:gd name="connsiteY205" fmla="*/ 139217 h 283771"/>
                <a:gd name="connsiteX206" fmla="*/ 1708400 w 2098515"/>
                <a:gd name="connsiteY206" fmla="*/ 112095 h 283771"/>
                <a:gd name="connsiteX207" fmla="*/ 1726577 w 2098515"/>
                <a:gd name="connsiteY207" fmla="*/ 92475 h 283771"/>
                <a:gd name="connsiteX208" fmla="*/ 1753411 w 2098515"/>
                <a:gd name="connsiteY208" fmla="*/ 80645 h 283771"/>
                <a:gd name="connsiteX209" fmla="*/ 1786015 w 2098515"/>
                <a:gd name="connsiteY209" fmla="*/ 76605 h 283771"/>
                <a:gd name="connsiteX210" fmla="*/ 1849636 w 2098515"/>
                <a:gd name="connsiteY210" fmla="*/ 93340 h 283771"/>
                <a:gd name="connsiteX211" fmla="*/ 1874017 w 2098515"/>
                <a:gd name="connsiteY211" fmla="*/ 139073 h 283771"/>
                <a:gd name="connsiteX212" fmla="*/ 1816888 w 2098515"/>
                <a:gd name="connsiteY212" fmla="*/ 139073 h 283771"/>
                <a:gd name="connsiteX213" fmla="*/ 1806789 w 2098515"/>
                <a:gd name="connsiteY213" fmla="*/ 121039 h 283771"/>
                <a:gd name="connsiteX214" fmla="*/ 1785582 w 2098515"/>
                <a:gd name="connsiteY214" fmla="*/ 116278 h 283771"/>
                <a:gd name="connsiteX215" fmla="*/ 1766395 w 2098515"/>
                <a:gd name="connsiteY215" fmla="*/ 120606 h 283771"/>
                <a:gd name="connsiteX216" fmla="*/ 1758604 w 2098515"/>
                <a:gd name="connsiteY216" fmla="*/ 134167 h 283771"/>
                <a:gd name="connsiteX217" fmla="*/ 1762355 w 2098515"/>
                <a:gd name="connsiteY217" fmla="*/ 142535 h 283771"/>
                <a:gd name="connsiteX218" fmla="*/ 1772598 w 2098515"/>
                <a:gd name="connsiteY218" fmla="*/ 147728 h 283771"/>
                <a:gd name="connsiteX219" fmla="*/ 1787602 w 2098515"/>
                <a:gd name="connsiteY219" fmla="*/ 151335 h 283771"/>
                <a:gd name="connsiteX220" fmla="*/ 1805346 w 2098515"/>
                <a:gd name="connsiteY220" fmla="*/ 154365 h 283771"/>
                <a:gd name="connsiteX221" fmla="*/ 1831459 w 2098515"/>
                <a:gd name="connsiteY221" fmla="*/ 159847 h 283771"/>
                <a:gd name="connsiteX222" fmla="*/ 1855407 w 2098515"/>
                <a:gd name="connsiteY222" fmla="*/ 169945 h 283771"/>
                <a:gd name="connsiteX223" fmla="*/ 1873152 w 2098515"/>
                <a:gd name="connsiteY223" fmla="*/ 188412 h 283771"/>
                <a:gd name="connsiteX224" fmla="*/ 1880076 w 2098515"/>
                <a:gd name="connsiteY224" fmla="*/ 218707 h 283771"/>
                <a:gd name="connsiteX225" fmla="*/ 1873440 w 2098515"/>
                <a:gd name="connsiteY225" fmla="*/ 246839 h 283771"/>
                <a:gd name="connsiteX226" fmla="*/ 1854974 w 2098515"/>
                <a:gd name="connsiteY226" fmla="*/ 267037 h 283771"/>
                <a:gd name="connsiteX227" fmla="*/ 1826842 w 2098515"/>
                <a:gd name="connsiteY227" fmla="*/ 279299 h 283771"/>
                <a:gd name="connsiteX228" fmla="*/ 1791353 w 2098515"/>
                <a:gd name="connsiteY228" fmla="*/ 283483 h 283771"/>
                <a:gd name="connsiteX229" fmla="*/ 2001260 w 2098515"/>
                <a:gd name="connsiteY229" fmla="*/ 283050 h 283771"/>
                <a:gd name="connsiteX230" fmla="*/ 1957836 w 2098515"/>
                <a:gd name="connsiteY230" fmla="*/ 275260 h 283771"/>
                <a:gd name="connsiteX231" fmla="*/ 1925087 w 2098515"/>
                <a:gd name="connsiteY231" fmla="*/ 253476 h 283771"/>
                <a:gd name="connsiteX232" fmla="*/ 1904457 w 2098515"/>
                <a:gd name="connsiteY232" fmla="*/ 220583 h 283771"/>
                <a:gd name="connsiteX233" fmla="*/ 1897244 w 2098515"/>
                <a:gd name="connsiteY233" fmla="*/ 179467 h 283771"/>
                <a:gd name="connsiteX234" fmla="*/ 1904457 w 2098515"/>
                <a:gd name="connsiteY234" fmla="*/ 138928 h 283771"/>
                <a:gd name="connsiteX235" fmla="*/ 1925087 w 2098515"/>
                <a:gd name="connsiteY235" fmla="*/ 106180 h 283771"/>
                <a:gd name="connsiteX236" fmla="*/ 1956682 w 2098515"/>
                <a:gd name="connsiteY236" fmla="*/ 84540 h 283771"/>
                <a:gd name="connsiteX237" fmla="*/ 1997509 w 2098515"/>
                <a:gd name="connsiteY237" fmla="*/ 76750 h 283771"/>
                <a:gd name="connsiteX238" fmla="*/ 2035018 w 2098515"/>
                <a:gd name="connsiteY238" fmla="*/ 83242 h 283771"/>
                <a:gd name="connsiteX239" fmla="*/ 2064160 w 2098515"/>
                <a:gd name="connsiteY239" fmla="*/ 101131 h 283771"/>
                <a:gd name="connsiteX240" fmla="*/ 2090272 w 2098515"/>
                <a:gd name="connsiteY240" fmla="*/ 141669 h 283771"/>
                <a:gd name="connsiteX241" fmla="*/ 2098495 w 2098515"/>
                <a:gd name="connsiteY241" fmla="*/ 195913 h 283771"/>
                <a:gd name="connsiteX242" fmla="*/ 1958269 w 2098515"/>
                <a:gd name="connsiteY242" fmla="*/ 195913 h 283771"/>
                <a:gd name="connsiteX243" fmla="*/ 1971974 w 2098515"/>
                <a:gd name="connsiteY243" fmla="*/ 227219 h 283771"/>
                <a:gd name="connsiteX244" fmla="*/ 2002125 w 2098515"/>
                <a:gd name="connsiteY244" fmla="*/ 238616 h 283771"/>
                <a:gd name="connsiteX245" fmla="*/ 2022323 w 2098515"/>
                <a:gd name="connsiteY245" fmla="*/ 233423 h 283771"/>
                <a:gd name="connsiteX246" fmla="*/ 2034585 w 2098515"/>
                <a:gd name="connsiteY246" fmla="*/ 219140 h 283771"/>
                <a:gd name="connsiteX247" fmla="*/ 2095177 w 2098515"/>
                <a:gd name="connsiteY247" fmla="*/ 219140 h 283771"/>
                <a:gd name="connsiteX248" fmla="*/ 2083780 w 2098515"/>
                <a:gd name="connsiteY248" fmla="*/ 244531 h 283771"/>
                <a:gd name="connsiteX249" fmla="*/ 2062429 w 2098515"/>
                <a:gd name="connsiteY249" fmla="*/ 265305 h 283771"/>
                <a:gd name="connsiteX250" fmla="*/ 2035162 w 2098515"/>
                <a:gd name="connsiteY250" fmla="*/ 278578 h 283771"/>
                <a:gd name="connsiteX251" fmla="*/ 2001404 w 2098515"/>
                <a:gd name="connsiteY251" fmla="*/ 283194 h 283771"/>
                <a:gd name="connsiteX252" fmla="*/ 2035739 w 2098515"/>
                <a:gd name="connsiteY252" fmla="*/ 158981 h 283771"/>
                <a:gd name="connsiteX253" fmla="*/ 2023910 w 2098515"/>
                <a:gd name="connsiteY253" fmla="*/ 131138 h 283771"/>
                <a:gd name="connsiteX254" fmla="*/ 1998807 w 2098515"/>
                <a:gd name="connsiteY254" fmla="*/ 120895 h 283771"/>
                <a:gd name="connsiteX255" fmla="*/ 1971397 w 2098515"/>
                <a:gd name="connsiteY255" fmla="*/ 131138 h 283771"/>
                <a:gd name="connsiteX256" fmla="*/ 1958846 w 2098515"/>
                <a:gd name="connsiteY256" fmla="*/ 158981 h 283771"/>
                <a:gd name="connsiteX257" fmla="*/ 2035739 w 2098515"/>
                <a:gd name="connsiteY257" fmla="*/ 158981 h 28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</a:cxnLst>
              <a:rect l="l" t="t" r="r" b="b"/>
              <a:pathLst>
                <a:path w="2098515" h="283771">
                  <a:moveTo>
                    <a:pt x="129551" y="283771"/>
                  </a:moveTo>
                  <a:cubicBezTo>
                    <a:pt x="109931" y="283771"/>
                    <a:pt x="92475" y="280453"/>
                    <a:pt x="77038" y="273817"/>
                  </a:cubicBezTo>
                  <a:cubicBezTo>
                    <a:pt x="61602" y="267181"/>
                    <a:pt x="48041" y="257804"/>
                    <a:pt x="36644" y="245685"/>
                  </a:cubicBezTo>
                  <a:cubicBezTo>
                    <a:pt x="24670" y="232701"/>
                    <a:pt x="15581" y="217553"/>
                    <a:pt x="9377" y="199953"/>
                  </a:cubicBezTo>
                  <a:cubicBezTo>
                    <a:pt x="3174" y="182497"/>
                    <a:pt x="0" y="163309"/>
                    <a:pt x="0" y="142391"/>
                  </a:cubicBezTo>
                  <a:cubicBezTo>
                    <a:pt x="0" y="121472"/>
                    <a:pt x="3462" y="100986"/>
                    <a:pt x="10531" y="82809"/>
                  </a:cubicBezTo>
                  <a:cubicBezTo>
                    <a:pt x="17456" y="64631"/>
                    <a:pt x="27411" y="49050"/>
                    <a:pt x="40395" y="36211"/>
                  </a:cubicBezTo>
                  <a:cubicBezTo>
                    <a:pt x="51792" y="24814"/>
                    <a:pt x="65208" y="15869"/>
                    <a:pt x="80789" y="9522"/>
                  </a:cubicBezTo>
                  <a:cubicBezTo>
                    <a:pt x="96226" y="3174"/>
                    <a:pt x="113970" y="0"/>
                    <a:pt x="133735" y="0"/>
                  </a:cubicBezTo>
                  <a:cubicBezTo>
                    <a:pt x="151191" y="0"/>
                    <a:pt x="167060" y="2164"/>
                    <a:pt x="180910" y="6636"/>
                  </a:cubicBezTo>
                  <a:cubicBezTo>
                    <a:pt x="194904" y="11108"/>
                    <a:pt x="207022" y="17456"/>
                    <a:pt x="217121" y="25679"/>
                  </a:cubicBezTo>
                  <a:cubicBezTo>
                    <a:pt x="227219" y="33903"/>
                    <a:pt x="235442" y="43857"/>
                    <a:pt x="241646" y="55542"/>
                  </a:cubicBezTo>
                  <a:cubicBezTo>
                    <a:pt x="247849" y="67228"/>
                    <a:pt x="252177" y="80212"/>
                    <a:pt x="254341" y="94350"/>
                  </a:cubicBezTo>
                  <a:lnTo>
                    <a:pt x="188844" y="94350"/>
                  </a:lnTo>
                  <a:cubicBezTo>
                    <a:pt x="186248" y="83242"/>
                    <a:pt x="180621" y="73864"/>
                    <a:pt x="171677" y="66507"/>
                  </a:cubicBezTo>
                  <a:cubicBezTo>
                    <a:pt x="162732" y="59149"/>
                    <a:pt x="150902" y="55398"/>
                    <a:pt x="135899" y="55398"/>
                  </a:cubicBezTo>
                  <a:cubicBezTo>
                    <a:pt x="124646" y="55398"/>
                    <a:pt x="114836" y="57706"/>
                    <a:pt x="106324" y="62034"/>
                  </a:cubicBezTo>
                  <a:cubicBezTo>
                    <a:pt x="97812" y="66507"/>
                    <a:pt x="90743" y="72566"/>
                    <a:pt x="85117" y="80356"/>
                  </a:cubicBezTo>
                  <a:cubicBezTo>
                    <a:pt x="79491" y="88147"/>
                    <a:pt x="75307" y="97235"/>
                    <a:pt x="72566" y="107767"/>
                  </a:cubicBezTo>
                  <a:cubicBezTo>
                    <a:pt x="69825" y="118298"/>
                    <a:pt x="68382" y="129839"/>
                    <a:pt x="68382" y="142246"/>
                  </a:cubicBezTo>
                  <a:cubicBezTo>
                    <a:pt x="68382" y="154653"/>
                    <a:pt x="69969" y="166195"/>
                    <a:pt x="73143" y="176870"/>
                  </a:cubicBezTo>
                  <a:cubicBezTo>
                    <a:pt x="76317" y="187546"/>
                    <a:pt x="80789" y="196779"/>
                    <a:pt x="86704" y="204425"/>
                  </a:cubicBezTo>
                  <a:cubicBezTo>
                    <a:pt x="92619" y="212215"/>
                    <a:pt x="99688" y="218275"/>
                    <a:pt x="108200" y="222458"/>
                  </a:cubicBezTo>
                  <a:cubicBezTo>
                    <a:pt x="116711" y="226786"/>
                    <a:pt x="126233" y="228950"/>
                    <a:pt x="136909" y="228950"/>
                  </a:cubicBezTo>
                  <a:cubicBezTo>
                    <a:pt x="145709" y="228950"/>
                    <a:pt x="153788" y="227652"/>
                    <a:pt x="160712" y="224911"/>
                  </a:cubicBezTo>
                  <a:cubicBezTo>
                    <a:pt x="167637" y="222314"/>
                    <a:pt x="173696" y="218707"/>
                    <a:pt x="178601" y="214235"/>
                  </a:cubicBezTo>
                  <a:cubicBezTo>
                    <a:pt x="183507" y="209763"/>
                    <a:pt x="187546" y="204714"/>
                    <a:pt x="190431" y="198943"/>
                  </a:cubicBezTo>
                  <a:cubicBezTo>
                    <a:pt x="193317" y="193317"/>
                    <a:pt x="195192" y="187402"/>
                    <a:pt x="195913" y="181198"/>
                  </a:cubicBezTo>
                  <a:lnTo>
                    <a:pt x="195913" y="180477"/>
                  </a:lnTo>
                  <a:lnTo>
                    <a:pt x="144843" y="180477"/>
                  </a:lnTo>
                  <a:lnTo>
                    <a:pt x="144843" y="130994"/>
                  </a:lnTo>
                  <a:lnTo>
                    <a:pt x="258381" y="130994"/>
                  </a:lnTo>
                  <a:lnTo>
                    <a:pt x="258381" y="277279"/>
                  </a:lnTo>
                  <a:lnTo>
                    <a:pt x="211206" y="277279"/>
                  </a:lnTo>
                  <a:lnTo>
                    <a:pt x="207455" y="244531"/>
                  </a:lnTo>
                  <a:lnTo>
                    <a:pt x="206733" y="244531"/>
                  </a:lnTo>
                  <a:cubicBezTo>
                    <a:pt x="197789" y="258525"/>
                    <a:pt x="186825" y="268479"/>
                    <a:pt x="173841" y="274394"/>
                  </a:cubicBezTo>
                  <a:cubicBezTo>
                    <a:pt x="160712" y="280309"/>
                    <a:pt x="145997" y="283339"/>
                    <a:pt x="129407" y="283339"/>
                  </a:cubicBezTo>
                  <a:moveTo>
                    <a:pt x="358357" y="282906"/>
                  </a:moveTo>
                  <a:cubicBezTo>
                    <a:pt x="335707" y="282906"/>
                    <a:pt x="318684" y="276270"/>
                    <a:pt x="307143" y="262853"/>
                  </a:cubicBezTo>
                  <a:cubicBezTo>
                    <a:pt x="295601" y="249580"/>
                    <a:pt x="289831" y="231980"/>
                    <a:pt x="289831" y="210051"/>
                  </a:cubicBezTo>
                  <a:lnTo>
                    <a:pt x="289831" y="82087"/>
                  </a:lnTo>
                  <a:lnTo>
                    <a:pt x="351577" y="82087"/>
                  </a:lnTo>
                  <a:lnTo>
                    <a:pt x="351577" y="197212"/>
                  </a:lnTo>
                  <a:cubicBezTo>
                    <a:pt x="351577" y="207887"/>
                    <a:pt x="354029" y="216111"/>
                    <a:pt x="358790" y="221737"/>
                  </a:cubicBezTo>
                  <a:cubicBezTo>
                    <a:pt x="363551" y="227508"/>
                    <a:pt x="371052" y="230249"/>
                    <a:pt x="380863" y="230249"/>
                  </a:cubicBezTo>
                  <a:cubicBezTo>
                    <a:pt x="391538" y="230249"/>
                    <a:pt x="399906" y="226642"/>
                    <a:pt x="405965" y="219429"/>
                  </a:cubicBezTo>
                  <a:cubicBezTo>
                    <a:pt x="412024" y="212215"/>
                    <a:pt x="415054" y="202694"/>
                    <a:pt x="415054" y="191008"/>
                  </a:cubicBezTo>
                  <a:lnTo>
                    <a:pt x="415054" y="82087"/>
                  </a:lnTo>
                  <a:lnTo>
                    <a:pt x="477088" y="82087"/>
                  </a:lnTo>
                  <a:lnTo>
                    <a:pt x="477088" y="277135"/>
                  </a:lnTo>
                  <a:lnTo>
                    <a:pt x="417650" y="277135"/>
                  </a:lnTo>
                  <a:lnTo>
                    <a:pt x="417650" y="253187"/>
                  </a:lnTo>
                  <a:lnTo>
                    <a:pt x="416496" y="253187"/>
                  </a:lnTo>
                  <a:cubicBezTo>
                    <a:pt x="409427" y="262853"/>
                    <a:pt x="401348" y="270210"/>
                    <a:pt x="392260" y="275260"/>
                  </a:cubicBezTo>
                  <a:cubicBezTo>
                    <a:pt x="383315" y="280309"/>
                    <a:pt x="371918" y="282906"/>
                    <a:pt x="358213" y="282906"/>
                  </a:cubicBezTo>
                  <a:moveTo>
                    <a:pt x="512433" y="2164"/>
                  </a:moveTo>
                  <a:lnTo>
                    <a:pt x="574468" y="2164"/>
                  </a:lnTo>
                  <a:lnTo>
                    <a:pt x="574468" y="55110"/>
                  </a:lnTo>
                  <a:lnTo>
                    <a:pt x="512433" y="55110"/>
                  </a:lnTo>
                  <a:lnTo>
                    <a:pt x="512433" y="2164"/>
                  </a:lnTo>
                  <a:close/>
                  <a:moveTo>
                    <a:pt x="512433" y="82087"/>
                  </a:moveTo>
                  <a:lnTo>
                    <a:pt x="574468" y="82087"/>
                  </a:lnTo>
                  <a:lnTo>
                    <a:pt x="574468" y="277135"/>
                  </a:lnTo>
                  <a:lnTo>
                    <a:pt x="512433" y="277135"/>
                  </a:lnTo>
                  <a:lnTo>
                    <a:pt x="512433" y="82087"/>
                  </a:lnTo>
                  <a:close/>
                  <a:moveTo>
                    <a:pt x="686563" y="283194"/>
                  </a:moveTo>
                  <a:cubicBezTo>
                    <a:pt x="674156" y="283194"/>
                    <a:pt x="662614" y="280886"/>
                    <a:pt x="652227" y="276125"/>
                  </a:cubicBezTo>
                  <a:cubicBezTo>
                    <a:pt x="641840" y="271365"/>
                    <a:pt x="632751" y="264584"/>
                    <a:pt x="625249" y="255784"/>
                  </a:cubicBezTo>
                  <a:cubicBezTo>
                    <a:pt x="617603" y="246839"/>
                    <a:pt x="611688" y="236019"/>
                    <a:pt x="607505" y="223180"/>
                  </a:cubicBezTo>
                  <a:cubicBezTo>
                    <a:pt x="603321" y="210340"/>
                    <a:pt x="601157" y="195769"/>
                    <a:pt x="601157" y="179611"/>
                  </a:cubicBezTo>
                  <a:cubicBezTo>
                    <a:pt x="601157" y="164319"/>
                    <a:pt x="603321" y="150470"/>
                    <a:pt x="607505" y="137630"/>
                  </a:cubicBezTo>
                  <a:cubicBezTo>
                    <a:pt x="611688" y="124934"/>
                    <a:pt x="617603" y="114114"/>
                    <a:pt x="624961" y="105026"/>
                  </a:cubicBezTo>
                  <a:cubicBezTo>
                    <a:pt x="632463" y="96081"/>
                    <a:pt x="641407" y="89012"/>
                    <a:pt x="651794" y="83819"/>
                  </a:cubicBezTo>
                  <a:cubicBezTo>
                    <a:pt x="662182" y="78769"/>
                    <a:pt x="673723" y="76172"/>
                    <a:pt x="686418" y="76172"/>
                  </a:cubicBezTo>
                  <a:cubicBezTo>
                    <a:pt x="700124" y="76172"/>
                    <a:pt x="711232" y="78769"/>
                    <a:pt x="719600" y="83963"/>
                  </a:cubicBezTo>
                  <a:cubicBezTo>
                    <a:pt x="727967" y="89156"/>
                    <a:pt x="735036" y="95793"/>
                    <a:pt x="740951" y="104016"/>
                  </a:cubicBezTo>
                  <a:lnTo>
                    <a:pt x="742105" y="104016"/>
                  </a:lnTo>
                  <a:lnTo>
                    <a:pt x="742105" y="1875"/>
                  </a:lnTo>
                  <a:lnTo>
                    <a:pt x="804139" y="1875"/>
                  </a:lnTo>
                  <a:lnTo>
                    <a:pt x="804139" y="276991"/>
                  </a:lnTo>
                  <a:lnTo>
                    <a:pt x="744702" y="276991"/>
                  </a:lnTo>
                  <a:lnTo>
                    <a:pt x="744702" y="250735"/>
                  </a:lnTo>
                  <a:lnTo>
                    <a:pt x="743981" y="250735"/>
                  </a:lnTo>
                  <a:cubicBezTo>
                    <a:pt x="738210" y="260833"/>
                    <a:pt x="730275" y="268768"/>
                    <a:pt x="720609" y="274538"/>
                  </a:cubicBezTo>
                  <a:cubicBezTo>
                    <a:pt x="710799" y="280309"/>
                    <a:pt x="699547" y="283050"/>
                    <a:pt x="686563" y="283050"/>
                  </a:cubicBezTo>
                  <a:moveTo>
                    <a:pt x="702576" y="233855"/>
                  </a:moveTo>
                  <a:cubicBezTo>
                    <a:pt x="715560" y="233855"/>
                    <a:pt x="725659" y="228806"/>
                    <a:pt x="732872" y="218563"/>
                  </a:cubicBezTo>
                  <a:cubicBezTo>
                    <a:pt x="740085" y="208465"/>
                    <a:pt x="743692" y="195336"/>
                    <a:pt x="743692" y="179323"/>
                  </a:cubicBezTo>
                  <a:cubicBezTo>
                    <a:pt x="743692" y="171244"/>
                    <a:pt x="742826" y="163598"/>
                    <a:pt x="741239" y="156673"/>
                  </a:cubicBezTo>
                  <a:cubicBezTo>
                    <a:pt x="739653" y="149748"/>
                    <a:pt x="737056" y="143689"/>
                    <a:pt x="733593" y="138784"/>
                  </a:cubicBezTo>
                  <a:cubicBezTo>
                    <a:pt x="730131" y="133879"/>
                    <a:pt x="725947" y="129984"/>
                    <a:pt x="721042" y="127098"/>
                  </a:cubicBezTo>
                  <a:cubicBezTo>
                    <a:pt x="716137" y="124357"/>
                    <a:pt x="710222" y="122915"/>
                    <a:pt x="703297" y="122915"/>
                  </a:cubicBezTo>
                  <a:cubicBezTo>
                    <a:pt x="690891" y="122915"/>
                    <a:pt x="681225" y="128108"/>
                    <a:pt x="674300" y="138351"/>
                  </a:cubicBezTo>
                  <a:cubicBezTo>
                    <a:pt x="667375" y="148594"/>
                    <a:pt x="664057" y="162011"/>
                    <a:pt x="664057" y="178601"/>
                  </a:cubicBezTo>
                  <a:cubicBezTo>
                    <a:pt x="664057" y="195192"/>
                    <a:pt x="667375" y="209042"/>
                    <a:pt x="674156" y="218996"/>
                  </a:cubicBezTo>
                  <a:cubicBezTo>
                    <a:pt x="680936" y="228950"/>
                    <a:pt x="690314" y="233855"/>
                    <a:pt x="702576" y="233855"/>
                  </a:cubicBezTo>
                  <a:moveTo>
                    <a:pt x="931094" y="282617"/>
                  </a:moveTo>
                  <a:cubicBezTo>
                    <a:pt x="915080" y="282617"/>
                    <a:pt x="900654" y="280021"/>
                    <a:pt x="887670" y="274827"/>
                  </a:cubicBezTo>
                  <a:cubicBezTo>
                    <a:pt x="874686" y="269633"/>
                    <a:pt x="863721" y="262420"/>
                    <a:pt x="854921" y="253043"/>
                  </a:cubicBezTo>
                  <a:cubicBezTo>
                    <a:pt x="845977" y="243810"/>
                    <a:pt x="839196" y="232845"/>
                    <a:pt x="834291" y="220150"/>
                  </a:cubicBezTo>
                  <a:cubicBezTo>
                    <a:pt x="829530" y="207455"/>
                    <a:pt x="827078" y="193749"/>
                    <a:pt x="827078" y="179034"/>
                  </a:cubicBezTo>
                  <a:cubicBezTo>
                    <a:pt x="827078" y="164319"/>
                    <a:pt x="829530" y="151047"/>
                    <a:pt x="834291" y="138495"/>
                  </a:cubicBezTo>
                  <a:cubicBezTo>
                    <a:pt x="839052" y="125944"/>
                    <a:pt x="845977" y="114980"/>
                    <a:pt x="854921" y="105747"/>
                  </a:cubicBezTo>
                  <a:cubicBezTo>
                    <a:pt x="863866" y="96514"/>
                    <a:pt x="874397" y="89301"/>
                    <a:pt x="886515" y="84107"/>
                  </a:cubicBezTo>
                  <a:cubicBezTo>
                    <a:pt x="898634" y="78914"/>
                    <a:pt x="912339" y="76317"/>
                    <a:pt x="927343" y="76317"/>
                  </a:cubicBezTo>
                  <a:cubicBezTo>
                    <a:pt x="941337" y="76317"/>
                    <a:pt x="953888" y="78481"/>
                    <a:pt x="964852" y="82809"/>
                  </a:cubicBezTo>
                  <a:cubicBezTo>
                    <a:pt x="975960" y="87137"/>
                    <a:pt x="985626" y="93052"/>
                    <a:pt x="993994" y="100698"/>
                  </a:cubicBezTo>
                  <a:cubicBezTo>
                    <a:pt x="1005679" y="111373"/>
                    <a:pt x="1014335" y="124934"/>
                    <a:pt x="1020106" y="141237"/>
                  </a:cubicBezTo>
                  <a:cubicBezTo>
                    <a:pt x="1025877" y="157683"/>
                    <a:pt x="1028473" y="175716"/>
                    <a:pt x="1028329" y="195481"/>
                  </a:cubicBezTo>
                  <a:lnTo>
                    <a:pt x="888102" y="195481"/>
                  </a:lnTo>
                  <a:cubicBezTo>
                    <a:pt x="890122" y="208753"/>
                    <a:pt x="894739" y="219140"/>
                    <a:pt x="901808" y="226786"/>
                  </a:cubicBezTo>
                  <a:cubicBezTo>
                    <a:pt x="908877" y="234432"/>
                    <a:pt x="918975" y="238183"/>
                    <a:pt x="931959" y="238183"/>
                  </a:cubicBezTo>
                  <a:cubicBezTo>
                    <a:pt x="940038" y="238183"/>
                    <a:pt x="946819" y="236452"/>
                    <a:pt x="952157" y="232990"/>
                  </a:cubicBezTo>
                  <a:cubicBezTo>
                    <a:pt x="957494" y="229527"/>
                    <a:pt x="961534" y="224767"/>
                    <a:pt x="964275" y="218707"/>
                  </a:cubicBezTo>
                  <a:lnTo>
                    <a:pt x="1024867" y="218707"/>
                  </a:lnTo>
                  <a:cubicBezTo>
                    <a:pt x="1022847" y="227652"/>
                    <a:pt x="1018952" y="236019"/>
                    <a:pt x="1013470" y="244098"/>
                  </a:cubicBezTo>
                  <a:cubicBezTo>
                    <a:pt x="1007843" y="252033"/>
                    <a:pt x="1000774" y="258958"/>
                    <a:pt x="992118" y="264873"/>
                  </a:cubicBezTo>
                  <a:cubicBezTo>
                    <a:pt x="984039" y="270787"/>
                    <a:pt x="974951" y="275115"/>
                    <a:pt x="964852" y="278145"/>
                  </a:cubicBezTo>
                  <a:cubicBezTo>
                    <a:pt x="954898" y="281175"/>
                    <a:pt x="943645" y="282762"/>
                    <a:pt x="931094" y="282762"/>
                  </a:cubicBezTo>
                  <a:moveTo>
                    <a:pt x="965429" y="158548"/>
                  </a:moveTo>
                  <a:cubicBezTo>
                    <a:pt x="964131" y="146863"/>
                    <a:pt x="960235" y="137630"/>
                    <a:pt x="953599" y="130705"/>
                  </a:cubicBezTo>
                  <a:cubicBezTo>
                    <a:pt x="946963" y="123925"/>
                    <a:pt x="938596" y="120462"/>
                    <a:pt x="928497" y="120462"/>
                  </a:cubicBezTo>
                  <a:cubicBezTo>
                    <a:pt x="916523" y="120462"/>
                    <a:pt x="907434" y="123925"/>
                    <a:pt x="901086" y="130705"/>
                  </a:cubicBezTo>
                  <a:cubicBezTo>
                    <a:pt x="894739" y="137630"/>
                    <a:pt x="890555" y="146863"/>
                    <a:pt x="888535" y="158548"/>
                  </a:cubicBezTo>
                  <a:lnTo>
                    <a:pt x="965429" y="158548"/>
                  </a:lnTo>
                  <a:close/>
                  <a:moveTo>
                    <a:pt x="1051123" y="2020"/>
                  </a:moveTo>
                  <a:lnTo>
                    <a:pt x="1113158" y="2020"/>
                  </a:lnTo>
                  <a:lnTo>
                    <a:pt x="1113158" y="106036"/>
                  </a:lnTo>
                  <a:lnTo>
                    <a:pt x="1114312" y="106036"/>
                  </a:lnTo>
                  <a:cubicBezTo>
                    <a:pt x="1121381" y="96658"/>
                    <a:pt x="1129460" y="89301"/>
                    <a:pt x="1138260" y="84107"/>
                  </a:cubicBezTo>
                  <a:cubicBezTo>
                    <a:pt x="1147204" y="78914"/>
                    <a:pt x="1158457" y="76317"/>
                    <a:pt x="1172162" y="76317"/>
                  </a:cubicBezTo>
                  <a:cubicBezTo>
                    <a:pt x="1182838" y="76317"/>
                    <a:pt x="1192360" y="78192"/>
                    <a:pt x="1200727" y="81799"/>
                  </a:cubicBezTo>
                  <a:cubicBezTo>
                    <a:pt x="1209095" y="85406"/>
                    <a:pt x="1216164" y="90599"/>
                    <a:pt x="1222079" y="97091"/>
                  </a:cubicBezTo>
                  <a:cubicBezTo>
                    <a:pt x="1227993" y="103583"/>
                    <a:pt x="1232321" y="111373"/>
                    <a:pt x="1235495" y="120318"/>
                  </a:cubicBezTo>
                  <a:cubicBezTo>
                    <a:pt x="1238525" y="129262"/>
                    <a:pt x="1240112" y="139361"/>
                    <a:pt x="1240112" y="150181"/>
                  </a:cubicBezTo>
                  <a:lnTo>
                    <a:pt x="1240112" y="276991"/>
                  </a:lnTo>
                  <a:lnTo>
                    <a:pt x="1178077" y="276991"/>
                  </a:lnTo>
                  <a:lnTo>
                    <a:pt x="1178077" y="162732"/>
                  </a:lnTo>
                  <a:cubicBezTo>
                    <a:pt x="1178077" y="152345"/>
                    <a:pt x="1175481" y="143978"/>
                    <a:pt x="1170431" y="137630"/>
                  </a:cubicBezTo>
                  <a:cubicBezTo>
                    <a:pt x="1165382" y="131282"/>
                    <a:pt x="1157736" y="128108"/>
                    <a:pt x="1147637" y="128108"/>
                  </a:cubicBezTo>
                  <a:cubicBezTo>
                    <a:pt x="1137539" y="128108"/>
                    <a:pt x="1128883" y="131859"/>
                    <a:pt x="1122679" y="139505"/>
                  </a:cubicBezTo>
                  <a:cubicBezTo>
                    <a:pt x="1116476" y="147151"/>
                    <a:pt x="1113302" y="157106"/>
                    <a:pt x="1113302" y="169224"/>
                  </a:cubicBezTo>
                  <a:lnTo>
                    <a:pt x="1113302" y="276991"/>
                  </a:lnTo>
                  <a:lnTo>
                    <a:pt x="1051267" y="276991"/>
                  </a:lnTo>
                  <a:lnTo>
                    <a:pt x="1051267" y="1875"/>
                  </a:lnTo>
                  <a:close/>
                  <a:moveTo>
                    <a:pt x="1363892" y="283194"/>
                  </a:moveTo>
                  <a:cubicBezTo>
                    <a:pt x="1348167" y="283194"/>
                    <a:pt x="1333885" y="280598"/>
                    <a:pt x="1321045" y="275404"/>
                  </a:cubicBezTo>
                  <a:cubicBezTo>
                    <a:pt x="1308205" y="270210"/>
                    <a:pt x="1297241" y="262997"/>
                    <a:pt x="1288008" y="253620"/>
                  </a:cubicBezTo>
                  <a:cubicBezTo>
                    <a:pt x="1278919" y="244387"/>
                    <a:pt x="1271850" y="233423"/>
                    <a:pt x="1266945" y="220871"/>
                  </a:cubicBezTo>
                  <a:cubicBezTo>
                    <a:pt x="1262040" y="208320"/>
                    <a:pt x="1259443" y="194615"/>
                    <a:pt x="1259443" y="179900"/>
                  </a:cubicBezTo>
                  <a:cubicBezTo>
                    <a:pt x="1259443" y="165185"/>
                    <a:pt x="1261896" y="151479"/>
                    <a:pt x="1266945" y="138928"/>
                  </a:cubicBezTo>
                  <a:cubicBezTo>
                    <a:pt x="1271850" y="126377"/>
                    <a:pt x="1278919" y="115413"/>
                    <a:pt x="1288008" y="106180"/>
                  </a:cubicBezTo>
                  <a:cubicBezTo>
                    <a:pt x="1297097" y="96947"/>
                    <a:pt x="1308205" y="89734"/>
                    <a:pt x="1321045" y="84540"/>
                  </a:cubicBezTo>
                  <a:cubicBezTo>
                    <a:pt x="1333885" y="79346"/>
                    <a:pt x="1348167" y="76750"/>
                    <a:pt x="1363892" y="76750"/>
                  </a:cubicBezTo>
                  <a:cubicBezTo>
                    <a:pt x="1379617" y="76750"/>
                    <a:pt x="1393900" y="79346"/>
                    <a:pt x="1406739" y="84540"/>
                  </a:cubicBezTo>
                  <a:cubicBezTo>
                    <a:pt x="1419579" y="89734"/>
                    <a:pt x="1430543" y="96947"/>
                    <a:pt x="1439487" y="106180"/>
                  </a:cubicBezTo>
                  <a:cubicBezTo>
                    <a:pt x="1448432" y="115413"/>
                    <a:pt x="1455501" y="126377"/>
                    <a:pt x="1460406" y="138928"/>
                  </a:cubicBezTo>
                  <a:cubicBezTo>
                    <a:pt x="1465311" y="151479"/>
                    <a:pt x="1467764" y="165185"/>
                    <a:pt x="1467764" y="179900"/>
                  </a:cubicBezTo>
                  <a:cubicBezTo>
                    <a:pt x="1467764" y="194615"/>
                    <a:pt x="1465311" y="208320"/>
                    <a:pt x="1460406" y="220871"/>
                  </a:cubicBezTo>
                  <a:cubicBezTo>
                    <a:pt x="1455501" y="233423"/>
                    <a:pt x="1448432" y="244387"/>
                    <a:pt x="1439487" y="253620"/>
                  </a:cubicBezTo>
                  <a:cubicBezTo>
                    <a:pt x="1430543" y="262853"/>
                    <a:pt x="1419579" y="270066"/>
                    <a:pt x="1406739" y="275404"/>
                  </a:cubicBezTo>
                  <a:cubicBezTo>
                    <a:pt x="1393900" y="280598"/>
                    <a:pt x="1379617" y="283194"/>
                    <a:pt x="1363892" y="283194"/>
                  </a:cubicBezTo>
                  <a:moveTo>
                    <a:pt x="1363459" y="239049"/>
                  </a:moveTo>
                  <a:cubicBezTo>
                    <a:pt x="1377165" y="239049"/>
                    <a:pt x="1387552" y="233711"/>
                    <a:pt x="1394477" y="222891"/>
                  </a:cubicBezTo>
                  <a:cubicBezTo>
                    <a:pt x="1401546" y="212071"/>
                    <a:pt x="1405008" y="197789"/>
                    <a:pt x="1405008" y="180044"/>
                  </a:cubicBezTo>
                  <a:cubicBezTo>
                    <a:pt x="1405008" y="162299"/>
                    <a:pt x="1401546" y="147873"/>
                    <a:pt x="1394477" y="137053"/>
                  </a:cubicBezTo>
                  <a:cubicBezTo>
                    <a:pt x="1387552" y="126089"/>
                    <a:pt x="1377165" y="120606"/>
                    <a:pt x="1363459" y="120606"/>
                  </a:cubicBezTo>
                  <a:cubicBezTo>
                    <a:pt x="1349754" y="120606"/>
                    <a:pt x="1339511" y="126089"/>
                    <a:pt x="1332586" y="137053"/>
                  </a:cubicBezTo>
                  <a:cubicBezTo>
                    <a:pt x="1325806" y="148017"/>
                    <a:pt x="1322343" y="162299"/>
                    <a:pt x="1322343" y="180044"/>
                  </a:cubicBezTo>
                  <a:cubicBezTo>
                    <a:pt x="1322343" y="197789"/>
                    <a:pt x="1325806" y="212071"/>
                    <a:pt x="1332586" y="222891"/>
                  </a:cubicBezTo>
                  <a:cubicBezTo>
                    <a:pt x="1339511" y="233711"/>
                    <a:pt x="1349754" y="239049"/>
                    <a:pt x="1363459" y="239049"/>
                  </a:cubicBezTo>
                  <a:moveTo>
                    <a:pt x="1555910" y="282906"/>
                  </a:moveTo>
                  <a:cubicBezTo>
                    <a:pt x="1533260" y="282906"/>
                    <a:pt x="1516237" y="276270"/>
                    <a:pt x="1504696" y="262853"/>
                  </a:cubicBezTo>
                  <a:cubicBezTo>
                    <a:pt x="1493154" y="249580"/>
                    <a:pt x="1487384" y="231980"/>
                    <a:pt x="1487384" y="210051"/>
                  </a:cubicBezTo>
                  <a:lnTo>
                    <a:pt x="1487384" y="82087"/>
                  </a:lnTo>
                  <a:lnTo>
                    <a:pt x="1549130" y="82087"/>
                  </a:lnTo>
                  <a:lnTo>
                    <a:pt x="1549130" y="197212"/>
                  </a:lnTo>
                  <a:cubicBezTo>
                    <a:pt x="1549130" y="207887"/>
                    <a:pt x="1551582" y="216111"/>
                    <a:pt x="1556343" y="221737"/>
                  </a:cubicBezTo>
                  <a:cubicBezTo>
                    <a:pt x="1561104" y="227508"/>
                    <a:pt x="1568606" y="230249"/>
                    <a:pt x="1578416" y="230249"/>
                  </a:cubicBezTo>
                  <a:cubicBezTo>
                    <a:pt x="1589092" y="230249"/>
                    <a:pt x="1597459" y="226642"/>
                    <a:pt x="1603518" y="219429"/>
                  </a:cubicBezTo>
                  <a:cubicBezTo>
                    <a:pt x="1609577" y="212215"/>
                    <a:pt x="1612607" y="202694"/>
                    <a:pt x="1612607" y="191008"/>
                  </a:cubicBezTo>
                  <a:lnTo>
                    <a:pt x="1612607" y="82087"/>
                  </a:lnTo>
                  <a:lnTo>
                    <a:pt x="1674641" y="82087"/>
                  </a:lnTo>
                  <a:lnTo>
                    <a:pt x="1674641" y="277135"/>
                  </a:lnTo>
                  <a:lnTo>
                    <a:pt x="1615204" y="277135"/>
                  </a:lnTo>
                  <a:lnTo>
                    <a:pt x="1615204" y="253187"/>
                  </a:lnTo>
                  <a:lnTo>
                    <a:pt x="1614050" y="253187"/>
                  </a:lnTo>
                  <a:cubicBezTo>
                    <a:pt x="1606980" y="262853"/>
                    <a:pt x="1598902" y="270210"/>
                    <a:pt x="1589813" y="275260"/>
                  </a:cubicBezTo>
                  <a:cubicBezTo>
                    <a:pt x="1580868" y="280309"/>
                    <a:pt x="1569471" y="282906"/>
                    <a:pt x="1555766" y="282906"/>
                  </a:cubicBezTo>
                  <a:moveTo>
                    <a:pt x="1791208" y="283339"/>
                  </a:moveTo>
                  <a:cubicBezTo>
                    <a:pt x="1762499" y="283339"/>
                    <a:pt x="1739850" y="277135"/>
                    <a:pt x="1722971" y="264873"/>
                  </a:cubicBezTo>
                  <a:cubicBezTo>
                    <a:pt x="1706236" y="252610"/>
                    <a:pt x="1697291" y="235587"/>
                    <a:pt x="1696281" y="213947"/>
                  </a:cubicBezTo>
                  <a:lnTo>
                    <a:pt x="1754998" y="213947"/>
                  </a:lnTo>
                  <a:cubicBezTo>
                    <a:pt x="1756296" y="223612"/>
                    <a:pt x="1759903" y="230826"/>
                    <a:pt x="1766106" y="235731"/>
                  </a:cubicBezTo>
                  <a:cubicBezTo>
                    <a:pt x="1772165" y="240492"/>
                    <a:pt x="1780388" y="242944"/>
                    <a:pt x="1790920" y="242944"/>
                  </a:cubicBezTo>
                  <a:cubicBezTo>
                    <a:pt x="1800297" y="242944"/>
                    <a:pt x="1807799" y="241357"/>
                    <a:pt x="1813137" y="238039"/>
                  </a:cubicBezTo>
                  <a:cubicBezTo>
                    <a:pt x="1818619" y="234721"/>
                    <a:pt x="1821360" y="229960"/>
                    <a:pt x="1821360" y="223612"/>
                  </a:cubicBezTo>
                  <a:cubicBezTo>
                    <a:pt x="1821360" y="219284"/>
                    <a:pt x="1819917" y="215822"/>
                    <a:pt x="1817176" y="213081"/>
                  </a:cubicBezTo>
                  <a:cubicBezTo>
                    <a:pt x="1814435" y="210484"/>
                    <a:pt x="1810684" y="208320"/>
                    <a:pt x="1806068" y="206589"/>
                  </a:cubicBezTo>
                  <a:cubicBezTo>
                    <a:pt x="1801451" y="205002"/>
                    <a:pt x="1796258" y="203704"/>
                    <a:pt x="1790199" y="202838"/>
                  </a:cubicBezTo>
                  <a:cubicBezTo>
                    <a:pt x="1784284" y="201973"/>
                    <a:pt x="1778080" y="200818"/>
                    <a:pt x="1771732" y="199664"/>
                  </a:cubicBezTo>
                  <a:cubicBezTo>
                    <a:pt x="1763365" y="198077"/>
                    <a:pt x="1754998" y="196346"/>
                    <a:pt x="1746630" y="194182"/>
                  </a:cubicBezTo>
                  <a:cubicBezTo>
                    <a:pt x="1738263" y="192018"/>
                    <a:pt x="1730761" y="188844"/>
                    <a:pt x="1723980" y="184516"/>
                  </a:cubicBezTo>
                  <a:cubicBezTo>
                    <a:pt x="1717200" y="180188"/>
                    <a:pt x="1711862" y="174418"/>
                    <a:pt x="1707823" y="167204"/>
                  </a:cubicBezTo>
                  <a:cubicBezTo>
                    <a:pt x="1703783" y="159991"/>
                    <a:pt x="1701763" y="150614"/>
                    <a:pt x="1701763" y="139217"/>
                  </a:cubicBezTo>
                  <a:cubicBezTo>
                    <a:pt x="1701763" y="129118"/>
                    <a:pt x="1703927" y="120029"/>
                    <a:pt x="1708400" y="112095"/>
                  </a:cubicBezTo>
                  <a:cubicBezTo>
                    <a:pt x="1712872" y="104304"/>
                    <a:pt x="1718931" y="97668"/>
                    <a:pt x="1726577" y="92475"/>
                  </a:cubicBezTo>
                  <a:cubicBezTo>
                    <a:pt x="1734223" y="87281"/>
                    <a:pt x="1743168" y="83386"/>
                    <a:pt x="1753411" y="80645"/>
                  </a:cubicBezTo>
                  <a:cubicBezTo>
                    <a:pt x="1763653" y="78048"/>
                    <a:pt x="1774618" y="76605"/>
                    <a:pt x="1786015" y="76605"/>
                  </a:cubicBezTo>
                  <a:cubicBezTo>
                    <a:pt x="1813714" y="76605"/>
                    <a:pt x="1834921" y="82232"/>
                    <a:pt x="1849636" y="93340"/>
                  </a:cubicBezTo>
                  <a:cubicBezTo>
                    <a:pt x="1864351" y="104449"/>
                    <a:pt x="1872430" y="119741"/>
                    <a:pt x="1874017" y="139073"/>
                  </a:cubicBezTo>
                  <a:lnTo>
                    <a:pt x="1816888" y="139073"/>
                  </a:lnTo>
                  <a:cubicBezTo>
                    <a:pt x="1815589" y="130128"/>
                    <a:pt x="1812271" y="124213"/>
                    <a:pt x="1806789" y="121039"/>
                  </a:cubicBezTo>
                  <a:cubicBezTo>
                    <a:pt x="1801307" y="117865"/>
                    <a:pt x="1794238" y="116278"/>
                    <a:pt x="1785582" y="116278"/>
                  </a:cubicBezTo>
                  <a:cubicBezTo>
                    <a:pt x="1777936" y="116278"/>
                    <a:pt x="1771588" y="117721"/>
                    <a:pt x="1766395" y="120606"/>
                  </a:cubicBezTo>
                  <a:cubicBezTo>
                    <a:pt x="1761201" y="123492"/>
                    <a:pt x="1758604" y="127964"/>
                    <a:pt x="1758604" y="134167"/>
                  </a:cubicBezTo>
                  <a:cubicBezTo>
                    <a:pt x="1758604" y="137774"/>
                    <a:pt x="1759903" y="140515"/>
                    <a:pt x="1762355" y="142535"/>
                  </a:cubicBezTo>
                  <a:cubicBezTo>
                    <a:pt x="1764952" y="144555"/>
                    <a:pt x="1768270" y="146286"/>
                    <a:pt x="1772598" y="147728"/>
                  </a:cubicBezTo>
                  <a:cubicBezTo>
                    <a:pt x="1776926" y="149171"/>
                    <a:pt x="1781975" y="150325"/>
                    <a:pt x="1787602" y="151335"/>
                  </a:cubicBezTo>
                  <a:cubicBezTo>
                    <a:pt x="1793372" y="152345"/>
                    <a:pt x="1799287" y="153355"/>
                    <a:pt x="1805346" y="154365"/>
                  </a:cubicBezTo>
                  <a:cubicBezTo>
                    <a:pt x="1814002" y="155807"/>
                    <a:pt x="1822659" y="157683"/>
                    <a:pt x="1831459" y="159847"/>
                  </a:cubicBezTo>
                  <a:cubicBezTo>
                    <a:pt x="1840259" y="162011"/>
                    <a:pt x="1848193" y="165329"/>
                    <a:pt x="1855407" y="169945"/>
                  </a:cubicBezTo>
                  <a:cubicBezTo>
                    <a:pt x="1862620" y="174562"/>
                    <a:pt x="1868535" y="180621"/>
                    <a:pt x="1873152" y="188412"/>
                  </a:cubicBezTo>
                  <a:cubicBezTo>
                    <a:pt x="1877768" y="196202"/>
                    <a:pt x="1880076" y="206301"/>
                    <a:pt x="1880076" y="218707"/>
                  </a:cubicBezTo>
                  <a:cubicBezTo>
                    <a:pt x="1880076" y="229383"/>
                    <a:pt x="1877768" y="238760"/>
                    <a:pt x="1873440" y="246839"/>
                  </a:cubicBezTo>
                  <a:cubicBezTo>
                    <a:pt x="1868968" y="254918"/>
                    <a:pt x="1862764" y="261699"/>
                    <a:pt x="1854974" y="267037"/>
                  </a:cubicBezTo>
                  <a:cubicBezTo>
                    <a:pt x="1847039" y="272374"/>
                    <a:pt x="1837662" y="276414"/>
                    <a:pt x="1826842" y="279299"/>
                  </a:cubicBezTo>
                  <a:cubicBezTo>
                    <a:pt x="1815878" y="282040"/>
                    <a:pt x="1804048" y="283483"/>
                    <a:pt x="1791353" y="283483"/>
                  </a:cubicBezTo>
                  <a:moveTo>
                    <a:pt x="2001260" y="283050"/>
                  </a:moveTo>
                  <a:cubicBezTo>
                    <a:pt x="1985246" y="283050"/>
                    <a:pt x="1970820" y="280453"/>
                    <a:pt x="1957836" y="275260"/>
                  </a:cubicBezTo>
                  <a:cubicBezTo>
                    <a:pt x="1944852" y="270066"/>
                    <a:pt x="1934032" y="262853"/>
                    <a:pt x="1925087" y="253476"/>
                  </a:cubicBezTo>
                  <a:cubicBezTo>
                    <a:pt x="1916143" y="244243"/>
                    <a:pt x="1909362" y="233278"/>
                    <a:pt x="1904457" y="220583"/>
                  </a:cubicBezTo>
                  <a:cubicBezTo>
                    <a:pt x="1899697" y="207887"/>
                    <a:pt x="1897244" y="194182"/>
                    <a:pt x="1897244" y="179467"/>
                  </a:cubicBezTo>
                  <a:cubicBezTo>
                    <a:pt x="1897244" y="164752"/>
                    <a:pt x="1899697" y="151479"/>
                    <a:pt x="1904457" y="138928"/>
                  </a:cubicBezTo>
                  <a:cubicBezTo>
                    <a:pt x="1909218" y="126377"/>
                    <a:pt x="1916143" y="115413"/>
                    <a:pt x="1925087" y="106180"/>
                  </a:cubicBezTo>
                  <a:cubicBezTo>
                    <a:pt x="1934032" y="96947"/>
                    <a:pt x="1944563" y="89734"/>
                    <a:pt x="1956682" y="84540"/>
                  </a:cubicBezTo>
                  <a:cubicBezTo>
                    <a:pt x="1968944" y="79346"/>
                    <a:pt x="1982505" y="76750"/>
                    <a:pt x="1997509" y="76750"/>
                  </a:cubicBezTo>
                  <a:cubicBezTo>
                    <a:pt x="2011503" y="76750"/>
                    <a:pt x="2023910" y="78914"/>
                    <a:pt x="2035018" y="83242"/>
                  </a:cubicBezTo>
                  <a:cubicBezTo>
                    <a:pt x="2046127" y="87570"/>
                    <a:pt x="2055792" y="93484"/>
                    <a:pt x="2064160" y="101131"/>
                  </a:cubicBezTo>
                  <a:cubicBezTo>
                    <a:pt x="2075845" y="111806"/>
                    <a:pt x="2084501" y="125367"/>
                    <a:pt x="2090272" y="141669"/>
                  </a:cubicBezTo>
                  <a:cubicBezTo>
                    <a:pt x="2096043" y="158116"/>
                    <a:pt x="2098784" y="176149"/>
                    <a:pt x="2098495" y="195913"/>
                  </a:cubicBezTo>
                  <a:lnTo>
                    <a:pt x="1958269" y="195913"/>
                  </a:lnTo>
                  <a:cubicBezTo>
                    <a:pt x="1960288" y="209186"/>
                    <a:pt x="1964905" y="219573"/>
                    <a:pt x="1971974" y="227219"/>
                  </a:cubicBezTo>
                  <a:cubicBezTo>
                    <a:pt x="1979043" y="234865"/>
                    <a:pt x="1989142" y="238616"/>
                    <a:pt x="2002125" y="238616"/>
                  </a:cubicBezTo>
                  <a:cubicBezTo>
                    <a:pt x="2010204" y="238616"/>
                    <a:pt x="2016985" y="236885"/>
                    <a:pt x="2022323" y="233423"/>
                  </a:cubicBezTo>
                  <a:cubicBezTo>
                    <a:pt x="2027661" y="229960"/>
                    <a:pt x="2031700" y="225199"/>
                    <a:pt x="2034585" y="219140"/>
                  </a:cubicBezTo>
                  <a:lnTo>
                    <a:pt x="2095177" y="219140"/>
                  </a:lnTo>
                  <a:cubicBezTo>
                    <a:pt x="2093158" y="228085"/>
                    <a:pt x="2089406" y="236452"/>
                    <a:pt x="2083780" y="244531"/>
                  </a:cubicBezTo>
                  <a:cubicBezTo>
                    <a:pt x="2078154" y="252610"/>
                    <a:pt x="2071085" y="259390"/>
                    <a:pt x="2062429" y="265305"/>
                  </a:cubicBezTo>
                  <a:cubicBezTo>
                    <a:pt x="2054350" y="271220"/>
                    <a:pt x="2045261" y="275548"/>
                    <a:pt x="2035162" y="278578"/>
                  </a:cubicBezTo>
                  <a:cubicBezTo>
                    <a:pt x="2025064" y="281607"/>
                    <a:pt x="2013811" y="283194"/>
                    <a:pt x="2001404" y="283194"/>
                  </a:cubicBezTo>
                  <a:moveTo>
                    <a:pt x="2035739" y="158981"/>
                  </a:moveTo>
                  <a:cubicBezTo>
                    <a:pt x="2034441" y="147296"/>
                    <a:pt x="2030546" y="138063"/>
                    <a:pt x="2023910" y="131138"/>
                  </a:cubicBezTo>
                  <a:cubicBezTo>
                    <a:pt x="2017273" y="124357"/>
                    <a:pt x="2008906" y="120895"/>
                    <a:pt x="1998807" y="120895"/>
                  </a:cubicBezTo>
                  <a:cubicBezTo>
                    <a:pt x="1986833" y="120895"/>
                    <a:pt x="1977745" y="124357"/>
                    <a:pt x="1971397" y="131138"/>
                  </a:cubicBezTo>
                  <a:cubicBezTo>
                    <a:pt x="1965049" y="138063"/>
                    <a:pt x="1960865" y="147296"/>
                    <a:pt x="1958846" y="158981"/>
                  </a:cubicBezTo>
                  <a:lnTo>
                    <a:pt x="2035739" y="158981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420A9100-D517-D472-CEFD-D0D3A5BCF545}"/>
                </a:ext>
              </a:extLst>
            </p:cNvPr>
            <p:cNvSpPr/>
            <p:nvPr/>
          </p:nvSpPr>
          <p:spPr>
            <a:xfrm>
              <a:off x="883128" y="557212"/>
              <a:ext cx="273528" cy="675598"/>
            </a:xfrm>
            <a:custGeom>
              <a:avLst/>
              <a:gdLst>
                <a:gd name="connsiteX0" fmla="*/ 0 w 273528"/>
                <a:gd name="connsiteY0" fmla="*/ 0 h 675598"/>
                <a:gd name="connsiteX1" fmla="*/ 0 w 273528"/>
                <a:gd name="connsiteY1" fmla="*/ 476944 h 675598"/>
                <a:gd name="connsiteX2" fmla="*/ 272807 w 273528"/>
                <a:gd name="connsiteY2" fmla="*/ 675598 h 675598"/>
                <a:gd name="connsiteX3" fmla="*/ 273529 w 273528"/>
                <a:gd name="connsiteY3" fmla="*/ 674877 h 675598"/>
                <a:gd name="connsiteX4" fmla="*/ 0 w 273528"/>
                <a:gd name="connsiteY4" fmla="*/ 0 h 675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528" h="675598">
                  <a:moveTo>
                    <a:pt x="0" y="0"/>
                  </a:moveTo>
                  <a:lnTo>
                    <a:pt x="0" y="476944"/>
                  </a:lnTo>
                  <a:lnTo>
                    <a:pt x="272807" y="675598"/>
                  </a:lnTo>
                  <a:cubicBezTo>
                    <a:pt x="272807" y="675598"/>
                    <a:pt x="273384" y="675021"/>
                    <a:pt x="273529" y="67487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3D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AA4E6CE2-336C-0213-9FF5-26E16386C047}"/>
                </a:ext>
              </a:extLst>
            </p:cNvPr>
            <p:cNvSpPr/>
            <p:nvPr/>
          </p:nvSpPr>
          <p:spPr>
            <a:xfrm>
              <a:off x="609600" y="557212"/>
              <a:ext cx="273528" cy="675453"/>
            </a:xfrm>
            <a:custGeom>
              <a:avLst/>
              <a:gdLst>
                <a:gd name="connsiteX0" fmla="*/ 0 w 273528"/>
                <a:gd name="connsiteY0" fmla="*/ 674733 h 675453"/>
                <a:gd name="connsiteX1" fmla="*/ 721 w 273528"/>
                <a:gd name="connsiteY1" fmla="*/ 675454 h 675453"/>
                <a:gd name="connsiteX2" fmla="*/ 273529 w 273528"/>
                <a:gd name="connsiteY2" fmla="*/ 476799 h 675453"/>
                <a:gd name="connsiteX3" fmla="*/ 273529 w 273528"/>
                <a:gd name="connsiteY3" fmla="*/ 0 h 675453"/>
                <a:gd name="connsiteX4" fmla="*/ 0 w 273528"/>
                <a:gd name="connsiteY4" fmla="*/ 674733 h 675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528" h="675453">
                  <a:moveTo>
                    <a:pt x="0" y="674733"/>
                  </a:moveTo>
                  <a:cubicBezTo>
                    <a:pt x="0" y="674733"/>
                    <a:pt x="577" y="675310"/>
                    <a:pt x="721" y="675454"/>
                  </a:cubicBezTo>
                  <a:lnTo>
                    <a:pt x="273529" y="476799"/>
                  </a:lnTo>
                  <a:lnTo>
                    <a:pt x="273529" y="0"/>
                  </a:lnTo>
                  <a:lnTo>
                    <a:pt x="0" y="674733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8DC4B6A-4CBA-E0F1-E91D-A6319EE1FAC8}"/>
              </a:ext>
            </a:extLst>
          </p:cNvPr>
          <p:cNvCxnSpPr>
            <a:cxnSpLocks/>
          </p:cNvCxnSpPr>
          <p:nvPr/>
        </p:nvCxnSpPr>
        <p:spPr>
          <a:xfrm>
            <a:off x="609600" y="4594548"/>
            <a:ext cx="537667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CB1E87D-CF80-16E1-E2DA-D366BCB64A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048537"/>
            <a:ext cx="5376672" cy="2244461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ation title extends </a:t>
            </a:r>
            <a:br>
              <a:rPr lang="en-US"/>
            </a:br>
            <a:r>
              <a:rPr lang="en-US"/>
              <a:t>up to 3 line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2A9289B-23E0-657B-DF89-7F9B74F766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523079"/>
            <a:ext cx="2468880" cy="223908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400" b="1" cap="all" spc="300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err="1"/>
              <a:t>DatE</a:t>
            </a:r>
            <a:endParaRPr lang="en-US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63BBE4A5-01FB-BD6C-513D-9B06278F44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6090476"/>
            <a:ext cx="1834388" cy="210312"/>
          </a:xfrm>
          <a:prstGeom prst="rect">
            <a:avLst/>
          </a:prstGeom>
        </p:spPr>
      </p:pic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106BDF57-DECC-8B8C-6F4A-719D8D26FC2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645285" y="0"/>
            <a:ext cx="5546715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 b="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8" name="Text Placeholder 33">
            <a:extLst>
              <a:ext uri="{FF2B5EF4-FFF2-40B4-BE49-F238E27FC236}">
                <a16:creationId xmlns:a16="http://schemas.microsoft.com/office/drawing/2014/main" id="{805160F1-65BE-F6D3-F761-0B231F0F9C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4896099"/>
            <a:ext cx="5387082" cy="307777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300"/>
              </a:spcAft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9" name="Text Placeholder 33">
            <a:extLst>
              <a:ext uri="{FF2B5EF4-FFF2-40B4-BE49-F238E27FC236}">
                <a16:creationId xmlns:a16="http://schemas.microsoft.com/office/drawing/2014/main" id="{7B7818B6-ABA3-F1C8-1165-F681F91DF0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0348" y="5236388"/>
            <a:ext cx="5387082" cy="276999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</p:spTree>
    <p:extLst>
      <p:ext uri="{BB962C8B-B14F-4D97-AF65-F5344CB8AC3E}">
        <p14:creationId xmlns:p14="http://schemas.microsoft.com/office/powerpoint/2010/main" val="17103254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1 -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aphic 11">
            <a:extLst>
              <a:ext uri="{FF2B5EF4-FFF2-40B4-BE49-F238E27FC236}">
                <a16:creationId xmlns:a16="http://schemas.microsoft.com/office/drawing/2014/main" id="{248DABC0-B10B-ADFA-8C8B-A0111C99B2DE}"/>
              </a:ext>
            </a:extLst>
          </p:cNvPr>
          <p:cNvGrpSpPr/>
          <p:nvPr userDrawn="1"/>
        </p:nvGrpSpPr>
        <p:grpSpPr>
          <a:xfrm>
            <a:off x="714011" y="455159"/>
            <a:ext cx="2071862" cy="524230"/>
            <a:chOff x="609600" y="1268899"/>
            <a:chExt cx="2071862" cy="524230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B3C4B9F6-530D-7134-4B8B-AC949109E499}"/>
                </a:ext>
              </a:extLst>
            </p:cNvPr>
            <p:cNvSpPr/>
            <p:nvPr/>
          </p:nvSpPr>
          <p:spPr>
            <a:xfrm>
              <a:off x="1053119" y="1450023"/>
              <a:ext cx="1628343" cy="220192"/>
            </a:xfrm>
            <a:custGeom>
              <a:avLst/>
              <a:gdLst>
                <a:gd name="connsiteX0" fmla="*/ 100525 w 1628343"/>
                <a:gd name="connsiteY0" fmla="*/ 220192 h 220192"/>
                <a:gd name="connsiteX1" fmla="*/ 59778 w 1628343"/>
                <a:gd name="connsiteY1" fmla="*/ 212468 h 220192"/>
                <a:gd name="connsiteX2" fmla="*/ 28434 w 1628343"/>
                <a:gd name="connsiteY2" fmla="*/ 190639 h 220192"/>
                <a:gd name="connsiteX3" fmla="*/ 7276 w 1628343"/>
                <a:gd name="connsiteY3" fmla="*/ 155153 h 220192"/>
                <a:gd name="connsiteX4" fmla="*/ 0 w 1628343"/>
                <a:gd name="connsiteY4" fmla="*/ 110488 h 220192"/>
                <a:gd name="connsiteX5" fmla="*/ 8172 w 1628343"/>
                <a:gd name="connsiteY5" fmla="*/ 64255 h 220192"/>
                <a:gd name="connsiteX6" fmla="*/ 31344 w 1628343"/>
                <a:gd name="connsiteY6" fmla="*/ 28098 h 220192"/>
                <a:gd name="connsiteX7" fmla="*/ 62688 w 1628343"/>
                <a:gd name="connsiteY7" fmla="*/ 7388 h 220192"/>
                <a:gd name="connsiteX8" fmla="*/ 103771 w 1628343"/>
                <a:gd name="connsiteY8" fmla="*/ 0 h 220192"/>
                <a:gd name="connsiteX9" fmla="*/ 140377 w 1628343"/>
                <a:gd name="connsiteY9" fmla="*/ 5149 h 220192"/>
                <a:gd name="connsiteX10" fmla="*/ 168475 w 1628343"/>
                <a:gd name="connsiteY10" fmla="*/ 19926 h 220192"/>
                <a:gd name="connsiteX11" fmla="*/ 187505 w 1628343"/>
                <a:gd name="connsiteY11" fmla="*/ 43098 h 220192"/>
                <a:gd name="connsiteX12" fmla="*/ 197356 w 1628343"/>
                <a:gd name="connsiteY12" fmla="*/ 73211 h 220192"/>
                <a:gd name="connsiteX13" fmla="*/ 146534 w 1628343"/>
                <a:gd name="connsiteY13" fmla="*/ 73211 h 220192"/>
                <a:gd name="connsiteX14" fmla="*/ 133213 w 1628343"/>
                <a:gd name="connsiteY14" fmla="*/ 51606 h 220192"/>
                <a:gd name="connsiteX15" fmla="*/ 105451 w 1628343"/>
                <a:gd name="connsiteY15" fmla="*/ 42986 h 220192"/>
                <a:gd name="connsiteX16" fmla="*/ 82502 w 1628343"/>
                <a:gd name="connsiteY16" fmla="*/ 48136 h 220192"/>
                <a:gd name="connsiteX17" fmla="*/ 66047 w 1628343"/>
                <a:gd name="connsiteY17" fmla="*/ 62352 h 220192"/>
                <a:gd name="connsiteX18" fmla="*/ 56308 w 1628343"/>
                <a:gd name="connsiteY18" fmla="*/ 83622 h 220192"/>
                <a:gd name="connsiteX19" fmla="*/ 53061 w 1628343"/>
                <a:gd name="connsiteY19" fmla="*/ 110376 h 220192"/>
                <a:gd name="connsiteX20" fmla="*/ 56755 w 1628343"/>
                <a:gd name="connsiteY20" fmla="*/ 137242 h 220192"/>
                <a:gd name="connsiteX21" fmla="*/ 67278 w 1628343"/>
                <a:gd name="connsiteY21" fmla="*/ 158624 h 220192"/>
                <a:gd name="connsiteX22" fmla="*/ 83957 w 1628343"/>
                <a:gd name="connsiteY22" fmla="*/ 172616 h 220192"/>
                <a:gd name="connsiteX23" fmla="*/ 106234 w 1628343"/>
                <a:gd name="connsiteY23" fmla="*/ 177654 h 220192"/>
                <a:gd name="connsiteX24" fmla="*/ 124705 w 1628343"/>
                <a:gd name="connsiteY24" fmla="*/ 174519 h 220192"/>
                <a:gd name="connsiteX25" fmla="*/ 138586 w 1628343"/>
                <a:gd name="connsiteY25" fmla="*/ 166236 h 220192"/>
                <a:gd name="connsiteX26" fmla="*/ 147765 w 1628343"/>
                <a:gd name="connsiteY26" fmla="*/ 154370 h 220192"/>
                <a:gd name="connsiteX27" fmla="*/ 152019 w 1628343"/>
                <a:gd name="connsiteY27" fmla="*/ 140601 h 220192"/>
                <a:gd name="connsiteX28" fmla="*/ 152019 w 1628343"/>
                <a:gd name="connsiteY28" fmla="*/ 140041 h 220192"/>
                <a:gd name="connsiteX29" fmla="*/ 112391 w 1628343"/>
                <a:gd name="connsiteY29" fmla="*/ 140041 h 220192"/>
                <a:gd name="connsiteX30" fmla="*/ 112391 w 1628343"/>
                <a:gd name="connsiteY30" fmla="*/ 101644 h 220192"/>
                <a:gd name="connsiteX31" fmla="*/ 200490 w 1628343"/>
                <a:gd name="connsiteY31" fmla="*/ 101644 h 220192"/>
                <a:gd name="connsiteX32" fmla="*/ 200490 w 1628343"/>
                <a:gd name="connsiteY32" fmla="*/ 215155 h 220192"/>
                <a:gd name="connsiteX33" fmla="*/ 163885 w 1628343"/>
                <a:gd name="connsiteY33" fmla="*/ 215155 h 220192"/>
                <a:gd name="connsiteX34" fmla="*/ 160974 w 1628343"/>
                <a:gd name="connsiteY34" fmla="*/ 189744 h 220192"/>
                <a:gd name="connsiteX35" fmla="*/ 160415 w 1628343"/>
                <a:gd name="connsiteY35" fmla="*/ 189744 h 220192"/>
                <a:gd name="connsiteX36" fmla="*/ 134892 w 1628343"/>
                <a:gd name="connsiteY36" fmla="*/ 212916 h 220192"/>
                <a:gd name="connsiteX37" fmla="*/ 100413 w 1628343"/>
                <a:gd name="connsiteY37" fmla="*/ 219856 h 220192"/>
                <a:gd name="connsiteX38" fmla="*/ 278067 w 1628343"/>
                <a:gd name="connsiteY38" fmla="*/ 219521 h 220192"/>
                <a:gd name="connsiteX39" fmla="*/ 238327 w 1628343"/>
                <a:gd name="connsiteY39" fmla="*/ 203961 h 220192"/>
                <a:gd name="connsiteX40" fmla="*/ 224894 w 1628343"/>
                <a:gd name="connsiteY40" fmla="*/ 162989 h 220192"/>
                <a:gd name="connsiteX41" fmla="*/ 224894 w 1628343"/>
                <a:gd name="connsiteY41" fmla="*/ 63696 h 220192"/>
                <a:gd name="connsiteX42" fmla="*/ 272806 w 1628343"/>
                <a:gd name="connsiteY42" fmla="*/ 63696 h 220192"/>
                <a:gd name="connsiteX43" fmla="*/ 272806 w 1628343"/>
                <a:gd name="connsiteY43" fmla="*/ 153026 h 220192"/>
                <a:gd name="connsiteX44" fmla="*/ 278403 w 1628343"/>
                <a:gd name="connsiteY44" fmla="*/ 172057 h 220192"/>
                <a:gd name="connsiteX45" fmla="*/ 295530 w 1628343"/>
                <a:gd name="connsiteY45" fmla="*/ 178661 h 220192"/>
                <a:gd name="connsiteX46" fmla="*/ 315008 w 1628343"/>
                <a:gd name="connsiteY46" fmla="*/ 170266 h 220192"/>
                <a:gd name="connsiteX47" fmla="*/ 322061 w 1628343"/>
                <a:gd name="connsiteY47" fmla="*/ 148213 h 220192"/>
                <a:gd name="connsiteX48" fmla="*/ 322061 w 1628343"/>
                <a:gd name="connsiteY48" fmla="*/ 63696 h 220192"/>
                <a:gd name="connsiteX49" fmla="*/ 370197 w 1628343"/>
                <a:gd name="connsiteY49" fmla="*/ 63696 h 220192"/>
                <a:gd name="connsiteX50" fmla="*/ 370197 w 1628343"/>
                <a:gd name="connsiteY50" fmla="*/ 215043 h 220192"/>
                <a:gd name="connsiteX51" fmla="*/ 324076 w 1628343"/>
                <a:gd name="connsiteY51" fmla="*/ 215043 h 220192"/>
                <a:gd name="connsiteX52" fmla="*/ 324076 w 1628343"/>
                <a:gd name="connsiteY52" fmla="*/ 196460 h 220192"/>
                <a:gd name="connsiteX53" fmla="*/ 323180 w 1628343"/>
                <a:gd name="connsiteY53" fmla="*/ 196460 h 220192"/>
                <a:gd name="connsiteX54" fmla="*/ 304374 w 1628343"/>
                <a:gd name="connsiteY54" fmla="*/ 213588 h 220192"/>
                <a:gd name="connsiteX55" fmla="*/ 277955 w 1628343"/>
                <a:gd name="connsiteY55" fmla="*/ 219521 h 220192"/>
                <a:gd name="connsiteX56" fmla="*/ 397623 w 1628343"/>
                <a:gd name="connsiteY56" fmla="*/ 1679 h 220192"/>
                <a:gd name="connsiteX57" fmla="*/ 445758 w 1628343"/>
                <a:gd name="connsiteY57" fmla="*/ 1679 h 220192"/>
                <a:gd name="connsiteX58" fmla="*/ 445758 w 1628343"/>
                <a:gd name="connsiteY58" fmla="*/ 42762 h 220192"/>
                <a:gd name="connsiteX59" fmla="*/ 397623 w 1628343"/>
                <a:gd name="connsiteY59" fmla="*/ 42762 h 220192"/>
                <a:gd name="connsiteX60" fmla="*/ 397623 w 1628343"/>
                <a:gd name="connsiteY60" fmla="*/ 1679 h 220192"/>
                <a:gd name="connsiteX61" fmla="*/ 397623 w 1628343"/>
                <a:gd name="connsiteY61" fmla="*/ 63696 h 220192"/>
                <a:gd name="connsiteX62" fmla="*/ 445758 w 1628343"/>
                <a:gd name="connsiteY62" fmla="*/ 63696 h 220192"/>
                <a:gd name="connsiteX63" fmla="*/ 445758 w 1628343"/>
                <a:gd name="connsiteY63" fmla="*/ 215043 h 220192"/>
                <a:gd name="connsiteX64" fmla="*/ 397623 w 1628343"/>
                <a:gd name="connsiteY64" fmla="*/ 215043 h 220192"/>
                <a:gd name="connsiteX65" fmla="*/ 397623 w 1628343"/>
                <a:gd name="connsiteY65" fmla="*/ 63696 h 220192"/>
                <a:gd name="connsiteX66" fmla="*/ 532738 w 1628343"/>
                <a:gd name="connsiteY66" fmla="*/ 219745 h 220192"/>
                <a:gd name="connsiteX67" fmla="*/ 506096 w 1628343"/>
                <a:gd name="connsiteY67" fmla="*/ 214259 h 220192"/>
                <a:gd name="connsiteX68" fmla="*/ 485162 w 1628343"/>
                <a:gd name="connsiteY68" fmla="*/ 198475 h 220192"/>
                <a:gd name="connsiteX69" fmla="*/ 471393 w 1628343"/>
                <a:gd name="connsiteY69" fmla="*/ 173176 h 220192"/>
                <a:gd name="connsiteX70" fmla="*/ 466468 w 1628343"/>
                <a:gd name="connsiteY70" fmla="*/ 139369 h 220192"/>
                <a:gd name="connsiteX71" fmla="*/ 471393 w 1628343"/>
                <a:gd name="connsiteY71" fmla="*/ 106794 h 220192"/>
                <a:gd name="connsiteX72" fmla="*/ 484938 w 1628343"/>
                <a:gd name="connsiteY72" fmla="*/ 81495 h 220192"/>
                <a:gd name="connsiteX73" fmla="*/ 505760 w 1628343"/>
                <a:gd name="connsiteY73" fmla="*/ 65039 h 220192"/>
                <a:gd name="connsiteX74" fmla="*/ 532626 w 1628343"/>
                <a:gd name="connsiteY74" fmla="*/ 59106 h 220192"/>
                <a:gd name="connsiteX75" fmla="*/ 558373 w 1628343"/>
                <a:gd name="connsiteY75" fmla="*/ 65151 h 220192"/>
                <a:gd name="connsiteX76" fmla="*/ 574941 w 1628343"/>
                <a:gd name="connsiteY76" fmla="*/ 80711 h 220192"/>
                <a:gd name="connsiteX77" fmla="*/ 575836 w 1628343"/>
                <a:gd name="connsiteY77" fmla="*/ 80711 h 220192"/>
                <a:gd name="connsiteX78" fmla="*/ 575836 w 1628343"/>
                <a:gd name="connsiteY78" fmla="*/ 1455 h 220192"/>
                <a:gd name="connsiteX79" fmla="*/ 623972 w 1628343"/>
                <a:gd name="connsiteY79" fmla="*/ 1455 h 220192"/>
                <a:gd name="connsiteX80" fmla="*/ 623972 w 1628343"/>
                <a:gd name="connsiteY80" fmla="*/ 214931 h 220192"/>
                <a:gd name="connsiteX81" fmla="*/ 577851 w 1628343"/>
                <a:gd name="connsiteY81" fmla="*/ 214931 h 220192"/>
                <a:gd name="connsiteX82" fmla="*/ 577851 w 1628343"/>
                <a:gd name="connsiteY82" fmla="*/ 194557 h 220192"/>
                <a:gd name="connsiteX83" fmla="*/ 577292 w 1628343"/>
                <a:gd name="connsiteY83" fmla="*/ 194557 h 220192"/>
                <a:gd name="connsiteX84" fmla="*/ 559157 w 1628343"/>
                <a:gd name="connsiteY84" fmla="*/ 213028 h 220192"/>
                <a:gd name="connsiteX85" fmla="*/ 532738 w 1628343"/>
                <a:gd name="connsiteY85" fmla="*/ 219633 h 220192"/>
                <a:gd name="connsiteX86" fmla="*/ 545164 w 1628343"/>
                <a:gd name="connsiteY86" fmla="*/ 181460 h 220192"/>
                <a:gd name="connsiteX87" fmla="*/ 568672 w 1628343"/>
                <a:gd name="connsiteY87" fmla="*/ 169594 h 220192"/>
                <a:gd name="connsiteX88" fmla="*/ 577068 w 1628343"/>
                <a:gd name="connsiteY88" fmla="*/ 139145 h 220192"/>
                <a:gd name="connsiteX89" fmla="*/ 575165 w 1628343"/>
                <a:gd name="connsiteY89" fmla="*/ 121570 h 220192"/>
                <a:gd name="connsiteX90" fmla="*/ 569232 w 1628343"/>
                <a:gd name="connsiteY90" fmla="*/ 107689 h 220192"/>
                <a:gd name="connsiteX91" fmla="*/ 559493 w 1628343"/>
                <a:gd name="connsiteY91" fmla="*/ 98622 h 220192"/>
                <a:gd name="connsiteX92" fmla="*/ 545724 w 1628343"/>
                <a:gd name="connsiteY92" fmla="*/ 95376 h 220192"/>
                <a:gd name="connsiteX93" fmla="*/ 523223 w 1628343"/>
                <a:gd name="connsiteY93" fmla="*/ 107354 h 220192"/>
                <a:gd name="connsiteX94" fmla="*/ 515275 w 1628343"/>
                <a:gd name="connsiteY94" fmla="*/ 138586 h 220192"/>
                <a:gd name="connsiteX95" fmla="*/ 523111 w 1628343"/>
                <a:gd name="connsiteY95" fmla="*/ 169930 h 220192"/>
                <a:gd name="connsiteX96" fmla="*/ 545164 w 1628343"/>
                <a:gd name="connsiteY96" fmla="*/ 181460 h 220192"/>
                <a:gd name="connsiteX97" fmla="*/ 722482 w 1628343"/>
                <a:gd name="connsiteY97" fmla="*/ 219297 h 220192"/>
                <a:gd name="connsiteX98" fmla="*/ 688787 w 1628343"/>
                <a:gd name="connsiteY98" fmla="*/ 213252 h 220192"/>
                <a:gd name="connsiteX99" fmla="*/ 663376 w 1628343"/>
                <a:gd name="connsiteY99" fmla="*/ 196348 h 220192"/>
                <a:gd name="connsiteX100" fmla="*/ 647368 w 1628343"/>
                <a:gd name="connsiteY100" fmla="*/ 170825 h 220192"/>
                <a:gd name="connsiteX101" fmla="*/ 641771 w 1628343"/>
                <a:gd name="connsiteY101" fmla="*/ 138922 h 220192"/>
                <a:gd name="connsiteX102" fmla="*/ 647368 w 1628343"/>
                <a:gd name="connsiteY102" fmla="*/ 107465 h 220192"/>
                <a:gd name="connsiteX103" fmla="*/ 663376 w 1628343"/>
                <a:gd name="connsiteY103" fmla="*/ 82054 h 220192"/>
                <a:gd name="connsiteX104" fmla="*/ 687892 w 1628343"/>
                <a:gd name="connsiteY104" fmla="*/ 65263 h 220192"/>
                <a:gd name="connsiteX105" fmla="*/ 719572 w 1628343"/>
                <a:gd name="connsiteY105" fmla="*/ 59218 h 220192"/>
                <a:gd name="connsiteX106" fmla="*/ 748677 w 1628343"/>
                <a:gd name="connsiteY106" fmla="*/ 64255 h 220192"/>
                <a:gd name="connsiteX107" fmla="*/ 771289 w 1628343"/>
                <a:gd name="connsiteY107" fmla="*/ 78136 h 220192"/>
                <a:gd name="connsiteX108" fmla="*/ 791551 w 1628343"/>
                <a:gd name="connsiteY108" fmla="*/ 109592 h 220192"/>
                <a:gd name="connsiteX109" fmla="*/ 797932 w 1628343"/>
                <a:gd name="connsiteY109" fmla="*/ 151683 h 220192"/>
                <a:gd name="connsiteX110" fmla="*/ 689123 w 1628343"/>
                <a:gd name="connsiteY110" fmla="*/ 151683 h 220192"/>
                <a:gd name="connsiteX111" fmla="*/ 699758 w 1628343"/>
                <a:gd name="connsiteY111" fmla="*/ 175975 h 220192"/>
                <a:gd name="connsiteX112" fmla="*/ 723154 w 1628343"/>
                <a:gd name="connsiteY112" fmla="*/ 184818 h 220192"/>
                <a:gd name="connsiteX113" fmla="*/ 738826 w 1628343"/>
                <a:gd name="connsiteY113" fmla="*/ 180788 h 220192"/>
                <a:gd name="connsiteX114" fmla="*/ 748229 w 1628343"/>
                <a:gd name="connsiteY114" fmla="*/ 169706 h 220192"/>
                <a:gd name="connsiteX115" fmla="*/ 795245 w 1628343"/>
                <a:gd name="connsiteY115" fmla="*/ 169706 h 220192"/>
                <a:gd name="connsiteX116" fmla="*/ 786402 w 1628343"/>
                <a:gd name="connsiteY116" fmla="*/ 189408 h 220192"/>
                <a:gd name="connsiteX117" fmla="*/ 769834 w 1628343"/>
                <a:gd name="connsiteY117" fmla="*/ 205528 h 220192"/>
                <a:gd name="connsiteX118" fmla="*/ 748677 w 1628343"/>
                <a:gd name="connsiteY118" fmla="*/ 215827 h 220192"/>
                <a:gd name="connsiteX119" fmla="*/ 722482 w 1628343"/>
                <a:gd name="connsiteY119" fmla="*/ 219409 h 220192"/>
                <a:gd name="connsiteX120" fmla="*/ 749125 w 1628343"/>
                <a:gd name="connsiteY120" fmla="*/ 123026 h 220192"/>
                <a:gd name="connsiteX121" fmla="*/ 739945 w 1628343"/>
                <a:gd name="connsiteY121" fmla="*/ 101421 h 220192"/>
                <a:gd name="connsiteX122" fmla="*/ 720467 w 1628343"/>
                <a:gd name="connsiteY122" fmla="*/ 93473 h 220192"/>
                <a:gd name="connsiteX123" fmla="*/ 699198 w 1628343"/>
                <a:gd name="connsiteY123" fmla="*/ 101421 h 220192"/>
                <a:gd name="connsiteX124" fmla="*/ 689459 w 1628343"/>
                <a:gd name="connsiteY124" fmla="*/ 123026 h 220192"/>
                <a:gd name="connsiteX125" fmla="*/ 749125 w 1628343"/>
                <a:gd name="connsiteY125" fmla="*/ 123026 h 220192"/>
                <a:gd name="connsiteX126" fmla="*/ 815619 w 1628343"/>
                <a:gd name="connsiteY126" fmla="*/ 1567 h 220192"/>
                <a:gd name="connsiteX127" fmla="*/ 863755 w 1628343"/>
                <a:gd name="connsiteY127" fmla="*/ 1567 h 220192"/>
                <a:gd name="connsiteX128" fmla="*/ 863755 w 1628343"/>
                <a:gd name="connsiteY128" fmla="*/ 82278 h 220192"/>
                <a:gd name="connsiteX129" fmla="*/ 864650 w 1628343"/>
                <a:gd name="connsiteY129" fmla="*/ 82278 h 220192"/>
                <a:gd name="connsiteX130" fmla="*/ 883233 w 1628343"/>
                <a:gd name="connsiteY130" fmla="*/ 65263 h 220192"/>
                <a:gd name="connsiteX131" fmla="*/ 909539 w 1628343"/>
                <a:gd name="connsiteY131" fmla="*/ 59218 h 220192"/>
                <a:gd name="connsiteX132" fmla="*/ 931704 w 1628343"/>
                <a:gd name="connsiteY132" fmla="*/ 63472 h 220192"/>
                <a:gd name="connsiteX133" fmla="*/ 948272 w 1628343"/>
                <a:gd name="connsiteY133" fmla="*/ 75338 h 220192"/>
                <a:gd name="connsiteX134" fmla="*/ 958682 w 1628343"/>
                <a:gd name="connsiteY134" fmla="*/ 93361 h 220192"/>
                <a:gd name="connsiteX135" fmla="*/ 962265 w 1628343"/>
                <a:gd name="connsiteY135" fmla="*/ 116533 h 220192"/>
                <a:gd name="connsiteX136" fmla="*/ 962265 w 1628343"/>
                <a:gd name="connsiteY136" fmla="*/ 214931 h 220192"/>
                <a:gd name="connsiteX137" fmla="*/ 914129 w 1628343"/>
                <a:gd name="connsiteY137" fmla="*/ 214931 h 220192"/>
                <a:gd name="connsiteX138" fmla="*/ 914129 w 1628343"/>
                <a:gd name="connsiteY138" fmla="*/ 126272 h 220192"/>
                <a:gd name="connsiteX139" fmla="*/ 908196 w 1628343"/>
                <a:gd name="connsiteY139" fmla="*/ 106794 h 220192"/>
                <a:gd name="connsiteX140" fmla="*/ 890509 w 1628343"/>
                <a:gd name="connsiteY140" fmla="*/ 99406 h 220192"/>
                <a:gd name="connsiteX141" fmla="*/ 871143 w 1628343"/>
                <a:gd name="connsiteY141" fmla="*/ 108249 h 220192"/>
                <a:gd name="connsiteX142" fmla="*/ 863866 w 1628343"/>
                <a:gd name="connsiteY142" fmla="*/ 131309 h 220192"/>
                <a:gd name="connsiteX143" fmla="*/ 863866 w 1628343"/>
                <a:gd name="connsiteY143" fmla="*/ 214931 h 220192"/>
                <a:gd name="connsiteX144" fmla="*/ 815731 w 1628343"/>
                <a:gd name="connsiteY144" fmla="*/ 214931 h 220192"/>
                <a:gd name="connsiteX145" fmla="*/ 815731 w 1628343"/>
                <a:gd name="connsiteY145" fmla="*/ 1455 h 220192"/>
                <a:gd name="connsiteX146" fmla="*/ 1058312 w 1628343"/>
                <a:gd name="connsiteY146" fmla="*/ 219745 h 220192"/>
                <a:gd name="connsiteX147" fmla="*/ 1025065 w 1628343"/>
                <a:gd name="connsiteY147" fmla="*/ 213700 h 220192"/>
                <a:gd name="connsiteX148" fmla="*/ 999430 w 1628343"/>
                <a:gd name="connsiteY148" fmla="*/ 196796 h 220192"/>
                <a:gd name="connsiteX149" fmla="*/ 983086 w 1628343"/>
                <a:gd name="connsiteY149" fmla="*/ 171385 h 220192"/>
                <a:gd name="connsiteX150" fmla="*/ 977265 w 1628343"/>
                <a:gd name="connsiteY150" fmla="*/ 139593 h 220192"/>
                <a:gd name="connsiteX151" fmla="*/ 983086 w 1628343"/>
                <a:gd name="connsiteY151" fmla="*/ 107801 h 220192"/>
                <a:gd name="connsiteX152" fmla="*/ 999430 w 1628343"/>
                <a:gd name="connsiteY152" fmla="*/ 82390 h 220192"/>
                <a:gd name="connsiteX153" fmla="*/ 1025065 w 1628343"/>
                <a:gd name="connsiteY153" fmla="*/ 65599 h 220192"/>
                <a:gd name="connsiteX154" fmla="*/ 1058312 w 1628343"/>
                <a:gd name="connsiteY154" fmla="*/ 59554 h 220192"/>
                <a:gd name="connsiteX155" fmla="*/ 1091559 w 1628343"/>
                <a:gd name="connsiteY155" fmla="*/ 65599 h 220192"/>
                <a:gd name="connsiteX156" fmla="*/ 1116970 w 1628343"/>
                <a:gd name="connsiteY156" fmla="*/ 82390 h 220192"/>
                <a:gd name="connsiteX157" fmla="*/ 1133202 w 1628343"/>
                <a:gd name="connsiteY157" fmla="*/ 107801 h 220192"/>
                <a:gd name="connsiteX158" fmla="*/ 1138911 w 1628343"/>
                <a:gd name="connsiteY158" fmla="*/ 139593 h 220192"/>
                <a:gd name="connsiteX159" fmla="*/ 1133202 w 1628343"/>
                <a:gd name="connsiteY159" fmla="*/ 171385 h 220192"/>
                <a:gd name="connsiteX160" fmla="*/ 1116970 w 1628343"/>
                <a:gd name="connsiteY160" fmla="*/ 196796 h 220192"/>
                <a:gd name="connsiteX161" fmla="*/ 1091559 w 1628343"/>
                <a:gd name="connsiteY161" fmla="*/ 213700 h 220192"/>
                <a:gd name="connsiteX162" fmla="*/ 1058312 w 1628343"/>
                <a:gd name="connsiteY162" fmla="*/ 219745 h 220192"/>
                <a:gd name="connsiteX163" fmla="*/ 1057976 w 1628343"/>
                <a:gd name="connsiteY163" fmla="*/ 185490 h 220192"/>
                <a:gd name="connsiteX164" fmla="*/ 1082044 w 1628343"/>
                <a:gd name="connsiteY164" fmla="*/ 172952 h 220192"/>
                <a:gd name="connsiteX165" fmla="*/ 1090216 w 1628343"/>
                <a:gd name="connsiteY165" fmla="*/ 139705 h 220192"/>
                <a:gd name="connsiteX166" fmla="*/ 1082044 w 1628343"/>
                <a:gd name="connsiteY166" fmla="*/ 106346 h 220192"/>
                <a:gd name="connsiteX167" fmla="*/ 1057976 w 1628343"/>
                <a:gd name="connsiteY167" fmla="*/ 93585 h 220192"/>
                <a:gd name="connsiteX168" fmla="*/ 1034020 w 1628343"/>
                <a:gd name="connsiteY168" fmla="*/ 106346 h 220192"/>
                <a:gd name="connsiteX169" fmla="*/ 1026072 w 1628343"/>
                <a:gd name="connsiteY169" fmla="*/ 139705 h 220192"/>
                <a:gd name="connsiteX170" fmla="*/ 1034020 w 1628343"/>
                <a:gd name="connsiteY170" fmla="*/ 172952 h 220192"/>
                <a:gd name="connsiteX171" fmla="*/ 1057976 w 1628343"/>
                <a:gd name="connsiteY171" fmla="*/ 185490 h 220192"/>
                <a:gd name="connsiteX172" fmla="*/ 1207309 w 1628343"/>
                <a:gd name="connsiteY172" fmla="*/ 219521 h 220192"/>
                <a:gd name="connsiteX173" fmla="*/ 1167569 w 1628343"/>
                <a:gd name="connsiteY173" fmla="*/ 203961 h 220192"/>
                <a:gd name="connsiteX174" fmla="*/ 1154136 w 1628343"/>
                <a:gd name="connsiteY174" fmla="*/ 162989 h 220192"/>
                <a:gd name="connsiteX175" fmla="*/ 1154136 w 1628343"/>
                <a:gd name="connsiteY175" fmla="*/ 63696 h 220192"/>
                <a:gd name="connsiteX176" fmla="*/ 1202047 w 1628343"/>
                <a:gd name="connsiteY176" fmla="*/ 63696 h 220192"/>
                <a:gd name="connsiteX177" fmla="*/ 1202047 w 1628343"/>
                <a:gd name="connsiteY177" fmla="*/ 153026 h 220192"/>
                <a:gd name="connsiteX178" fmla="*/ 1207644 w 1628343"/>
                <a:gd name="connsiteY178" fmla="*/ 172057 h 220192"/>
                <a:gd name="connsiteX179" fmla="*/ 1224772 w 1628343"/>
                <a:gd name="connsiteY179" fmla="*/ 178661 h 220192"/>
                <a:gd name="connsiteX180" fmla="*/ 1244250 w 1628343"/>
                <a:gd name="connsiteY180" fmla="*/ 170266 h 220192"/>
                <a:gd name="connsiteX181" fmla="*/ 1251302 w 1628343"/>
                <a:gd name="connsiteY181" fmla="*/ 148213 h 220192"/>
                <a:gd name="connsiteX182" fmla="*/ 1251302 w 1628343"/>
                <a:gd name="connsiteY182" fmla="*/ 63696 h 220192"/>
                <a:gd name="connsiteX183" fmla="*/ 1299438 w 1628343"/>
                <a:gd name="connsiteY183" fmla="*/ 63696 h 220192"/>
                <a:gd name="connsiteX184" fmla="*/ 1299438 w 1628343"/>
                <a:gd name="connsiteY184" fmla="*/ 215043 h 220192"/>
                <a:gd name="connsiteX185" fmla="*/ 1253317 w 1628343"/>
                <a:gd name="connsiteY185" fmla="*/ 215043 h 220192"/>
                <a:gd name="connsiteX186" fmla="*/ 1253317 w 1628343"/>
                <a:gd name="connsiteY186" fmla="*/ 196460 h 220192"/>
                <a:gd name="connsiteX187" fmla="*/ 1252422 w 1628343"/>
                <a:gd name="connsiteY187" fmla="*/ 196460 h 220192"/>
                <a:gd name="connsiteX188" fmla="*/ 1233615 w 1628343"/>
                <a:gd name="connsiteY188" fmla="*/ 213588 h 220192"/>
                <a:gd name="connsiteX189" fmla="*/ 1207197 w 1628343"/>
                <a:gd name="connsiteY189" fmla="*/ 219521 h 220192"/>
                <a:gd name="connsiteX190" fmla="*/ 1389888 w 1628343"/>
                <a:gd name="connsiteY190" fmla="*/ 219856 h 220192"/>
                <a:gd name="connsiteX191" fmla="*/ 1336939 w 1628343"/>
                <a:gd name="connsiteY191" fmla="*/ 205528 h 220192"/>
                <a:gd name="connsiteX192" fmla="*/ 1316229 w 1628343"/>
                <a:gd name="connsiteY192" fmla="*/ 166012 h 220192"/>
                <a:gd name="connsiteX193" fmla="*/ 1361790 w 1628343"/>
                <a:gd name="connsiteY193" fmla="*/ 166012 h 220192"/>
                <a:gd name="connsiteX194" fmla="*/ 1370410 w 1628343"/>
                <a:gd name="connsiteY194" fmla="*/ 182915 h 220192"/>
                <a:gd name="connsiteX195" fmla="*/ 1389664 w 1628343"/>
                <a:gd name="connsiteY195" fmla="*/ 188512 h 220192"/>
                <a:gd name="connsiteX196" fmla="*/ 1406903 w 1628343"/>
                <a:gd name="connsiteY196" fmla="*/ 184706 h 220192"/>
                <a:gd name="connsiteX197" fmla="*/ 1413284 w 1628343"/>
                <a:gd name="connsiteY197" fmla="*/ 173512 h 220192"/>
                <a:gd name="connsiteX198" fmla="*/ 1410038 w 1628343"/>
                <a:gd name="connsiteY198" fmla="*/ 165340 h 220192"/>
                <a:gd name="connsiteX199" fmla="*/ 1401418 w 1628343"/>
                <a:gd name="connsiteY199" fmla="*/ 160303 h 220192"/>
                <a:gd name="connsiteX200" fmla="*/ 1389105 w 1628343"/>
                <a:gd name="connsiteY200" fmla="*/ 157392 h 220192"/>
                <a:gd name="connsiteX201" fmla="*/ 1374776 w 1628343"/>
                <a:gd name="connsiteY201" fmla="*/ 154929 h 220192"/>
                <a:gd name="connsiteX202" fmla="*/ 1355298 w 1628343"/>
                <a:gd name="connsiteY202" fmla="*/ 150676 h 220192"/>
                <a:gd name="connsiteX203" fmla="*/ 1337722 w 1628343"/>
                <a:gd name="connsiteY203" fmla="*/ 143175 h 220192"/>
                <a:gd name="connsiteX204" fmla="*/ 1325185 w 1628343"/>
                <a:gd name="connsiteY204" fmla="*/ 129742 h 220192"/>
                <a:gd name="connsiteX205" fmla="*/ 1320483 w 1628343"/>
                <a:gd name="connsiteY205" fmla="*/ 108025 h 220192"/>
                <a:gd name="connsiteX206" fmla="*/ 1325633 w 1628343"/>
                <a:gd name="connsiteY206" fmla="*/ 86980 h 220192"/>
                <a:gd name="connsiteX207" fmla="*/ 1339738 w 1628343"/>
                <a:gd name="connsiteY207" fmla="*/ 71756 h 220192"/>
                <a:gd name="connsiteX208" fmla="*/ 1360559 w 1628343"/>
                <a:gd name="connsiteY208" fmla="*/ 62576 h 220192"/>
                <a:gd name="connsiteX209" fmla="*/ 1385858 w 1628343"/>
                <a:gd name="connsiteY209" fmla="*/ 59442 h 220192"/>
                <a:gd name="connsiteX210" fmla="*/ 1435225 w 1628343"/>
                <a:gd name="connsiteY210" fmla="*/ 72427 h 220192"/>
                <a:gd name="connsiteX211" fmla="*/ 1454144 w 1628343"/>
                <a:gd name="connsiteY211" fmla="*/ 107913 h 220192"/>
                <a:gd name="connsiteX212" fmla="*/ 1409814 w 1628343"/>
                <a:gd name="connsiteY212" fmla="*/ 107913 h 220192"/>
                <a:gd name="connsiteX213" fmla="*/ 1401978 w 1628343"/>
                <a:gd name="connsiteY213" fmla="*/ 93920 h 220192"/>
                <a:gd name="connsiteX214" fmla="*/ 1385522 w 1628343"/>
                <a:gd name="connsiteY214" fmla="*/ 90226 h 220192"/>
                <a:gd name="connsiteX215" fmla="*/ 1370634 w 1628343"/>
                <a:gd name="connsiteY215" fmla="*/ 93585 h 220192"/>
                <a:gd name="connsiteX216" fmla="*/ 1364589 w 1628343"/>
                <a:gd name="connsiteY216" fmla="*/ 104107 h 220192"/>
                <a:gd name="connsiteX217" fmla="*/ 1367499 w 1628343"/>
                <a:gd name="connsiteY217" fmla="*/ 110600 h 220192"/>
                <a:gd name="connsiteX218" fmla="*/ 1375447 w 1628343"/>
                <a:gd name="connsiteY218" fmla="*/ 114630 h 220192"/>
                <a:gd name="connsiteX219" fmla="*/ 1387089 w 1628343"/>
                <a:gd name="connsiteY219" fmla="*/ 117428 h 220192"/>
                <a:gd name="connsiteX220" fmla="*/ 1400858 w 1628343"/>
                <a:gd name="connsiteY220" fmla="*/ 119779 h 220192"/>
                <a:gd name="connsiteX221" fmla="*/ 1421120 w 1628343"/>
                <a:gd name="connsiteY221" fmla="*/ 124033 h 220192"/>
                <a:gd name="connsiteX222" fmla="*/ 1439703 w 1628343"/>
                <a:gd name="connsiteY222" fmla="*/ 131869 h 220192"/>
                <a:gd name="connsiteX223" fmla="*/ 1453472 w 1628343"/>
                <a:gd name="connsiteY223" fmla="*/ 146198 h 220192"/>
                <a:gd name="connsiteX224" fmla="*/ 1458845 w 1628343"/>
                <a:gd name="connsiteY224" fmla="*/ 169706 h 220192"/>
                <a:gd name="connsiteX225" fmla="*/ 1453696 w 1628343"/>
                <a:gd name="connsiteY225" fmla="*/ 191535 h 220192"/>
                <a:gd name="connsiteX226" fmla="*/ 1439367 w 1628343"/>
                <a:gd name="connsiteY226" fmla="*/ 207207 h 220192"/>
                <a:gd name="connsiteX227" fmla="*/ 1417538 w 1628343"/>
                <a:gd name="connsiteY227" fmla="*/ 216722 h 220192"/>
                <a:gd name="connsiteX228" fmla="*/ 1390000 w 1628343"/>
                <a:gd name="connsiteY228" fmla="*/ 219968 h 220192"/>
                <a:gd name="connsiteX229" fmla="*/ 1552877 w 1628343"/>
                <a:gd name="connsiteY229" fmla="*/ 219633 h 220192"/>
                <a:gd name="connsiteX230" fmla="*/ 1519183 w 1628343"/>
                <a:gd name="connsiteY230" fmla="*/ 213588 h 220192"/>
                <a:gd name="connsiteX231" fmla="*/ 1493771 w 1628343"/>
                <a:gd name="connsiteY231" fmla="*/ 196684 h 220192"/>
                <a:gd name="connsiteX232" fmla="*/ 1477764 w 1628343"/>
                <a:gd name="connsiteY232" fmla="*/ 171161 h 220192"/>
                <a:gd name="connsiteX233" fmla="*/ 1472166 w 1628343"/>
                <a:gd name="connsiteY233" fmla="*/ 139257 h 220192"/>
                <a:gd name="connsiteX234" fmla="*/ 1477764 w 1628343"/>
                <a:gd name="connsiteY234" fmla="*/ 107801 h 220192"/>
                <a:gd name="connsiteX235" fmla="*/ 1493771 w 1628343"/>
                <a:gd name="connsiteY235" fmla="*/ 82390 h 220192"/>
                <a:gd name="connsiteX236" fmla="*/ 1518287 w 1628343"/>
                <a:gd name="connsiteY236" fmla="*/ 65599 h 220192"/>
                <a:gd name="connsiteX237" fmla="*/ 1549967 w 1628343"/>
                <a:gd name="connsiteY237" fmla="*/ 59554 h 220192"/>
                <a:gd name="connsiteX238" fmla="*/ 1579072 w 1628343"/>
                <a:gd name="connsiteY238" fmla="*/ 64591 h 220192"/>
                <a:gd name="connsiteX239" fmla="*/ 1601685 w 1628343"/>
                <a:gd name="connsiteY239" fmla="*/ 78472 h 220192"/>
                <a:gd name="connsiteX240" fmla="*/ 1621946 w 1628343"/>
                <a:gd name="connsiteY240" fmla="*/ 109928 h 220192"/>
                <a:gd name="connsiteX241" fmla="*/ 1628327 w 1628343"/>
                <a:gd name="connsiteY241" fmla="*/ 152019 h 220192"/>
                <a:gd name="connsiteX242" fmla="*/ 1519518 w 1628343"/>
                <a:gd name="connsiteY242" fmla="*/ 152019 h 220192"/>
                <a:gd name="connsiteX243" fmla="*/ 1530153 w 1628343"/>
                <a:gd name="connsiteY243" fmla="*/ 176311 h 220192"/>
                <a:gd name="connsiteX244" fmla="*/ 1553549 w 1628343"/>
                <a:gd name="connsiteY244" fmla="*/ 185154 h 220192"/>
                <a:gd name="connsiteX245" fmla="*/ 1569221 w 1628343"/>
                <a:gd name="connsiteY245" fmla="*/ 181124 h 220192"/>
                <a:gd name="connsiteX246" fmla="*/ 1578736 w 1628343"/>
                <a:gd name="connsiteY246" fmla="*/ 170042 h 220192"/>
                <a:gd name="connsiteX247" fmla="*/ 1625753 w 1628343"/>
                <a:gd name="connsiteY247" fmla="*/ 170042 h 220192"/>
                <a:gd name="connsiteX248" fmla="*/ 1616909 w 1628343"/>
                <a:gd name="connsiteY248" fmla="*/ 189744 h 220192"/>
                <a:gd name="connsiteX249" fmla="*/ 1600341 w 1628343"/>
                <a:gd name="connsiteY249" fmla="*/ 205864 h 220192"/>
                <a:gd name="connsiteX250" fmla="*/ 1579184 w 1628343"/>
                <a:gd name="connsiteY250" fmla="*/ 216162 h 220192"/>
                <a:gd name="connsiteX251" fmla="*/ 1552990 w 1628343"/>
                <a:gd name="connsiteY251" fmla="*/ 219745 h 220192"/>
                <a:gd name="connsiteX252" fmla="*/ 1579632 w 1628343"/>
                <a:gd name="connsiteY252" fmla="*/ 123361 h 220192"/>
                <a:gd name="connsiteX253" fmla="*/ 1570453 w 1628343"/>
                <a:gd name="connsiteY253" fmla="*/ 101756 h 220192"/>
                <a:gd name="connsiteX254" fmla="*/ 1550974 w 1628343"/>
                <a:gd name="connsiteY254" fmla="*/ 93808 h 220192"/>
                <a:gd name="connsiteX255" fmla="*/ 1529705 w 1628343"/>
                <a:gd name="connsiteY255" fmla="*/ 101756 h 220192"/>
                <a:gd name="connsiteX256" fmla="*/ 1519966 w 1628343"/>
                <a:gd name="connsiteY256" fmla="*/ 123361 h 220192"/>
                <a:gd name="connsiteX257" fmla="*/ 1579632 w 1628343"/>
                <a:gd name="connsiteY257" fmla="*/ 123361 h 220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</a:cxnLst>
              <a:rect l="l" t="t" r="r" b="b"/>
              <a:pathLst>
                <a:path w="1628343" h="220192">
                  <a:moveTo>
                    <a:pt x="100525" y="220192"/>
                  </a:moveTo>
                  <a:cubicBezTo>
                    <a:pt x="85301" y="220192"/>
                    <a:pt x="71756" y="217618"/>
                    <a:pt x="59778" y="212468"/>
                  </a:cubicBezTo>
                  <a:cubicBezTo>
                    <a:pt x="47800" y="207319"/>
                    <a:pt x="37277" y="200043"/>
                    <a:pt x="28434" y="190639"/>
                  </a:cubicBezTo>
                  <a:cubicBezTo>
                    <a:pt x="19142" y="180564"/>
                    <a:pt x="12090" y="168810"/>
                    <a:pt x="7276" y="155153"/>
                  </a:cubicBezTo>
                  <a:cubicBezTo>
                    <a:pt x="2463" y="141608"/>
                    <a:pt x="0" y="126720"/>
                    <a:pt x="0" y="110488"/>
                  </a:cubicBezTo>
                  <a:cubicBezTo>
                    <a:pt x="0" y="94256"/>
                    <a:pt x="2687" y="78360"/>
                    <a:pt x="8172" y="64255"/>
                  </a:cubicBezTo>
                  <a:cubicBezTo>
                    <a:pt x="13545" y="50151"/>
                    <a:pt x="21269" y="38061"/>
                    <a:pt x="31344" y="28098"/>
                  </a:cubicBezTo>
                  <a:cubicBezTo>
                    <a:pt x="40188" y="19254"/>
                    <a:pt x="50598" y="12314"/>
                    <a:pt x="62688" y="7388"/>
                  </a:cubicBezTo>
                  <a:cubicBezTo>
                    <a:pt x="74666" y="2463"/>
                    <a:pt x="88435" y="0"/>
                    <a:pt x="103771" y="0"/>
                  </a:cubicBezTo>
                  <a:cubicBezTo>
                    <a:pt x="117317" y="0"/>
                    <a:pt x="129630" y="1679"/>
                    <a:pt x="140377" y="5149"/>
                  </a:cubicBezTo>
                  <a:cubicBezTo>
                    <a:pt x="151235" y="8620"/>
                    <a:pt x="160639" y="13545"/>
                    <a:pt x="168475" y="19926"/>
                  </a:cubicBezTo>
                  <a:cubicBezTo>
                    <a:pt x="176311" y="26307"/>
                    <a:pt x="182691" y="34031"/>
                    <a:pt x="187505" y="43098"/>
                  </a:cubicBezTo>
                  <a:cubicBezTo>
                    <a:pt x="192319" y="52166"/>
                    <a:pt x="195677" y="62240"/>
                    <a:pt x="197356" y="73211"/>
                  </a:cubicBezTo>
                  <a:lnTo>
                    <a:pt x="146534" y="73211"/>
                  </a:lnTo>
                  <a:cubicBezTo>
                    <a:pt x="144519" y="64591"/>
                    <a:pt x="140153" y="57315"/>
                    <a:pt x="133213" y="51606"/>
                  </a:cubicBezTo>
                  <a:cubicBezTo>
                    <a:pt x="126272" y="45897"/>
                    <a:pt x="117093" y="42986"/>
                    <a:pt x="105451" y="42986"/>
                  </a:cubicBezTo>
                  <a:cubicBezTo>
                    <a:pt x="96719" y="42986"/>
                    <a:pt x="89107" y="44777"/>
                    <a:pt x="82502" y="48136"/>
                  </a:cubicBezTo>
                  <a:cubicBezTo>
                    <a:pt x="75898" y="51606"/>
                    <a:pt x="70412" y="56307"/>
                    <a:pt x="66047" y="62352"/>
                  </a:cubicBezTo>
                  <a:cubicBezTo>
                    <a:pt x="61681" y="68397"/>
                    <a:pt x="58434" y="75450"/>
                    <a:pt x="56308" y="83622"/>
                  </a:cubicBezTo>
                  <a:cubicBezTo>
                    <a:pt x="54181" y="91793"/>
                    <a:pt x="53061" y="100749"/>
                    <a:pt x="53061" y="110376"/>
                  </a:cubicBezTo>
                  <a:cubicBezTo>
                    <a:pt x="53061" y="120003"/>
                    <a:pt x="54293" y="128959"/>
                    <a:pt x="56755" y="137242"/>
                  </a:cubicBezTo>
                  <a:cubicBezTo>
                    <a:pt x="59218" y="145526"/>
                    <a:pt x="62688" y="152691"/>
                    <a:pt x="67278" y="158624"/>
                  </a:cubicBezTo>
                  <a:cubicBezTo>
                    <a:pt x="71868" y="164668"/>
                    <a:pt x="77353" y="169370"/>
                    <a:pt x="83957" y="172616"/>
                  </a:cubicBezTo>
                  <a:cubicBezTo>
                    <a:pt x="90562" y="175975"/>
                    <a:pt x="97950" y="177654"/>
                    <a:pt x="106234" y="177654"/>
                  </a:cubicBezTo>
                  <a:cubicBezTo>
                    <a:pt x="113063" y="177654"/>
                    <a:pt x="119332" y="176646"/>
                    <a:pt x="124705" y="174519"/>
                  </a:cubicBezTo>
                  <a:cubicBezTo>
                    <a:pt x="130078" y="172505"/>
                    <a:pt x="134780" y="169706"/>
                    <a:pt x="138586" y="166236"/>
                  </a:cubicBezTo>
                  <a:cubicBezTo>
                    <a:pt x="142392" y="162765"/>
                    <a:pt x="145526" y="158847"/>
                    <a:pt x="147765" y="154370"/>
                  </a:cubicBezTo>
                  <a:cubicBezTo>
                    <a:pt x="150004" y="150004"/>
                    <a:pt x="151459" y="145414"/>
                    <a:pt x="152019" y="140601"/>
                  </a:cubicBezTo>
                  <a:lnTo>
                    <a:pt x="152019" y="140041"/>
                  </a:lnTo>
                  <a:lnTo>
                    <a:pt x="112391" y="140041"/>
                  </a:lnTo>
                  <a:lnTo>
                    <a:pt x="112391" y="101644"/>
                  </a:lnTo>
                  <a:lnTo>
                    <a:pt x="200490" y="101644"/>
                  </a:lnTo>
                  <a:lnTo>
                    <a:pt x="200490" y="215155"/>
                  </a:lnTo>
                  <a:lnTo>
                    <a:pt x="163885" y="215155"/>
                  </a:lnTo>
                  <a:lnTo>
                    <a:pt x="160974" y="189744"/>
                  </a:lnTo>
                  <a:lnTo>
                    <a:pt x="160415" y="189744"/>
                  </a:lnTo>
                  <a:cubicBezTo>
                    <a:pt x="153474" y="200602"/>
                    <a:pt x="144967" y="208326"/>
                    <a:pt x="134892" y="212916"/>
                  </a:cubicBezTo>
                  <a:cubicBezTo>
                    <a:pt x="124705" y="217506"/>
                    <a:pt x="113287" y="219856"/>
                    <a:pt x="100413" y="219856"/>
                  </a:cubicBezTo>
                  <a:moveTo>
                    <a:pt x="278067" y="219521"/>
                  </a:moveTo>
                  <a:cubicBezTo>
                    <a:pt x="260492" y="219521"/>
                    <a:pt x="247283" y="214371"/>
                    <a:pt x="238327" y="203961"/>
                  </a:cubicBezTo>
                  <a:cubicBezTo>
                    <a:pt x="229372" y="193662"/>
                    <a:pt x="224894" y="180005"/>
                    <a:pt x="224894" y="162989"/>
                  </a:cubicBezTo>
                  <a:lnTo>
                    <a:pt x="224894" y="63696"/>
                  </a:lnTo>
                  <a:lnTo>
                    <a:pt x="272806" y="63696"/>
                  </a:lnTo>
                  <a:lnTo>
                    <a:pt x="272806" y="153026"/>
                  </a:lnTo>
                  <a:cubicBezTo>
                    <a:pt x="272806" y="161310"/>
                    <a:pt x="274709" y="167691"/>
                    <a:pt x="278403" y="172057"/>
                  </a:cubicBezTo>
                  <a:cubicBezTo>
                    <a:pt x="282097" y="176534"/>
                    <a:pt x="287918" y="178661"/>
                    <a:pt x="295530" y="178661"/>
                  </a:cubicBezTo>
                  <a:cubicBezTo>
                    <a:pt x="303814" y="178661"/>
                    <a:pt x="310307" y="175863"/>
                    <a:pt x="315008" y="170266"/>
                  </a:cubicBezTo>
                  <a:cubicBezTo>
                    <a:pt x="319710" y="164668"/>
                    <a:pt x="322061" y="157280"/>
                    <a:pt x="322061" y="148213"/>
                  </a:cubicBezTo>
                  <a:lnTo>
                    <a:pt x="322061" y="63696"/>
                  </a:lnTo>
                  <a:lnTo>
                    <a:pt x="370197" y="63696"/>
                  </a:lnTo>
                  <a:lnTo>
                    <a:pt x="370197" y="215043"/>
                  </a:lnTo>
                  <a:lnTo>
                    <a:pt x="324076" y="215043"/>
                  </a:lnTo>
                  <a:lnTo>
                    <a:pt x="324076" y="196460"/>
                  </a:lnTo>
                  <a:lnTo>
                    <a:pt x="323180" y="196460"/>
                  </a:lnTo>
                  <a:cubicBezTo>
                    <a:pt x="317695" y="203961"/>
                    <a:pt x="311426" y="209670"/>
                    <a:pt x="304374" y="213588"/>
                  </a:cubicBezTo>
                  <a:cubicBezTo>
                    <a:pt x="297433" y="217506"/>
                    <a:pt x="288590" y="219521"/>
                    <a:pt x="277955" y="219521"/>
                  </a:cubicBezTo>
                  <a:moveTo>
                    <a:pt x="397623" y="1679"/>
                  </a:moveTo>
                  <a:lnTo>
                    <a:pt x="445758" y="1679"/>
                  </a:lnTo>
                  <a:lnTo>
                    <a:pt x="445758" y="42762"/>
                  </a:lnTo>
                  <a:lnTo>
                    <a:pt x="397623" y="42762"/>
                  </a:lnTo>
                  <a:lnTo>
                    <a:pt x="397623" y="1679"/>
                  </a:lnTo>
                  <a:close/>
                  <a:moveTo>
                    <a:pt x="397623" y="63696"/>
                  </a:moveTo>
                  <a:lnTo>
                    <a:pt x="445758" y="63696"/>
                  </a:lnTo>
                  <a:lnTo>
                    <a:pt x="445758" y="215043"/>
                  </a:lnTo>
                  <a:lnTo>
                    <a:pt x="397623" y="215043"/>
                  </a:lnTo>
                  <a:lnTo>
                    <a:pt x="397623" y="63696"/>
                  </a:lnTo>
                  <a:close/>
                  <a:moveTo>
                    <a:pt x="532738" y="219745"/>
                  </a:moveTo>
                  <a:cubicBezTo>
                    <a:pt x="523111" y="219745"/>
                    <a:pt x="514156" y="217953"/>
                    <a:pt x="506096" y="214259"/>
                  </a:cubicBezTo>
                  <a:cubicBezTo>
                    <a:pt x="498036" y="210565"/>
                    <a:pt x="490983" y="205304"/>
                    <a:pt x="485162" y="198475"/>
                  </a:cubicBezTo>
                  <a:cubicBezTo>
                    <a:pt x="479229" y="191535"/>
                    <a:pt x="474640" y="183139"/>
                    <a:pt x="471393" y="173176"/>
                  </a:cubicBezTo>
                  <a:cubicBezTo>
                    <a:pt x="468147" y="163213"/>
                    <a:pt x="466468" y="151907"/>
                    <a:pt x="466468" y="139369"/>
                  </a:cubicBezTo>
                  <a:cubicBezTo>
                    <a:pt x="466468" y="127503"/>
                    <a:pt x="468147" y="116757"/>
                    <a:pt x="471393" y="106794"/>
                  </a:cubicBezTo>
                  <a:cubicBezTo>
                    <a:pt x="474640" y="96943"/>
                    <a:pt x="479229" y="88547"/>
                    <a:pt x="484938" y="81495"/>
                  </a:cubicBezTo>
                  <a:cubicBezTo>
                    <a:pt x="490759" y="74554"/>
                    <a:pt x="497700" y="69069"/>
                    <a:pt x="505760" y="65039"/>
                  </a:cubicBezTo>
                  <a:cubicBezTo>
                    <a:pt x="513820" y="61121"/>
                    <a:pt x="522775" y="59106"/>
                    <a:pt x="532626" y="59106"/>
                  </a:cubicBezTo>
                  <a:cubicBezTo>
                    <a:pt x="543261" y="59106"/>
                    <a:pt x="551880" y="61121"/>
                    <a:pt x="558373" y="65151"/>
                  </a:cubicBezTo>
                  <a:cubicBezTo>
                    <a:pt x="564866" y="69181"/>
                    <a:pt x="570351" y="74330"/>
                    <a:pt x="574941" y="80711"/>
                  </a:cubicBezTo>
                  <a:lnTo>
                    <a:pt x="575836" y="80711"/>
                  </a:lnTo>
                  <a:lnTo>
                    <a:pt x="575836" y="1455"/>
                  </a:lnTo>
                  <a:lnTo>
                    <a:pt x="623972" y="1455"/>
                  </a:lnTo>
                  <a:lnTo>
                    <a:pt x="623972" y="214931"/>
                  </a:lnTo>
                  <a:lnTo>
                    <a:pt x="577851" y="214931"/>
                  </a:lnTo>
                  <a:lnTo>
                    <a:pt x="577851" y="194557"/>
                  </a:lnTo>
                  <a:lnTo>
                    <a:pt x="577292" y="194557"/>
                  </a:lnTo>
                  <a:cubicBezTo>
                    <a:pt x="572814" y="202393"/>
                    <a:pt x="566657" y="208550"/>
                    <a:pt x="559157" y="213028"/>
                  </a:cubicBezTo>
                  <a:cubicBezTo>
                    <a:pt x="551545" y="217506"/>
                    <a:pt x="542813" y="219633"/>
                    <a:pt x="532738" y="219633"/>
                  </a:cubicBezTo>
                  <a:moveTo>
                    <a:pt x="545164" y="181460"/>
                  </a:moveTo>
                  <a:cubicBezTo>
                    <a:pt x="555239" y="181460"/>
                    <a:pt x="563075" y="177542"/>
                    <a:pt x="568672" y="169594"/>
                  </a:cubicBezTo>
                  <a:cubicBezTo>
                    <a:pt x="574269" y="161758"/>
                    <a:pt x="577068" y="151571"/>
                    <a:pt x="577068" y="139145"/>
                  </a:cubicBezTo>
                  <a:cubicBezTo>
                    <a:pt x="577068" y="132877"/>
                    <a:pt x="576396" y="126944"/>
                    <a:pt x="575165" y="121570"/>
                  </a:cubicBezTo>
                  <a:cubicBezTo>
                    <a:pt x="573933" y="116197"/>
                    <a:pt x="571918" y="111495"/>
                    <a:pt x="569232" y="107689"/>
                  </a:cubicBezTo>
                  <a:cubicBezTo>
                    <a:pt x="566545" y="103883"/>
                    <a:pt x="563299" y="100861"/>
                    <a:pt x="559493" y="98622"/>
                  </a:cubicBezTo>
                  <a:cubicBezTo>
                    <a:pt x="555687" y="96495"/>
                    <a:pt x="551097" y="95376"/>
                    <a:pt x="545724" y="95376"/>
                  </a:cubicBezTo>
                  <a:cubicBezTo>
                    <a:pt x="536097" y="95376"/>
                    <a:pt x="528596" y="99406"/>
                    <a:pt x="523223" y="107354"/>
                  </a:cubicBezTo>
                  <a:cubicBezTo>
                    <a:pt x="517850" y="115302"/>
                    <a:pt x="515275" y="125712"/>
                    <a:pt x="515275" y="138586"/>
                  </a:cubicBezTo>
                  <a:cubicBezTo>
                    <a:pt x="515275" y="151459"/>
                    <a:pt x="517850" y="162206"/>
                    <a:pt x="523111" y="169930"/>
                  </a:cubicBezTo>
                  <a:cubicBezTo>
                    <a:pt x="528372" y="177654"/>
                    <a:pt x="535649" y="181460"/>
                    <a:pt x="545164" y="181460"/>
                  </a:cubicBezTo>
                  <a:moveTo>
                    <a:pt x="722482" y="219297"/>
                  </a:moveTo>
                  <a:cubicBezTo>
                    <a:pt x="710056" y="219297"/>
                    <a:pt x="698862" y="217282"/>
                    <a:pt x="688787" y="213252"/>
                  </a:cubicBezTo>
                  <a:cubicBezTo>
                    <a:pt x="678712" y="209222"/>
                    <a:pt x="670205" y="203625"/>
                    <a:pt x="663376" y="196348"/>
                  </a:cubicBezTo>
                  <a:cubicBezTo>
                    <a:pt x="656436" y="189184"/>
                    <a:pt x="651174" y="180676"/>
                    <a:pt x="647368" y="170825"/>
                  </a:cubicBezTo>
                  <a:cubicBezTo>
                    <a:pt x="643674" y="160974"/>
                    <a:pt x="641771" y="150340"/>
                    <a:pt x="641771" y="138922"/>
                  </a:cubicBezTo>
                  <a:cubicBezTo>
                    <a:pt x="641771" y="127503"/>
                    <a:pt x="643674" y="117205"/>
                    <a:pt x="647368" y="107465"/>
                  </a:cubicBezTo>
                  <a:cubicBezTo>
                    <a:pt x="651062" y="97726"/>
                    <a:pt x="656436" y="89219"/>
                    <a:pt x="663376" y="82054"/>
                  </a:cubicBezTo>
                  <a:cubicBezTo>
                    <a:pt x="670317" y="74890"/>
                    <a:pt x="678488" y="69293"/>
                    <a:pt x="687892" y="65263"/>
                  </a:cubicBezTo>
                  <a:cubicBezTo>
                    <a:pt x="697295" y="61233"/>
                    <a:pt x="707929" y="59218"/>
                    <a:pt x="719572" y="59218"/>
                  </a:cubicBezTo>
                  <a:cubicBezTo>
                    <a:pt x="730430" y="59218"/>
                    <a:pt x="740169" y="60897"/>
                    <a:pt x="748677" y="64255"/>
                  </a:cubicBezTo>
                  <a:cubicBezTo>
                    <a:pt x="757296" y="67614"/>
                    <a:pt x="764797" y="72203"/>
                    <a:pt x="771289" y="78136"/>
                  </a:cubicBezTo>
                  <a:cubicBezTo>
                    <a:pt x="780357" y="86420"/>
                    <a:pt x="787073" y="96943"/>
                    <a:pt x="791551" y="109592"/>
                  </a:cubicBezTo>
                  <a:cubicBezTo>
                    <a:pt x="796029" y="122354"/>
                    <a:pt x="798044" y="136347"/>
                    <a:pt x="797932" y="151683"/>
                  </a:cubicBezTo>
                  <a:lnTo>
                    <a:pt x="689123" y="151683"/>
                  </a:lnTo>
                  <a:cubicBezTo>
                    <a:pt x="690690" y="161982"/>
                    <a:pt x="694272" y="170042"/>
                    <a:pt x="699758" y="175975"/>
                  </a:cubicBezTo>
                  <a:cubicBezTo>
                    <a:pt x="705243" y="181908"/>
                    <a:pt x="713079" y="184818"/>
                    <a:pt x="723154" y="184818"/>
                  </a:cubicBezTo>
                  <a:cubicBezTo>
                    <a:pt x="729423" y="184818"/>
                    <a:pt x="734684" y="183475"/>
                    <a:pt x="738826" y="180788"/>
                  </a:cubicBezTo>
                  <a:cubicBezTo>
                    <a:pt x="742968" y="178102"/>
                    <a:pt x="746102" y="174408"/>
                    <a:pt x="748229" y="169706"/>
                  </a:cubicBezTo>
                  <a:lnTo>
                    <a:pt x="795245" y="169706"/>
                  </a:lnTo>
                  <a:cubicBezTo>
                    <a:pt x="793678" y="176646"/>
                    <a:pt x="790656" y="183139"/>
                    <a:pt x="786402" y="189408"/>
                  </a:cubicBezTo>
                  <a:cubicBezTo>
                    <a:pt x="782036" y="195565"/>
                    <a:pt x="776551" y="200938"/>
                    <a:pt x="769834" y="205528"/>
                  </a:cubicBezTo>
                  <a:cubicBezTo>
                    <a:pt x="763565" y="210117"/>
                    <a:pt x="756513" y="213476"/>
                    <a:pt x="748677" y="215827"/>
                  </a:cubicBezTo>
                  <a:cubicBezTo>
                    <a:pt x="740953" y="218177"/>
                    <a:pt x="732221" y="219409"/>
                    <a:pt x="722482" y="219409"/>
                  </a:cubicBezTo>
                  <a:moveTo>
                    <a:pt x="749125" y="123026"/>
                  </a:moveTo>
                  <a:cubicBezTo>
                    <a:pt x="748117" y="113958"/>
                    <a:pt x="745095" y="106794"/>
                    <a:pt x="739945" y="101421"/>
                  </a:cubicBezTo>
                  <a:cubicBezTo>
                    <a:pt x="734796" y="96159"/>
                    <a:pt x="728303" y="93473"/>
                    <a:pt x="720467" y="93473"/>
                  </a:cubicBezTo>
                  <a:cubicBezTo>
                    <a:pt x="711176" y="93473"/>
                    <a:pt x="704123" y="96159"/>
                    <a:pt x="699198" y="101421"/>
                  </a:cubicBezTo>
                  <a:cubicBezTo>
                    <a:pt x="694272" y="106794"/>
                    <a:pt x="691026" y="113958"/>
                    <a:pt x="689459" y="123026"/>
                  </a:cubicBezTo>
                  <a:lnTo>
                    <a:pt x="749125" y="123026"/>
                  </a:lnTo>
                  <a:close/>
                  <a:moveTo>
                    <a:pt x="815619" y="1567"/>
                  </a:moveTo>
                  <a:lnTo>
                    <a:pt x="863755" y="1567"/>
                  </a:lnTo>
                  <a:lnTo>
                    <a:pt x="863755" y="82278"/>
                  </a:lnTo>
                  <a:lnTo>
                    <a:pt x="864650" y="82278"/>
                  </a:lnTo>
                  <a:cubicBezTo>
                    <a:pt x="870135" y="75002"/>
                    <a:pt x="876404" y="69293"/>
                    <a:pt x="883233" y="65263"/>
                  </a:cubicBezTo>
                  <a:cubicBezTo>
                    <a:pt x="890173" y="61233"/>
                    <a:pt x="898905" y="59218"/>
                    <a:pt x="909539" y="59218"/>
                  </a:cubicBezTo>
                  <a:cubicBezTo>
                    <a:pt x="917823" y="59218"/>
                    <a:pt x="925211" y="60673"/>
                    <a:pt x="931704" y="63472"/>
                  </a:cubicBezTo>
                  <a:cubicBezTo>
                    <a:pt x="938197" y="66270"/>
                    <a:pt x="943682" y="70300"/>
                    <a:pt x="948272" y="75338"/>
                  </a:cubicBezTo>
                  <a:cubicBezTo>
                    <a:pt x="952861" y="80375"/>
                    <a:pt x="956220" y="86420"/>
                    <a:pt x="958682" y="93361"/>
                  </a:cubicBezTo>
                  <a:cubicBezTo>
                    <a:pt x="961033" y="100301"/>
                    <a:pt x="962265" y="108137"/>
                    <a:pt x="962265" y="116533"/>
                  </a:cubicBezTo>
                  <a:lnTo>
                    <a:pt x="962265" y="214931"/>
                  </a:lnTo>
                  <a:lnTo>
                    <a:pt x="914129" y="214931"/>
                  </a:lnTo>
                  <a:lnTo>
                    <a:pt x="914129" y="126272"/>
                  </a:lnTo>
                  <a:cubicBezTo>
                    <a:pt x="914129" y="118212"/>
                    <a:pt x="912114" y="111719"/>
                    <a:pt x="908196" y="106794"/>
                  </a:cubicBezTo>
                  <a:cubicBezTo>
                    <a:pt x="904278" y="101868"/>
                    <a:pt x="898345" y="99406"/>
                    <a:pt x="890509" y="99406"/>
                  </a:cubicBezTo>
                  <a:cubicBezTo>
                    <a:pt x="882673" y="99406"/>
                    <a:pt x="875956" y="102316"/>
                    <a:pt x="871143" y="108249"/>
                  </a:cubicBezTo>
                  <a:cubicBezTo>
                    <a:pt x="866329" y="114182"/>
                    <a:pt x="863866" y="121906"/>
                    <a:pt x="863866" y="131309"/>
                  </a:cubicBezTo>
                  <a:lnTo>
                    <a:pt x="863866" y="214931"/>
                  </a:lnTo>
                  <a:lnTo>
                    <a:pt x="815731" y="214931"/>
                  </a:lnTo>
                  <a:lnTo>
                    <a:pt x="815731" y="1455"/>
                  </a:lnTo>
                  <a:close/>
                  <a:moveTo>
                    <a:pt x="1058312" y="219745"/>
                  </a:moveTo>
                  <a:cubicBezTo>
                    <a:pt x="1046110" y="219745"/>
                    <a:pt x="1035028" y="217730"/>
                    <a:pt x="1025065" y="213700"/>
                  </a:cubicBezTo>
                  <a:cubicBezTo>
                    <a:pt x="1015102" y="209670"/>
                    <a:pt x="1006594" y="204072"/>
                    <a:pt x="999430" y="196796"/>
                  </a:cubicBezTo>
                  <a:cubicBezTo>
                    <a:pt x="992377" y="189632"/>
                    <a:pt x="986892" y="181124"/>
                    <a:pt x="983086" y="171385"/>
                  </a:cubicBezTo>
                  <a:cubicBezTo>
                    <a:pt x="979280" y="161646"/>
                    <a:pt x="977265" y="151011"/>
                    <a:pt x="977265" y="139593"/>
                  </a:cubicBezTo>
                  <a:cubicBezTo>
                    <a:pt x="977265" y="128175"/>
                    <a:pt x="979168" y="117540"/>
                    <a:pt x="983086" y="107801"/>
                  </a:cubicBezTo>
                  <a:cubicBezTo>
                    <a:pt x="986892" y="98062"/>
                    <a:pt x="992377" y="89555"/>
                    <a:pt x="999430" y="82390"/>
                  </a:cubicBezTo>
                  <a:cubicBezTo>
                    <a:pt x="1006482" y="75226"/>
                    <a:pt x="1015102" y="69629"/>
                    <a:pt x="1025065" y="65599"/>
                  </a:cubicBezTo>
                  <a:cubicBezTo>
                    <a:pt x="1035028" y="61569"/>
                    <a:pt x="1046110" y="59554"/>
                    <a:pt x="1058312" y="59554"/>
                  </a:cubicBezTo>
                  <a:cubicBezTo>
                    <a:pt x="1070514" y="59554"/>
                    <a:pt x="1081596" y="61569"/>
                    <a:pt x="1091559" y="65599"/>
                  </a:cubicBezTo>
                  <a:cubicBezTo>
                    <a:pt x="1101522" y="69629"/>
                    <a:pt x="1110030" y="75226"/>
                    <a:pt x="1116970" y="82390"/>
                  </a:cubicBezTo>
                  <a:cubicBezTo>
                    <a:pt x="1123911" y="89555"/>
                    <a:pt x="1129396" y="98062"/>
                    <a:pt x="1133202" y="107801"/>
                  </a:cubicBezTo>
                  <a:cubicBezTo>
                    <a:pt x="1137008" y="117540"/>
                    <a:pt x="1138911" y="128175"/>
                    <a:pt x="1138911" y="139593"/>
                  </a:cubicBezTo>
                  <a:cubicBezTo>
                    <a:pt x="1138911" y="151011"/>
                    <a:pt x="1137008" y="161646"/>
                    <a:pt x="1133202" y="171385"/>
                  </a:cubicBezTo>
                  <a:cubicBezTo>
                    <a:pt x="1129396" y="181124"/>
                    <a:pt x="1123911" y="189632"/>
                    <a:pt x="1116970" y="196796"/>
                  </a:cubicBezTo>
                  <a:cubicBezTo>
                    <a:pt x="1110030" y="203961"/>
                    <a:pt x="1101522" y="209558"/>
                    <a:pt x="1091559" y="213700"/>
                  </a:cubicBezTo>
                  <a:cubicBezTo>
                    <a:pt x="1081596" y="217730"/>
                    <a:pt x="1070514" y="219745"/>
                    <a:pt x="1058312" y="219745"/>
                  </a:cubicBezTo>
                  <a:moveTo>
                    <a:pt x="1057976" y="185490"/>
                  </a:moveTo>
                  <a:cubicBezTo>
                    <a:pt x="1068611" y="185490"/>
                    <a:pt x="1076671" y="181348"/>
                    <a:pt x="1082044" y="172952"/>
                  </a:cubicBezTo>
                  <a:cubicBezTo>
                    <a:pt x="1087529" y="164557"/>
                    <a:pt x="1090216" y="153474"/>
                    <a:pt x="1090216" y="139705"/>
                  </a:cubicBezTo>
                  <a:cubicBezTo>
                    <a:pt x="1090216" y="125936"/>
                    <a:pt x="1087529" y="114742"/>
                    <a:pt x="1082044" y="106346"/>
                  </a:cubicBezTo>
                  <a:cubicBezTo>
                    <a:pt x="1076671" y="97838"/>
                    <a:pt x="1068611" y="93585"/>
                    <a:pt x="1057976" y="93585"/>
                  </a:cubicBezTo>
                  <a:cubicBezTo>
                    <a:pt x="1047341" y="93585"/>
                    <a:pt x="1039394" y="97838"/>
                    <a:pt x="1034020" y="106346"/>
                  </a:cubicBezTo>
                  <a:cubicBezTo>
                    <a:pt x="1028759" y="114854"/>
                    <a:pt x="1026072" y="125936"/>
                    <a:pt x="1026072" y="139705"/>
                  </a:cubicBezTo>
                  <a:cubicBezTo>
                    <a:pt x="1026072" y="153474"/>
                    <a:pt x="1028759" y="164557"/>
                    <a:pt x="1034020" y="172952"/>
                  </a:cubicBezTo>
                  <a:cubicBezTo>
                    <a:pt x="1039394" y="181348"/>
                    <a:pt x="1047341" y="185490"/>
                    <a:pt x="1057976" y="185490"/>
                  </a:cubicBezTo>
                  <a:moveTo>
                    <a:pt x="1207309" y="219521"/>
                  </a:moveTo>
                  <a:cubicBezTo>
                    <a:pt x="1189733" y="219521"/>
                    <a:pt x="1176524" y="214371"/>
                    <a:pt x="1167569" y="203961"/>
                  </a:cubicBezTo>
                  <a:cubicBezTo>
                    <a:pt x="1158613" y="193662"/>
                    <a:pt x="1154136" y="180005"/>
                    <a:pt x="1154136" y="162989"/>
                  </a:cubicBezTo>
                  <a:lnTo>
                    <a:pt x="1154136" y="63696"/>
                  </a:lnTo>
                  <a:lnTo>
                    <a:pt x="1202047" y="63696"/>
                  </a:lnTo>
                  <a:lnTo>
                    <a:pt x="1202047" y="153026"/>
                  </a:lnTo>
                  <a:cubicBezTo>
                    <a:pt x="1202047" y="161310"/>
                    <a:pt x="1203950" y="167691"/>
                    <a:pt x="1207644" y="172057"/>
                  </a:cubicBezTo>
                  <a:cubicBezTo>
                    <a:pt x="1211339" y="176534"/>
                    <a:pt x="1217160" y="178661"/>
                    <a:pt x="1224772" y="178661"/>
                  </a:cubicBezTo>
                  <a:cubicBezTo>
                    <a:pt x="1233056" y="178661"/>
                    <a:pt x="1239548" y="175863"/>
                    <a:pt x="1244250" y="170266"/>
                  </a:cubicBezTo>
                  <a:cubicBezTo>
                    <a:pt x="1248951" y="164668"/>
                    <a:pt x="1251302" y="157280"/>
                    <a:pt x="1251302" y="148213"/>
                  </a:cubicBezTo>
                  <a:lnTo>
                    <a:pt x="1251302" y="63696"/>
                  </a:lnTo>
                  <a:lnTo>
                    <a:pt x="1299438" y="63696"/>
                  </a:lnTo>
                  <a:lnTo>
                    <a:pt x="1299438" y="215043"/>
                  </a:lnTo>
                  <a:lnTo>
                    <a:pt x="1253317" y="215043"/>
                  </a:lnTo>
                  <a:lnTo>
                    <a:pt x="1253317" y="196460"/>
                  </a:lnTo>
                  <a:lnTo>
                    <a:pt x="1252422" y="196460"/>
                  </a:lnTo>
                  <a:cubicBezTo>
                    <a:pt x="1246936" y="203961"/>
                    <a:pt x="1240668" y="209670"/>
                    <a:pt x="1233615" y="213588"/>
                  </a:cubicBezTo>
                  <a:cubicBezTo>
                    <a:pt x="1226675" y="217506"/>
                    <a:pt x="1217831" y="219521"/>
                    <a:pt x="1207197" y="219521"/>
                  </a:cubicBezTo>
                  <a:moveTo>
                    <a:pt x="1389888" y="219856"/>
                  </a:moveTo>
                  <a:cubicBezTo>
                    <a:pt x="1367611" y="219856"/>
                    <a:pt x="1350036" y="215043"/>
                    <a:pt x="1336939" y="205528"/>
                  </a:cubicBezTo>
                  <a:cubicBezTo>
                    <a:pt x="1323953" y="196013"/>
                    <a:pt x="1317013" y="182803"/>
                    <a:pt x="1316229" y="166012"/>
                  </a:cubicBezTo>
                  <a:lnTo>
                    <a:pt x="1361790" y="166012"/>
                  </a:lnTo>
                  <a:cubicBezTo>
                    <a:pt x="1362798" y="173512"/>
                    <a:pt x="1365596" y="179109"/>
                    <a:pt x="1370410" y="182915"/>
                  </a:cubicBezTo>
                  <a:cubicBezTo>
                    <a:pt x="1375112" y="186609"/>
                    <a:pt x="1381492" y="188512"/>
                    <a:pt x="1389664" y="188512"/>
                  </a:cubicBezTo>
                  <a:cubicBezTo>
                    <a:pt x="1396941" y="188512"/>
                    <a:pt x="1402761" y="187281"/>
                    <a:pt x="1406903" y="184706"/>
                  </a:cubicBezTo>
                  <a:cubicBezTo>
                    <a:pt x="1411157" y="182132"/>
                    <a:pt x="1413284" y="178437"/>
                    <a:pt x="1413284" y="173512"/>
                  </a:cubicBezTo>
                  <a:cubicBezTo>
                    <a:pt x="1413284" y="170154"/>
                    <a:pt x="1412165" y="167467"/>
                    <a:pt x="1410038" y="165340"/>
                  </a:cubicBezTo>
                  <a:cubicBezTo>
                    <a:pt x="1407911" y="163325"/>
                    <a:pt x="1405000" y="161646"/>
                    <a:pt x="1401418" y="160303"/>
                  </a:cubicBezTo>
                  <a:cubicBezTo>
                    <a:pt x="1397836" y="159071"/>
                    <a:pt x="1393806" y="158064"/>
                    <a:pt x="1389105" y="157392"/>
                  </a:cubicBezTo>
                  <a:cubicBezTo>
                    <a:pt x="1384515" y="156721"/>
                    <a:pt x="1379701" y="155825"/>
                    <a:pt x="1374776" y="154929"/>
                  </a:cubicBezTo>
                  <a:cubicBezTo>
                    <a:pt x="1368283" y="153698"/>
                    <a:pt x="1361790" y="152355"/>
                    <a:pt x="1355298" y="150676"/>
                  </a:cubicBezTo>
                  <a:cubicBezTo>
                    <a:pt x="1348805" y="148996"/>
                    <a:pt x="1342984" y="146534"/>
                    <a:pt x="1337722" y="143175"/>
                  </a:cubicBezTo>
                  <a:cubicBezTo>
                    <a:pt x="1332461" y="139817"/>
                    <a:pt x="1328319" y="135339"/>
                    <a:pt x="1325185" y="129742"/>
                  </a:cubicBezTo>
                  <a:cubicBezTo>
                    <a:pt x="1322050" y="124145"/>
                    <a:pt x="1320483" y="116869"/>
                    <a:pt x="1320483" y="108025"/>
                  </a:cubicBezTo>
                  <a:cubicBezTo>
                    <a:pt x="1320483" y="100189"/>
                    <a:pt x="1322162" y="93137"/>
                    <a:pt x="1325633" y="86980"/>
                  </a:cubicBezTo>
                  <a:cubicBezTo>
                    <a:pt x="1329103" y="80935"/>
                    <a:pt x="1333805" y="75786"/>
                    <a:pt x="1339738" y="71756"/>
                  </a:cubicBezTo>
                  <a:cubicBezTo>
                    <a:pt x="1345670" y="67726"/>
                    <a:pt x="1352611" y="64703"/>
                    <a:pt x="1360559" y="62576"/>
                  </a:cubicBezTo>
                  <a:cubicBezTo>
                    <a:pt x="1368507" y="60561"/>
                    <a:pt x="1377015" y="59442"/>
                    <a:pt x="1385858" y="59442"/>
                  </a:cubicBezTo>
                  <a:cubicBezTo>
                    <a:pt x="1407351" y="59442"/>
                    <a:pt x="1423807" y="63808"/>
                    <a:pt x="1435225" y="72427"/>
                  </a:cubicBezTo>
                  <a:cubicBezTo>
                    <a:pt x="1446643" y="81047"/>
                    <a:pt x="1452912" y="92913"/>
                    <a:pt x="1454144" y="107913"/>
                  </a:cubicBezTo>
                  <a:lnTo>
                    <a:pt x="1409814" y="107913"/>
                  </a:lnTo>
                  <a:cubicBezTo>
                    <a:pt x="1408807" y="100973"/>
                    <a:pt x="1406232" y="96383"/>
                    <a:pt x="1401978" y="93920"/>
                  </a:cubicBezTo>
                  <a:cubicBezTo>
                    <a:pt x="1397724" y="91458"/>
                    <a:pt x="1392239" y="90226"/>
                    <a:pt x="1385522" y="90226"/>
                  </a:cubicBezTo>
                  <a:cubicBezTo>
                    <a:pt x="1379589" y="90226"/>
                    <a:pt x="1374664" y="91346"/>
                    <a:pt x="1370634" y="93585"/>
                  </a:cubicBezTo>
                  <a:cubicBezTo>
                    <a:pt x="1366604" y="95823"/>
                    <a:pt x="1364589" y="99294"/>
                    <a:pt x="1364589" y="104107"/>
                  </a:cubicBezTo>
                  <a:cubicBezTo>
                    <a:pt x="1364589" y="106906"/>
                    <a:pt x="1365596" y="109033"/>
                    <a:pt x="1367499" y="110600"/>
                  </a:cubicBezTo>
                  <a:cubicBezTo>
                    <a:pt x="1369514" y="112167"/>
                    <a:pt x="1372089" y="113510"/>
                    <a:pt x="1375447" y="114630"/>
                  </a:cubicBezTo>
                  <a:cubicBezTo>
                    <a:pt x="1378806" y="115749"/>
                    <a:pt x="1382724" y="116645"/>
                    <a:pt x="1387089" y="117428"/>
                  </a:cubicBezTo>
                  <a:cubicBezTo>
                    <a:pt x="1391567" y="118212"/>
                    <a:pt x="1396157" y="118996"/>
                    <a:pt x="1400858" y="119779"/>
                  </a:cubicBezTo>
                  <a:cubicBezTo>
                    <a:pt x="1407575" y="120899"/>
                    <a:pt x="1414292" y="122354"/>
                    <a:pt x="1421120" y="124033"/>
                  </a:cubicBezTo>
                  <a:cubicBezTo>
                    <a:pt x="1427949" y="125712"/>
                    <a:pt x="1434106" y="128287"/>
                    <a:pt x="1439703" y="131869"/>
                  </a:cubicBezTo>
                  <a:cubicBezTo>
                    <a:pt x="1445300" y="135451"/>
                    <a:pt x="1449890" y="140153"/>
                    <a:pt x="1453472" y="146198"/>
                  </a:cubicBezTo>
                  <a:cubicBezTo>
                    <a:pt x="1457054" y="152243"/>
                    <a:pt x="1458845" y="160079"/>
                    <a:pt x="1458845" y="169706"/>
                  </a:cubicBezTo>
                  <a:cubicBezTo>
                    <a:pt x="1458845" y="177990"/>
                    <a:pt x="1457054" y="185266"/>
                    <a:pt x="1453696" y="191535"/>
                  </a:cubicBezTo>
                  <a:cubicBezTo>
                    <a:pt x="1450225" y="197804"/>
                    <a:pt x="1445412" y="203065"/>
                    <a:pt x="1439367" y="207207"/>
                  </a:cubicBezTo>
                  <a:cubicBezTo>
                    <a:pt x="1433210" y="211349"/>
                    <a:pt x="1425934" y="214483"/>
                    <a:pt x="1417538" y="216722"/>
                  </a:cubicBezTo>
                  <a:cubicBezTo>
                    <a:pt x="1409030" y="218849"/>
                    <a:pt x="1399851" y="219968"/>
                    <a:pt x="1390000" y="219968"/>
                  </a:cubicBezTo>
                  <a:moveTo>
                    <a:pt x="1552877" y="219633"/>
                  </a:moveTo>
                  <a:cubicBezTo>
                    <a:pt x="1540452" y="219633"/>
                    <a:pt x="1529257" y="217618"/>
                    <a:pt x="1519183" y="213588"/>
                  </a:cubicBezTo>
                  <a:cubicBezTo>
                    <a:pt x="1509108" y="209558"/>
                    <a:pt x="1500712" y="203961"/>
                    <a:pt x="1493771" y="196684"/>
                  </a:cubicBezTo>
                  <a:cubicBezTo>
                    <a:pt x="1486831" y="189520"/>
                    <a:pt x="1481570" y="181012"/>
                    <a:pt x="1477764" y="171161"/>
                  </a:cubicBezTo>
                  <a:cubicBezTo>
                    <a:pt x="1474069" y="161310"/>
                    <a:pt x="1472166" y="150676"/>
                    <a:pt x="1472166" y="139257"/>
                  </a:cubicBezTo>
                  <a:cubicBezTo>
                    <a:pt x="1472166" y="127839"/>
                    <a:pt x="1474069" y="117540"/>
                    <a:pt x="1477764" y="107801"/>
                  </a:cubicBezTo>
                  <a:cubicBezTo>
                    <a:pt x="1481458" y="98062"/>
                    <a:pt x="1486831" y="89555"/>
                    <a:pt x="1493771" y="82390"/>
                  </a:cubicBezTo>
                  <a:cubicBezTo>
                    <a:pt x="1500712" y="75226"/>
                    <a:pt x="1508884" y="69629"/>
                    <a:pt x="1518287" y="65599"/>
                  </a:cubicBezTo>
                  <a:cubicBezTo>
                    <a:pt x="1527802" y="61569"/>
                    <a:pt x="1538325" y="59554"/>
                    <a:pt x="1549967" y="59554"/>
                  </a:cubicBezTo>
                  <a:cubicBezTo>
                    <a:pt x="1560826" y="59554"/>
                    <a:pt x="1570453" y="61233"/>
                    <a:pt x="1579072" y="64591"/>
                  </a:cubicBezTo>
                  <a:cubicBezTo>
                    <a:pt x="1587692" y="67950"/>
                    <a:pt x="1595192" y="72539"/>
                    <a:pt x="1601685" y="78472"/>
                  </a:cubicBezTo>
                  <a:cubicBezTo>
                    <a:pt x="1610752" y="86756"/>
                    <a:pt x="1617469" y="97279"/>
                    <a:pt x="1621946" y="109928"/>
                  </a:cubicBezTo>
                  <a:cubicBezTo>
                    <a:pt x="1626424" y="122690"/>
                    <a:pt x="1628551" y="136683"/>
                    <a:pt x="1628327" y="152019"/>
                  </a:cubicBezTo>
                  <a:lnTo>
                    <a:pt x="1519518" y="152019"/>
                  </a:lnTo>
                  <a:cubicBezTo>
                    <a:pt x="1521086" y="162318"/>
                    <a:pt x="1524668" y="170378"/>
                    <a:pt x="1530153" y="176311"/>
                  </a:cubicBezTo>
                  <a:cubicBezTo>
                    <a:pt x="1535638" y="182244"/>
                    <a:pt x="1543474" y="185154"/>
                    <a:pt x="1553549" y="185154"/>
                  </a:cubicBezTo>
                  <a:cubicBezTo>
                    <a:pt x="1559818" y="185154"/>
                    <a:pt x="1565079" y="183811"/>
                    <a:pt x="1569221" y="181124"/>
                  </a:cubicBezTo>
                  <a:cubicBezTo>
                    <a:pt x="1573363" y="178437"/>
                    <a:pt x="1576498" y="174743"/>
                    <a:pt x="1578736" y="170042"/>
                  </a:cubicBezTo>
                  <a:lnTo>
                    <a:pt x="1625753" y="170042"/>
                  </a:lnTo>
                  <a:cubicBezTo>
                    <a:pt x="1624185" y="176982"/>
                    <a:pt x="1621275" y="183475"/>
                    <a:pt x="1616909" y="189744"/>
                  </a:cubicBezTo>
                  <a:cubicBezTo>
                    <a:pt x="1612543" y="196013"/>
                    <a:pt x="1607058" y="201274"/>
                    <a:pt x="1600341" y="205864"/>
                  </a:cubicBezTo>
                  <a:cubicBezTo>
                    <a:pt x="1594073" y="210453"/>
                    <a:pt x="1587020" y="213812"/>
                    <a:pt x="1579184" y="216162"/>
                  </a:cubicBezTo>
                  <a:cubicBezTo>
                    <a:pt x="1571348" y="218513"/>
                    <a:pt x="1562617" y="219745"/>
                    <a:pt x="1552990" y="219745"/>
                  </a:cubicBezTo>
                  <a:moveTo>
                    <a:pt x="1579632" y="123361"/>
                  </a:moveTo>
                  <a:cubicBezTo>
                    <a:pt x="1578624" y="114294"/>
                    <a:pt x="1575602" y="107130"/>
                    <a:pt x="1570453" y="101756"/>
                  </a:cubicBezTo>
                  <a:cubicBezTo>
                    <a:pt x="1565303" y="96495"/>
                    <a:pt x="1558810" y="93808"/>
                    <a:pt x="1550974" y="93808"/>
                  </a:cubicBezTo>
                  <a:cubicBezTo>
                    <a:pt x="1541683" y="93808"/>
                    <a:pt x="1534631" y="96495"/>
                    <a:pt x="1529705" y="101756"/>
                  </a:cubicBezTo>
                  <a:cubicBezTo>
                    <a:pt x="1524780" y="107130"/>
                    <a:pt x="1521533" y="114294"/>
                    <a:pt x="1519966" y="123361"/>
                  </a:cubicBezTo>
                  <a:lnTo>
                    <a:pt x="1579632" y="123361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9937AC71-AA29-4D58-AD0B-48517DBE7D0D}"/>
                </a:ext>
              </a:extLst>
            </p:cNvPr>
            <p:cNvSpPr/>
            <p:nvPr/>
          </p:nvSpPr>
          <p:spPr>
            <a:xfrm>
              <a:off x="821844" y="1268899"/>
              <a:ext cx="212244" cy="524230"/>
            </a:xfrm>
            <a:custGeom>
              <a:avLst/>
              <a:gdLst>
                <a:gd name="connsiteX0" fmla="*/ 0 w 212244"/>
                <a:gd name="connsiteY0" fmla="*/ 0 h 524230"/>
                <a:gd name="connsiteX1" fmla="*/ 0 w 212244"/>
                <a:gd name="connsiteY1" fmla="*/ 370084 h 524230"/>
                <a:gd name="connsiteX2" fmla="*/ 211685 w 212244"/>
                <a:gd name="connsiteY2" fmla="*/ 524230 h 524230"/>
                <a:gd name="connsiteX3" fmla="*/ 212244 w 212244"/>
                <a:gd name="connsiteY3" fmla="*/ 523670 h 524230"/>
                <a:gd name="connsiteX4" fmla="*/ 0 w 212244"/>
                <a:gd name="connsiteY4" fmla="*/ 0 h 524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2244" h="524230">
                  <a:moveTo>
                    <a:pt x="0" y="0"/>
                  </a:moveTo>
                  <a:lnTo>
                    <a:pt x="0" y="370084"/>
                  </a:lnTo>
                  <a:lnTo>
                    <a:pt x="211685" y="524230"/>
                  </a:lnTo>
                  <a:cubicBezTo>
                    <a:pt x="211685" y="524230"/>
                    <a:pt x="212133" y="523782"/>
                    <a:pt x="212244" y="52367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3D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A8444F99-FB38-E917-2CC6-6F787458E4AC}"/>
                </a:ext>
              </a:extLst>
            </p:cNvPr>
            <p:cNvSpPr/>
            <p:nvPr/>
          </p:nvSpPr>
          <p:spPr>
            <a:xfrm>
              <a:off x="609600" y="1268899"/>
              <a:ext cx="212244" cy="524118"/>
            </a:xfrm>
            <a:custGeom>
              <a:avLst/>
              <a:gdLst>
                <a:gd name="connsiteX0" fmla="*/ 0 w 212244"/>
                <a:gd name="connsiteY0" fmla="*/ 523558 h 524118"/>
                <a:gd name="connsiteX1" fmla="*/ 560 w 212244"/>
                <a:gd name="connsiteY1" fmla="*/ 524118 h 524118"/>
                <a:gd name="connsiteX2" fmla="*/ 212244 w 212244"/>
                <a:gd name="connsiteY2" fmla="*/ 369972 h 524118"/>
                <a:gd name="connsiteX3" fmla="*/ 212244 w 212244"/>
                <a:gd name="connsiteY3" fmla="*/ 0 h 524118"/>
                <a:gd name="connsiteX4" fmla="*/ 0 w 212244"/>
                <a:gd name="connsiteY4" fmla="*/ 523558 h 524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2244" h="524118">
                  <a:moveTo>
                    <a:pt x="0" y="523558"/>
                  </a:moveTo>
                  <a:cubicBezTo>
                    <a:pt x="0" y="523558"/>
                    <a:pt x="448" y="524006"/>
                    <a:pt x="560" y="524118"/>
                  </a:cubicBezTo>
                  <a:lnTo>
                    <a:pt x="212244" y="369972"/>
                  </a:lnTo>
                  <a:lnTo>
                    <a:pt x="212244" y="0"/>
                  </a:lnTo>
                  <a:lnTo>
                    <a:pt x="0" y="523558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E1A85A9-E412-184D-B6CF-A3DDA62221B1}"/>
              </a:ext>
            </a:extLst>
          </p:cNvPr>
          <p:cNvGrpSpPr/>
          <p:nvPr userDrawn="1"/>
        </p:nvGrpSpPr>
        <p:grpSpPr>
          <a:xfrm>
            <a:off x="-120073" y="3696853"/>
            <a:ext cx="12358258" cy="0"/>
            <a:chOff x="-101601" y="3429000"/>
            <a:chExt cx="12358258" cy="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9921AC8-C103-F58B-120C-B7CFBE7BC436}"/>
                </a:ext>
              </a:extLst>
            </p:cNvPr>
            <p:cNvCxnSpPr>
              <a:cxnSpLocks/>
            </p:cNvCxnSpPr>
            <p:nvPr userDrawn="1"/>
          </p:nvCxnSpPr>
          <p:spPr>
            <a:xfrm rot="5400000" flipH="1">
              <a:off x="6077528" y="-2750129"/>
              <a:ext cx="0" cy="12358258"/>
            </a:xfrm>
            <a:prstGeom prst="line">
              <a:avLst/>
            </a:prstGeom>
            <a:ln>
              <a:solidFill>
                <a:schemeClr val="bg1"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C0C0EA49-8A32-C756-AB52-CAF0DA226BF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741170" y="3429000"/>
              <a:ext cx="1735384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17089442-D37C-DDCD-AA7F-039483C5287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2990579" y="3429000"/>
              <a:ext cx="1735384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CC0C59B0-181B-CE20-F495-AE8E9203425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5239988" y="3429000"/>
              <a:ext cx="1735384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DF99DE1E-1074-A94A-CBEF-769216EB1FAF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7489397" y="3429000"/>
              <a:ext cx="1735384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B52E6928-4DB5-1504-5281-265B9F9F038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738806" y="3429000"/>
              <a:ext cx="1735384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C0998D65-616E-0544-CFBF-4F22B57FB601}"/>
              </a:ext>
            </a:extLst>
          </p:cNvPr>
          <p:cNvSpPr txBox="1"/>
          <p:nvPr userDrawn="1"/>
        </p:nvSpPr>
        <p:spPr>
          <a:xfrm>
            <a:off x="624840" y="1544542"/>
            <a:ext cx="7786913" cy="92333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5400" b="0">
                <a:solidFill>
                  <a:schemeClr val="bg1"/>
                </a:solidFill>
                <a:latin typeface="+mn-lt"/>
              </a:rPr>
              <a:t>Our RI</a:t>
            </a:r>
            <a:r>
              <a:rPr lang="en-US" sz="5400" b="0" baseline="30000">
                <a:solidFill>
                  <a:schemeClr val="bg1"/>
                </a:solidFill>
                <a:latin typeface="+mn-lt"/>
              </a:rPr>
              <a:t>2</a:t>
            </a:r>
            <a:r>
              <a:rPr lang="en-US" sz="5400" b="0">
                <a:solidFill>
                  <a:schemeClr val="bg1"/>
                </a:solidFill>
                <a:latin typeface="+mn-lt"/>
              </a:rPr>
              <a:t>SE Value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90715F3-2E35-1487-3E72-E475416EBD74}"/>
              </a:ext>
            </a:extLst>
          </p:cNvPr>
          <p:cNvSpPr txBox="1"/>
          <p:nvPr userDrawn="1"/>
        </p:nvSpPr>
        <p:spPr>
          <a:xfrm>
            <a:off x="722699" y="3976370"/>
            <a:ext cx="1730696" cy="1028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We rise by illuminating the diversity each person brings, ensuring all can shin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AC9B60FB-96B4-5C92-B2D2-0AD07845F907}"/>
              </a:ext>
            </a:extLst>
          </p:cNvPr>
          <p:cNvSpPr txBox="1"/>
          <p:nvPr userDrawn="1"/>
        </p:nvSpPr>
        <p:spPr>
          <a:xfrm>
            <a:off x="2975568" y="3976370"/>
            <a:ext cx="1730696" cy="1028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We rise by being courageously ethical and charting the right course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407A776-ADF6-731C-C564-F9C461585D11}"/>
              </a:ext>
            </a:extLst>
          </p:cNvPr>
          <p:cNvSpPr txBox="1"/>
          <p:nvPr userDrawn="1"/>
        </p:nvSpPr>
        <p:spPr>
          <a:xfrm>
            <a:off x="5173980" y="3976370"/>
            <a:ext cx="1828800" cy="1028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We rise by combining deep expertise with boundless creativity to deliver outstanding results</a:t>
            </a:r>
          </a:p>
          <a:p>
            <a:pPr algn="ctr"/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475B8F4F-1627-77BE-CAB4-1A53859D524A}"/>
              </a:ext>
            </a:extLst>
          </p:cNvPr>
          <p:cNvSpPr txBox="1"/>
          <p:nvPr userDrawn="1"/>
        </p:nvSpPr>
        <p:spPr>
          <a:xfrm>
            <a:off x="7426678" y="3976370"/>
            <a:ext cx="1828800" cy="1028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We rise by helping our people grow, our business succeed, and communities thrive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77142E8-BF39-3704-D734-F26D2F15AC5C}"/>
              </a:ext>
            </a:extLst>
          </p:cNvPr>
          <p:cNvSpPr txBox="1"/>
          <p:nvPr userDrawn="1"/>
        </p:nvSpPr>
        <p:spPr>
          <a:xfrm>
            <a:off x="9738605" y="3975100"/>
            <a:ext cx="1730696" cy="1028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We rise by being committed, refusing average and constantly evolving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26B11BF-32DA-DB30-52D3-8B7F0B0AEDB5}"/>
              </a:ext>
            </a:extLst>
          </p:cNvPr>
          <p:cNvSpPr txBox="1"/>
          <p:nvPr userDrawn="1"/>
        </p:nvSpPr>
        <p:spPr>
          <a:xfrm>
            <a:off x="722699" y="3288853"/>
            <a:ext cx="1730696" cy="32299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Be a Beacon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8ACB2CF-A52D-85B1-CB5D-FE93578E648C}"/>
              </a:ext>
            </a:extLst>
          </p:cNvPr>
          <p:cNvSpPr txBox="1"/>
          <p:nvPr userDrawn="1"/>
        </p:nvSpPr>
        <p:spPr>
          <a:xfrm>
            <a:off x="2975568" y="3288853"/>
            <a:ext cx="1730696" cy="32299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Be a Compass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1614595-B2A2-3775-14C9-0C1C887B0ED9}"/>
              </a:ext>
            </a:extLst>
          </p:cNvPr>
          <p:cNvSpPr txBox="1"/>
          <p:nvPr userDrawn="1"/>
        </p:nvSpPr>
        <p:spPr>
          <a:xfrm>
            <a:off x="5220809" y="3288853"/>
            <a:ext cx="1735142" cy="32299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Ignite Chang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D5CF787-BF98-A33F-7BCB-54A67FB3F341}"/>
              </a:ext>
            </a:extLst>
          </p:cNvPr>
          <p:cNvSpPr txBox="1"/>
          <p:nvPr userDrawn="1"/>
        </p:nvSpPr>
        <p:spPr>
          <a:xfrm>
            <a:off x="7426678" y="3288853"/>
            <a:ext cx="1828800" cy="32299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Be a Guardian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456B281-119F-E674-9B15-1100FE3AECF0}"/>
              </a:ext>
            </a:extLst>
          </p:cNvPr>
          <p:cNvSpPr txBox="1"/>
          <p:nvPr userDrawn="1"/>
        </p:nvSpPr>
        <p:spPr>
          <a:xfrm>
            <a:off x="9738605" y="3283773"/>
            <a:ext cx="1730696" cy="32299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Pursue Perfection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B465B399-4870-D1BB-A832-0927DCBCF0D7}"/>
              </a:ext>
            </a:extLst>
          </p:cNvPr>
          <p:cNvSpPr txBox="1"/>
          <p:nvPr userDrawn="1"/>
        </p:nvSpPr>
        <p:spPr>
          <a:xfrm>
            <a:off x="722699" y="2980206"/>
            <a:ext cx="1730696" cy="32299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r>
              <a:rPr lang="en-US" sz="1600" b="1" spc="300" baseline="0">
                <a:solidFill>
                  <a:schemeClr val="accent1"/>
                </a:solidFill>
                <a:latin typeface="+mj-lt"/>
              </a:rPr>
              <a:t>RESPECT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3F5DE07-9F0A-5EDD-E853-A2098DF5E0C2}"/>
              </a:ext>
            </a:extLst>
          </p:cNvPr>
          <p:cNvSpPr txBox="1"/>
          <p:nvPr userDrawn="1"/>
        </p:nvSpPr>
        <p:spPr>
          <a:xfrm>
            <a:off x="2975568" y="2980206"/>
            <a:ext cx="1730696" cy="32299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r>
              <a:rPr lang="en-US" sz="1600" b="1" spc="300" baseline="0">
                <a:solidFill>
                  <a:schemeClr val="accent1"/>
                </a:solidFill>
                <a:latin typeface="+mj-lt"/>
              </a:rPr>
              <a:t>INTEGRITY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BAF1FCA1-D7DB-8168-B80D-7635325208DC}"/>
              </a:ext>
            </a:extLst>
          </p:cNvPr>
          <p:cNvSpPr txBox="1"/>
          <p:nvPr userDrawn="1"/>
        </p:nvSpPr>
        <p:spPr>
          <a:xfrm>
            <a:off x="5212855" y="2980206"/>
            <a:ext cx="1730696" cy="32299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r>
              <a:rPr lang="en-US" sz="1600" b="1" spc="300" baseline="0">
                <a:solidFill>
                  <a:schemeClr val="accent1"/>
                </a:solidFill>
                <a:latin typeface="+mj-lt"/>
              </a:rPr>
              <a:t>INNOVATION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8AE0B2FA-B360-131B-57F4-FD13D1D78419}"/>
              </a:ext>
            </a:extLst>
          </p:cNvPr>
          <p:cNvSpPr txBox="1"/>
          <p:nvPr userDrawn="1"/>
        </p:nvSpPr>
        <p:spPr>
          <a:xfrm>
            <a:off x="7374092" y="2980206"/>
            <a:ext cx="1933738" cy="32299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r>
              <a:rPr lang="en-US" sz="1600" b="1" spc="300" baseline="0">
                <a:solidFill>
                  <a:schemeClr val="accent1"/>
                </a:solidFill>
                <a:latin typeface="+mj-lt"/>
              </a:rPr>
              <a:t>STEWARDSHIP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008C5AD4-4C58-C754-3E81-DB46F852A24F}"/>
              </a:ext>
            </a:extLst>
          </p:cNvPr>
          <p:cNvSpPr txBox="1"/>
          <p:nvPr userDrawn="1"/>
        </p:nvSpPr>
        <p:spPr>
          <a:xfrm>
            <a:off x="9621157" y="2980206"/>
            <a:ext cx="1933738" cy="32299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r>
              <a:rPr lang="en-US" sz="1600" b="1" spc="300" baseline="0">
                <a:solidFill>
                  <a:schemeClr val="accent1"/>
                </a:solidFill>
                <a:latin typeface="+mj-lt"/>
              </a:rPr>
              <a:t>EXCELLENCE</a:t>
            </a:r>
          </a:p>
        </p:txBody>
      </p:sp>
    </p:spTree>
    <p:extLst>
      <p:ext uri="{BB962C8B-B14F-4D97-AF65-F5344CB8AC3E}">
        <p14:creationId xmlns:p14="http://schemas.microsoft.com/office/powerpoint/2010/main" val="32783324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 -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aphic 7">
            <a:extLst>
              <a:ext uri="{FF2B5EF4-FFF2-40B4-BE49-F238E27FC236}">
                <a16:creationId xmlns:a16="http://schemas.microsoft.com/office/drawing/2014/main" id="{C5A0A539-4BAC-8953-4BBA-6D59087AD769}"/>
              </a:ext>
            </a:extLst>
          </p:cNvPr>
          <p:cNvGrpSpPr/>
          <p:nvPr userDrawn="1"/>
        </p:nvGrpSpPr>
        <p:grpSpPr>
          <a:xfrm>
            <a:off x="609600" y="557212"/>
            <a:ext cx="1729317" cy="437558"/>
            <a:chOff x="609600" y="557212"/>
            <a:chExt cx="2670098" cy="675598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CABD304E-130C-E81B-7AD9-4DF1D35529F5}"/>
                </a:ext>
              </a:extLst>
            </p:cNvPr>
            <p:cNvSpPr/>
            <p:nvPr/>
          </p:nvSpPr>
          <p:spPr>
            <a:xfrm>
              <a:off x="1181182" y="790634"/>
              <a:ext cx="2098515" cy="283771"/>
            </a:xfrm>
            <a:custGeom>
              <a:avLst/>
              <a:gdLst>
                <a:gd name="connsiteX0" fmla="*/ 129551 w 2098515"/>
                <a:gd name="connsiteY0" fmla="*/ 283771 h 283771"/>
                <a:gd name="connsiteX1" fmla="*/ 77038 w 2098515"/>
                <a:gd name="connsiteY1" fmla="*/ 273817 h 283771"/>
                <a:gd name="connsiteX2" fmla="*/ 36644 w 2098515"/>
                <a:gd name="connsiteY2" fmla="*/ 245685 h 283771"/>
                <a:gd name="connsiteX3" fmla="*/ 9377 w 2098515"/>
                <a:gd name="connsiteY3" fmla="*/ 199953 h 283771"/>
                <a:gd name="connsiteX4" fmla="*/ 0 w 2098515"/>
                <a:gd name="connsiteY4" fmla="*/ 142391 h 283771"/>
                <a:gd name="connsiteX5" fmla="*/ 10531 w 2098515"/>
                <a:gd name="connsiteY5" fmla="*/ 82809 h 283771"/>
                <a:gd name="connsiteX6" fmla="*/ 40395 w 2098515"/>
                <a:gd name="connsiteY6" fmla="*/ 36211 h 283771"/>
                <a:gd name="connsiteX7" fmla="*/ 80789 w 2098515"/>
                <a:gd name="connsiteY7" fmla="*/ 9522 h 283771"/>
                <a:gd name="connsiteX8" fmla="*/ 133735 w 2098515"/>
                <a:gd name="connsiteY8" fmla="*/ 0 h 283771"/>
                <a:gd name="connsiteX9" fmla="*/ 180910 w 2098515"/>
                <a:gd name="connsiteY9" fmla="*/ 6636 h 283771"/>
                <a:gd name="connsiteX10" fmla="*/ 217121 w 2098515"/>
                <a:gd name="connsiteY10" fmla="*/ 25679 h 283771"/>
                <a:gd name="connsiteX11" fmla="*/ 241646 w 2098515"/>
                <a:gd name="connsiteY11" fmla="*/ 55542 h 283771"/>
                <a:gd name="connsiteX12" fmla="*/ 254341 w 2098515"/>
                <a:gd name="connsiteY12" fmla="*/ 94350 h 283771"/>
                <a:gd name="connsiteX13" fmla="*/ 188844 w 2098515"/>
                <a:gd name="connsiteY13" fmla="*/ 94350 h 283771"/>
                <a:gd name="connsiteX14" fmla="*/ 171677 w 2098515"/>
                <a:gd name="connsiteY14" fmla="*/ 66507 h 283771"/>
                <a:gd name="connsiteX15" fmla="*/ 135899 w 2098515"/>
                <a:gd name="connsiteY15" fmla="*/ 55398 h 283771"/>
                <a:gd name="connsiteX16" fmla="*/ 106324 w 2098515"/>
                <a:gd name="connsiteY16" fmla="*/ 62034 h 283771"/>
                <a:gd name="connsiteX17" fmla="*/ 85117 w 2098515"/>
                <a:gd name="connsiteY17" fmla="*/ 80356 h 283771"/>
                <a:gd name="connsiteX18" fmla="*/ 72566 w 2098515"/>
                <a:gd name="connsiteY18" fmla="*/ 107767 h 283771"/>
                <a:gd name="connsiteX19" fmla="*/ 68382 w 2098515"/>
                <a:gd name="connsiteY19" fmla="*/ 142246 h 283771"/>
                <a:gd name="connsiteX20" fmla="*/ 73143 w 2098515"/>
                <a:gd name="connsiteY20" fmla="*/ 176870 h 283771"/>
                <a:gd name="connsiteX21" fmla="*/ 86704 w 2098515"/>
                <a:gd name="connsiteY21" fmla="*/ 204425 h 283771"/>
                <a:gd name="connsiteX22" fmla="*/ 108200 w 2098515"/>
                <a:gd name="connsiteY22" fmla="*/ 222458 h 283771"/>
                <a:gd name="connsiteX23" fmla="*/ 136909 w 2098515"/>
                <a:gd name="connsiteY23" fmla="*/ 228950 h 283771"/>
                <a:gd name="connsiteX24" fmla="*/ 160712 w 2098515"/>
                <a:gd name="connsiteY24" fmla="*/ 224911 h 283771"/>
                <a:gd name="connsiteX25" fmla="*/ 178601 w 2098515"/>
                <a:gd name="connsiteY25" fmla="*/ 214235 h 283771"/>
                <a:gd name="connsiteX26" fmla="*/ 190431 w 2098515"/>
                <a:gd name="connsiteY26" fmla="*/ 198943 h 283771"/>
                <a:gd name="connsiteX27" fmla="*/ 195913 w 2098515"/>
                <a:gd name="connsiteY27" fmla="*/ 181198 h 283771"/>
                <a:gd name="connsiteX28" fmla="*/ 195913 w 2098515"/>
                <a:gd name="connsiteY28" fmla="*/ 180477 h 283771"/>
                <a:gd name="connsiteX29" fmla="*/ 144843 w 2098515"/>
                <a:gd name="connsiteY29" fmla="*/ 180477 h 283771"/>
                <a:gd name="connsiteX30" fmla="*/ 144843 w 2098515"/>
                <a:gd name="connsiteY30" fmla="*/ 130994 h 283771"/>
                <a:gd name="connsiteX31" fmla="*/ 258381 w 2098515"/>
                <a:gd name="connsiteY31" fmla="*/ 130994 h 283771"/>
                <a:gd name="connsiteX32" fmla="*/ 258381 w 2098515"/>
                <a:gd name="connsiteY32" fmla="*/ 277279 h 283771"/>
                <a:gd name="connsiteX33" fmla="*/ 211206 w 2098515"/>
                <a:gd name="connsiteY33" fmla="*/ 277279 h 283771"/>
                <a:gd name="connsiteX34" fmla="*/ 207455 w 2098515"/>
                <a:gd name="connsiteY34" fmla="*/ 244531 h 283771"/>
                <a:gd name="connsiteX35" fmla="*/ 206733 w 2098515"/>
                <a:gd name="connsiteY35" fmla="*/ 244531 h 283771"/>
                <a:gd name="connsiteX36" fmla="*/ 173841 w 2098515"/>
                <a:gd name="connsiteY36" fmla="*/ 274394 h 283771"/>
                <a:gd name="connsiteX37" fmla="*/ 129407 w 2098515"/>
                <a:gd name="connsiteY37" fmla="*/ 283339 h 283771"/>
                <a:gd name="connsiteX38" fmla="*/ 358357 w 2098515"/>
                <a:gd name="connsiteY38" fmla="*/ 282906 h 283771"/>
                <a:gd name="connsiteX39" fmla="*/ 307143 w 2098515"/>
                <a:gd name="connsiteY39" fmla="*/ 262853 h 283771"/>
                <a:gd name="connsiteX40" fmla="*/ 289831 w 2098515"/>
                <a:gd name="connsiteY40" fmla="*/ 210051 h 283771"/>
                <a:gd name="connsiteX41" fmla="*/ 289831 w 2098515"/>
                <a:gd name="connsiteY41" fmla="*/ 82087 h 283771"/>
                <a:gd name="connsiteX42" fmla="*/ 351577 w 2098515"/>
                <a:gd name="connsiteY42" fmla="*/ 82087 h 283771"/>
                <a:gd name="connsiteX43" fmla="*/ 351577 w 2098515"/>
                <a:gd name="connsiteY43" fmla="*/ 197212 h 283771"/>
                <a:gd name="connsiteX44" fmla="*/ 358790 w 2098515"/>
                <a:gd name="connsiteY44" fmla="*/ 221737 h 283771"/>
                <a:gd name="connsiteX45" fmla="*/ 380863 w 2098515"/>
                <a:gd name="connsiteY45" fmla="*/ 230249 h 283771"/>
                <a:gd name="connsiteX46" fmla="*/ 405965 w 2098515"/>
                <a:gd name="connsiteY46" fmla="*/ 219429 h 283771"/>
                <a:gd name="connsiteX47" fmla="*/ 415054 w 2098515"/>
                <a:gd name="connsiteY47" fmla="*/ 191008 h 283771"/>
                <a:gd name="connsiteX48" fmla="*/ 415054 w 2098515"/>
                <a:gd name="connsiteY48" fmla="*/ 82087 h 283771"/>
                <a:gd name="connsiteX49" fmla="*/ 477088 w 2098515"/>
                <a:gd name="connsiteY49" fmla="*/ 82087 h 283771"/>
                <a:gd name="connsiteX50" fmla="*/ 477088 w 2098515"/>
                <a:gd name="connsiteY50" fmla="*/ 277135 h 283771"/>
                <a:gd name="connsiteX51" fmla="*/ 417650 w 2098515"/>
                <a:gd name="connsiteY51" fmla="*/ 277135 h 283771"/>
                <a:gd name="connsiteX52" fmla="*/ 417650 w 2098515"/>
                <a:gd name="connsiteY52" fmla="*/ 253187 h 283771"/>
                <a:gd name="connsiteX53" fmla="*/ 416496 w 2098515"/>
                <a:gd name="connsiteY53" fmla="*/ 253187 h 283771"/>
                <a:gd name="connsiteX54" fmla="*/ 392260 w 2098515"/>
                <a:gd name="connsiteY54" fmla="*/ 275260 h 283771"/>
                <a:gd name="connsiteX55" fmla="*/ 358213 w 2098515"/>
                <a:gd name="connsiteY55" fmla="*/ 282906 h 283771"/>
                <a:gd name="connsiteX56" fmla="*/ 512433 w 2098515"/>
                <a:gd name="connsiteY56" fmla="*/ 2164 h 283771"/>
                <a:gd name="connsiteX57" fmla="*/ 574468 w 2098515"/>
                <a:gd name="connsiteY57" fmla="*/ 2164 h 283771"/>
                <a:gd name="connsiteX58" fmla="*/ 574468 w 2098515"/>
                <a:gd name="connsiteY58" fmla="*/ 55110 h 283771"/>
                <a:gd name="connsiteX59" fmla="*/ 512433 w 2098515"/>
                <a:gd name="connsiteY59" fmla="*/ 55110 h 283771"/>
                <a:gd name="connsiteX60" fmla="*/ 512433 w 2098515"/>
                <a:gd name="connsiteY60" fmla="*/ 2164 h 283771"/>
                <a:gd name="connsiteX61" fmla="*/ 512433 w 2098515"/>
                <a:gd name="connsiteY61" fmla="*/ 82087 h 283771"/>
                <a:gd name="connsiteX62" fmla="*/ 574468 w 2098515"/>
                <a:gd name="connsiteY62" fmla="*/ 82087 h 283771"/>
                <a:gd name="connsiteX63" fmla="*/ 574468 w 2098515"/>
                <a:gd name="connsiteY63" fmla="*/ 277135 h 283771"/>
                <a:gd name="connsiteX64" fmla="*/ 512433 w 2098515"/>
                <a:gd name="connsiteY64" fmla="*/ 277135 h 283771"/>
                <a:gd name="connsiteX65" fmla="*/ 512433 w 2098515"/>
                <a:gd name="connsiteY65" fmla="*/ 82087 h 283771"/>
                <a:gd name="connsiteX66" fmla="*/ 686563 w 2098515"/>
                <a:gd name="connsiteY66" fmla="*/ 283194 h 283771"/>
                <a:gd name="connsiteX67" fmla="*/ 652227 w 2098515"/>
                <a:gd name="connsiteY67" fmla="*/ 276125 h 283771"/>
                <a:gd name="connsiteX68" fmla="*/ 625249 w 2098515"/>
                <a:gd name="connsiteY68" fmla="*/ 255784 h 283771"/>
                <a:gd name="connsiteX69" fmla="*/ 607505 w 2098515"/>
                <a:gd name="connsiteY69" fmla="*/ 223180 h 283771"/>
                <a:gd name="connsiteX70" fmla="*/ 601157 w 2098515"/>
                <a:gd name="connsiteY70" fmla="*/ 179611 h 283771"/>
                <a:gd name="connsiteX71" fmla="*/ 607505 w 2098515"/>
                <a:gd name="connsiteY71" fmla="*/ 137630 h 283771"/>
                <a:gd name="connsiteX72" fmla="*/ 624961 w 2098515"/>
                <a:gd name="connsiteY72" fmla="*/ 105026 h 283771"/>
                <a:gd name="connsiteX73" fmla="*/ 651794 w 2098515"/>
                <a:gd name="connsiteY73" fmla="*/ 83819 h 283771"/>
                <a:gd name="connsiteX74" fmla="*/ 686418 w 2098515"/>
                <a:gd name="connsiteY74" fmla="*/ 76172 h 283771"/>
                <a:gd name="connsiteX75" fmla="*/ 719600 w 2098515"/>
                <a:gd name="connsiteY75" fmla="*/ 83963 h 283771"/>
                <a:gd name="connsiteX76" fmla="*/ 740951 w 2098515"/>
                <a:gd name="connsiteY76" fmla="*/ 104016 h 283771"/>
                <a:gd name="connsiteX77" fmla="*/ 742105 w 2098515"/>
                <a:gd name="connsiteY77" fmla="*/ 104016 h 283771"/>
                <a:gd name="connsiteX78" fmla="*/ 742105 w 2098515"/>
                <a:gd name="connsiteY78" fmla="*/ 1875 h 283771"/>
                <a:gd name="connsiteX79" fmla="*/ 804139 w 2098515"/>
                <a:gd name="connsiteY79" fmla="*/ 1875 h 283771"/>
                <a:gd name="connsiteX80" fmla="*/ 804139 w 2098515"/>
                <a:gd name="connsiteY80" fmla="*/ 276991 h 283771"/>
                <a:gd name="connsiteX81" fmla="*/ 744702 w 2098515"/>
                <a:gd name="connsiteY81" fmla="*/ 276991 h 283771"/>
                <a:gd name="connsiteX82" fmla="*/ 744702 w 2098515"/>
                <a:gd name="connsiteY82" fmla="*/ 250735 h 283771"/>
                <a:gd name="connsiteX83" fmla="*/ 743981 w 2098515"/>
                <a:gd name="connsiteY83" fmla="*/ 250735 h 283771"/>
                <a:gd name="connsiteX84" fmla="*/ 720609 w 2098515"/>
                <a:gd name="connsiteY84" fmla="*/ 274538 h 283771"/>
                <a:gd name="connsiteX85" fmla="*/ 686563 w 2098515"/>
                <a:gd name="connsiteY85" fmla="*/ 283050 h 283771"/>
                <a:gd name="connsiteX86" fmla="*/ 702576 w 2098515"/>
                <a:gd name="connsiteY86" fmla="*/ 233855 h 283771"/>
                <a:gd name="connsiteX87" fmla="*/ 732872 w 2098515"/>
                <a:gd name="connsiteY87" fmla="*/ 218563 h 283771"/>
                <a:gd name="connsiteX88" fmla="*/ 743692 w 2098515"/>
                <a:gd name="connsiteY88" fmla="*/ 179323 h 283771"/>
                <a:gd name="connsiteX89" fmla="*/ 741239 w 2098515"/>
                <a:gd name="connsiteY89" fmla="*/ 156673 h 283771"/>
                <a:gd name="connsiteX90" fmla="*/ 733593 w 2098515"/>
                <a:gd name="connsiteY90" fmla="*/ 138784 h 283771"/>
                <a:gd name="connsiteX91" fmla="*/ 721042 w 2098515"/>
                <a:gd name="connsiteY91" fmla="*/ 127098 h 283771"/>
                <a:gd name="connsiteX92" fmla="*/ 703297 w 2098515"/>
                <a:gd name="connsiteY92" fmla="*/ 122915 h 283771"/>
                <a:gd name="connsiteX93" fmla="*/ 674300 w 2098515"/>
                <a:gd name="connsiteY93" fmla="*/ 138351 h 283771"/>
                <a:gd name="connsiteX94" fmla="*/ 664057 w 2098515"/>
                <a:gd name="connsiteY94" fmla="*/ 178601 h 283771"/>
                <a:gd name="connsiteX95" fmla="*/ 674156 w 2098515"/>
                <a:gd name="connsiteY95" fmla="*/ 218996 h 283771"/>
                <a:gd name="connsiteX96" fmla="*/ 702576 w 2098515"/>
                <a:gd name="connsiteY96" fmla="*/ 233855 h 283771"/>
                <a:gd name="connsiteX97" fmla="*/ 931094 w 2098515"/>
                <a:gd name="connsiteY97" fmla="*/ 282617 h 283771"/>
                <a:gd name="connsiteX98" fmla="*/ 887670 w 2098515"/>
                <a:gd name="connsiteY98" fmla="*/ 274827 h 283771"/>
                <a:gd name="connsiteX99" fmla="*/ 854921 w 2098515"/>
                <a:gd name="connsiteY99" fmla="*/ 253043 h 283771"/>
                <a:gd name="connsiteX100" fmla="*/ 834291 w 2098515"/>
                <a:gd name="connsiteY100" fmla="*/ 220150 h 283771"/>
                <a:gd name="connsiteX101" fmla="*/ 827078 w 2098515"/>
                <a:gd name="connsiteY101" fmla="*/ 179034 h 283771"/>
                <a:gd name="connsiteX102" fmla="*/ 834291 w 2098515"/>
                <a:gd name="connsiteY102" fmla="*/ 138495 h 283771"/>
                <a:gd name="connsiteX103" fmla="*/ 854921 w 2098515"/>
                <a:gd name="connsiteY103" fmla="*/ 105747 h 283771"/>
                <a:gd name="connsiteX104" fmla="*/ 886515 w 2098515"/>
                <a:gd name="connsiteY104" fmla="*/ 84107 h 283771"/>
                <a:gd name="connsiteX105" fmla="*/ 927343 w 2098515"/>
                <a:gd name="connsiteY105" fmla="*/ 76317 h 283771"/>
                <a:gd name="connsiteX106" fmla="*/ 964852 w 2098515"/>
                <a:gd name="connsiteY106" fmla="*/ 82809 h 283771"/>
                <a:gd name="connsiteX107" fmla="*/ 993994 w 2098515"/>
                <a:gd name="connsiteY107" fmla="*/ 100698 h 283771"/>
                <a:gd name="connsiteX108" fmla="*/ 1020106 w 2098515"/>
                <a:gd name="connsiteY108" fmla="*/ 141237 h 283771"/>
                <a:gd name="connsiteX109" fmla="*/ 1028329 w 2098515"/>
                <a:gd name="connsiteY109" fmla="*/ 195481 h 283771"/>
                <a:gd name="connsiteX110" fmla="*/ 888102 w 2098515"/>
                <a:gd name="connsiteY110" fmla="*/ 195481 h 283771"/>
                <a:gd name="connsiteX111" fmla="*/ 901808 w 2098515"/>
                <a:gd name="connsiteY111" fmla="*/ 226786 h 283771"/>
                <a:gd name="connsiteX112" fmla="*/ 931959 w 2098515"/>
                <a:gd name="connsiteY112" fmla="*/ 238183 h 283771"/>
                <a:gd name="connsiteX113" fmla="*/ 952157 w 2098515"/>
                <a:gd name="connsiteY113" fmla="*/ 232990 h 283771"/>
                <a:gd name="connsiteX114" fmla="*/ 964275 w 2098515"/>
                <a:gd name="connsiteY114" fmla="*/ 218707 h 283771"/>
                <a:gd name="connsiteX115" fmla="*/ 1024867 w 2098515"/>
                <a:gd name="connsiteY115" fmla="*/ 218707 h 283771"/>
                <a:gd name="connsiteX116" fmla="*/ 1013470 w 2098515"/>
                <a:gd name="connsiteY116" fmla="*/ 244098 h 283771"/>
                <a:gd name="connsiteX117" fmla="*/ 992118 w 2098515"/>
                <a:gd name="connsiteY117" fmla="*/ 264873 h 283771"/>
                <a:gd name="connsiteX118" fmla="*/ 964852 w 2098515"/>
                <a:gd name="connsiteY118" fmla="*/ 278145 h 283771"/>
                <a:gd name="connsiteX119" fmla="*/ 931094 w 2098515"/>
                <a:gd name="connsiteY119" fmla="*/ 282762 h 283771"/>
                <a:gd name="connsiteX120" fmla="*/ 965429 w 2098515"/>
                <a:gd name="connsiteY120" fmla="*/ 158548 h 283771"/>
                <a:gd name="connsiteX121" fmla="*/ 953599 w 2098515"/>
                <a:gd name="connsiteY121" fmla="*/ 130705 h 283771"/>
                <a:gd name="connsiteX122" fmla="*/ 928497 w 2098515"/>
                <a:gd name="connsiteY122" fmla="*/ 120462 h 283771"/>
                <a:gd name="connsiteX123" fmla="*/ 901086 w 2098515"/>
                <a:gd name="connsiteY123" fmla="*/ 130705 h 283771"/>
                <a:gd name="connsiteX124" fmla="*/ 888535 w 2098515"/>
                <a:gd name="connsiteY124" fmla="*/ 158548 h 283771"/>
                <a:gd name="connsiteX125" fmla="*/ 965429 w 2098515"/>
                <a:gd name="connsiteY125" fmla="*/ 158548 h 283771"/>
                <a:gd name="connsiteX126" fmla="*/ 1051123 w 2098515"/>
                <a:gd name="connsiteY126" fmla="*/ 2020 h 283771"/>
                <a:gd name="connsiteX127" fmla="*/ 1113158 w 2098515"/>
                <a:gd name="connsiteY127" fmla="*/ 2020 h 283771"/>
                <a:gd name="connsiteX128" fmla="*/ 1113158 w 2098515"/>
                <a:gd name="connsiteY128" fmla="*/ 106036 h 283771"/>
                <a:gd name="connsiteX129" fmla="*/ 1114312 w 2098515"/>
                <a:gd name="connsiteY129" fmla="*/ 106036 h 283771"/>
                <a:gd name="connsiteX130" fmla="*/ 1138260 w 2098515"/>
                <a:gd name="connsiteY130" fmla="*/ 84107 h 283771"/>
                <a:gd name="connsiteX131" fmla="*/ 1172162 w 2098515"/>
                <a:gd name="connsiteY131" fmla="*/ 76317 h 283771"/>
                <a:gd name="connsiteX132" fmla="*/ 1200727 w 2098515"/>
                <a:gd name="connsiteY132" fmla="*/ 81799 h 283771"/>
                <a:gd name="connsiteX133" fmla="*/ 1222079 w 2098515"/>
                <a:gd name="connsiteY133" fmla="*/ 97091 h 283771"/>
                <a:gd name="connsiteX134" fmla="*/ 1235495 w 2098515"/>
                <a:gd name="connsiteY134" fmla="*/ 120318 h 283771"/>
                <a:gd name="connsiteX135" fmla="*/ 1240112 w 2098515"/>
                <a:gd name="connsiteY135" fmla="*/ 150181 h 283771"/>
                <a:gd name="connsiteX136" fmla="*/ 1240112 w 2098515"/>
                <a:gd name="connsiteY136" fmla="*/ 276991 h 283771"/>
                <a:gd name="connsiteX137" fmla="*/ 1178077 w 2098515"/>
                <a:gd name="connsiteY137" fmla="*/ 276991 h 283771"/>
                <a:gd name="connsiteX138" fmla="*/ 1178077 w 2098515"/>
                <a:gd name="connsiteY138" fmla="*/ 162732 h 283771"/>
                <a:gd name="connsiteX139" fmla="*/ 1170431 w 2098515"/>
                <a:gd name="connsiteY139" fmla="*/ 137630 h 283771"/>
                <a:gd name="connsiteX140" fmla="*/ 1147637 w 2098515"/>
                <a:gd name="connsiteY140" fmla="*/ 128108 h 283771"/>
                <a:gd name="connsiteX141" fmla="*/ 1122679 w 2098515"/>
                <a:gd name="connsiteY141" fmla="*/ 139505 h 283771"/>
                <a:gd name="connsiteX142" fmla="*/ 1113302 w 2098515"/>
                <a:gd name="connsiteY142" fmla="*/ 169224 h 283771"/>
                <a:gd name="connsiteX143" fmla="*/ 1113302 w 2098515"/>
                <a:gd name="connsiteY143" fmla="*/ 276991 h 283771"/>
                <a:gd name="connsiteX144" fmla="*/ 1051267 w 2098515"/>
                <a:gd name="connsiteY144" fmla="*/ 276991 h 283771"/>
                <a:gd name="connsiteX145" fmla="*/ 1051267 w 2098515"/>
                <a:gd name="connsiteY145" fmla="*/ 1875 h 283771"/>
                <a:gd name="connsiteX146" fmla="*/ 1363892 w 2098515"/>
                <a:gd name="connsiteY146" fmla="*/ 283194 h 283771"/>
                <a:gd name="connsiteX147" fmla="*/ 1321045 w 2098515"/>
                <a:gd name="connsiteY147" fmla="*/ 275404 h 283771"/>
                <a:gd name="connsiteX148" fmla="*/ 1288008 w 2098515"/>
                <a:gd name="connsiteY148" fmla="*/ 253620 h 283771"/>
                <a:gd name="connsiteX149" fmla="*/ 1266945 w 2098515"/>
                <a:gd name="connsiteY149" fmla="*/ 220871 h 283771"/>
                <a:gd name="connsiteX150" fmla="*/ 1259443 w 2098515"/>
                <a:gd name="connsiteY150" fmla="*/ 179900 h 283771"/>
                <a:gd name="connsiteX151" fmla="*/ 1266945 w 2098515"/>
                <a:gd name="connsiteY151" fmla="*/ 138928 h 283771"/>
                <a:gd name="connsiteX152" fmla="*/ 1288008 w 2098515"/>
                <a:gd name="connsiteY152" fmla="*/ 106180 h 283771"/>
                <a:gd name="connsiteX153" fmla="*/ 1321045 w 2098515"/>
                <a:gd name="connsiteY153" fmla="*/ 84540 h 283771"/>
                <a:gd name="connsiteX154" fmla="*/ 1363892 w 2098515"/>
                <a:gd name="connsiteY154" fmla="*/ 76750 h 283771"/>
                <a:gd name="connsiteX155" fmla="*/ 1406739 w 2098515"/>
                <a:gd name="connsiteY155" fmla="*/ 84540 h 283771"/>
                <a:gd name="connsiteX156" fmla="*/ 1439487 w 2098515"/>
                <a:gd name="connsiteY156" fmla="*/ 106180 h 283771"/>
                <a:gd name="connsiteX157" fmla="*/ 1460406 w 2098515"/>
                <a:gd name="connsiteY157" fmla="*/ 138928 h 283771"/>
                <a:gd name="connsiteX158" fmla="*/ 1467764 w 2098515"/>
                <a:gd name="connsiteY158" fmla="*/ 179900 h 283771"/>
                <a:gd name="connsiteX159" fmla="*/ 1460406 w 2098515"/>
                <a:gd name="connsiteY159" fmla="*/ 220871 h 283771"/>
                <a:gd name="connsiteX160" fmla="*/ 1439487 w 2098515"/>
                <a:gd name="connsiteY160" fmla="*/ 253620 h 283771"/>
                <a:gd name="connsiteX161" fmla="*/ 1406739 w 2098515"/>
                <a:gd name="connsiteY161" fmla="*/ 275404 h 283771"/>
                <a:gd name="connsiteX162" fmla="*/ 1363892 w 2098515"/>
                <a:gd name="connsiteY162" fmla="*/ 283194 h 283771"/>
                <a:gd name="connsiteX163" fmla="*/ 1363459 w 2098515"/>
                <a:gd name="connsiteY163" fmla="*/ 239049 h 283771"/>
                <a:gd name="connsiteX164" fmla="*/ 1394477 w 2098515"/>
                <a:gd name="connsiteY164" fmla="*/ 222891 h 283771"/>
                <a:gd name="connsiteX165" fmla="*/ 1405008 w 2098515"/>
                <a:gd name="connsiteY165" fmla="*/ 180044 h 283771"/>
                <a:gd name="connsiteX166" fmla="*/ 1394477 w 2098515"/>
                <a:gd name="connsiteY166" fmla="*/ 137053 h 283771"/>
                <a:gd name="connsiteX167" fmla="*/ 1363459 w 2098515"/>
                <a:gd name="connsiteY167" fmla="*/ 120606 h 283771"/>
                <a:gd name="connsiteX168" fmla="*/ 1332586 w 2098515"/>
                <a:gd name="connsiteY168" fmla="*/ 137053 h 283771"/>
                <a:gd name="connsiteX169" fmla="*/ 1322343 w 2098515"/>
                <a:gd name="connsiteY169" fmla="*/ 180044 h 283771"/>
                <a:gd name="connsiteX170" fmla="*/ 1332586 w 2098515"/>
                <a:gd name="connsiteY170" fmla="*/ 222891 h 283771"/>
                <a:gd name="connsiteX171" fmla="*/ 1363459 w 2098515"/>
                <a:gd name="connsiteY171" fmla="*/ 239049 h 283771"/>
                <a:gd name="connsiteX172" fmla="*/ 1555910 w 2098515"/>
                <a:gd name="connsiteY172" fmla="*/ 282906 h 283771"/>
                <a:gd name="connsiteX173" fmla="*/ 1504696 w 2098515"/>
                <a:gd name="connsiteY173" fmla="*/ 262853 h 283771"/>
                <a:gd name="connsiteX174" fmla="*/ 1487384 w 2098515"/>
                <a:gd name="connsiteY174" fmla="*/ 210051 h 283771"/>
                <a:gd name="connsiteX175" fmla="*/ 1487384 w 2098515"/>
                <a:gd name="connsiteY175" fmla="*/ 82087 h 283771"/>
                <a:gd name="connsiteX176" fmla="*/ 1549130 w 2098515"/>
                <a:gd name="connsiteY176" fmla="*/ 82087 h 283771"/>
                <a:gd name="connsiteX177" fmla="*/ 1549130 w 2098515"/>
                <a:gd name="connsiteY177" fmla="*/ 197212 h 283771"/>
                <a:gd name="connsiteX178" fmla="*/ 1556343 w 2098515"/>
                <a:gd name="connsiteY178" fmla="*/ 221737 h 283771"/>
                <a:gd name="connsiteX179" fmla="*/ 1578416 w 2098515"/>
                <a:gd name="connsiteY179" fmla="*/ 230249 h 283771"/>
                <a:gd name="connsiteX180" fmla="*/ 1603518 w 2098515"/>
                <a:gd name="connsiteY180" fmla="*/ 219429 h 283771"/>
                <a:gd name="connsiteX181" fmla="*/ 1612607 w 2098515"/>
                <a:gd name="connsiteY181" fmla="*/ 191008 h 283771"/>
                <a:gd name="connsiteX182" fmla="*/ 1612607 w 2098515"/>
                <a:gd name="connsiteY182" fmla="*/ 82087 h 283771"/>
                <a:gd name="connsiteX183" fmla="*/ 1674641 w 2098515"/>
                <a:gd name="connsiteY183" fmla="*/ 82087 h 283771"/>
                <a:gd name="connsiteX184" fmla="*/ 1674641 w 2098515"/>
                <a:gd name="connsiteY184" fmla="*/ 277135 h 283771"/>
                <a:gd name="connsiteX185" fmla="*/ 1615204 w 2098515"/>
                <a:gd name="connsiteY185" fmla="*/ 277135 h 283771"/>
                <a:gd name="connsiteX186" fmla="*/ 1615204 w 2098515"/>
                <a:gd name="connsiteY186" fmla="*/ 253187 h 283771"/>
                <a:gd name="connsiteX187" fmla="*/ 1614050 w 2098515"/>
                <a:gd name="connsiteY187" fmla="*/ 253187 h 283771"/>
                <a:gd name="connsiteX188" fmla="*/ 1589813 w 2098515"/>
                <a:gd name="connsiteY188" fmla="*/ 275260 h 283771"/>
                <a:gd name="connsiteX189" fmla="*/ 1555766 w 2098515"/>
                <a:gd name="connsiteY189" fmla="*/ 282906 h 283771"/>
                <a:gd name="connsiteX190" fmla="*/ 1791208 w 2098515"/>
                <a:gd name="connsiteY190" fmla="*/ 283339 h 283771"/>
                <a:gd name="connsiteX191" fmla="*/ 1722971 w 2098515"/>
                <a:gd name="connsiteY191" fmla="*/ 264873 h 283771"/>
                <a:gd name="connsiteX192" fmla="*/ 1696281 w 2098515"/>
                <a:gd name="connsiteY192" fmla="*/ 213947 h 283771"/>
                <a:gd name="connsiteX193" fmla="*/ 1754998 w 2098515"/>
                <a:gd name="connsiteY193" fmla="*/ 213947 h 283771"/>
                <a:gd name="connsiteX194" fmla="*/ 1766106 w 2098515"/>
                <a:gd name="connsiteY194" fmla="*/ 235731 h 283771"/>
                <a:gd name="connsiteX195" fmla="*/ 1790920 w 2098515"/>
                <a:gd name="connsiteY195" fmla="*/ 242944 h 283771"/>
                <a:gd name="connsiteX196" fmla="*/ 1813137 w 2098515"/>
                <a:gd name="connsiteY196" fmla="*/ 238039 h 283771"/>
                <a:gd name="connsiteX197" fmla="*/ 1821360 w 2098515"/>
                <a:gd name="connsiteY197" fmla="*/ 223612 h 283771"/>
                <a:gd name="connsiteX198" fmla="*/ 1817176 w 2098515"/>
                <a:gd name="connsiteY198" fmla="*/ 213081 h 283771"/>
                <a:gd name="connsiteX199" fmla="*/ 1806068 w 2098515"/>
                <a:gd name="connsiteY199" fmla="*/ 206589 h 283771"/>
                <a:gd name="connsiteX200" fmla="*/ 1790199 w 2098515"/>
                <a:gd name="connsiteY200" fmla="*/ 202838 h 283771"/>
                <a:gd name="connsiteX201" fmla="*/ 1771732 w 2098515"/>
                <a:gd name="connsiteY201" fmla="*/ 199664 h 283771"/>
                <a:gd name="connsiteX202" fmla="*/ 1746630 w 2098515"/>
                <a:gd name="connsiteY202" fmla="*/ 194182 h 283771"/>
                <a:gd name="connsiteX203" fmla="*/ 1723980 w 2098515"/>
                <a:gd name="connsiteY203" fmla="*/ 184516 h 283771"/>
                <a:gd name="connsiteX204" fmla="*/ 1707823 w 2098515"/>
                <a:gd name="connsiteY204" fmla="*/ 167204 h 283771"/>
                <a:gd name="connsiteX205" fmla="*/ 1701763 w 2098515"/>
                <a:gd name="connsiteY205" fmla="*/ 139217 h 283771"/>
                <a:gd name="connsiteX206" fmla="*/ 1708400 w 2098515"/>
                <a:gd name="connsiteY206" fmla="*/ 112095 h 283771"/>
                <a:gd name="connsiteX207" fmla="*/ 1726577 w 2098515"/>
                <a:gd name="connsiteY207" fmla="*/ 92475 h 283771"/>
                <a:gd name="connsiteX208" fmla="*/ 1753411 w 2098515"/>
                <a:gd name="connsiteY208" fmla="*/ 80645 h 283771"/>
                <a:gd name="connsiteX209" fmla="*/ 1786015 w 2098515"/>
                <a:gd name="connsiteY209" fmla="*/ 76605 h 283771"/>
                <a:gd name="connsiteX210" fmla="*/ 1849636 w 2098515"/>
                <a:gd name="connsiteY210" fmla="*/ 93340 h 283771"/>
                <a:gd name="connsiteX211" fmla="*/ 1874017 w 2098515"/>
                <a:gd name="connsiteY211" fmla="*/ 139073 h 283771"/>
                <a:gd name="connsiteX212" fmla="*/ 1816888 w 2098515"/>
                <a:gd name="connsiteY212" fmla="*/ 139073 h 283771"/>
                <a:gd name="connsiteX213" fmla="*/ 1806789 w 2098515"/>
                <a:gd name="connsiteY213" fmla="*/ 121039 h 283771"/>
                <a:gd name="connsiteX214" fmla="*/ 1785582 w 2098515"/>
                <a:gd name="connsiteY214" fmla="*/ 116278 h 283771"/>
                <a:gd name="connsiteX215" fmla="*/ 1766395 w 2098515"/>
                <a:gd name="connsiteY215" fmla="*/ 120606 h 283771"/>
                <a:gd name="connsiteX216" fmla="*/ 1758604 w 2098515"/>
                <a:gd name="connsiteY216" fmla="*/ 134167 h 283771"/>
                <a:gd name="connsiteX217" fmla="*/ 1762355 w 2098515"/>
                <a:gd name="connsiteY217" fmla="*/ 142535 h 283771"/>
                <a:gd name="connsiteX218" fmla="*/ 1772598 w 2098515"/>
                <a:gd name="connsiteY218" fmla="*/ 147728 h 283771"/>
                <a:gd name="connsiteX219" fmla="*/ 1787602 w 2098515"/>
                <a:gd name="connsiteY219" fmla="*/ 151335 h 283771"/>
                <a:gd name="connsiteX220" fmla="*/ 1805346 w 2098515"/>
                <a:gd name="connsiteY220" fmla="*/ 154365 h 283771"/>
                <a:gd name="connsiteX221" fmla="*/ 1831459 w 2098515"/>
                <a:gd name="connsiteY221" fmla="*/ 159847 h 283771"/>
                <a:gd name="connsiteX222" fmla="*/ 1855407 w 2098515"/>
                <a:gd name="connsiteY222" fmla="*/ 169945 h 283771"/>
                <a:gd name="connsiteX223" fmla="*/ 1873152 w 2098515"/>
                <a:gd name="connsiteY223" fmla="*/ 188412 h 283771"/>
                <a:gd name="connsiteX224" fmla="*/ 1880076 w 2098515"/>
                <a:gd name="connsiteY224" fmla="*/ 218707 h 283771"/>
                <a:gd name="connsiteX225" fmla="*/ 1873440 w 2098515"/>
                <a:gd name="connsiteY225" fmla="*/ 246839 h 283771"/>
                <a:gd name="connsiteX226" fmla="*/ 1854974 w 2098515"/>
                <a:gd name="connsiteY226" fmla="*/ 267037 h 283771"/>
                <a:gd name="connsiteX227" fmla="*/ 1826842 w 2098515"/>
                <a:gd name="connsiteY227" fmla="*/ 279299 h 283771"/>
                <a:gd name="connsiteX228" fmla="*/ 1791353 w 2098515"/>
                <a:gd name="connsiteY228" fmla="*/ 283483 h 283771"/>
                <a:gd name="connsiteX229" fmla="*/ 2001260 w 2098515"/>
                <a:gd name="connsiteY229" fmla="*/ 283050 h 283771"/>
                <a:gd name="connsiteX230" fmla="*/ 1957836 w 2098515"/>
                <a:gd name="connsiteY230" fmla="*/ 275260 h 283771"/>
                <a:gd name="connsiteX231" fmla="*/ 1925087 w 2098515"/>
                <a:gd name="connsiteY231" fmla="*/ 253476 h 283771"/>
                <a:gd name="connsiteX232" fmla="*/ 1904457 w 2098515"/>
                <a:gd name="connsiteY232" fmla="*/ 220583 h 283771"/>
                <a:gd name="connsiteX233" fmla="*/ 1897244 w 2098515"/>
                <a:gd name="connsiteY233" fmla="*/ 179467 h 283771"/>
                <a:gd name="connsiteX234" fmla="*/ 1904457 w 2098515"/>
                <a:gd name="connsiteY234" fmla="*/ 138928 h 283771"/>
                <a:gd name="connsiteX235" fmla="*/ 1925087 w 2098515"/>
                <a:gd name="connsiteY235" fmla="*/ 106180 h 283771"/>
                <a:gd name="connsiteX236" fmla="*/ 1956682 w 2098515"/>
                <a:gd name="connsiteY236" fmla="*/ 84540 h 283771"/>
                <a:gd name="connsiteX237" fmla="*/ 1997509 w 2098515"/>
                <a:gd name="connsiteY237" fmla="*/ 76750 h 283771"/>
                <a:gd name="connsiteX238" fmla="*/ 2035018 w 2098515"/>
                <a:gd name="connsiteY238" fmla="*/ 83242 h 283771"/>
                <a:gd name="connsiteX239" fmla="*/ 2064160 w 2098515"/>
                <a:gd name="connsiteY239" fmla="*/ 101131 h 283771"/>
                <a:gd name="connsiteX240" fmla="*/ 2090272 w 2098515"/>
                <a:gd name="connsiteY240" fmla="*/ 141669 h 283771"/>
                <a:gd name="connsiteX241" fmla="*/ 2098495 w 2098515"/>
                <a:gd name="connsiteY241" fmla="*/ 195913 h 283771"/>
                <a:gd name="connsiteX242" fmla="*/ 1958269 w 2098515"/>
                <a:gd name="connsiteY242" fmla="*/ 195913 h 283771"/>
                <a:gd name="connsiteX243" fmla="*/ 1971974 w 2098515"/>
                <a:gd name="connsiteY243" fmla="*/ 227219 h 283771"/>
                <a:gd name="connsiteX244" fmla="*/ 2002125 w 2098515"/>
                <a:gd name="connsiteY244" fmla="*/ 238616 h 283771"/>
                <a:gd name="connsiteX245" fmla="*/ 2022323 w 2098515"/>
                <a:gd name="connsiteY245" fmla="*/ 233423 h 283771"/>
                <a:gd name="connsiteX246" fmla="*/ 2034585 w 2098515"/>
                <a:gd name="connsiteY246" fmla="*/ 219140 h 283771"/>
                <a:gd name="connsiteX247" fmla="*/ 2095177 w 2098515"/>
                <a:gd name="connsiteY247" fmla="*/ 219140 h 283771"/>
                <a:gd name="connsiteX248" fmla="*/ 2083780 w 2098515"/>
                <a:gd name="connsiteY248" fmla="*/ 244531 h 283771"/>
                <a:gd name="connsiteX249" fmla="*/ 2062429 w 2098515"/>
                <a:gd name="connsiteY249" fmla="*/ 265305 h 283771"/>
                <a:gd name="connsiteX250" fmla="*/ 2035162 w 2098515"/>
                <a:gd name="connsiteY250" fmla="*/ 278578 h 283771"/>
                <a:gd name="connsiteX251" fmla="*/ 2001404 w 2098515"/>
                <a:gd name="connsiteY251" fmla="*/ 283194 h 283771"/>
                <a:gd name="connsiteX252" fmla="*/ 2035739 w 2098515"/>
                <a:gd name="connsiteY252" fmla="*/ 158981 h 283771"/>
                <a:gd name="connsiteX253" fmla="*/ 2023910 w 2098515"/>
                <a:gd name="connsiteY253" fmla="*/ 131138 h 283771"/>
                <a:gd name="connsiteX254" fmla="*/ 1998807 w 2098515"/>
                <a:gd name="connsiteY254" fmla="*/ 120895 h 283771"/>
                <a:gd name="connsiteX255" fmla="*/ 1971397 w 2098515"/>
                <a:gd name="connsiteY255" fmla="*/ 131138 h 283771"/>
                <a:gd name="connsiteX256" fmla="*/ 1958846 w 2098515"/>
                <a:gd name="connsiteY256" fmla="*/ 158981 h 283771"/>
                <a:gd name="connsiteX257" fmla="*/ 2035739 w 2098515"/>
                <a:gd name="connsiteY257" fmla="*/ 158981 h 28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</a:cxnLst>
              <a:rect l="l" t="t" r="r" b="b"/>
              <a:pathLst>
                <a:path w="2098515" h="283771">
                  <a:moveTo>
                    <a:pt x="129551" y="283771"/>
                  </a:moveTo>
                  <a:cubicBezTo>
                    <a:pt x="109931" y="283771"/>
                    <a:pt x="92475" y="280453"/>
                    <a:pt x="77038" y="273817"/>
                  </a:cubicBezTo>
                  <a:cubicBezTo>
                    <a:pt x="61602" y="267181"/>
                    <a:pt x="48041" y="257804"/>
                    <a:pt x="36644" y="245685"/>
                  </a:cubicBezTo>
                  <a:cubicBezTo>
                    <a:pt x="24670" y="232701"/>
                    <a:pt x="15581" y="217553"/>
                    <a:pt x="9377" y="199953"/>
                  </a:cubicBezTo>
                  <a:cubicBezTo>
                    <a:pt x="3174" y="182497"/>
                    <a:pt x="0" y="163309"/>
                    <a:pt x="0" y="142391"/>
                  </a:cubicBezTo>
                  <a:cubicBezTo>
                    <a:pt x="0" y="121472"/>
                    <a:pt x="3462" y="100986"/>
                    <a:pt x="10531" y="82809"/>
                  </a:cubicBezTo>
                  <a:cubicBezTo>
                    <a:pt x="17456" y="64631"/>
                    <a:pt x="27411" y="49050"/>
                    <a:pt x="40395" y="36211"/>
                  </a:cubicBezTo>
                  <a:cubicBezTo>
                    <a:pt x="51792" y="24814"/>
                    <a:pt x="65208" y="15869"/>
                    <a:pt x="80789" y="9522"/>
                  </a:cubicBezTo>
                  <a:cubicBezTo>
                    <a:pt x="96226" y="3174"/>
                    <a:pt x="113970" y="0"/>
                    <a:pt x="133735" y="0"/>
                  </a:cubicBezTo>
                  <a:cubicBezTo>
                    <a:pt x="151191" y="0"/>
                    <a:pt x="167060" y="2164"/>
                    <a:pt x="180910" y="6636"/>
                  </a:cubicBezTo>
                  <a:cubicBezTo>
                    <a:pt x="194904" y="11108"/>
                    <a:pt x="207022" y="17456"/>
                    <a:pt x="217121" y="25679"/>
                  </a:cubicBezTo>
                  <a:cubicBezTo>
                    <a:pt x="227219" y="33903"/>
                    <a:pt x="235442" y="43857"/>
                    <a:pt x="241646" y="55542"/>
                  </a:cubicBezTo>
                  <a:cubicBezTo>
                    <a:pt x="247849" y="67228"/>
                    <a:pt x="252177" y="80212"/>
                    <a:pt x="254341" y="94350"/>
                  </a:cubicBezTo>
                  <a:lnTo>
                    <a:pt x="188844" y="94350"/>
                  </a:lnTo>
                  <a:cubicBezTo>
                    <a:pt x="186248" y="83242"/>
                    <a:pt x="180621" y="73864"/>
                    <a:pt x="171677" y="66507"/>
                  </a:cubicBezTo>
                  <a:cubicBezTo>
                    <a:pt x="162732" y="59149"/>
                    <a:pt x="150902" y="55398"/>
                    <a:pt x="135899" y="55398"/>
                  </a:cubicBezTo>
                  <a:cubicBezTo>
                    <a:pt x="124646" y="55398"/>
                    <a:pt x="114836" y="57706"/>
                    <a:pt x="106324" y="62034"/>
                  </a:cubicBezTo>
                  <a:cubicBezTo>
                    <a:pt x="97812" y="66507"/>
                    <a:pt x="90743" y="72566"/>
                    <a:pt x="85117" y="80356"/>
                  </a:cubicBezTo>
                  <a:cubicBezTo>
                    <a:pt x="79491" y="88147"/>
                    <a:pt x="75307" y="97235"/>
                    <a:pt x="72566" y="107767"/>
                  </a:cubicBezTo>
                  <a:cubicBezTo>
                    <a:pt x="69825" y="118298"/>
                    <a:pt x="68382" y="129839"/>
                    <a:pt x="68382" y="142246"/>
                  </a:cubicBezTo>
                  <a:cubicBezTo>
                    <a:pt x="68382" y="154653"/>
                    <a:pt x="69969" y="166195"/>
                    <a:pt x="73143" y="176870"/>
                  </a:cubicBezTo>
                  <a:cubicBezTo>
                    <a:pt x="76317" y="187546"/>
                    <a:pt x="80789" y="196779"/>
                    <a:pt x="86704" y="204425"/>
                  </a:cubicBezTo>
                  <a:cubicBezTo>
                    <a:pt x="92619" y="212215"/>
                    <a:pt x="99688" y="218275"/>
                    <a:pt x="108200" y="222458"/>
                  </a:cubicBezTo>
                  <a:cubicBezTo>
                    <a:pt x="116711" y="226786"/>
                    <a:pt x="126233" y="228950"/>
                    <a:pt x="136909" y="228950"/>
                  </a:cubicBezTo>
                  <a:cubicBezTo>
                    <a:pt x="145709" y="228950"/>
                    <a:pt x="153788" y="227652"/>
                    <a:pt x="160712" y="224911"/>
                  </a:cubicBezTo>
                  <a:cubicBezTo>
                    <a:pt x="167637" y="222314"/>
                    <a:pt x="173696" y="218707"/>
                    <a:pt x="178601" y="214235"/>
                  </a:cubicBezTo>
                  <a:cubicBezTo>
                    <a:pt x="183507" y="209763"/>
                    <a:pt x="187546" y="204714"/>
                    <a:pt x="190431" y="198943"/>
                  </a:cubicBezTo>
                  <a:cubicBezTo>
                    <a:pt x="193317" y="193317"/>
                    <a:pt x="195192" y="187402"/>
                    <a:pt x="195913" y="181198"/>
                  </a:cubicBezTo>
                  <a:lnTo>
                    <a:pt x="195913" y="180477"/>
                  </a:lnTo>
                  <a:lnTo>
                    <a:pt x="144843" y="180477"/>
                  </a:lnTo>
                  <a:lnTo>
                    <a:pt x="144843" y="130994"/>
                  </a:lnTo>
                  <a:lnTo>
                    <a:pt x="258381" y="130994"/>
                  </a:lnTo>
                  <a:lnTo>
                    <a:pt x="258381" y="277279"/>
                  </a:lnTo>
                  <a:lnTo>
                    <a:pt x="211206" y="277279"/>
                  </a:lnTo>
                  <a:lnTo>
                    <a:pt x="207455" y="244531"/>
                  </a:lnTo>
                  <a:lnTo>
                    <a:pt x="206733" y="244531"/>
                  </a:lnTo>
                  <a:cubicBezTo>
                    <a:pt x="197789" y="258525"/>
                    <a:pt x="186825" y="268479"/>
                    <a:pt x="173841" y="274394"/>
                  </a:cubicBezTo>
                  <a:cubicBezTo>
                    <a:pt x="160712" y="280309"/>
                    <a:pt x="145997" y="283339"/>
                    <a:pt x="129407" y="283339"/>
                  </a:cubicBezTo>
                  <a:moveTo>
                    <a:pt x="358357" y="282906"/>
                  </a:moveTo>
                  <a:cubicBezTo>
                    <a:pt x="335707" y="282906"/>
                    <a:pt x="318684" y="276270"/>
                    <a:pt x="307143" y="262853"/>
                  </a:cubicBezTo>
                  <a:cubicBezTo>
                    <a:pt x="295601" y="249580"/>
                    <a:pt x="289831" y="231980"/>
                    <a:pt x="289831" y="210051"/>
                  </a:cubicBezTo>
                  <a:lnTo>
                    <a:pt x="289831" y="82087"/>
                  </a:lnTo>
                  <a:lnTo>
                    <a:pt x="351577" y="82087"/>
                  </a:lnTo>
                  <a:lnTo>
                    <a:pt x="351577" y="197212"/>
                  </a:lnTo>
                  <a:cubicBezTo>
                    <a:pt x="351577" y="207887"/>
                    <a:pt x="354029" y="216111"/>
                    <a:pt x="358790" y="221737"/>
                  </a:cubicBezTo>
                  <a:cubicBezTo>
                    <a:pt x="363551" y="227508"/>
                    <a:pt x="371052" y="230249"/>
                    <a:pt x="380863" y="230249"/>
                  </a:cubicBezTo>
                  <a:cubicBezTo>
                    <a:pt x="391538" y="230249"/>
                    <a:pt x="399906" y="226642"/>
                    <a:pt x="405965" y="219429"/>
                  </a:cubicBezTo>
                  <a:cubicBezTo>
                    <a:pt x="412024" y="212215"/>
                    <a:pt x="415054" y="202694"/>
                    <a:pt x="415054" y="191008"/>
                  </a:cubicBezTo>
                  <a:lnTo>
                    <a:pt x="415054" y="82087"/>
                  </a:lnTo>
                  <a:lnTo>
                    <a:pt x="477088" y="82087"/>
                  </a:lnTo>
                  <a:lnTo>
                    <a:pt x="477088" y="277135"/>
                  </a:lnTo>
                  <a:lnTo>
                    <a:pt x="417650" y="277135"/>
                  </a:lnTo>
                  <a:lnTo>
                    <a:pt x="417650" y="253187"/>
                  </a:lnTo>
                  <a:lnTo>
                    <a:pt x="416496" y="253187"/>
                  </a:lnTo>
                  <a:cubicBezTo>
                    <a:pt x="409427" y="262853"/>
                    <a:pt x="401348" y="270210"/>
                    <a:pt x="392260" y="275260"/>
                  </a:cubicBezTo>
                  <a:cubicBezTo>
                    <a:pt x="383315" y="280309"/>
                    <a:pt x="371918" y="282906"/>
                    <a:pt x="358213" y="282906"/>
                  </a:cubicBezTo>
                  <a:moveTo>
                    <a:pt x="512433" y="2164"/>
                  </a:moveTo>
                  <a:lnTo>
                    <a:pt x="574468" y="2164"/>
                  </a:lnTo>
                  <a:lnTo>
                    <a:pt x="574468" y="55110"/>
                  </a:lnTo>
                  <a:lnTo>
                    <a:pt x="512433" y="55110"/>
                  </a:lnTo>
                  <a:lnTo>
                    <a:pt x="512433" y="2164"/>
                  </a:lnTo>
                  <a:close/>
                  <a:moveTo>
                    <a:pt x="512433" y="82087"/>
                  </a:moveTo>
                  <a:lnTo>
                    <a:pt x="574468" y="82087"/>
                  </a:lnTo>
                  <a:lnTo>
                    <a:pt x="574468" y="277135"/>
                  </a:lnTo>
                  <a:lnTo>
                    <a:pt x="512433" y="277135"/>
                  </a:lnTo>
                  <a:lnTo>
                    <a:pt x="512433" y="82087"/>
                  </a:lnTo>
                  <a:close/>
                  <a:moveTo>
                    <a:pt x="686563" y="283194"/>
                  </a:moveTo>
                  <a:cubicBezTo>
                    <a:pt x="674156" y="283194"/>
                    <a:pt x="662614" y="280886"/>
                    <a:pt x="652227" y="276125"/>
                  </a:cubicBezTo>
                  <a:cubicBezTo>
                    <a:pt x="641840" y="271365"/>
                    <a:pt x="632751" y="264584"/>
                    <a:pt x="625249" y="255784"/>
                  </a:cubicBezTo>
                  <a:cubicBezTo>
                    <a:pt x="617603" y="246839"/>
                    <a:pt x="611688" y="236019"/>
                    <a:pt x="607505" y="223180"/>
                  </a:cubicBezTo>
                  <a:cubicBezTo>
                    <a:pt x="603321" y="210340"/>
                    <a:pt x="601157" y="195769"/>
                    <a:pt x="601157" y="179611"/>
                  </a:cubicBezTo>
                  <a:cubicBezTo>
                    <a:pt x="601157" y="164319"/>
                    <a:pt x="603321" y="150470"/>
                    <a:pt x="607505" y="137630"/>
                  </a:cubicBezTo>
                  <a:cubicBezTo>
                    <a:pt x="611688" y="124934"/>
                    <a:pt x="617603" y="114114"/>
                    <a:pt x="624961" y="105026"/>
                  </a:cubicBezTo>
                  <a:cubicBezTo>
                    <a:pt x="632463" y="96081"/>
                    <a:pt x="641407" y="89012"/>
                    <a:pt x="651794" y="83819"/>
                  </a:cubicBezTo>
                  <a:cubicBezTo>
                    <a:pt x="662182" y="78769"/>
                    <a:pt x="673723" y="76172"/>
                    <a:pt x="686418" y="76172"/>
                  </a:cubicBezTo>
                  <a:cubicBezTo>
                    <a:pt x="700124" y="76172"/>
                    <a:pt x="711232" y="78769"/>
                    <a:pt x="719600" y="83963"/>
                  </a:cubicBezTo>
                  <a:cubicBezTo>
                    <a:pt x="727967" y="89156"/>
                    <a:pt x="735036" y="95793"/>
                    <a:pt x="740951" y="104016"/>
                  </a:cubicBezTo>
                  <a:lnTo>
                    <a:pt x="742105" y="104016"/>
                  </a:lnTo>
                  <a:lnTo>
                    <a:pt x="742105" y="1875"/>
                  </a:lnTo>
                  <a:lnTo>
                    <a:pt x="804139" y="1875"/>
                  </a:lnTo>
                  <a:lnTo>
                    <a:pt x="804139" y="276991"/>
                  </a:lnTo>
                  <a:lnTo>
                    <a:pt x="744702" y="276991"/>
                  </a:lnTo>
                  <a:lnTo>
                    <a:pt x="744702" y="250735"/>
                  </a:lnTo>
                  <a:lnTo>
                    <a:pt x="743981" y="250735"/>
                  </a:lnTo>
                  <a:cubicBezTo>
                    <a:pt x="738210" y="260833"/>
                    <a:pt x="730275" y="268768"/>
                    <a:pt x="720609" y="274538"/>
                  </a:cubicBezTo>
                  <a:cubicBezTo>
                    <a:pt x="710799" y="280309"/>
                    <a:pt x="699547" y="283050"/>
                    <a:pt x="686563" y="283050"/>
                  </a:cubicBezTo>
                  <a:moveTo>
                    <a:pt x="702576" y="233855"/>
                  </a:moveTo>
                  <a:cubicBezTo>
                    <a:pt x="715560" y="233855"/>
                    <a:pt x="725659" y="228806"/>
                    <a:pt x="732872" y="218563"/>
                  </a:cubicBezTo>
                  <a:cubicBezTo>
                    <a:pt x="740085" y="208465"/>
                    <a:pt x="743692" y="195336"/>
                    <a:pt x="743692" y="179323"/>
                  </a:cubicBezTo>
                  <a:cubicBezTo>
                    <a:pt x="743692" y="171244"/>
                    <a:pt x="742826" y="163598"/>
                    <a:pt x="741239" y="156673"/>
                  </a:cubicBezTo>
                  <a:cubicBezTo>
                    <a:pt x="739653" y="149748"/>
                    <a:pt x="737056" y="143689"/>
                    <a:pt x="733593" y="138784"/>
                  </a:cubicBezTo>
                  <a:cubicBezTo>
                    <a:pt x="730131" y="133879"/>
                    <a:pt x="725947" y="129984"/>
                    <a:pt x="721042" y="127098"/>
                  </a:cubicBezTo>
                  <a:cubicBezTo>
                    <a:pt x="716137" y="124357"/>
                    <a:pt x="710222" y="122915"/>
                    <a:pt x="703297" y="122915"/>
                  </a:cubicBezTo>
                  <a:cubicBezTo>
                    <a:pt x="690891" y="122915"/>
                    <a:pt x="681225" y="128108"/>
                    <a:pt x="674300" y="138351"/>
                  </a:cubicBezTo>
                  <a:cubicBezTo>
                    <a:pt x="667375" y="148594"/>
                    <a:pt x="664057" y="162011"/>
                    <a:pt x="664057" y="178601"/>
                  </a:cubicBezTo>
                  <a:cubicBezTo>
                    <a:pt x="664057" y="195192"/>
                    <a:pt x="667375" y="209042"/>
                    <a:pt x="674156" y="218996"/>
                  </a:cubicBezTo>
                  <a:cubicBezTo>
                    <a:pt x="680936" y="228950"/>
                    <a:pt x="690314" y="233855"/>
                    <a:pt x="702576" y="233855"/>
                  </a:cubicBezTo>
                  <a:moveTo>
                    <a:pt x="931094" y="282617"/>
                  </a:moveTo>
                  <a:cubicBezTo>
                    <a:pt x="915080" y="282617"/>
                    <a:pt x="900654" y="280021"/>
                    <a:pt x="887670" y="274827"/>
                  </a:cubicBezTo>
                  <a:cubicBezTo>
                    <a:pt x="874686" y="269633"/>
                    <a:pt x="863721" y="262420"/>
                    <a:pt x="854921" y="253043"/>
                  </a:cubicBezTo>
                  <a:cubicBezTo>
                    <a:pt x="845977" y="243810"/>
                    <a:pt x="839196" y="232845"/>
                    <a:pt x="834291" y="220150"/>
                  </a:cubicBezTo>
                  <a:cubicBezTo>
                    <a:pt x="829530" y="207455"/>
                    <a:pt x="827078" y="193749"/>
                    <a:pt x="827078" y="179034"/>
                  </a:cubicBezTo>
                  <a:cubicBezTo>
                    <a:pt x="827078" y="164319"/>
                    <a:pt x="829530" y="151047"/>
                    <a:pt x="834291" y="138495"/>
                  </a:cubicBezTo>
                  <a:cubicBezTo>
                    <a:pt x="839052" y="125944"/>
                    <a:pt x="845977" y="114980"/>
                    <a:pt x="854921" y="105747"/>
                  </a:cubicBezTo>
                  <a:cubicBezTo>
                    <a:pt x="863866" y="96514"/>
                    <a:pt x="874397" y="89301"/>
                    <a:pt x="886515" y="84107"/>
                  </a:cubicBezTo>
                  <a:cubicBezTo>
                    <a:pt x="898634" y="78914"/>
                    <a:pt x="912339" y="76317"/>
                    <a:pt x="927343" y="76317"/>
                  </a:cubicBezTo>
                  <a:cubicBezTo>
                    <a:pt x="941337" y="76317"/>
                    <a:pt x="953888" y="78481"/>
                    <a:pt x="964852" y="82809"/>
                  </a:cubicBezTo>
                  <a:cubicBezTo>
                    <a:pt x="975960" y="87137"/>
                    <a:pt x="985626" y="93052"/>
                    <a:pt x="993994" y="100698"/>
                  </a:cubicBezTo>
                  <a:cubicBezTo>
                    <a:pt x="1005679" y="111373"/>
                    <a:pt x="1014335" y="124934"/>
                    <a:pt x="1020106" y="141237"/>
                  </a:cubicBezTo>
                  <a:cubicBezTo>
                    <a:pt x="1025877" y="157683"/>
                    <a:pt x="1028473" y="175716"/>
                    <a:pt x="1028329" y="195481"/>
                  </a:cubicBezTo>
                  <a:lnTo>
                    <a:pt x="888102" y="195481"/>
                  </a:lnTo>
                  <a:cubicBezTo>
                    <a:pt x="890122" y="208753"/>
                    <a:pt x="894739" y="219140"/>
                    <a:pt x="901808" y="226786"/>
                  </a:cubicBezTo>
                  <a:cubicBezTo>
                    <a:pt x="908877" y="234432"/>
                    <a:pt x="918975" y="238183"/>
                    <a:pt x="931959" y="238183"/>
                  </a:cubicBezTo>
                  <a:cubicBezTo>
                    <a:pt x="940038" y="238183"/>
                    <a:pt x="946819" y="236452"/>
                    <a:pt x="952157" y="232990"/>
                  </a:cubicBezTo>
                  <a:cubicBezTo>
                    <a:pt x="957494" y="229527"/>
                    <a:pt x="961534" y="224767"/>
                    <a:pt x="964275" y="218707"/>
                  </a:cubicBezTo>
                  <a:lnTo>
                    <a:pt x="1024867" y="218707"/>
                  </a:lnTo>
                  <a:cubicBezTo>
                    <a:pt x="1022847" y="227652"/>
                    <a:pt x="1018952" y="236019"/>
                    <a:pt x="1013470" y="244098"/>
                  </a:cubicBezTo>
                  <a:cubicBezTo>
                    <a:pt x="1007843" y="252033"/>
                    <a:pt x="1000774" y="258958"/>
                    <a:pt x="992118" y="264873"/>
                  </a:cubicBezTo>
                  <a:cubicBezTo>
                    <a:pt x="984039" y="270787"/>
                    <a:pt x="974951" y="275115"/>
                    <a:pt x="964852" y="278145"/>
                  </a:cubicBezTo>
                  <a:cubicBezTo>
                    <a:pt x="954898" y="281175"/>
                    <a:pt x="943645" y="282762"/>
                    <a:pt x="931094" y="282762"/>
                  </a:cubicBezTo>
                  <a:moveTo>
                    <a:pt x="965429" y="158548"/>
                  </a:moveTo>
                  <a:cubicBezTo>
                    <a:pt x="964131" y="146863"/>
                    <a:pt x="960235" y="137630"/>
                    <a:pt x="953599" y="130705"/>
                  </a:cubicBezTo>
                  <a:cubicBezTo>
                    <a:pt x="946963" y="123925"/>
                    <a:pt x="938596" y="120462"/>
                    <a:pt x="928497" y="120462"/>
                  </a:cubicBezTo>
                  <a:cubicBezTo>
                    <a:pt x="916523" y="120462"/>
                    <a:pt x="907434" y="123925"/>
                    <a:pt x="901086" y="130705"/>
                  </a:cubicBezTo>
                  <a:cubicBezTo>
                    <a:pt x="894739" y="137630"/>
                    <a:pt x="890555" y="146863"/>
                    <a:pt x="888535" y="158548"/>
                  </a:cubicBezTo>
                  <a:lnTo>
                    <a:pt x="965429" y="158548"/>
                  </a:lnTo>
                  <a:close/>
                  <a:moveTo>
                    <a:pt x="1051123" y="2020"/>
                  </a:moveTo>
                  <a:lnTo>
                    <a:pt x="1113158" y="2020"/>
                  </a:lnTo>
                  <a:lnTo>
                    <a:pt x="1113158" y="106036"/>
                  </a:lnTo>
                  <a:lnTo>
                    <a:pt x="1114312" y="106036"/>
                  </a:lnTo>
                  <a:cubicBezTo>
                    <a:pt x="1121381" y="96658"/>
                    <a:pt x="1129460" y="89301"/>
                    <a:pt x="1138260" y="84107"/>
                  </a:cubicBezTo>
                  <a:cubicBezTo>
                    <a:pt x="1147204" y="78914"/>
                    <a:pt x="1158457" y="76317"/>
                    <a:pt x="1172162" y="76317"/>
                  </a:cubicBezTo>
                  <a:cubicBezTo>
                    <a:pt x="1182838" y="76317"/>
                    <a:pt x="1192360" y="78192"/>
                    <a:pt x="1200727" y="81799"/>
                  </a:cubicBezTo>
                  <a:cubicBezTo>
                    <a:pt x="1209095" y="85406"/>
                    <a:pt x="1216164" y="90599"/>
                    <a:pt x="1222079" y="97091"/>
                  </a:cubicBezTo>
                  <a:cubicBezTo>
                    <a:pt x="1227993" y="103583"/>
                    <a:pt x="1232321" y="111373"/>
                    <a:pt x="1235495" y="120318"/>
                  </a:cubicBezTo>
                  <a:cubicBezTo>
                    <a:pt x="1238525" y="129262"/>
                    <a:pt x="1240112" y="139361"/>
                    <a:pt x="1240112" y="150181"/>
                  </a:cubicBezTo>
                  <a:lnTo>
                    <a:pt x="1240112" y="276991"/>
                  </a:lnTo>
                  <a:lnTo>
                    <a:pt x="1178077" y="276991"/>
                  </a:lnTo>
                  <a:lnTo>
                    <a:pt x="1178077" y="162732"/>
                  </a:lnTo>
                  <a:cubicBezTo>
                    <a:pt x="1178077" y="152345"/>
                    <a:pt x="1175481" y="143978"/>
                    <a:pt x="1170431" y="137630"/>
                  </a:cubicBezTo>
                  <a:cubicBezTo>
                    <a:pt x="1165382" y="131282"/>
                    <a:pt x="1157736" y="128108"/>
                    <a:pt x="1147637" y="128108"/>
                  </a:cubicBezTo>
                  <a:cubicBezTo>
                    <a:pt x="1137539" y="128108"/>
                    <a:pt x="1128883" y="131859"/>
                    <a:pt x="1122679" y="139505"/>
                  </a:cubicBezTo>
                  <a:cubicBezTo>
                    <a:pt x="1116476" y="147151"/>
                    <a:pt x="1113302" y="157106"/>
                    <a:pt x="1113302" y="169224"/>
                  </a:cubicBezTo>
                  <a:lnTo>
                    <a:pt x="1113302" y="276991"/>
                  </a:lnTo>
                  <a:lnTo>
                    <a:pt x="1051267" y="276991"/>
                  </a:lnTo>
                  <a:lnTo>
                    <a:pt x="1051267" y="1875"/>
                  </a:lnTo>
                  <a:close/>
                  <a:moveTo>
                    <a:pt x="1363892" y="283194"/>
                  </a:moveTo>
                  <a:cubicBezTo>
                    <a:pt x="1348167" y="283194"/>
                    <a:pt x="1333885" y="280598"/>
                    <a:pt x="1321045" y="275404"/>
                  </a:cubicBezTo>
                  <a:cubicBezTo>
                    <a:pt x="1308205" y="270210"/>
                    <a:pt x="1297241" y="262997"/>
                    <a:pt x="1288008" y="253620"/>
                  </a:cubicBezTo>
                  <a:cubicBezTo>
                    <a:pt x="1278919" y="244387"/>
                    <a:pt x="1271850" y="233423"/>
                    <a:pt x="1266945" y="220871"/>
                  </a:cubicBezTo>
                  <a:cubicBezTo>
                    <a:pt x="1262040" y="208320"/>
                    <a:pt x="1259443" y="194615"/>
                    <a:pt x="1259443" y="179900"/>
                  </a:cubicBezTo>
                  <a:cubicBezTo>
                    <a:pt x="1259443" y="165185"/>
                    <a:pt x="1261896" y="151479"/>
                    <a:pt x="1266945" y="138928"/>
                  </a:cubicBezTo>
                  <a:cubicBezTo>
                    <a:pt x="1271850" y="126377"/>
                    <a:pt x="1278919" y="115413"/>
                    <a:pt x="1288008" y="106180"/>
                  </a:cubicBezTo>
                  <a:cubicBezTo>
                    <a:pt x="1297097" y="96947"/>
                    <a:pt x="1308205" y="89734"/>
                    <a:pt x="1321045" y="84540"/>
                  </a:cubicBezTo>
                  <a:cubicBezTo>
                    <a:pt x="1333885" y="79346"/>
                    <a:pt x="1348167" y="76750"/>
                    <a:pt x="1363892" y="76750"/>
                  </a:cubicBezTo>
                  <a:cubicBezTo>
                    <a:pt x="1379617" y="76750"/>
                    <a:pt x="1393900" y="79346"/>
                    <a:pt x="1406739" y="84540"/>
                  </a:cubicBezTo>
                  <a:cubicBezTo>
                    <a:pt x="1419579" y="89734"/>
                    <a:pt x="1430543" y="96947"/>
                    <a:pt x="1439487" y="106180"/>
                  </a:cubicBezTo>
                  <a:cubicBezTo>
                    <a:pt x="1448432" y="115413"/>
                    <a:pt x="1455501" y="126377"/>
                    <a:pt x="1460406" y="138928"/>
                  </a:cubicBezTo>
                  <a:cubicBezTo>
                    <a:pt x="1465311" y="151479"/>
                    <a:pt x="1467764" y="165185"/>
                    <a:pt x="1467764" y="179900"/>
                  </a:cubicBezTo>
                  <a:cubicBezTo>
                    <a:pt x="1467764" y="194615"/>
                    <a:pt x="1465311" y="208320"/>
                    <a:pt x="1460406" y="220871"/>
                  </a:cubicBezTo>
                  <a:cubicBezTo>
                    <a:pt x="1455501" y="233423"/>
                    <a:pt x="1448432" y="244387"/>
                    <a:pt x="1439487" y="253620"/>
                  </a:cubicBezTo>
                  <a:cubicBezTo>
                    <a:pt x="1430543" y="262853"/>
                    <a:pt x="1419579" y="270066"/>
                    <a:pt x="1406739" y="275404"/>
                  </a:cubicBezTo>
                  <a:cubicBezTo>
                    <a:pt x="1393900" y="280598"/>
                    <a:pt x="1379617" y="283194"/>
                    <a:pt x="1363892" y="283194"/>
                  </a:cubicBezTo>
                  <a:moveTo>
                    <a:pt x="1363459" y="239049"/>
                  </a:moveTo>
                  <a:cubicBezTo>
                    <a:pt x="1377165" y="239049"/>
                    <a:pt x="1387552" y="233711"/>
                    <a:pt x="1394477" y="222891"/>
                  </a:cubicBezTo>
                  <a:cubicBezTo>
                    <a:pt x="1401546" y="212071"/>
                    <a:pt x="1405008" y="197789"/>
                    <a:pt x="1405008" y="180044"/>
                  </a:cubicBezTo>
                  <a:cubicBezTo>
                    <a:pt x="1405008" y="162299"/>
                    <a:pt x="1401546" y="147873"/>
                    <a:pt x="1394477" y="137053"/>
                  </a:cubicBezTo>
                  <a:cubicBezTo>
                    <a:pt x="1387552" y="126089"/>
                    <a:pt x="1377165" y="120606"/>
                    <a:pt x="1363459" y="120606"/>
                  </a:cubicBezTo>
                  <a:cubicBezTo>
                    <a:pt x="1349754" y="120606"/>
                    <a:pt x="1339511" y="126089"/>
                    <a:pt x="1332586" y="137053"/>
                  </a:cubicBezTo>
                  <a:cubicBezTo>
                    <a:pt x="1325806" y="148017"/>
                    <a:pt x="1322343" y="162299"/>
                    <a:pt x="1322343" y="180044"/>
                  </a:cubicBezTo>
                  <a:cubicBezTo>
                    <a:pt x="1322343" y="197789"/>
                    <a:pt x="1325806" y="212071"/>
                    <a:pt x="1332586" y="222891"/>
                  </a:cubicBezTo>
                  <a:cubicBezTo>
                    <a:pt x="1339511" y="233711"/>
                    <a:pt x="1349754" y="239049"/>
                    <a:pt x="1363459" y="239049"/>
                  </a:cubicBezTo>
                  <a:moveTo>
                    <a:pt x="1555910" y="282906"/>
                  </a:moveTo>
                  <a:cubicBezTo>
                    <a:pt x="1533260" y="282906"/>
                    <a:pt x="1516237" y="276270"/>
                    <a:pt x="1504696" y="262853"/>
                  </a:cubicBezTo>
                  <a:cubicBezTo>
                    <a:pt x="1493154" y="249580"/>
                    <a:pt x="1487384" y="231980"/>
                    <a:pt x="1487384" y="210051"/>
                  </a:cubicBezTo>
                  <a:lnTo>
                    <a:pt x="1487384" y="82087"/>
                  </a:lnTo>
                  <a:lnTo>
                    <a:pt x="1549130" y="82087"/>
                  </a:lnTo>
                  <a:lnTo>
                    <a:pt x="1549130" y="197212"/>
                  </a:lnTo>
                  <a:cubicBezTo>
                    <a:pt x="1549130" y="207887"/>
                    <a:pt x="1551582" y="216111"/>
                    <a:pt x="1556343" y="221737"/>
                  </a:cubicBezTo>
                  <a:cubicBezTo>
                    <a:pt x="1561104" y="227508"/>
                    <a:pt x="1568606" y="230249"/>
                    <a:pt x="1578416" y="230249"/>
                  </a:cubicBezTo>
                  <a:cubicBezTo>
                    <a:pt x="1589092" y="230249"/>
                    <a:pt x="1597459" y="226642"/>
                    <a:pt x="1603518" y="219429"/>
                  </a:cubicBezTo>
                  <a:cubicBezTo>
                    <a:pt x="1609577" y="212215"/>
                    <a:pt x="1612607" y="202694"/>
                    <a:pt x="1612607" y="191008"/>
                  </a:cubicBezTo>
                  <a:lnTo>
                    <a:pt x="1612607" y="82087"/>
                  </a:lnTo>
                  <a:lnTo>
                    <a:pt x="1674641" y="82087"/>
                  </a:lnTo>
                  <a:lnTo>
                    <a:pt x="1674641" y="277135"/>
                  </a:lnTo>
                  <a:lnTo>
                    <a:pt x="1615204" y="277135"/>
                  </a:lnTo>
                  <a:lnTo>
                    <a:pt x="1615204" y="253187"/>
                  </a:lnTo>
                  <a:lnTo>
                    <a:pt x="1614050" y="253187"/>
                  </a:lnTo>
                  <a:cubicBezTo>
                    <a:pt x="1606980" y="262853"/>
                    <a:pt x="1598902" y="270210"/>
                    <a:pt x="1589813" y="275260"/>
                  </a:cubicBezTo>
                  <a:cubicBezTo>
                    <a:pt x="1580868" y="280309"/>
                    <a:pt x="1569471" y="282906"/>
                    <a:pt x="1555766" y="282906"/>
                  </a:cubicBezTo>
                  <a:moveTo>
                    <a:pt x="1791208" y="283339"/>
                  </a:moveTo>
                  <a:cubicBezTo>
                    <a:pt x="1762499" y="283339"/>
                    <a:pt x="1739850" y="277135"/>
                    <a:pt x="1722971" y="264873"/>
                  </a:cubicBezTo>
                  <a:cubicBezTo>
                    <a:pt x="1706236" y="252610"/>
                    <a:pt x="1697291" y="235587"/>
                    <a:pt x="1696281" y="213947"/>
                  </a:cubicBezTo>
                  <a:lnTo>
                    <a:pt x="1754998" y="213947"/>
                  </a:lnTo>
                  <a:cubicBezTo>
                    <a:pt x="1756296" y="223612"/>
                    <a:pt x="1759903" y="230826"/>
                    <a:pt x="1766106" y="235731"/>
                  </a:cubicBezTo>
                  <a:cubicBezTo>
                    <a:pt x="1772165" y="240492"/>
                    <a:pt x="1780388" y="242944"/>
                    <a:pt x="1790920" y="242944"/>
                  </a:cubicBezTo>
                  <a:cubicBezTo>
                    <a:pt x="1800297" y="242944"/>
                    <a:pt x="1807799" y="241357"/>
                    <a:pt x="1813137" y="238039"/>
                  </a:cubicBezTo>
                  <a:cubicBezTo>
                    <a:pt x="1818619" y="234721"/>
                    <a:pt x="1821360" y="229960"/>
                    <a:pt x="1821360" y="223612"/>
                  </a:cubicBezTo>
                  <a:cubicBezTo>
                    <a:pt x="1821360" y="219284"/>
                    <a:pt x="1819917" y="215822"/>
                    <a:pt x="1817176" y="213081"/>
                  </a:cubicBezTo>
                  <a:cubicBezTo>
                    <a:pt x="1814435" y="210484"/>
                    <a:pt x="1810684" y="208320"/>
                    <a:pt x="1806068" y="206589"/>
                  </a:cubicBezTo>
                  <a:cubicBezTo>
                    <a:pt x="1801451" y="205002"/>
                    <a:pt x="1796258" y="203704"/>
                    <a:pt x="1790199" y="202838"/>
                  </a:cubicBezTo>
                  <a:cubicBezTo>
                    <a:pt x="1784284" y="201973"/>
                    <a:pt x="1778080" y="200818"/>
                    <a:pt x="1771732" y="199664"/>
                  </a:cubicBezTo>
                  <a:cubicBezTo>
                    <a:pt x="1763365" y="198077"/>
                    <a:pt x="1754998" y="196346"/>
                    <a:pt x="1746630" y="194182"/>
                  </a:cubicBezTo>
                  <a:cubicBezTo>
                    <a:pt x="1738263" y="192018"/>
                    <a:pt x="1730761" y="188844"/>
                    <a:pt x="1723980" y="184516"/>
                  </a:cubicBezTo>
                  <a:cubicBezTo>
                    <a:pt x="1717200" y="180188"/>
                    <a:pt x="1711862" y="174418"/>
                    <a:pt x="1707823" y="167204"/>
                  </a:cubicBezTo>
                  <a:cubicBezTo>
                    <a:pt x="1703783" y="159991"/>
                    <a:pt x="1701763" y="150614"/>
                    <a:pt x="1701763" y="139217"/>
                  </a:cubicBezTo>
                  <a:cubicBezTo>
                    <a:pt x="1701763" y="129118"/>
                    <a:pt x="1703927" y="120029"/>
                    <a:pt x="1708400" y="112095"/>
                  </a:cubicBezTo>
                  <a:cubicBezTo>
                    <a:pt x="1712872" y="104304"/>
                    <a:pt x="1718931" y="97668"/>
                    <a:pt x="1726577" y="92475"/>
                  </a:cubicBezTo>
                  <a:cubicBezTo>
                    <a:pt x="1734223" y="87281"/>
                    <a:pt x="1743168" y="83386"/>
                    <a:pt x="1753411" y="80645"/>
                  </a:cubicBezTo>
                  <a:cubicBezTo>
                    <a:pt x="1763653" y="78048"/>
                    <a:pt x="1774618" y="76605"/>
                    <a:pt x="1786015" y="76605"/>
                  </a:cubicBezTo>
                  <a:cubicBezTo>
                    <a:pt x="1813714" y="76605"/>
                    <a:pt x="1834921" y="82232"/>
                    <a:pt x="1849636" y="93340"/>
                  </a:cubicBezTo>
                  <a:cubicBezTo>
                    <a:pt x="1864351" y="104449"/>
                    <a:pt x="1872430" y="119741"/>
                    <a:pt x="1874017" y="139073"/>
                  </a:cubicBezTo>
                  <a:lnTo>
                    <a:pt x="1816888" y="139073"/>
                  </a:lnTo>
                  <a:cubicBezTo>
                    <a:pt x="1815589" y="130128"/>
                    <a:pt x="1812271" y="124213"/>
                    <a:pt x="1806789" y="121039"/>
                  </a:cubicBezTo>
                  <a:cubicBezTo>
                    <a:pt x="1801307" y="117865"/>
                    <a:pt x="1794238" y="116278"/>
                    <a:pt x="1785582" y="116278"/>
                  </a:cubicBezTo>
                  <a:cubicBezTo>
                    <a:pt x="1777936" y="116278"/>
                    <a:pt x="1771588" y="117721"/>
                    <a:pt x="1766395" y="120606"/>
                  </a:cubicBezTo>
                  <a:cubicBezTo>
                    <a:pt x="1761201" y="123492"/>
                    <a:pt x="1758604" y="127964"/>
                    <a:pt x="1758604" y="134167"/>
                  </a:cubicBezTo>
                  <a:cubicBezTo>
                    <a:pt x="1758604" y="137774"/>
                    <a:pt x="1759903" y="140515"/>
                    <a:pt x="1762355" y="142535"/>
                  </a:cubicBezTo>
                  <a:cubicBezTo>
                    <a:pt x="1764952" y="144555"/>
                    <a:pt x="1768270" y="146286"/>
                    <a:pt x="1772598" y="147728"/>
                  </a:cubicBezTo>
                  <a:cubicBezTo>
                    <a:pt x="1776926" y="149171"/>
                    <a:pt x="1781975" y="150325"/>
                    <a:pt x="1787602" y="151335"/>
                  </a:cubicBezTo>
                  <a:cubicBezTo>
                    <a:pt x="1793372" y="152345"/>
                    <a:pt x="1799287" y="153355"/>
                    <a:pt x="1805346" y="154365"/>
                  </a:cubicBezTo>
                  <a:cubicBezTo>
                    <a:pt x="1814002" y="155807"/>
                    <a:pt x="1822659" y="157683"/>
                    <a:pt x="1831459" y="159847"/>
                  </a:cubicBezTo>
                  <a:cubicBezTo>
                    <a:pt x="1840259" y="162011"/>
                    <a:pt x="1848193" y="165329"/>
                    <a:pt x="1855407" y="169945"/>
                  </a:cubicBezTo>
                  <a:cubicBezTo>
                    <a:pt x="1862620" y="174562"/>
                    <a:pt x="1868535" y="180621"/>
                    <a:pt x="1873152" y="188412"/>
                  </a:cubicBezTo>
                  <a:cubicBezTo>
                    <a:pt x="1877768" y="196202"/>
                    <a:pt x="1880076" y="206301"/>
                    <a:pt x="1880076" y="218707"/>
                  </a:cubicBezTo>
                  <a:cubicBezTo>
                    <a:pt x="1880076" y="229383"/>
                    <a:pt x="1877768" y="238760"/>
                    <a:pt x="1873440" y="246839"/>
                  </a:cubicBezTo>
                  <a:cubicBezTo>
                    <a:pt x="1868968" y="254918"/>
                    <a:pt x="1862764" y="261699"/>
                    <a:pt x="1854974" y="267037"/>
                  </a:cubicBezTo>
                  <a:cubicBezTo>
                    <a:pt x="1847039" y="272374"/>
                    <a:pt x="1837662" y="276414"/>
                    <a:pt x="1826842" y="279299"/>
                  </a:cubicBezTo>
                  <a:cubicBezTo>
                    <a:pt x="1815878" y="282040"/>
                    <a:pt x="1804048" y="283483"/>
                    <a:pt x="1791353" y="283483"/>
                  </a:cubicBezTo>
                  <a:moveTo>
                    <a:pt x="2001260" y="283050"/>
                  </a:moveTo>
                  <a:cubicBezTo>
                    <a:pt x="1985246" y="283050"/>
                    <a:pt x="1970820" y="280453"/>
                    <a:pt x="1957836" y="275260"/>
                  </a:cubicBezTo>
                  <a:cubicBezTo>
                    <a:pt x="1944852" y="270066"/>
                    <a:pt x="1934032" y="262853"/>
                    <a:pt x="1925087" y="253476"/>
                  </a:cubicBezTo>
                  <a:cubicBezTo>
                    <a:pt x="1916143" y="244243"/>
                    <a:pt x="1909362" y="233278"/>
                    <a:pt x="1904457" y="220583"/>
                  </a:cubicBezTo>
                  <a:cubicBezTo>
                    <a:pt x="1899697" y="207887"/>
                    <a:pt x="1897244" y="194182"/>
                    <a:pt x="1897244" y="179467"/>
                  </a:cubicBezTo>
                  <a:cubicBezTo>
                    <a:pt x="1897244" y="164752"/>
                    <a:pt x="1899697" y="151479"/>
                    <a:pt x="1904457" y="138928"/>
                  </a:cubicBezTo>
                  <a:cubicBezTo>
                    <a:pt x="1909218" y="126377"/>
                    <a:pt x="1916143" y="115413"/>
                    <a:pt x="1925087" y="106180"/>
                  </a:cubicBezTo>
                  <a:cubicBezTo>
                    <a:pt x="1934032" y="96947"/>
                    <a:pt x="1944563" y="89734"/>
                    <a:pt x="1956682" y="84540"/>
                  </a:cubicBezTo>
                  <a:cubicBezTo>
                    <a:pt x="1968944" y="79346"/>
                    <a:pt x="1982505" y="76750"/>
                    <a:pt x="1997509" y="76750"/>
                  </a:cubicBezTo>
                  <a:cubicBezTo>
                    <a:pt x="2011503" y="76750"/>
                    <a:pt x="2023910" y="78914"/>
                    <a:pt x="2035018" y="83242"/>
                  </a:cubicBezTo>
                  <a:cubicBezTo>
                    <a:pt x="2046127" y="87570"/>
                    <a:pt x="2055792" y="93484"/>
                    <a:pt x="2064160" y="101131"/>
                  </a:cubicBezTo>
                  <a:cubicBezTo>
                    <a:pt x="2075845" y="111806"/>
                    <a:pt x="2084501" y="125367"/>
                    <a:pt x="2090272" y="141669"/>
                  </a:cubicBezTo>
                  <a:cubicBezTo>
                    <a:pt x="2096043" y="158116"/>
                    <a:pt x="2098784" y="176149"/>
                    <a:pt x="2098495" y="195913"/>
                  </a:cubicBezTo>
                  <a:lnTo>
                    <a:pt x="1958269" y="195913"/>
                  </a:lnTo>
                  <a:cubicBezTo>
                    <a:pt x="1960288" y="209186"/>
                    <a:pt x="1964905" y="219573"/>
                    <a:pt x="1971974" y="227219"/>
                  </a:cubicBezTo>
                  <a:cubicBezTo>
                    <a:pt x="1979043" y="234865"/>
                    <a:pt x="1989142" y="238616"/>
                    <a:pt x="2002125" y="238616"/>
                  </a:cubicBezTo>
                  <a:cubicBezTo>
                    <a:pt x="2010204" y="238616"/>
                    <a:pt x="2016985" y="236885"/>
                    <a:pt x="2022323" y="233423"/>
                  </a:cubicBezTo>
                  <a:cubicBezTo>
                    <a:pt x="2027661" y="229960"/>
                    <a:pt x="2031700" y="225199"/>
                    <a:pt x="2034585" y="219140"/>
                  </a:cubicBezTo>
                  <a:lnTo>
                    <a:pt x="2095177" y="219140"/>
                  </a:lnTo>
                  <a:cubicBezTo>
                    <a:pt x="2093158" y="228085"/>
                    <a:pt x="2089406" y="236452"/>
                    <a:pt x="2083780" y="244531"/>
                  </a:cubicBezTo>
                  <a:cubicBezTo>
                    <a:pt x="2078154" y="252610"/>
                    <a:pt x="2071085" y="259390"/>
                    <a:pt x="2062429" y="265305"/>
                  </a:cubicBezTo>
                  <a:cubicBezTo>
                    <a:pt x="2054350" y="271220"/>
                    <a:pt x="2045261" y="275548"/>
                    <a:pt x="2035162" y="278578"/>
                  </a:cubicBezTo>
                  <a:cubicBezTo>
                    <a:pt x="2025064" y="281607"/>
                    <a:pt x="2013811" y="283194"/>
                    <a:pt x="2001404" y="283194"/>
                  </a:cubicBezTo>
                  <a:moveTo>
                    <a:pt x="2035739" y="158981"/>
                  </a:moveTo>
                  <a:cubicBezTo>
                    <a:pt x="2034441" y="147296"/>
                    <a:pt x="2030546" y="138063"/>
                    <a:pt x="2023910" y="131138"/>
                  </a:cubicBezTo>
                  <a:cubicBezTo>
                    <a:pt x="2017273" y="124357"/>
                    <a:pt x="2008906" y="120895"/>
                    <a:pt x="1998807" y="120895"/>
                  </a:cubicBezTo>
                  <a:cubicBezTo>
                    <a:pt x="1986833" y="120895"/>
                    <a:pt x="1977745" y="124357"/>
                    <a:pt x="1971397" y="131138"/>
                  </a:cubicBezTo>
                  <a:cubicBezTo>
                    <a:pt x="1965049" y="138063"/>
                    <a:pt x="1960865" y="147296"/>
                    <a:pt x="1958846" y="158981"/>
                  </a:cubicBezTo>
                  <a:lnTo>
                    <a:pt x="2035739" y="158981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420A9100-D517-D472-CEFD-D0D3A5BCF545}"/>
                </a:ext>
              </a:extLst>
            </p:cNvPr>
            <p:cNvSpPr/>
            <p:nvPr/>
          </p:nvSpPr>
          <p:spPr>
            <a:xfrm>
              <a:off x="883128" y="557212"/>
              <a:ext cx="273528" cy="675598"/>
            </a:xfrm>
            <a:custGeom>
              <a:avLst/>
              <a:gdLst>
                <a:gd name="connsiteX0" fmla="*/ 0 w 273528"/>
                <a:gd name="connsiteY0" fmla="*/ 0 h 675598"/>
                <a:gd name="connsiteX1" fmla="*/ 0 w 273528"/>
                <a:gd name="connsiteY1" fmla="*/ 476944 h 675598"/>
                <a:gd name="connsiteX2" fmla="*/ 272807 w 273528"/>
                <a:gd name="connsiteY2" fmla="*/ 675598 h 675598"/>
                <a:gd name="connsiteX3" fmla="*/ 273529 w 273528"/>
                <a:gd name="connsiteY3" fmla="*/ 674877 h 675598"/>
                <a:gd name="connsiteX4" fmla="*/ 0 w 273528"/>
                <a:gd name="connsiteY4" fmla="*/ 0 h 675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528" h="675598">
                  <a:moveTo>
                    <a:pt x="0" y="0"/>
                  </a:moveTo>
                  <a:lnTo>
                    <a:pt x="0" y="476944"/>
                  </a:lnTo>
                  <a:lnTo>
                    <a:pt x="272807" y="675598"/>
                  </a:lnTo>
                  <a:cubicBezTo>
                    <a:pt x="272807" y="675598"/>
                    <a:pt x="273384" y="675021"/>
                    <a:pt x="273529" y="67487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3D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AA4E6CE2-336C-0213-9FF5-26E16386C047}"/>
                </a:ext>
              </a:extLst>
            </p:cNvPr>
            <p:cNvSpPr/>
            <p:nvPr/>
          </p:nvSpPr>
          <p:spPr>
            <a:xfrm>
              <a:off x="609600" y="557212"/>
              <a:ext cx="273528" cy="675453"/>
            </a:xfrm>
            <a:custGeom>
              <a:avLst/>
              <a:gdLst>
                <a:gd name="connsiteX0" fmla="*/ 0 w 273528"/>
                <a:gd name="connsiteY0" fmla="*/ 674733 h 675453"/>
                <a:gd name="connsiteX1" fmla="*/ 721 w 273528"/>
                <a:gd name="connsiteY1" fmla="*/ 675454 h 675453"/>
                <a:gd name="connsiteX2" fmla="*/ 273529 w 273528"/>
                <a:gd name="connsiteY2" fmla="*/ 476799 h 675453"/>
                <a:gd name="connsiteX3" fmla="*/ 273529 w 273528"/>
                <a:gd name="connsiteY3" fmla="*/ 0 h 675453"/>
                <a:gd name="connsiteX4" fmla="*/ 0 w 273528"/>
                <a:gd name="connsiteY4" fmla="*/ 674733 h 675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528" h="675453">
                  <a:moveTo>
                    <a:pt x="0" y="674733"/>
                  </a:moveTo>
                  <a:cubicBezTo>
                    <a:pt x="0" y="674733"/>
                    <a:pt x="577" y="675310"/>
                    <a:pt x="721" y="675454"/>
                  </a:cubicBezTo>
                  <a:lnTo>
                    <a:pt x="273529" y="476799"/>
                  </a:lnTo>
                  <a:lnTo>
                    <a:pt x="273529" y="0"/>
                  </a:lnTo>
                  <a:lnTo>
                    <a:pt x="0" y="674733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8DC4B6A-4CBA-E0F1-E91D-A6319EE1FAC8}"/>
              </a:ext>
            </a:extLst>
          </p:cNvPr>
          <p:cNvCxnSpPr>
            <a:cxnSpLocks/>
          </p:cNvCxnSpPr>
          <p:nvPr/>
        </p:nvCxnSpPr>
        <p:spPr>
          <a:xfrm>
            <a:off x="609600" y="4594548"/>
            <a:ext cx="537667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phic 12">
            <a:extLst>
              <a:ext uri="{FF2B5EF4-FFF2-40B4-BE49-F238E27FC236}">
                <a16:creationId xmlns:a16="http://schemas.microsoft.com/office/drawing/2014/main" id="{B7C6D37C-C62C-7CA0-D32B-2D5DC88A0F3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9837" r="8121" b="7745"/>
          <a:stretch/>
        </p:blipFill>
        <p:spPr>
          <a:xfrm>
            <a:off x="5996682" y="-1"/>
            <a:ext cx="6195318" cy="6858001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CB1E87D-CF80-16E1-E2DA-D366BCB64A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048537"/>
            <a:ext cx="5376672" cy="2244461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ation title extends </a:t>
            </a:r>
            <a:br>
              <a:rPr lang="en-US"/>
            </a:br>
            <a:r>
              <a:rPr lang="en-US"/>
              <a:t>up to 3 line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2A9289B-23E0-657B-DF89-7F9B74F766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523079"/>
            <a:ext cx="2468880" cy="223908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400" b="1" cap="all" spc="300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D7147827-288A-C738-6D39-15FD117D358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4896099"/>
            <a:ext cx="5387082" cy="307777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300"/>
              </a:spcAft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Name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63BBE4A5-01FB-BD6C-513D-9B06278F441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600" y="6090476"/>
            <a:ext cx="1834388" cy="210312"/>
          </a:xfrm>
          <a:prstGeom prst="rect">
            <a:avLst/>
          </a:prstGeom>
        </p:spPr>
      </p:pic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FCC54D6-1CD8-DA15-70A3-BCCDE81CDB97}"/>
              </a:ext>
            </a:extLst>
          </p:cNvPr>
          <p:cNvCxnSpPr>
            <a:cxnSpLocks/>
          </p:cNvCxnSpPr>
          <p:nvPr userDrawn="1"/>
        </p:nvCxnSpPr>
        <p:spPr>
          <a:xfrm>
            <a:off x="609600" y="4594548"/>
            <a:ext cx="537667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33">
            <a:extLst>
              <a:ext uri="{FF2B5EF4-FFF2-40B4-BE49-F238E27FC236}">
                <a16:creationId xmlns:a16="http://schemas.microsoft.com/office/drawing/2014/main" id="{AAE1FF1D-0F56-F757-7130-3FB597422C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0348" y="5236388"/>
            <a:ext cx="5387082" cy="276999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</p:spTree>
    <p:extLst>
      <p:ext uri="{BB962C8B-B14F-4D97-AF65-F5344CB8AC3E}">
        <p14:creationId xmlns:p14="http://schemas.microsoft.com/office/powerpoint/2010/main" val="23367099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 - 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CB1E87D-CF80-16E1-E2DA-D366BCB64A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048537"/>
            <a:ext cx="5376672" cy="2244461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ation title extends </a:t>
            </a:r>
            <a:br>
              <a:rPr lang="en-US"/>
            </a:br>
            <a:r>
              <a:rPr lang="en-US"/>
              <a:t>up to 3 line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4CCA385-BADC-9412-0D5E-D86D6665ADB9}"/>
              </a:ext>
            </a:extLst>
          </p:cNvPr>
          <p:cNvCxnSpPr>
            <a:cxnSpLocks/>
          </p:cNvCxnSpPr>
          <p:nvPr/>
        </p:nvCxnSpPr>
        <p:spPr>
          <a:xfrm>
            <a:off x="609600" y="4594548"/>
            <a:ext cx="5376672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aphic 3">
            <a:extLst>
              <a:ext uri="{FF2B5EF4-FFF2-40B4-BE49-F238E27FC236}">
                <a16:creationId xmlns:a16="http://schemas.microsoft.com/office/drawing/2014/main" id="{B3F109DD-32AE-D92D-4621-BF43B58FB4A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09600" y="557212"/>
            <a:ext cx="1734668" cy="438912"/>
            <a:chOff x="609600" y="557212"/>
            <a:chExt cx="2667656" cy="674980"/>
          </a:xfrm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8BF33003-98EC-AC6E-F2E8-D433A9977017}"/>
                </a:ext>
              </a:extLst>
            </p:cNvPr>
            <p:cNvSpPr/>
            <p:nvPr/>
          </p:nvSpPr>
          <p:spPr>
            <a:xfrm>
              <a:off x="1180659" y="790421"/>
              <a:ext cx="2096597" cy="283512"/>
            </a:xfrm>
            <a:custGeom>
              <a:avLst/>
              <a:gdLst>
                <a:gd name="connsiteX0" fmla="*/ 129433 w 2096597"/>
                <a:gd name="connsiteY0" fmla="*/ 283512 h 283512"/>
                <a:gd name="connsiteX1" fmla="*/ 76968 w 2096597"/>
                <a:gd name="connsiteY1" fmla="*/ 273567 h 283512"/>
                <a:gd name="connsiteX2" fmla="*/ 36610 w 2096597"/>
                <a:gd name="connsiteY2" fmla="*/ 245461 h 283512"/>
                <a:gd name="connsiteX3" fmla="*/ 9369 w 2096597"/>
                <a:gd name="connsiteY3" fmla="*/ 199770 h 283512"/>
                <a:gd name="connsiteX4" fmla="*/ 0 w 2096597"/>
                <a:gd name="connsiteY4" fmla="*/ 142260 h 283512"/>
                <a:gd name="connsiteX5" fmla="*/ 10522 w 2096597"/>
                <a:gd name="connsiteY5" fmla="*/ 82733 h 283512"/>
                <a:gd name="connsiteX6" fmla="*/ 40358 w 2096597"/>
                <a:gd name="connsiteY6" fmla="*/ 36178 h 283512"/>
                <a:gd name="connsiteX7" fmla="*/ 80715 w 2096597"/>
                <a:gd name="connsiteY7" fmla="*/ 9513 h 283512"/>
                <a:gd name="connsiteX8" fmla="*/ 133612 w 2096597"/>
                <a:gd name="connsiteY8" fmla="*/ 0 h 283512"/>
                <a:gd name="connsiteX9" fmla="*/ 180744 w 2096597"/>
                <a:gd name="connsiteY9" fmla="*/ 6630 h 283512"/>
                <a:gd name="connsiteX10" fmla="*/ 216922 w 2096597"/>
                <a:gd name="connsiteY10" fmla="*/ 25656 h 283512"/>
                <a:gd name="connsiteX11" fmla="*/ 241425 w 2096597"/>
                <a:gd name="connsiteY11" fmla="*/ 55492 h 283512"/>
                <a:gd name="connsiteX12" fmla="*/ 254109 w 2096597"/>
                <a:gd name="connsiteY12" fmla="*/ 94264 h 283512"/>
                <a:gd name="connsiteX13" fmla="*/ 188672 w 2096597"/>
                <a:gd name="connsiteY13" fmla="*/ 94264 h 283512"/>
                <a:gd name="connsiteX14" fmla="*/ 171520 w 2096597"/>
                <a:gd name="connsiteY14" fmla="*/ 66446 h 283512"/>
                <a:gd name="connsiteX15" fmla="*/ 135774 w 2096597"/>
                <a:gd name="connsiteY15" fmla="*/ 55348 h 283512"/>
                <a:gd name="connsiteX16" fmla="*/ 106227 w 2096597"/>
                <a:gd name="connsiteY16" fmla="*/ 61978 h 283512"/>
                <a:gd name="connsiteX17" fmla="*/ 85039 w 2096597"/>
                <a:gd name="connsiteY17" fmla="*/ 80283 h 283512"/>
                <a:gd name="connsiteX18" fmla="*/ 72500 w 2096597"/>
                <a:gd name="connsiteY18" fmla="*/ 107668 h 283512"/>
                <a:gd name="connsiteX19" fmla="*/ 68320 w 2096597"/>
                <a:gd name="connsiteY19" fmla="*/ 142116 h 283512"/>
                <a:gd name="connsiteX20" fmla="*/ 73076 w 2096597"/>
                <a:gd name="connsiteY20" fmla="*/ 176709 h 283512"/>
                <a:gd name="connsiteX21" fmla="*/ 86625 w 2096597"/>
                <a:gd name="connsiteY21" fmla="*/ 204238 h 283512"/>
                <a:gd name="connsiteX22" fmla="*/ 108101 w 2096597"/>
                <a:gd name="connsiteY22" fmla="*/ 222255 h 283512"/>
                <a:gd name="connsiteX23" fmla="*/ 136783 w 2096597"/>
                <a:gd name="connsiteY23" fmla="*/ 228741 h 283512"/>
                <a:gd name="connsiteX24" fmla="*/ 160566 w 2096597"/>
                <a:gd name="connsiteY24" fmla="*/ 224705 h 283512"/>
                <a:gd name="connsiteX25" fmla="*/ 178438 w 2096597"/>
                <a:gd name="connsiteY25" fmla="*/ 214039 h 283512"/>
                <a:gd name="connsiteX26" fmla="*/ 190257 w 2096597"/>
                <a:gd name="connsiteY26" fmla="*/ 198761 h 283512"/>
                <a:gd name="connsiteX27" fmla="*/ 195734 w 2096597"/>
                <a:gd name="connsiteY27" fmla="*/ 181033 h 283512"/>
                <a:gd name="connsiteX28" fmla="*/ 195734 w 2096597"/>
                <a:gd name="connsiteY28" fmla="*/ 180312 h 283512"/>
                <a:gd name="connsiteX29" fmla="*/ 144711 w 2096597"/>
                <a:gd name="connsiteY29" fmla="*/ 180312 h 283512"/>
                <a:gd name="connsiteX30" fmla="*/ 144711 w 2096597"/>
                <a:gd name="connsiteY30" fmla="*/ 130874 h 283512"/>
                <a:gd name="connsiteX31" fmla="*/ 258144 w 2096597"/>
                <a:gd name="connsiteY31" fmla="*/ 130874 h 283512"/>
                <a:gd name="connsiteX32" fmla="*/ 258144 w 2096597"/>
                <a:gd name="connsiteY32" fmla="*/ 277026 h 283512"/>
                <a:gd name="connsiteX33" fmla="*/ 211013 w 2096597"/>
                <a:gd name="connsiteY33" fmla="*/ 277026 h 283512"/>
                <a:gd name="connsiteX34" fmla="*/ 207265 w 2096597"/>
                <a:gd name="connsiteY34" fmla="*/ 244308 h 283512"/>
                <a:gd name="connsiteX35" fmla="*/ 206544 w 2096597"/>
                <a:gd name="connsiteY35" fmla="*/ 244308 h 283512"/>
                <a:gd name="connsiteX36" fmla="*/ 173682 w 2096597"/>
                <a:gd name="connsiteY36" fmla="*/ 274143 h 283512"/>
                <a:gd name="connsiteX37" fmla="*/ 129288 w 2096597"/>
                <a:gd name="connsiteY37" fmla="*/ 283080 h 283512"/>
                <a:gd name="connsiteX38" fmla="*/ 358029 w 2096597"/>
                <a:gd name="connsiteY38" fmla="*/ 282647 h 283512"/>
                <a:gd name="connsiteX39" fmla="*/ 306862 w 2096597"/>
                <a:gd name="connsiteY39" fmla="*/ 262613 h 283512"/>
                <a:gd name="connsiteX40" fmla="*/ 289566 w 2096597"/>
                <a:gd name="connsiteY40" fmla="*/ 209859 h 283512"/>
                <a:gd name="connsiteX41" fmla="*/ 289566 w 2096597"/>
                <a:gd name="connsiteY41" fmla="*/ 82012 h 283512"/>
                <a:gd name="connsiteX42" fmla="*/ 351255 w 2096597"/>
                <a:gd name="connsiteY42" fmla="*/ 82012 h 283512"/>
                <a:gd name="connsiteX43" fmla="*/ 351255 w 2096597"/>
                <a:gd name="connsiteY43" fmla="*/ 197032 h 283512"/>
                <a:gd name="connsiteX44" fmla="*/ 358462 w 2096597"/>
                <a:gd name="connsiteY44" fmla="*/ 221534 h 283512"/>
                <a:gd name="connsiteX45" fmla="*/ 380514 w 2096597"/>
                <a:gd name="connsiteY45" fmla="*/ 230038 h 283512"/>
                <a:gd name="connsiteX46" fmla="*/ 405594 w 2096597"/>
                <a:gd name="connsiteY46" fmla="*/ 219228 h 283512"/>
                <a:gd name="connsiteX47" fmla="*/ 414674 w 2096597"/>
                <a:gd name="connsiteY47" fmla="*/ 190834 h 283512"/>
                <a:gd name="connsiteX48" fmla="*/ 414674 w 2096597"/>
                <a:gd name="connsiteY48" fmla="*/ 82012 h 283512"/>
                <a:gd name="connsiteX49" fmla="*/ 476652 w 2096597"/>
                <a:gd name="connsiteY49" fmla="*/ 82012 h 283512"/>
                <a:gd name="connsiteX50" fmla="*/ 476652 w 2096597"/>
                <a:gd name="connsiteY50" fmla="*/ 276882 h 283512"/>
                <a:gd name="connsiteX51" fmla="*/ 417269 w 2096597"/>
                <a:gd name="connsiteY51" fmla="*/ 276882 h 283512"/>
                <a:gd name="connsiteX52" fmla="*/ 417269 w 2096597"/>
                <a:gd name="connsiteY52" fmla="*/ 252956 h 283512"/>
                <a:gd name="connsiteX53" fmla="*/ 416116 w 2096597"/>
                <a:gd name="connsiteY53" fmla="*/ 252956 h 283512"/>
                <a:gd name="connsiteX54" fmla="*/ 391901 w 2096597"/>
                <a:gd name="connsiteY54" fmla="*/ 275008 h 283512"/>
                <a:gd name="connsiteX55" fmla="*/ 357885 w 2096597"/>
                <a:gd name="connsiteY55" fmla="*/ 282647 h 283512"/>
                <a:gd name="connsiteX56" fmla="*/ 511965 w 2096597"/>
                <a:gd name="connsiteY56" fmla="*/ 2162 h 283512"/>
                <a:gd name="connsiteX57" fmla="*/ 573943 w 2096597"/>
                <a:gd name="connsiteY57" fmla="*/ 2162 h 283512"/>
                <a:gd name="connsiteX58" fmla="*/ 573943 w 2096597"/>
                <a:gd name="connsiteY58" fmla="*/ 55059 h 283512"/>
                <a:gd name="connsiteX59" fmla="*/ 511965 w 2096597"/>
                <a:gd name="connsiteY59" fmla="*/ 55059 h 283512"/>
                <a:gd name="connsiteX60" fmla="*/ 511965 w 2096597"/>
                <a:gd name="connsiteY60" fmla="*/ 2162 h 283512"/>
                <a:gd name="connsiteX61" fmla="*/ 511965 w 2096597"/>
                <a:gd name="connsiteY61" fmla="*/ 82012 h 283512"/>
                <a:gd name="connsiteX62" fmla="*/ 573943 w 2096597"/>
                <a:gd name="connsiteY62" fmla="*/ 82012 h 283512"/>
                <a:gd name="connsiteX63" fmla="*/ 573943 w 2096597"/>
                <a:gd name="connsiteY63" fmla="*/ 276882 h 283512"/>
                <a:gd name="connsiteX64" fmla="*/ 511965 w 2096597"/>
                <a:gd name="connsiteY64" fmla="*/ 276882 h 283512"/>
                <a:gd name="connsiteX65" fmla="*/ 511965 w 2096597"/>
                <a:gd name="connsiteY65" fmla="*/ 82012 h 283512"/>
                <a:gd name="connsiteX66" fmla="*/ 685935 w 2096597"/>
                <a:gd name="connsiteY66" fmla="*/ 282936 h 283512"/>
                <a:gd name="connsiteX67" fmla="*/ 651631 w 2096597"/>
                <a:gd name="connsiteY67" fmla="*/ 275873 h 283512"/>
                <a:gd name="connsiteX68" fmla="*/ 624678 w 2096597"/>
                <a:gd name="connsiteY68" fmla="*/ 255550 h 283512"/>
                <a:gd name="connsiteX69" fmla="*/ 606949 w 2096597"/>
                <a:gd name="connsiteY69" fmla="*/ 222976 h 283512"/>
                <a:gd name="connsiteX70" fmla="*/ 600607 w 2096597"/>
                <a:gd name="connsiteY70" fmla="*/ 179447 h 283512"/>
                <a:gd name="connsiteX71" fmla="*/ 606949 w 2096597"/>
                <a:gd name="connsiteY71" fmla="*/ 137504 h 283512"/>
                <a:gd name="connsiteX72" fmla="*/ 624390 w 2096597"/>
                <a:gd name="connsiteY72" fmla="*/ 104930 h 283512"/>
                <a:gd name="connsiteX73" fmla="*/ 651199 w 2096597"/>
                <a:gd name="connsiteY73" fmla="*/ 83742 h 283512"/>
                <a:gd name="connsiteX74" fmla="*/ 685791 w 2096597"/>
                <a:gd name="connsiteY74" fmla="*/ 76103 h 283512"/>
                <a:gd name="connsiteX75" fmla="*/ 718942 w 2096597"/>
                <a:gd name="connsiteY75" fmla="*/ 83886 h 283512"/>
                <a:gd name="connsiteX76" fmla="*/ 740273 w 2096597"/>
                <a:gd name="connsiteY76" fmla="*/ 103921 h 283512"/>
                <a:gd name="connsiteX77" fmla="*/ 741426 w 2096597"/>
                <a:gd name="connsiteY77" fmla="*/ 103921 h 283512"/>
                <a:gd name="connsiteX78" fmla="*/ 741426 w 2096597"/>
                <a:gd name="connsiteY78" fmla="*/ 1874 h 283512"/>
                <a:gd name="connsiteX79" fmla="*/ 803404 w 2096597"/>
                <a:gd name="connsiteY79" fmla="*/ 1874 h 283512"/>
                <a:gd name="connsiteX80" fmla="*/ 803404 w 2096597"/>
                <a:gd name="connsiteY80" fmla="*/ 276738 h 283512"/>
                <a:gd name="connsiteX81" fmla="*/ 744021 w 2096597"/>
                <a:gd name="connsiteY81" fmla="*/ 276738 h 283512"/>
                <a:gd name="connsiteX82" fmla="*/ 744021 w 2096597"/>
                <a:gd name="connsiteY82" fmla="*/ 250505 h 283512"/>
                <a:gd name="connsiteX83" fmla="*/ 743300 w 2096597"/>
                <a:gd name="connsiteY83" fmla="*/ 250505 h 283512"/>
                <a:gd name="connsiteX84" fmla="*/ 719951 w 2096597"/>
                <a:gd name="connsiteY84" fmla="*/ 274287 h 283512"/>
                <a:gd name="connsiteX85" fmla="*/ 685935 w 2096597"/>
                <a:gd name="connsiteY85" fmla="*/ 282791 h 283512"/>
                <a:gd name="connsiteX86" fmla="*/ 701934 w 2096597"/>
                <a:gd name="connsiteY86" fmla="*/ 233642 h 283512"/>
                <a:gd name="connsiteX87" fmla="*/ 732202 w 2096597"/>
                <a:gd name="connsiteY87" fmla="*/ 218363 h 283512"/>
                <a:gd name="connsiteX88" fmla="*/ 743012 w 2096597"/>
                <a:gd name="connsiteY88" fmla="*/ 179159 h 283512"/>
                <a:gd name="connsiteX89" fmla="*/ 740562 w 2096597"/>
                <a:gd name="connsiteY89" fmla="*/ 156530 h 283512"/>
                <a:gd name="connsiteX90" fmla="*/ 732923 w 2096597"/>
                <a:gd name="connsiteY90" fmla="*/ 138657 h 283512"/>
                <a:gd name="connsiteX91" fmla="*/ 720383 w 2096597"/>
                <a:gd name="connsiteY91" fmla="*/ 126982 h 283512"/>
                <a:gd name="connsiteX92" fmla="*/ 702654 w 2096597"/>
                <a:gd name="connsiteY92" fmla="*/ 122802 h 283512"/>
                <a:gd name="connsiteX93" fmla="*/ 673683 w 2096597"/>
                <a:gd name="connsiteY93" fmla="*/ 138225 h 283512"/>
                <a:gd name="connsiteX94" fmla="*/ 663450 w 2096597"/>
                <a:gd name="connsiteY94" fmla="*/ 178438 h 283512"/>
                <a:gd name="connsiteX95" fmla="*/ 673539 w 2096597"/>
                <a:gd name="connsiteY95" fmla="*/ 218796 h 283512"/>
                <a:gd name="connsiteX96" fmla="*/ 701934 w 2096597"/>
                <a:gd name="connsiteY96" fmla="*/ 233642 h 283512"/>
                <a:gd name="connsiteX97" fmla="*/ 930242 w 2096597"/>
                <a:gd name="connsiteY97" fmla="*/ 282359 h 283512"/>
                <a:gd name="connsiteX98" fmla="*/ 886858 w 2096597"/>
                <a:gd name="connsiteY98" fmla="*/ 274576 h 283512"/>
                <a:gd name="connsiteX99" fmla="*/ 854139 w 2096597"/>
                <a:gd name="connsiteY99" fmla="*/ 252811 h 283512"/>
                <a:gd name="connsiteX100" fmla="*/ 833528 w 2096597"/>
                <a:gd name="connsiteY100" fmla="*/ 219949 h 283512"/>
                <a:gd name="connsiteX101" fmla="*/ 826322 w 2096597"/>
                <a:gd name="connsiteY101" fmla="*/ 178871 h 283512"/>
                <a:gd name="connsiteX102" fmla="*/ 833528 w 2096597"/>
                <a:gd name="connsiteY102" fmla="*/ 138369 h 283512"/>
                <a:gd name="connsiteX103" fmla="*/ 854139 w 2096597"/>
                <a:gd name="connsiteY103" fmla="*/ 105650 h 283512"/>
                <a:gd name="connsiteX104" fmla="*/ 885705 w 2096597"/>
                <a:gd name="connsiteY104" fmla="*/ 84030 h 283512"/>
                <a:gd name="connsiteX105" fmla="*/ 926495 w 2096597"/>
                <a:gd name="connsiteY105" fmla="*/ 76247 h 283512"/>
                <a:gd name="connsiteX106" fmla="*/ 963970 w 2096597"/>
                <a:gd name="connsiteY106" fmla="*/ 82733 h 283512"/>
                <a:gd name="connsiteX107" fmla="*/ 993085 w 2096597"/>
                <a:gd name="connsiteY107" fmla="*/ 100606 h 283512"/>
                <a:gd name="connsiteX108" fmla="*/ 1019173 w 2096597"/>
                <a:gd name="connsiteY108" fmla="*/ 141107 h 283512"/>
                <a:gd name="connsiteX109" fmla="*/ 1027389 w 2096597"/>
                <a:gd name="connsiteY109" fmla="*/ 195302 h 283512"/>
                <a:gd name="connsiteX110" fmla="*/ 887290 w 2096597"/>
                <a:gd name="connsiteY110" fmla="*/ 195302 h 283512"/>
                <a:gd name="connsiteX111" fmla="*/ 900983 w 2096597"/>
                <a:gd name="connsiteY111" fmla="*/ 226579 h 283512"/>
                <a:gd name="connsiteX112" fmla="*/ 931107 w 2096597"/>
                <a:gd name="connsiteY112" fmla="*/ 237966 h 283512"/>
                <a:gd name="connsiteX113" fmla="*/ 951286 w 2096597"/>
                <a:gd name="connsiteY113" fmla="*/ 232777 h 283512"/>
                <a:gd name="connsiteX114" fmla="*/ 963393 w 2096597"/>
                <a:gd name="connsiteY114" fmla="*/ 218508 h 283512"/>
                <a:gd name="connsiteX115" fmla="*/ 1023930 w 2096597"/>
                <a:gd name="connsiteY115" fmla="*/ 218508 h 283512"/>
                <a:gd name="connsiteX116" fmla="*/ 1012543 w 2096597"/>
                <a:gd name="connsiteY116" fmla="*/ 243875 h 283512"/>
                <a:gd name="connsiteX117" fmla="*/ 991211 w 2096597"/>
                <a:gd name="connsiteY117" fmla="*/ 264630 h 283512"/>
                <a:gd name="connsiteX118" fmla="*/ 963970 w 2096597"/>
                <a:gd name="connsiteY118" fmla="*/ 277891 h 283512"/>
                <a:gd name="connsiteX119" fmla="*/ 930242 w 2096597"/>
                <a:gd name="connsiteY119" fmla="*/ 282503 h 283512"/>
                <a:gd name="connsiteX120" fmla="*/ 964546 w 2096597"/>
                <a:gd name="connsiteY120" fmla="*/ 158404 h 283512"/>
                <a:gd name="connsiteX121" fmla="*/ 952727 w 2096597"/>
                <a:gd name="connsiteY121" fmla="*/ 130586 h 283512"/>
                <a:gd name="connsiteX122" fmla="*/ 927648 w 2096597"/>
                <a:gd name="connsiteY122" fmla="*/ 120352 h 283512"/>
                <a:gd name="connsiteX123" fmla="*/ 900262 w 2096597"/>
                <a:gd name="connsiteY123" fmla="*/ 130586 h 283512"/>
                <a:gd name="connsiteX124" fmla="*/ 887723 w 2096597"/>
                <a:gd name="connsiteY124" fmla="*/ 158404 h 283512"/>
                <a:gd name="connsiteX125" fmla="*/ 964546 w 2096597"/>
                <a:gd name="connsiteY125" fmla="*/ 158404 h 283512"/>
                <a:gd name="connsiteX126" fmla="*/ 1050162 w 2096597"/>
                <a:gd name="connsiteY126" fmla="*/ 2018 h 283512"/>
                <a:gd name="connsiteX127" fmla="*/ 1112140 w 2096597"/>
                <a:gd name="connsiteY127" fmla="*/ 2018 h 283512"/>
                <a:gd name="connsiteX128" fmla="*/ 1112140 w 2096597"/>
                <a:gd name="connsiteY128" fmla="*/ 105939 h 283512"/>
                <a:gd name="connsiteX129" fmla="*/ 1113293 w 2096597"/>
                <a:gd name="connsiteY129" fmla="*/ 105939 h 283512"/>
                <a:gd name="connsiteX130" fmla="*/ 1137219 w 2096597"/>
                <a:gd name="connsiteY130" fmla="*/ 84030 h 283512"/>
                <a:gd name="connsiteX131" fmla="*/ 1171091 w 2096597"/>
                <a:gd name="connsiteY131" fmla="*/ 76247 h 283512"/>
                <a:gd name="connsiteX132" fmla="*/ 1199629 w 2096597"/>
                <a:gd name="connsiteY132" fmla="*/ 81724 h 283512"/>
                <a:gd name="connsiteX133" fmla="*/ 1220961 w 2096597"/>
                <a:gd name="connsiteY133" fmla="*/ 97002 h 283512"/>
                <a:gd name="connsiteX134" fmla="*/ 1234366 w 2096597"/>
                <a:gd name="connsiteY134" fmla="*/ 120208 h 283512"/>
                <a:gd name="connsiteX135" fmla="*/ 1238978 w 2096597"/>
                <a:gd name="connsiteY135" fmla="*/ 150044 h 283512"/>
                <a:gd name="connsiteX136" fmla="*/ 1238978 w 2096597"/>
                <a:gd name="connsiteY136" fmla="*/ 276738 h 283512"/>
                <a:gd name="connsiteX137" fmla="*/ 1177000 w 2096597"/>
                <a:gd name="connsiteY137" fmla="*/ 276738 h 283512"/>
                <a:gd name="connsiteX138" fmla="*/ 1177000 w 2096597"/>
                <a:gd name="connsiteY138" fmla="*/ 162583 h 283512"/>
                <a:gd name="connsiteX139" fmla="*/ 1169361 w 2096597"/>
                <a:gd name="connsiteY139" fmla="*/ 137504 h 283512"/>
                <a:gd name="connsiteX140" fmla="*/ 1146588 w 2096597"/>
                <a:gd name="connsiteY140" fmla="*/ 127991 h 283512"/>
                <a:gd name="connsiteX141" fmla="*/ 1121653 w 2096597"/>
                <a:gd name="connsiteY141" fmla="*/ 139378 h 283512"/>
                <a:gd name="connsiteX142" fmla="*/ 1112284 w 2096597"/>
                <a:gd name="connsiteY142" fmla="*/ 169069 h 283512"/>
                <a:gd name="connsiteX143" fmla="*/ 1112284 w 2096597"/>
                <a:gd name="connsiteY143" fmla="*/ 276738 h 283512"/>
                <a:gd name="connsiteX144" fmla="*/ 1050306 w 2096597"/>
                <a:gd name="connsiteY144" fmla="*/ 276738 h 283512"/>
                <a:gd name="connsiteX145" fmla="*/ 1050306 w 2096597"/>
                <a:gd name="connsiteY145" fmla="*/ 1874 h 283512"/>
                <a:gd name="connsiteX146" fmla="*/ 1362645 w 2096597"/>
                <a:gd name="connsiteY146" fmla="*/ 282936 h 283512"/>
                <a:gd name="connsiteX147" fmla="*/ 1319837 w 2096597"/>
                <a:gd name="connsiteY147" fmla="*/ 275152 h 283512"/>
                <a:gd name="connsiteX148" fmla="*/ 1286830 w 2096597"/>
                <a:gd name="connsiteY148" fmla="*/ 253388 h 283512"/>
                <a:gd name="connsiteX149" fmla="*/ 1265787 w 2096597"/>
                <a:gd name="connsiteY149" fmla="*/ 220670 h 283512"/>
                <a:gd name="connsiteX150" fmla="*/ 1258292 w 2096597"/>
                <a:gd name="connsiteY150" fmla="*/ 179735 h 283512"/>
                <a:gd name="connsiteX151" fmla="*/ 1265787 w 2096597"/>
                <a:gd name="connsiteY151" fmla="*/ 138801 h 283512"/>
                <a:gd name="connsiteX152" fmla="*/ 1286830 w 2096597"/>
                <a:gd name="connsiteY152" fmla="*/ 106083 h 283512"/>
                <a:gd name="connsiteX153" fmla="*/ 1319837 w 2096597"/>
                <a:gd name="connsiteY153" fmla="*/ 84463 h 283512"/>
                <a:gd name="connsiteX154" fmla="*/ 1362645 w 2096597"/>
                <a:gd name="connsiteY154" fmla="*/ 76679 h 283512"/>
                <a:gd name="connsiteX155" fmla="*/ 1405453 w 2096597"/>
                <a:gd name="connsiteY155" fmla="*/ 84463 h 283512"/>
                <a:gd name="connsiteX156" fmla="*/ 1438171 w 2096597"/>
                <a:gd name="connsiteY156" fmla="*/ 106083 h 283512"/>
                <a:gd name="connsiteX157" fmla="*/ 1459071 w 2096597"/>
                <a:gd name="connsiteY157" fmla="*/ 138801 h 283512"/>
                <a:gd name="connsiteX158" fmla="*/ 1466422 w 2096597"/>
                <a:gd name="connsiteY158" fmla="*/ 179735 h 283512"/>
                <a:gd name="connsiteX159" fmla="*/ 1459071 w 2096597"/>
                <a:gd name="connsiteY159" fmla="*/ 220670 h 283512"/>
                <a:gd name="connsiteX160" fmla="*/ 1438171 w 2096597"/>
                <a:gd name="connsiteY160" fmla="*/ 253388 h 283512"/>
                <a:gd name="connsiteX161" fmla="*/ 1405453 w 2096597"/>
                <a:gd name="connsiteY161" fmla="*/ 275152 h 283512"/>
                <a:gd name="connsiteX162" fmla="*/ 1362645 w 2096597"/>
                <a:gd name="connsiteY162" fmla="*/ 282936 h 283512"/>
                <a:gd name="connsiteX163" fmla="*/ 1362213 w 2096597"/>
                <a:gd name="connsiteY163" fmla="*/ 238830 h 283512"/>
                <a:gd name="connsiteX164" fmla="*/ 1393201 w 2096597"/>
                <a:gd name="connsiteY164" fmla="*/ 222687 h 283512"/>
                <a:gd name="connsiteX165" fmla="*/ 1403723 w 2096597"/>
                <a:gd name="connsiteY165" fmla="*/ 179880 h 283512"/>
                <a:gd name="connsiteX166" fmla="*/ 1393201 w 2096597"/>
                <a:gd name="connsiteY166" fmla="*/ 136928 h 283512"/>
                <a:gd name="connsiteX167" fmla="*/ 1362213 w 2096597"/>
                <a:gd name="connsiteY167" fmla="*/ 120496 h 283512"/>
                <a:gd name="connsiteX168" fmla="*/ 1331368 w 2096597"/>
                <a:gd name="connsiteY168" fmla="*/ 136928 h 283512"/>
                <a:gd name="connsiteX169" fmla="*/ 1321134 w 2096597"/>
                <a:gd name="connsiteY169" fmla="*/ 179880 h 283512"/>
                <a:gd name="connsiteX170" fmla="*/ 1331368 w 2096597"/>
                <a:gd name="connsiteY170" fmla="*/ 222687 h 283512"/>
                <a:gd name="connsiteX171" fmla="*/ 1362213 w 2096597"/>
                <a:gd name="connsiteY171" fmla="*/ 238830 h 283512"/>
                <a:gd name="connsiteX172" fmla="*/ 1554488 w 2096597"/>
                <a:gd name="connsiteY172" fmla="*/ 282647 h 283512"/>
                <a:gd name="connsiteX173" fmla="*/ 1503320 w 2096597"/>
                <a:gd name="connsiteY173" fmla="*/ 262613 h 283512"/>
                <a:gd name="connsiteX174" fmla="*/ 1486024 w 2096597"/>
                <a:gd name="connsiteY174" fmla="*/ 209859 h 283512"/>
                <a:gd name="connsiteX175" fmla="*/ 1486024 w 2096597"/>
                <a:gd name="connsiteY175" fmla="*/ 82012 h 283512"/>
                <a:gd name="connsiteX176" fmla="*/ 1547713 w 2096597"/>
                <a:gd name="connsiteY176" fmla="*/ 82012 h 283512"/>
                <a:gd name="connsiteX177" fmla="*/ 1547713 w 2096597"/>
                <a:gd name="connsiteY177" fmla="*/ 197032 h 283512"/>
                <a:gd name="connsiteX178" fmla="*/ 1554920 w 2096597"/>
                <a:gd name="connsiteY178" fmla="*/ 221534 h 283512"/>
                <a:gd name="connsiteX179" fmla="*/ 1576973 w 2096597"/>
                <a:gd name="connsiteY179" fmla="*/ 230038 h 283512"/>
                <a:gd name="connsiteX180" fmla="*/ 1602052 w 2096597"/>
                <a:gd name="connsiteY180" fmla="*/ 219228 h 283512"/>
                <a:gd name="connsiteX181" fmla="*/ 1611132 w 2096597"/>
                <a:gd name="connsiteY181" fmla="*/ 190834 h 283512"/>
                <a:gd name="connsiteX182" fmla="*/ 1611132 w 2096597"/>
                <a:gd name="connsiteY182" fmla="*/ 82012 h 283512"/>
                <a:gd name="connsiteX183" fmla="*/ 1673110 w 2096597"/>
                <a:gd name="connsiteY183" fmla="*/ 82012 h 283512"/>
                <a:gd name="connsiteX184" fmla="*/ 1673110 w 2096597"/>
                <a:gd name="connsiteY184" fmla="*/ 276882 h 283512"/>
                <a:gd name="connsiteX185" fmla="*/ 1613727 w 2096597"/>
                <a:gd name="connsiteY185" fmla="*/ 276882 h 283512"/>
                <a:gd name="connsiteX186" fmla="*/ 1613727 w 2096597"/>
                <a:gd name="connsiteY186" fmla="*/ 252956 h 283512"/>
                <a:gd name="connsiteX187" fmla="*/ 1612574 w 2096597"/>
                <a:gd name="connsiteY187" fmla="*/ 252956 h 283512"/>
                <a:gd name="connsiteX188" fmla="*/ 1588359 w 2096597"/>
                <a:gd name="connsiteY188" fmla="*/ 275008 h 283512"/>
                <a:gd name="connsiteX189" fmla="*/ 1554344 w 2096597"/>
                <a:gd name="connsiteY189" fmla="*/ 282647 h 283512"/>
                <a:gd name="connsiteX190" fmla="*/ 1789571 w 2096597"/>
                <a:gd name="connsiteY190" fmla="*/ 283080 h 283512"/>
                <a:gd name="connsiteX191" fmla="*/ 1721395 w 2096597"/>
                <a:gd name="connsiteY191" fmla="*/ 264630 h 283512"/>
                <a:gd name="connsiteX192" fmla="*/ 1694730 w 2096597"/>
                <a:gd name="connsiteY192" fmla="*/ 213751 h 283512"/>
                <a:gd name="connsiteX193" fmla="*/ 1753393 w 2096597"/>
                <a:gd name="connsiteY193" fmla="*/ 213751 h 283512"/>
                <a:gd name="connsiteX194" fmla="*/ 1764491 w 2096597"/>
                <a:gd name="connsiteY194" fmla="*/ 235515 h 283512"/>
                <a:gd name="connsiteX195" fmla="*/ 1789282 w 2096597"/>
                <a:gd name="connsiteY195" fmla="*/ 242722 h 283512"/>
                <a:gd name="connsiteX196" fmla="*/ 1811479 w 2096597"/>
                <a:gd name="connsiteY196" fmla="*/ 237821 h 283512"/>
                <a:gd name="connsiteX197" fmla="*/ 1819695 w 2096597"/>
                <a:gd name="connsiteY197" fmla="*/ 223408 h 283512"/>
                <a:gd name="connsiteX198" fmla="*/ 1815515 w 2096597"/>
                <a:gd name="connsiteY198" fmla="*/ 212886 h 283512"/>
                <a:gd name="connsiteX199" fmla="*/ 1804416 w 2096597"/>
                <a:gd name="connsiteY199" fmla="*/ 206400 h 283512"/>
                <a:gd name="connsiteX200" fmla="*/ 1788562 w 2096597"/>
                <a:gd name="connsiteY200" fmla="*/ 202653 h 283512"/>
                <a:gd name="connsiteX201" fmla="*/ 1770112 w 2096597"/>
                <a:gd name="connsiteY201" fmla="*/ 199482 h 283512"/>
                <a:gd name="connsiteX202" fmla="*/ 1745033 w 2096597"/>
                <a:gd name="connsiteY202" fmla="*/ 194005 h 283512"/>
                <a:gd name="connsiteX203" fmla="*/ 1722404 w 2096597"/>
                <a:gd name="connsiteY203" fmla="*/ 184348 h 283512"/>
                <a:gd name="connsiteX204" fmla="*/ 1706261 w 2096597"/>
                <a:gd name="connsiteY204" fmla="*/ 167052 h 283512"/>
                <a:gd name="connsiteX205" fmla="*/ 1700207 w 2096597"/>
                <a:gd name="connsiteY205" fmla="*/ 139090 h 283512"/>
                <a:gd name="connsiteX206" fmla="*/ 1706837 w 2096597"/>
                <a:gd name="connsiteY206" fmla="*/ 111992 h 283512"/>
                <a:gd name="connsiteX207" fmla="*/ 1724999 w 2096597"/>
                <a:gd name="connsiteY207" fmla="*/ 92390 h 283512"/>
                <a:gd name="connsiteX208" fmla="*/ 1751808 w 2096597"/>
                <a:gd name="connsiteY208" fmla="*/ 80571 h 283512"/>
                <a:gd name="connsiteX209" fmla="*/ 1784382 w 2096597"/>
                <a:gd name="connsiteY209" fmla="*/ 76535 h 283512"/>
                <a:gd name="connsiteX210" fmla="*/ 1847945 w 2096597"/>
                <a:gd name="connsiteY210" fmla="*/ 93255 h 283512"/>
                <a:gd name="connsiteX211" fmla="*/ 1872304 w 2096597"/>
                <a:gd name="connsiteY211" fmla="*/ 138945 h 283512"/>
                <a:gd name="connsiteX212" fmla="*/ 1815226 w 2096597"/>
                <a:gd name="connsiteY212" fmla="*/ 138945 h 283512"/>
                <a:gd name="connsiteX213" fmla="*/ 1805137 w 2096597"/>
                <a:gd name="connsiteY213" fmla="*/ 120929 h 283512"/>
                <a:gd name="connsiteX214" fmla="*/ 1783949 w 2096597"/>
                <a:gd name="connsiteY214" fmla="*/ 116172 h 283512"/>
                <a:gd name="connsiteX215" fmla="*/ 1764780 w 2096597"/>
                <a:gd name="connsiteY215" fmla="*/ 120496 h 283512"/>
                <a:gd name="connsiteX216" fmla="*/ 1756996 w 2096597"/>
                <a:gd name="connsiteY216" fmla="*/ 134045 h 283512"/>
                <a:gd name="connsiteX217" fmla="*/ 1760744 w 2096597"/>
                <a:gd name="connsiteY217" fmla="*/ 142405 h 283512"/>
                <a:gd name="connsiteX218" fmla="*/ 1770977 w 2096597"/>
                <a:gd name="connsiteY218" fmla="*/ 147593 h 283512"/>
                <a:gd name="connsiteX219" fmla="*/ 1785967 w 2096597"/>
                <a:gd name="connsiteY219" fmla="*/ 151197 h 283512"/>
                <a:gd name="connsiteX220" fmla="*/ 1803696 w 2096597"/>
                <a:gd name="connsiteY220" fmla="*/ 154224 h 283512"/>
                <a:gd name="connsiteX221" fmla="*/ 1829784 w 2096597"/>
                <a:gd name="connsiteY221" fmla="*/ 159701 h 283512"/>
                <a:gd name="connsiteX222" fmla="*/ 1853710 w 2096597"/>
                <a:gd name="connsiteY222" fmla="*/ 169790 h 283512"/>
                <a:gd name="connsiteX223" fmla="*/ 1871439 w 2096597"/>
                <a:gd name="connsiteY223" fmla="*/ 188239 h 283512"/>
                <a:gd name="connsiteX224" fmla="*/ 1878357 w 2096597"/>
                <a:gd name="connsiteY224" fmla="*/ 218508 h 283512"/>
                <a:gd name="connsiteX225" fmla="*/ 1871727 w 2096597"/>
                <a:gd name="connsiteY225" fmla="*/ 246614 h 283512"/>
                <a:gd name="connsiteX226" fmla="*/ 1853278 w 2096597"/>
                <a:gd name="connsiteY226" fmla="*/ 266792 h 283512"/>
                <a:gd name="connsiteX227" fmla="*/ 1825172 w 2096597"/>
                <a:gd name="connsiteY227" fmla="*/ 279044 h 283512"/>
                <a:gd name="connsiteX228" fmla="*/ 1789715 w 2096597"/>
                <a:gd name="connsiteY228" fmla="*/ 283224 h 283512"/>
                <a:gd name="connsiteX229" fmla="*/ 1999430 w 2096597"/>
                <a:gd name="connsiteY229" fmla="*/ 282791 h 283512"/>
                <a:gd name="connsiteX230" fmla="*/ 1956046 w 2096597"/>
                <a:gd name="connsiteY230" fmla="*/ 275008 h 283512"/>
                <a:gd name="connsiteX231" fmla="*/ 1923327 w 2096597"/>
                <a:gd name="connsiteY231" fmla="*/ 253244 h 283512"/>
                <a:gd name="connsiteX232" fmla="*/ 1902716 w 2096597"/>
                <a:gd name="connsiteY232" fmla="*/ 220381 h 283512"/>
                <a:gd name="connsiteX233" fmla="*/ 1895509 w 2096597"/>
                <a:gd name="connsiteY233" fmla="*/ 179303 h 283512"/>
                <a:gd name="connsiteX234" fmla="*/ 1902716 w 2096597"/>
                <a:gd name="connsiteY234" fmla="*/ 138801 h 283512"/>
                <a:gd name="connsiteX235" fmla="*/ 1923327 w 2096597"/>
                <a:gd name="connsiteY235" fmla="*/ 106083 h 283512"/>
                <a:gd name="connsiteX236" fmla="*/ 1954893 w 2096597"/>
                <a:gd name="connsiteY236" fmla="*/ 84463 h 283512"/>
                <a:gd name="connsiteX237" fmla="*/ 1995683 w 2096597"/>
                <a:gd name="connsiteY237" fmla="*/ 76679 h 283512"/>
                <a:gd name="connsiteX238" fmla="*/ 2033157 w 2096597"/>
                <a:gd name="connsiteY238" fmla="*/ 83165 h 283512"/>
                <a:gd name="connsiteX239" fmla="*/ 2062273 w 2096597"/>
                <a:gd name="connsiteY239" fmla="*/ 101038 h 283512"/>
                <a:gd name="connsiteX240" fmla="*/ 2088361 w 2096597"/>
                <a:gd name="connsiteY240" fmla="*/ 141540 h 283512"/>
                <a:gd name="connsiteX241" fmla="*/ 2096577 w 2096597"/>
                <a:gd name="connsiteY241" fmla="*/ 195734 h 283512"/>
                <a:gd name="connsiteX242" fmla="*/ 1956478 w 2096597"/>
                <a:gd name="connsiteY242" fmla="*/ 195734 h 283512"/>
                <a:gd name="connsiteX243" fmla="*/ 1970171 w 2096597"/>
                <a:gd name="connsiteY243" fmla="*/ 227011 h 283512"/>
                <a:gd name="connsiteX244" fmla="*/ 2000295 w 2096597"/>
                <a:gd name="connsiteY244" fmla="*/ 238398 h 283512"/>
                <a:gd name="connsiteX245" fmla="*/ 2020474 w 2096597"/>
                <a:gd name="connsiteY245" fmla="*/ 233209 h 283512"/>
                <a:gd name="connsiteX246" fmla="*/ 2032725 w 2096597"/>
                <a:gd name="connsiteY246" fmla="*/ 218940 h 283512"/>
                <a:gd name="connsiteX247" fmla="*/ 2093262 w 2096597"/>
                <a:gd name="connsiteY247" fmla="*/ 218940 h 283512"/>
                <a:gd name="connsiteX248" fmla="*/ 2081875 w 2096597"/>
                <a:gd name="connsiteY248" fmla="*/ 244308 h 283512"/>
                <a:gd name="connsiteX249" fmla="*/ 2060543 w 2096597"/>
                <a:gd name="connsiteY249" fmla="*/ 265063 h 283512"/>
                <a:gd name="connsiteX250" fmla="*/ 2033302 w 2096597"/>
                <a:gd name="connsiteY250" fmla="*/ 278323 h 283512"/>
                <a:gd name="connsiteX251" fmla="*/ 1999574 w 2096597"/>
                <a:gd name="connsiteY251" fmla="*/ 282936 h 283512"/>
                <a:gd name="connsiteX252" fmla="*/ 2033878 w 2096597"/>
                <a:gd name="connsiteY252" fmla="*/ 158836 h 283512"/>
                <a:gd name="connsiteX253" fmla="*/ 2022059 w 2096597"/>
                <a:gd name="connsiteY253" fmla="*/ 131018 h 283512"/>
                <a:gd name="connsiteX254" fmla="*/ 1996980 w 2096597"/>
                <a:gd name="connsiteY254" fmla="*/ 120784 h 283512"/>
                <a:gd name="connsiteX255" fmla="*/ 1969594 w 2096597"/>
                <a:gd name="connsiteY255" fmla="*/ 131018 h 283512"/>
                <a:gd name="connsiteX256" fmla="*/ 1957055 w 2096597"/>
                <a:gd name="connsiteY256" fmla="*/ 158836 h 283512"/>
                <a:gd name="connsiteX257" fmla="*/ 2033878 w 2096597"/>
                <a:gd name="connsiteY257" fmla="*/ 158836 h 283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</a:cxnLst>
              <a:rect l="l" t="t" r="r" b="b"/>
              <a:pathLst>
                <a:path w="2096597" h="283512">
                  <a:moveTo>
                    <a:pt x="129433" y="283512"/>
                  </a:moveTo>
                  <a:cubicBezTo>
                    <a:pt x="109830" y="283512"/>
                    <a:pt x="92390" y="280197"/>
                    <a:pt x="76968" y="273567"/>
                  </a:cubicBezTo>
                  <a:cubicBezTo>
                    <a:pt x="61545" y="266937"/>
                    <a:pt x="47997" y="257568"/>
                    <a:pt x="36610" y="245461"/>
                  </a:cubicBezTo>
                  <a:cubicBezTo>
                    <a:pt x="24647" y="232489"/>
                    <a:pt x="15567" y="217354"/>
                    <a:pt x="9369" y="199770"/>
                  </a:cubicBezTo>
                  <a:cubicBezTo>
                    <a:pt x="3171" y="182330"/>
                    <a:pt x="0" y="163160"/>
                    <a:pt x="0" y="142260"/>
                  </a:cubicBezTo>
                  <a:cubicBezTo>
                    <a:pt x="0" y="121361"/>
                    <a:pt x="3459" y="100894"/>
                    <a:pt x="10522" y="82733"/>
                  </a:cubicBezTo>
                  <a:cubicBezTo>
                    <a:pt x="17440" y="64572"/>
                    <a:pt x="27386" y="49006"/>
                    <a:pt x="40358" y="36178"/>
                  </a:cubicBezTo>
                  <a:cubicBezTo>
                    <a:pt x="51744" y="24791"/>
                    <a:pt x="65149" y="15855"/>
                    <a:pt x="80715" y="9513"/>
                  </a:cubicBezTo>
                  <a:cubicBezTo>
                    <a:pt x="96138" y="3171"/>
                    <a:pt x="113866" y="0"/>
                    <a:pt x="133612" y="0"/>
                  </a:cubicBezTo>
                  <a:cubicBezTo>
                    <a:pt x="151053" y="0"/>
                    <a:pt x="166907" y="2162"/>
                    <a:pt x="180744" y="6630"/>
                  </a:cubicBezTo>
                  <a:cubicBezTo>
                    <a:pt x="194725" y="11098"/>
                    <a:pt x="206833" y="17440"/>
                    <a:pt x="216922" y="25656"/>
                  </a:cubicBezTo>
                  <a:cubicBezTo>
                    <a:pt x="227011" y="33872"/>
                    <a:pt x="235227" y="43817"/>
                    <a:pt x="241425" y="55492"/>
                  </a:cubicBezTo>
                  <a:cubicBezTo>
                    <a:pt x="247623" y="67167"/>
                    <a:pt x="251947" y="80139"/>
                    <a:pt x="254109" y="94264"/>
                  </a:cubicBezTo>
                  <a:lnTo>
                    <a:pt x="188672" y="94264"/>
                  </a:lnTo>
                  <a:cubicBezTo>
                    <a:pt x="186077" y="83165"/>
                    <a:pt x="180456" y="73797"/>
                    <a:pt x="171520" y="66446"/>
                  </a:cubicBezTo>
                  <a:cubicBezTo>
                    <a:pt x="162583" y="59095"/>
                    <a:pt x="150764" y="55348"/>
                    <a:pt x="135774" y="55348"/>
                  </a:cubicBezTo>
                  <a:cubicBezTo>
                    <a:pt x="124532" y="55348"/>
                    <a:pt x="114731" y="57654"/>
                    <a:pt x="106227" y="61978"/>
                  </a:cubicBezTo>
                  <a:cubicBezTo>
                    <a:pt x="97723" y="66446"/>
                    <a:pt x="90660" y="72500"/>
                    <a:pt x="85039" y="80283"/>
                  </a:cubicBezTo>
                  <a:cubicBezTo>
                    <a:pt x="79418" y="88066"/>
                    <a:pt x="75238" y="97146"/>
                    <a:pt x="72500" y="107668"/>
                  </a:cubicBezTo>
                  <a:cubicBezTo>
                    <a:pt x="69761" y="118190"/>
                    <a:pt x="68320" y="129721"/>
                    <a:pt x="68320" y="142116"/>
                  </a:cubicBezTo>
                  <a:cubicBezTo>
                    <a:pt x="68320" y="154512"/>
                    <a:pt x="69905" y="166043"/>
                    <a:pt x="73076" y="176709"/>
                  </a:cubicBezTo>
                  <a:cubicBezTo>
                    <a:pt x="76247" y="187375"/>
                    <a:pt x="80715" y="196599"/>
                    <a:pt x="86625" y="204238"/>
                  </a:cubicBezTo>
                  <a:cubicBezTo>
                    <a:pt x="92534" y="212021"/>
                    <a:pt x="99597" y="218075"/>
                    <a:pt x="108101" y="222255"/>
                  </a:cubicBezTo>
                  <a:cubicBezTo>
                    <a:pt x="116605" y="226579"/>
                    <a:pt x="126117" y="228741"/>
                    <a:pt x="136783" y="228741"/>
                  </a:cubicBezTo>
                  <a:cubicBezTo>
                    <a:pt x="145576" y="228741"/>
                    <a:pt x="153647" y="227444"/>
                    <a:pt x="160566" y="224705"/>
                  </a:cubicBezTo>
                  <a:cubicBezTo>
                    <a:pt x="167484" y="222111"/>
                    <a:pt x="173538" y="218508"/>
                    <a:pt x="178438" y="214039"/>
                  </a:cubicBezTo>
                  <a:cubicBezTo>
                    <a:pt x="183339" y="209571"/>
                    <a:pt x="187375" y="204526"/>
                    <a:pt x="190257" y="198761"/>
                  </a:cubicBezTo>
                  <a:cubicBezTo>
                    <a:pt x="193140" y="193140"/>
                    <a:pt x="195014" y="187230"/>
                    <a:pt x="195734" y="181033"/>
                  </a:cubicBezTo>
                  <a:lnTo>
                    <a:pt x="195734" y="180312"/>
                  </a:lnTo>
                  <a:lnTo>
                    <a:pt x="144711" y="180312"/>
                  </a:lnTo>
                  <a:lnTo>
                    <a:pt x="144711" y="130874"/>
                  </a:lnTo>
                  <a:lnTo>
                    <a:pt x="258144" y="130874"/>
                  </a:lnTo>
                  <a:lnTo>
                    <a:pt x="258144" y="277026"/>
                  </a:lnTo>
                  <a:lnTo>
                    <a:pt x="211013" y="277026"/>
                  </a:lnTo>
                  <a:lnTo>
                    <a:pt x="207265" y="244308"/>
                  </a:lnTo>
                  <a:lnTo>
                    <a:pt x="206544" y="244308"/>
                  </a:lnTo>
                  <a:cubicBezTo>
                    <a:pt x="197608" y="258289"/>
                    <a:pt x="186654" y="268234"/>
                    <a:pt x="173682" y="274143"/>
                  </a:cubicBezTo>
                  <a:cubicBezTo>
                    <a:pt x="160566" y="280053"/>
                    <a:pt x="145864" y="283080"/>
                    <a:pt x="129288" y="283080"/>
                  </a:cubicBezTo>
                  <a:moveTo>
                    <a:pt x="358029" y="282647"/>
                  </a:moveTo>
                  <a:cubicBezTo>
                    <a:pt x="335400" y="282647"/>
                    <a:pt x="318393" y="276017"/>
                    <a:pt x="306862" y="262613"/>
                  </a:cubicBezTo>
                  <a:cubicBezTo>
                    <a:pt x="295331" y="249352"/>
                    <a:pt x="289566" y="231768"/>
                    <a:pt x="289566" y="209859"/>
                  </a:cubicBezTo>
                  <a:lnTo>
                    <a:pt x="289566" y="82012"/>
                  </a:lnTo>
                  <a:lnTo>
                    <a:pt x="351255" y="82012"/>
                  </a:lnTo>
                  <a:lnTo>
                    <a:pt x="351255" y="197032"/>
                  </a:lnTo>
                  <a:cubicBezTo>
                    <a:pt x="351255" y="207697"/>
                    <a:pt x="353705" y="215913"/>
                    <a:pt x="358462" y="221534"/>
                  </a:cubicBezTo>
                  <a:cubicBezTo>
                    <a:pt x="363218" y="227300"/>
                    <a:pt x="370713" y="230038"/>
                    <a:pt x="380514" y="230038"/>
                  </a:cubicBezTo>
                  <a:cubicBezTo>
                    <a:pt x="391180" y="230038"/>
                    <a:pt x="399540" y="226435"/>
                    <a:pt x="405594" y="219228"/>
                  </a:cubicBezTo>
                  <a:cubicBezTo>
                    <a:pt x="411647" y="212021"/>
                    <a:pt x="414674" y="202509"/>
                    <a:pt x="414674" y="190834"/>
                  </a:cubicBezTo>
                  <a:lnTo>
                    <a:pt x="414674" y="82012"/>
                  </a:lnTo>
                  <a:lnTo>
                    <a:pt x="476652" y="82012"/>
                  </a:lnTo>
                  <a:lnTo>
                    <a:pt x="476652" y="276882"/>
                  </a:lnTo>
                  <a:lnTo>
                    <a:pt x="417269" y="276882"/>
                  </a:lnTo>
                  <a:lnTo>
                    <a:pt x="417269" y="252956"/>
                  </a:lnTo>
                  <a:lnTo>
                    <a:pt x="416116" y="252956"/>
                  </a:lnTo>
                  <a:cubicBezTo>
                    <a:pt x="409053" y="262613"/>
                    <a:pt x="400981" y="269963"/>
                    <a:pt x="391901" y="275008"/>
                  </a:cubicBezTo>
                  <a:cubicBezTo>
                    <a:pt x="382965" y="280053"/>
                    <a:pt x="371578" y="282647"/>
                    <a:pt x="357885" y="282647"/>
                  </a:cubicBezTo>
                  <a:moveTo>
                    <a:pt x="511965" y="2162"/>
                  </a:moveTo>
                  <a:lnTo>
                    <a:pt x="573943" y="2162"/>
                  </a:lnTo>
                  <a:lnTo>
                    <a:pt x="573943" y="55059"/>
                  </a:lnTo>
                  <a:lnTo>
                    <a:pt x="511965" y="55059"/>
                  </a:lnTo>
                  <a:lnTo>
                    <a:pt x="511965" y="2162"/>
                  </a:lnTo>
                  <a:close/>
                  <a:moveTo>
                    <a:pt x="511965" y="82012"/>
                  </a:moveTo>
                  <a:lnTo>
                    <a:pt x="573943" y="82012"/>
                  </a:lnTo>
                  <a:lnTo>
                    <a:pt x="573943" y="276882"/>
                  </a:lnTo>
                  <a:lnTo>
                    <a:pt x="511965" y="276882"/>
                  </a:lnTo>
                  <a:lnTo>
                    <a:pt x="511965" y="82012"/>
                  </a:lnTo>
                  <a:close/>
                  <a:moveTo>
                    <a:pt x="685935" y="282936"/>
                  </a:moveTo>
                  <a:cubicBezTo>
                    <a:pt x="673539" y="282936"/>
                    <a:pt x="662009" y="280629"/>
                    <a:pt x="651631" y="275873"/>
                  </a:cubicBezTo>
                  <a:cubicBezTo>
                    <a:pt x="641253" y="271117"/>
                    <a:pt x="632173" y="264342"/>
                    <a:pt x="624678" y="255550"/>
                  </a:cubicBezTo>
                  <a:cubicBezTo>
                    <a:pt x="617039" y="246614"/>
                    <a:pt x="611129" y="235804"/>
                    <a:pt x="606949" y="222976"/>
                  </a:cubicBezTo>
                  <a:cubicBezTo>
                    <a:pt x="602769" y="210148"/>
                    <a:pt x="600607" y="195590"/>
                    <a:pt x="600607" y="179447"/>
                  </a:cubicBezTo>
                  <a:cubicBezTo>
                    <a:pt x="600607" y="164169"/>
                    <a:pt x="602769" y="150332"/>
                    <a:pt x="606949" y="137504"/>
                  </a:cubicBezTo>
                  <a:cubicBezTo>
                    <a:pt x="611129" y="124820"/>
                    <a:pt x="617039" y="114010"/>
                    <a:pt x="624390" y="104930"/>
                  </a:cubicBezTo>
                  <a:cubicBezTo>
                    <a:pt x="631884" y="95993"/>
                    <a:pt x="640821" y="88931"/>
                    <a:pt x="651199" y="83742"/>
                  </a:cubicBezTo>
                  <a:cubicBezTo>
                    <a:pt x="661576" y="78697"/>
                    <a:pt x="673107" y="76103"/>
                    <a:pt x="685791" y="76103"/>
                  </a:cubicBezTo>
                  <a:cubicBezTo>
                    <a:pt x="699483" y="76103"/>
                    <a:pt x="710582" y="78697"/>
                    <a:pt x="718942" y="83886"/>
                  </a:cubicBezTo>
                  <a:cubicBezTo>
                    <a:pt x="727301" y="89075"/>
                    <a:pt x="734364" y="95705"/>
                    <a:pt x="740273" y="103921"/>
                  </a:cubicBezTo>
                  <a:lnTo>
                    <a:pt x="741426" y="103921"/>
                  </a:lnTo>
                  <a:lnTo>
                    <a:pt x="741426" y="1874"/>
                  </a:lnTo>
                  <a:lnTo>
                    <a:pt x="803404" y="1874"/>
                  </a:lnTo>
                  <a:lnTo>
                    <a:pt x="803404" y="276738"/>
                  </a:lnTo>
                  <a:lnTo>
                    <a:pt x="744021" y="276738"/>
                  </a:lnTo>
                  <a:lnTo>
                    <a:pt x="744021" y="250505"/>
                  </a:lnTo>
                  <a:lnTo>
                    <a:pt x="743300" y="250505"/>
                  </a:lnTo>
                  <a:cubicBezTo>
                    <a:pt x="737535" y="260595"/>
                    <a:pt x="729607" y="268522"/>
                    <a:pt x="719951" y="274287"/>
                  </a:cubicBezTo>
                  <a:cubicBezTo>
                    <a:pt x="710149" y="280053"/>
                    <a:pt x="698907" y="282791"/>
                    <a:pt x="685935" y="282791"/>
                  </a:cubicBezTo>
                  <a:moveTo>
                    <a:pt x="701934" y="233642"/>
                  </a:moveTo>
                  <a:cubicBezTo>
                    <a:pt x="714906" y="233642"/>
                    <a:pt x="724995" y="228597"/>
                    <a:pt x="732202" y="218363"/>
                  </a:cubicBezTo>
                  <a:cubicBezTo>
                    <a:pt x="739409" y="208274"/>
                    <a:pt x="743012" y="195158"/>
                    <a:pt x="743012" y="179159"/>
                  </a:cubicBezTo>
                  <a:cubicBezTo>
                    <a:pt x="743012" y="171087"/>
                    <a:pt x="742147" y="163448"/>
                    <a:pt x="740562" y="156530"/>
                  </a:cubicBezTo>
                  <a:cubicBezTo>
                    <a:pt x="738976" y="149611"/>
                    <a:pt x="736382" y="143558"/>
                    <a:pt x="732923" y="138657"/>
                  </a:cubicBezTo>
                  <a:cubicBezTo>
                    <a:pt x="729463" y="133757"/>
                    <a:pt x="725284" y="129865"/>
                    <a:pt x="720383" y="126982"/>
                  </a:cubicBezTo>
                  <a:cubicBezTo>
                    <a:pt x="715482" y="124244"/>
                    <a:pt x="709573" y="122802"/>
                    <a:pt x="702654" y="122802"/>
                  </a:cubicBezTo>
                  <a:cubicBezTo>
                    <a:pt x="690259" y="122802"/>
                    <a:pt x="680602" y="127991"/>
                    <a:pt x="673683" y="138225"/>
                  </a:cubicBezTo>
                  <a:cubicBezTo>
                    <a:pt x="666765" y="148458"/>
                    <a:pt x="663450" y="161863"/>
                    <a:pt x="663450" y="178438"/>
                  </a:cubicBezTo>
                  <a:cubicBezTo>
                    <a:pt x="663450" y="195014"/>
                    <a:pt x="666765" y="208851"/>
                    <a:pt x="673539" y="218796"/>
                  </a:cubicBezTo>
                  <a:cubicBezTo>
                    <a:pt x="680314" y="228741"/>
                    <a:pt x="689682" y="233642"/>
                    <a:pt x="701934" y="233642"/>
                  </a:cubicBezTo>
                  <a:moveTo>
                    <a:pt x="930242" y="282359"/>
                  </a:moveTo>
                  <a:cubicBezTo>
                    <a:pt x="914243" y="282359"/>
                    <a:pt x="899830" y="279765"/>
                    <a:pt x="886858" y="274576"/>
                  </a:cubicBezTo>
                  <a:cubicBezTo>
                    <a:pt x="873886" y="269387"/>
                    <a:pt x="862932" y="262180"/>
                    <a:pt x="854139" y="252811"/>
                  </a:cubicBezTo>
                  <a:cubicBezTo>
                    <a:pt x="845203" y="243587"/>
                    <a:pt x="838429" y="232633"/>
                    <a:pt x="833528" y="219949"/>
                  </a:cubicBezTo>
                  <a:cubicBezTo>
                    <a:pt x="828772" y="207265"/>
                    <a:pt x="826322" y="193572"/>
                    <a:pt x="826322" y="178871"/>
                  </a:cubicBezTo>
                  <a:cubicBezTo>
                    <a:pt x="826322" y="164169"/>
                    <a:pt x="828772" y="150909"/>
                    <a:pt x="833528" y="138369"/>
                  </a:cubicBezTo>
                  <a:cubicBezTo>
                    <a:pt x="838285" y="125829"/>
                    <a:pt x="845203" y="114875"/>
                    <a:pt x="854139" y="105650"/>
                  </a:cubicBezTo>
                  <a:cubicBezTo>
                    <a:pt x="863076" y="96426"/>
                    <a:pt x="873598" y="89219"/>
                    <a:pt x="885705" y="84030"/>
                  </a:cubicBezTo>
                  <a:cubicBezTo>
                    <a:pt x="897812" y="78841"/>
                    <a:pt x="911505" y="76247"/>
                    <a:pt x="926495" y="76247"/>
                  </a:cubicBezTo>
                  <a:cubicBezTo>
                    <a:pt x="940476" y="76247"/>
                    <a:pt x="953016" y="78409"/>
                    <a:pt x="963970" y="82733"/>
                  </a:cubicBezTo>
                  <a:cubicBezTo>
                    <a:pt x="975068" y="87057"/>
                    <a:pt x="984725" y="92967"/>
                    <a:pt x="993085" y="100606"/>
                  </a:cubicBezTo>
                  <a:cubicBezTo>
                    <a:pt x="1004760" y="111272"/>
                    <a:pt x="1013408" y="124820"/>
                    <a:pt x="1019173" y="141107"/>
                  </a:cubicBezTo>
                  <a:cubicBezTo>
                    <a:pt x="1024939" y="157539"/>
                    <a:pt x="1027533" y="175556"/>
                    <a:pt x="1027389" y="195302"/>
                  </a:cubicBezTo>
                  <a:lnTo>
                    <a:pt x="887290" y="195302"/>
                  </a:lnTo>
                  <a:cubicBezTo>
                    <a:pt x="889308" y="208562"/>
                    <a:pt x="893921" y="218940"/>
                    <a:pt x="900983" y="226579"/>
                  </a:cubicBezTo>
                  <a:cubicBezTo>
                    <a:pt x="908046" y="234218"/>
                    <a:pt x="918135" y="237966"/>
                    <a:pt x="931107" y="237966"/>
                  </a:cubicBezTo>
                  <a:cubicBezTo>
                    <a:pt x="939179" y="237966"/>
                    <a:pt x="945953" y="236236"/>
                    <a:pt x="951286" y="232777"/>
                  </a:cubicBezTo>
                  <a:cubicBezTo>
                    <a:pt x="956619" y="229318"/>
                    <a:pt x="960655" y="224561"/>
                    <a:pt x="963393" y="218508"/>
                  </a:cubicBezTo>
                  <a:lnTo>
                    <a:pt x="1023930" y="218508"/>
                  </a:lnTo>
                  <a:cubicBezTo>
                    <a:pt x="1021912" y="227444"/>
                    <a:pt x="1018020" y="235804"/>
                    <a:pt x="1012543" y="243875"/>
                  </a:cubicBezTo>
                  <a:cubicBezTo>
                    <a:pt x="1006922" y="251803"/>
                    <a:pt x="999859" y="258721"/>
                    <a:pt x="991211" y="264630"/>
                  </a:cubicBezTo>
                  <a:cubicBezTo>
                    <a:pt x="983140" y="270540"/>
                    <a:pt x="974059" y="274864"/>
                    <a:pt x="963970" y="277891"/>
                  </a:cubicBezTo>
                  <a:cubicBezTo>
                    <a:pt x="954024" y="280918"/>
                    <a:pt x="942782" y="282503"/>
                    <a:pt x="930242" y="282503"/>
                  </a:cubicBezTo>
                  <a:moveTo>
                    <a:pt x="964546" y="158404"/>
                  </a:moveTo>
                  <a:cubicBezTo>
                    <a:pt x="963249" y="146729"/>
                    <a:pt x="959357" y="137504"/>
                    <a:pt x="952727" y="130586"/>
                  </a:cubicBezTo>
                  <a:cubicBezTo>
                    <a:pt x="946097" y="123811"/>
                    <a:pt x="937737" y="120352"/>
                    <a:pt x="927648" y="120352"/>
                  </a:cubicBezTo>
                  <a:cubicBezTo>
                    <a:pt x="915685" y="120352"/>
                    <a:pt x="906604" y="123811"/>
                    <a:pt x="900262" y="130586"/>
                  </a:cubicBezTo>
                  <a:cubicBezTo>
                    <a:pt x="893921" y="137504"/>
                    <a:pt x="889741" y="146729"/>
                    <a:pt x="887723" y="158404"/>
                  </a:cubicBezTo>
                  <a:lnTo>
                    <a:pt x="964546" y="158404"/>
                  </a:lnTo>
                  <a:close/>
                  <a:moveTo>
                    <a:pt x="1050162" y="2018"/>
                  </a:moveTo>
                  <a:lnTo>
                    <a:pt x="1112140" y="2018"/>
                  </a:lnTo>
                  <a:lnTo>
                    <a:pt x="1112140" y="105939"/>
                  </a:lnTo>
                  <a:lnTo>
                    <a:pt x="1113293" y="105939"/>
                  </a:lnTo>
                  <a:cubicBezTo>
                    <a:pt x="1120355" y="96570"/>
                    <a:pt x="1128427" y="89219"/>
                    <a:pt x="1137219" y="84030"/>
                  </a:cubicBezTo>
                  <a:cubicBezTo>
                    <a:pt x="1146155" y="78841"/>
                    <a:pt x="1157398" y="76247"/>
                    <a:pt x="1171091" y="76247"/>
                  </a:cubicBezTo>
                  <a:cubicBezTo>
                    <a:pt x="1181757" y="76247"/>
                    <a:pt x="1191269" y="78121"/>
                    <a:pt x="1199629" y="81724"/>
                  </a:cubicBezTo>
                  <a:cubicBezTo>
                    <a:pt x="1207989" y="85327"/>
                    <a:pt x="1215052" y="90516"/>
                    <a:pt x="1220961" y="97002"/>
                  </a:cubicBezTo>
                  <a:cubicBezTo>
                    <a:pt x="1226871" y="103488"/>
                    <a:pt x="1231195" y="111272"/>
                    <a:pt x="1234366" y="120208"/>
                  </a:cubicBezTo>
                  <a:cubicBezTo>
                    <a:pt x="1237392" y="129144"/>
                    <a:pt x="1238978" y="139234"/>
                    <a:pt x="1238978" y="150044"/>
                  </a:cubicBezTo>
                  <a:lnTo>
                    <a:pt x="1238978" y="276738"/>
                  </a:lnTo>
                  <a:lnTo>
                    <a:pt x="1177000" y="276738"/>
                  </a:lnTo>
                  <a:lnTo>
                    <a:pt x="1177000" y="162583"/>
                  </a:lnTo>
                  <a:cubicBezTo>
                    <a:pt x="1177000" y="152206"/>
                    <a:pt x="1174406" y="143846"/>
                    <a:pt x="1169361" y="137504"/>
                  </a:cubicBezTo>
                  <a:cubicBezTo>
                    <a:pt x="1164316" y="131162"/>
                    <a:pt x="1156677" y="127991"/>
                    <a:pt x="1146588" y="127991"/>
                  </a:cubicBezTo>
                  <a:cubicBezTo>
                    <a:pt x="1136498" y="127991"/>
                    <a:pt x="1127850" y="131739"/>
                    <a:pt x="1121653" y="139378"/>
                  </a:cubicBezTo>
                  <a:cubicBezTo>
                    <a:pt x="1115455" y="147017"/>
                    <a:pt x="1112284" y="156962"/>
                    <a:pt x="1112284" y="169069"/>
                  </a:cubicBezTo>
                  <a:lnTo>
                    <a:pt x="1112284" y="276738"/>
                  </a:lnTo>
                  <a:lnTo>
                    <a:pt x="1050306" y="276738"/>
                  </a:lnTo>
                  <a:lnTo>
                    <a:pt x="1050306" y="1874"/>
                  </a:lnTo>
                  <a:close/>
                  <a:moveTo>
                    <a:pt x="1362645" y="282936"/>
                  </a:moveTo>
                  <a:cubicBezTo>
                    <a:pt x="1346935" y="282936"/>
                    <a:pt x="1332665" y="280341"/>
                    <a:pt x="1319837" y="275152"/>
                  </a:cubicBezTo>
                  <a:cubicBezTo>
                    <a:pt x="1307009" y="269963"/>
                    <a:pt x="1296055" y="262757"/>
                    <a:pt x="1286830" y="253388"/>
                  </a:cubicBezTo>
                  <a:cubicBezTo>
                    <a:pt x="1277750" y="244163"/>
                    <a:pt x="1270687" y="233209"/>
                    <a:pt x="1265787" y="220670"/>
                  </a:cubicBezTo>
                  <a:cubicBezTo>
                    <a:pt x="1260886" y="208130"/>
                    <a:pt x="1258292" y="194437"/>
                    <a:pt x="1258292" y="179735"/>
                  </a:cubicBezTo>
                  <a:cubicBezTo>
                    <a:pt x="1258292" y="165034"/>
                    <a:pt x="1260742" y="151341"/>
                    <a:pt x="1265787" y="138801"/>
                  </a:cubicBezTo>
                  <a:cubicBezTo>
                    <a:pt x="1270687" y="126262"/>
                    <a:pt x="1277750" y="115307"/>
                    <a:pt x="1286830" y="106083"/>
                  </a:cubicBezTo>
                  <a:cubicBezTo>
                    <a:pt x="1295911" y="96858"/>
                    <a:pt x="1307009" y="89651"/>
                    <a:pt x="1319837" y="84463"/>
                  </a:cubicBezTo>
                  <a:cubicBezTo>
                    <a:pt x="1332665" y="79274"/>
                    <a:pt x="1346935" y="76679"/>
                    <a:pt x="1362645" y="76679"/>
                  </a:cubicBezTo>
                  <a:cubicBezTo>
                    <a:pt x="1378356" y="76679"/>
                    <a:pt x="1392625" y="79274"/>
                    <a:pt x="1405453" y="84463"/>
                  </a:cubicBezTo>
                  <a:cubicBezTo>
                    <a:pt x="1418281" y="89651"/>
                    <a:pt x="1429235" y="96858"/>
                    <a:pt x="1438171" y="106083"/>
                  </a:cubicBezTo>
                  <a:cubicBezTo>
                    <a:pt x="1447108" y="115307"/>
                    <a:pt x="1454170" y="126262"/>
                    <a:pt x="1459071" y="138801"/>
                  </a:cubicBezTo>
                  <a:cubicBezTo>
                    <a:pt x="1463971" y="151341"/>
                    <a:pt x="1466422" y="165034"/>
                    <a:pt x="1466422" y="179735"/>
                  </a:cubicBezTo>
                  <a:cubicBezTo>
                    <a:pt x="1466422" y="194437"/>
                    <a:pt x="1463971" y="208130"/>
                    <a:pt x="1459071" y="220670"/>
                  </a:cubicBezTo>
                  <a:cubicBezTo>
                    <a:pt x="1454170" y="233209"/>
                    <a:pt x="1447108" y="244163"/>
                    <a:pt x="1438171" y="253388"/>
                  </a:cubicBezTo>
                  <a:cubicBezTo>
                    <a:pt x="1429235" y="262613"/>
                    <a:pt x="1418281" y="269819"/>
                    <a:pt x="1405453" y="275152"/>
                  </a:cubicBezTo>
                  <a:cubicBezTo>
                    <a:pt x="1392625" y="280341"/>
                    <a:pt x="1378356" y="282936"/>
                    <a:pt x="1362645" y="282936"/>
                  </a:cubicBezTo>
                  <a:moveTo>
                    <a:pt x="1362213" y="238830"/>
                  </a:moveTo>
                  <a:cubicBezTo>
                    <a:pt x="1375905" y="238830"/>
                    <a:pt x="1386283" y="233497"/>
                    <a:pt x="1393201" y="222687"/>
                  </a:cubicBezTo>
                  <a:cubicBezTo>
                    <a:pt x="1400264" y="211877"/>
                    <a:pt x="1403723" y="197608"/>
                    <a:pt x="1403723" y="179880"/>
                  </a:cubicBezTo>
                  <a:cubicBezTo>
                    <a:pt x="1403723" y="162151"/>
                    <a:pt x="1400264" y="147738"/>
                    <a:pt x="1393201" y="136928"/>
                  </a:cubicBezTo>
                  <a:cubicBezTo>
                    <a:pt x="1386283" y="125973"/>
                    <a:pt x="1375905" y="120496"/>
                    <a:pt x="1362213" y="120496"/>
                  </a:cubicBezTo>
                  <a:cubicBezTo>
                    <a:pt x="1348520" y="120496"/>
                    <a:pt x="1338286" y="125973"/>
                    <a:pt x="1331368" y="136928"/>
                  </a:cubicBezTo>
                  <a:cubicBezTo>
                    <a:pt x="1324594" y="147882"/>
                    <a:pt x="1321134" y="162151"/>
                    <a:pt x="1321134" y="179880"/>
                  </a:cubicBezTo>
                  <a:cubicBezTo>
                    <a:pt x="1321134" y="197608"/>
                    <a:pt x="1324594" y="211877"/>
                    <a:pt x="1331368" y="222687"/>
                  </a:cubicBezTo>
                  <a:cubicBezTo>
                    <a:pt x="1338286" y="233497"/>
                    <a:pt x="1348520" y="238830"/>
                    <a:pt x="1362213" y="238830"/>
                  </a:cubicBezTo>
                  <a:moveTo>
                    <a:pt x="1554488" y="282647"/>
                  </a:moveTo>
                  <a:cubicBezTo>
                    <a:pt x="1531859" y="282647"/>
                    <a:pt x="1514851" y="276017"/>
                    <a:pt x="1503320" y="262613"/>
                  </a:cubicBezTo>
                  <a:cubicBezTo>
                    <a:pt x="1491789" y="249352"/>
                    <a:pt x="1486024" y="231768"/>
                    <a:pt x="1486024" y="209859"/>
                  </a:cubicBezTo>
                  <a:lnTo>
                    <a:pt x="1486024" y="82012"/>
                  </a:lnTo>
                  <a:lnTo>
                    <a:pt x="1547713" y="82012"/>
                  </a:lnTo>
                  <a:lnTo>
                    <a:pt x="1547713" y="197032"/>
                  </a:lnTo>
                  <a:cubicBezTo>
                    <a:pt x="1547713" y="207697"/>
                    <a:pt x="1550164" y="215913"/>
                    <a:pt x="1554920" y="221534"/>
                  </a:cubicBezTo>
                  <a:cubicBezTo>
                    <a:pt x="1559677" y="227300"/>
                    <a:pt x="1567172" y="230038"/>
                    <a:pt x="1576973" y="230038"/>
                  </a:cubicBezTo>
                  <a:cubicBezTo>
                    <a:pt x="1587639" y="230038"/>
                    <a:pt x="1595998" y="226435"/>
                    <a:pt x="1602052" y="219228"/>
                  </a:cubicBezTo>
                  <a:cubicBezTo>
                    <a:pt x="1608106" y="212021"/>
                    <a:pt x="1611132" y="202509"/>
                    <a:pt x="1611132" y="190834"/>
                  </a:cubicBezTo>
                  <a:lnTo>
                    <a:pt x="1611132" y="82012"/>
                  </a:lnTo>
                  <a:lnTo>
                    <a:pt x="1673110" y="82012"/>
                  </a:lnTo>
                  <a:lnTo>
                    <a:pt x="1673110" y="276882"/>
                  </a:lnTo>
                  <a:lnTo>
                    <a:pt x="1613727" y="276882"/>
                  </a:lnTo>
                  <a:lnTo>
                    <a:pt x="1613727" y="252956"/>
                  </a:lnTo>
                  <a:lnTo>
                    <a:pt x="1612574" y="252956"/>
                  </a:lnTo>
                  <a:cubicBezTo>
                    <a:pt x="1605511" y="262613"/>
                    <a:pt x="1597440" y="269963"/>
                    <a:pt x="1588359" y="275008"/>
                  </a:cubicBezTo>
                  <a:cubicBezTo>
                    <a:pt x="1579423" y="280053"/>
                    <a:pt x="1568036" y="282647"/>
                    <a:pt x="1554344" y="282647"/>
                  </a:cubicBezTo>
                  <a:moveTo>
                    <a:pt x="1789571" y="283080"/>
                  </a:moveTo>
                  <a:cubicBezTo>
                    <a:pt x="1760888" y="283080"/>
                    <a:pt x="1738259" y="276882"/>
                    <a:pt x="1721395" y="264630"/>
                  </a:cubicBezTo>
                  <a:cubicBezTo>
                    <a:pt x="1704676" y="252379"/>
                    <a:pt x="1695739" y="235371"/>
                    <a:pt x="1694730" y="213751"/>
                  </a:cubicBezTo>
                  <a:lnTo>
                    <a:pt x="1753393" y="213751"/>
                  </a:lnTo>
                  <a:cubicBezTo>
                    <a:pt x="1754690" y="223408"/>
                    <a:pt x="1758294" y="230615"/>
                    <a:pt x="1764491" y="235515"/>
                  </a:cubicBezTo>
                  <a:cubicBezTo>
                    <a:pt x="1770545" y="240272"/>
                    <a:pt x="1778761" y="242722"/>
                    <a:pt x="1789282" y="242722"/>
                  </a:cubicBezTo>
                  <a:cubicBezTo>
                    <a:pt x="1798651" y="242722"/>
                    <a:pt x="1806146" y="241137"/>
                    <a:pt x="1811479" y="237821"/>
                  </a:cubicBezTo>
                  <a:cubicBezTo>
                    <a:pt x="1816956" y="234506"/>
                    <a:pt x="1819695" y="229750"/>
                    <a:pt x="1819695" y="223408"/>
                  </a:cubicBezTo>
                  <a:cubicBezTo>
                    <a:pt x="1819695" y="219084"/>
                    <a:pt x="1818253" y="215625"/>
                    <a:pt x="1815515" y="212886"/>
                  </a:cubicBezTo>
                  <a:cubicBezTo>
                    <a:pt x="1812776" y="210292"/>
                    <a:pt x="1809029" y="208130"/>
                    <a:pt x="1804416" y="206400"/>
                  </a:cubicBezTo>
                  <a:cubicBezTo>
                    <a:pt x="1799804" y="204815"/>
                    <a:pt x="1794615" y="203518"/>
                    <a:pt x="1788562" y="202653"/>
                  </a:cubicBezTo>
                  <a:cubicBezTo>
                    <a:pt x="1782652" y="201788"/>
                    <a:pt x="1776454" y="200635"/>
                    <a:pt x="1770112" y="199482"/>
                  </a:cubicBezTo>
                  <a:cubicBezTo>
                    <a:pt x="1761753" y="197896"/>
                    <a:pt x="1753393" y="196167"/>
                    <a:pt x="1745033" y="194005"/>
                  </a:cubicBezTo>
                  <a:cubicBezTo>
                    <a:pt x="1736673" y="191843"/>
                    <a:pt x="1729178" y="188672"/>
                    <a:pt x="1722404" y="184348"/>
                  </a:cubicBezTo>
                  <a:cubicBezTo>
                    <a:pt x="1715630" y="180024"/>
                    <a:pt x="1710297" y="174258"/>
                    <a:pt x="1706261" y="167052"/>
                  </a:cubicBezTo>
                  <a:cubicBezTo>
                    <a:pt x="1702225" y="159845"/>
                    <a:pt x="1700207" y="150476"/>
                    <a:pt x="1700207" y="139090"/>
                  </a:cubicBezTo>
                  <a:cubicBezTo>
                    <a:pt x="1700207" y="129000"/>
                    <a:pt x="1702369" y="119920"/>
                    <a:pt x="1706837" y="111992"/>
                  </a:cubicBezTo>
                  <a:cubicBezTo>
                    <a:pt x="1711306" y="104209"/>
                    <a:pt x="1717359" y="97579"/>
                    <a:pt x="1724999" y="92390"/>
                  </a:cubicBezTo>
                  <a:cubicBezTo>
                    <a:pt x="1732638" y="87201"/>
                    <a:pt x="1741574" y="83310"/>
                    <a:pt x="1751808" y="80571"/>
                  </a:cubicBezTo>
                  <a:cubicBezTo>
                    <a:pt x="1762041" y="77977"/>
                    <a:pt x="1772995" y="76535"/>
                    <a:pt x="1784382" y="76535"/>
                  </a:cubicBezTo>
                  <a:cubicBezTo>
                    <a:pt x="1812056" y="76535"/>
                    <a:pt x="1833243" y="82157"/>
                    <a:pt x="1847945" y="93255"/>
                  </a:cubicBezTo>
                  <a:cubicBezTo>
                    <a:pt x="1862647" y="104353"/>
                    <a:pt x="1870718" y="119631"/>
                    <a:pt x="1872304" y="138945"/>
                  </a:cubicBezTo>
                  <a:lnTo>
                    <a:pt x="1815226" y="138945"/>
                  </a:lnTo>
                  <a:cubicBezTo>
                    <a:pt x="1813929" y="130009"/>
                    <a:pt x="1810614" y="124100"/>
                    <a:pt x="1805137" y="120929"/>
                  </a:cubicBezTo>
                  <a:cubicBezTo>
                    <a:pt x="1799660" y="117758"/>
                    <a:pt x="1792598" y="116172"/>
                    <a:pt x="1783949" y="116172"/>
                  </a:cubicBezTo>
                  <a:cubicBezTo>
                    <a:pt x="1776310" y="116172"/>
                    <a:pt x="1769968" y="117614"/>
                    <a:pt x="1764780" y="120496"/>
                  </a:cubicBezTo>
                  <a:cubicBezTo>
                    <a:pt x="1759591" y="123379"/>
                    <a:pt x="1756996" y="127847"/>
                    <a:pt x="1756996" y="134045"/>
                  </a:cubicBezTo>
                  <a:cubicBezTo>
                    <a:pt x="1756996" y="137648"/>
                    <a:pt x="1758294" y="140387"/>
                    <a:pt x="1760744" y="142405"/>
                  </a:cubicBezTo>
                  <a:cubicBezTo>
                    <a:pt x="1763338" y="144423"/>
                    <a:pt x="1766653" y="146152"/>
                    <a:pt x="1770977" y="147593"/>
                  </a:cubicBezTo>
                  <a:cubicBezTo>
                    <a:pt x="1775301" y="149035"/>
                    <a:pt x="1780346" y="150188"/>
                    <a:pt x="1785967" y="151197"/>
                  </a:cubicBezTo>
                  <a:cubicBezTo>
                    <a:pt x="1791733" y="152206"/>
                    <a:pt x="1797642" y="153215"/>
                    <a:pt x="1803696" y="154224"/>
                  </a:cubicBezTo>
                  <a:cubicBezTo>
                    <a:pt x="1812344" y="155665"/>
                    <a:pt x="1820992" y="157539"/>
                    <a:pt x="1829784" y="159701"/>
                  </a:cubicBezTo>
                  <a:cubicBezTo>
                    <a:pt x="1838576" y="161863"/>
                    <a:pt x="1846504" y="165178"/>
                    <a:pt x="1853710" y="169790"/>
                  </a:cubicBezTo>
                  <a:cubicBezTo>
                    <a:pt x="1860917" y="174402"/>
                    <a:pt x="1866827" y="180456"/>
                    <a:pt x="1871439" y="188239"/>
                  </a:cubicBezTo>
                  <a:cubicBezTo>
                    <a:pt x="1876051" y="196023"/>
                    <a:pt x="1878357" y="206112"/>
                    <a:pt x="1878357" y="218508"/>
                  </a:cubicBezTo>
                  <a:cubicBezTo>
                    <a:pt x="1878357" y="229173"/>
                    <a:pt x="1876051" y="238542"/>
                    <a:pt x="1871727" y="246614"/>
                  </a:cubicBezTo>
                  <a:cubicBezTo>
                    <a:pt x="1867259" y="254685"/>
                    <a:pt x="1861061" y="261460"/>
                    <a:pt x="1853278" y="266792"/>
                  </a:cubicBezTo>
                  <a:cubicBezTo>
                    <a:pt x="1845350" y="272125"/>
                    <a:pt x="1835982" y="276161"/>
                    <a:pt x="1825172" y="279044"/>
                  </a:cubicBezTo>
                  <a:cubicBezTo>
                    <a:pt x="1814218" y="281782"/>
                    <a:pt x="1802399" y="283224"/>
                    <a:pt x="1789715" y="283224"/>
                  </a:cubicBezTo>
                  <a:moveTo>
                    <a:pt x="1999430" y="282791"/>
                  </a:moveTo>
                  <a:cubicBezTo>
                    <a:pt x="1983431" y="282791"/>
                    <a:pt x="1969018" y="280197"/>
                    <a:pt x="1956046" y="275008"/>
                  </a:cubicBezTo>
                  <a:cubicBezTo>
                    <a:pt x="1943073" y="269819"/>
                    <a:pt x="1932263" y="262613"/>
                    <a:pt x="1923327" y="253244"/>
                  </a:cubicBezTo>
                  <a:cubicBezTo>
                    <a:pt x="1914391" y="244019"/>
                    <a:pt x="1907617" y="233065"/>
                    <a:pt x="1902716" y="220381"/>
                  </a:cubicBezTo>
                  <a:cubicBezTo>
                    <a:pt x="1897960" y="207697"/>
                    <a:pt x="1895509" y="194005"/>
                    <a:pt x="1895509" y="179303"/>
                  </a:cubicBezTo>
                  <a:cubicBezTo>
                    <a:pt x="1895509" y="164601"/>
                    <a:pt x="1897960" y="151341"/>
                    <a:pt x="1902716" y="138801"/>
                  </a:cubicBezTo>
                  <a:cubicBezTo>
                    <a:pt x="1907473" y="126262"/>
                    <a:pt x="1914391" y="115307"/>
                    <a:pt x="1923327" y="106083"/>
                  </a:cubicBezTo>
                  <a:cubicBezTo>
                    <a:pt x="1932263" y="96858"/>
                    <a:pt x="1942785" y="89651"/>
                    <a:pt x="1954893" y="84463"/>
                  </a:cubicBezTo>
                  <a:cubicBezTo>
                    <a:pt x="1967144" y="79274"/>
                    <a:pt x="1980693" y="76679"/>
                    <a:pt x="1995683" y="76679"/>
                  </a:cubicBezTo>
                  <a:cubicBezTo>
                    <a:pt x="2009664" y="76679"/>
                    <a:pt x="2022059" y="78841"/>
                    <a:pt x="2033157" y="83165"/>
                  </a:cubicBezTo>
                  <a:cubicBezTo>
                    <a:pt x="2044256" y="87489"/>
                    <a:pt x="2053913" y="93399"/>
                    <a:pt x="2062273" y="101038"/>
                  </a:cubicBezTo>
                  <a:cubicBezTo>
                    <a:pt x="2073947" y="111704"/>
                    <a:pt x="2082596" y="125253"/>
                    <a:pt x="2088361" y="141540"/>
                  </a:cubicBezTo>
                  <a:cubicBezTo>
                    <a:pt x="2094126" y="157971"/>
                    <a:pt x="2096865" y="175988"/>
                    <a:pt x="2096577" y="195734"/>
                  </a:cubicBezTo>
                  <a:lnTo>
                    <a:pt x="1956478" y="195734"/>
                  </a:lnTo>
                  <a:cubicBezTo>
                    <a:pt x="1958496" y="208995"/>
                    <a:pt x="1963108" y="219372"/>
                    <a:pt x="1970171" y="227011"/>
                  </a:cubicBezTo>
                  <a:cubicBezTo>
                    <a:pt x="1977233" y="234651"/>
                    <a:pt x="1987323" y="238398"/>
                    <a:pt x="2000295" y="238398"/>
                  </a:cubicBezTo>
                  <a:cubicBezTo>
                    <a:pt x="2008366" y="238398"/>
                    <a:pt x="2015141" y="236668"/>
                    <a:pt x="2020474" y="233209"/>
                  </a:cubicBezTo>
                  <a:cubicBezTo>
                    <a:pt x="2025807" y="229750"/>
                    <a:pt x="2029842" y="224994"/>
                    <a:pt x="2032725" y="218940"/>
                  </a:cubicBezTo>
                  <a:lnTo>
                    <a:pt x="2093262" y="218940"/>
                  </a:lnTo>
                  <a:cubicBezTo>
                    <a:pt x="2091244" y="227876"/>
                    <a:pt x="2087496" y="236236"/>
                    <a:pt x="2081875" y="244308"/>
                  </a:cubicBezTo>
                  <a:cubicBezTo>
                    <a:pt x="2076254" y="252379"/>
                    <a:pt x="2069191" y="259153"/>
                    <a:pt x="2060543" y="265063"/>
                  </a:cubicBezTo>
                  <a:cubicBezTo>
                    <a:pt x="2052472" y="270972"/>
                    <a:pt x="2043391" y="275296"/>
                    <a:pt x="2033302" y="278323"/>
                  </a:cubicBezTo>
                  <a:cubicBezTo>
                    <a:pt x="2023212" y="281350"/>
                    <a:pt x="2011970" y="282936"/>
                    <a:pt x="1999574" y="282936"/>
                  </a:cubicBezTo>
                  <a:moveTo>
                    <a:pt x="2033878" y="158836"/>
                  </a:moveTo>
                  <a:cubicBezTo>
                    <a:pt x="2032581" y="147161"/>
                    <a:pt x="2028689" y="137936"/>
                    <a:pt x="2022059" y="131018"/>
                  </a:cubicBezTo>
                  <a:cubicBezTo>
                    <a:pt x="2015429" y="124244"/>
                    <a:pt x="2007069" y="120784"/>
                    <a:pt x="1996980" y="120784"/>
                  </a:cubicBezTo>
                  <a:cubicBezTo>
                    <a:pt x="1985017" y="120784"/>
                    <a:pt x="1975936" y="124244"/>
                    <a:pt x="1969594" y="131018"/>
                  </a:cubicBezTo>
                  <a:cubicBezTo>
                    <a:pt x="1963252" y="137936"/>
                    <a:pt x="1959072" y="147161"/>
                    <a:pt x="1957055" y="158836"/>
                  </a:cubicBezTo>
                  <a:lnTo>
                    <a:pt x="2033878" y="158836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15457261-1C34-087B-4575-1B5E779EBBAB}"/>
                </a:ext>
              </a:extLst>
            </p:cNvPr>
            <p:cNvSpPr/>
            <p:nvPr/>
          </p:nvSpPr>
          <p:spPr>
            <a:xfrm>
              <a:off x="882878" y="557212"/>
              <a:ext cx="273278" cy="674980"/>
            </a:xfrm>
            <a:custGeom>
              <a:avLst/>
              <a:gdLst>
                <a:gd name="connsiteX0" fmla="*/ 0 w 273278"/>
                <a:gd name="connsiteY0" fmla="*/ 0 h 674980"/>
                <a:gd name="connsiteX1" fmla="*/ 0 w 273278"/>
                <a:gd name="connsiteY1" fmla="*/ 476508 h 674980"/>
                <a:gd name="connsiteX2" fmla="*/ 272558 w 273278"/>
                <a:gd name="connsiteY2" fmla="*/ 674981 h 674980"/>
                <a:gd name="connsiteX3" fmla="*/ 273278 w 273278"/>
                <a:gd name="connsiteY3" fmla="*/ 674260 h 674980"/>
                <a:gd name="connsiteX4" fmla="*/ 0 w 273278"/>
                <a:gd name="connsiteY4" fmla="*/ 0 h 674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278" h="674980">
                  <a:moveTo>
                    <a:pt x="0" y="0"/>
                  </a:moveTo>
                  <a:lnTo>
                    <a:pt x="0" y="476508"/>
                  </a:lnTo>
                  <a:lnTo>
                    <a:pt x="272558" y="674981"/>
                  </a:lnTo>
                  <a:cubicBezTo>
                    <a:pt x="272558" y="674981"/>
                    <a:pt x="273134" y="674404"/>
                    <a:pt x="273278" y="67426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3D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0CDB77CD-C5E1-9227-DF1A-82C8E96E04A3}"/>
                </a:ext>
              </a:extLst>
            </p:cNvPr>
            <p:cNvSpPr/>
            <p:nvPr/>
          </p:nvSpPr>
          <p:spPr>
            <a:xfrm>
              <a:off x="609600" y="557212"/>
              <a:ext cx="273278" cy="674836"/>
            </a:xfrm>
            <a:custGeom>
              <a:avLst/>
              <a:gdLst>
                <a:gd name="connsiteX0" fmla="*/ 0 w 273278"/>
                <a:gd name="connsiteY0" fmla="*/ 674116 h 674836"/>
                <a:gd name="connsiteX1" fmla="*/ 721 w 273278"/>
                <a:gd name="connsiteY1" fmla="*/ 674837 h 674836"/>
                <a:gd name="connsiteX2" fmla="*/ 273278 w 273278"/>
                <a:gd name="connsiteY2" fmla="*/ 476364 h 674836"/>
                <a:gd name="connsiteX3" fmla="*/ 273278 w 273278"/>
                <a:gd name="connsiteY3" fmla="*/ 0 h 674836"/>
                <a:gd name="connsiteX4" fmla="*/ 0 w 273278"/>
                <a:gd name="connsiteY4" fmla="*/ 674116 h 674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278" h="674836">
                  <a:moveTo>
                    <a:pt x="0" y="674116"/>
                  </a:moveTo>
                  <a:cubicBezTo>
                    <a:pt x="0" y="674116"/>
                    <a:pt x="577" y="674692"/>
                    <a:pt x="721" y="674837"/>
                  </a:cubicBezTo>
                  <a:lnTo>
                    <a:pt x="273278" y="476364"/>
                  </a:lnTo>
                  <a:lnTo>
                    <a:pt x="273278" y="0"/>
                  </a:lnTo>
                  <a:lnTo>
                    <a:pt x="0" y="674116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3" name="Text Placeholder 33">
            <a:extLst>
              <a:ext uri="{FF2B5EF4-FFF2-40B4-BE49-F238E27FC236}">
                <a16:creationId xmlns:a16="http://schemas.microsoft.com/office/drawing/2014/main" id="{C85A18C6-8282-E9A0-F452-C454AEA2EF3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4896099"/>
            <a:ext cx="5387082" cy="307777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b="1">
                <a:solidFill>
                  <a:schemeClr val="tx2"/>
                </a:solidFill>
                <a:latin typeface="+mj-lt"/>
              </a:defRPr>
            </a:lvl1pPr>
            <a:lvl2pPr marL="0" indent="0">
              <a:spcAft>
                <a:spcPts val="300"/>
              </a:spcAft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58" name="Text Placeholder 16">
            <a:extLst>
              <a:ext uri="{FF2B5EF4-FFF2-40B4-BE49-F238E27FC236}">
                <a16:creationId xmlns:a16="http://schemas.microsoft.com/office/drawing/2014/main" id="{2CEC33A9-A637-6C33-525A-AF284749A9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1523079"/>
            <a:ext cx="2468880" cy="223908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400" b="1" cap="all" spc="3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DBEBFD3-3735-BFC8-D7E6-A618637D48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6090476"/>
            <a:ext cx="1834388" cy="210312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D2BF7478-0B6B-4B7E-1EE4-0006B726ED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9837" r="8121" b="7745"/>
          <a:stretch/>
        </p:blipFill>
        <p:spPr>
          <a:xfrm>
            <a:off x="5996682" y="-1"/>
            <a:ext cx="6195318" cy="6858001"/>
          </a:xfrm>
          <a:prstGeom prst="rect">
            <a:avLst/>
          </a:prstGeom>
        </p:spPr>
      </p:pic>
      <p:sp>
        <p:nvSpPr>
          <p:cNvPr id="4" name="Text Placeholder 33">
            <a:extLst>
              <a:ext uri="{FF2B5EF4-FFF2-40B4-BE49-F238E27FC236}">
                <a16:creationId xmlns:a16="http://schemas.microsoft.com/office/drawing/2014/main" id="{63C1126E-E19D-9E30-D956-8ADF5631F0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0348" y="5236388"/>
            <a:ext cx="5387082" cy="276999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</p:spTree>
    <p:extLst>
      <p:ext uri="{BB962C8B-B14F-4D97-AF65-F5344CB8AC3E}">
        <p14:creationId xmlns:p14="http://schemas.microsoft.com/office/powerpoint/2010/main" val="18690650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1 - Dark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aphic 7">
            <a:extLst>
              <a:ext uri="{FF2B5EF4-FFF2-40B4-BE49-F238E27FC236}">
                <a16:creationId xmlns:a16="http://schemas.microsoft.com/office/drawing/2014/main" id="{C5A0A539-4BAC-8953-4BBA-6D59087AD769}"/>
              </a:ext>
            </a:extLst>
          </p:cNvPr>
          <p:cNvGrpSpPr/>
          <p:nvPr userDrawn="1"/>
        </p:nvGrpSpPr>
        <p:grpSpPr>
          <a:xfrm>
            <a:off x="609600" y="557212"/>
            <a:ext cx="1729317" cy="437558"/>
            <a:chOff x="609600" y="557212"/>
            <a:chExt cx="2670098" cy="675598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CABD304E-130C-E81B-7AD9-4DF1D35529F5}"/>
                </a:ext>
              </a:extLst>
            </p:cNvPr>
            <p:cNvSpPr/>
            <p:nvPr/>
          </p:nvSpPr>
          <p:spPr>
            <a:xfrm>
              <a:off x="1181182" y="790634"/>
              <a:ext cx="2098515" cy="283771"/>
            </a:xfrm>
            <a:custGeom>
              <a:avLst/>
              <a:gdLst>
                <a:gd name="connsiteX0" fmla="*/ 129551 w 2098515"/>
                <a:gd name="connsiteY0" fmla="*/ 283771 h 283771"/>
                <a:gd name="connsiteX1" fmla="*/ 77038 w 2098515"/>
                <a:gd name="connsiteY1" fmla="*/ 273817 h 283771"/>
                <a:gd name="connsiteX2" fmla="*/ 36644 w 2098515"/>
                <a:gd name="connsiteY2" fmla="*/ 245685 h 283771"/>
                <a:gd name="connsiteX3" fmla="*/ 9377 w 2098515"/>
                <a:gd name="connsiteY3" fmla="*/ 199953 h 283771"/>
                <a:gd name="connsiteX4" fmla="*/ 0 w 2098515"/>
                <a:gd name="connsiteY4" fmla="*/ 142391 h 283771"/>
                <a:gd name="connsiteX5" fmla="*/ 10531 w 2098515"/>
                <a:gd name="connsiteY5" fmla="*/ 82809 h 283771"/>
                <a:gd name="connsiteX6" fmla="*/ 40395 w 2098515"/>
                <a:gd name="connsiteY6" fmla="*/ 36211 h 283771"/>
                <a:gd name="connsiteX7" fmla="*/ 80789 w 2098515"/>
                <a:gd name="connsiteY7" fmla="*/ 9522 h 283771"/>
                <a:gd name="connsiteX8" fmla="*/ 133735 w 2098515"/>
                <a:gd name="connsiteY8" fmla="*/ 0 h 283771"/>
                <a:gd name="connsiteX9" fmla="*/ 180910 w 2098515"/>
                <a:gd name="connsiteY9" fmla="*/ 6636 h 283771"/>
                <a:gd name="connsiteX10" fmla="*/ 217121 w 2098515"/>
                <a:gd name="connsiteY10" fmla="*/ 25679 h 283771"/>
                <a:gd name="connsiteX11" fmla="*/ 241646 w 2098515"/>
                <a:gd name="connsiteY11" fmla="*/ 55542 h 283771"/>
                <a:gd name="connsiteX12" fmla="*/ 254341 w 2098515"/>
                <a:gd name="connsiteY12" fmla="*/ 94350 h 283771"/>
                <a:gd name="connsiteX13" fmla="*/ 188844 w 2098515"/>
                <a:gd name="connsiteY13" fmla="*/ 94350 h 283771"/>
                <a:gd name="connsiteX14" fmla="*/ 171677 w 2098515"/>
                <a:gd name="connsiteY14" fmla="*/ 66507 h 283771"/>
                <a:gd name="connsiteX15" fmla="*/ 135899 w 2098515"/>
                <a:gd name="connsiteY15" fmla="*/ 55398 h 283771"/>
                <a:gd name="connsiteX16" fmla="*/ 106324 w 2098515"/>
                <a:gd name="connsiteY16" fmla="*/ 62034 h 283771"/>
                <a:gd name="connsiteX17" fmla="*/ 85117 w 2098515"/>
                <a:gd name="connsiteY17" fmla="*/ 80356 h 283771"/>
                <a:gd name="connsiteX18" fmla="*/ 72566 w 2098515"/>
                <a:gd name="connsiteY18" fmla="*/ 107767 h 283771"/>
                <a:gd name="connsiteX19" fmla="*/ 68382 w 2098515"/>
                <a:gd name="connsiteY19" fmla="*/ 142246 h 283771"/>
                <a:gd name="connsiteX20" fmla="*/ 73143 w 2098515"/>
                <a:gd name="connsiteY20" fmla="*/ 176870 h 283771"/>
                <a:gd name="connsiteX21" fmla="*/ 86704 w 2098515"/>
                <a:gd name="connsiteY21" fmla="*/ 204425 h 283771"/>
                <a:gd name="connsiteX22" fmla="*/ 108200 w 2098515"/>
                <a:gd name="connsiteY22" fmla="*/ 222458 h 283771"/>
                <a:gd name="connsiteX23" fmla="*/ 136909 w 2098515"/>
                <a:gd name="connsiteY23" fmla="*/ 228950 h 283771"/>
                <a:gd name="connsiteX24" fmla="*/ 160712 w 2098515"/>
                <a:gd name="connsiteY24" fmla="*/ 224911 h 283771"/>
                <a:gd name="connsiteX25" fmla="*/ 178601 w 2098515"/>
                <a:gd name="connsiteY25" fmla="*/ 214235 h 283771"/>
                <a:gd name="connsiteX26" fmla="*/ 190431 w 2098515"/>
                <a:gd name="connsiteY26" fmla="*/ 198943 h 283771"/>
                <a:gd name="connsiteX27" fmla="*/ 195913 w 2098515"/>
                <a:gd name="connsiteY27" fmla="*/ 181198 h 283771"/>
                <a:gd name="connsiteX28" fmla="*/ 195913 w 2098515"/>
                <a:gd name="connsiteY28" fmla="*/ 180477 h 283771"/>
                <a:gd name="connsiteX29" fmla="*/ 144843 w 2098515"/>
                <a:gd name="connsiteY29" fmla="*/ 180477 h 283771"/>
                <a:gd name="connsiteX30" fmla="*/ 144843 w 2098515"/>
                <a:gd name="connsiteY30" fmla="*/ 130994 h 283771"/>
                <a:gd name="connsiteX31" fmla="*/ 258381 w 2098515"/>
                <a:gd name="connsiteY31" fmla="*/ 130994 h 283771"/>
                <a:gd name="connsiteX32" fmla="*/ 258381 w 2098515"/>
                <a:gd name="connsiteY32" fmla="*/ 277279 h 283771"/>
                <a:gd name="connsiteX33" fmla="*/ 211206 w 2098515"/>
                <a:gd name="connsiteY33" fmla="*/ 277279 h 283771"/>
                <a:gd name="connsiteX34" fmla="*/ 207455 w 2098515"/>
                <a:gd name="connsiteY34" fmla="*/ 244531 h 283771"/>
                <a:gd name="connsiteX35" fmla="*/ 206733 w 2098515"/>
                <a:gd name="connsiteY35" fmla="*/ 244531 h 283771"/>
                <a:gd name="connsiteX36" fmla="*/ 173841 w 2098515"/>
                <a:gd name="connsiteY36" fmla="*/ 274394 h 283771"/>
                <a:gd name="connsiteX37" fmla="*/ 129407 w 2098515"/>
                <a:gd name="connsiteY37" fmla="*/ 283339 h 283771"/>
                <a:gd name="connsiteX38" fmla="*/ 358357 w 2098515"/>
                <a:gd name="connsiteY38" fmla="*/ 282906 h 283771"/>
                <a:gd name="connsiteX39" fmla="*/ 307143 w 2098515"/>
                <a:gd name="connsiteY39" fmla="*/ 262853 h 283771"/>
                <a:gd name="connsiteX40" fmla="*/ 289831 w 2098515"/>
                <a:gd name="connsiteY40" fmla="*/ 210051 h 283771"/>
                <a:gd name="connsiteX41" fmla="*/ 289831 w 2098515"/>
                <a:gd name="connsiteY41" fmla="*/ 82087 h 283771"/>
                <a:gd name="connsiteX42" fmla="*/ 351577 w 2098515"/>
                <a:gd name="connsiteY42" fmla="*/ 82087 h 283771"/>
                <a:gd name="connsiteX43" fmla="*/ 351577 w 2098515"/>
                <a:gd name="connsiteY43" fmla="*/ 197212 h 283771"/>
                <a:gd name="connsiteX44" fmla="*/ 358790 w 2098515"/>
                <a:gd name="connsiteY44" fmla="*/ 221737 h 283771"/>
                <a:gd name="connsiteX45" fmla="*/ 380863 w 2098515"/>
                <a:gd name="connsiteY45" fmla="*/ 230249 h 283771"/>
                <a:gd name="connsiteX46" fmla="*/ 405965 w 2098515"/>
                <a:gd name="connsiteY46" fmla="*/ 219429 h 283771"/>
                <a:gd name="connsiteX47" fmla="*/ 415054 w 2098515"/>
                <a:gd name="connsiteY47" fmla="*/ 191008 h 283771"/>
                <a:gd name="connsiteX48" fmla="*/ 415054 w 2098515"/>
                <a:gd name="connsiteY48" fmla="*/ 82087 h 283771"/>
                <a:gd name="connsiteX49" fmla="*/ 477088 w 2098515"/>
                <a:gd name="connsiteY49" fmla="*/ 82087 h 283771"/>
                <a:gd name="connsiteX50" fmla="*/ 477088 w 2098515"/>
                <a:gd name="connsiteY50" fmla="*/ 277135 h 283771"/>
                <a:gd name="connsiteX51" fmla="*/ 417650 w 2098515"/>
                <a:gd name="connsiteY51" fmla="*/ 277135 h 283771"/>
                <a:gd name="connsiteX52" fmla="*/ 417650 w 2098515"/>
                <a:gd name="connsiteY52" fmla="*/ 253187 h 283771"/>
                <a:gd name="connsiteX53" fmla="*/ 416496 w 2098515"/>
                <a:gd name="connsiteY53" fmla="*/ 253187 h 283771"/>
                <a:gd name="connsiteX54" fmla="*/ 392260 w 2098515"/>
                <a:gd name="connsiteY54" fmla="*/ 275260 h 283771"/>
                <a:gd name="connsiteX55" fmla="*/ 358213 w 2098515"/>
                <a:gd name="connsiteY55" fmla="*/ 282906 h 283771"/>
                <a:gd name="connsiteX56" fmla="*/ 512433 w 2098515"/>
                <a:gd name="connsiteY56" fmla="*/ 2164 h 283771"/>
                <a:gd name="connsiteX57" fmla="*/ 574468 w 2098515"/>
                <a:gd name="connsiteY57" fmla="*/ 2164 h 283771"/>
                <a:gd name="connsiteX58" fmla="*/ 574468 w 2098515"/>
                <a:gd name="connsiteY58" fmla="*/ 55110 h 283771"/>
                <a:gd name="connsiteX59" fmla="*/ 512433 w 2098515"/>
                <a:gd name="connsiteY59" fmla="*/ 55110 h 283771"/>
                <a:gd name="connsiteX60" fmla="*/ 512433 w 2098515"/>
                <a:gd name="connsiteY60" fmla="*/ 2164 h 283771"/>
                <a:gd name="connsiteX61" fmla="*/ 512433 w 2098515"/>
                <a:gd name="connsiteY61" fmla="*/ 82087 h 283771"/>
                <a:gd name="connsiteX62" fmla="*/ 574468 w 2098515"/>
                <a:gd name="connsiteY62" fmla="*/ 82087 h 283771"/>
                <a:gd name="connsiteX63" fmla="*/ 574468 w 2098515"/>
                <a:gd name="connsiteY63" fmla="*/ 277135 h 283771"/>
                <a:gd name="connsiteX64" fmla="*/ 512433 w 2098515"/>
                <a:gd name="connsiteY64" fmla="*/ 277135 h 283771"/>
                <a:gd name="connsiteX65" fmla="*/ 512433 w 2098515"/>
                <a:gd name="connsiteY65" fmla="*/ 82087 h 283771"/>
                <a:gd name="connsiteX66" fmla="*/ 686563 w 2098515"/>
                <a:gd name="connsiteY66" fmla="*/ 283194 h 283771"/>
                <a:gd name="connsiteX67" fmla="*/ 652227 w 2098515"/>
                <a:gd name="connsiteY67" fmla="*/ 276125 h 283771"/>
                <a:gd name="connsiteX68" fmla="*/ 625249 w 2098515"/>
                <a:gd name="connsiteY68" fmla="*/ 255784 h 283771"/>
                <a:gd name="connsiteX69" fmla="*/ 607505 w 2098515"/>
                <a:gd name="connsiteY69" fmla="*/ 223180 h 283771"/>
                <a:gd name="connsiteX70" fmla="*/ 601157 w 2098515"/>
                <a:gd name="connsiteY70" fmla="*/ 179611 h 283771"/>
                <a:gd name="connsiteX71" fmla="*/ 607505 w 2098515"/>
                <a:gd name="connsiteY71" fmla="*/ 137630 h 283771"/>
                <a:gd name="connsiteX72" fmla="*/ 624961 w 2098515"/>
                <a:gd name="connsiteY72" fmla="*/ 105026 h 283771"/>
                <a:gd name="connsiteX73" fmla="*/ 651794 w 2098515"/>
                <a:gd name="connsiteY73" fmla="*/ 83819 h 283771"/>
                <a:gd name="connsiteX74" fmla="*/ 686418 w 2098515"/>
                <a:gd name="connsiteY74" fmla="*/ 76172 h 283771"/>
                <a:gd name="connsiteX75" fmla="*/ 719600 w 2098515"/>
                <a:gd name="connsiteY75" fmla="*/ 83963 h 283771"/>
                <a:gd name="connsiteX76" fmla="*/ 740951 w 2098515"/>
                <a:gd name="connsiteY76" fmla="*/ 104016 h 283771"/>
                <a:gd name="connsiteX77" fmla="*/ 742105 w 2098515"/>
                <a:gd name="connsiteY77" fmla="*/ 104016 h 283771"/>
                <a:gd name="connsiteX78" fmla="*/ 742105 w 2098515"/>
                <a:gd name="connsiteY78" fmla="*/ 1875 h 283771"/>
                <a:gd name="connsiteX79" fmla="*/ 804139 w 2098515"/>
                <a:gd name="connsiteY79" fmla="*/ 1875 h 283771"/>
                <a:gd name="connsiteX80" fmla="*/ 804139 w 2098515"/>
                <a:gd name="connsiteY80" fmla="*/ 276991 h 283771"/>
                <a:gd name="connsiteX81" fmla="*/ 744702 w 2098515"/>
                <a:gd name="connsiteY81" fmla="*/ 276991 h 283771"/>
                <a:gd name="connsiteX82" fmla="*/ 744702 w 2098515"/>
                <a:gd name="connsiteY82" fmla="*/ 250735 h 283771"/>
                <a:gd name="connsiteX83" fmla="*/ 743981 w 2098515"/>
                <a:gd name="connsiteY83" fmla="*/ 250735 h 283771"/>
                <a:gd name="connsiteX84" fmla="*/ 720609 w 2098515"/>
                <a:gd name="connsiteY84" fmla="*/ 274538 h 283771"/>
                <a:gd name="connsiteX85" fmla="*/ 686563 w 2098515"/>
                <a:gd name="connsiteY85" fmla="*/ 283050 h 283771"/>
                <a:gd name="connsiteX86" fmla="*/ 702576 w 2098515"/>
                <a:gd name="connsiteY86" fmla="*/ 233855 h 283771"/>
                <a:gd name="connsiteX87" fmla="*/ 732872 w 2098515"/>
                <a:gd name="connsiteY87" fmla="*/ 218563 h 283771"/>
                <a:gd name="connsiteX88" fmla="*/ 743692 w 2098515"/>
                <a:gd name="connsiteY88" fmla="*/ 179323 h 283771"/>
                <a:gd name="connsiteX89" fmla="*/ 741239 w 2098515"/>
                <a:gd name="connsiteY89" fmla="*/ 156673 h 283771"/>
                <a:gd name="connsiteX90" fmla="*/ 733593 w 2098515"/>
                <a:gd name="connsiteY90" fmla="*/ 138784 h 283771"/>
                <a:gd name="connsiteX91" fmla="*/ 721042 w 2098515"/>
                <a:gd name="connsiteY91" fmla="*/ 127098 h 283771"/>
                <a:gd name="connsiteX92" fmla="*/ 703297 w 2098515"/>
                <a:gd name="connsiteY92" fmla="*/ 122915 h 283771"/>
                <a:gd name="connsiteX93" fmla="*/ 674300 w 2098515"/>
                <a:gd name="connsiteY93" fmla="*/ 138351 h 283771"/>
                <a:gd name="connsiteX94" fmla="*/ 664057 w 2098515"/>
                <a:gd name="connsiteY94" fmla="*/ 178601 h 283771"/>
                <a:gd name="connsiteX95" fmla="*/ 674156 w 2098515"/>
                <a:gd name="connsiteY95" fmla="*/ 218996 h 283771"/>
                <a:gd name="connsiteX96" fmla="*/ 702576 w 2098515"/>
                <a:gd name="connsiteY96" fmla="*/ 233855 h 283771"/>
                <a:gd name="connsiteX97" fmla="*/ 931094 w 2098515"/>
                <a:gd name="connsiteY97" fmla="*/ 282617 h 283771"/>
                <a:gd name="connsiteX98" fmla="*/ 887670 w 2098515"/>
                <a:gd name="connsiteY98" fmla="*/ 274827 h 283771"/>
                <a:gd name="connsiteX99" fmla="*/ 854921 w 2098515"/>
                <a:gd name="connsiteY99" fmla="*/ 253043 h 283771"/>
                <a:gd name="connsiteX100" fmla="*/ 834291 w 2098515"/>
                <a:gd name="connsiteY100" fmla="*/ 220150 h 283771"/>
                <a:gd name="connsiteX101" fmla="*/ 827078 w 2098515"/>
                <a:gd name="connsiteY101" fmla="*/ 179034 h 283771"/>
                <a:gd name="connsiteX102" fmla="*/ 834291 w 2098515"/>
                <a:gd name="connsiteY102" fmla="*/ 138495 h 283771"/>
                <a:gd name="connsiteX103" fmla="*/ 854921 w 2098515"/>
                <a:gd name="connsiteY103" fmla="*/ 105747 h 283771"/>
                <a:gd name="connsiteX104" fmla="*/ 886515 w 2098515"/>
                <a:gd name="connsiteY104" fmla="*/ 84107 h 283771"/>
                <a:gd name="connsiteX105" fmla="*/ 927343 w 2098515"/>
                <a:gd name="connsiteY105" fmla="*/ 76317 h 283771"/>
                <a:gd name="connsiteX106" fmla="*/ 964852 w 2098515"/>
                <a:gd name="connsiteY106" fmla="*/ 82809 h 283771"/>
                <a:gd name="connsiteX107" fmla="*/ 993994 w 2098515"/>
                <a:gd name="connsiteY107" fmla="*/ 100698 h 283771"/>
                <a:gd name="connsiteX108" fmla="*/ 1020106 w 2098515"/>
                <a:gd name="connsiteY108" fmla="*/ 141237 h 283771"/>
                <a:gd name="connsiteX109" fmla="*/ 1028329 w 2098515"/>
                <a:gd name="connsiteY109" fmla="*/ 195481 h 283771"/>
                <a:gd name="connsiteX110" fmla="*/ 888102 w 2098515"/>
                <a:gd name="connsiteY110" fmla="*/ 195481 h 283771"/>
                <a:gd name="connsiteX111" fmla="*/ 901808 w 2098515"/>
                <a:gd name="connsiteY111" fmla="*/ 226786 h 283771"/>
                <a:gd name="connsiteX112" fmla="*/ 931959 w 2098515"/>
                <a:gd name="connsiteY112" fmla="*/ 238183 h 283771"/>
                <a:gd name="connsiteX113" fmla="*/ 952157 w 2098515"/>
                <a:gd name="connsiteY113" fmla="*/ 232990 h 283771"/>
                <a:gd name="connsiteX114" fmla="*/ 964275 w 2098515"/>
                <a:gd name="connsiteY114" fmla="*/ 218707 h 283771"/>
                <a:gd name="connsiteX115" fmla="*/ 1024867 w 2098515"/>
                <a:gd name="connsiteY115" fmla="*/ 218707 h 283771"/>
                <a:gd name="connsiteX116" fmla="*/ 1013470 w 2098515"/>
                <a:gd name="connsiteY116" fmla="*/ 244098 h 283771"/>
                <a:gd name="connsiteX117" fmla="*/ 992118 w 2098515"/>
                <a:gd name="connsiteY117" fmla="*/ 264873 h 283771"/>
                <a:gd name="connsiteX118" fmla="*/ 964852 w 2098515"/>
                <a:gd name="connsiteY118" fmla="*/ 278145 h 283771"/>
                <a:gd name="connsiteX119" fmla="*/ 931094 w 2098515"/>
                <a:gd name="connsiteY119" fmla="*/ 282762 h 283771"/>
                <a:gd name="connsiteX120" fmla="*/ 965429 w 2098515"/>
                <a:gd name="connsiteY120" fmla="*/ 158548 h 283771"/>
                <a:gd name="connsiteX121" fmla="*/ 953599 w 2098515"/>
                <a:gd name="connsiteY121" fmla="*/ 130705 h 283771"/>
                <a:gd name="connsiteX122" fmla="*/ 928497 w 2098515"/>
                <a:gd name="connsiteY122" fmla="*/ 120462 h 283771"/>
                <a:gd name="connsiteX123" fmla="*/ 901086 w 2098515"/>
                <a:gd name="connsiteY123" fmla="*/ 130705 h 283771"/>
                <a:gd name="connsiteX124" fmla="*/ 888535 w 2098515"/>
                <a:gd name="connsiteY124" fmla="*/ 158548 h 283771"/>
                <a:gd name="connsiteX125" fmla="*/ 965429 w 2098515"/>
                <a:gd name="connsiteY125" fmla="*/ 158548 h 283771"/>
                <a:gd name="connsiteX126" fmla="*/ 1051123 w 2098515"/>
                <a:gd name="connsiteY126" fmla="*/ 2020 h 283771"/>
                <a:gd name="connsiteX127" fmla="*/ 1113158 w 2098515"/>
                <a:gd name="connsiteY127" fmla="*/ 2020 h 283771"/>
                <a:gd name="connsiteX128" fmla="*/ 1113158 w 2098515"/>
                <a:gd name="connsiteY128" fmla="*/ 106036 h 283771"/>
                <a:gd name="connsiteX129" fmla="*/ 1114312 w 2098515"/>
                <a:gd name="connsiteY129" fmla="*/ 106036 h 283771"/>
                <a:gd name="connsiteX130" fmla="*/ 1138260 w 2098515"/>
                <a:gd name="connsiteY130" fmla="*/ 84107 h 283771"/>
                <a:gd name="connsiteX131" fmla="*/ 1172162 w 2098515"/>
                <a:gd name="connsiteY131" fmla="*/ 76317 h 283771"/>
                <a:gd name="connsiteX132" fmla="*/ 1200727 w 2098515"/>
                <a:gd name="connsiteY132" fmla="*/ 81799 h 283771"/>
                <a:gd name="connsiteX133" fmla="*/ 1222079 w 2098515"/>
                <a:gd name="connsiteY133" fmla="*/ 97091 h 283771"/>
                <a:gd name="connsiteX134" fmla="*/ 1235495 w 2098515"/>
                <a:gd name="connsiteY134" fmla="*/ 120318 h 283771"/>
                <a:gd name="connsiteX135" fmla="*/ 1240112 w 2098515"/>
                <a:gd name="connsiteY135" fmla="*/ 150181 h 283771"/>
                <a:gd name="connsiteX136" fmla="*/ 1240112 w 2098515"/>
                <a:gd name="connsiteY136" fmla="*/ 276991 h 283771"/>
                <a:gd name="connsiteX137" fmla="*/ 1178077 w 2098515"/>
                <a:gd name="connsiteY137" fmla="*/ 276991 h 283771"/>
                <a:gd name="connsiteX138" fmla="*/ 1178077 w 2098515"/>
                <a:gd name="connsiteY138" fmla="*/ 162732 h 283771"/>
                <a:gd name="connsiteX139" fmla="*/ 1170431 w 2098515"/>
                <a:gd name="connsiteY139" fmla="*/ 137630 h 283771"/>
                <a:gd name="connsiteX140" fmla="*/ 1147637 w 2098515"/>
                <a:gd name="connsiteY140" fmla="*/ 128108 h 283771"/>
                <a:gd name="connsiteX141" fmla="*/ 1122679 w 2098515"/>
                <a:gd name="connsiteY141" fmla="*/ 139505 h 283771"/>
                <a:gd name="connsiteX142" fmla="*/ 1113302 w 2098515"/>
                <a:gd name="connsiteY142" fmla="*/ 169224 h 283771"/>
                <a:gd name="connsiteX143" fmla="*/ 1113302 w 2098515"/>
                <a:gd name="connsiteY143" fmla="*/ 276991 h 283771"/>
                <a:gd name="connsiteX144" fmla="*/ 1051267 w 2098515"/>
                <a:gd name="connsiteY144" fmla="*/ 276991 h 283771"/>
                <a:gd name="connsiteX145" fmla="*/ 1051267 w 2098515"/>
                <a:gd name="connsiteY145" fmla="*/ 1875 h 283771"/>
                <a:gd name="connsiteX146" fmla="*/ 1363892 w 2098515"/>
                <a:gd name="connsiteY146" fmla="*/ 283194 h 283771"/>
                <a:gd name="connsiteX147" fmla="*/ 1321045 w 2098515"/>
                <a:gd name="connsiteY147" fmla="*/ 275404 h 283771"/>
                <a:gd name="connsiteX148" fmla="*/ 1288008 w 2098515"/>
                <a:gd name="connsiteY148" fmla="*/ 253620 h 283771"/>
                <a:gd name="connsiteX149" fmla="*/ 1266945 w 2098515"/>
                <a:gd name="connsiteY149" fmla="*/ 220871 h 283771"/>
                <a:gd name="connsiteX150" fmla="*/ 1259443 w 2098515"/>
                <a:gd name="connsiteY150" fmla="*/ 179900 h 283771"/>
                <a:gd name="connsiteX151" fmla="*/ 1266945 w 2098515"/>
                <a:gd name="connsiteY151" fmla="*/ 138928 h 283771"/>
                <a:gd name="connsiteX152" fmla="*/ 1288008 w 2098515"/>
                <a:gd name="connsiteY152" fmla="*/ 106180 h 283771"/>
                <a:gd name="connsiteX153" fmla="*/ 1321045 w 2098515"/>
                <a:gd name="connsiteY153" fmla="*/ 84540 h 283771"/>
                <a:gd name="connsiteX154" fmla="*/ 1363892 w 2098515"/>
                <a:gd name="connsiteY154" fmla="*/ 76750 h 283771"/>
                <a:gd name="connsiteX155" fmla="*/ 1406739 w 2098515"/>
                <a:gd name="connsiteY155" fmla="*/ 84540 h 283771"/>
                <a:gd name="connsiteX156" fmla="*/ 1439487 w 2098515"/>
                <a:gd name="connsiteY156" fmla="*/ 106180 h 283771"/>
                <a:gd name="connsiteX157" fmla="*/ 1460406 w 2098515"/>
                <a:gd name="connsiteY157" fmla="*/ 138928 h 283771"/>
                <a:gd name="connsiteX158" fmla="*/ 1467764 w 2098515"/>
                <a:gd name="connsiteY158" fmla="*/ 179900 h 283771"/>
                <a:gd name="connsiteX159" fmla="*/ 1460406 w 2098515"/>
                <a:gd name="connsiteY159" fmla="*/ 220871 h 283771"/>
                <a:gd name="connsiteX160" fmla="*/ 1439487 w 2098515"/>
                <a:gd name="connsiteY160" fmla="*/ 253620 h 283771"/>
                <a:gd name="connsiteX161" fmla="*/ 1406739 w 2098515"/>
                <a:gd name="connsiteY161" fmla="*/ 275404 h 283771"/>
                <a:gd name="connsiteX162" fmla="*/ 1363892 w 2098515"/>
                <a:gd name="connsiteY162" fmla="*/ 283194 h 283771"/>
                <a:gd name="connsiteX163" fmla="*/ 1363459 w 2098515"/>
                <a:gd name="connsiteY163" fmla="*/ 239049 h 283771"/>
                <a:gd name="connsiteX164" fmla="*/ 1394477 w 2098515"/>
                <a:gd name="connsiteY164" fmla="*/ 222891 h 283771"/>
                <a:gd name="connsiteX165" fmla="*/ 1405008 w 2098515"/>
                <a:gd name="connsiteY165" fmla="*/ 180044 h 283771"/>
                <a:gd name="connsiteX166" fmla="*/ 1394477 w 2098515"/>
                <a:gd name="connsiteY166" fmla="*/ 137053 h 283771"/>
                <a:gd name="connsiteX167" fmla="*/ 1363459 w 2098515"/>
                <a:gd name="connsiteY167" fmla="*/ 120606 h 283771"/>
                <a:gd name="connsiteX168" fmla="*/ 1332586 w 2098515"/>
                <a:gd name="connsiteY168" fmla="*/ 137053 h 283771"/>
                <a:gd name="connsiteX169" fmla="*/ 1322343 w 2098515"/>
                <a:gd name="connsiteY169" fmla="*/ 180044 h 283771"/>
                <a:gd name="connsiteX170" fmla="*/ 1332586 w 2098515"/>
                <a:gd name="connsiteY170" fmla="*/ 222891 h 283771"/>
                <a:gd name="connsiteX171" fmla="*/ 1363459 w 2098515"/>
                <a:gd name="connsiteY171" fmla="*/ 239049 h 283771"/>
                <a:gd name="connsiteX172" fmla="*/ 1555910 w 2098515"/>
                <a:gd name="connsiteY172" fmla="*/ 282906 h 283771"/>
                <a:gd name="connsiteX173" fmla="*/ 1504696 w 2098515"/>
                <a:gd name="connsiteY173" fmla="*/ 262853 h 283771"/>
                <a:gd name="connsiteX174" fmla="*/ 1487384 w 2098515"/>
                <a:gd name="connsiteY174" fmla="*/ 210051 h 283771"/>
                <a:gd name="connsiteX175" fmla="*/ 1487384 w 2098515"/>
                <a:gd name="connsiteY175" fmla="*/ 82087 h 283771"/>
                <a:gd name="connsiteX176" fmla="*/ 1549130 w 2098515"/>
                <a:gd name="connsiteY176" fmla="*/ 82087 h 283771"/>
                <a:gd name="connsiteX177" fmla="*/ 1549130 w 2098515"/>
                <a:gd name="connsiteY177" fmla="*/ 197212 h 283771"/>
                <a:gd name="connsiteX178" fmla="*/ 1556343 w 2098515"/>
                <a:gd name="connsiteY178" fmla="*/ 221737 h 283771"/>
                <a:gd name="connsiteX179" fmla="*/ 1578416 w 2098515"/>
                <a:gd name="connsiteY179" fmla="*/ 230249 h 283771"/>
                <a:gd name="connsiteX180" fmla="*/ 1603518 w 2098515"/>
                <a:gd name="connsiteY180" fmla="*/ 219429 h 283771"/>
                <a:gd name="connsiteX181" fmla="*/ 1612607 w 2098515"/>
                <a:gd name="connsiteY181" fmla="*/ 191008 h 283771"/>
                <a:gd name="connsiteX182" fmla="*/ 1612607 w 2098515"/>
                <a:gd name="connsiteY182" fmla="*/ 82087 h 283771"/>
                <a:gd name="connsiteX183" fmla="*/ 1674641 w 2098515"/>
                <a:gd name="connsiteY183" fmla="*/ 82087 h 283771"/>
                <a:gd name="connsiteX184" fmla="*/ 1674641 w 2098515"/>
                <a:gd name="connsiteY184" fmla="*/ 277135 h 283771"/>
                <a:gd name="connsiteX185" fmla="*/ 1615204 w 2098515"/>
                <a:gd name="connsiteY185" fmla="*/ 277135 h 283771"/>
                <a:gd name="connsiteX186" fmla="*/ 1615204 w 2098515"/>
                <a:gd name="connsiteY186" fmla="*/ 253187 h 283771"/>
                <a:gd name="connsiteX187" fmla="*/ 1614050 w 2098515"/>
                <a:gd name="connsiteY187" fmla="*/ 253187 h 283771"/>
                <a:gd name="connsiteX188" fmla="*/ 1589813 w 2098515"/>
                <a:gd name="connsiteY188" fmla="*/ 275260 h 283771"/>
                <a:gd name="connsiteX189" fmla="*/ 1555766 w 2098515"/>
                <a:gd name="connsiteY189" fmla="*/ 282906 h 283771"/>
                <a:gd name="connsiteX190" fmla="*/ 1791208 w 2098515"/>
                <a:gd name="connsiteY190" fmla="*/ 283339 h 283771"/>
                <a:gd name="connsiteX191" fmla="*/ 1722971 w 2098515"/>
                <a:gd name="connsiteY191" fmla="*/ 264873 h 283771"/>
                <a:gd name="connsiteX192" fmla="*/ 1696281 w 2098515"/>
                <a:gd name="connsiteY192" fmla="*/ 213947 h 283771"/>
                <a:gd name="connsiteX193" fmla="*/ 1754998 w 2098515"/>
                <a:gd name="connsiteY193" fmla="*/ 213947 h 283771"/>
                <a:gd name="connsiteX194" fmla="*/ 1766106 w 2098515"/>
                <a:gd name="connsiteY194" fmla="*/ 235731 h 283771"/>
                <a:gd name="connsiteX195" fmla="*/ 1790920 w 2098515"/>
                <a:gd name="connsiteY195" fmla="*/ 242944 h 283771"/>
                <a:gd name="connsiteX196" fmla="*/ 1813137 w 2098515"/>
                <a:gd name="connsiteY196" fmla="*/ 238039 h 283771"/>
                <a:gd name="connsiteX197" fmla="*/ 1821360 w 2098515"/>
                <a:gd name="connsiteY197" fmla="*/ 223612 h 283771"/>
                <a:gd name="connsiteX198" fmla="*/ 1817176 w 2098515"/>
                <a:gd name="connsiteY198" fmla="*/ 213081 h 283771"/>
                <a:gd name="connsiteX199" fmla="*/ 1806068 w 2098515"/>
                <a:gd name="connsiteY199" fmla="*/ 206589 h 283771"/>
                <a:gd name="connsiteX200" fmla="*/ 1790199 w 2098515"/>
                <a:gd name="connsiteY200" fmla="*/ 202838 h 283771"/>
                <a:gd name="connsiteX201" fmla="*/ 1771732 w 2098515"/>
                <a:gd name="connsiteY201" fmla="*/ 199664 h 283771"/>
                <a:gd name="connsiteX202" fmla="*/ 1746630 w 2098515"/>
                <a:gd name="connsiteY202" fmla="*/ 194182 h 283771"/>
                <a:gd name="connsiteX203" fmla="*/ 1723980 w 2098515"/>
                <a:gd name="connsiteY203" fmla="*/ 184516 h 283771"/>
                <a:gd name="connsiteX204" fmla="*/ 1707823 w 2098515"/>
                <a:gd name="connsiteY204" fmla="*/ 167204 h 283771"/>
                <a:gd name="connsiteX205" fmla="*/ 1701763 w 2098515"/>
                <a:gd name="connsiteY205" fmla="*/ 139217 h 283771"/>
                <a:gd name="connsiteX206" fmla="*/ 1708400 w 2098515"/>
                <a:gd name="connsiteY206" fmla="*/ 112095 h 283771"/>
                <a:gd name="connsiteX207" fmla="*/ 1726577 w 2098515"/>
                <a:gd name="connsiteY207" fmla="*/ 92475 h 283771"/>
                <a:gd name="connsiteX208" fmla="*/ 1753411 w 2098515"/>
                <a:gd name="connsiteY208" fmla="*/ 80645 h 283771"/>
                <a:gd name="connsiteX209" fmla="*/ 1786015 w 2098515"/>
                <a:gd name="connsiteY209" fmla="*/ 76605 h 283771"/>
                <a:gd name="connsiteX210" fmla="*/ 1849636 w 2098515"/>
                <a:gd name="connsiteY210" fmla="*/ 93340 h 283771"/>
                <a:gd name="connsiteX211" fmla="*/ 1874017 w 2098515"/>
                <a:gd name="connsiteY211" fmla="*/ 139073 h 283771"/>
                <a:gd name="connsiteX212" fmla="*/ 1816888 w 2098515"/>
                <a:gd name="connsiteY212" fmla="*/ 139073 h 283771"/>
                <a:gd name="connsiteX213" fmla="*/ 1806789 w 2098515"/>
                <a:gd name="connsiteY213" fmla="*/ 121039 h 283771"/>
                <a:gd name="connsiteX214" fmla="*/ 1785582 w 2098515"/>
                <a:gd name="connsiteY214" fmla="*/ 116278 h 283771"/>
                <a:gd name="connsiteX215" fmla="*/ 1766395 w 2098515"/>
                <a:gd name="connsiteY215" fmla="*/ 120606 h 283771"/>
                <a:gd name="connsiteX216" fmla="*/ 1758604 w 2098515"/>
                <a:gd name="connsiteY216" fmla="*/ 134167 h 283771"/>
                <a:gd name="connsiteX217" fmla="*/ 1762355 w 2098515"/>
                <a:gd name="connsiteY217" fmla="*/ 142535 h 283771"/>
                <a:gd name="connsiteX218" fmla="*/ 1772598 w 2098515"/>
                <a:gd name="connsiteY218" fmla="*/ 147728 h 283771"/>
                <a:gd name="connsiteX219" fmla="*/ 1787602 w 2098515"/>
                <a:gd name="connsiteY219" fmla="*/ 151335 h 283771"/>
                <a:gd name="connsiteX220" fmla="*/ 1805346 w 2098515"/>
                <a:gd name="connsiteY220" fmla="*/ 154365 h 283771"/>
                <a:gd name="connsiteX221" fmla="*/ 1831459 w 2098515"/>
                <a:gd name="connsiteY221" fmla="*/ 159847 h 283771"/>
                <a:gd name="connsiteX222" fmla="*/ 1855407 w 2098515"/>
                <a:gd name="connsiteY222" fmla="*/ 169945 h 283771"/>
                <a:gd name="connsiteX223" fmla="*/ 1873152 w 2098515"/>
                <a:gd name="connsiteY223" fmla="*/ 188412 h 283771"/>
                <a:gd name="connsiteX224" fmla="*/ 1880076 w 2098515"/>
                <a:gd name="connsiteY224" fmla="*/ 218707 h 283771"/>
                <a:gd name="connsiteX225" fmla="*/ 1873440 w 2098515"/>
                <a:gd name="connsiteY225" fmla="*/ 246839 h 283771"/>
                <a:gd name="connsiteX226" fmla="*/ 1854974 w 2098515"/>
                <a:gd name="connsiteY226" fmla="*/ 267037 h 283771"/>
                <a:gd name="connsiteX227" fmla="*/ 1826842 w 2098515"/>
                <a:gd name="connsiteY227" fmla="*/ 279299 h 283771"/>
                <a:gd name="connsiteX228" fmla="*/ 1791353 w 2098515"/>
                <a:gd name="connsiteY228" fmla="*/ 283483 h 283771"/>
                <a:gd name="connsiteX229" fmla="*/ 2001260 w 2098515"/>
                <a:gd name="connsiteY229" fmla="*/ 283050 h 283771"/>
                <a:gd name="connsiteX230" fmla="*/ 1957836 w 2098515"/>
                <a:gd name="connsiteY230" fmla="*/ 275260 h 283771"/>
                <a:gd name="connsiteX231" fmla="*/ 1925087 w 2098515"/>
                <a:gd name="connsiteY231" fmla="*/ 253476 h 283771"/>
                <a:gd name="connsiteX232" fmla="*/ 1904457 w 2098515"/>
                <a:gd name="connsiteY232" fmla="*/ 220583 h 283771"/>
                <a:gd name="connsiteX233" fmla="*/ 1897244 w 2098515"/>
                <a:gd name="connsiteY233" fmla="*/ 179467 h 283771"/>
                <a:gd name="connsiteX234" fmla="*/ 1904457 w 2098515"/>
                <a:gd name="connsiteY234" fmla="*/ 138928 h 283771"/>
                <a:gd name="connsiteX235" fmla="*/ 1925087 w 2098515"/>
                <a:gd name="connsiteY235" fmla="*/ 106180 h 283771"/>
                <a:gd name="connsiteX236" fmla="*/ 1956682 w 2098515"/>
                <a:gd name="connsiteY236" fmla="*/ 84540 h 283771"/>
                <a:gd name="connsiteX237" fmla="*/ 1997509 w 2098515"/>
                <a:gd name="connsiteY237" fmla="*/ 76750 h 283771"/>
                <a:gd name="connsiteX238" fmla="*/ 2035018 w 2098515"/>
                <a:gd name="connsiteY238" fmla="*/ 83242 h 283771"/>
                <a:gd name="connsiteX239" fmla="*/ 2064160 w 2098515"/>
                <a:gd name="connsiteY239" fmla="*/ 101131 h 283771"/>
                <a:gd name="connsiteX240" fmla="*/ 2090272 w 2098515"/>
                <a:gd name="connsiteY240" fmla="*/ 141669 h 283771"/>
                <a:gd name="connsiteX241" fmla="*/ 2098495 w 2098515"/>
                <a:gd name="connsiteY241" fmla="*/ 195913 h 283771"/>
                <a:gd name="connsiteX242" fmla="*/ 1958269 w 2098515"/>
                <a:gd name="connsiteY242" fmla="*/ 195913 h 283771"/>
                <a:gd name="connsiteX243" fmla="*/ 1971974 w 2098515"/>
                <a:gd name="connsiteY243" fmla="*/ 227219 h 283771"/>
                <a:gd name="connsiteX244" fmla="*/ 2002125 w 2098515"/>
                <a:gd name="connsiteY244" fmla="*/ 238616 h 283771"/>
                <a:gd name="connsiteX245" fmla="*/ 2022323 w 2098515"/>
                <a:gd name="connsiteY245" fmla="*/ 233423 h 283771"/>
                <a:gd name="connsiteX246" fmla="*/ 2034585 w 2098515"/>
                <a:gd name="connsiteY246" fmla="*/ 219140 h 283771"/>
                <a:gd name="connsiteX247" fmla="*/ 2095177 w 2098515"/>
                <a:gd name="connsiteY247" fmla="*/ 219140 h 283771"/>
                <a:gd name="connsiteX248" fmla="*/ 2083780 w 2098515"/>
                <a:gd name="connsiteY248" fmla="*/ 244531 h 283771"/>
                <a:gd name="connsiteX249" fmla="*/ 2062429 w 2098515"/>
                <a:gd name="connsiteY249" fmla="*/ 265305 h 283771"/>
                <a:gd name="connsiteX250" fmla="*/ 2035162 w 2098515"/>
                <a:gd name="connsiteY250" fmla="*/ 278578 h 283771"/>
                <a:gd name="connsiteX251" fmla="*/ 2001404 w 2098515"/>
                <a:gd name="connsiteY251" fmla="*/ 283194 h 283771"/>
                <a:gd name="connsiteX252" fmla="*/ 2035739 w 2098515"/>
                <a:gd name="connsiteY252" fmla="*/ 158981 h 283771"/>
                <a:gd name="connsiteX253" fmla="*/ 2023910 w 2098515"/>
                <a:gd name="connsiteY253" fmla="*/ 131138 h 283771"/>
                <a:gd name="connsiteX254" fmla="*/ 1998807 w 2098515"/>
                <a:gd name="connsiteY254" fmla="*/ 120895 h 283771"/>
                <a:gd name="connsiteX255" fmla="*/ 1971397 w 2098515"/>
                <a:gd name="connsiteY255" fmla="*/ 131138 h 283771"/>
                <a:gd name="connsiteX256" fmla="*/ 1958846 w 2098515"/>
                <a:gd name="connsiteY256" fmla="*/ 158981 h 283771"/>
                <a:gd name="connsiteX257" fmla="*/ 2035739 w 2098515"/>
                <a:gd name="connsiteY257" fmla="*/ 158981 h 28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</a:cxnLst>
              <a:rect l="l" t="t" r="r" b="b"/>
              <a:pathLst>
                <a:path w="2098515" h="283771">
                  <a:moveTo>
                    <a:pt x="129551" y="283771"/>
                  </a:moveTo>
                  <a:cubicBezTo>
                    <a:pt x="109931" y="283771"/>
                    <a:pt x="92475" y="280453"/>
                    <a:pt x="77038" y="273817"/>
                  </a:cubicBezTo>
                  <a:cubicBezTo>
                    <a:pt x="61602" y="267181"/>
                    <a:pt x="48041" y="257804"/>
                    <a:pt x="36644" y="245685"/>
                  </a:cubicBezTo>
                  <a:cubicBezTo>
                    <a:pt x="24670" y="232701"/>
                    <a:pt x="15581" y="217553"/>
                    <a:pt x="9377" y="199953"/>
                  </a:cubicBezTo>
                  <a:cubicBezTo>
                    <a:pt x="3174" y="182497"/>
                    <a:pt x="0" y="163309"/>
                    <a:pt x="0" y="142391"/>
                  </a:cubicBezTo>
                  <a:cubicBezTo>
                    <a:pt x="0" y="121472"/>
                    <a:pt x="3462" y="100986"/>
                    <a:pt x="10531" y="82809"/>
                  </a:cubicBezTo>
                  <a:cubicBezTo>
                    <a:pt x="17456" y="64631"/>
                    <a:pt x="27411" y="49050"/>
                    <a:pt x="40395" y="36211"/>
                  </a:cubicBezTo>
                  <a:cubicBezTo>
                    <a:pt x="51792" y="24814"/>
                    <a:pt x="65208" y="15869"/>
                    <a:pt x="80789" y="9522"/>
                  </a:cubicBezTo>
                  <a:cubicBezTo>
                    <a:pt x="96226" y="3174"/>
                    <a:pt x="113970" y="0"/>
                    <a:pt x="133735" y="0"/>
                  </a:cubicBezTo>
                  <a:cubicBezTo>
                    <a:pt x="151191" y="0"/>
                    <a:pt x="167060" y="2164"/>
                    <a:pt x="180910" y="6636"/>
                  </a:cubicBezTo>
                  <a:cubicBezTo>
                    <a:pt x="194904" y="11108"/>
                    <a:pt x="207022" y="17456"/>
                    <a:pt x="217121" y="25679"/>
                  </a:cubicBezTo>
                  <a:cubicBezTo>
                    <a:pt x="227219" y="33903"/>
                    <a:pt x="235442" y="43857"/>
                    <a:pt x="241646" y="55542"/>
                  </a:cubicBezTo>
                  <a:cubicBezTo>
                    <a:pt x="247849" y="67228"/>
                    <a:pt x="252177" y="80212"/>
                    <a:pt x="254341" y="94350"/>
                  </a:cubicBezTo>
                  <a:lnTo>
                    <a:pt x="188844" y="94350"/>
                  </a:lnTo>
                  <a:cubicBezTo>
                    <a:pt x="186248" y="83242"/>
                    <a:pt x="180621" y="73864"/>
                    <a:pt x="171677" y="66507"/>
                  </a:cubicBezTo>
                  <a:cubicBezTo>
                    <a:pt x="162732" y="59149"/>
                    <a:pt x="150902" y="55398"/>
                    <a:pt x="135899" y="55398"/>
                  </a:cubicBezTo>
                  <a:cubicBezTo>
                    <a:pt x="124646" y="55398"/>
                    <a:pt x="114836" y="57706"/>
                    <a:pt x="106324" y="62034"/>
                  </a:cubicBezTo>
                  <a:cubicBezTo>
                    <a:pt x="97812" y="66507"/>
                    <a:pt x="90743" y="72566"/>
                    <a:pt x="85117" y="80356"/>
                  </a:cubicBezTo>
                  <a:cubicBezTo>
                    <a:pt x="79491" y="88147"/>
                    <a:pt x="75307" y="97235"/>
                    <a:pt x="72566" y="107767"/>
                  </a:cubicBezTo>
                  <a:cubicBezTo>
                    <a:pt x="69825" y="118298"/>
                    <a:pt x="68382" y="129839"/>
                    <a:pt x="68382" y="142246"/>
                  </a:cubicBezTo>
                  <a:cubicBezTo>
                    <a:pt x="68382" y="154653"/>
                    <a:pt x="69969" y="166195"/>
                    <a:pt x="73143" y="176870"/>
                  </a:cubicBezTo>
                  <a:cubicBezTo>
                    <a:pt x="76317" y="187546"/>
                    <a:pt x="80789" y="196779"/>
                    <a:pt x="86704" y="204425"/>
                  </a:cubicBezTo>
                  <a:cubicBezTo>
                    <a:pt x="92619" y="212215"/>
                    <a:pt x="99688" y="218275"/>
                    <a:pt x="108200" y="222458"/>
                  </a:cubicBezTo>
                  <a:cubicBezTo>
                    <a:pt x="116711" y="226786"/>
                    <a:pt x="126233" y="228950"/>
                    <a:pt x="136909" y="228950"/>
                  </a:cubicBezTo>
                  <a:cubicBezTo>
                    <a:pt x="145709" y="228950"/>
                    <a:pt x="153788" y="227652"/>
                    <a:pt x="160712" y="224911"/>
                  </a:cubicBezTo>
                  <a:cubicBezTo>
                    <a:pt x="167637" y="222314"/>
                    <a:pt x="173696" y="218707"/>
                    <a:pt x="178601" y="214235"/>
                  </a:cubicBezTo>
                  <a:cubicBezTo>
                    <a:pt x="183507" y="209763"/>
                    <a:pt x="187546" y="204714"/>
                    <a:pt x="190431" y="198943"/>
                  </a:cubicBezTo>
                  <a:cubicBezTo>
                    <a:pt x="193317" y="193317"/>
                    <a:pt x="195192" y="187402"/>
                    <a:pt x="195913" y="181198"/>
                  </a:cubicBezTo>
                  <a:lnTo>
                    <a:pt x="195913" y="180477"/>
                  </a:lnTo>
                  <a:lnTo>
                    <a:pt x="144843" y="180477"/>
                  </a:lnTo>
                  <a:lnTo>
                    <a:pt x="144843" y="130994"/>
                  </a:lnTo>
                  <a:lnTo>
                    <a:pt x="258381" y="130994"/>
                  </a:lnTo>
                  <a:lnTo>
                    <a:pt x="258381" y="277279"/>
                  </a:lnTo>
                  <a:lnTo>
                    <a:pt x="211206" y="277279"/>
                  </a:lnTo>
                  <a:lnTo>
                    <a:pt x="207455" y="244531"/>
                  </a:lnTo>
                  <a:lnTo>
                    <a:pt x="206733" y="244531"/>
                  </a:lnTo>
                  <a:cubicBezTo>
                    <a:pt x="197789" y="258525"/>
                    <a:pt x="186825" y="268479"/>
                    <a:pt x="173841" y="274394"/>
                  </a:cubicBezTo>
                  <a:cubicBezTo>
                    <a:pt x="160712" y="280309"/>
                    <a:pt x="145997" y="283339"/>
                    <a:pt x="129407" y="283339"/>
                  </a:cubicBezTo>
                  <a:moveTo>
                    <a:pt x="358357" y="282906"/>
                  </a:moveTo>
                  <a:cubicBezTo>
                    <a:pt x="335707" y="282906"/>
                    <a:pt x="318684" y="276270"/>
                    <a:pt x="307143" y="262853"/>
                  </a:cubicBezTo>
                  <a:cubicBezTo>
                    <a:pt x="295601" y="249580"/>
                    <a:pt x="289831" y="231980"/>
                    <a:pt x="289831" y="210051"/>
                  </a:cubicBezTo>
                  <a:lnTo>
                    <a:pt x="289831" y="82087"/>
                  </a:lnTo>
                  <a:lnTo>
                    <a:pt x="351577" y="82087"/>
                  </a:lnTo>
                  <a:lnTo>
                    <a:pt x="351577" y="197212"/>
                  </a:lnTo>
                  <a:cubicBezTo>
                    <a:pt x="351577" y="207887"/>
                    <a:pt x="354029" y="216111"/>
                    <a:pt x="358790" y="221737"/>
                  </a:cubicBezTo>
                  <a:cubicBezTo>
                    <a:pt x="363551" y="227508"/>
                    <a:pt x="371052" y="230249"/>
                    <a:pt x="380863" y="230249"/>
                  </a:cubicBezTo>
                  <a:cubicBezTo>
                    <a:pt x="391538" y="230249"/>
                    <a:pt x="399906" y="226642"/>
                    <a:pt x="405965" y="219429"/>
                  </a:cubicBezTo>
                  <a:cubicBezTo>
                    <a:pt x="412024" y="212215"/>
                    <a:pt x="415054" y="202694"/>
                    <a:pt x="415054" y="191008"/>
                  </a:cubicBezTo>
                  <a:lnTo>
                    <a:pt x="415054" y="82087"/>
                  </a:lnTo>
                  <a:lnTo>
                    <a:pt x="477088" y="82087"/>
                  </a:lnTo>
                  <a:lnTo>
                    <a:pt x="477088" y="277135"/>
                  </a:lnTo>
                  <a:lnTo>
                    <a:pt x="417650" y="277135"/>
                  </a:lnTo>
                  <a:lnTo>
                    <a:pt x="417650" y="253187"/>
                  </a:lnTo>
                  <a:lnTo>
                    <a:pt x="416496" y="253187"/>
                  </a:lnTo>
                  <a:cubicBezTo>
                    <a:pt x="409427" y="262853"/>
                    <a:pt x="401348" y="270210"/>
                    <a:pt x="392260" y="275260"/>
                  </a:cubicBezTo>
                  <a:cubicBezTo>
                    <a:pt x="383315" y="280309"/>
                    <a:pt x="371918" y="282906"/>
                    <a:pt x="358213" y="282906"/>
                  </a:cubicBezTo>
                  <a:moveTo>
                    <a:pt x="512433" y="2164"/>
                  </a:moveTo>
                  <a:lnTo>
                    <a:pt x="574468" y="2164"/>
                  </a:lnTo>
                  <a:lnTo>
                    <a:pt x="574468" y="55110"/>
                  </a:lnTo>
                  <a:lnTo>
                    <a:pt x="512433" y="55110"/>
                  </a:lnTo>
                  <a:lnTo>
                    <a:pt x="512433" y="2164"/>
                  </a:lnTo>
                  <a:close/>
                  <a:moveTo>
                    <a:pt x="512433" y="82087"/>
                  </a:moveTo>
                  <a:lnTo>
                    <a:pt x="574468" y="82087"/>
                  </a:lnTo>
                  <a:lnTo>
                    <a:pt x="574468" y="277135"/>
                  </a:lnTo>
                  <a:lnTo>
                    <a:pt x="512433" y="277135"/>
                  </a:lnTo>
                  <a:lnTo>
                    <a:pt x="512433" y="82087"/>
                  </a:lnTo>
                  <a:close/>
                  <a:moveTo>
                    <a:pt x="686563" y="283194"/>
                  </a:moveTo>
                  <a:cubicBezTo>
                    <a:pt x="674156" y="283194"/>
                    <a:pt x="662614" y="280886"/>
                    <a:pt x="652227" y="276125"/>
                  </a:cubicBezTo>
                  <a:cubicBezTo>
                    <a:pt x="641840" y="271365"/>
                    <a:pt x="632751" y="264584"/>
                    <a:pt x="625249" y="255784"/>
                  </a:cubicBezTo>
                  <a:cubicBezTo>
                    <a:pt x="617603" y="246839"/>
                    <a:pt x="611688" y="236019"/>
                    <a:pt x="607505" y="223180"/>
                  </a:cubicBezTo>
                  <a:cubicBezTo>
                    <a:pt x="603321" y="210340"/>
                    <a:pt x="601157" y="195769"/>
                    <a:pt x="601157" y="179611"/>
                  </a:cubicBezTo>
                  <a:cubicBezTo>
                    <a:pt x="601157" y="164319"/>
                    <a:pt x="603321" y="150470"/>
                    <a:pt x="607505" y="137630"/>
                  </a:cubicBezTo>
                  <a:cubicBezTo>
                    <a:pt x="611688" y="124934"/>
                    <a:pt x="617603" y="114114"/>
                    <a:pt x="624961" y="105026"/>
                  </a:cubicBezTo>
                  <a:cubicBezTo>
                    <a:pt x="632463" y="96081"/>
                    <a:pt x="641407" y="89012"/>
                    <a:pt x="651794" y="83819"/>
                  </a:cubicBezTo>
                  <a:cubicBezTo>
                    <a:pt x="662182" y="78769"/>
                    <a:pt x="673723" y="76172"/>
                    <a:pt x="686418" y="76172"/>
                  </a:cubicBezTo>
                  <a:cubicBezTo>
                    <a:pt x="700124" y="76172"/>
                    <a:pt x="711232" y="78769"/>
                    <a:pt x="719600" y="83963"/>
                  </a:cubicBezTo>
                  <a:cubicBezTo>
                    <a:pt x="727967" y="89156"/>
                    <a:pt x="735036" y="95793"/>
                    <a:pt x="740951" y="104016"/>
                  </a:cubicBezTo>
                  <a:lnTo>
                    <a:pt x="742105" y="104016"/>
                  </a:lnTo>
                  <a:lnTo>
                    <a:pt x="742105" y="1875"/>
                  </a:lnTo>
                  <a:lnTo>
                    <a:pt x="804139" y="1875"/>
                  </a:lnTo>
                  <a:lnTo>
                    <a:pt x="804139" y="276991"/>
                  </a:lnTo>
                  <a:lnTo>
                    <a:pt x="744702" y="276991"/>
                  </a:lnTo>
                  <a:lnTo>
                    <a:pt x="744702" y="250735"/>
                  </a:lnTo>
                  <a:lnTo>
                    <a:pt x="743981" y="250735"/>
                  </a:lnTo>
                  <a:cubicBezTo>
                    <a:pt x="738210" y="260833"/>
                    <a:pt x="730275" y="268768"/>
                    <a:pt x="720609" y="274538"/>
                  </a:cubicBezTo>
                  <a:cubicBezTo>
                    <a:pt x="710799" y="280309"/>
                    <a:pt x="699547" y="283050"/>
                    <a:pt x="686563" y="283050"/>
                  </a:cubicBezTo>
                  <a:moveTo>
                    <a:pt x="702576" y="233855"/>
                  </a:moveTo>
                  <a:cubicBezTo>
                    <a:pt x="715560" y="233855"/>
                    <a:pt x="725659" y="228806"/>
                    <a:pt x="732872" y="218563"/>
                  </a:cubicBezTo>
                  <a:cubicBezTo>
                    <a:pt x="740085" y="208465"/>
                    <a:pt x="743692" y="195336"/>
                    <a:pt x="743692" y="179323"/>
                  </a:cubicBezTo>
                  <a:cubicBezTo>
                    <a:pt x="743692" y="171244"/>
                    <a:pt x="742826" y="163598"/>
                    <a:pt x="741239" y="156673"/>
                  </a:cubicBezTo>
                  <a:cubicBezTo>
                    <a:pt x="739653" y="149748"/>
                    <a:pt x="737056" y="143689"/>
                    <a:pt x="733593" y="138784"/>
                  </a:cubicBezTo>
                  <a:cubicBezTo>
                    <a:pt x="730131" y="133879"/>
                    <a:pt x="725947" y="129984"/>
                    <a:pt x="721042" y="127098"/>
                  </a:cubicBezTo>
                  <a:cubicBezTo>
                    <a:pt x="716137" y="124357"/>
                    <a:pt x="710222" y="122915"/>
                    <a:pt x="703297" y="122915"/>
                  </a:cubicBezTo>
                  <a:cubicBezTo>
                    <a:pt x="690891" y="122915"/>
                    <a:pt x="681225" y="128108"/>
                    <a:pt x="674300" y="138351"/>
                  </a:cubicBezTo>
                  <a:cubicBezTo>
                    <a:pt x="667375" y="148594"/>
                    <a:pt x="664057" y="162011"/>
                    <a:pt x="664057" y="178601"/>
                  </a:cubicBezTo>
                  <a:cubicBezTo>
                    <a:pt x="664057" y="195192"/>
                    <a:pt x="667375" y="209042"/>
                    <a:pt x="674156" y="218996"/>
                  </a:cubicBezTo>
                  <a:cubicBezTo>
                    <a:pt x="680936" y="228950"/>
                    <a:pt x="690314" y="233855"/>
                    <a:pt x="702576" y="233855"/>
                  </a:cubicBezTo>
                  <a:moveTo>
                    <a:pt x="931094" y="282617"/>
                  </a:moveTo>
                  <a:cubicBezTo>
                    <a:pt x="915080" y="282617"/>
                    <a:pt x="900654" y="280021"/>
                    <a:pt x="887670" y="274827"/>
                  </a:cubicBezTo>
                  <a:cubicBezTo>
                    <a:pt x="874686" y="269633"/>
                    <a:pt x="863721" y="262420"/>
                    <a:pt x="854921" y="253043"/>
                  </a:cubicBezTo>
                  <a:cubicBezTo>
                    <a:pt x="845977" y="243810"/>
                    <a:pt x="839196" y="232845"/>
                    <a:pt x="834291" y="220150"/>
                  </a:cubicBezTo>
                  <a:cubicBezTo>
                    <a:pt x="829530" y="207455"/>
                    <a:pt x="827078" y="193749"/>
                    <a:pt x="827078" y="179034"/>
                  </a:cubicBezTo>
                  <a:cubicBezTo>
                    <a:pt x="827078" y="164319"/>
                    <a:pt x="829530" y="151047"/>
                    <a:pt x="834291" y="138495"/>
                  </a:cubicBezTo>
                  <a:cubicBezTo>
                    <a:pt x="839052" y="125944"/>
                    <a:pt x="845977" y="114980"/>
                    <a:pt x="854921" y="105747"/>
                  </a:cubicBezTo>
                  <a:cubicBezTo>
                    <a:pt x="863866" y="96514"/>
                    <a:pt x="874397" y="89301"/>
                    <a:pt x="886515" y="84107"/>
                  </a:cubicBezTo>
                  <a:cubicBezTo>
                    <a:pt x="898634" y="78914"/>
                    <a:pt x="912339" y="76317"/>
                    <a:pt x="927343" y="76317"/>
                  </a:cubicBezTo>
                  <a:cubicBezTo>
                    <a:pt x="941337" y="76317"/>
                    <a:pt x="953888" y="78481"/>
                    <a:pt x="964852" y="82809"/>
                  </a:cubicBezTo>
                  <a:cubicBezTo>
                    <a:pt x="975960" y="87137"/>
                    <a:pt x="985626" y="93052"/>
                    <a:pt x="993994" y="100698"/>
                  </a:cubicBezTo>
                  <a:cubicBezTo>
                    <a:pt x="1005679" y="111373"/>
                    <a:pt x="1014335" y="124934"/>
                    <a:pt x="1020106" y="141237"/>
                  </a:cubicBezTo>
                  <a:cubicBezTo>
                    <a:pt x="1025877" y="157683"/>
                    <a:pt x="1028473" y="175716"/>
                    <a:pt x="1028329" y="195481"/>
                  </a:cubicBezTo>
                  <a:lnTo>
                    <a:pt x="888102" y="195481"/>
                  </a:lnTo>
                  <a:cubicBezTo>
                    <a:pt x="890122" y="208753"/>
                    <a:pt x="894739" y="219140"/>
                    <a:pt x="901808" y="226786"/>
                  </a:cubicBezTo>
                  <a:cubicBezTo>
                    <a:pt x="908877" y="234432"/>
                    <a:pt x="918975" y="238183"/>
                    <a:pt x="931959" y="238183"/>
                  </a:cubicBezTo>
                  <a:cubicBezTo>
                    <a:pt x="940038" y="238183"/>
                    <a:pt x="946819" y="236452"/>
                    <a:pt x="952157" y="232990"/>
                  </a:cubicBezTo>
                  <a:cubicBezTo>
                    <a:pt x="957494" y="229527"/>
                    <a:pt x="961534" y="224767"/>
                    <a:pt x="964275" y="218707"/>
                  </a:cubicBezTo>
                  <a:lnTo>
                    <a:pt x="1024867" y="218707"/>
                  </a:lnTo>
                  <a:cubicBezTo>
                    <a:pt x="1022847" y="227652"/>
                    <a:pt x="1018952" y="236019"/>
                    <a:pt x="1013470" y="244098"/>
                  </a:cubicBezTo>
                  <a:cubicBezTo>
                    <a:pt x="1007843" y="252033"/>
                    <a:pt x="1000774" y="258958"/>
                    <a:pt x="992118" y="264873"/>
                  </a:cubicBezTo>
                  <a:cubicBezTo>
                    <a:pt x="984039" y="270787"/>
                    <a:pt x="974951" y="275115"/>
                    <a:pt x="964852" y="278145"/>
                  </a:cubicBezTo>
                  <a:cubicBezTo>
                    <a:pt x="954898" y="281175"/>
                    <a:pt x="943645" y="282762"/>
                    <a:pt x="931094" y="282762"/>
                  </a:cubicBezTo>
                  <a:moveTo>
                    <a:pt x="965429" y="158548"/>
                  </a:moveTo>
                  <a:cubicBezTo>
                    <a:pt x="964131" y="146863"/>
                    <a:pt x="960235" y="137630"/>
                    <a:pt x="953599" y="130705"/>
                  </a:cubicBezTo>
                  <a:cubicBezTo>
                    <a:pt x="946963" y="123925"/>
                    <a:pt x="938596" y="120462"/>
                    <a:pt x="928497" y="120462"/>
                  </a:cubicBezTo>
                  <a:cubicBezTo>
                    <a:pt x="916523" y="120462"/>
                    <a:pt x="907434" y="123925"/>
                    <a:pt x="901086" y="130705"/>
                  </a:cubicBezTo>
                  <a:cubicBezTo>
                    <a:pt x="894739" y="137630"/>
                    <a:pt x="890555" y="146863"/>
                    <a:pt x="888535" y="158548"/>
                  </a:cubicBezTo>
                  <a:lnTo>
                    <a:pt x="965429" y="158548"/>
                  </a:lnTo>
                  <a:close/>
                  <a:moveTo>
                    <a:pt x="1051123" y="2020"/>
                  </a:moveTo>
                  <a:lnTo>
                    <a:pt x="1113158" y="2020"/>
                  </a:lnTo>
                  <a:lnTo>
                    <a:pt x="1113158" y="106036"/>
                  </a:lnTo>
                  <a:lnTo>
                    <a:pt x="1114312" y="106036"/>
                  </a:lnTo>
                  <a:cubicBezTo>
                    <a:pt x="1121381" y="96658"/>
                    <a:pt x="1129460" y="89301"/>
                    <a:pt x="1138260" y="84107"/>
                  </a:cubicBezTo>
                  <a:cubicBezTo>
                    <a:pt x="1147204" y="78914"/>
                    <a:pt x="1158457" y="76317"/>
                    <a:pt x="1172162" y="76317"/>
                  </a:cubicBezTo>
                  <a:cubicBezTo>
                    <a:pt x="1182838" y="76317"/>
                    <a:pt x="1192360" y="78192"/>
                    <a:pt x="1200727" y="81799"/>
                  </a:cubicBezTo>
                  <a:cubicBezTo>
                    <a:pt x="1209095" y="85406"/>
                    <a:pt x="1216164" y="90599"/>
                    <a:pt x="1222079" y="97091"/>
                  </a:cubicBezTo>
                  <a:cubicBezTo>
                    <a:pt x="1227993" y="103583"/>
                    <a:pt x="1232321" y="111373"/>
                    <a:pt x="1235495" y="120318"/>
                  </a:cubicBezTo>
                  <a:cubicBezTo>
                    <a:pt x="1238525" y="129262"/>
                    <a:pt x="1240112" y="139361"/>
                    <a:pt x="1240112" y="150181"/>
                  </a:cubicBezTo>
                  <a:lnTo>
                    <a:pt x="1240112" y="276991"/>
                  </a:lnTo>
                  <a:lnTo>
                    <a:pt x="1178077" y="276991"/>
                  </a:lnTo>
                  <a:lnTo>
                    <a:pt x="1178077" y="162732"/>
                  </a:lnTo>
                  <a:cubicBezTo>
                    <a:pt x="1178077" y="152345"/>
                    <a:pt x="1175481" y="143978"/>
                    <a:pt x="1170431" y="137630"/>
                  </a:cubicBezTo>
                  <a:cubicBezTo>
                    <a:pt x="1165382" y="131282"/>
                    <a:pt x="1157736" y="128108"/>
                    <a:pt x="1147637" y="128108"/>
                  </a:cubicBezTo>
                  <a:cubicBezTo>
                    <a:pt x="1137539" y="128108"/>
                    <a:pt x="1128883" y="131859"/>
                    <a:pt x="1122679" y="139505"/>
                  </a:cubicBezTo>
                  <a:cubicBezTo>
                    <a:pt x="1116476" y="147151"/>
                    <a:pt x="1113302" y="157106"/>
                    <a:pt x="1113302" y="169224"/>
                  </a:cubicBezTo>
                  <a:lnTo>
                    <a:pt x="1113302" y="276991"/>
                  </a:lnTo>
                  <a:lnTo>
                    <a:pt x="1051267" y="276991"/>
                  </a:lnTo>
                  <a:lnTo>
                    <a:pt x="1051267" y="1875"/>
                  </a:lnTo>
                  <a:close/>
                  <a:moveTo>
                    <a:pt x="1363892" y="283194"/>
                  </a:moveTo>
                  <a:cubicBezTo>
                    <a:pt x="1348167" y="283194"/>
                    <a:pt x="1333885" y="280598"/>
                    <a:pt x="1321045" y="275404"/>
                  </a:cubicBezTo>
                  <a:cubicBezTo>
                    <a:pt x="1308205" y="270210"/>
                    <a:pt x="1297241" y="262997"/>
                    <a:pt x="1288008" y="253620"/>
                  </a:cubicBezTo>
                  <a:cubicBezTo>
                    <a:pt x="1278919" y="244387"/>
                    <a:pt x="1271850" y="233423"/>
                    <a:pt x="1266945" y="220871"/>
                  </a:cubicBezTo>
                  <a:cubicBezTo>
                    <a:pt x="1262040" y="208320"/>
                    <a:pt x="1259443" y="194615"/>
                    <a:pt x="1259443" y="179900"/>
                  </a:cubicBezTo>
                  <a:cubicBezTo>
                    <a:pt x="1259443" y="165185"/>
                    <a:pt x="1261896" y="151479"/>
                    <a:pt x="1266945" y="138928"/>
                  </a:cubicBezTo>
                  <a:cubicBezTo>
                    <a:pt x="1271850" y="126377"/>
                    <a:pt x="1278919" y="115413"/>
                    <a:pt x="1288008" y="106180"/>
                  </a:cubicBezTo>
                  <a:cubicBezTo>
                    <a:pt x="1297097" y="96947"/>
                    <a:pt x="1308205" y="89734"/>
                    <a:pt x="1321045" y="84540"/>
                  </a:cubicBezTo>
                  <a:cubicBezTo>
                    <a:pt x="1333885" y="79346"/>
                    <a:pt x="1348167" y="76750"/>
                    <a:pt x="1363892" y="76750"/>
                  </a:cubicBezTo>
                  <a:cubicBezTo>
                    <a:pt x="1379617" y="76750"/>
                    <a:pt x="1393900" y="79346"/>
                    <a:pt x="1406739" y="84540"/>
                  </a:cubicBezTo>
                  <a:cubicBezTo>
                    <a:pt x="1419579" y="89734"/>
                    <a:pt x="1430543" y="96947"/>
                    <a:pt x="1439487" y="106180"/>
                  </a:cubicBezTo>
                  <a:cubicBezTo>
                    <a:pt x="1448432" y="115413"/>
                    <a:pt x="1455501" y="126377"/>
                    <a:pt x="1460406" y="138928"/>
                  </a:cubicBezTo>
                  <a:cubicBezTo>
                    <a:pt x="1465311" y="151479"/>
                    <a:pt x="1467764" y="165185"/>
                    <a:pt x="1467764" y="179900"/>
                  </a:cubicBezTo>
                  <a:cubicBezTo>
                    <a:pt x="1467764" y="194615"/>
                    <a:pt x="1465311" y="208320"/>
                    <a:pt x="1460406" y="220871"/>
                  </a:cubicBezTo>
                  <a:cubicBezTo>
                    <a:pt x="1455501" y="233423"/>
                    <a:pt x="1448432" y="244387"/>
                    <a:pt x="1439487" y="253620"/>
                  </a:cubicBezTo>
                  <a:cubicBezTo>
                    <a:pt x="1430543" y="262853"/>
                    <a:pt x="1419579" y="270066"/>
                    <a:pt x="1406739" y="275404"/>
                  </a:cubicBezTo>
                  <a:cubicBezTo>
                    <a:pt x="1393900" y="280598"/>
                    <a:pt x="1379617" y="283194"/>
                    <a:pt x="1363892" y="283194"/>
                  </a:cubicBezTo>
                  <a:moveTo>
                    <a:pt x="1363459" y="239049"/>
                  </a:moveTo>
                  <a:cubicBezTo>
                    <a:pt x="1377165" y="239049"/>
                    <a:pt x="1387552" y="233711"/>
                    <a:pt x="1394477" y="222891"/>
                  </a:cubicBezTo>
                  <a:cubicBezTo>
                    <a:pt x="1401546" y="212071"/>
                    <a:pt x="1405008" y="197789"/>
                    <a:pt x="1405008" y="180044"/>
                  </a:cubicBezTo>
                  <a:cubicBezTo>
                    <a:pt x="1405008" y="162299"/>
                    <a:pt x="1401546" y="147873"/>
                    <a:pt x="1394477" y="137053"/>
                  </a:cubicBezTo>
                  <a:cubicBezTo>
                    <a:pt x="1387552" y="126089"/>
                    <a:pt x="1377165" y="120606"/>
                    <a:pt x="1363459" y="120606"/>
                  </a:cubicBezTo>
                  <a:cubicBezTo>
                    <a:pt x="1349754" y="120606"/>
                    <a:pt x="1339511" y="126089"/>
                    <a:pt x="1332586" y="137053"/>
                  </a:cubicBezTo>
                  <a:cubicBezTo>
                    <a:pt x="1325806" y="148017"/>
                    <a:pt x="1322343" y="162299"/>
                    <a:pt x="1322343" y="180044"/>
                  </a:cubicBezTo>
                  <a:cubicBezTo>
                    <a:pt x="1322343" y="197789"/>
                    <a:pt x="1325806" y="212071"/>
                    <a:pt x="1332586" y="222891"/>
                  </a:cubicBezTo>
                  <a:cubicBezTo>
                    <a:pt x="1339511" y="233711"/>
                    <a:pt x="1349754" y="239049"/>
                    <a:pt x="1363459" y="239049"/>
                  </a:cubicBezTo>
                  <a:moveTo>
                    <a:pt x="1555910" y="282906"/>
                  </a:moveTo>
                  <a:cubicBezTo>
                    <a:pt x="1533260" y="282906"/>
                    <a:pt x="1516237" y="276270"/>
                    <a:pt x="1504696" y="262853"/>
                  </a:cubicBezTo>
                  <a:cubicBezTo>
                    <a:pt x="1493154" y="249580"/>
                    <a:pt x="1487384" y="231980"/>
                    <a:pt x="1487384" y="210051"/>
                  </a:cubicBezTo>
                  <a:lnTo>
                    <a:pt x="1487384" y="82087"/>
                  </a:lnTo>
                  <a:lnTo>
                    <a:pt x="1549130" y="82087"/>
                  </a:lnTo>
                  <a:lnTo>
                    <a:pt x="1549130" y="197212"/>
                  </a:lnTo>
                  <a:cubicBezTo>
                    <a:pt x="1549130" y="207887"/>
                    <a:pt x="1551582" y="216111"/>
                    <a:pt x="1556343" y="221737"/>
                  </a:cubicBezTo>
                  <a:cubicBezTo>
                    <a:pt x="1561104" y="227508"/>
                    <a:pt x="1568606" y="230249"/>
                    <a:pt x="1578416" y="230249"/>
                  </a:cubicBezTo>
                  <a:cubicBezTo>
                    <a:pt x="1589092" y="230249"/>
                    <a:pt x="1597459" y="226642"/>
                    <a:pt x="1603518" y="219429"/>
                  </a:cubicBezTo>
                  <a:cubicBezTo>
                    <a:pt x="1609577" y="212215"/>
                    <a:pt x="1612607" y="202694"/>
                    <a:pt x="1612607" y="191008"/>
                  </a:cubicBezTo>
                  <a:lnTo>
                    <a:pt x="1612607" y="82087"/>
                  </a:lnTo>
                  <a:lnTo>
                    <a:pt x="1674641" y="82087"/>
                  </a:lnTo>
                  <a:lnTo>
                    <a:pt x="1674641" y="277135"/>
                  </a:lnTo>
                  <a:lnTo>
                    <a:pt x="1615204" y="277135"/>
                  </a:lnTo>
                  <a:lnTo>
                    <a:pt x="1615204" y="253187"/>
                  </a:lnTo>
                  <a:lnTo>
                    <a:pt x="1614050" y="253187"/>
                  </a:lnTo>
                  <a:cubicBezTo>
                    <a:pt x="1606980" y="262853"/>
                    <a:pt x="1598902" y="270210"/>
                    <a:pt x="1589813" y="275260"/>
                  </a:cubicBezTo>
                  <a:cubicBezTo>
                    <a:pt x="1580868" y="280309"/>
                    <a:pt x="1569471" y="282906"/>
                    <a:pt x="1555766" y="282906"/>
                  </a:cubicBezTo>
                  <a:moveTo>
                    <a:pt x="1791208" y="283339"/>
                  </a:moveTo>
                  <a:cubicBezTo>
                    <a:pt x="1762499" y="283339"/>
                    <a:pt x="1739850" y="277135"/>
                    <a:pt x="1722971" y="264873"/>
                  </a:cubicBezTo>
                  <a:cubicBezTo>
                    <a:pt x="1706236" y="252610"/>
                    <a:pt x="1697291" y="235587"/>
                    <a:pt x="1696281" y="213947"/>
                  </a:cubicBezTo>
                  <a:lnTo>
                    <a:pt x="1754998" y="213947"/>
                  </a:lnTo>
                  <a:cubicBezTo>
                    <a:pt x="1756296" y="223612"/>
                    <a:pt x="1759903" y="230826"/>
                    <a:pt x="1766106" y="235731"/>
                  </a:cubicBezTo>
                  <a:cubicBezTo>
                    <a:pt x="1772165" y="240492"/>
                    <a:pt x="1780388" y="242944"/>
                    <a:pt x="1790920" y="242944"/>
                  </a:cubicBezTo>
                  <a:cubicBezTo>
                    <a:pt x="1800297" y="242944"/>
                    <a:pt x="1807799" y="241357"/>
                    <a:pt x="1813137" y="238039"/>
                  </a:cubicBezTo>
                  <a:cubicBezTo>
                    <a:pt x="1818619" y="234721"/>
                    <a:pt x="1821360" y="229960"/>
                    <a:pt x="1821360" y="223612"/>
                  </a:cubicBezTo>
                  <a:cubicBezTo>
                    <a:pt x="1821360" y="219284"/>
                    <a:pt x="1819917" y="215822"/>
                    <a:pt x="1817176" y="213081"/>
                  </a:cubicBezTo>
                  <a:cubicBezTo>
                    <a:pt x="1814435" y="210484"/>
                    <a:pt x="1810684" y="208320"/>
                    <a:pt x="1806068" y="206589"/>
                  </a:cubicBezTo>
                  <a:cubicBezTo>
                    <a:pt x="1801451" y="205002"/>
                    <a:pt x="1796258" y="203704"/>
                    <a:pt x="1790199" y="202838"/>
                  </a:cubicBezTo>
                  <a:cubicBezTo>
                    <a:pt x="1784284" y="201973"/>
                    <a:pt x="1778080" y="200818"/>
                    <a:pt x="1771732" y="199664"/>
                  </a:cubicBezTo>
                  <a:cubicBezTo>
                    <a:pt x="1763365" y="198077"/>
                    <a:pt x="1754998" y="196346"/>
                    <a:pt x="1746630" y="194182"/>
                  </a:cubicBezTo>
                  <a:cubicBezTo>
                    <a:pt x="1738263" y="192018"/>
                    <a:pt x="1730761" y="188844"/>
                    <a:pt x="1723980" y="184516"/>
                  </a:cubicBezTo>
                  <a:cubicBezTo>
                    <a:pt x="1717200" y="180188"/>
                    <a:pt x="1711862" y="174418"/>
                    <a:pt x="1707823" y="167204"/>
                  </a:cubicBezTo>
                  <a:cubicBezTo>
                    <a:pt x="1703783" y="159991"/>
                    <a:pt x="1701763" y="150614"/>
                    <a:pt x="1701763" y="139217"/>
                  </a:cubicBezTo>
                  <a:cubicBezTo>
                    <a:pt x="1701763" y="129118"/>
                    <a:pt x="1703927" y="120029"/>
                    <a:pt x="1708400" y="112095"/>
                  </a:cubicBezTo>
                  <a:cubicBezTo>
                    <a:pt x="1712872" y="104304"/>
                    <a:pt x="1718931" y="97668"/>
                    <a:pt x="1726577" y="92475"/>
                  </a:cubicBezTo>
                  <a:cubicBezTo>
                    <a:pt x="1734223" y="87281"/>
                    <a:pt x="1743168" y="83386"/>
                    <a:pt x="1753411" y="80645"/>
                  </a:cubicBezTo>
                  <a:cubicBezTo>
                    <a:pt x="1763653" y="78048"/>
                    <a:pt x="1774618" y="76605"/>
                    <a:pt x="1786015" y="76605"/>
                  </a:cubicBezTo>
                  <a:cubicBezTo>
                    <a:pt x="1813714" y="76605"/>
                    <a:pt x="1834921" y="82232"/>
                    <a:pt x="1849636" y="93340"/>
                  </a:cubicBezTo>
                  <a:cubicBezTo>
                    <a:pt x="1864351" y="104449"/>
                    <a:pt x="1872430" y="119741"/>
                    <a:pt x="1874017" y="139073"/>
                  </a:cubicBezTo>
                  <a:lnTo>
                    <a:pt x="1816888" y="139073"/>
                  </a:lnTo>
                  <a:cubicBezTo>
                    <a:pt x="1815589" y="130128"/>
                    <a:pt x="1812271" y="124213"/>
                    <a:pt x="1806789" y="121039"/>
                  </a:cubicBezTo>
                  <a:cubicBezTo>
                    <a:pt x="1801307" y="117865"/>
                    <a:pt x="1794238" y="116278"/>
                    <a:pt x="1785582" y="116278"/>
                  </a:cubicBezTo>
                  <a:cubicBezTo>
                    <a:pt x="1777936" y="116278"/>
                    <a:pt x="1771588" y="117721"/>
                    <a:pt x="1766395" y="120606"/>
                  </a:cubicBezTo>
                  <a:cubicBezTo>
                    <a:pt x="1761201" y="123492"/>
                    <a:pt x="1758604" y="127964"/>
                    <a:pt x="1758604" y="134167"/>
                  </a:cubicBezTo>
                  <a:cubicBezTo>
                    <a:pt x="1758604" y="137774"/>
                    <a:pt x="1759903" y="140515"/>
                    <a:pt x="1762355" y="142535"/>
                  </a:cubicBezTo>
                  <a:cubicBezTo>
                    <a:pt x="1764952" y="144555"/>
                    <a:pt x="1768270" y="146286"/>
                    <a:pt x="1772598" y="147728"/>
                  </a:cubicBezTo>
                  <a:cubicBezTo>
                    <a:pt x="1776926" y="149171"/>
                    <a:pt x="1781975" y="150325"/>
                    <a:pt x="1787602" y="151335"/>
                  </a:cubicBezTo>
                  <a:cubicBezTo>
                    <a:pt x="1793372" y="152345"/>
                    <a:pt x="1799287" y="153355"/>
                    <a:pt x="1805346" y="154365"/>
                  </a:cubicBezTo>
                  <a:cubicBezTo>
                    <a:pt x="1814002" y="155807"/>
                    <a:pt x="1822659" y="157683"/>
                    <a:pt x="1831459" y="159847"/>
                  </a:cubicBezTo>
                  <a:cubicBezTo>
                    <a:pt x="1840259" y="162011"/>
                    <a:pt x="1848193" y="165329"/>
                    <a:pt x="1855407" y="169945"/>
                  </a:cubicBezTo>
                  <a:cubicBezTo>
                    <a:pt x="1862620" y="174562"/>
                    <a:pt x="1868535" y="180621"/>
                    <a:pt x="1873152" y="188412"/>
                  </a:cubicBezTo>
                  <a:cubicBezTo>
                    <a:pt x="1877768" y="196202"/>
                    <a:pt x="1880076" y="206301"/>
                    <a:pt x="1880076" y="218707"/>
                  </a:cubicBezTo>
                  <a:cubicBezTo>
                    <a:pt x="1880076" y="229383"/>
                    <a:pt x="1877768" y="238760"/>
                    <a:pt x="1873440" y="246839"/>
                  </a:cubicBezTo>
                  <a:cubicBezTo>
                    <a:pt x="1868968" y="254918"/>
                    <a:pt x="1862764" y="261699"/>
                    <a:pt x="1854974" y="267037"/>
                  </a:cubicBezTo>
                  <a:cubicBezTo>
                    <a:pt x="1847039" y="272374"/>
                    <a:pt x="1837662" y="276414"/>
                    <a:pt x="1826842" y="279299"/>
                  </a:cubicBezTo>
                  <a:cubicBezTo>
                    <a:pt x="1815878" y="282040"/>
                    <a:pt x="1804048" y="283483"/>
                    <a:pt x="1791353" y="283483"/>
                  </a:cubicBezTo>
                  <a:moveTo>
                    <a:pt x="2001260" y="283050"/>
                  </a:moveTo>
                  <a:cubicBezTo>
                    <a:pt x="1985246" y="283050"/>
                    <a:pt x="1970820" y="280453"/>
                    <a:pt x="1957836" y="275260"/>
                  </a:cubicBezTo>
                  <a:cubicBezTo>
                    <a:pt x="1944852" y="270066"/>
                    <a:pt x="1934032" y="262853"/>
                    <a:pt x="1925087" y="253476"/>
                  </a:cubicBezTo>
                  <a:cubicBezTo>
                    <a:pt x="1916143" y="244243"/>
                    <a:pt x="1909362" y="233278"/>
                    <a:pt x="1904457" y="220583"/>
                  </a:cubicBezTo>
                  <a:cubicBezTo>
                    <a:pt x="1899697" y="207887"/>
                    <a:pt x="1897244" y="194182"/>
                    <a:pt x="1897244" y="179467"/>
                  </a:cubicBezTo>
                  <a:cubicBezTo>
                    <a:pt x="1897244" y="164752"/>
                    <a:pt x="1899697" y="151479"/>
                    <a:pt x="1904457" y="138928"/>
                  </a:cubicBezTo>
                  <a:cubicBezTo>
                    <a:pt x="1909218" y="126377"/>
                    <a:pt x="1916143" y="115413"/>
                    <a:pt x="1925087" y="106180"/>
                  </a:cubicBezTo>
                  <a:cubicBezTo>
                    <a:pt x="1934032" y="96947"/>
                    <a:pt x="1944563" y="89734"/>
                    <a:pt x="1956682" y="84540"/>
                  </a:cubicBezTo>
                  <a:cubicBezTo>
                    <a:pt x="1968944" y="79346"/>
                    <a:pt x="1982505" y="76750"/>
                    <a:pt x="1997509" y="76750"/>
                  </a:cubicBezTo>
                  <a:cubicBezTo>
                    <a:pt x="2011503" y="76750"/>
                    <a:pt x="2023910" y="78914"/>
                    <a:pt x="2035018" y="83242"/>
                  </a:cubicBezTo>
                  <a:cubicBezTo>
                    <a:pt x="2046127" y="87570"/>
                    <a:pt x="2055792" y="93484"/>
                    <a:pt x="2064160" y="101131"/>
                  </a:cubicBezTo>
                  <a:cubicBezTo>
                    <a:pt x="2075845" y="111806"/>
                    <a:pt x="2084501" y="125367"/>
                    <a:pt x="2090272" y="141669"/>
                  </a:cubicBezTo>
                  <a:cubicBezTo>
                    <a:pt x="2096043" y="158116"/>
                    <a:pt x="2098784" y="176149"/>
                    <a:pt x="2098495" y="195913"/>
                  </a:cubicBezTo>
                  <a:lnTo>
                    <a:pt x="1958269" y="195913"/>
                  </a:lnTo>
                  <a:cubicBezTo>
                    <a:pt x="1960288" y="209186"/>
                    <a:pt x="1964905" y="219573"/>
                    <a:pt x="1971974" y="227219"/>
                  </a:cubicBezTo>
                  <a:cubicBezTo>
                    <a:pt x="1979043" y="234865"/>
                    <a:pt x="1989142" y="238616"/>
                    <a:pt x="2002125" y="238616"/>
                  </a:cubicBezTo>
                  <a:cubicBezTo>
                    <a:pt x="2010204" y="238616"/>
                    <a:pt x="2016985" y="236885"/>
                    <a:pt x="2022323" y="233423"/>
                  </a:cubicBezTo>
                  <a:cubicBezTo>
                    <a:pt x="2027661" y="229960"/>
                    <a:pt x="2031700" y="225199"/>
                    <a:pt x="2034585" y="219140"/>
                  </a:cubicBezTo>
                  <a:lnTo>
                    <a:pt x="2095177" y="219140"/>
                  </a:lnTo>
                  <a:cubicBezTo>
                    <a:pt x="2093158" y="228085"/>
                    <a:pt x="2089406" y="236452"/>
                    <a:pt x="2083780" y="244531"/>
                  </a:cubicBezTo>
                  <a:cubicBezTo>
                    <a:pt x="2078154" y="252610"/>
                    <a:pt x="2071085" y="259390"/>
                    <a:pt x="2062429" y="265305"/>
                  </a:cubicBezTo>
                  <a:cubicBezTo>
                    <a:pt x="2054350" y="271220"/>
                    <a:pt x="2045261" y="275548"/>
                    <a:pt x="2035162" y="278578"/>
                  </a:cubicBezTo>
                  <a:cubicBezTo>
                    <a:pt x="2025064" y="281607"/>
                    <a:pt x="2013811" y="283194"/>
                    <a:pt x="2001404" y="283194"/>
                  </a:cubicBezTo>
                  <a:moveTo>
                    <a:pt x="2035739" y="158981"/>
                  </a:moveTo>
                  <a:cubicBezTo>
                    <a:pt x="2034441" y="147296"/>
                    <a:pt x="2030546" y="138063"/>
                    <a:pt x="2023910" y="131138"/>
                  </a:cubicBezTo>
                  <a:cubicBezTo>
                    <a:pt x="2017273" y="124357"/>
                    <a:pt x="2008906" y="120895"/>
                    <a:pt x="1998807" y="120895"/>
                  </a:cubicBezTo>
                  <a:cubicBezTo>
                    <a:pt x="1986833" y="120895"/>
                    <a:pt x="1977745" y="124357"/>
                    <a:pt x="1971397" y="131138"/>
                  </a:cubicBezTo>
                  <a:cubicBezTo>
                    <a:pt x="1965049" y="138063"/>
                    <a:pt x="1960865" y="147296"/>
                    <a:pt x="1958846" y="158981"/>
                  </a:cubicBezTo>
                  <a:lnTo>
                    <a:pt x="2035739" y="158981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420A9100-D517-D472-CEFD-D0D3A5BCF545}"/>
                </a:ext>
              </a:extLst>
            </p:cNvPr>
            <p:cNvSpPr/>
            <p:nvPr/>
          </p:nvSpPr>
          <p:spPr>
            <a:xfrm>
              <a:off x="883128" y="557212"/>
              <a:ext cx="273528" cy="675598"/>
            </a:xfrm>
            <a:custGeom>
              <a:avLst/>
              <a:gdLst>
                <a:gd name="connsiteX0" fmla="*/ 0 w 273528"/>
                <a:gd name="connsiteY0" fmla="*/ 0 h 675598"/>
                <a:gd name="connsiteX1" fmla="*/ 0 w 273528"/>
                <a:gd name="connsiteY1" fmla="*/ 476944 h 675598"/>
                <a:gd name="connsiteX2" fmla="*/ 272807 w 273528"/>
                <a:gd name="connsiteY2" fmla="*/ 675598 h 675598"/>
                <a:gd name="connsiteX3" fmla="*/ 273529 w 273528"/>
                <a:gd name="connsiteY3" fmla="*/ 674877 h 675598"/>
                <a:gd name="connsiteX4" fmla="*/ 0 w 273528"/>
                <a:gd name="connsiteY4" fmla="*/ 0 h 675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528" h="675598">
                  <a:moveTo>
                    <a:pt x="0" y="0"/>
                  </a:moveTo>
                  <a:lnTo>
                    <a:pt x="0" y="476944"/>
                  </a:lnTo>
                  <a:lnTo>
                    <a:pt x="272807" y="675598"/>
                  </a:lnTo>
                  <a:cubicBezTo>
                    <a:pt x="272807" y="675598"/>
                    <a:pt x="273384" y="675021"/>
                    <a:pt x="273529" y="67487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3D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AA4E6CE2-336C-0213-9FF5-26E16386C047}"/>
                </a:ext>
              </a:extLst>
            </p:cNvPr>
            <p:cNvSpPr/>
            <p:nvPr/>
          </p:nvSpPr>
          <p:spPr>
            <a:xfrm>
              <a:off x="609600" y="557212"/>
              <a:ext cx="273528" cy="675453"/>
            </a:xfrm>
            <a:custGeom>
              <a:avLst/>
              <a:gdLst>
                <a:gd name="connsiteX0" fmla="*/ 0 w 273528"/>
                <a:gd name="connsiteY0" fmla="*/ 674733 h 675453"/>
                <a:gd name="connsiteX1" fmla="*/ 721 w 273528"/>
                <a:gd name="connsiteY1" fmla="*/ 675454 h 675453"/>
                <a:gd name="connsiteX2" fmla="*/ 273529 w 273528"/>
                <a:gd name="connsiteY2" fmla="*/ 476799 h 675453"/>
                <a:gd name="connsiteX3" fmla="*/ 273529 w 273528"/>
                <a:gd name="connsiteY3" fmla="*/ 0 h 675453"/>
                <a:gd name="connsiteX4" fmla="*/ 0 w 273528"/>
                <a:gd name="connsiteY4" fmla="*/ 674733 h 675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528" h="675453">
                  <a:moveTo>
                    <a:pt x="0" y="674733"/>
                  </a:moveTo>
                  <a:cubicBezTo>
                    <a:pt x="0" y="674733"/>
                    <a:pt x="577" y="675310"/>
                    <a:pt x="721" y="675454"/>
                  </a:cubicBezTo>
                  <a:lnTo>
                    <a:pt x="273529" y="476799"/>
                  </a:lnTo>
                  <a:lnTo>
                    <a:pt x="273529" y="0"/>
                  </a:lnTo>
                  <a:lnTo>
                    <a:pt x="0" y="674733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8DC4B6A-4CBA-E0F1-E91D-A6319EE1FAC8}"/>
              </a:ext>
            </a:extLst>
          </p:cNvPr>
          <p:cNvCxnSpPr>
            <a:cxnSpLocks/>
          </p:cNvCxnSpPr>
          <p:nvPr/>
        </p:nvCxnSpPr>
        <p:spPr>
          <a:xfrm>
            <a:off x="609600" y="4594548"/>
            <a:ext cx="537667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CB1E87D-CF80-16E1-E2DA-D366BCB64A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048537"/>
            <a:ext cx="5376672" cy="2244461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ation title extends </a:t>
            </a:r>
            <a:br>
              <a:rPr lang="en-US"/>
            </a:br>
            <a:r>
              <a:rPr lang="en-US"/>
              <a:t>up to 3 lines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D7147827-288A-C738-6D39-15FD117D358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4896099"/>
            <a:ext cx="5387082" cy="307777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Name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63BBE4A5-01FB-BD6C-513D-9B06278F44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6090476"/>
            <a:ext cx="1834388" cy="210312"/>
          </a:xfrm>
          <a:prstGeom prst="rect">
            <a:avLst/>
          </a:prstGeom>
        </p:spPr>
      </p:pic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FCC54D6-1CD8-DA15-70A3-BCCDE81CDB97}"/>
              </a:ext>
            </a:extLst>
          </p:cNvPr>
          <p:cNvCxnSpPr>
            <a:cxnSpLocks/>
          </p:cNvCxnSpPr>
          <p:nvPr userDrawn="1"/>
        </p:nvCxnSpPr>
        <p:spPr>
          <a:xfrm>
            <a:off x="609600" y="4594548"/>
            <a:ext cx="537667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CE2077C-8DE3-6BD5-5043-2657C91920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2648" y="1527048"/>
            <a:ext cx="2468880" cy="255587"/>
          </a:xfrm>
        </p:spPr>
        <p:txBody>
          <a:bodyPr>
            <a:noAutofit/>
          </a:bodyPr>
          <a:lstStyle>
            <a:lvl1pPr>
              <a:defRPr sz="1400" b="1" spc="3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CE47B4CB-AA1E-6A37-74DA-E065D5DBDA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0348" y="5236388"/>
            <a:ext cx="5387082" cy="276999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</p:spTree>
    <p:extLst>
      <p:ext uri="{BB962C8B-B14F-4D97-AF65-F5344CB8AC3E}">
        <p14:creationId xmlns:p14="http://schemas.microsoft.com/office/powerpoint/2010/main" val="2290075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1 - No Instructions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aphic 7">
            <a:extLst>
              <a:ext uri="{FF2B5EF4-FFF2-40B4-BE49-F238E27FC236}">
                <a16:creationId xmlns:a16="http://schemas.microsoft.com/office/drawing/2014/main" id="{C5A0A539-4BAC-8953-4BBA-6D59087AD769}"/>
              </a:ext>
            </a:extLst>
          </p:cNvPr>
          <p:cNvGrpSpPr/>
          <p:nvPr userDrawn="1"/>
        </p:nvGrpSpPr>
        <p:grpSpPr>
          <a:xfrm>
            <a:off x="609600" y="557212"/>
            <a:ext cx="1729317" cy="437558"/>
            <a:chOff x="609600" y="557212"/>
            <a:chExt cx="2670098" cy="675598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CABD304E-130C-E81B-7AD9-4DF1D35529F5}"/>
                </a:ext>
              </a:extLst>
            </p:cNvPr>
            <p:cNvSpPr/>
            <p:nvPr/>
          </p:nvSpPr>
          <p:spPr>
            <a:xfrm>
              <a:off x="1181182" y="790634"/>
              <a:ext cx="2098515" cy="283771"/>
            </a:xfrm>
            <a:custGeom>
              <a:avLst/>
              <a:gdLst>
                <a:gd name="connsiteX0" fmla="*/ 129551 w 2098515"/>
                <a:gd name="connsiteY0" fmla="*/ 283771 h 283771"/>
                <a:gd name="connsiteX1" fmla="*/ 77038 w 2098515"/>
                <a:gd name="connsiteY1" fmla="*/ 273817 h 283771"/>
                <a:gd name="connsiteX2" fmla="*/ 36644 w 2098515"/>
                <a:gd name="connsiteY2" fmla="*/ 245685 h 283771"/>
                <a:gd name="connsiteX3" fmla="*/ 9377 w 2098515"/>
                <a:gd name="connsiteY3" fmla="*/ 199953 h 283771"/>
                <a:gd name="connsiteX4" fmla="*/ 0 w 2098515"/>
                <a:gd name="connsiteY4" fmla="*/ 142391 h 283771"/>
                <a:gd name="connsiteX5" fmla="*/ 10531 w 2098515"/>
                <a:gd name="connsiteY5" fmla="*/ 82809 h 283771"/>
                <a:gd name="connsiteX6" fmla="*/ 40395 w 2098515"/>
                <a:gd name="connsiteY6" fmla="*/ 36211 h 283771"/>
                <a:gd name="connsiteX7" fmla="*/ 80789 w 2098515"/>
                <a:gd name="connsiteY7" fmla="*/ 9522 h 283771"/>
                <a:gd name="connsiteX8" fmla="*/ 133735 w 2098515"/>
                <a:gd name="connsiteY8" fmla="*/ 0 h 283771"/>
                <a:gd name="connsiteX9" fmla="*/ 180910 w 2098515"/>
                <a:gd name="connsiteY9" fmla="*/ 6636 h 283771"/>
                <a:gd name="connsiteX10" fmla="*/ 217121 w 2098515"/>
                <a:gd name="connsiteY10" fmla="*/ 25679 h 283771"/>
                <a:gd name="connsiteX11" fmla="*/ 241646 w 2098515"/>
                <a:gd name="connsiteY11" fmla="*/ 55542 h 283771"/>
                <a:gd name="connsiteX12" fmla="*/ 254341 w 2098515"/>
                <a:gd name="connsiteY12" fmla="*/ 94350 h 283771"/>
                <a:gd name="connsiteX13" fmla="*/ 188844 w 2098515"/>
                <a:gd name="connsiteY13" fmla="*/ 94350 h 283771"/>
                <a:gd name="connsiteX14" fmla="*/ 171677 w 2098515"/>
                <a:gd name="connsiteY14" fmla="*/ 66507 h 283771"/>
                <a:gd name="connsiteX15" fmla="*/ 135899 w 2098515"/>
                <a:gd name="connsiteY15" fmla="*/ 55398 h 283771"/>
                <a:gd name="connsiteX16" fmla="*/ 106324 w 2098515"/>
                <a:gd name="connsiteY16" fmla="*/ 62034 h 283771"/>
                <a:gd name="connsiteX17" fmla="*/ 85117 w 2098515"/>
                <a:gd name="connsiteY17" fmla="*/ 80356 h 283771"/>
                <a:gd name="connsiteX18" fmla="*/ 72566 w 2098515"/>
                <a:gd name="connsiteY18" fmla="*/ 107767 h 283771"/>
                <a:gd name="connsiteX19" fmla="*/ 68382 w 2098515"/>
                <a:gd name="connsiteY19" fmla="*/ 142246 h 283771"/>
                <a:gd name="connsiteX20" fmla="*/ 73143 w 2098515"/>
                <a:gd name="connsiteY20" fmla="*/ 176870 h 283771"/>
                <a:gd name="connsiteX21" fmla="*/ 86704 w 2098515"/>
                <a:gd name="connsiteY21" fmla="*/ 204425 h 283771"/>
                <a:gd name="connsiteX22" fmla="*/ 108200 w 2098515"/>
                <a:gd name="connsiteY22" fmla="*/ 222458 h 283771"/>
                <a:gd name="connsiteX23" fmla="*/ 136909 w 2098515"/>
                <a:gd name="connsiteY23" fmla="*/ 228950 h 283771"/>
                <a:gd name="connsiteX24" fmla="*/ 160712 w 2098515"/>
                <a:gd name="connsiteY24" fmla="*/ 224911 h 283771"/>
                <a:gd name="connsiteX25" fmla="*/ 178601 w 2098515"/>
                <a:gd name="connsiteY25" fmla="*/ 214235 h 283771"/>
                <a:gd name="connsiteX26" fmla="*/ 190431 w 2098515"/>
                <a:gd name="connsiteY26" fmla="*/ 198943 h 283771"/>
                <a:gd name="connsiteX27" fmla="*/ 195913 w 2098515"/>
                <a:gd name="connsiteY27" fmla="*/ 181198 h 283771"/>
                <a:gd name="connsiteX28" fmla="*/ 195913 w 2098515"/>
                <a:gd name="connsiteY28" fmla="*/ 180477 h 283771"/>
                <a:gd name="connsiteX29" fmla="*/ 144843 w 2098515"/>
                <a:gd name="connsiteY29" fmla="*/ 180477 h 283771"/>
                <a:gd name="connsiteX30" fmla="*/ 144843 w 2098515"/>
                <a:gd name="connsiteY30" fmla="*/ 130994 h 283771"/>
                <a:gd name="connsiteX31" fmla="*/ 258381 w 2098515"/>
                <a:gd name="connsiteY31" fmla="*/ 130994 h 283771"/>
                <a:gd name="connsiteX32" fmla="*/ 258381 w 2098515"/>
                <a:gd name="connsiteY32" fmla="*/ 277279 h 283771"/>
                <a:gd name="connsiteX33" fmla="*/ 211206 w 2098515"/>
                <a:gd name="connsiteY33" fmla="*/ 277279 h 283771"/>
                <a:gd name="connsiteX34" fmla="*/ 207455 w 2098515"/>
                <a:gd name="connsiteY34" fmla="*/ 244531 h 283771"/>
                <a:gd name="connsiteX35" fmla="*/ 206733 w 2098515"/>
                <a:gd name="connsiteY35" fmla="*/ 244531 h 283771"/>
                <a:gd name="connsiteX36" fmla="*/ 173841 w 2098515"/>
                <a:gd name="connsiteY36" fmla="*/ 274394 h 283771"/>
                <a:gd name="connsiteX37" fmla="*/ 129407 w 2098515"/>
                <a:gd name="connsiteY37" fmla="*/ 283339 h 283771"/>
                <a:gd name="connsiteX38" fmla="*/ 358357 w 2098515"/>
                <a:gd name="connsiteY38" fmla="*/ 282906 h 283771"/>
                <a:gd name="connsiteX39" fmla="*/ 307143 w 2098515"/>
                <a:gd name="connsiteY39" fmla="*/ 262853 h 283771"/>
                <a:gd name="connsiteX40" fmla="*/ 289831 w 2098515"/>
                <a:gd name="connsiteY40" fmla="*/ 210051 h 283771"/>
                <a:gd name="connsiteX41" fmla="*/ 289831 w 2098515"/>
                <a:gd name="connsiteY41" fmla="*/ 82087 h 283771"/>
                <a:gd name="connsiteX42" fmla="*/ 351577 w 2098515"/>
                <a:gd name="connsiteY42" fmla="*/ 82087 h 283771"/>
                <a:gd name="connsiteX43" fmla="*/ 351577 w 2098515"/>
                <a:gd name="connsiteY43" fmla="*/ 197212 h 283771"/>
                <a:gd name="connsiteX44" fmla="*/ 358790 w 2098515"/>
                <a:gd name="connsiteY44" fmla="*/ 221737 h 283771"/>
                <a:gd name="connsiteX45" fmla="*/ 380863 w 2098515"/>
                <a:gd name="connsiteY45" fmla="*/ 230249 h 283771"/>
                <a:gd name="connsiteX46" fmla="*/ 405965 w 2098515"/>
                <a:gd name="connsiteY46" fmla="*/ 219429 h 283771"/>
                <a:gd name="connsiteX47" fmla="*/ 415054 w 2098515"/>
                <a:gd name="connsiteY47" fmla="*/ 191008 h 283771"/>
                <a:gd name="connsiteX48" fmla="*/ 415054 w 2098515"/>
                <a:gd name="connsiteY48" fmla="*/ 82087 h 283771"/>
                <a:gd name="connsiteX49" fmla="*/ 477088 w 2098515"/>
                <a:gd name="connsiteY49" fmla="*/ 82087 h 283771"/>
                <a:gd name="connsiteX50" fmla="*/ 477088 w 2098515"/>
                <a:gd name="connsiteY50" fmla="*/ 277135 h 283771"/>
                <a:gd name="connsiteX51" fmla="*/ 417650 w 2098515"/>
                <a:gd name="connsiteY51" fmla="*/ 277135 h 283771"/>
                <a:gd name="connsiteX52" fmla="*/ 417650 w 2098515"/>
                <a:gd name="connsiteY52" fmla="*/ 253187 h 283771"/>
                <a:gd name="connsiteX53" fmla="*/ 416496 w 2098515"/>
                <a:gd name="connsiteY53" fmla="*/ 253187 h 283771"/>
                <a:gd name="connsiteX54" fmla="*/ 392260 w 2098515"/>
                <a:gd name="connsiteY54" fmla="*/ 275260 h 283771"/>
                <a:gd name="connsiteX55" fmla="*/ 358213 w 2098515"/>
                <a:gd name="connsiteY55" fmla="*/ 282906 h 283771"/>
                <a:gd name="connsiteX56" fmla="*/ 512433 w 2098515"/>
                <a:gd name="connsiteY56" fmla="*/ 2164 h 283771"/>
                <a:gd name="connsiteX57" fmla="*/ 574468 w 2098515"/>
                <a:gd name="connsiteY57" fmla="*/ 2164 h 283771"/>
                <a:gd name="connsiteX58" fmla="*/ 574468 w 2098515"/>
                <a:gd name="connsiteY58" fmla="*/ 55110 h 283771"/>
                <a:gd name="connsiteX59" fmla="*/ 512433 w 2098515"/>
                <a:gd name="connsiteY59" fmla="*/ 55110 h 283771"/>
                <a:gd name="connsiteX60" fmla="*/ 512433 w 2098515"/>
                <a:gd name="connsiteY60" fmla="*/ 2164 h 283771"/>
                <a:gd name="connsiteX61" fmla="*/ 512433 w 2098515"/>
                <a:gd name="connsiteY61" fmla="*/ 82087 h 283771"/>
                <a:gd name="connsiteX62" fmla="*/ 574468 w 2098515"/>
                <a:gd name="connsiteY62" fmla="*/ 82087 h 283771"/>
                <a:gd name="connsiteX63" fmla="*/ 574468 w 2098515"/>
                <a:gd name="connsiteY63" fmla="*/ 277135 h 283771"/>
                <a:gd name="connsiteX64" fmla="*/ 512433 w 2098515"/>
                <a:gd name="connsiteY64" fmla="*/ 277135 h 283771"/>
                <a:gd name="connsiteX65" fmla="*/ 512433 w 2098515"/>
                <a:gd name="connsiteY65" fmla="*/ 82087 h 283771"/>
                <a:gd name="connsiteX66" fmla="*/ 686563 w 2098515"/>
                <a:gd name="connsiteY66" fmla="*/ 283194 h 283771"/>
                <a:gd name="connsiteX67" fmla="*/ 652227 w 2098515"/>
                <a:gd name="connsiteY67" fmla="*/ 276125 h 283771"/>
                <a:gd name="connsiteX68" fmla="*/ 625249 w 2098515"/>
                <a:gd name="connsiteY68" fmla="*/ 255784 h 283771"/>
                <a:gd name="connsiteX69" fmla="*/ 607505 w 2098515"/>
                <a:gd name="connsiteY69" fmla="*/ 223180 h 283771"/>
                <a:gd name="connsiteX70" fmla="*/ 601157 w 2098515"/>
                <a:gd name="connsiteY70" fmla="*/ 179611 h 283771"/>
                <a:gd name="connsiteX71" fmla="*/ 607505 w 2098515"/>
                <a:gd name="connsiteY71" fmla="*/ 137630 h 283771"/>
                <a:gd name="connsiteX72" fmla="*/ 624961 w 2098515"/>
                <a:gd name="connsiteY72" fmla="*/ 105026 h 283771"/>
                <a:gd name="connsiteX73" fmla="*/ 651794 w 2098515"/>
                <a:gd name="connsiteY73" fmla="*/ 83819 h 283771"/>
                <a:gd name="connsiteX74" fmla="*/ 686418 w 2098515"/>
                <a:gd name="connsiteY74" fmla="*/ 76172 h 283771"/>
                <a:gd name="connsiteX75" fmla="*/ 719600 w 2098515"/>
                <a:gd name="connsiteY75" fmla="*/ 83963 h 283771"/>
                <a:gd name="connsiteX76" fmla="*/ 740951 w 2098515"/>
                <a:gd name="connsiteY76" fmla="*/ 104016 h 283771"/>
                <a:gd name="connsiteX77" fmla="*/ 742105 w 2098515"/>
                <a:gd name="connsiteY77" fmla="*/ 104016 h 283771"/>
                <a:gd name="connsiteX78" fmla="*/ 742105 w 2098515"/>
                <a:gd name="connsiteY78" fmla="*/ 1875 h 283771"/>
                <a:gd name="connsiteX79" fmla="*/ 804139 w 2098515"/>
                <a:gd name="connsiteY79" fmla="*/ 1875 h 283771"/>
                <a:gd name="connsiteX80" fmla="*/ 804139 w 2098515"/>
                <a:gd name="connsiteY80" fmla="*/ 276991 h 283771"/>
                <a:gd name="connsiteX81" fmla="*/ 744702 w 2098515"/>
                <a:gd name="connsiteY81" fmla="*/ 276991 h 283771"/>
                <a:gd name="connsiteX82" fmla="*/ 744702 w 2098515"/>
                <a:gd name="connsiteY82" fmla="*/ 250735 h 283771"/>
                <a:gd name="connsiteX83" fmla="*/ 743981 w 2098515"/>
                <a:gd name="connsiteY83" fmla="*/ 250735 h 283771"/>
                <a:gd name="connsiteX84" fmla="*/ 720609 w 2098515"/>
                <a:gd name="connsiteY84" fmla="*/ 274538 h 283771"/>
                <a:gd name="connsiteX85" fmla="*/ 686563 w 2098515"/>
                <a:gd name="connsiteY85" fmla="*/ 283050 h 283771"/>
                <a:gd name="connsiteX86" fmla="*/ 702576 w 2098515"/>
                <a:gd name="connsiteY86" fmla="*/ 233855 h 283771"/>
                <a:gd name="connsiteX87" fmla="*/ 732872 w 2098515"/>
                <a:gd name="connsiteY87" fmla="*/ 218563 h 283771"/>
                <a:gd name="connsiteX88" fmla="*/ 743692 w 2098515"/>
                <a:gd name="connsiteY88" fmla="*/ 179323 h 283771"/>
                <a:gd name="connsiteX89" fmla="*/ 741239 w 2098515"/>
                <a:gd name="connsiteY89" fmla="*/ 156673 h 283771"/>
                <a:gd name="connsiteX90" fmla="*/ 733593 w 2098515"/>
                <a:gd name="connsiteY90" fmla="*/ 138784 h 283771"/>
                <a:gd name="connsiteX91" fmla="*/ 721042 w 2098515"/>
                <a:gd name="connsiteY91" fmla="*/ 127098 h 283771"/>
                <a:gd name="connsiteX92" fmla="*/ 703297 w 2098515"/>
                <a:gd name="connsiteY92" fmla="*/ 122915 h 283771"/>
                <a:gd name="connsiteX93" fmla="*/ 674300 w 2098515"/>
                <a:gd name="connsiteY93" fmla="*/ 138351 h 283771"/>
                <a:gd name="connsiteX94" fmla="*/ 664057 w 2098515"/>
                <a:gd name="connsiteY94" fmla="*/ 178601 h 283771"/>
                <a:gd name="connsiteX95" fmla="*/ 674156 w 2098515"/>
                <a:gd name="connsiteY95" fmla="*/ 218996 h 283771"/>
                <a:gd name="connsiteX96" fmla="*/ 702576 w 2098515"/>
                <a:gd name="connsiteY96" fmla="*/ 233855 h 283771"/>
                <a:gd name="connsiteX97" fmla="*/ 931094 w 2098515"/>
                <a:gd name="connsiteY97" fmla="*/ 282617 h 283771"/>
                <a:gd name="connsiteX98" fmla="*/ 887670 w 2098515"/>
                <a:gd name="connsiteY98" fmla="*/ 274827 h 283771"/>
                <a:gd name="connsiteX99" fmla="*/ 854921 w 2098515"/>
                <a:gd name="connsiteY99" fmla="*/ 253043 h 283771"/>
                <a:gd name="connsiteX100" fmla="*/ 834291 w 2098515"/>
                <a:gd name="connsiteY100" fmla="*/ 220150 h 283771"/>
                <a:gd name="connsiteX101" fmla="*/ 827078 w 2098515"/>
                <a:gd name="connsiteY101" fmla="*/ 179034 h 283771"/>
                <a:gd name="connsiteX102" fmla="*/ 834291 w 2098515"/>
                <a:gd name="connsiteY102" fmla="*/ 138495 h 283771"/>
                <a:gd name="connsiteX103" fmla="*/ 854921 w 2098515"/>
                <a:gd name="connsiteY103" fmla="*/ 105747 h 283771"/>
                <a:gd name="connsiteX104" fmla="*/ 886515 w 2098515"/>
                <a:gd name="connsiteY104" fmla="*/ 84107 h 283771"/>
                <a:gd name="connsiteX105" fmla="*/ 927343 w 2098515"/>
                <a:gd name="connsiteY105" fmla="*/ 76317 h 283771"/>
                <a:gd name="connsiteX106" fmla="*/ 964852 w 2098515"/>
                <a:gd name="connsiteY106" fmla="*/ 82809 h 283771"/>
                <a:gd name="connsiteX107" fmla="*/ 993994 w 2098515"/>
                <a:gd name="connsiteY107" fmla="*/ 100698 h 283771"/>
                <a:gd name="connsiteX108" fmla="*/ 1020106 w 2098515"/>
                <a:gd name="connsiteY108" fmla="*/ 141237 h 283771"/>
                <a:gd name="connsiteX109" fmla="*/ 1028329 w 2098515"/>
                <a:gd name="connsiteY109" fmla="*/ 195481 h 283771"/>
                <a:gd name="connsiteX110" fmla="*/ 888102 w 2098515"/>
                <a:gd name="connsiteY110" fmla="*/ 195481 h 283771"/>
                <a:gd name="connsiteX111" fmla="*/ 901808 w 2098515"/>
                <a:gd name="connsiteY111" fmla="*/ 226786 h 283771"/>
                <a:gd name="connsiteX112" fmla="*/ 931959 w 2098515"/>
                <a:gd name="connsiteY112" fmla="*/ 238183 h 283771"/>
                <a:gd name="connsiteX113" fmla="*/ 952157 w 2098515"/>
                <a:gd name="connsiteY113" fmla="*/ 232990 h 283771"/>
                <a:gd name="connsiteX114" fmla="*/ 964275 w 2098515"/>
                <a:gd name="connsiteY114" fmla="*/ 218707 h 283771"/>
                <a:gd name="connsiteX115" fmla="*/ 1024867 w 2098515"/>
                <a:gd name="connsiteY115" fmla="*/ 218707 h 283771"/>
                <a:gd name="connsiteX116" fmla="*/ 1013470 w 2098515"/>
                <a:gd name="connsiteY116" fmla="*/ 244098 h 283771"/>
                <a:gd name="connsiteX117" fmla="*/ 992118 w 2098515"/>
                <a:gd name="connsiteY117" fmla="*/ 264873 h 283771"/>
                <a:gd name="connsiteX118" fmla="*/ 964852 w 2098515"/>
                <a:gd name="connsiteY118" fmla="*/ 278145 h 283771"/>
                <a:gd name="connsiteX119" fmla="*/ 931094 w 2098515"/>
                <a:gd name="connsiteY119" fmla="*/ 282762 h 283771"/>
                <a:gd name="connsiteX120" fmla="*/ 965429 w 2098515"/>
                <a:gd name="connsiteY120" fmla="*/ 158548 h 283771"/>
                <a:gd name="connsiteX121" fmla="*/ 953599 w 2098515"/>
                <a:gd name="connsiteY121" fmla="*/ 130705 h 283771"/>
                <a:gd name="connsiteX122" fmla="*/ 928497 w 2098515"/>
                <a:gd name="connsiteY122" fmla="*/ 120462 h 283771"/>
                <a:gd name="connsiteX123" fmla="*/ 901086 w 2098515"/>
                <a:gd name="connsiteY123" fmla="*/ 130705 h 283771"/>
                <a:gd name="connsiteX124" fmla="*/ 888535 w 2098515"/>
                <a:gd name="connsiteY124" fmla="*/ 158548 h 283771"/>
                <a:gd name="connsiteX125" fmla="*/ 965429 w 2098515"/>
                <a:gd name="connsiteY125" fmla="*/ 158548 h 283771"/>
                <a:gd name="connsiteX126" fmla="*/ 1051123 w 2098515"/>
                <a:gd name="connsiteY126" fmla="*/ 2020 h 283771"/>
                <a:gd name="connsiteX127" fmla="*/ 1113158 w 2098515"/>
                <a:gd name="connsiteY127" fmla="*/ 2020 h 283771"/>
                <a:gd name="connsiteX128" fmla="*/ 1113158 w 2098515"/>
                <a:gd name="connsiteY128" fmla="*/ 106036 h 283771"/>
                <a:gd name="connsiteX129" fmla="*/ 1114312 w 2098515"/>
                <a:gd name="connsiteY129" fmla="*/ 106036 h 283771"/>
                <a:gd name="connsiteX130" fmla="*/ 1138260 w 2098515"/>
                <a:gd name="connsiteY130" fmla="*/ 84107 h 283771"/>
                <a:gd name="connsiteX131" fmla="*/ 1172162 w 2098515"/>
                <a:gd name="connsiteY131" fmla="*/ 76317 h 283771"/>
                <a:gd name="connsiteX132" fmla="*/ 1200727 w 2098515"/>
                <a:gd name="connsiteY132" fmla="*/ 81799 h 283771"/>
                <a:gd name="connsiteX133" fmla="*/ 1222079 w 2098515"/>
                <a:gd name="connsiteY133" fmla="*/ 97091 h 283771"/>
                <a:gd name="connsiteX134" fmla="*/ 1235495 w 2098515"/>
                <a:gd name="connsiteY134" fmla="*/ 120318 h 283771"/>
                <a:gd name="connsiteX135" fmla="*/ 1240112 w 2098515"/>
                <a:gd name="connsiteY135" fmla="*/ 150181 h 283771"/>
                <a:gd name="connsiteX136" fmla="*/ 1240112 w 2098515"/>
                <a:gd name="connsiteY136" fmla="*/ 276991 h 283771"/>
                <a:gd name="connsiteX137" fmla="*/ 1178077 w 2098515"/>
                <a:gd name="connsiteY137" fmla="*/ 276991 h 283771"/>
                <a:gd name="connsiteX138" fmla="*/ 1178077 w 2098515"/>
                <a:gd name="connsiteY138" fmla="*/ 162732 h 283771"/>
                <a:gd name="connsiteX139" fmla="*/ 1170431 w 2098515"/>
                <a:gd name="connsiteY139" fmla="*/ 137630 h 283771"/>
                <a:gd name="connsiteX140" fmla="*/ 1147637 w 2098515"/>
                <a:gd name="connsiteY140" fmla="*/ 128108 h 283771"/>
                <a:gd name="connsiteX141" fmla="*/ 1122679 w 2098515"/>
                <a:gd name="connsiteY141" fmla="*/ 139505 h 283771"/>
                <a:gd name="connsiteX142" fmla="*/ 1113302 w 2098515"/>
                <a:gd name="connsiteY142" fmla="*/ 169224 h 283771"/>
                <a:gd name="connsiteX143" fmla="*/ 1113302 w 2098515"/>
                <a:gd name="connsiteY143" fmla="*/ 276991 h 283771"/>
                <a:gd name="connsiteX144" fmla="*/ 1051267 w 2098515"/>
                <a:gd name="connsiteY144" fmla="*/ 276991 h 283771"/>
                <a:gd name="connsiteX145" fmla="*/ 1051267 w 2098515"/>
                <a:gd name="connsiteY145" fmla="*/ 1875 h 283771"/>
                <a:gd name="connsiteX146" fmla="*/ 1363892 w 2098515"/>
                <a:gd name="connsiteY146" fmla="*/ 283194 h 283771"/>
                <a:gd name="connsiteX147" fmla="*/ 1321045 w 2098515"/>
                <a:gd name="connsiteY147" fmla="*/ 275404 h 283771"/>
                <a:gd name="connsiteX148" fmla="*/ 1288008 w 2098515"/>
                <a:gd name="connsiteY148" fmla="*/ 253620 h 283771"/>
                <a:gd name="connsiteX149" fmla="*/ 1266945 w 2098515"/>
                <a:gd name="connsiteY149" fmla="*/ 220871 h 283771"/>
                <a:gd name="connsiteX150" fmla="*/ 1259443 w 2098515"/>
                <a:gd name="connsiteY150" fmla="*/ 179900 h 283771"/>
                <a:gd name="connsiteX151" fmla="*/ 1266945 w 2098515"/>
                <a:gd name="connsiteY151" fmla="*/ 138928 h 283771"/>
                <a:gd name="connsiteX152" fmla="*/ 1288008 w 2098515"/>
                <a:gd name="connsiteY152" fmla="*/ 106180 h 283771"/>
                <a:gd name="connsiteX153" fmla="*/ 1321045 w 2098515"/>
                <a:gd name="connsiteY153" fmla="*/ 84540 h 283771"/>
                <a:gd name="connsiteX154" fmla="*/ 1363892 w 2098515"/>
                <a:gd name="connsiteY154" fmla="*/ 76750 h 283771"/>
                <a:gd name="connsiteX155" fmla="*/ 1406739 w 2098515"/>
                <a:gd name="connsiteY155" fmla="*/ 84540 h 283771"/>
                <a:gd name="connsiteX156" fmla="*/ 1439487 w 2098515"/>
                <a:gd name="connsiteY156" fmla="*/ 106180 h 283771"/>
                <a:gd name="connsiteX157" fmla="*/ 1460406 w 2098515"/>
                <a:gd name="connsiteY157" fmla="*/ 138928 h 283771"/>
                <a:gd name="connsiteX158" fmla="*/ 1467764 w 2098515"/>
                <a:gd name="connsiteY158" fmla="*/ 179900 h 283771"/>
                <a:gd name="connsiteX159" fmla="*/ 1460406 w 2098515"/>
                <a:gd name="connsiteY159" fmla="*/ 220871 h 283771"/>
                <a:gd name="connsiteX160" fmla="*/ 1439487 w 2098515"/>
                <a:gd name="connsiteY160" fmla="*/ 253620 h 283771"/>
                <a:gd name="connsiteX161" fmla="*/ 1406739 w 2098515"/>
                <a:gd name="connsiteY161" fmla="*/ 275404 h 283771"/>
                <a:gd name="connsiteX162" fmla="*/ 1363892 w 2098515"/>
                <a:gd name="connsiteY162" fmla="*/ 283194 h 283771"/>
                <a:gd name="connsiteX163" fmla="*/ 1363459 w 2098515"/>
                <a:gd name="connsiteY163" fmla="*/ 239049 h 283771"/>
                <a:gd name="connsiteX164" fmla="*/ 1394477 w 2098515"/>
                <a:gd name="connsiteY164" fmla="*/ 222891 h 283771"/>
                <a:gd name="connsiteX165" fmla="*/ 1405008 w 2098515"/>
                <a:gd name="connsiteY165" fmla="*/ 180044 h 283771"/>
                <a:gd name="connsiteX166" fmla="*/ 1394477 w 2098515"/>
                <a:gd name="connsiteY166" fmla="*/ 137053 h 283771"/>
                <a:gd name="connsiteX167" fmla="*/ 1363459 w 2098515"/>
                <a:gd name="connsiteY167" fmla="*/ 120606 h 283771"/>
                <a:gd name="connsiteX168" fmla="*/ 1332586 w 2098515"/>
                <a:gd name="connsiteY168" fmla="*/ 137053 h 283771"/>
                <a:gd name="connsiteX169" fmla="*/ 1322343 w 2098515"/>
                <a:gd name="connsiteY169" fmla="*/ 180044 h 283771"/>
                <a:gd name="connsiteX170" fmla="*/ 1332586 w 2098515"/>
                <a:gd name="connsiteY170" fmla="*/ 222891 h 283771"/>
                <a:gd name="connsiteX171" fmla="*/ 1363459 w 2098515"/>
                <a:gd name="connsiteY171" fmla="*/ 239049 h 283771"/>
                <a:gd name="connsiteX172" fmla="*/ 1555910 w 2098515"/>
                <a:gd name="connsiteY172" fmla="*/ 282906 h 283771"/>
                <a:gd name="connsiteX173" fmla="*/ 1504696 w 2098515"/>
                <a:gd name="connsiteY173" fmla="*/ 262853 h 283771"/>
                <a:gd name="connsiteX174" fmla="*/ 1487384 w 2098515"/>
                <a:gd name="connsiteY174" fmla="*/ 210051 h 283771"/>
                <a:gd name="connsiteX175" fmla="*/ 1487384 w 2098515"/>
                <a:gd name="connsiteY175" fmla="*/ 82087 h 283771"/>
                <a:gd name="connsiteX176" fmla="*/ 1549130 w 2098515"/>
                <a:gd name="connsiteY176" fmla="*/ 82087 h 283771"/>
                <a:gd name="connsiteX177" fmla="*/ 1549130 w 2098515"/>
                <a:gd name="connsiteY177" fmla="*/ 197212 h 283771"/>
                <a:gd name="connsiteX178" fmla="*/ 1556343 w 2098515"/>
                <a:gd name="connsiteY178" fmla="*/ 221737 h 283771"/>
                <a:gd name="connsiteX179" fmla="*/ 1578416 w 2098515"/>
                <a:gd name="connsiteY179" fmla="*/ 230249 h 283771"/>
                <a:gd name="connsiteX180" fmla="*/ 1603518 w 2098515"/>
                <a:gd name="connsiteY180" fmla="*/ 219429 h 283771"/>
                <a:gd name="connsiteX181" fmla="*/ 1612607 w 2098515"/>
                <a:gd name="connsiteY181" fmla="*/ 191008 h 283771"/>
                <a:gd name="connsiteX182" fmla="*/ 1612607 w 2098515"/>
                <a:gd name="connsiteY182" fmla="*/ 82087 h 283771"/>
                <a:gd name="connsiteX183" fmla="*/ 1674641 w 2098515"/>
                <a:gd name="connsiteY183" fmla="*/ 82087 h 283771"/>
                <a:gd name="connsiteX184" fmla="*/ 1674641 w 2098515"/>
                <a:gd name="connsiteY184" fmla="*/ 277135 h 283771"/>
                <a:gd name="connsiteX185" fmla="*/ 1615204 w 2098515"/>
                <a:gd name="connsiteY185" fmla="*/ 277135 h 283771"/>
                <a:gd name="connsiteX186" fmla="*/ 1615204 w 2098515"/>
                <a:gd name="connsiteY186" fmla="*/ 253187 h 283771"/>
                <a:gd name="connsiteX187" fmla="*/ 1614050 w 2098515"/>
                <a:gd name="connsiteY187" fmla="*/ 253187 h 283771"/>
                <a:gd name="connsiteX188" fmla="*/ 1589813 w 2098515"/>
                <a:gd name="connsiteY188" fmla="*/ 275260 h 283771"/>
                <a:gd name="connsiteX189" fmla="*/ 1555766 w 2098515"/>
                <a:gd name="connsiteY189" fmla="*/ 282906 h 283771"/>
                <a:gd name="connsiteX190" fmla="*/ 1791208 w 2098515"/>
                <a:gd name="connsiteY190" fmla="*/ 283339 h 283771"/>
                <a:gd name="connsiteX191" fmla="*/ 1722971 w 2098515"/>
                <a:gd name="connsiteY191" fmla="*/ 264873 h 283771"/>
                <a:gd name="connsiteX192" fmla="*/ 1696281 w 2098515"/>
                <a:gd name="connsiteY192" fmla="*/ 213947 h 283771"/>
                <a:gd name="connsiteX193" fmla="*/ 1754998 w 2098515"/>
                <a:gd name="connsiteY193" fmla="*/ 213947 h 283771"/>
                <a:gd name="connsiteX194" fmla="*/ 1766106 w 2098515"/>
                <a:gd name="connsiteY194" fmla="*/ 235731 h 283771"/>
                <a:gd name="connsiteX195" fmla="*/ 1790920 w 2098515"/>
                <a:gd name="connsiteY195" fmla="*/ 242944 h 283771"/>
                <a:gd name="connsiteX196" fmla="*/ 1813137 w 2098515"/>
                <a:gd name="connsiteY196" fmla="*/ 238039 h 283771"/>
                <a:gd name="connsiteX197" fmla="*/ 1821360 w 2098515"/>
                <a:gd name="connsiteY197" fmla="*/ 223612 h 283771"/>
                <a:gd name="connsiteX198" fmla="*/ 1817176 w 2098515"/>
                <a:gd name="connsiteY198" fmla="*/ 213081 h 283771"/>
                <a:gd name="connsiteX199" fmla="*/ 1806068 w 2098515"/>
                <a:gd name="connsiteY199" fmla="*/ 206589 h 283771"/>
                <a:gd name="connsiteX200" fmla="*/ 1790199 w 2098515"/>
                <a:gd name="connsiteY200" fmla="*/ 202838 h 283771"/>
                <a:gd name="connsiteX201" fmla="*/ 1771732 w 2098515"/>
                <a:gd name="connsiteY201" fmla="*/ 199664 h 283771"/>
                <a:gd name="connsiteX202" fmla="*/ 1746630 w 2098515"/>
                <a:gd name="connsiteY202" fmla="*/ 194182 h 283771"/>
                <a:gd name="connsiteX203" fmla="*/ 1723980 w 2098515"/>
                <a:gd name="connsiteY203" fmla="*/ 184516 h 283771"/>
                <a:gd name="connsiteX204" fmla="*/ 1707823 w 2098515"/>
                <a:gd name="connsiteY204" fmla="*/ 167204 h 283771"/>
                <a:gd name="connsiteX205" fmla="*/ 1701763 w 2098515"/>
                <a:gd name="connsiteY205" fmla="*/ 139217 h 283771"/>
                <a:gd name="connsiteX206" fmla="*/ 1708400 w 2098515"/>
                <a:gd name="connsiteY206" fmla="*/ 112095 h 283771"/>
                <a:gd name="connsiteX207" fmla="*/ 1726577 w 2098515"/>
                <a:gd name="connsiteY207" fmla="*/ 92475 h 283771"/>
                <a:gd name="connsiteX208" fmla="*/ 1753411 w 2098515"/>
                <a:gd name="connsiteY208" fmla="*/ 80645 h 283771"/>
                <a:gd name="connsiteX209" fmla="*/ 1786015 w 2098515"/>
                <a:gd name="connsiteY209" fmla="*/ 76605 h 283771"/>
                <a:gd name="connsiteX210" fmla="*/ 1849636 w 2098515"/>
                <a:gd name="connsiteY210" fmla="*/ 93340 h 283771"/>
                <a:gd name="connsiteX211" fmla="*/ 1874017 w 2098515"/>
                <a:gd name="connsiteY211" fmla="*/ 139073 h 283771"/>
                <a:gd name="connsiteX212" fmla="*/ 1816888 w 2098515"/>
                <a:gd name="connsiteY212" fmla="*/ 139073 h 283771"/>
                <a:gd name="connsiteX213" fmla="*/ 1806789 w 2098515"/>
                <a:gd name="connsiteY213" fmla="*/ 121039 h 283771"/>
                <a:gd name="connsiteX214" fmla="*/ 1785582 w 2098515"/>
                <a:gd name="connsiteY214" fmla="*/ 116278 h 283771"/>
                <a:gd name="connsiteX215" fmla="*/ 1766395 w 2098515"/>
                <a:gd name="connsiteY215" fmla="*/ 120606 h 283771"/>
                <a:gd name="connsiteX216" fmla="*/ 1758604 w 2098515"/>
                <a:gd name="connsiteY216" fmla="*/ 134167 h 283771"/>
                <a:gd name="connsiteX217" fmla="*/ 1762355 w 2098515"/>
                <a:gd name="connsiteY217" fmla="*/ 142535 h 283771"/>
                <a:gd name="connsiteX218" fmla="*/ 1772598 w 2098515"/>
                <a:gd name="connsiteY218" fmla="*/ 147728 h 283771"/>
                <a:gd name="connsiteX219" fmla="*/ 1787602 w 2098515"/>
                <a:gd name="connsiteY219" fmla="*/ 151335 h 283771"/>
                <a:gd name="connsiteX220" fmla="*/ 1805346 w 2098515"/>
                <a:gd name="connsiteY220" fmla="*/ 154365 h 283771"/>
                <a:gd name="connsiteX221" fmla="*/ 1831459 w 2098515"/>
                <a:gd name="connsiteY221" fmla="*/ 159847 h 283771"/>
                <a:gd name="connsiteX222" fmla="*/ 1855407 w 2098515"/>
                <a:gd name="connsiteY222" fmla="*/ 169945 h 283771"/>
                <a:gd name="connsiteX223" fmla="*/ 1873152 w 2098515"/>
                <a:gd name="connsiteY223" fmla="*/ 188412 h 283771"/>
                <a:gd name="connsiteX224" fmla="*/ 1880076 w 2098515"/>
                <a:gd name="connsiteY224" fmla="*/ 218707 h 283771"/>
                <a:gd name="connsiteX225" fmla="*/ 1873440 w 2098515"/>
                <a:gd name="connsiteY225" fmla="*/ 246839 h 283771"/>
                <a:gd name="connsiteX226" fmla="*/ 1854974 w 2098515"/>
                <a:gd name="connsiteY226" fmla="*/ 267037 h 283771"/>
                <a:gd name="connsiteX227" fmla="*/ 1826842 w 2098515"/>
                <a:gd name="connsiteY227" fmla="*/ 279299 h 283771"/>
                <a:gd name="connsiteX228" fmla="*/ 1791353 w 2098515"/>
                <a:gd name="connsiteY228" fmla="*/ 283483 h 283771"/>
                <a:gd name="connsiteX229" fmla="*/ 2001260 w 2098515"/>
                <a:gd name="connsiteY229" fmla="*/ 283050 h 283771"/>
                <a:gd name="connsiteX230" fmla="*/ 1957836 w 2098515"/>
                <a:gd name="connsiteY230" fmla="*/ 275260 h 283771"/>
                <a:gd name="connsiteX231" fmla="*/ 1925087 w 2098515"/>
                <a:gd name="connsiteY231" fmla="*/ 253476 h 283771"/>
                <a:gd name="connsiteX232" fmla="*/ 1904457 w 2098515"/>
                <a:gd name="connsiteY232" fmla="*/ 220583 h 283771"/>
                <a:gd name="connsiteX233" fmla="*/ 1897244 w 2098515"/>
                <a:gd name="connsiteY233" fmla="*/ 179467 h 283771"/>
                <a:gd name="connsiteX234" fmla="*/ 1904457 w 2098515"/>
                <a:gd name="connsiteY234" fmla="*/ 138928 h 283771"/>
                <a:gd name="connsiteX235" fmla="*/ 1925087 w 2098515"/>
                <a:gd name="connsiteY235" fmla="*/ 106180 h 283771"/>
                <a:gd name="connsiteX236" fmla="*/ 1956682 w 2098515"/>
                <a:gd name="connsiteY236" fmla="*/ 84540 h 283771"/>
                <a:gd name="connsiteX237" fmla="*/ 1997509 w 2098515"/>
                <a:gd name="connsiteY237" fmla="*/ 76750 h 283771"/>
                <a:gd name="connsiteX238" fmla="*/ 2035018 w 2098515"/>
                <a:gd name="connsiteY238" fmla="*/ 83242 h 283771"/>
                <a:gd name="connsiteX239" fmla="*/ 2064160 w 2098515"/>
                <a:gd name="connsiteY239" fmla="*/ 101131 h 283771"/>
                <a:gd name="connsiteX240" fmla="*/ 2090272 w 2098515"/>
                <a:gd name="connsiteY240" fmla="*/ 141669 h 283771"/>
                <a:gd name="connsiteX241" fmla="*/ 2098495 w 2098515"/>
                <a:gd name="connsiteY241" fmla="*/ 195913 h 283771"/>
                <a:gd name="connsiteX242" fmla="*/ 1958269 w 2098515"/>
                <a:gd name="connsiteY242" fmla="*/ 195913 h 283771"/>
                <a:gd name="connsiteX243" fmla="*/ 1971974 w 2098515"/>
                <a:gd name="connsiteY243" fmla="*/ 227219 h 283771"/>
                <a:gd name="connsiteX244" fmla="*/ 2002125 w 2098515"/>
                <a:gd name="connsiteY244" fmla="*/ 238616 h 283771"/>
                <a:gd name="connsiteX245" fmla="*/ 2022323 w 2098515"/>
                <a:gd name="connsiteY245" fmla="*/ 233423 h 283771"/>
                <a:gd name="connsiteX246" fmla="*/ 2034585 w 2098515"/>
                <a:gd name="connsiteY246" fmla="*/ 219140 h 283771"/>
                <a:gd name="connsiteX247" fmla="*/ 2095177 w 2098515"/>
                <a:gd name="connsiteY247" fmla="*/ 219140 h 283771"/>
                <a:gd name="connsiteX248" fmla="*/ 2083780 w 2098515"/>
                <a:gd name="connsiteY248" fmla="*/ 244531 h 283771"/>
                <a:gd name="connsiteX249" fmla="*/ 2062429 w 2098515"/>
                <a:gd name="connsiteY249" fmla="*/ 265305 h 283771"/>
                <a:gd name="connsiteX250" fmla="*/ 2035162 w 2098515"/>
                <a:gd name="connsiteY250" fmla="*/ 278578 h 283771"/>
                <a:gd name="connsiteX251" fmla="*/ 2001404 w 2098515"/>
                <a:gd name="connsiteY251" fmla="*/ 283194 h 283771"/>
                <a:gd name="connsiteX252" fmla="*/ 2035739 w 2098515"/>
                <a:gd name="connsiteY252" fmla="*/ 158981 h 283771"/>
                <a:gd name="connsiteX253" fmla="*/ 2023910 w 2098515"/>
                <a:gd name="connsiteY253" fmla="*/ 131138 h 283771"/>
                <a:gd name="connsiteX254" fmla="*/ 1998807 w 2098515"/>
                <a:gd name="connsiteY254" fmla="*/ 120895 h 283771"/>
                <a:gd name="connsiteX255" fmla="*/ 1971397 w 2098515"/>
                <a:gd name="connsiteY255" fmla="*/ 131138 h 283771"/>
                <a:gd name="connsiteX256" fmla="*/ 1958846 w 2098515"/>
                <a:gd name="connsiteY256" fmla="*/ 158981 h 283771"/>
                <a:gd name="connsiteX257" fmla="*/ 2035739 w 2098515"/>
                <a:gd name="connsiteY257" fmla="*/ 158981 h 28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</a:cxnLst>
              <a:rect l="l" t="t" r="r" b="b"/>
              <a:pathLst>
                <a:path w="2098515" h="283771">
                  <a:moveTo>
                    <a:pt x="129551" y="283771"/>
                  </a:moveTo>
                  <a:cubicBezTo>
                    <a:pt x="109931" y="283771"/>
                    <a:pt x="92475" y="280453"/>
                    <a:pt x="77038" y="273817"/>
                  </a:cubicBezTo>
                  <a:cubicBezTo>
                    <a:pt x="61602" y="267181"/>
                    <a:pt x="48041" y="257804"/>
                    <a:pt x="36644" y="245685"/>
                  </a:cubicBezTo>
                  <a:cubicBezTo>
                    <a:pt x="24670" y="232701"/>
                    <a:pt x="15581" y="217553"/>
                    <a:pt x="9377" y="199953"/>
                  </a:cubicBezTo>
                  <a:cubicBezTo>
                    <a:pt x="3174" y="182497"/>
                    <a:pt x="0" y="163309"/>
                    <a:pt x="0" y="142391"/>
                  </a:cubicBezTo>
                  <a:cubicBezTo>
                    <a:pt x="0" y="121472"/>
                    <a:pt x="3462" y="100986"/>
                    <a:pt x="10531" y="82809"/>
                  </a:cubicBezTo>
                  <a:cubicBezTo>
                    <a:pt x="17456" y="64631"/>
                    <a:pt x="27411" y="49050"/>
                    <a:pt x="40395" y="36211"/>
                  </a:cubicBezTo>
                  <a:cubicBezTo>
                    <a:pt x="51792" y="24814"/>
                    <a:pt x="65208" y="15869"/>
                    <a:pt x="80789" y="9522"/>
                  </a:cubicBezTo>
                  <a:cubicBezTo>
                    <a:pt x="96226" y="3174"/>
                    <a:pt x="113970" y="0"/>
                    <a:pt x="133735" y="0"/>
                  </a:cubicBezTo>
                  <a:cubicBezTo>
                    <a:pt x="151191" y="0"/>
                    <a:pt x="167060" y="2164"/>
                    <a:pt x="180910" y="6636"/>
                  </a:cubicBezTo>
                  <a:cubicBezTo>
                    <a:pt x="194904" y="11108"/>
                    <a:pt x="207022" y="17456"/>
                    <a:pt x="217121" y="25679"/>
                  </a:cubicBezTo>
                  <a:cubicBezTo>
                    <a:pt x="227219" y="33903"/>
                    <a:pt x="235442" y="43857"/>
                    <a:pt x="241646" y="55542"/>
                  </a:cubicBezTo>
                  <a:cubicBezTo>
                    <a:pt x="247849" y="67228"/>
                    <a:pt x="252177" y="80212"/>
                    <a:pt x="254341" y="94350"/>
                  </a:cubicBezTo>
                  <a:lnTo>
                    <a:pt x="188844" y="94350"/>
                  </a:lnTo>
                  <a:cubicBezTo>
                    <a:pt x="186248" y="83242"/>
                    <a:pt x="180621" y="73864"/>
                    <a:pt x="171677" y="66507"/>
                  </a:cubicBezTo>
                  <a:cubicBezTo>
                    <a:pt x="162732" y="59149"/>
                    <a:pt x="150902" y="55398"/>
                    <a:pt x="135899" y="55398"/>
                  </a:cubicBezTo>
                  <a:cubicBezTo>
                    <a:pt x="124646" y="55398"/>
                    <a:pt x="114836" y="57706"/>
                    <a:pt x="106324" y="62034"/>
                  </a:cubicBezTo>
                  <a:cubicBezTo>
                    <a:pt x="97812" y="66507"/>
                    <a:pt x="90743" y="72566"/>
                    <a:pt x="85117" y="80356"/>
                  </a:cubicBezTo>
                  <a:cubicBezTo>
                    <a:pt x="79491" y="88147"/>
                    <a:pt x="75307" y="97235"/>
                    <a:pt x="72566" y="107767"/>
                  </a:cubicBezTo>
                  <a:cubicBezTo>
                    <a:pt x="69825" y="118298"/>
                    <a:pt x="68382" y="129839"/>
                    <a:pt x="68382" y="142246"/>
                  </a:cubicBezTo>
                  <a:cubicBezTo>
                    <a:pt x="68382" y="154653"/>
                    <a:pt x="69969" y="166195"/>
                    <a:pt x="73143" y="176870"/>
                  </a:cubicBezTo>
                  <a:cubicBezTo>
                    <a:pt x="76317" y="187546"/>
                    <a:pt x="80789" y="196779"/>
                    <a:pt x="86704" y="204425"/>
                  </a:cubicBezTo>
                  <a:cubicBezTo>
                    <a:pt x="92619" y="212215"/>
                    <a:pt x="99688" y="218275"/>
                    <a:pt x="108200" y="222458"/>
                  </a:cubicBezTo>
                  <a:cubicBezTo>
                    <a:pt x="116711" y="226786"/>
                    <a:pt x="126233" y="228950"/>
                    <a:pt x="136909" y="228950"/>
                  </a:cubicBezTo>
                  <a:cubicBezTo>
                    <a:pt x="145709" y="228950"/>
                    <a:pt x="153788" y="227652"/>
                    <a:pt x="160712" y="224911"/>
                  </a:cubicBezTo>
                  <a:cubicBezTo>
                    <a:pt x="167637" y="222314"/>
                    <a:pt x="173696" y="218707"/>
                    <a:pt x="178601" y="214235"/>
                  </a:cubicBezTo>
                  <a:cubicBezTo>
                    <a:pt x="183507" y="209763"/>
                    <a:pt x="187546" y="204714"/>
                    <a:pt x="190431" y="198943"/>
                  </a:cubicBezTo>
                  <a:cubicBezTo>
                    <a:pt x="193317" y="193317"/>
                    <a:pt x="195192" y="187402"/>
                    <a:pt x="195913" y="181198"/>
                  </a:cubicBezTo>
                  <a:lnTo>
                    <a:pt x="195913" y="180477"/>
                  </a:lnTo>
                  <a:lnTo>
                    <a:pt x="144843" y="180477"/>
                  </a:lnTo>
                  <a:lnTo>
                    <a:pt x="144843" y="130994"/>
                  </a:lnTo>
                  <a:lnTo>
                    <a:pt x="258381" y="130994"/>
                  </a:lnTo>
                  <a:lnTo>
                    <a:pt x="258381" y="277279"/>
                  </a:lnTo>
                  <a:lnTo>
                    <a:pt x="211206" y="277279"/>
                  </a:lnTo>
                  <a:lnTo>
                    <a:pt x="207455" y="244531"/>
                  </a:lnTo>
                  <a:lnTo>
                    <a:pt x="206733" y="244531"/>
                  </a:lnTo>
                  <a:cubicBezTo>
                    <a:pt x="197789" y="258525"/>
                    <a:pt x="186825" y="268479"/>
                    <a:pt x="173841" y="274394"/>
                  </a:cubicBezTo>
                  <a:cubicBezTo>
                    <a:pt x="160712" y="280309"/>
                    <a:pt x="145997" y="283339"/>
                    <a:pt x="129407" y="283339"/>
                  </a:cubicBezTo>
                  <a:moveTo>
                    <a:pt x="358357" y="282906"/>
                  </a:moveTo>
                  <a:cubicBezTo>
                    <a:pt x="335707" y="282906"/>
                    <a:pt x="318684" y="276270"/>
                    <a:pt x="307143" y="262853"/>
                  </a:cubicBezTo>
                  <a:cubicBezTo>
                    <a:pt x="295601" y="249580"/>
                    <a:pt x="289831" y="231980"/>
                    <a:pt x="289831" y="210051"/>
                  </a:cubicBezTo>
                  <a:lnTo>
                    <a:pt x="289831" y="82087"/>
                  </a:lnTo>
                  <a:lnTo>
                    <a:pt x="351577" y="82087"/>
                  </a:lnTo>
                  <a:lnTo>
                    <a:pt x="351577" y="197212"/>
                  </a:lnTo>
                  <a:cubicBezTo>
                    <a:pt x="351577" y="207887"/>
                    <a:pt x="354029" y="216111"/>
                    <a:pt x="358790" y="221737"/>
                  </a:cubicBezTo>
                  <a:cubicBezTo>
                    <a:pt x="363551" y="227508"/>
                    <a:pt x="371052" y="230249"/>
                    <a:pt x="380863" y="230249"/>
                  </a:cubicBezTo>
                  <a:cubicBezTo>
                    <a:pt x="391538" y="230249"/>
                    <a:pt x="399906" y="226642"/>
                    <a:pt x="405965" y="219429"/>
                  </a:cubicBezTo>
                  <a:cubicBezTo>
                    <a:pt x="412024" y="212215"/>
                    <a:pt x="415054" y="202694"/>
                    <a:pt x="415054" y="191008"/>
                  </a:cubicBezTo>
                  <a:lnTo>
                    <a:pt x="415054" y="82087"/>
                  </a:lnTo>
                  <a:lnTo>
                    <a:pt x="477088" y="82087"/>
                  </a:lnTo>
                  <a:lnTo>
                    <a:pt x="477088" y="277135"/>
                  </a:lnTo>
                  <a:lnTo>
                    <a:pt x="417650" y="277135"/>
                  </a:lnTo>
                  <a:lnTo>
                    <a:pt x="417650" y="253187"/>
                  </a:lnTo>
                  <a:lnTo>
                    <a:pt x="416496" y="253187"/>
                  </a:lnTo>
                  <a:cubicBezTo>
                    <a:pt x="409427" y="262853"/>
                    <a:pt x="401348" y="270210"/>
                    <a:pt x="392260" y="275260"/>
                  </a:cubicBezTo>
                  <a:cubicBezTo>
                    <a:pt x="383315" y="280309"/>
                    <a:pt x="371918" y="282906"/>
                    <a:pt x="358213" y="282906"/>
                  </a:cubicBezTo>
                  <a:moveTo>
                    <a:pt x="512433" y="2164"/>
                  </a:moveTo>
                  <a:lnTo>
                    <a:pt x="574468" y="2164"/>
                  </a:lnTo>
                  <a:lnTo>
                    <a:pt x="574468" y="55110"/>
                  </a:lnTo>
                  <a:lnTo>
                    <a:pt x="512433" y="55110"/>
                  </a:lnTo>
                  <a:lnTo>
                    <a:pt x="512433" y="2164"/>
                  </a:lnTo>
                  <a:close/>
                  <a:moveTo>
                    <a:pt x="512433" y="82087"/>
                  </a:moveTo>
                  <a:lnTo>
                    <a:pt x="574468" y="82087"/>
                  </a:lnTo>
                  <a:lnTo>
                    <a:pt x="574468" y="277135"/>
                  </a:lnTo>
                  <a:lnTo>
                    <a:pt x="512433" y="277135"/>
                  </a:lnTo>
                  <a:lnTo>
                    <a:pt x="512433" y="82087"/>
                  </a:lnTo>
                  <a:close/>
                  <a:moveTo>
                    <a:pt x="686563" y="283194"/>
                  </a:moveTo>
                  <a:cubicBezTo>
                    <a:pt x="674156" y="283194"/>
                    <a:pt x="662614" y="280886"/>
                    <a:pt x="652227" y="276125"/>
                  </a:cubicBezTo>
                  <a:cubicBezTo>
                    <a:pt x="641840" y="271365"/>
                    <a:pt x="632751" y="264584"/>
                    <a:pt x="625249" y="255784"/>
                  </a:cubicBezTo>
                  <a:cubicBezTo>
                    <a:pt x="617603" y="246839"/>
                    <a:pt x="611688" y="236019"/>
                    <a:pt x="607505" y="223180"/>
                  </a:cubicBezTo>
                  <a:cubicBezTo>
                    <a:pt x="603321" y="210340"/>
                    <a:pt x="601157" y="195769"/>
                    <a:pt x="601157" y="179611"/>
                  </a:cubicBezTo>
                  <a:cubicBezTo>
                    <a:pt x="601157" y="164319"/>
                    <a:pt x="603321" y="150470"/>
                    <a:pt x="607505" y="137630"/>
                  </a:cubicBezTo>
                  <a:cubicBezTo>
                    <a:pt x="611688" y="124934"/>
                    <a:pt x="617603" y="114114"/>
                    <a:pt x="624961" y="105026"/>
                  </a:cubicBezTo>
                  <a:cubicBezTo>
                    <a:pt x="632463" y="96081"/>
                    <a:pt x="641407" y="89012"/>
                    <a:pt x="651794" y="83819"/>
                  </a:cubicBezTo>
                  <a:cubicBezTo>
                    <a:pt x="662182" y="78769"/>
                    <a:pt x="673723" y="76172"/>
                    <a:pt x="686418" y="76172"/>
                  </a:cubicBezTo>
                  <a:cubicBezTo>
                    <a:pt x="700124" y="76172"/>
                    <a:pt x="711232" y="78769"/>
                    <a:pt x="719600" y="83963"/>
                  </a:cubicBezTo>
                  <a:cubicBezTo>
                    <a:pt x="727967" y="89156"/>
                    <a:pt x="735036" y="95793"/>
                    <a:pt x="740951" y="104016"/>
                  </a:cubicBezTo>
                  <a:lnTo>
                    <a:pt x="742105" y="104016"/>
                  </a:lnTo>
                  <a:lnTo>
                    <a:pt x="742105" y="1875"/>
                  </a:lnTo>
                  <a:lnTo>
                    <a:pt x="804139" y="1875"/>
                  </a:lnTo>
                  <a:lnTo>
                    <a:pt x="804139" y="276991"/>
                  </a:lnTo>
                  <a:lnTo>
                    <a:pt x="744702" y="276991"/>
                  </a:lnTo>
                  <a:lnTo>
                    <a:pt x="744702" y="250735"/>
                  </a:lnTo>
                  <a:lnTo>
                    <a:pt x="743981" y="250735"/>
                  </a:lnTo>
                  <a:cubicBezTo>
                    <a:pt x="738210" y="260833"/>
                    <a:pt x="730275" y="268768"/>
                    <a:pt x="720609" y="274538"/>
                  </a:cubicBezTo>
                  <a:cubicBezTo>
                    <a:pt x="710799" y="280309"/>
                    <a:pt x="699547" y="283050"/>
                    <a:pt x="686563" y="283050"/>
                  </a:cubicBezTo>
                  <a:moveTo>
                    <a:pt x="702576" y="233855"/>
                  </a:moveTo>
                  <a:cubicBezTo>
                    <a:pt x="715560" y="233855"/>
                    <a:pt x="725659" y="228806"/>
                    <a:pt x="732872" y="218563"/>
                  </a:cubicBezTo>
                  <a:cubicBezTo>
                    <a:pt x="740085" y="208465"/>
                    <a:pt x="743692" y="195336"/>
                    <a:pt x="743692" y="179323"/>
                  </a:cubicBezTo>
                  <a:cubicBezTo>
                    <a:pt x="743692" y="171244"/>
                    <a:pt x="742826" y="163598"/>
                    <a:pt x="741239" y="156673"/>
                  </a:cubicBezTo>
                  <a:cubicBezTo>
                    <a:pt x="739653" y="149748"/>
                    <a:pt x="737056" y="143689"/>
                    <a:pt x="733593" y="138784"/>
                  </a:cubicBezTo>
                  <a:cubicBezTo>
                    <a:pt x="730131" y="133879"/>
                    <a:pt x="725947" y="129984"/>
                    <a:pt x="721042" y="127098"/>
                  </a:cubicBezTo>
                  <a:cubicBezTo>
                    <a:pt x="716137" y="124357"/>
                    <a:pt x="710222" y="122915"/>
                    <a:pt x="703297" y="122915"/>
                  </a:cubicBezTo>
                  <a:cubicBezTo>
                    <a:pt x="690891" y="122915"/>
                    <a:pt x="681225" y="128108"/>
                    <a:pt x="674300" y="138351"/>
                  </a:cubicBezTo>
                  <a:cubicBezTo>
                    <a:pt x="667375" y="148594"/>
                    <a:pt x="664057" y="162011"/>
                    <a:pt x="664057" y="178601"/>
                  </a:cubicBezTo>
                  <a:cubicBezTo>
                    <a:pt x="664057" y="195192"/>
                    <a:pt x="667375" y="209042"/>
                    <a:pt x="674156" y="218996"/>
                  </a:cubicBezTo>
                  <a:cubicBezTo>
                    <a:pt x="680936" y="228950"/>
                    <a:pt x="690314" y="233855"/>
                    <a:pt x="702576" y="233855"/>
                  </a:cubicBezTo>
                  <a:moveTo>
                    <a:pt x="931094" y="282617"/>
                  </a:moveTo>
                  <a:cubicBezTo>
                    <a:pt x="915080" y="282617"/>
                    <a:pt x="900654" y="280021"/>
                    <a:pt x="887670" y="274827"/>
                  </a:cubicBezTo>
                  <a:cubicBezTo>
                    <a:pt x="874686" y="269633"/>
                    <a:pt x="863721" y="262420"/>
                    <a:pt x="854921" y="253043"/>
                  </a:cubicBezTo>
                  <a:cubicBezTo>
                    <a:pt x="845977" y="243810"/>
                    <a:pt x="839196" y="232845"/>
                    <a:pt x="834291" y="220150"/>
                  </a:cubicBezTo>
                  <a:cubicBezTo>
                    <a:pt x="829530" y="207455"/>
                    <a:pt x="827078" y="193749"/>
                    <a:pt x="827078" y="179034"/>
                  </a:cubicBezTo>
                  <a:cubicBezTo>
                    <a:pt x="827078" y="164319"/>
                    <a:pt x="829530" y="151047"/>
                    <a:pt x="834291" y="138495"/>
                  </a:cubicBezTo>
                  <a:cubicBezTo>
                    <a:pt x="839052" y="125944"/>
                    <a:pt x="845977" y="114980"/>
                    <a:pt x="854921" y="105747"/>
                  </a:cubicBezTo>
                  <a:cubicBezTo>
                    <a:pt x="863866" y="96514"/>
                    <a:pt x="874397" y="89301"/>
                    <a:pt x="886515" y="84107"/>
                  </a:cubicBezTo>
                  <a:cubicBezTo>
                    <a:pt x="898634" y="78914"/>
                    <a:pt x="912339" y="76317"/>
                    <a:pt x="927343" y="76317"/>
                  </a:cubicBezTo>
                  <a:cubicBezTo>
                    <a:pt x="941337" y="76317"/>
                    <a:pt x="953888" y="78481"/>
                    <a:pt x="964852" y="82809"/>
                  </a:cubicBezTo>
                  <a:cubicBezTo>
                    <a:pt x="975960" y="87137"/>
                    <a:pt x="985626" y="93052"/>
                    <a:pt x="993994" y="100698"/>
                  </a:cubicBezTo>
                  <a:cubicBezTo>
                    <a:pt x="1005679" y="111373"/>
                    <a:pt x="1014335" y="124934"/>
                    <a:pt x="1020106" y="141237"/>
                  </a:cubicBezTo>
                  <a:cubicBezTo>
                    <a:pt x="1025877" y="157683"/>
                    <a:pt x="1028473" y="175716"/>
                    <a:pt x="1028329" y="195481"/>
                  </a:cubicBezTo>
                  <a:lnTo>
                    <a:pt x="888102" y="195481"/>
                  </a:lnTo>
                  <a:cubicBezTo>
                    <a:pt x="890122" y="208753"/>
                    <a:pt x="894739" y="219140"/>
                    <a:pt x="901808" y="226786"/>
                  </a:cubicBezTo>
                  <a:cubicBezTo>
                    <a:pt x="908877" y="234432"/>
                    <a:pt x="918975" y="238183"/>
                    <a:pt x="931959" y="238183"/>
                  </a:cubicBezTo>
                  <a:cubicBezTo>
                    <a:pt x="940038" y="238183"/>
                    <a:pt x="946819" y="236452"/>
                    <a:pt x="952157" y="232990"/>
                  </a:cubicBezTo>
                  <a:cubicBezTo>
                    <a:pt x="957494" y="229527"/>
                    <a:pt x="961534" y="224767"/>
                    <a:pt x="964275" y="218707"/>
                  </a:cubicBezTo>
                  <a:lnTo>
                    <a:pt x="1024867" y="218707"/>
                  </a:lnTo>
                  <a:cubicBezTo>
                    <a:pt x="1022847" y="227652"/>
                    <a:pt x="1018952" y="236019"/>
                    <a:pt x="1013470" y="244098"/>
                  </a:cubicBezTo>
                  <a:cubicBezTo>
                    <a:pt x="1007843" y="252033"/>
                    <a:pt x="1000774" y="258958"/>
                    <a:pt x="992118" y="264873"/>
                  </a:cubicBezTo>
                  <a:cubicBezTo>
                    <a:pt x="984039" y="270787"/>
                    <a:pt x="974951" y="275115"/>
                    <a:pt x="964852" y="278145"/>
                  </a:cubicBezTo>
                  <a:cubicBezTo>
                    <a:pt x="954898" y="281175"/>
                    <a:pt x="943645" y="282762"/>
                    <a:pt x="931094" y="282762"/>
                  </a:cubicBezTo>
                  <a:moveTo>
                    <a:pt x="965429" y="158548"/>
                  </a:moveTo>
                  <a:cubicBezTo>
                    <a:pt x="964131" y="146863"/>
                    <a:pt x="960235" y="137630"/>
                    <a:pt x="953599" y="130705"/>
                  </a:cubicBezTo>
                  <a:cubicBezTo>
                    <a:pt x="946963" y="123925"/>
                    <a:pt x="938596" y="120462"/>
                    <a:pt x="928497" y="120462"/>
                  </a:cubicBezTo>
                  <a:cubicBezTo>
                    <a:pt x="916523" y="120462"/>
                    <a:pt x="907434" y="123925"/>
                    <a:pt x="901086" y="130705"/>
                  </a:cubicBezTo>
                  <a:cubicBezTo>
                    <a:pt x="894739" y="137630"/>
                    <a:pt x="890555" y="146863"/>
                    <a:pt x="888535" y="158548"/>
                  </a:cubicBezTo>
                  <a:lnTo>
                    <a:pt x="965429" y="158548"/>
                  </a:lnTo>
                  <a:close/>
                  <a:moveTo>
                    <a:pt x="1051123" y="2020"/>
                  </a:moveTo>
                  <a:lnTo>
                    <a:pt x="1113158" y="2020"/>
                  </a:lnTo>
                  <a:lnTo>
                    <a:pt x="1113158" y="106036"/>
                  </a:lnTo>
                  <a:lnTo>
                    <a:pt x="1114312" y="106036"/>
                  </a:lnTo>
                  <a:cubicBezTo>
                    <a:pt x="1121381" y="96658"/>
                    <a:pt x="1129460" y="89301"/>
                    <a:pt x="1138260" y="84107"/>
                  </a:cubicBezTo>
                  <a:cubicBezTo>
                    <a:pt x="1147204" y="78914"/>
                    <a:pt x="1158457" y="76317"/>
                    <a:pt x="1172162" y="76317"/>
                  </a:cubicBezTo>
                  <a:cubicBezTo>
                    <a:pt x="1182838" y="76317"/>
                    <a:pt x="1192360" y="78192"/>
                    <a:pt x="1200727" y="81799"/>
                  </a:cubicBezTo>
                  <a:cubicBezTo>
                    <a:pt x="1209095" y="85406"/>
                    <a:pt x="1216164" y="90599"/>
                    <a:pt x="1222079" y="97091"/>
                  </a:cubicBezTo>
                  <a:cubicBezTo>
                    <a:pt x="1227993" y="103583"/>
                    <a:pt x="1232321" y="111373"/>
                    <a:pt x="1235495" y="120318"/>
                  </a:cubicBezTo>
                  <a:cubicBezTo>
                    <a:pt x="1238525" y="129262"/>
                    <a:pt x="1240112" y="139361"/>
                    <a:pt x="1240112" y="150181"/>
                  </a:cubicBezTo>
                  <a:lnTo>
                    <a:pt x="1240112" y="276991"/>
                  </a:lnTo>
                  <a:lnTo>
                    <a:pt x="1178077" y="276991"/>
                  </a:lnTo>
                  <a:lnTo>
                    <a:pt x="1178077" y="162732"/>
                  </a:lnTo>
                  <a:cubicBezTo>
                    <a:pt x="1178077" y="152345"/>
                    <a:pt x="1175481" y="143978"/>
                    <a:pt x="1170431" y="137630"/>
                  </a:cubicBezTo>
                  <a:cubicBezTo>
                    <a:pt x="1165382" y="131282"/>
                    <a:pt x="1157736" y="128108"/>
                    <a:pt x="1147637" y="128108"/>
                  </a:cubicBezTo>
                  <a:cubicBezTo>
                    <a:pt x="1137539" y="128108"/>
                    <a:pt x="1128883" y="131859"/>
                    <a:pt x="1122679" y="139505"/>
                  </a:cubicBezTo>
                  <a:cubicBezTo>
                    <a:pt x="1116476" y="147151"/>
                    <a:pt x="1113302" y="157106"/>
                    <a:pt x="1113302" y="169224"/>
                  </a:cubicBezTo>
                  <a:lnTo>
                    <a:pt x="1113302" y="276991"/>
                  </a:lnTo>
                  <a:lnTo>
                    <a:pt x="1051267" y="276991"/>
                  </a:lnTo>
                  <a:lnTo>
                    <a:pt x="1051267" y="1875"/>
                  </a:lnTo>
                  <a:close/>
                  <a:moveTo>
                    <a:pt x="1363892" y="283194"/>
                  </a:moveTo>
                  <a:cubicBezTo>
                    <a:pt x="1348167" y="283194"/>
                    <a:pt x="1333885" y="280598"/>
                    <a:pt x="1321045" y="275404"/>
                  </a:cubicBezTo>
                  <a:cubicBezTo>
                    <a:pt x="1308205" y="270210"/>
                    <a:pt x="1297241" y="262997"/>
                    <a:pt x="1288008" y="253620"/>
                  </a:cubicBezTo>
                  <a:cubicBezTo>
                    <a:pt x="1278919" y="244387"/>
                    <a:pt x="1271850" y="233423"/>
                    <a:pt x="1266945" y="220871"/>
                  </a:cubicBezTo>
                  <a:cubicBezTo>
                    <a:pt x="1262040" y="208320"/>
                    <a:pt x="1259443" y="194615"/>
                    <a:pt x="1259443" y="179900"/>
                  </a:cubicBezTo>
                  <a:cubicBezTo>
                    <a:pt x="1259443" y="165185"/>
                    <a:pt x="1261896" y="151479"/>
                    <a:pt x="1266945" y="138928"/>
                  </a:cubicBezTo>
                  <a:cubicBezTo>
                    <a:pt x="1271850" y="126377"/>
                    <a:pt x="1278919" y="115413"/>
                    <a:pt x="1288008" y="106180"/>
                  </a:cubicBezTo>
                  <a:cubicBezTo>
                    <a:pt x="1297097" y="96947"/>
                    <a:pt x="1308205" y="89734"/>
                    <a:pt x="1321045" y="84540"/>
                  </a:cubicBezTo>
                  <a:cubicBezTo>
                    <a:pt x="1333885" y="79346"/>
                    <a:pt x="1348167" y="76750"/>
                    <a:pt x="1363892" y="76750"/>
                  </a:cubicBezTo>
                  <a:cubicBezTo>
                    <a:pt x="1379617" y="76750"/>
                    <a:pt x="1393900" y="79346"/>
                    <a:pt x="1406739" y="84540"/>
                  </a:cubicBezTo>
                  <a:cubicBezTo>
                    <a:pt x="1419579" y="89734"/>
                    <a:pt x="1430543" y="96947"/>
                    <a:pt x="1439487" y="106180"/>
                  </a:cubicBezTo>
                  <a:cubicBezTo>
                    <a:pt x="1448432" y="115413"/>
                    <a:pt x="1455501" y="126377"/>
                    <a:pt x="1460406" y="138928"/>
                  </a:cubicBezTo>
                  <a:cubicBezTo>
                    <a:pt x="1465311" y="151479"/>
                    <a:pt x="1467764" y="165185"/>
                    <a:pt x="1467764" y="179900"/>
                  </a:cubicBezTo>
                  <a:cubicBezTo>
                    <a:pt x="1467764" y="194615"/>
                    <a:pt x="1465311" y="208320"/>
                    <a:pt x="1460406" y="220871"/>
                  </a:cubicBezTo>
                  <a:cubicBezTo>
                    <a:pt x="1455501" y="233423"/>
                    <a:pt x="1448432" y="244387"/>
                    <a:pt x="1439487" y="253620"/>
                  </a:cubicBezTo>
                  <a:cubicBezTo>
                    <a:pt x="1430543" y="262853"/>
                    <a:pt x="1419579" y="270066"/>
                    <a:pt x="1406739" y="275404"/>
                  </a:cubicBezTo>
                  <a:cubicBezTo>
                    <a:pt x="1393900" y="280598"/>
                    <a:pt x="1379617" y="283194"/>
                    <a:pt x="1363892" y="283194"/>
                  </a:cubicBezTo>
                  <a:moveTo>
                    <a:pt x="1363459" y="239049"/>
                  </a:moveTo>
                  <a:cubicBezTo>
                    <a:pt x="1377165" y="239049"/>
                    <a:pt x="1387552" y="233711"/>
                    <a:pt x="1394477" y="222891"/>
                  </a:cubicBezTo>
                  <a:cubicBezTo>
                    <a:pt x="1401546" y="212071"/>
                    <a:pt x="1405008" y="197789"/>
                    <a:pt x="1405008" y="180044"/>
                  </a:cubicBezTo>
                  <a:cubicBezTo>
                    <a:pt x="1405008" y="162299"/>
                    <a:pt x="1401546" y="147873"/>
                    <a:pt x="1394477" y="137053"/>
                  </a:cubicBezTo>
                  <a:cubicBezTo>
                    <a:pt x="1387552" y="126089"/>
                    <a:pt x="1377165" y="120606"/>
                    <a:pt x="1363459" y="120606"/>
                  </a:cubicBezTo>
                  <a:cubicBezTo>
                    <a:pt x="1349754" y="120606"/>
                    <a:pt x="1339511" y="126089"/>
                    <a:pt x="1332586" y="137053"/>
                  </a:cubicBezTo>
                  <a:cubicBezTo>
                    <a:pt x="1325806" y="148017"/>
                    <a:pt x="1322343" y="162299"/>
                    <a:pt x="1322343" y="180044"/>
                  </a:cubicBezTo>
                  <a:cubicBezTo>
                    <a:pt x="1322343" y="197789"/>
                    <a:pt x="1325806" y="212071"/>
                    <a:pt x="1332586" y="222891"/>
                  </a:cubicBezTo>
                  <a:cubicBezTo>
                    <a:pt x="1339511" y="233711"/>
                    <a:pt x="1349754" y="239049"/>
                    <a:pt x="1363459" y="239049"/>
                  </a:cubicBezTo>
                  <a:moveTo>
                    <a:pt x="1555910" y="282906"/>
                  </a:moveTo>
                  <a:cubicBezTo>
                    <a:pt x="1533260" y="282906"/>
                    <a:pt x="1516237" y="276270"/>
                    <a:pt x="1504696" y="262853"/>
                  </a:cubicBezTo>
                  <a:cubicBezTo>
                    <a:pt x="1493154" y="249580"/>
                    <a:pt x="1487384" y="231980"/>
                    <a:pt x="1487384" y="210051"/>
                  </a:cubicBezTo>
                  <a:lnTo>
                    <a:pt x="1487384" y="82087"/>
                  </a:lnTo>
                  <a:lnTo>
                    <a:pt x="1549130" y="82087"/>
                  </a:lnTo>
                  <a:lnTo>
                    <a:pt x="1549130" y="197212"/>
                  </a:lnTo>
                  <a:cubicBezTo>
                    <a:pt x="1549130" y="207887"/>
                    <a:pt x="1551582" y="216111"/>
                    <a:pt x="1556343" y="221737"/>
                  </a:cubicBezTo>
                  <a:cubicBezTo>
                    <a:pt x="1561104" y="227508"/>
                    <a:pt x="1568606" y="230249"/>
                    <a:pt x="1578416" y="230249"/>
                  </a:cubicBezTo>
                  <a:cubicBezTo>
                    <a:pt x="1589092" y="230249"/>
                    <a:pt x="1597459" y="226642"/>
                    <a:pt x="1603518" y="219429"/>
                  </a:cubicBezTo>
                  <a:cubicBezTo>
                    <a:pt x="1609577" y="212215"/>
                    <a:pt x="1612607" y="202694"/>
                    <a:pt x="1612607" y="191008"/>
                  </a:cubicBezTo>
                  <a:lnTo>
                    <a:pt x="1612607" y="82087"/>
                  </a:lnTo>
                  <a:lnTo>
                    <a:pt x="1674641" y="82087"/>
                  </a:lnTo>
                  <a:lnTo>
                    <a:pt x="1674641" y="277135"/>
                  </a:lnTo>
                  <a:lnTo>
                    <a:pt x="1615204" y="277135"/>
                  </a:lnTo>
                  <a:lnTo>
                    <a:pt x="1615204" y="253187"/>
                  </a:lnTo>
                  <a:lnTo>
                    <a:pt x="1614050" y="253187"/>
                  </a:lnTo>
                  <a:cubicBezTo>
                    <a:pt x="1606980" y="262853"/>
                    <a:pt x="1598902" y="270210"/>
                    <a:pt x="1589813" y="275260"/>
                  </a:cubicBezTo>
                  <a:cubicBezTo>
                    <a:pt x="1580868" y="280309"/>
                    <a:pt x="1569471" y="282906"/>
                    <a:pt x="1555766" y="282906"/>
                  </a:cubicBezTo>
                  <a:moveTo>
                    <a:pt x="1791208" y="283339"/>
                  </a:moveTo>
                  <a:cubicBezTo>
                    <a:pt x="1762499" y="283339"/>
                    <a:pt x="1739850" y="277135"/>
                    <a:pt x="1722971" y="264873"/>
                  </a:cubicBezTo>
                  <a:cubicBezTo>
                    <a:pt x="1706236" y="252610"/>
                    <a:pt x="1697291" y="235587"/>
                    <a:pt x="1696281" y="213947"/>
                  </a:cubicBezTo>
                  <a:lnTo>
                    <a:pt x="1754998" y="213947"/>
                  </a:lnTo>
                  <a:cubicBezTo>
                    <a:pt x="1756296" y="223612"/>
                    <a:pt x="1759903" y="230826"/>
                    <a:pt x="1766106" y="235731"/>
                  </a:cubicBezTo>
                  <a:cubicBezTo>
                    <a:pt x="1772165" y="240492"/>
                    <a:pt x="1780388" y="242944"/>
                    <a:pt x="1790920" y="242944"/>
                  </a:cubicBezTo>
                  <a:cubicBezTo>
                    <a:pt x="1800297" y="242944"/>
                    <a:pt x="1807799" y="241357"/>
                    <a:pt x="1813137" y="238039"/>
                  </a:cubicBezTo>
                  <a:cubicBezTo>
                    <a:pt x="1818619" y="234721"/>
                    <a:pt x="1821360" y="229960"/>
                    <a:pt x="1821360" y="223612"/>
                  </a:cubicBezTo>
                  <a:cubicBezTo>
                    <a:pt x="1821360" y="219284"/>
                    <a:pt x="1819917" y="215822"/>
                    <a:pt x="1817176" y="213081"/>
                  </a:cubicBezTo>
                  <a:cubicBezTo>
                    <a:pt x="1814435" y="210484"/>
                    <a:pt x="1810684" y="208320"/>
                    <a:pt x="1806068" y="206589"/>
                  </a:cubicBezTo>
                  <a:cubicBezTo>
                    <a:pt x="1801451" y="205002"/>
                    <a:pt x="1796258" y="203704"/>
                    <a:pt x="1790199" y="202838"/>
                  </a:cubicBezTo>
                  <a:cubicBezTo>
                    <a:pt x="1784284" y="201973"/>
                    <a:pt x="1778080" y="200818"/>
                    <a:pt x="1771732" y="199664"/>
                  </a:cubicBezTo>
                  <a:cubicBezTo>
                    <a:pt x="1763365" y="198077"/>
                    <a:pt x="1754998" y="196346"/>
                    <a:pt x="1746630" y="194182"/>
                  </a:cubicBezTo>
                  <a:cubicBezTo>
                    <a:pt x="1738263" y="192018"/>
                    <a:pt x="1730761" y="188844"/>
                    <a:pt x="1723980" y="184516"/>
                  </a:cubicBezTo>
                  <a:cubicBezTo>
                    <a:pt x="1717200" y="180188"/>
                    <a:pt x="1711862" y="174418"/>
                    <a:pt x="1707823" y="167204"/>
                  </a:cubicBezTo>
                  <a:cubicBezTo>
                    <a:pt x="1703783" y="159991"/>
                    <a:pt x="1701763" y="150614"/>
                    <a:pt x="1701763" y="139217"/>
                  </a:cubicBezTo>
                  <a:cubicBezTo>
                    <a:pt x="1701763" y="129118"/>
                    <a:pt x="1703927" y="120029"/>
                    <a:pt x="1708400" y="112095"/>
                  </a:cubicBezTo>
                  <a:cubicBezTo>
                    <a:pt x="1712872" y="104304"/>
                    <a:pt x="1718931" y="97668"/>
                    <a:pt x="1726577" y="92475"/>
                  </a:cubicBezTo>
                  <a:cubicBezTo>
                    <a:pt x="1734223" y="87281"/>
                    <a:pt x="1743168" y="83386"/>
                    <a:pt x="1753411" y="80645"/>
                  </a:cubicBezTo>
                  <a:cubicBezTo>
                    <a:pt x="1763653" y="78048"/>
                    <a:pt x="1774618" y="76605"/>
                    <a:pt x="1786015" y="76605"/>
                  </a:cubicBezTo>
                  <a:cubicBezTo>
                    <a:pt x="1813714" y="76605"/>
                    <a:pt x="1834921" y="82232"/>
                    <a:pt x="1849636" y="93340"/>
                  </a:cubicBezTo>
                  <a:cubicBezTo>
                    <a:pt x="1864351" y="104449"/>
                    <a:pt x="1872430" y="119741"/>
                    <a:pt x="1874017" y="139073"/>
                  </a:cubicBezTo>
                  <a:lnTo>
                    <a:pt x="1816888" y="139073"/>
                  </a:lnTo>
                  <a:cubicBezTo>
                    <a:pt x="1815589" y="130128"/>
                    <a:pt x="1812271" y="124213"/>
                    <a:pt x="1806789" y="121039"/>
                  </a:cubicBezTo>
                  <a:cubicBezTo>
                    <a:pt x="1801307" y="117865"/>
                    <a:pt x="1794238" y="116278"/>
                    <a:pt x="1785582" y="116278"/>
                  </a:cubicBezTo>
                  <a:cubicBezTo>
                    <a:pt x="1777936" y="116278"/>
                    <a:pt x="1771588" y="117721"/>
                    <a:pt x="1766395" y="120606"/>
                  </a:cubicBezTo>
                  <a:cubicBezTo>
                    <a:pt x="1761201" y="123492"/>
                    <a:pt x="1758604" y="127964"/>
                    <a:pt x="1758604" y="134167"/>
                  </a:cubicBezTo>
                  <a:cubicBezTo>
                    <a:pt x="1758604" y="137774"/>
                    <a:pt x="1759903" y="140515"/>
                    <a:pt x="1762355" y="142535"/>
                  </a:cubicBezTo>
                  <a:cubicBezTo>
                    <a:pt x="1764952" y="144555"/>
                    <a:pt x="1768270" y="146286"/>
                    <a:pt x="1772598" y="147728"/>
                  </a:cubicBezTo>
                  <a:cubicBezTo>
                    <a:pt x="1776926" y="149171"/>
                    <a:pt x="1781975" y="150325"/>
                    <a:pt x="1787602" y="151335"/>
                  </a:cubicBezTo>
                  <a:cubicBezTo>
                    <a:pt x="1793372" y="152345"/>
                    <a:pt x="1799287" y="153355"/>
                    <a:pt x="1805346" y="154365"/>
                  </a:cubicBezTo>
                  <a:cubicBezTo>
                    <a:pt x="1814002" y="155807"/>
                    <a:pt x="1822659" y="157683"/>
                    <a:pt x="1831459" y="159847"/>
                  </a:cubicBezTo>
                  <a:cubicBezTo>
                    <a:pt x="1840259" y="162011"/>
                    <a:pt x="1848193" y="165329"/>
                    <a:pt x="1855407" y="169945"/>
                  </a:cubicBezTo>
                  <a:cubicBezTo>
                    <a:pt x="1862620" y="174562"/>
                    <a:pt x="1868535" y="180621"/>
                    <a:pt x="1873152" y="188412"/>
                  </a:cubicBezTo>
                  <a:cubicBezTo>
                    <a:pt x="1877768" y="196202"/>
                    <a:pt x="1880076" y="206301"/>
                    <a:pt x="1880076" y="218707"/>
                  </a:cubicBezTo>
                  <a:cubicBezTo>
                    <a:pt x="1880076" y="229383"/>
                    <a:pt x="1877768" y="238760"/>
                    <a:pt x="1873440" y="246839"/>
                  </a:cubicBezTo>
                  <a:cubicBezTo>
                    <a:pt x="1868968" y="254918"/>
                    <a:pt x="1862764" y="261699"/>
                    <a:pt x="1854974" y="267037"/>
                  </a:cubicBezTo>
                  <a:cubicBezTo>
                    <a:pt x="1847039" y="272374"/>
                    <a:pt x="1837662" y="276414"/>
                    <a:pt x="1826842" y="279299"/>
                  </a:cubicBezTo>
                  <a:cubicBezTo>
                    <a:pt x="1815878" y="282040"/>
                    <a:pt x="1804048" y="283483"/>
                    <a:pt x="1791353" y="283483"/>
                  </a:cubicBezTo>
                  <a:moveTo>
                    <a:pt x="2001260" y="283050"/>
                  </a:moveTo>
                  <a:cubicBezTo>
                    <a:pt x="1985246" y="283050"/>
                    <a:pt x="1970820" y="280453"/>
                    <a:pt x="1957836" y="275260"/>
                  </a:cubicBezTo>
                  <a:cubicBezTo>
                    <a:pt x="1944852" y="270066"/>
                    <a:pt x="1934032" y="262853"/>
                    <a:pt x="1925087" y="253476"/>
                  </a:cubicBezTo>
                  <a:cubicBezTo>
                    <a:pt x="1916143" y="244243"/>
                    <a:pt x="1909362" y="233278"/>
                    <a:pt x="1904457" y="220583"/>
                  </a:cubicBezTo>
                  <a:cubicBezTo>
                    <a:pt x="1899697" y="207887"/>
                    <a:pt x="1897244" y="194182"/>
                    <a:pt x="1897244" y="179467"/>
                  </a:cubicBezTo>
                  <a:cubicBezTo>
                    <a:pt x="1897244" y="164752"/>
                    <a:pt x="1899697" y="151479"/>
                    <a:pt x="1904457" y="138928"/>
                  </a:cubicBezTo>
                  <a:cubicBezTo>
                    <a:pt x="1909218" y="126377"/>
                    <a:pt x="1916143" y="115413"/>
                    <a:pt x="1925087" y="106180"/>
                  </a:cubicBezTo>
                  <a:cubicBezTo>
                    <a:pt x="1934032" y="96947"/>
                    <a:pt x="1944563" y="89734"/>
                    <a:pt x="1956682" y="84540"/>
                  </a:cubicBezTo>
                  <a:cubicBezTo>
                    <a:pt x="1968944" y="79346"/>
                    <a:pt x="1982505" y="76750"/>
                    <a:pt x="1997509" y="76750"/>
                  </a:cubicBezTo>
                  <a:cubicBezTo>
                    <a:pt x="2011503" y="76750"/>
                    <a:pt x="2023910" y="78914"/>
                    <a:pt x="2035018" y="83242"/>
                  </a:cubicBezTo>
                  <a:cubicBezTo>
                    <a:pt x="2046127" y="87570"/>
                    <a:pt x="2055792" y="93484"/>
                    <a:pt x="2064160" y="101131"/>
                  </a:cubicBezTo>
                  <a:cubicBezTo>
                    <a:pt x="2075845" y="111806"/>
                    <a:pt x="2084501" y="125367"/>
                    <a:pt x="2090272" y="141669"/>
                  </a:cubicBezTo>
                  <a:cubicBezTo>
                    <a:pt x="2096043" y="158116"/>
                    <a:pt x="2098784" y="176149"/>
                    <a:pt x="2098495" y="195913"/>
                  </a:cubicBezTo>
                  <a:lnTo>
                    <a:pt x="1958269" y="195913"/>
                  </a:lnTo>
                  <a:cubicBezTo>
                    <a:pt x="1960288" y="209186"/>
                    <a:pt x="1964905" y="219573"/>
                    <a:pt x="1971974" y="227219"/>
                  </a:cubicBezTo>
                  <a:cubicBezTo>
                    <a:pt x="1979043" y="234865"/>
                    <a:pt x="1989142" y="238616"/>
                    <a:pt x="2002125" y="238616"/>
                  </a:cubicBezTo>
                  <a:cubicBezTo>
                    <a:pt x="2010204" y="238616"/>
                    <a:pt x="2016985" y="236885"/>
                    <a:pt x="2022323" y="233423"/>
                  </a:cubicBezTo>
                  <a:cubicBezTo>
                    <a:pt x="2027661" y="229960"/>
                    <a:pt x="2031700" y="225199"/>
                    <a:pt x="2034585" y="219140"/>
                  </a:cubicBezTo>
                  <a:lnTo>
                    <a:pt x="2095177" y="219140"/>
                  </a:lnTo>
                  <a:cubicBezTo>
                    <a:pt x="2093158" y="228085"/>
                    <a:pt x="2089406" y="236452"/>
                    <a:pt x="2083780" y="244531"/>
                  </a:cubicBezTo>
                  <a:cubicBezTo>
                    <a:pt x="2078154" y="252610"/>
                    <a:pt x="2071085" y="259390"/>
                    <a:pt x="2062429" y="265305"/>
                  </a:cubicBezTo>
                  <a:cubicBezTo>
                    <a:pt x="2054350" y="271220"/>
                    <a:pt x="2045261" y="275548"/>
                    <a:pt x="2035162" y="278578"/>
                  </a:cubicBezTo>
                  <a:cubicBezTo>
                    <a:pt x="2025064" y="281607"/>
                    <a:pt x="2013811" y="283194"/>
                    <a:pt x="2001404" y="283194"/>
                  </a:cubicBezTo>
                  <a:moveTo>
                    <a:pt x="2035739" y="158981"/>
                  </a:moveTo>
                  <a:cubicBezTo>
                    <a:pt x="2034441" y="147296"/>
                    <a:pt x="2030546" y="138063"/>
                    <a:pt x="2023910" y="131138"/>
                  </a:cubicBezTo>
                  <a:cubicBezTo>
                    <a:pt x="2017273" y="124357"/>
                    <a:pt x="2008906" y="120895"/>
                    <a:pt x="1998807" y="120895"/>
                  </a:cubicBezTo>
                  <a:cubicBezTo>
                    <a:pt x="1986833" y="120895"/>
                    <a:pt x="1977745" y="124357"/>
                    <a:pt x="1971397" y="131138"/>
                  </a:cubicBezTo>
                  <a:cubicBezTo>
                    <a:pt x="1965049" y="138063"/>
                    <a:pt x="1960865" y="147296"/>
                    <a:pt x="1958846" y="158981"/>
                  </a:cubicBezTo>
                  <a:lnTo>
                    <a:pt x="2035739" y="158981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420A9100-D517-D472-CEFD-D0D3A5BCF545}"/>
                </a:ext>
              </a:extLst>
            </p:cNvPr>
            <p:cNvSpPr/>
            <p:nvPr/>
          </p:nvSpPr>
          <p:spPr>
            <a:xfrm>
              <a:off x="883128" y="557212"/>
              <a:ext cx="273528" cy="675598"/>
            </a:xfrm>
            <a:custGeom>
              <a:avLst/>
              <a:gdLst>
                <a:gd name="connsiteX0" fmla="*/ 0 w 273528"/>
                <a:gd name="connsiteY0" fmla="*/ 0 h 675598"/>
                <a:gd name="connsiteX1" fmla="*/ 0 w 273528"/>
                <a:gd name="connsiteY1" fmla="*/ 476944 h 675598"/>
                <a:gd name="connsiteX2" fmla="*/ 272807 w 273528"/>
                <a:gd name="connsiteY2" fmla="*/ 675598 h 675598"/>
                <a:gd name="connsiteX3" fmla="*/ 273529 w 273528"/>
                <a:gd name="connsiteY3" fmla="*/ 674877 h 675598"/>
                <a:gd name="connsiteX4" fmla="*/ 0 w 273528"/>
                <a:gd name="connsiteY4" fmla="*/ 0 h 675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528" h="675598">
                  <a:moveTo>
                    <a:pt x="0" y="0"/>
                  </a:moveTo>
                  <a:lnTo>
                    <a:pt x="0" y="476944"/>
                  </a:lnTo>
                  <a:lnTo>
                    <a:pt x="272807" y="675598"/>
                  </a:lnTo>
                  <a:cubicBezTo>
                    <a:pt x="272807" y="675598"/>
                    <a:pt x="273384" y="675021"/>
                    <a:pt x="273529" y="67487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3D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AA4E6CE2-336C-0213-9FF5-26E16386C047}"/>
                </a:ext>
              </a:extLst>
            </p:cNvPr>
            <p:cNvSpPr/>
            <p:nvPr/>
          </p:nvSpPr>
          <p:spPr>
            <a:xfrm>
              <a:off x="609600" y="557212"/>
              <a:ext cx="273528" cy="675453"/>
            </a:xfrm>
            <a:custGeom>
              <a:avLst/>
              <a:gdLst>
                <a:gd name="connsiteX0" fmla="*/ 0 w 273528"/>
                <a:gd name="connsiteY0" fmla="*/ 674733 h 675453"/>
                <a:gd name="connsiteX1" fmla="*/ 721 w 273528"/>
                <a:gd name="connsiteY1" fmla="*/ 675454 h 675453"/>
                <a:gd name="connsiteX2" fmla="*/ 273529 w 273528"/>
                <a:gd name="connsiteY2" fmla="*/ 476799 h 675453"/>
                <a:gd name="connsiteX3" fmla="*/ 273529 w 273528"/>
                <a:gd name="connsiteY3" fmla="*/ 0 h 675453"/>
                <a:gd name="connsiteX4" fmla="*/ 0 w 273528"/>
                <a:gd name="connsiteY4" fmla="*/ 674733 h 675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528" h="675453">
                  <a:moveTo>
                    <a:pt x="0" y="674733"/>
                  </a:moveTo>
                  <a:cubicBezTo>
                    <a:pt x="0" y="674733"/>
                    <a:pt x="577" y="675310"/>
                    <a:pt x="721" y="675454"/>
                  </a:cubicBezTo>
                  <a:lnTo>
                    <a:pt x="273529" y="476799"/>
                  </a:lnTo>
                  <a:lnTo>
                    <a:pt x="273529" y="0"/>
                  </a:lnTo>
                  <a:lnTo>
                    <a:pt x="0" y="674733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8DC4B6A-4CBA-E0F1-E91D-A6319EE1FAC8}"/>
              </a:ext>
            </a:extLst>
          </p:cNvPr>
          <p:cNvCxnSpPr>
            <a:cxnSpLocks/>
          </p:cNvCxnSpPr>
          <p:nvPr/>
        </p:nvCxnSpPr>
        <p:spPr>
          <a:xfrm>
            <a:off x="609600" y="4594548"/>
            <a:ext cx="537667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CB1E87D-CF80-16E1-E2DA-D366BCB64A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048537"/>
            <a:ext cx="5376672" cy="2244461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ation title extends </a:t>
            </a:r>
            <a:br>
              <a:rPr lang="en-US"/>
            </a:br>
            <a:r>
              <a:rPr lang="en-US"/>
              <a:t>up to 3 line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2A9289B-23E0-657B-DF89-7F9B74F766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2648" y="1527048"/>
            <a:ext cx="2468880" cy="215444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400" b="1" cap="all" spc="300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63BBE4A5-01FB-BD6C-513D-9B06278F44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6090476"/>
            <a:ext cx="1834388" cy="210312"/>
          </a:xfrm>
          <a:prstGeom prst="rect">
            <a:avLst/>
          </a:prstGeom>
        </p:spPr>
      </p:pic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FCC54D6-1CD8-DA15-70A3-BCCDE81CDB97}"/>
              </a:ext>
            </a:extLst>
          </p:cNvPr>
          <p:cNvCxnSpPr>
            <a:cxnSpLocks/>
          </p:cNvCxnSpPr>
          <p:nvPr userDrawn="1"/>
        </p:nvCxnSpPr>
        <p:spPr>
          <a:xfrm>
            <a:off x="609600" y="4594548"/>
            <a:ext cx="537667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33">
            <a:extLst>
              <a:ext uri="{FF2B5EF4-FFF2-40B4-BE49-F238E27FC236}">
                <a16:creationId xmlns:a16="http://schemas.microsoft.com/office/drawing/2014/main" id="{31A9C09B-A70B-7FAF-E144-352D9BBCCE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4896099"/>
            <a:ext cx="5387082" cy="307777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8" name="Text Placeholder 33">
            <a:extLst>
              <a:ext uri="{FF2B5EF4-FFF2-40B4-BE49-F238E27FC236}">
                <a16:creationId xmlns:a16="http://schemas.microsoft.com/office/drawing/2014/main" id="{BE4ABADF-2476-619E-BCA6-A3468081358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0348" y="5236388"/>
            <a:ext cx="5387082" cy="276999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</p:spTree>
    <p:extLst>
      <p:ext uri="{BB962C8B-B14F-4D97-AF65-F5344CB8AC3E}">
        <p14:creationId xmlns:p14="http://schemas.microsoft.com/office/powerpoint/2010/main" val="276131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 with image - Dark ">
    <p:bg>
      <p:bgPr>
        <a:solidFill>
          <a:schemeClr val="tx2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C1A42ED-98C2-0925-4548-9A57C0E8C3BF}"/>
              </a:ext>
            </a:extLst>
          </p:cNvPr>
          <p:cNvSpPr/>
          <p:nvPr/>
        </p:nvSpPr>
        <p:spPr>
          <a:xfrm>
            <a:off x="0" y="0"/>
            <a:ext cx="66294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aphic 7">
            <a:extLst>
              <a:ext uri="{FF2B5EF4-FFF2-40B4-BE49-F238E27FC236}">
                <a16:creationId xmlns:a16="http://schemas.microsoft.com/office/drawing/2014/main" id="{C5A0A539-4BAC-8953-4BBA-6D59087AD769}"/>
              </a:ext>
            </a:extLst>
          </p:cNvPr>
          <p:cNvGrpSpPr/>
          <p:nvPr userDrawn="1"/>
        </p:nvGrpSpPr>
        <p:grpSpPr>
          <a:xfrm>
            <a:off x="609600" y="557212"/>
            <a:ext cx="1729317" cy="437558"/>
            <a:chOff x="609600" y="557212"/>
            <a:chExt cx="2670098" cy="675598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CABD304E-130C-E81B-7AD9-4DF1D35529F5}"/>
                </a:ext>
              </a:extLst>
            </p:cNvPr>
            <p:cNvSpPr/>
            <p:nvPr/>
          </p:nvSpPr>
          <p:spPr>
            <a:xfrm>
              <a:off x="1181182" y="790634"/>
              <a:ext cx="2098515" cy="283771"/>
            </a:xfrm>
            <a:custGeom>
              <a:avLst/>
              <a:gdLst>
                <a:gd name="connsiteX0" fmla="*/ 129551 w 2098515"/>
                <a:gd name="connsiteY0" fmla="*/ 283771 h 283771"/>
                <a:gd name="connsiteX1" fmla="*/ 77038 w 2098515"/>
                <a:gd name="connsiteY1" fmla="*/ 273817 h 283771"/>
                <a:gd name="connsiteX2" fmla="*/ 36644 w 2098515"/>
                <a:gd name="connsiteY2" fmla="*/ 245685 h 283771"/>
                <a:gd name="connsiteX3" fmla="*/ 9377 w 2098515"/>
                <a:gd name="connsiteY3" fmla="*/ 199953 h 283771"/>
                <a:gd name="connsiteX4" fmla="*/ 0 w 2098515"/>
                <a:gd name="connsiteY4" fmla="*/ 142391 h 283771"/>
                <a:gd name="connsiteX5" fmla="*/ 10531 w 2098515"/>
                <a:gd name="connsiteY5" fmla="*/ 82809 h 283771"/>
                <a:gd name="connsiteX6" fmla="*/ 40395 w 2098515"/>
                <a:gd name="connsiteY6" fmla="*/ 36211 h 283771"/>
                <a:gd name="connsiteX7" fmla="*/ 80789 w 2098515"/>
                <a:gd name="connsiteY7" fmla="*/ 9522 h 283771"/>
                <a:gd name="connsiteX8" fmla="*/ 133735 w 2098515"/>
                <a:gd name="connsiteY8" fmla="*/ 0 h 283771"/>
                <a:gd name="connsiteX9" fmla="*/ 180910 w 2098515"/>
                <a:gd name="connsiteY9" fmla="*/ 6636 h 283771"/>
                <a:gd name="connsiteX10" fmla="*/ 217121 w 2098515"/>
                <a:gd name="connsiteY10" fmla="*/ 25679 h 283771"/>
                <a:gd name="connsiteX11" fmla="*/ 241646 w 2098515"/>
                <a:gd name="connsiteY11" fmla="*/ 55542 h 283771"/>
                <a:gd name="connsiteX12" fmla="*/ 254341 w 2098515"/>
                <a:gd name="connsiteY12" fmla="*/ 94350 h 283771"/>
                <a:gd name="connsiteX13" fmla="*/ 188844 w 2098515"/>
                <a:gd name="connsiteY13" fmla="*/ 94350 h 283771"/>
                <a:gd name="connsiteX14" fmla="*/ 171677 w 2098515"/>
                <a:gd name="connsiteY14" fmla="*/ 66507 h 283771"/>
                <a:gd name="connsiteX15" fmla="*/ 135899 w 2098515"/>
                <a:gd name="connsiteY15" fmla="*/ 55398 h 283771"/>
                <a:gd name="connsiteX16" fmla="*/ 106324 w 2098515"/>
                <a:gd name="connsiteY16" fmla="*/ 62034 h 283771"/>
                <a:gd name="connsiteX17" fmla="*/ 85117 w 2098515"/>
                <a:gd name="connsiteY17" fmla="*/ 80356 h 283771"/>
                <a:gd name="connsiteX18" fmla="*/ 72566 w 2098515"/>
                <a:gd name="connsiteY18" fmla="*/ 107767 h 283771"/>
                <a:gd name="connsiteX19" fmla="*/ 68382 w 2098515"/>
                <a:gd name="connsiteY19" fmla="*/ 142246 h 283771"/>
                <a:gd name="connsiteX20" fmla="*/ 73143 w 2098515"/>
                <a:gd name="connsiteY20" fmla="*/ 176870 h 283771"/>
                <a:gd name="connsiteX21" fmla="*/ 86704 w 2098515"/>
                <a:gd name="connsiteY21" fmla="*/ 204425 h 283771"/>
                <a:gd name="connsiteX22" fmla="*/ 108200 w 2098515"/>
                <a:gd name="connsiteY22" fmla="*/ 222458 h 283771"/>
                <a:gd name="connsiteX23" fmla="*/ 136909 w 2098515"/>
                <a:gd name="connsiteY23" fmla="*/ 228950 h 283771"/>
                <a:gd name="connsiteX24" fmla="*/ 160712 w 2098515"/>
                <a:gd name="connsiteY24" fmla="*/ 224911 h 283771"/>
                <a:gd name="connsiteX25" fmla="*/ 178601 w 2098515"/>
                <a:gd name="connsiteY25" fmla="*/ 214235 h 283771"/>
                <a:gd name="connsiteX26" fmla="*/ 190431 w 2098515"/>
                <a:gd name="connsiteY26" fmla="*/ 198943 h 283771"/>
                <a:gd name="connsiteX27" fmla="*/ 195913 w 2098515"/>
                <a:gd name="connsiteY27" fmla="*/ 181198 h 283771"/>
                <a:gd name="connsiteX28" fmla="*/ 195913 w 2098515"/>
                <a:gd name="connsiteY28" fmla="*/ 180477 h 283771"/>
                <a:gd name="connsiteX29" fmla="*/ 144843 w 2098515"/>
                <a:gd name="connsiteY29" fmla="*/ 180477 h 283771"/>
                <a:gd name="connsiteX30" fmla="*/ 144843 w 2098515"/>
                <a:gd name="connsiteY30" fmla="*/ 130994 h 283771"/>
                <a:gd name="connsiteX31" fmla="*/ 258381 w 2098515"/>
                <a:gd name="connsiteY31" fmla="*/ 130994 h 283771"/>
                <a:gd name="connsiteX32" fmla="*/ 258381 w 2098515"/>
                <a:gd name="connsiteY32" fmla="*/ 277279 h 283771"/>
                <a:gd name="connsiteX33" fmla="*/ 211206 w 2098515"/>
                <a:gd name="connsiteY33" fmla="*/ 277279 h 283771"/>
                <a:gd name="connsiteX34" fmla="*/ 207455 w 2098515"/>
                <a:gd name="connsiteY34" fmla="*/ 244531 h 283771"/>
                <a:gd name="connsiteX35" fmla="*/ 206733 w 2098515"/>
                <a:gd name="connsiteY35" fmla="*/ 244531 h 283771"/>
                <a:gd name="connsiteX36" fmla="*/ 173841 w 2098515"/>
                <a:gd name="connsiteY36" fmla="*/ 274394 h 283771"/>
                <a:gd name="connsiteX37" fmla="*/ 129407 w 2098515"/>
                <a:gd name="connsiteY37" fmla="*/ 283339 h 283771"/>
                <a:gd name="connsiteX38" fmla="*/ 358357 w 2098515"/>
                <a:gd name="connsiteY38" fmla="*/ 282906 h 283771"/>
                <a:gd name="connsiteX39" fmla="*/ 307143 w 2098515"/>
                <a:gd name="connsiteY39" fmla="*/ 262853 h 283771"/>
                <a:gd name="connsiteX40" fmla="*/ 289831 w 2098515"/>
                <a:gd name="connsiteY40" fmla="*/ 210051 h 283771"/>
                <a:gd name="connsiteX41" fmla="*/ 289831 w 2098515"/>
                <a:gd name="connsiteY41" fmla="*/ 82087 h 283771"/>
                <a:gd name="connsiteX42" fmla="*/ 351577 w 2098515"/>
                <a:gd name="connsiteY42" fmla="*/ 82087 h 283771"/>
                <a:gd name="connsiteX43" fmla="*/ 351577 w 2098515"/>
                <a:gd name="connsiteY43" fmla="*/ 197212 h 283771"/>
                <a:gd name="connsiteX44" fmla="*/ 358790 w 2098515"/>
                <a:gd name="connsiteY44" fmla="*/ 221737 h 283771"/>
                <a:gd name="connsiteX45" fmla="*/ 380863 w 2098515"/>
                <a:gd name="connsiteY45" fmla="*/ 230249 h 283771"/>
                <a:gd name="connsiteX46" fmla="*/ 405965 w 2098515"/>
                <a:gd name="connsiteY46" fmla="*/ 219429 h 283771"/>
                <a:gd name="connsiteX47" fmla="*/ 415054 w 2098515"/>
                <a:gd name="connsiteY47" fmla="*/ 191008 h 283771"/>
                <a:gd name="connsiteX48" fmla="*/ 415054 w 2098515"/>
                <a:gd name="connsiteY48" fmla="*/ 82087 h 283771"/>
                <a:gd name="connsiteX49" fmla="*/ 477088 w 2098515"/>
                <a:gd name="connsiteY49" fmla="*/ 82087 h 283771"/>
                <a:gd name="connsiteX50" fmla="*/ 477088 w 2098515"/>
                <a:gd name="connsiteY50" fmla="*/ 277135 h 283771"/>
                <a:gd name="connsiteX51" fmla="*/ 417650 w 2098515"/>
                <a:gd name="connsiteY51" fmla="*/ 277135 h 283771"/>
                <a:gd name="connsiteX52" fmla="*/ 417650 w 2098515"/>
                <a:gd name="connsiteY52" fmla="*/ 253187 h 283771"/>
                <a:gd name="connsiteX53" fmla="*/ 416496 w 2098515"/>
                <a:gd name="connsiteY53" fmla="*/ 253187 h 283771"/>
                <a:gd name="connsiteX54" fmla="*/ 392260 w 2098515"/>
                <a:gd name="connsiteY54" fmla="*/ 275260 h 283771"/>
                <a:gd name="connsiteX55" fmla="*/ 358213 w 2098515"/>
                <a:gd name="connsiteY55" fmla="*/ 282906 h 283771"/>
                <a:gd name="connsiteX56" fmla="*/ 512433 w 2098515"/>
                <a:gd name="connsiteY56" fmla="*/ 2164 h 283771"/>
                <a:gd name="connsiteX57" fmla="*/ 574468 w 2098515"/>
                <a:gd name="connsiteY57" fmla="*/ 2164 h 283771"/>
                <a:gd name="connsiteX58" fmla="*/ 574468 w 2098515"/>
                <a:gd name="connsiteY58" fmla="*/ 55110 h 283771"/>
                <a:gd name="connsiteX59" fmla="*/ 512433 w 2098515"/>
                <a:gd name="connsiteY59" fmla="*/ 55110 h 283771"/>
                <a:gd name="connsiteX60" fmla="*/ 512433 w 2098515"/>
                <a:gd name="connsiteY60" fmla="*/ 2164 h 283771"/>
                <a:gd name="connsiteX61" fmla="*/ 512433 w 2098515"/>
                <a:gd name="connsiteY61" fmla="*/ 82087 h 283771"/>
                <a:gd name="connsiteX62" fmla="*/ 574468 w 2098515"/>
                <a:gd name="connsiteY62" fmla="*/ 82087 h 283771"/>
                <a:gd name="connsiteX63" fmla="*/ 574468 w 2098515"/>
                <a:gd name="connsiteY63" fmla="*/ 277135 h 283771"/>
                <a:gd name="connsiteX64" fmla="*/ 512433 w 2098515"/>
                <a:gd name="connsiteY64" fmla="*/ 277135 h 283771"/>
                <a:gd name="connsiteX65" fmla="*/ 512433 w 2098515"/>
                <a:gd name="connsiteY65" fmla="*/ 82087 h 283771"/>
                <a:gd name="connsiteX66" fmla="*/ 686563 w 2098515"/>
                <a:gd name="connsiteY66" fmla="*/ 283194 h 283771"/>
                <a:gd name="connsiteX67" fmla="*/ 652227 w 2098515"/>
                <a:gd name="connsiteY67" fmla="*/ 276125 h 283771"/>
                <a:gd name="connsiteX68" fmla="*/ 625249 w 2098515"/>
                <a:gd name="connsiteY68" fmla="*/ 255784 h 283771"/>
                <a:gd name="connsiteX69" fmla="*/ 607505 w 2098515"/>
                <a:gd name="connsiteY69" fmla="*/ 223180 h 283771"/>
                <a:gd name="connsiteX70" fmla="*/ 601157 w 2098515"/>
                <a:gd name="connsiteY70" fmla="*/ 179611 h 283771"/>
                <a:gd name="connsiteX71" fmla="*/ 607505 w 2098515"/>
                <a:gd name="connsiteY71" fmla="*/ 137630 h 283771"/>
                <a:gd name="connsiteX72" fmla="*/ 624961 w 2098515"/>
                <a:gd name="connsiteY72" fmla="*/ 105026 h 283771"/>
                <a:gd name="connsiteX73" fmla="*/ 651794 w 2098515"/>
                <a:gd name="connsiteY73" fmla="*/ 83819 h 283771"/>
                <a:gd name="connsiteX74" fmla="*/ 686418 w 2098515"/>
                <a:gd name="connsiteY74" fmla="*/ 76172 h 283771"/>
                <a:gd name="connsiteX75" fmla="*/ 719600 w 2098515"/>
                <a:gd name="connsiteY75" fmla="*/ 83963 h 283771"/>
                <a:gd name="connsiteX76" fmla="*/ 740951 w 2098515"/>
                <a:gd name="connsiteY76" fmla="*/ 104016 h 283771"/>
                <a:gd name="connsiteX77" fmla="*/ 742105 w 2098515"/>
                <a:gd name="connsiteY77" fmla="*/ 104016 h 283771"/>
                <a:gd name="connsiteX78" fmla="*/ 742105 w 2098515"/>
                <a:gd name="connsiteY78" fmla="*/ 1875 h 283771"/>
                <a:gd name="connsiteX79" fmla="*/ 804139 w 2098515"/>
                <a:gd name="connsiteY79" fmla="*/ 1875 h 283771"/>
                <a:gd name="connsiteX80" fmla="*/ 804139 w 2098515"/>
                <a:gd name="connsiteY80" fmla="*/ 276991 h 283771"/>
                <a:gd name="connsiteX81" fmla="*/ 744702 w 2098515"/>
                <a:gd name="connsiteY81" fmla="*/ 276991 h 283771"/>
                <a:gd name="connsiteX82" fmla="*/ 744702 w 2098515"/>
                <a:gd name="connsiteY82" fmla="*/ 250735 h 283771"/>
                <a:gd name="connsiteX83" fmla="*/ 743981 w 2098515"/>
                <a:gd name="connsiteY83" fmla="*/ 250735 h 283771"/>
                <a:gd name="connsiteX84" fmla="*/ 720609 w 2098515"/>
                <a:gd name="connsiteY84" fmla="*/ 274538 h 283771"/>
                <a:gd name="connsiteX85" fmla="*/ 686563 w 2098515"/>
                <a:gd name="connsiteY85" fmla="*/ 283050 h 283771"/>
                <a:gd name="connsiteX86" fmla="*/ 702576 w 2098515"/>
                <a:gd name="connsiteY86" fmla="*/ 233855 h 283771"/>
                <a:gd name="connsiteX87" fmla="*/ 732872 w 2098515"/>
                <a:gd name="connsiteY87" fmla="*/ 218563 h 283771"/>
                <a:gd name="connsiteX88" fmla="*/ 743692 w 2098515"/>
                <a:gd name="connsiteY88" fmla="*/ 179323 h 283771"/>
                <a:gd name="connsiteX89" fmla="*/ 741239 w 2098515"/>
                <a:gd name="connsiteY89" fmla="*/ 156673 h 283771"/>
                <a:gd name="connsiteX90" fmla="*/ 733593 w 2098515"/>
                <a:gd name="connsiteY90" fmla="*/ 138784 h 283771"/>
                <a:gd name="connsiteX91" fmla="*/ 721042 w 2098515"/>
                <a:gd name="connsiteY91" fmla="*/ 127098 h 283771"/>
                <a:gd name="connsiteX92" fmla="*/ 703297 w 2098515"/>
                <a:gd name="connsiteY92" fmla="*/ 122915 h 283771"/>
                <a:gd name="connsiteX93" fmla="*/ 674300 w 2098515"/>
                <a:gd name="connsiteY93" fmla="*/ 138351 h 283771"/>
                <a:gd name="connsiteX94" fmla="*/ 664057 w 2098515"/>
                <a:gd name="connsiteY94" fmla="*/ 178601 h 283771"/>
                <a:gd name="connsiteX95" fmla="*/ 674156 w 2098515"/>
                <a:gd name="connsiteY95" fmla="*/ 218996 h 283771"/>
                <a:gd name="connsiteX96" fmla="*/ 702576 w 2098515"/>
                <a:gd name="connsiteY96" fmla="*/ 233855 h 283771"/>
                <a:gd name="connsiteX97" fmla="*/ 931094 w 2098515"/>
                <a:gd name="connsiteY97" fmla="*/ 282617 h 283771"/>
                <a:gd name="connsiteX98" fmla="*/ 887670 w 2098515"/>
                <a:gd name="connsiteY98" fmla="*/ 274827 h 283771"/>
                <a:gd name="connsiteX99" fmla="*/ 854921 w 2098515"/>
                <a:gd name="connsiteY99" fmla="*/ 253043 h 283771"/>
                <a:gd name="connsiteX100" fmla="*/ 834291 w 2098515"/>
                <a:gd name="connsiteY100" fmla="*/ 220150 h 283771"/>
                <a:gd name="connsiteX101" fmla="*/ 827078 w 2098515"/>
                <a:gd name="connsiteY101" fmla="*/ 179034 h 283771"/>
                <a:gd name="connsiteX102" fmla="*/ 834291 w 2098515"/>
                <a:gd name="connsiteY102" fmla="*/ 138495 h 283771"/>
                <a:gd name="connsiteX103" fmla="*/ 854921 w 2098515"/>
                <a:gd name="connsiteY103" fmla="*/ 105747 h 283771"/>
                <a:gd name="connsiteX104" fmla="*/ 886515 w 2098515"/>
                <a:gd name="connsiteY104" fmla="*/ 84107 h 283771"/>
                <a:gd name="connsiteX105" fmla="*/ 927343 w 2098515"/>
                <a:gd name="connsiteY105" fmla="*/ 76317 h 283771"/>
                <a:gd name="connsiteX106" fmla="*/ 964852 w 2098515"/>
                <a:gd name="connsiteY106" fmla="*/ 82809 h 283771"/>
                <a:gd name="connsiteX107" fmla="*/ 993994 w 2098515"/>
                <a:gd name="connsiteY107" fmla="*/ 100698 h 283771"/>
                <a:gd name="connsiteX108" fmla="*/ 1020106 w 2098515"/>
                <a:gd name="connsiteY108" fmla="*/ 141237 h 283771"/>
                <a:gd name="connsiteX109" fmla="*/ 1028329 w 2098515"/>
                <a:gd name="connsiteY109" fmla="*/ 195481 h 283771"/>
                <a:gd name="connsiteX110" fmla="*/ 888102 w 2098515"/>
                <a:gd name="connsiteY110" fmla="*/ 195481 h 283771"/>
                <a:gd name="connsiteX111" fmla="*/ 901808 w 2098515"/>
                <a:gd name="connsiteY111" fmla="*/ 226786 h 283771"/>
                <a:gd name="connsiteX112" fmla="*/ 931959 w 2098515"/>
                <a:gd name="connsiteY112" fmla="*/ 238183 h 283771"/>
                <a:gd name="connsiteX113" fmla="*/ 952157 w 2098515"/>
                <a:gd name="connsiteY113" fmla="*/ 232990 h 283771"/>
                <a:gd name="connsiteX114" fmla="*/ 964275 w 2098515"/>
                <a:gd name="connsiteY114" fmla="*/ 218707 h 283771"/>
                <a:gd name="connsiteX115" fmla="*/ 1024867 w 2098515"/>
                <a:gd name="connsiteY115" fmla="*/ 218707 h 283771"/>
                <a:gd name="connsiteX116" fmla="*/ 1013470 w 2098515"/>
                <a:gd name="connsiteY116" fmla="*/ 244098 h 283771"/>
                <a:gd name="connsiteX117" fmla="*/ 992118 w 2098515"/>
                <a:gd name="connsiteY117" fmla="*/ 264873 h 283771"/>
                <a:gd name="connsiteX118" fmla="*/ 964852 w 2098515"/>
                <a:gd name="connsiteY118" fmla="*/ 278145 h 283771"/>
                <a:gd name="connsiteX119" fmla="*/ 931094 w 2098515"/>
                <a:gd name="connsiteY119" fmla="*/ 282762 h 283771"/>
                <a:gd name="connsiteX120" fmla="*/ 965429 w 2098515"/>
                <a:gd name="connsiteY120" fmla="*/ 158548 h 283771"/>
                <a:gd name="connsiteX121" fmla="*/ 953599 w 2098515"/>
                <a:gd name="connsiteY121" fmla="*/ 130705 h 283771"/>
                <a:gd name="connsiteX122" fmla="*/ 928497 w 2098515"/>
                <a:gd name="connsiteY122" fmla="*/ 120462 h 283771"/>
                <a:gd name="connsiteX123" fmla="*/ 901086 w 2098515"/>
                <a:gd name="connsiteY123" fmla="*/ 130705 h 283771"/>
                <a:gd name="connsiteX124" fmla="*/ 888535 w 2098515"/>
                <a:gd name="connsiteY124" fmla="*/ 158548 h 283771"/>
                <a:gd name="connsiteX125" fmla="*/ 965429 w 2098515"/>
                <a:gd name="connsiteY125" fmla="*/ 158548 h 283771"/>
                <a:gd name="connsiteX126" fmla="*/ 1051123 w 2098515"/>
                <a:gd name="connsiteY126" fmla="*/ 2020 h 283771"/>
                <a:gd name="connsiteX127" fmla="*/ 1113158 w 2098515"/>
                <a:gd name="connsiteY127" fmla="*/ 2020 h 283771"/>
                <a:gd name="connsiteX128" fmla="*/ 1113158 w 2098515"/>
                <a:gd name="connsiteY128" fmla="*/ 106036 h 283771"/>
                <a:gd name="connsiteX129" fmla="*/ 1114312 w 2098515"/>
                <a:gd name="connsiteY129" fmla="*/ 106036 h 283771"/>
                <a:gd name="connsiteX130" fmla="*/ 1138260 w 2098515"/>
                <a:gd name="connsiteY130" fmla="*/ 84107 h 283771"/>
                <a:gd name="connsiteX131" fmla="*/ 1172162 w 2098515"/>
                <a:gd name="connsiteY131" fmla="*/ 76317 h 283771"/>
                <a:gd name="connsiteX132" fmla="*/ 1200727 w 2098515"/>
                <a:gd name="connsiteY132" fmla="*/ 81799 h 283771"/>
                <a:gd name="connsiteX133" fmla="*/ 1222079 w 2098515"/>
                <a:gd name="connsiteY133" fmla="*/ 97091 h 283771"/>
                <a:gd name="connsiteX134" fmla="*/ 1235495 w 2098515"/>
                <a:gd name="connsiteY134" fmla="*/ 120318 h 283771"/>
                <a:gd name="connsiteX135" fmla="*/ 1240112 w 2098515"/>
                <a:gd name="connsiteY135" fmla="*/ 150181 h 283771"/>
                <a:gd name="connsiteX136" fmla="*/ 1240112 w 2098515"/>
                <a:gd name="connsiteY136" fmla="*/ 276991 h 283771"/>
                <a:gd name="connsiteX137" fmla="*/ 1178077 w 2098515"/>
                <a:gd name="connsiteY137" fmla="*/ 276991 h 283771"/>
                <a:gd name="connsiteX138" fmla="*/ 1178077 w 2098515"/>
                <a:gd name="connsiteY138" fmla="*/ 162732 h 283771"/>
                <a:gd name="connsiteX139" fmla="*/ 1170431 w 2098515"/>
                <a:gd name="connsiteY139" fmla="*/ 137630 h 283771"/>
                <a:gd name="connsiteX140" fmla="*/ 1147637 w 2098515"/>
                <a:gd name="connsiteY140" fmla="*/ 128108 h 283771"/>
                <a:gd name="connsiteX141" fmla="*/ 1122679 w 2098515"/>
                <a:gd name="connsiteY141" fmla="*/ 139505 h 283771"/>
                <a:gd name="connsiteX142" fmla="*/ 1113302 w 2098515"/>
                <a:gd name="connsiteY142" fmla="*/ 169224 h 283771"/>
                <a:gd name="connsiteX143" fmla="*/ 1113302 w 2098515"/>
                <a:gd name="connsiteY143" fmla="*/ 276991 h 283771"/>
                <a:gd name="connsiteX144" fmla="*/ 1051267 w 2098515"/>
                <a:gd name="connsiteY144" fmla="*/ 276991 h 283771"/>
                <a:gd name="connsiteX145" fmla="*/ 1051267 w 2098515"/>
                <a:gd name="connsiteY145" fmla="*/ 1875 h 283771"/>
                <a:gd name="connsiteX146" fmla="*/ 1363892 w 2098515"/>
                <a:gd name="connsiteY146" fmla="*/ 283194 h 283771"/>
                <a:gd name="connsiteX147" fmla="*/ 1321045 w 2098515"/>
                <a:gd name="connsiteY147" fmla="*/ 275404 h 283771"/>
                <a:gd name="connsiteX148" fmla="*/ 1288008 w 2098515"/>
                <a:gd name="connsiteY148" fmla="*/ 253620 h 283771"/>
                <a:gd name="connsiteX149" fmla="*/ 1266945 w 2098515"/>
                <a:gd name="connsiteY149" fmla="*/ 220871 h 283771"/>
                <a:gd name="connsiteX150" fmla="*/ 1259443 w 2098515"/>
                <a:gd name="connsiteY150" fmla="*/ 179900 h 283771"/>
                <a:gd name="connsiteX151" fmla="*/ 1266945 w 2098515"/>
                <a:gd name="connsiteY151" fmla="*/ 138928 h 283771"/>
                <a:gd name="connsiteX152" fmla="*/ 1288008 w 2098515"/>
                <a:gd name="connsiteY152" fmla="*/ 106180 h 283771"/>
                <a:gd name="connsiteX153" fmla="*/ 1321045 w 2098515"/>
                <a:gd name="connsiteY153" fmla="*/ 84540 h 283771"/>
                <a:gd name="connsiteX154" fmla="*/ 1363892 w 2098515"/>
                <a:gd name="connsiteY154" fmla="*/ 76750 h 283771"/>
                <a:gd name="connsiteX155" fmla="*/ 1406739 w 2098515"/>
                <a:gd name="connsiteY155" fmla="*/ 84540 h 283771"/>
                <a:gd name="connsiteX156" fmla="*/ 1439487 w 2098515"/>
                <a:gd name="connsiteY156" fmla="*/ 106180 h 283771"/>
                <a:gd name="connsiteX157" fmla="*/ 1460406 w 2098515"/>
                <a:gd name="connsiteY157" fmla="*/ 138928 h 283771"/>
                <a:gd name="connsiteX158" fmla="*/ 1467764 w 2098515"/>
                <a:gd name="connsiteY158" fmla="*/ 179900 h 283771"/>
                <a:gd name="connsiteX159" fmla="*/ 1460406 w 2098515"/>
                <a:gd name="connsiteY159" fmla="*/ 220871 h 283771"/>
                <a:gd name="connsiteX160" fmla="*/ 1439487 w 2098515"/>
                <a:gd name="connsiteY160" fmla="*/ 253620 h 283771"/>
                <a:gd name="connsiteX161" fmla="*/ 1406739 w 2098515"/>
                <a:gd name="connsiteY161" fmla="*/ 275404 h 283771"/>
                <a:gd name="connsiteX162" fmla="*/ 1363892 w 2098515"/>
                <a:gd name="connsiteY162" fmla="*/ 283194 h 283771"/>
                <a:gd name="connsiteX163" fmla="*/ 1363459 w 2098515"/>
                <a:gd name="connsiteY163" fmla="*/ 239049 h 283771"/>
                <a:gd name="connsiteX164" fmla="*/ 1394477 w 2098515"/>
                <a:gd name="connsiteY164" fmla="*/ 222891 h 283771"/>
                <a:gd name="connsiteX165" fmla="*/ 1405008 w 2098515"/>
                <a:gd name="connsiteY165" fmla="*/ 180044 h 283771"/>
                <a:gd name="connsiteX166" fmla="*/ 1394477 w 2098515"/>
                <a:gd name="connsiteY166" fmla="*/ 137053 h 283771"/>
                <a:gd name="connsiteX167" fmla="*/ 1363459 w 2098515"/>
                <a:gd name="connsiteY167" fmla="*/ 120606 h 283771"/>
                <a:gd name="connsiteX168" fmla="*/ 1332586 w 2098515"/>
                <a:gd name="connsiteY168" fmla="*/ 137053 h 283771"/>
                <a:gd name="connsiteX169" fmla="*/ 1322343 w 2098515"/>
                <a:gd name="connsiteY169" fmla="*/ 180044 h 283771"/>
                <a:gd name="connsiteX170" fmla="*/ 1332586 w 2098515"/>
                <a:gd name="connsiteY170" fmla="*/ 222891 h 283771"/>
                <a:gd name="connsiteX171" fmla="*/ 1363459 w 2098515"/>
                <a:gd name="connsiteY171" fmla="*/ 239049 h 283771"/>
                <a:gd name="connsiteX172" fmla="*/ 1555910 w 2098515"/>
                <a:gd name="connsiteY172" fmla="*/ 282906 h 283771"/>
                <a:gd name="connsiteX173" fmla="*/ 1504696 w 2098515"/>
                <a:gd name="connsiteY173" fmla="*/ 262853 h 283771"/>
                <a:gd name="connsiteX174" fmla="*/ 1487384 w 2098515"/>
                <a:gd name="connsiteY174" fmla="*/ 210051 h 283771"/>
                <a:gd name="connsiteX175" fmla="*/ 1487384 w 2098515"/>
                <a:gd name="connsiteY175" fmla="*/ 82087 h 283771"/>
                <a:gd name="connsiteX176" fmla="*/ 1549130 w 2098515"/>
                <a:gd name="connsiteY176" fmla="*/ 82087 h 283771"/>
                <a:gd name="connsiteX177" fmla="*/ 1549130 w 2098515"/>
                <a:gd name="connsiteY177" fmla="*/ 197212 h 283771"/>
                <a:gd name="connsiteX178" fmla="*/ 1556343 w 2098515"/>
                <a:gd name="connsiteY178" fmla="*/ 221737 h 283771"/>
                <a:gd name="connsiteX179" fmla="*/ 1578416 w 2098515"/>
                <a:gd name="connsiteY179" fmla="*/ 230249 h 283771"/>
                <a:gd name="connsiteX180" fmla="*/ 1603518 w 2098515"/>
                <a:gd name="connsiteY180" fmla="*/ 219429 h 283771"/>
                <a:gd name="connsiteX181" fmla="*/ 1612607 w 2098515"/>
                <a:gd name="connsiteY181" fmla="*/ 191008 h 283771"/>
                <a:gd name="connsiteX182" fmla="*/ 1612607 w 2098515"/>
                <a:gd name="connsiteY182" fmla="*/ 82087 h 283771"/>
                <a:gd name="connsiteX183" fmla="*/ 1674641 w 2098515"/>
                <a:gd name="connsiteY183" fmla="*/ 82087 h 283771"/>
                <a:gd name="connsiteX184" fmla="*/ 1674641 w 2098515"/>
                <a:gd name="connsiteY184" fmla="*/ 277135 h 283771"/>
                <a:gd name="connsiteX185" fmla="*/ 1615204 w 2098515"/>
                <a:gd name="connsiteY185" fmla="*/ 277135 h 283771"/>
                <a:gd name="connsiteX186" fmla="*/ 1615204 w 2098515"/>
                <a:gd name="connsiteY186" fmla="*/ 253187 h 283771"/>
                <a:gd name="connsiteX187" fmla="*/ 1614050 w 2098515"/>
                <a:gd name="connsiteY187" fmla="*/ 253187 h 283771"/>
                <a:gd name="connsiteX188" fmla="*/ 1589813 w 2098515"/>
                <a:gd name="connsiteY188" fmla="*/ 275260 h 283771"/>
                <a:gd name="connsiteX189" fmla="*/ 1555766 w 2098515"/>
                <a:gd name="connsiteY189" fmla="*/ 282906 h 283771"/>
                <a:gd name="connsiteX190" fmla="*/ 1791208 w 2098515"/>
                <a:gd name="connsiteY190" fmla="*/ 283339 h 283771"/>
                <a:gd name="connsiteX191" fmla="*/ 1722971 w 2098515"/>
                <a:gd name="connsiteY191" fmla="*/ 264873 h 283771"/>
                <a:gd name="connsiteX192" fmla="*/ 1696281 w 2098515"/>
                <a:gd name="connsiteY192" fmla="*/ 213947 h 283771"/>
                <a:gd name="connsiteX193" fmla="*/ 1754998 w 2098515"/>
                <a:gd name="connsiteY193" fmla="*/ 213947 h 283771"/>
                <a:gd name="connsiteX194" fmla="*/ 1766106 w 2098515"/>
                <a:gd name="connsiteY194" fmla="*/ 235731 h 283771"/>
                <a:gd name="connsiteX195" fmla="*/ 1790920 w 2098515"/>
                <a:gd name="connsiteY195" fmla="*/ 242944 h 283771"/>
                <a:gd name="connsiteX196" fmla="*/ 1813137 w 2098515"/>
                <a:gd name="connsiteY196" fmla="*/ 238039 h 283771"/>
                <a:gd name="connsiteX197" fmla="*/ 1821360 w 2098515"/>
                <a:gd name="connsiteY197" fmla="*/ 223612 h 283771"/>
                <a:gd name="connsiteX198" fmla="*/ 1817176 w 2098515"/>
                <a:gd name="connsiteY198" fmla="*/ 213081 h 283771"/>
                <a:gd name="connsiteX199" fmla="*/ 1806068 w 2098515"/>
                <a:gd name="connsiteY199" fmla="*/ 206589 h 283771"/>
                <a:gd name="connsiteX200" fmla="*/ 1790199 w 2098515"/>
                <a:gd name="connsiteY200" fmla="*/ 202838 h 283771"/>
                <a:gd name="connsiteX201" fmla="*/ 1771732 w 2098515"/>
                <a:gd name="connsiteY201" fmla="*/ 199664 h 283771"/>
                <a:gd name="connsiteX202" fmla="*/ 1746630 w 2098515"/>
                <a:gd name="connsiteY202" fmla="*/ 194182 h 283771"/>
                <a:gd name="connsiteX203" fmla="*/ 1723980 w 2098515"/>
                <a:gd name="connsiteY203" fmla="*/ 184516 h 283771"/>
                <a:gd name="connsiteX204" fmla="*/ 1707823 w 2098515"/>
                <a:gd name="connsiteY204" fmla="*/ 167204 h 283771"/>
                <a:gd name="connsiteX205" fmla="*/ 1701763 w 2098515"/>
                <a:gd name="connsiteY205" fmla="*/ 139217 h 283771"/>
                <a:gd name="connsiteX206" fmla="*/ 1708400 w 2098515"/>
                <a:gd name="connsiteY206" fmla="*/ 112095 h 283771"/>
                <a:gd name="connsiteX207" fmla="*/ 1726577 w 2098515"/>
                <a:gd name="connsiteY207" fmla="*/ 92475 h 283771"/>
                <a:gd name="connsiteX208" fmla="*/ 1753411 w 2098515"/>
                <a:gd name="connsiteY208" fmla="*/ 80645 h 283771"/>
                <a:gd name="connsiteX209" fmla="*/ 1786015 w 2098515"/>
                <a:gd name="connsiteY209" fmla="*/ 76605 h 283771"/>
                <a:gd name="connsiteX210" fmla="*/ 1849636 w 2098515"/>
                <a:gd name="connsiteY210" fmla="*/ 93340 h 283771"/>
                <a:gd name="connsiteX211" fmla="*/ 1874017 w 2098515"/>
                <a:gd name="connsiteY211" fmla="*/ 139073 h 283771"/>
                <a:gd name="connsiteX212" fmla="*/ 1816888 w 2098515"/>
                <a:gd name="connsiteY212" fmla="*/ 139073 h 283771"/>
                <a:gd name="connsiteX213" fmla="*/ 1806789 w 2098515"/>
                <a:gd name="connsiteY213" fmla="*/ 121039 h 283771"/>
                <a:gd name="connsiteX214" fmla="*/ 1785582 w 2098515"/>
                <a:gd name="connsiteY214" fmla="*/ 116278 h 283771"/>
                <a:gd name="connsiteX215" fmla="*/ 1766395 w 2098515"/>
                <a:gd name="connsiteY215" fmla="*/ 120606 h 283771"/>
                <a:gd name="connsiteX216" fmla="*/ 1758604 w 2098515"/>
                <a:gd name="connsiteY216" fmla="*/ 134167 h 283771"/>
                <a:gd name="connsiteX217" fmla="*/ 1762355 w 2098515"/>
                <a:gd name="connsiteY217" fmla="*/ 142535 h 283771"/>
                <a:gd name="connsiteX218" fmla="*/ 1772598 w 2098515"/>
                <a:gd name="connsiteY218" fmla="*/ 147728 h 283771"/>
                <a:gd name="connsiteX219" fmla="*/ 1787602 w 2098515"/>
                <a:gd name="connsiteY219" fmla="*/ 151335 h 283771"/>
                <a:gd name="connsiteX220" fmla="*/ 1805346 w 2098515"/>
                <a:gd name="connsiteY220" fmla="*/ 154365 h 283771"/>
                <a:gd name="connsiteX221" fmla="*/ 1831459 w 2098515"/>
                <a:gd name="connsiteY221" fmla="*/ 159847 h 283771"/>
                <a:gd name="connsiteX222" fmla="*/ 1855407 w 2098515"/>
                <a:gd name="connsiteY222" fmla="*/ 169945 h 283771"/>
                <a:gd name="connsiteX223" fmla="*/ 1873152 w 2098515"/>
                <a:gd name="connsiteY223" fmla="*/ 188412 h 283771"/>
                <a:gd name="connsiteX224" fmla="*/ 1880076 w 2098515"/>
                <a:gd name="connsiteY224" fmla="*/ 218707 h 283771"/>
                <a:gd name="connsiteX225" fmla="*/ 1873440 w 2098515"/>
                <a:gd name="connsiteY225" fmla="*/ 246839 h 283771"/>
                <a:gd name="connsiteX226" fmla="*/ 1854974 w 2098515"/>
                <a:gd name="connsiteY226" fmla="*/ 267037 h 283771"/>
                <a:gd name="connsiteX227" fmla="*/ 1826842 w 2098515"/>
                <a:gd name="connsiteY227" fmla="*/ 279299 h 283771"/>
                <a:gd name="connsiteX228" fmla="*/ 1791353 w 2098515"/>
                <a:gd name="connsiteY228" fmla="*/ 283483 h 283771"/>
                <a:gd name="connsiteX229" fmla="*/ 2001260 w 2098515"/>
                <a:gd name="connsiteY229" fmla="*/ 283050 h 283771"/>
                <a:gd name="connsiteX230" fmla="*/ 1957836 w 2098515"/>
                <a:gd name="connsiteY230" fmla="*/ 275260 h 283771"/>
                <a:gd name="connsiteX231" fmla="*/ 1925087 w 2098515"/>
                <a:gd name="connsiteY231" fmla="*/ 253476 h 283771"/>
                <a:gd name="connsiteX232" fmla="*/ 1904457 w 2098515"/>
                <a:gd name="connsiteY232" fmla="*/ 220583 h 283771"/>
                <a:gd name="connsiteX233" fmla="*/ 1897244 w 2098515"/>
                <a:gd name="connsiteY233" fmla="*/ 179467 h 283771"/>
                <a:gd name="connsiteX234" fmla="*/ 1904457 w 2098515"/>
                <a:gd name="connsiteY234" fmla="*/ 138928 h 283771"/>
                <a:gd name="connsiteX235" fmla="*/ 1925087 w 2098515"/>
                <a:gd name="connsiteY235" fmla="*/ 106180 h 283771"/>
                <a:gd name="connsiteX236" fmla="*/ 1956682 w 2098515"/>
                <a:gd name="connsiteY236" fmla="*/ 84540 h 283771"/>
                <a:gd name="connsiteX237" fmla="*/ 1997509 w 2098515"/>
                <a:gd name="connsiteY237" fmla="*/ 76750 h 283771"/>
                <a:gd name="connsiteX238" fmla="*/ 2035018 w 2098515"/>
                <a:gd name="connsiteY238" fmla="*/ 83242 h 283771"/>
                <a:gd name="connsiteX239" fmla="*/ 2064160 w 2098515"/>
                <a:gd name="connsiteY239" fmla="*/ 101131 h 283771"/>
                <a:gd name="connsiteX240" fmla="*/ 2090272 w 2098515"/>
                <a:gd name="connsiteY240" fmla="*/ 141669 h 283771"/>
                <a:gd name="connsiteX241" fmla="*/ 2098495 w 2098515"/>
                <a:gd name="connsiteY241" fmla="*/ 195913 h 283771"/>
                <a:gd name="connsiteX242" fmla="*/ 1958269 w 2098515"/>
                <a:gd name="connsiteY242" fmla="*/ 195913 h 283771"/>
                <a:gd name="connsiteX243" fmla="*/ 1971974 w 2098515"/>
                <a:gd name="connsiteY243" fmla="*/ 227219 h 283771"/>
                <a:gd name="connsiteX244" fmla="*/ 2002125 w 2098515"/>
                <a:gd name="connsiteY244" fmla="*/ 238616 h 283771"/>
                <a:gd name="connsiteX245" fmla="*/ 2022323 w 2098515"/>
                <a:gd name="connsiteY245" fmla="*/ 233423 h 283771"/>
                <a:gd name="connsiteX246" fmla="*/ 2034585 w 2098515"/>
                <a:gd name="connsiteY246" fmla="*/ 219140 h 283771"/>
                <a:gd name="connsiteX247" fmla="*/ 2095177 w 2098515"/>
                <a:gd name="connsiteY247" fmla="*/ 219140 h 283771"/>
                <a:gd name="connsiteX248" fmla="*/ 2083780 w 2098515"/>
                <a:gd name="connsiteY248" fmla="*/ 244531 h 283771"/>
                <a:gd name="connsiteX249" fmla="*/ 2062429 w 2098515"/>
                <a:gd name="connsiteY249" fmla="*/ 265305 h 283771"/>
                <a:gd name="connsiteX250" fmla="*/ 2035162 w 2098515"/>
                <a:gd name="connsiteY250" fmla="*/ 278578 h 283771"/>
                <a:gd name="connsiteX251" fmla="*/ 2001404 w 2098515"/>
                <a:gd name="connsiteY251" fmla="*/ 283194 h 283771"/>
                <a:gd name="connsiteX252" fmla="*/ 2035739 w 2098515"/>
                <a:gd name="connsiteY252" fmla="*/ 158981 h 283771"/>
                <a:gd name="connsiteX253" fmla="*/ 2023910 w 2098515"/>
                <a:gd name="connsiteY253" fmla="*/ 131138 h 283771"/>
                <a:gd name="connsiteX254" fmla="*/ 1998807 w 2098515"/>
                <a:gd name="connsiteY254" fmla="*/ 120895 h 283771"/>
                <a:gd name="connsiteX255" fmla="*/ 1971397 w 2098515"/>
                <a:gd name="connsiteY255" fmla="*/ 131138 h 283771"/>
                <a:gd name="connsiteX256" fmla="*/ 1958846 w 2098515"/>
                <a:gd name="connsiteY256" fmla="*/ 158981 h 283771"/>
                <a:gd name="connsiteX257" fmla="*/ 2035739 w 2098515"/>
                <a:gd name="connsiteY257" fmla="*/ 158981 h 28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</a:cxnLst>
              <a:rect l="l" t="t" r="r" b="b"/>
              <a:pathLst>
                <a:path w="2098515" h="283771">
                  <a:moveTo>
                    <a:pt x="129551" y="283771"/>
                  </a:moveTo>
                  <a:cubicBezTo>
                    <a:pt x="109931" y="283771"/>
                    <a:pt x="92475" y="280453"/>
                    <a:pt x="77038" y="273817"/>
                  </a:cubicBezTo>
                  <a:cubicBezTo>
                    <a:pt x="61602" y="267181"/>
                    <a:pt x="48041" y="257804"/>
                    <a:pt x="36644" y="245685"/>
                  </a:cubicBezTo>
                  <a:cubicBezTo>
                    <a:pt x="24670" y="232701"/>
                    <a:pt x="15581" y="217553"/>
                    <a:pt x="9377" y="199953"/>
                  </a:cubicBezTo>
                  <a:cubicBezTo>
                    <a:pt x="3174" y="182497"/>
                    <a:pt x="0" y="163309"/>
                    <a:pt x="0" y="142391"/>
                  </a:cubicBezTo>
                  <a:cubicBezTo>
                    <a:pt x="0" y="121472"/>
                    <a:pt x="3462" y="100986"/>
                    <a:pt x="10531" y="82809"/>
                  </a:cubicBezTo>
                  <a:cubicBezTo>
                    <a:pt x="17456" y="64631"/>
                    <a:pt x="27411" y="49050"/>
                    <a:pt x="40395" y="36211"/>
                  </a:cubicBezTo>
                  <a:cubicBezTo>
                    <a:pt x="51792" y="24814"/>
                    <a:pt x="65208" y="15869"/>
                    <a:pt x="80789" y="9522"/>
                  </a:cubicBezTo>
                  <a:cubicBezTo>
                    <a:pt x="96226" y="3174"/>
                    <a:pt x="113970" y="0"/>
                    <a:pt x="133735" y="0"/>
                  </a:cubicBezTo>
                  <a:cubicBezTo>
                    <a:pt x="151191" y="0"/>
                    <a:pt x="167060" y="2164"/>
                    <a:pt x="180910" y="6636"/>
                  </a:cubicBezTo>
                  <a:cubicBezTo>
                    <a:pt x="194904" y="11108"/>
                    <a:pt x="207022" y="17456"/>
                    <a:pt x="217121" y="25679"/>
                  </a:cubicBezTo>
                  <a:cubicBezTo>
                    <a:pt x="227219" y="33903"/>
                    <a:pt x="235442" y="43857"/>
                    <a:pt x="241646" y="55542"/>
                  </a:cubicBezTo>
                  <a:cubicBezTo>
                    <a:pt x="247849" y="67228"/>
                    <a:pt x="252177" y="80212"/>
                    <a:pt x="254341" y="94350"/>
                  </a:cubicBezTo>
                  <a:lnTo>
                    <a:pt x="188844" y="94350"/>
                  </a:lnTo>
                  <a:cubicBezTo>
                    <a:pt x="186248" y="83242"/>
                    <a:pt x="180621" y="73864"/>
                    <a:pt x="171677" y="66507"/>
                  </a:cubicBezTo>
                  <a:cubicBezTo>
                    <a:pt x="162732" y="59149"/>
                    <a:pt x="150902" y="55398"/>
                    <a:pt x="135899" y="55398"/>
                  </a:cubicBezTo>
                  <a:cubicBezTo>
                    <a:pt x="124646" y="55398"/>
                    <a:pt x="114836" y="57706"/>
                    <a:pt x="106324" y="62034"/>
                  </a:cubicBezTo>
                  <a:cubicBezTo>
                    <a:pt x="97812" y="66507"/>
                    <a:pt x="90743" y="72566"/>
                    <a:pt x="85117" y="80356"/>
                  </a:cubicBezTo>
                  <a:cubicBezTo>
                    <a:pt x="79491" y="88147"/>
                    <a:pt x="75307" y="97235"/>
                    <a:pt x="72566" y="107767"/>
                  </a:cubicBezTo>
                  <a:cubicBezTo>
                    <a:pt x="69825" y="118298"/>
                    <a:pt x="68382" y="129839"/>
                    <a:pt x="68382" y="142246"/>
                  </a:cubicBezTo>
                  <a:cubicBezTo>
                    <a:pt x="68382" y="154653"/>
                    <a:pt x="69969" y="166195"/>
                    <a:pt x="73143" y="176870"/>
                  </a:cubicBezTo>
                  <a:cubicBezTo>
                    <a:pt x="76317" y="187546"/>
                    <a:pt x="80789" y="196779"/>
                    <a:pt x="86704" y="204425"/>
                  </a:cubicBezTo>
                  <a:cubicBezTo>
                    <a:pt x="92619" y="212215"/>
                    <a:pt x="99688" y="218275"/>
                    <a:pt x="108200" y="222458"/>
                  </a:cubicBezTo>
                  <a:cubicBezTo>
                    <a:pt x="116711" y="226786"/>
                    <a:pt x="126233" y="228950"/>
                    <a:pt x="136909" y="228950"/>
                  </a:cubicBezTo>
                  <a:cubicBezTo>
                    <a:pt x="145709" y="228950"/>
                    <a:pt x="153788" y="227652"/>
                    <a:pt x="160712" y="224911"/>
                  </a:cubicBezTo>
                  <a:cubicBezTo>
                    <a:pt x="167637" y="222314"/>
                    <a:pt x="173696" y="218707"/>
                    <a:pt x="178601" y="214235"/>
                  </a:cubicBezTo>
                  <a:cubicBezTo>
                    <a:pt x="183507" y="209763"/>
                    <a:pt x="187546" y="204714"/>
                    <a:pt x="190431" y="198943"/>
                  </a:cubicBezTo>
                  <a:cubicBezTo>
                    <a:pt x="193317" y="193317"/>
                    <a:pt x="195192" y="187402"/>
                    <a:pt x="195913" y="181198"/>
                  </a:cubicBezTo>
                  <a:lnTo>
                    <a:pt x="195913" y="180477"/>
                  </a:lnTo>
                  <a:lnTo>
                    <a:pt x="144843" y="180477"/>
                  </a:lnTo>
                  <a:lnTo>
                    <a:pt x="144843" y="130994"/>
                  </a:lnTo>
                  <a:lnTo>
                    <a:pt x="258381" y="130994"/>
                  </a:lnTo>
                  <a:lnTo>
                    <a:pt x="258381" y="277279"/>
                  </a:lnTo>
                  <a:lnTo>
                    <a:pt x="211206" y="277279"/>
                  </a:lnTo>
                  <a:lnTo>
                    <a:pt x="207455" y="244531"/>
                  </a:lnTo>
                  <a:lnTo>
                    <a:pt x="206733" y="244531"/>
                  </a:lnTo>
                  <a:cubicBezTo>
                    <a:pt x="197789" y="258525"/>
                    <a:pt x="186825" y="268479"/>
                    <a:pt x="173841" y="274394"/>
                  </a:cubicBezTo>
                  <a:cubicBezTo>
                    <a:pt x="160712" y="280309"/>
                    <a:pt x="145997" y="283339"/>
                    <a:pt x="129407" y="283339"/>
                  </a:cubicBezTo>
                  <a:moveTo>
                    <a:pt x="358357" y="282906"/>
                  </a:moveTo>
                  <a:cubicBezTo>
                    <a:pt x="335707" y="282906"/>
                    <a:pt x="318684" y="276270"/>
                    <a:pt x="307143" y="262853"/>
                  </a:cubicBezTo>
                  <a:cubicBezTo>
                    <a:pt x="295601" y="249580"/>
                    <a:pt x="289831" y="231980"/>
                    <a:pt x="289831" y="210051"/>
                  </a:cubicBezTo>
                  <a:lnTo>
                    <a:pt x="289831" y="82087"/>
                  </a:lnTo>
                  <a:lnTo>
                    <a:pt x="351577" y="82087"/>
                  </a:lnTo>
                  <a:lnTo>
                    <a:pt x="351577" y="197212"/>
                  </a:lnTo>
                  <a:cubicBezTo>
                    <a:pt x="351577" y="207887"/>
                    <a:pt x="354029" y="216111"/>
                    <a:pt x="358790" y="221737"/>
                  </a:cubicBezTo>
                  <a:cubicBezTo>
                    <a:pt x="363551" y="227508"/>
                    <a:pt x="371052" y="230249"/>
                    <a:pt x="380863" y="230249"/>
                  </a:cubicBezTo>
                  <a:cubicBezTo>
                    <a:pt x="391538" y="230249"/>
                    <a:pt x="399906" y="226642"/>
                    <a:pt x="405965" y="219429"/>
                  </a:cubicBezTo>
                  <a:cubicBezTo>
                    <a:pt x="412024" y="212215"/>
                    <a:pt x="415054" y="202694"/>
                    <a:pt x="415054" y="191008"/>
                  </a:cubicBezTo>
                  <a:lnTo>
                    <a:pt x="415054" y="82087"/>
                  </a:lnTo>
                  <a:lnTo>
                    <a:pt x="477088" y="82087"/>
                  </a:lnTo>
                  <a:lnTo>
                    <a:pt x="477088" y="277135"/>
                  </a:lnTo>
                  <a:lnTo>
                    <a:pt x="417650" y="277135"/>
                  </a:lnTo>
                  <a:lnTo>
                    <a:pt x="417650" y="253187"/>
                  </a:lnTo>
                  <a:lnTo>
                    <a:pt x="416496" y="253187"/>
                  </a:lnTo>
                  <a:cubicBezTo>
                    <a:pt x="409427" y="262853"/>
                    <a:pt x="401348" y="270210"/>
                    <a:pt x="392260" y="275260"/>
                  </a:cubicBezTo>
                  <a:cubicBezTo>
                    <a:pt x="383315" y="280309"/>
                    <a:pt x="371918" y="282906"/>
                    <a:pt x="358213" y="282906"/>
                  </a:cubicBezTo>
                  <a:moveTo>
                    <a:pt x="512433" y="2164"/>
                  </a:moveTo>
                  <a:lnTo>
                    <a:pt x="574468" y="2164"/>
                  </a:lnTo>
                  <a:lnTo>
                    <a:pt x="574468" y="55110"/>
                  </a:lnTo>
                  <a:lnTo>
                    <a:pt x="512433" y="55110"/>
                  </a:lnTo>
                  <a:lnTo>
                    <a:pt x="512433" y="2164"/>
                  </a:lnTo>
                  <a:close/>
                  <a:moveTo>
                    <a:pt x="512433" y="82087"/>
                  </a:moveTo>
                  <a:lnTo>
                    <a:pt x="574468" y="82087"/>
                  </a:lnTo>
                  <a:lnTo>
                    <a:pt x="574468" y="277135"/>
                  </a:lnTo>
                  <a:lnTo>
                    <a:pt x="512433" y="277135"/>
                  </a:lnTo>
                  <a:lnTo>
                    <a:pt x="512433" y="82087"/>
                  </a:lnTo>
                  <a:close/>
                  <a:moveTo>
                    <a:pt x="686563" y="283194"/>
                  </a:moveTo>
                  <a:cubicBezTo>
                    <a:pt x="674156" y="283194"/>
                    <a:pt x="662614" y="280886"/>
                    <a:pt x="652227" y="276125"/>
                  </a:cubicBezTo>
                  <a:cubicBezTo>
                    <a:pt x="641840" y="271365"/>
                    <a:pt x="632751" y="264584"/>
                    <a:pt x="625249" y="255784"/>
                  </a:cubicBezTo>
                  <a:cubicBezTo>
                    <a:pt x="617603" y="246839"/>
                    <a:pt x="611688" y="236019"/>
                    <a:pt x="607505" y="223180"/>
                  </a:cubicBezTo>
                  <a:cubicBezTo>
                    <a:pt x="603321" y="210340"/>
                    <a:pt x="601157" y="195769"/>
                    <a:pt x="601157" y="179611"/>
                  </a:cubicBezTo>
                  <a:cubicBezTo>
                    <a:pt x="601157" y="164319"/>
                    <a:pt x="603321" y="150470"/>
                    <a:pt x="607505" y="137630"/>
                  </a:cubicBezTo>
                  <a:cubicBezTo>
                    <a:pt x="611688" y="124934"/>
                    <a:pt x="617603" y="114114"/>
                    <a:pt x="624961" y="105026"/>
                  </a:cubicBezTo>
                  <a:cubicBezTo>
                    <a:pt x="632463" y="96081"/>
                    <a:pt x="641407" y="89012"/>
                    <a:pt x="651794" y="83819"/>
                  </a:cubicBezTo>
                  <a:cubicBezTo>
                    <a:pt x="662182" y="78769"/>
                    <a:pt x="673723" y="76172"/>
                    <a:pt x="686418" y="76172"/>
                  </a:cubicBezTo>
                  <a:cubicBezTo>
                    <a:pt x="700124" y="76172"/>
                    <a:pt x="711232" y="78769"/>
                    <a:pt x="719600" y="83963"/>
                  </a:cubicBezTo>
                  <a:cubicBezTo>
                    <a:pt x="727967" y="89156"/>
                    <a:pt x="735036" y="95793"/>
                    <a:pt x="740951" y="104016"/>
                  </a:cubicBezTo>
                  <a:lnTo>
                    <a:pt x="742105" y="104016"/>
                  </a:lnTo>
                  <a:lnTo>
                    <a:pt x="742105" y="1875"/>
                  </a:lnTo>
                  <a:lnTo>
                    <a:pt x="804139" y="1875"/>
                  </a:lnTo>
                  <a:lnTo>
                    <a:pt x="804139" y="276991"/>
                  </a:lnTo>
                  <a:lnTo>
                    <a:pt x="744702" y="276991"/>
                  </a:lnTo>
                  <a:lnTo>
                    <a:pt x="744702" y="250735"/>
                  </a:lnTo>
                  <a:lnTo>
                    <a:pt x="743981" y="250735"/>
                  </a:lnTo>
                  <a:cubicBezTo>
                    <a:pt x="738210" y="260833"/>
                    <a:pt x="730275" y="268768"/>
                    <a:pt x="720609" y="274538"/>
                  </a:cubicBezTo>
                  <a:cubicBezTo>
                    <a:pt x="710799" y="280309"/>
                    <a:pt x="699547" y="283050"/>
                    <a:pt x="686563" y="283050"/>
                  </a:cubicBezTo>
                  <a:moveTo>
                    <a:pt x="702576" y="233855"/>
                  </a:moveTo>
                  <a:cubicBezTo>
                    <a:pt x="715560" y="233855"/>
                    <a:pt x="725659" y="228806"/>
                    <a:pt x="732872" y="218563"/>
                  </a:cubicBezTo>
                  <a:cubicBezTo>
                    <a:pt x="740085" y="208465"/>
                    <a:pt x="743692" y="195336"/>
                    <a:pt x="743692" y="179323"/>
                  </a:cubicBezTo>
                  <a:cubicBezTo>
                    <a:pt x="743692" y="171244"/>
                    <a:pt x="742826" y="163598"/>
                    <a:pt x="741239" y="156673"/>
                  </a:cubicBezTo>
                  <a:cubicBezTo>
                    <a:pt x="739653" y="149748"/>
                    <a:pt x="737056" y="143689"/>
                    <a:pt x="733593" y="138784"/>
                  </a:cubicBezTo>
                  <a:cubicBezTo>
                    <a:pt x="730131" y="133879"/>
                    <a:pt x="725947" y="129984"/>
                    <a:pt x="721042" y="127098"/>
                  </a:cubicBezTo>
                  <a:cubicBezTo>
                    <a:pt x="716137" y="124357"/>
                    <a:pt x="710222" y="122915"/>
                    <a:pt x="703297" y="122915"/>
                  </a:cubicBezTo>
                  <a:cubicBezTo>
                    <a:pt x="690891" y="122915"/>
                    <a:pt x="681225" y="128108"/>
                    <a:pt x="674300" y="138351"/>
                  </a:cubicBezTo>
                  <a:cubicBezTo>
                    <a:pt x="667375" y="148594"/>
                    <a:pt x="664057" y="162011"/>
                    <a:pt x="664057" y="178601"/>
                  </a:cubicBezTo>
                  <a:cubicBezTo>
                    <a:pt x="664057" y="195192"/>
                    <a:pt x="667375" y="209042"/>
                    <a:pt x="674156" y="218996"/>
                  </a:cubicBezTo>
                  <a:cubicBezTo>
                    <a:pt x="680936" y="228950"/>
                    <a:pt x="690314" y="233855"/>
                    <a:pt x="702576" y="233855"/>
                  </a:cubicBezTo>
                  <a:moveTo>
                    <a:pt x="931094" y="282617"/>
                  </a:moveTo>
                  <a:cubicBezTo>
                    <a:pt x="915080" y="282617"/>
                    <a:pt x="900654" y="280021"/>
                    <a:pt x="887670" y="274827"/>
                  </a:cubicBezTo>
                  <a:cubicBezTo>
                    <a:pt x="874686" y="269633"/>
                    <a:pt x="863721" y="262420"/>
                    <a:pt x="854921" y="253043"/>
                  </a:cubicBezTo>
                  <a:cubicBezTo>
                    <a:pt x="845977" y="243810"/>
                    <a:pt x="839196" y="232845"/>
                    <a:pt x="834291" y="220150"/>
                  </a:cubicBezTo>
                  <a:cubicBezTo>
                    <a:pt x="829530" y="207455"/>
                    <a:pt x="827078" y="193749"/>
                    <a:pt x="827078" y="179034"/>
                  </a:cubicBezTo>
                  <a:cubicBezTo>
                    <a:pt x="827078" y="164319"/>
                    <a:pt x="829530" y="151047"/>
                    <a:pt x="834291" y="138495"/>
                  </a:cubicBezTo>
                  <a:cubicBezTo>
                    <a:pt x="839052" y="125944"/>
                    <a:pt x="845977" y="114980"/>
                    <a:pt x="854921" y="105747"/>
                  </a:cubicBezTo>
                  <a:cubicBezTo>
                    <a:pt x="863866" y="96514"/>
                    <a:pt x="874397" y="89301"/>
                    <a:pt x="886515" y="84107"/>
                  </a:cubicBezTo>
                  <a:cubicBezTo>
                    <a:pt x="898634" y="78914"/>
                    <a:pt x="912339" y="76317"/>
                    <a:pt x="927343" y="76317"/>
                  </a:cubicBezTo>
                  <a:cubicBezTo>
                    <a:pt x="941337" y="76317"/>
                    <a:pt x="953888" y="78481"/>
                    <a:pt x="964852" y="82809"/>
                  </a:cubicBezTo>
                  <a:cubicBezTo>
                    <a:pt x="975960" y="87137"/>
                    <a:pt x="985626" y="93052"/>
                    <a:pt x="993994" y="100698"/>
                  </a:cubicBezTo>
                  <a:cubicBezTo>
                    <a:pt x="1005679" y="111373"/>
                    <a:pt x="1014335" y="124934"/>
                    <a:pt x="1020106" y="141237"/>
                  </a:cubicBezTo>
                  <a:cubicBezTo>
                    <a:pt x="1025877" y="157683"/>
                    <a:pt x="1028473" y="175716"/>
                    <a:pt x="1028329" y="195481"/>
                  </a:cubicBezTo>
                  <a:lnTo>
                    <a:pt x="888102" y="195481"/>
                  </a:lnTo>
                  <a:cubicBezTo>
                    <a:pt x="890122" y="208753"/>
                    <a:pt x="894739" y="219140"/>
                    <a:pt x="901808" y="226786"/>
                  </a:cubicBezTo>
                  <a:cubicBezTo>
                    <a:pt x="908877" y="234432"/>
                    <a:pt x="918975" y="238183"/>
                    <a:pt x="931959" y="238183"/>
                  </a:cubicBezTo>
                  <a:cubicBezTo>
                    <a:pt x="940038" y="238183"/>
                    <a:pt x="946819" y="236452"/>
                    <a:pt x="952157" y="232990"/>
                  </a:cubicBezTo>
                  <a:cubicBezTo>
                    <a:pt x="957494" y="229527"/>
                    <a:pt x="961534" y="224767"/>
                    <a:pt x="964275" y="218707"/>
                  </a:cubicBezTo>
                  <a:lnTo>
                    <a:pt x="1024867" y="218707"/>
                  </a:lnTo>
                  <a:cubicBezTo>
                    <a:pt x="1022847" y="227652"/>
                    <a:pt x="1018952" y="236019"/>
                    <a:pt x="1013470" y="244098"/>
                  </a:cubicBezTo>
                  <a:cubicBezTo>
                    <a:pt x="1007843" y="252033"/>
                    <a:pt x="1000774" y="258958"/>
                    <a:pt x="992118" y="264873"/>
                  </a:cubicBezTo>
                  <a:cubicBezTo>
                    <a:pt x="984039" y="270787"/>
                    <a:pt x="974951" y="275115"/>
                    <a:pt x="964852" y="278145"/>
                  </a:cubicBezTo>
                  <a:cubicBezTo>
                    <a:pt x="954898" y="281175"/>
                    <a:pt x="943645" y="282762"/>
                    <a:pt x="931094" y="282762"/>
                  </a:cubicBezTo>
                  <a:moveTo>
                    <a:pt x="965429" y="158548"/>
                  </a:moveTo>
                  <a:cubicBezTo>
                    <a:pt x="964131" y="146863"/>
                    <a:pt x="960235" y="137630"/>
                    <a:pt x="953599" y="130705"/>
                  </a:cubicBezTo>
                  <a:cubicBezTo>
                    <a:pt x="946963" y="123925"/>
                    <a:pt x="938596" y="120462"/>
                    <a:pt x="928497" y="120462"/>
                  </a:cubicBezTo>
                  <a:cubicBezTo>
                    <a:pt x="916523" y="120462"/>
                    <a:pt x="907434" y="123925"/>
                    <a:pt x="901086" y="130705"/>
                  </a:cubicBezTo>
                  <a:cubicBezTo>
                    <a:pt x="894739" y="137630"/>
                    <a:pt x="890555" y="146863"/>
                    <a:pt x="888535" y="158548"/>
                  </a:cubicBezTo>
                  <a:lnTo>
                    <a:pt x="965429" y="158548"/>
                  </a:lnTo>
                  <a:close/>
                  <a:moveTo>
                    <a:pt x="1051123" y="2020"/>
                  </a:moveTo>
                  <a:lnTo>
                    <a:pt x="1113158" y="2020"/>
                  </a:lnTo>
                  <a:lnTo>
                    <a:pt x="1113158" y="106036"/>
                  </a:lnTo>
                  <a:lnTo>
                    <a:pt x="1114312" y="106036"/>
                  </a:lnTo>
                  <a:cubicBezTo>
                    <a:pt x="1121381" y="96658"/>
                    <a:pt x="1129460" y="89301"/>
                    <a:pt x="1138260" y="84107"/>
                  </a:cubicBezTo>
                  <a:cubicBezTo>
                    <a:pt x="1147204" y="78914"/>
                    <a:pt x="1158457" y="76317"/>
                    <a:pt x="1172162" y="76317"/>
                  </a:cubicBezTo>
                  <a:cubicBezTo>
                    <a:pt x="1182838" y="76317"/>
                    <a:pt x="1192360" y="78192"/>
                    <a:pt x="1200727" y="81799"/>
                  </a:cubicBezTo>
                  <a:cubicBezTo>
                    <a:pt x="1209095" y="85406"/>
                    <a:pt x="1216164" y="90599"/>
                    <a:pt x="1222079" y="97091"/>
                  </a:cubicBezTo>
                  <a:cubicBezTo>
                    <a:pt x="1227993" y="103583"/>
                    <a:pt x="1232321" y="111373"/>
                    <a:pt x="1235495" y="120318"/>
                  </a:cubicBezTo>
                  <a:cubicBezTo>
                    <a:pt x="1238525" y="129262"/>
                    <a:pt x="1240112" y="139361"/>
                    <a:pt x="1240112" y="150181"/>
                  </a:cubicBezTo>
                  <a:lnTo>
                    <a:pt x="1240112" y="276991"/>
                  </a:lnTo>
                  <a:lnTo>
                    <a:pt x="1178077" y="276991"/>
                  </a:lnTo>
                  <a:lnTo>
                    <a:pt x="1178077" y="162732"/>
                  </a:lnTo>
                  <a:cubicBezTo>
                    <a:pt x="1178077" y="152345"/>
                    <a:pt x="1175481" y="143978"/>
                    <a:pt x="1170431" y="137630"/>
                  </a:cubicBezTo>
                  <a:cubicBezTo>
                    <a:pt x="1165382" y="131282"/>
                    <a:pt x="1157736" y="128108"/>
                    <a:pt x="1147637" y="128108"/>
                  </a:cubicBezTo>
                  <a:cubicBezTo>
                    <a:pt x="1137539" y="128108"/>
                    <a:pt x="1128883" y="131859"/>
                    <a:pt x="1122679" y="139505"/>
                  </a:cubicBezTo>
                  <a:cubicBezTo>
                    <a:pt x="1116476" y="147151"/>
                    <a:pt x="1113302" y="157106"/>
                    <a:pt x="1113302" y="169224"/>
                  </a:cubicBezTo>
                  <a:lnTo>
                    <a:pt x="1113302" y="276991"/>
                  </a:lnTo>
                  <a:lnTo>
                    <a:pt x="1051267" y="276991"/>
                  </a:lnTo>
                  <a:lnTo>
                    <a:pt x="1051267" y="1875"/>
                  </a:lnTo>
                  <a:close/>
                  <a:moveTo>
                    <a:pt x="1363892" y="283194"/>
                  </a:moveTo>
                  <a:cubicBezTo>
                    <a:pt x="1348167" y="283194"/>
                    <a:pt x="1333885" y="280598"/>
                    <a:pt x="1321045" y="275404"/>
                  </a:cubicBezTo>
                  <a:cubicBezTo>
                    <a:pt x="1308205" y="270210"/>
                    <a:pt x="1297241" y="262997"/>
                    <a:pt x="1288008" y="253620"/>
                  </a:cubicBezTo>
                  <a:cubicBezTo>
                    <a:pt x="1278919" y="244387"/>
                    <a:pt x="1271850" y="233423"/>
                    <a:pt x="1266945" y="220871"/>
                  </a:cubicBezTo>
                  <a:cubicBezTo>
                    <a:pt x="1262040" y="208320"/>
                    <a:pt x="1259443" y="194615"/>
                    <a:pt x="1259443" y="179900"/>
                  </a:cubicBezTo>
                  <a:cubicBezTo>
                    <a:pt x="1259443" y="165185"/>
                    <a:pt x="1261896" y="151479"/>
                    <a:pt x="1266945" y="138928"/>
                  </a:cubicBezTo>
                  <a:cubicBezTo>
                    <a:pt x="1271850" y="126377"/>
                    <a:pt x="1278919" y="115413"/>
                    <a:pt x="1288008" y="106180"/>
                  </a:cubicBezTo>
                  <a:cubicBezTo>
                    <a:pt x="1297097" y="96947"/>
                    <a:pt x="1308205" y="89734"/>
                    <a:pt x="1321045" y="84540"/>
                  </a:cubicBezTo>
                  <a:cubicBezTo>
                    <a:pt x="1333885" y="79346"/>
                    <a:pt x="1348167" y="76750"/>
                    <a:pt x="1363892" y="76750"/>
                  </a:cubicBezTo>
                  <a:cubicBezTo>
                    <a:pt x="1379617" y="76750"/>
                    <a:pt x="1393900" y="79346"/>
                    <a:pt x="1406739" y="84540"/>
                  </a:cubicBezTo>
                  <a:cubicBezTo>
                    <a:pt x="1419579" y="89734"/>
                    <a:pt x="1430543" y="96947"/>
                    <a:pt x="1439487" y="106180"/>
                  </a:cubicBezTo>
                  <a:cubicBezTo>
                    <a:pt x="1448432" y="115413"/>
                    <a:pt x="1455501" y="126377"/>
                    <a:pt x="1460406" y="138928"/>
                  </a:cubicBezTo>
                  <a:cubicBezTo>
                    <a:pt x="1465311" y="151479"/>
                    <a:pt x="1467764" y="165185"/>
                    <a:pt x="1467764" y="179900"/>
                  </a:cubicBezTo>
                  <a:cubicBezTo>
                    <a:pt x="1467764" y="194615"/>
                    <a:pt x="1465311" y="208320"/>
                    <a:pt x="1460406" y="220871"/>
                  </a:cubicBezTo>
                  <a:cubicBezTo>
                    <a:pt x="1455501" y="233423"/>
                    <a:pt x="1448432" y="244387"/>
                    <a:pt x="1439487" y="253620"/>
                  </a:cubicBezTo>
                  <a:cubicBezTo>
                    <a:pt x="1430543" y="262853"/>
                    <a:pt x="1419579" y="270066"/>
                    <a:pt x="1406739" y="275404"/>
                  </a:cubicBezTo>
                  <a:cubicBezTo>
                    <a:pt x="1393900" y="280598"/>
                    <a:pt x="1379617" y="283194"/>
                    <a:pt x="1363892" y="283194"/>
                  </a:cubicBezTo>
                  <a:moveTo>
                    <a:pt x="1363459" y="239049"/>
                  </a:moveTo>
                  <a:cubicBezTo>
                    <a:pt x="1377165" y="239049"/>
                    <a:pt x="1387552" y="233711"/>
                    <a:pt x="1394477" y="222891"/>
                  </a:cubicBezTo>
                  <a:cubicBezTo>
                    <a:pt x="1401546" y="212071"/>
                    <a:pt x="1405008" y="197789"/>
                    <a:pt x="1405008" y="180044"/>
                  </a:cubicBezTo>
                  <a:cubicBezTo>
                    <a:pt x="1405008" y="162299"/>
                    <a:pt x="1401546" y="147873"/>
                    <a:pt x="1394477" y="137053"/>
                  </a:cubicBezTo>
                  <a:cubicBezTo>
                    <a:pt x="1387552" y="126089"/>
                    <a:pt x="1377165" y="120606"/>
                    <a:pt x="1363459" y="120606"/>
                  </a:cubicBezTo>
                  <a:cubicBezTo>
                    <a:pt x="1349754" y="120606"/>
                    <a:pt x="1339511" y="126089"/>
                    <a:pt x="1332586" y="137053"/>
                  </a:cubicBezTo>
                  <a:cubicBezTo>
                    <a:pt x="1325806" y="148017"/>
                    <a:pt x="1322343" y="162299"/>
                    <a:pt x="1322343" y="180044"/>
                  </a:cubicBezTo>
                  <a:cubicBezTo>
                    <a:pt x="1322343" y="197789"/>
                    <a:pt x="1325806" y="212071"/>
                    <a:pt x="1332586" y="222891"/>
                  </a:cubicBezTo>
                  <a:cubicBezTo>
                    <a:pt x="1339511" y="233711"/>
                    <a:pt x="1349754" y="239049"/>
                    <a:pt x="1363459" y="239049"/>
                  </a:cubicBezTo>
                  <a:moveTo>
                    <a:pt x="1555910" y="282906"/>
                  </a:moveTo>
                  <a:cubicBezTo>
                    <a:pt x="1533260" y="282906"/>
                    <a:pt x="1516237" y="276270"/>
                    <a:pt x="1504696" y="262853"/>
                  </a:cubicBezTo>
                  <a:cubicBezTo>
                    <a:pt x="1493154" y="249580"/>
                    <a:pt x="1487384" y="231980"/>
                    <a:pt x="1487384" y="210051"/>
                  </a:cubicBezTo>
                  <a:lnTo>
                    <a:pt x="1487384" y="82087"/>
                  </a:lnTo>
                  <a:lnTo>
                    <a:pt x="1549130" y="82087"/>
                  </a:lnTo>
                  <a:lnTo>
                    <a:pt x="1549130" y="197212"/>
                  </a:lnTo>
                  <a:cubicBezTo>
                    <a:pt x="1549130" y="207887"/>
                    <a:pt x="1551582" y="216111"/>
                    <a:pt x="1556343" y="221737"/>
                  </a:cubicBezTo>
                  <a:cubicBezTo>
                    <a:pt x="1561104" y="227508"/>
                    <a:pt x="1568606" y="230249"/>
                    <a:pt x="1578416" y="230249"/>
                  </a:cubicBezTo>
                  <a:cubicBezTo>
                    <a:pt x="1589092" y="230249"/>
                    <a:pt x="1597459" y="226642"/>
                    <a:pt x="1603518" y="219429"/>
                  </a:cubicBezTo>
                  <a:cubicBezTo>
                    <a:pt x="1609577" y="212215"/>
                    <a:pt x="1612607" y="202694"/>
                    <a:pt x="1612607" y="191008"/>
                  </a:cubicBezTo>
                  <a:lnTo>
                    <a:pt x="1612607" y="82087"/>
                  </a:lnTo>
                  <a:lnTo>
                    <a:pt x="1674641" y="82087"/>
                  </a:lnTo>
                  <a:lnTo>
                    <a:pt x="1674641" y="277135"/>
                  </a:lnTo>
                  <a:lnTo>
                    <a:pt x="1615204" y="277135"/>
                  </a:lnTo>
                  <a:lnTo>
                    <a:pt x="1615204" y="253187"/>
                  </a:lnTo>
                  <a:lnTo>
                    <a:pt x="1614050" y="253187"/>
                  </a:lnTo>
                  <a:cubicBezTo>
                    <a:pt x="1606980" y="262853"/>
                    <a:pt x="1598902" y="270210"/>
                    <a:pt x="1589813" y="275260"/>
                  </a:cubicBezTo>
                  <a:cubicBezTo>
                    <a:pt x="1580868" y="280309"/>
                    <a:pt x="1569471" y="282906"/>
                    <a:pt x="1555766" y="282906"/>
                  </a:cubicBezTo>
                  <a:moveTo>
                    <a:pt x="1791208" y="283339"/>
                  </a:moveTo>
                  <a:cubicBezTo>
                    <a:pt x="1762499" y="283339"/>
                    <a:pt x="1739850" y="277135"/>
                    <a:pt x="1722971" y="264873"/>
                  </a:cubicBezTo>
                  <a:cubicBezTo>
                    <a:pt x="1706236" y="252610"/>
                    <a:pt x="1697291" y="235587"/>
                    <a:pt x="1696281" y="213947"/>
                  </a:cubicBezTo>
                  <a:lnTo>
                    <a:pt x="1754998" y="213947"/>
                  </a:lnTo>
                  <a:cubicBezTo>
                    <a:pt x="1756296" y="223612"/>
                    <a:pt x="1759903" y="230826"/>
                    <a:pt x="1766106" y="235731"/>
                  </a:cubicBezTo>
                  <a:cubicBezTo>
                    <a:pt x="1772165" y="240492"/>
                    <a:pt x="1780388" y="242944"/>
                    <a:pt x="1790920" y="242944"/>
                  </a:cubicBezTo>
                  <a:cubicBezTo>
                    <a:pt x="1800297" y="242944"/>
                    <a:pt x="1807799" y="241357"/>
                    <a:pt x="1813137" y="238039"/>
                  </a:cubicBezTo>
                  <a:cubicBezTo>
                    <a:pt x="1818619" y="234721"/>
                    <a:pt x="1821360" y="229960"/>
                    <a:pt x="1821360" y="223612"/>
                  </a:cubicBezTo>
                  <a:cubicBezTo>
                    <a:pt x="1821360" y="219284"/>
                    <a:pt x="1819917" y="215822"/>
                    <a:pt x="1817176" y="213081"/>
                  </a:cubicBezTo>
                  <a:cubicBezTo>
                    <a:pt x="1814435" y="210484"/>
                    <a:pt x="1810684" y="208320"/>
                    <a:pt x="1806068" y="206589"/>
                  </a:cubicBezTo>
                  <a:cubicBezTo>
                    <a:pt x="1801451" y="205002"/>
                    <a:pt x="1796258" y="203704"/>
                    <a:pt x="1790199" y="202838"/>
                  </a:cubicBezTo>
                  <a:cubicBezTo>
                    <a:pt x="1784284" y="201973"/>
                    <a:pt x="1778080" y="200818"/>
                    <a:pt x="1771732" y="199664"/>
                  </a:cubicBezTo>
                  <a:cubicBezTo>
                    <a:pt x="1763365" y="198077"/>
                    <a:pt x="1754998" y="196346"/>
                    <a:pt x="1746630" y="194182"/>
                  </a:cubicBezTo>
                  <a:cubicBezTo>
                    <a:pt x="1738263" y="192018"/>
                    <a:pt x="1730761" y="188844"/>
                    <a:pt x="1723980" y="184516"/>
                  </a:cubicBezTo>
                  <a:cubicBezTo>
                    <a:pt x="1717200" y="180188"/>
                    <a:pt x="1711862" y="174418"/>
                    <a:pt x="1707823" y="167204"/>
                  </a:cubicBezTo>
                  <a:cubicBezTo>
                    <a:pt x="1703783" y="159991"/>
                    <a:pt x="1701763" y="150614"/>
                    <a:pt x="1701763" y="139217"/>
                  </a:cubicBezTo>
                  <a:cubicBezTo>
                    <a:pt x="1701763" y="129118"/>
                    <a:pt x="1703927" y="120029"/>
                    <a:pt x="1708400" y="112095"/>
                  </a:cubicBezTo>
                  <a:cubicBezTo>
                    <a:pt x="1712872" y="104304"/>
                    <a:pt x="1718931" y="97668"/>
                    <a:pt x="1726577" y="92475"/>
                  </a:cubicBezTo>
                  <a:cubicBezTo>
                    <a:pt x="1734223" y="87281"/>
                    <a:pt x="1743168" y="83386"/>
                    <a:pt x="1753411" y="80645"/>
                  </a:cubicBezTo>
                  <a:cubicBezTo>
                    <a:pt x="1763653" y="78048"/>
                    <a:pt x="1774618" y="76605"/>
                    <a:pt x="1786015" y="76605"/>
                  </a:cubicBezTo>
                  <a:cubicBezTo>
                    <a:pt x="1813714" y="76605"/>
                    <a:pt x="1834921" y="82232"/>
                    <a:pt x="1849636" y="93340"/>
                  </a:cubicBezTo>
                  <a:cubicBezTo>
                    <a:pt x="1864351" y="104449"/>
                    <a:pt x="1872430" y="119741"/>
                    <a:pt x="1874017" y="139073"/>
                  </a:cubicBezTo>
                  <a:lnTo>
                    <a:pt x="1816888" y="139073"/>
                  </a:lnTo>
                  <a:cubicBezTo>
                    <a:pt x="1815589" y="130128"/>
                    <a:pt x="1812271" y="124213"/>
                    <a:pt x="1806789" y="121039"/>
                  </a:cubicBezTo>
                  <a:cubicBezTo>
                    <a:pt x="1801307" y="117865"/>
                    <a:pt x="1794238" y="116278"/>
                    <a:pt x="1785582" y="116278"/>
                  </a:cubicBezTo>
                  <a:cubicBezTo>
                    <a:pt x="1777936" y="116278"/>
                    <a:pt x="1771588" y="117721"/>
                    <a:pt x="1766395" y="120606"/>
                  </a:cubicBezTo>
                  <a:cubicBezTo>
                    <a:pt x="1761201" y="123492"/>
                    <a:pt x="1758604" y="127964"/>
                    <a:pt x="1758604" y="134167"/>
                  </a:cubicBezTo>
                  <a:cubicBezTo>
                    <a:pt x="1758604" y="137774"/>
                    <a:pt x="1759903" y="140515"/>
                    <a:pt x="1762355" y="142535"/>
                  </a:cubicBezTo>
                  <a:cubicBezTo>
                    <a:pt x="1764952" y="144555"/>
                    <a:pt x="1768270" y="146286"/>
                    <a:pt x="1772598" y="147728"/>
                  </a:cubicBezTo>
                  <a:cubicBezTo>
                    <a:pt x="1776926" y="149171"/>
                    <a:pt x="1781975" y="150325"/>
                    <a:pt x="1787602" y="151335"/>
                  </a:cubicBezTo>
                  <a:cubicBezTo>
                    <a:pt x="1793372" y="152345"/>
                    <a:pt x="1799287" y="153355"/>
                    <a:pt x="1805346" y="154365"/>
                  </a:cubicBezTo>
                  <a:cubicBezTo>
                    <a:pt x="1814002" y="155807"/>
                    <a:pt x="1822659" y="157683"/>
                    <a:pt x="1831459" y="159847"/>
                  </a:cubicBezTo>
                  <a:cubicBezTo>
                    <a:pt x="1840259" y="162011"/>
                    <a:pt x="1848193" y="165329"/>
                    <a:pt x="1855407" y="169945"/>
                  </a:cubicBezTo>
                  <a:cubicBezTo>
                    <a:pt x="1862620" y="174562"/>
                    <a:pt x="1868535" y="180621"/>
                    <a:pt x="1873152" y="188412"/>
                  </a:cubicBezTo>
                  <a:cubicBezTo>
                    <a:pt x="1877768" y="196202"/>
                    <a:pt x="1880076" y="206301"/>
                    <a:pt x="1880076" y="218707"/>
                  </a:cubicBezTo>
                  <a:cubicBezTo>
                    <a:pt x="1880076" y="229383"/>
                    <a:pt x="1877768" y="238760"/>
                    <a:pt x="1873440" y="246839"/>
                  </a:cubicBezTo>
                  <a:cubicBezTo>
                    <a:pt x="1868968" y="254918"/>
                    <a:pt x="1862764" y="261699"/>
                    <a:pt x="1854974" y="267037"/>
                  </a:cubicBezTo>
                  <a:cubicBezTo>
                    <a:pt x="1847039" y="272374"/>
                    <a:pt x="1837662" y="276414"/>
                    <a:pt x="1826842" y="279299"/>
                  </a:cubicBezTo>
                  <a:cubicBezTo>
                    <a:pt x="1815878" y="282040"/>
                    <a:pt x="1804048" y="283483"/>
                    <a:pt x="1791353" y="283483"/>
                  </a:cubicBezTo>
                  <a:moveTo>
                    <a:pt x="2001260" y="283050"/>
                  </a:moveTo>
                  <a:cubicBezTo>
                    <a:pt x="1985246" y="283050"/>
                    <a:pt x="1970820" y="280453"/>
                    <a:pt x="1957836" y="275260"/>
                  </a:cubicBezTo>
                  <a:cubicBezTo>
                    <a:pt x="1944852" y="270066"/>
                    <a:pt x="1934032" y="262853"/>
                    <a:pt x="1925087" y="253476"/>
                  </a:cubicBezTo>
                  <a:cubicBezTo>
                    <a:pt x="1916143" y="244243"/>
                    <a:pt x="1909362" y="233278"/>
                    <a:pt x="1904457" y="220583"/>
                  </a:cubicBezTo>
                  <a:cubicBezTo>
                    <a:pt x="1899697" y="207887"/>
                    <a:pt x="1897244" y="194182"/>
                    <a:pt x="1897244" y="179467"/>
                  </a:cubicBezTo>
                  <a:cubicBezTo>
                    <a:pt x="1897244" y="164752"/>
                    <a:pt x="1899697" y="151479"/>
                    <a:pt x="1904457" y="138928"/>
                  </a:cubicBezTo>
                  <a:cubicBezTo>
                    <a:pt x="1909218" y="126377"/>
                    <a:pt x="1916143" y="115413"/>
                    <a:pt x="1925087" y="106180"/>
                  </a:cubicBezTo>
                  <a:cubicBezTo>
                    <a:pt x="1934032" y="96947"/>
                    <a:pt x="1944563" y="89734"/>
                    <a:pt x="1956682" y="84540"/>
                  </a:cubicBezTo>
                  <a:cubicBezTo>
                    <a:pt x="1968944" y="79346"/>
                    <a:pt x="1982505" y="76750"/>
                    <a:pt x="1997509" y="76750"/>
                  </a:cubicBezTo>
                  <a:cubicBezTo>
                    <a:pt x="2011503" y="76750"/>
                    <a:pt x="2023910" y="78914"/>
                    <a:pt x="2035018" y="83242"/>
                  </a:cubicBezTo>
                  <a:cubicBezTo>
                    <a:pt x="2046127" y="87570"/>
                    <a:pt x="2055792" y="93484"/>
                    <a:pt x="2064160" y="101131"/>
                  </a:cubicBezTo>
                  <a:cubicBezTo>
                    <a:pt x="2075845" y="111806"/>
                    <a:pt x="2084501" y="125367"/>
                    <a:pt x="2090272" y="141669"/>
                  </a:cubicBezTo>
                  <a:cubicBezTo>
                    <a:pt x="2096043" y="158116"/>
                    <a:pt x="2098784" y="176149"/>
                    <a:pt x="2098495" y="195913"/>
                  </a:cubicBezTo>
                  <a:lnTo>
                    <a:pt x="1958269" y="195913"/>
                  </a:lnTo>
                  <a:cubicBezTo>
                    <a:pt x="1960288" y="209186"/>
                    <a:pt x="1964905" y="219573"/>
                    <a:pt x="1971974" y="227219"/>
                  </a:cubicBezTo>
                  <a:cubicBezTo>
                    <a:pt x="1979043" y="234865"/>
                    <a:pt x="1989142" y="238616"/>
                    <a:pt x="2002125" y="238616"/>
                  </a:cubicBezTo>
                  <a:cubicBezTo>
                    <a:pt x="2010204" y="238616"/>
                    <a:pt x="2016985" y="236885"/>
                    <a:pt x="2022323" y="233423"/>
                  </a:cubicBezTo>
                  <a:cubicBezTo>
                    <a:pt x="2027661" y="229960"/>
                    <a:pt x="2031700" y="225199"/>
                    <a:pt x="2034585" y="219140"/>
                  </a:cubicBezTo>
                  <a:lnTo>
                    <a:pt x="2095177" y="219140"/>
                  </a:lnTo>
                  <a:cubicBezTo>
                    <a:pt x="2093158" y="228085"/>
                    <a:pt x="2089406" y="236452"/>
                    <a:pt x="2083780" y="244531"/>
                  </a:cubicBezTo>
                  <a:cubicBezTo>
                    <a:pt x="2078154" y="252610"/>
                    <a:pt x="2071085" y="259390"/>
                    <a:pt x="2062429" y="265305"/>
                  </a:cubicBezTo>
                  <a:cubicBezTo>
                    <a:pt x="2054350" y="271220"/>
                    <a:pt x="2045261" y="275548"/>
                    <a:pt x="2035162" y="278578"/>
                  </a:cubicBezTo>
                  <a:cubicBezTo>
                    <a:pt x="2025064" y="281607"/>
                    <a:pt x="2013811" y="283194"/>
                    <a:pt x="2001404" y="283194"/>
                  </a:cubicBezTo>
                  <a:moveTo>
                    <a:pt x="2035739" y="158981"/>
                  </a:moveTo>
                  <a:cubicBezTo>
                    <a:pt x="2034441" y="147296"/>
                    <a:pt x="2030546" y="138063"/>
                    <a:pt x="2023910" y="131138"/>
                  </a:cubicBezTo>
                  <a:cubicBezTo>
                    <a:pt x="2017273" y="124357"/>
                    <a:pt x="2008906" y="120895"/>
                    <a:pt x="1998807" y="120895"/>
                  </a:cubicBezTo>
                  <a:cubicBezTo>
                    <a:pt x="1986833" y="120895"/>
                    <a:pt x="1977745" y="124357"/>
                    <a:pt x="1971397" y="131138"/>
                  </a:cubicBezTo>
                  <a:cubicBezTo>
                    <a:pt x="1965049" y="138063"/>
                    <a:pt x="1960865" y="147296"/>
                    <a:pt x="1958846" y="158981"/>
                  </a:cubicBezTo>
                  <a:lnTo>
                    <a:pt x="2035739" y="158981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420A9100-D517-D472-CEFD-D0D3A5BCF545}"/>
                </a:ext>
              </a:extLst>
            </p:cNvPr>
            <p:cNvSpPr/>
            <p:nvPr/>
          </p:nvSpPr>
          <p:spPr>
            <a:xfrm>
              <a:off x="883128" y="557212"/>
              <a:ext cx="273528" cy="675598"/>
            </a:xfrm>
            <a:custGeom>
              <a:avLst/>
              <a:gdLst>
                <a:gd name="connsiteX0" fmla="*/ 0 w 273528"/>
                <a:gd name="connsiteY0" fmla="*/ 0 h 675598"/>
                <a:gd name="connsiteX1" fmla="*/ 0 w 273528"/>
                <a:gd name="connsiteY1" fmla="*/ 476944 h 675598"/>
                <a:gd name="connsiteX2" fmla="*/ 272807 w 273528"/>
                <a:gd name="connsiteY2" fmla="*/ 675598 h 675598"/>
                <a:gd name="connsiteX3" fmla="*/ 273529 w 273528"/>
                <a:gd name="connsiteY3" fmla="*/ 674877 h 675598"/>
                <a:gd name="connsiteX4" fmla="*/ 0 w 273528"/>
                <a:gd name="connsiteY4" fmla="*/ 0 h 675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528" h="675598">
                  <a:moveTo>
                    <a:pt x="0" y="0"/>
                  </a:moveTo>
                  <a:lnTo>
                    <a:pt x="0" y="476944"/>
                  </a:lnTo>
                  <a:lnTo>
                    <a:pt x="272807" y="675598"/>
                  </a:lnTo>
                  <a:cubicBezTo>
                    <a:pt x="272807" y="675598"/>
                    <a:pt x="273384" y="675021"/>
                    <a:pt x="273529" y="67487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3D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AA4E6CE2-336C-0213-9FF5-26E16386C047}"/>
                </a:ext>
              </a:extLst>
            </p:cNvPr>
            <p:cNvSpPr/>
            <p:nvPr/>
          </p:nvSpPr>
          <p:spPr>
            <a:xfrm>
              <a:off x="609600" y="557212"/>
              <a:ext cx="273528" cy="675453"/>
            </a:xfrm>
            <a:custGeom>
              <a:avLst/>
              <a:gdLst>
                <a:gd name="connsiteX0" fmla="*/ 0 w 273528"/>
                <a:gd name="connsiteY0" fmla="*/ 674733 h 675453"/>
                <a:gd name="connsiteX1" fmla="*/ 721 w 273528"/>
                <a:gd name="connsiteY1" fmla="*/ 675454 h 675453"/>
                <a:gd name="connsiteX2" fmla="*/ 273529 w 273528"/>
                <a:gd name="connsiteY2" fmla="*/ 476799 h 675453"/>
                <a:gd name="connsiteX3" fmla="*/ 273529 w 273528"/>
                <a:gd name="connsiteY3" fmla="*/ 0 h 675453"/>
                <a:gd name="connsiteX4" fmla="*/ 0 w 273528"/>
                <a:gd name="connsiteY4" fmla="*/ 674733 h 675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528" h="675453">
                  <a:moveTo>
                    <a:pt x="0" y="674733"/>
                  </a:moveTo>
                  <a:cubicBezTo>
                    <a:pt x="0" y="674733"/>
                    <a:pt x="577" y="675310"/>
                    <a:pt x="721" y="675454"/>
                  </a:cubicBezTo>
                  <a:lnTo>
                    <a:pt x="273529" y="476799"/>
                  </a:lnTo>
                  <a:lnTo>
                    <a:pt x="273529" y="0"/>
                  </a:lnTo>
                  <a:lnTo>
                    <a:pt x="0" y="674733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8DC4B6A-4CBA-E0F1-E91D-A6319EE1FAC8}"/>
              </a:ext>
            </a:extLst>
          </p:cNvPr>
          <p:cNvCxnSpPr>
            <a:cxnSpLocks/>
          </p:cNvCxnSpPr>
          <p:nvPr/>
        </p:nvCxnSpPr>
        <p:spPr>
          <a:xfrm>
            <a:off x="609600" y="4594548"/>
            <a:ext cx="537667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CB1E87D-CF80-16E1-E2DA-D366BCB64A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048537"/>
            <a:ext cx="5376672" cy="2244461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ation title extends </a:t>
            </a:r>
            <a:br>
              <a:rPr lang="en-US"/>
            </a:br>
            <a:r>
              <a:rPr lang="en-US"/>
              <a:t>up to 3 line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2A9289B-23E0-657B-DF89-7F9B74F766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523079"/>
            <a:ext cx="2468880" cy="223908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400" b="1" cap="all" spc="300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err="1"/>
              <a:t>DatE</a:t>
            </a:r>
            <a:endParaRPr lang="en-US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63BBE4A5-01FB-BD6C-513D-9B06278F44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6090476"/>
            <a:ext cx="1834388" cy="210312"/>
          </a:xfrm>
          <a:prstGeom prst="rect">
            <a:avLst/>
          </a:prstGeom>
        </p:spPr>
      </p:pic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106BDF57-DECC-8B8C-6F4A-719D8D26FC2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645285" y="0"/>
            <a:ext cx="5546715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 b="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8" name="Text Placeholder 33">
            <a:extLst>
              <a:ext uri="{FF2B5EF4-FFF2-40B4-BE49-F238E27FC236}">
                <a16:creationId xmlns:a16="http://schemas.microsoft.com/office/drawing/2014/main" id="{805160F1-65BE-F6D3-F761-0B231F0F9C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4896099"/>
            <a:ext cx="5387082" cy="307777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300"/>
              </a:spcAft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9" name="Text Placeholder 33">
            <a:extLst>
              <a:ext uri="{FF2B5EF4-FFF2-40B4-BE49-F238E27FC236}">
                <a16:creationId xmlns:a16="http://schemas.microsoft.com/office/drawing/2014/main" id="{7B7818B6-ABA3-F1C8-1165-F681F91DF0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0348" y="5236388"/>
            <a:ext cx="5387082" cy="276999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</p:spTree>
    <p:extLst>
      <p:ext uri="{BB962C8B-B14F-4D97-AF65-F5344CB8AC3E}">
        <p14:creationId xmlns:p14="http://schemas.microsoft.com/office/powerpoint/2010/main" val="17103254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 with horizontal image - Dark ">
    <p:bg>
      <p:bgPr>
        <a:solidFill>
          <a:schemeClr val="tx2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106BDF57-DECC-8B8C-6F4A-719D8D26FC2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" y="0"/>
            <a:ext cx="12192000" cy="2882899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 b="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C1A42ED-98C2-0925-4548-9A57C0E8C3BF}"/>
              </a:ext>
            </a:extLst>
          </p:cNvPr>
          <p:cNvSpPr/>
          <p:nvPr/>
        </p:nvSpPr>
        <p:spPr>
          <a:xfrm>
            <a:off x="0" y="2882900"/>
            <a:ext cx="12192000" cy="3975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8DC4B6A-4CBA-E0F1-E91D-A6319EE1FAC8}"/>
              </a:ext>
            </a:extLst>
          </p:cNvPr>
          <p:cNvCxnSpPr>
            <a:cxnSpLocks/>
          </p:cNvCxnSpPr>
          <p:nvPr/>
        </p:nvCxnSpPr>
        <p:spPr>
          <a:xfrm>
            <a:off x="609600" y="5325247"/>
            <a:ext cx="10972800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CB1E87D-CF80-16E1-E2DA-D366BCB64A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517900"/>
            <a:ext cx="8102600" cy="1505797"/>
          </a:xfrm>
        </p:spPr>
        <p:txBody>
          <a:bodyPr wrap="square" anchor="b">
            <a:no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ation title extends up to 2 line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2A9289B-23E0-657B-DF89-7F9B74F766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3520" y="3530600"/>
            <a:ext cx="2468880" cy="223908"/>
          </a:xfrm>
        </p:spPr>
        <p:txBody>
          <a:bodyPr wrap="square">
            <a:noAutofit/>
          </a:bodyPr>
          <a:lstStyle>
            <a:lvl1pPr algn="r">
              <a:spcAft>
                <a:spcPts val="0"/>
              </a:spcAft>
              <a:defRPr sz="1400" b="1" cap="all" spc="300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63BBE4A5-01FB-BD6C-513D-9B06278F44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48012" y="6090476"/>
            <a:ext cx="1834388" cy="210312"/>
          </a:xfrm>
          <a:prstGeom prst="rect">
            <a:avLst/>
          </a:prstGeom>
        </p:spPr>
      </p:pic>
      <p:sp>
        <p:nvSpPr>
          <p:cNvPr id="6" name="Text Placeholder 33">
            <a:extLst>
              <a:ext uri="{FF2B5EF4-FFF2-40B4-BE49-F238E27FC236}">
                <a16:creationId xmlns:a16="http://schemas.microsoft.com/office/drawing/2014/main" id="{475AB097-4F05-F770-F35D-E9419CED53A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0808" y="5617063"/>
            <a:ext cx="5387082" cy="307777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300"/>
              </a:spcAft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7" name="Text Placeholder 33">
            <a:extLst>
              <a:ext uri="{FF2B5EF4-FFF2-40B4-BE49-F238E27FC236}">
                <a16:creationId xmlns:a16="http://schemas.microsoft.com/office/drawing/2014/main" id="{521D3A68-E6AF-97E4-C9F7-23113EEF10B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556" y="5957352"/>
            <a:ext cx="5387082" cy="276999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  <p:grpSp>
        <p:nvGrpSpPr>
          <p:cNvPr id="3" name="Graphic 3">
            <a:extLst>
              <a:ext uri="{FF2B5EF4-FFF2-40B4-BE49-F238E27FC236}">
                <a16:creationId xmlns:a16="http://schemas.microsoft.com/office/drawing/2014/main" id="{E5FB8962-920A-B245-9219-020C4F3680D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09600" y="557212"/>
            <a:ext cx="1734668" cy="438912"/>
            <a:chOff x="609600" y="557212"/>
            <a:chExt cx="2667656" cy="674980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2B4BBB7B-4AD7-5D5E-FE88-2CB32AA35640}"/>
                </a:ext>
              </a:extLst>
            </p:cNvPr>
            <p:cNvSpPr/>
            <p:nvPr/>
          </p:nvSpPr>
          <p:spPr>
            <a:xfrm>
              <a:off x="1180659" y="790421"/>
              <a:ext cx="2096597" cy="283512"/>
            </a:xfrm>
            <a:custGeom>
              <a:avLst/>
              <a:gdLst>
                <a:gd name="connsiteX0" fmla="*/ 129433 w 2096597"/>
                <a:gd name="connsiteY0" fmla="*/ 283512 h 283512"/>
                <a:gd name="connsiteX1" fmla="*/ 76968 w 2096597"/>
                <a:gd name="connsiteY1" fmla="*/ 273567 h 283512"/>
                <a:gd name="connsiteX2" fmla="*/ 36610 w 2096597"/>
                <a:gd name="connsiteY2" fmla="*/ 245461 h 283512"/>
                <a:gd name="connsiteX3" fmla="*/ 9369 w 2096597"/>
                <a:gd name="connsiteY3" fmla="*/ 199770 h 283512"/>
                <a:gd name="connsiteX4" fmla="*/ 0 w 2096597"/>
                <a:gd name="connsiteY4" fmla="*/ 142260 h 283512"/>
                <a:gd name="connsiteX5" fmla="*/ 10522 w 2096597"/>
                <a:gd name="connsiteY5" fmla="*/ 82733 h 283512"/>
                <a:gd name="connsiteX6" fmla="*/ 40358 w 2096597"/>
                <a:gd name="connsiteY6" fmla="*/ 36178 h 283512"/>
                <a:gd name="connsiteX7" fmla="*/ 80715 w 2096597"/>
                <a:gd name="connsiteY7" fmla="*/ 9513 h 283512"/>
                <a:gd name="connsiteX8" fmla="*/ 133612 w 2096597"/>
                <a:gd name="connsiteY8" fmla="*/ 0 h 283512"/>
                <a:gd name="connsiteX9" fmla="*/ 180744 w 2096597"/>
                <a:gd name="connsiteY9" fmla="*/ 6630 h 283512"/>
                <a:gd name="connsiteX10" fmla="*/ 216922 w 2096597"/>
                <a:gd name="connsiteY10" fmla="*/ 25656 h 283512"/>
                <a:gd name="connsiteX11" fmla="*/ 241425 w 2096597"/>
                <a:gd name="connsiteY11" fmla="*/ 55492 h 283512"/>
                <a:gd name="connsiteX12" fmla="*/ 254109 w 2096597"/>
                <a:gd name="connsiteY12" fmla="*/ 94264 h 283512"/>
                <a:gd name="connsiteX13" fmla="*/ 188672 w 2096597"/>
                <a:gd name="connsiteY13" fmla="*/ 94264 h 283512"/>
                <a:gd name="connsiteX14" fmla="*/ 171520 w 2096597"/>
                <a:gd name="connsiteY14" fmla="*/ 66446 h 283512"/>
                <a:gd name="connsiteX15" fmla="*/ 135774 w 2096597"/>
                <a:gd name="connsiteY15" fmla="*/ 55348 h 283512"/>
                <a:gd name="connsiteX16" fmla="*/ 106227 w 2096597"/>
                <a:gd name="connsiteY16" fmla="*/ 61978 h 283512"/>
                <a:gd name="connsiteX17" fmla="*/ 85039 w 2096597"/>
                <a:gd name="connsiteY17" fmla="*/ 80283 h 283512"/>
                <a:gd name="connsiteX18" fmla="*/ 72500 w 2096597"/>
                <a:gd name="connsiteY18" fmla="*/ 107668 h 283512"/>
                <a:gd name="connsiteX19" fmla="*/ 68320 w 2096597"/>
                <a:gd name="connsiteY19" fmla="*/ 142116 h 283512"/>
                <a:gd name="connsiteX20" fmla="*/ 73076 w 2096597"/>
                <a:gd name="connsiteY20" fmla="*/ 176709 h 283512"/>
                <a:gd name="connsiteX21" fmla="*/ 86625 w 2096597"/>
                <a:gd name="connsiteY21" fmla="*/ 204238 h 283512"/>
                <a:gd name="connsiteX22" fmla="*/ 108101 w 2096597"/>
                <a:gd name="connsiteY22" fmla="*/ 222255 h 283512"/>
                <a:gd name="connsiteX23" fmla="*/ 136783 w 2096597"/>
                <a:gd name="connsiteY23" fmla="*/ 228741 h 283512"/>
                <a:gd name="connsiteX24" fmla="*/ 160566 w 2096597"/>
                <a:gd name="connsiteY24" fmla="*/ 224705 h 283512"/>
                <a:gd name="connsiteX25" fmla="*/ 178438 w 2096597"/>
                <a:gd name="connsiteY25" fmla="*/ 214039 h 283512"/>
                <a:gd name="connsiteX26" fmla="*/ 190257 w 2096597"/>
                <a:gd name="connsiteY26" fmla="*/ 198761 h 283512"/>
                <a:gd name="connsiteX27" fmla="*/ 195734 w 2096597"/>
                <a:gd name="connsiteY27" fmla="*/ 181033 h 283512"/>
                <a:gd name="connsiteX28" fmla="*/ 195734 w 2096597"/>
                <a:gd name="connsiteY28" fmla="*/ 180312 h 283512"/>
                <a:gd name="connsiteX29" fmla="*/ 144711 w 2096597"/>
                <a:gd name="connsiteY29" fmla="*/ 180312 h 283512"/>
                <a:gd name="connsiteX30" fmla="*/ 144711 w 2096597"/>
                <a:gd name="connsiteY30" fmla="*/ 130874 h 283512"/>
                <a:gd name="connsiteX31" fmla="*/ 258144 w 2096597"/>
                <a:gd name="connsiteY31" fmla="*/ 130874 h 283512"/>
                <a:gd name="connsiteX32" fmla="*/ 258144 w 2096597"/>
                <a:gd name="connsiteY32" fmla="*/ 277026 h 283512"/>
                <a:gd name="connsiteX33" fmla="*/ 211013 w 2096597"/>
                <a:gd name="connsiteY33" fmla="*/ 277026 h 283512"/>
                <a:gd name="connsiteX34" fmla="*/ 207265 w 2096597"/>
                <a:gd name="connsiteY34" fmla="*/ 244308 h 283512"/>
                <a:gd name="connsiteX35" fmla="*/ 206544 w 2096597"/>
                <a:gd name="connsiteY35" fmla="*/ 244308 h 283512"/>
                <a:gd name="connsiteX36" fmla="*/ 173682 w 2096597"/>
                <a:gd name="connsiteY36" fmla="*/ 274143 h 283512"/>
                <a:gd name="connsiteX37" fmla="*/ 129288 w 2096597"/>
                <a:gd name="connsiteY37" fmla="*/ 283080 h 283512"/>
                <a:gd name="connsiteX38" fmla="*/ 358029 w 2096597"/>
                <a:gd name="connsiteY38" fmla="*/ 282647 h 283512"/>
                <a:gd name="connsiteX39" fmla="*/ 306862 w 2096597"/>
                <a:gd name="connsiteY39" fmla="*/ 262613 h 283512"/>
                <a:gd name="connsiteX40" fmla="*/ 289566 w 2096597"/>
                <a:gd name="connsiteY40" fmla="*/ 209859 h 283512"/>
                <a:gd name="connsiteX41" fmla="*/ 289566 w 2096597"/>
                <a:gd name="connsiteY41" fmla="*/ 82012 h 283512"/>
                <a:gd name="connsiteX42" fmla="*/ 351255 w 2096597"/>
                <a:gd name="connsiteY42" fmla="*/ 82012 h 283512"/>
                <a:gd name="connsiteX43" fmla="*/ 351255 w 2096597"/>
                <a:gd name="connsiteY43" fmla="*/ 197032 h 283512"/>
                <a:gd name="connsiteX44" fmla="*/ 358462 w 2096597"/>
                <a:gd name="connsiteY44" fmla="*/ 221534 h 283512"/>
                <a:gd name="connsiteX45" fmla="*/ 380514 w 2096597"/>
                <a:gd name="connsiteY45" fmla="*/ 230038 h 283512"/>
                <a:gd name="connsiteX46" fmla="*/ 405594 w 2096597"/>
                <a:gd name="connsiteY46" fmla="*/ 219228 h 283512"/>
                <a:gd name="connsiteX47" fmla="*/ 414674 w 2096597"/>
                <a:gd name="connsiteY47" fmla="*/ 190834 h 283512"/>
                <a:gd name="connsiteX48" fmla="*/ 414674 w 2096597"/>
                <a:gd name="connsiteY48" fmla="*/ 82012 h 283512"/>
                <a:gd name="connsiteX49" fmla="*/ 476652 w 2096597"/>
                <a:gd name="connsiteY49" fmla="*/ 82012 h 283512"/>
                <a:gd name="connsiteX50" fmla="*/ 476652 w 2096597"/>
                <a:gd name="connsiteY50" fmla="*/ 276882 h 283512"/>
                <a:gd name="connsiteX51" fmla="*/ 417269 w 2096597"/>
                <a:gd name="connsiteY51" fmla="*/ 276882 h 283512"/>
                <a:gd name="connsiteX52" fmla="*/ 417269 w 2096597"/>
                <a:gd name="connsiteY52" fmla="*/ 252956 h 283512"/>
                <a:gd name="connsiteX53" fmla="*/ 416116 w 2096597"/>
                <a:gd name="connsiteY53" fmla="*/ 252956 h 283512"/>
                <a:gd name="connsiteX54" fmla="*/ 391901 w 2096597"/>
                <a:gd name="connsiteY54" fmla="*/ 275008 h 283512"/>
                <a:gd name="connsiteX55" fmla="*/ 357885 w 2096597"/>
                <a:gd name="connsiteY55" fmla="*/ 282647 h 283512"/>
                <a:gd name="connsiteX56" fmla="*/ 511965 w 2096597"/>
                <a:gd name="connsiteY56" fmla="*/ 2162 h 283512"/>
                <a:gd name="connsiteX57" fmla="*/ 573943 w 2096597"/>
                <a:gd name="connsiteY57" fmla="*/ 2162 h 283512"/>
                <a:gd name="connsiteX58" fmla="*/ 573943 w 2096597"/>
                <a:gd name="connsiteY58" fmla="*/ 55059 h 283512"/>
                <a:gd name="connsiteX59" fmla="*/ 511965 w 2096597"/>
                <a:gd name="connsiteY59" fmla="*/ 55059 h 283512"/>
                <a:gd name="connsiteX60" fmla="*/ 511965 w 2096597"/>
                <a:gd name="connsiteY60" fmla="*/ 2162 h 283512"/>
                <a:gd name="connsiteX61" fmla="*/ 511965 w 2096597"/>
                <a:gd name="connsiteY61" fmla="*/ 82012 h 283512"/>
                <a:gd name="connsiteX62" fmla="*/ 573943 w 2096597"/>
                <a:gd name="connsiteY62" fmla="*/ 82012 h 283512"/>
                <a:gd name="connsiteX63" fmla="*/ 573943 w 2096597"/>
                <a:gd name="connsiteY63" fmla="*/ 276882 h 283512"/>
                <a:gd name="connsiteX64" fmla="*/ 511965 w 2096597"/>
                <a:gd name="connsiteY64" fmla="*/ 276882 h 283512"/>
                <a:gd name="connsiteX65" fmla="*/ 511965 w 2096597"/>
                <a:gd name="connsiteY65" fmla="*/ 82012 h 283512"/>
                <a:gd name="connsiteX66" fmla="*/ 685935 w 2096597"/>
                <a:gd name="connsiteY66" fmla="*/ 282936 h 283512"/>
                <a:gd name="connsiteX67" fmla="*/ 651631 w 2096597"/>
                <a:gd name="connsiteY67" fmla="*/ 275873 h 283512"/>
                <a:gd name="connsiteX68" fmla="*/ 624678 w 2096597"/>
                <a:gd name="connsiteY68" fmla="*/ 255550 h 283512"/>
                <a:gd name="connsiteX69" fmla="*/ 606949 w 2096597"/>
                <a:gd name="connsiteY69" fmla="*/ 222976 h 283512"/>
                <a:gd name="connsiteX70" fmla="*/ 600607 w 2096597"/>
                <a:gd name="connsiteY70" fmla="*/ 179447 h 283512"/>
                <a:gd name="connsiteX71" fmla="*/ 606949 w 2096597"/>
                <a:gd name="connsiteY71" fmla="*/ 137504 h 283512"/>
                <a:gd name="connsiteX72" fmla="*/ 624390 w 2096597"/>
                <a:gd name="connsiteY72" fmla="*/ 104930 h 283512"/>
                <a:gd name="connsiteX73" fmla="*/ 651199 w 2096597"/>
                <a:gd name="connsiteY73" fmla="*/ 83742 h 283512"/>
                <a:gd name="connsiteX74" fmla="*/ 685791 w 2096597"/>
                <a:gd name="connsiteY74" fmla="*/ 76103 h 283512"/>
                <a:gd name="connsiteX75" fmla="*/ 718942 w 2096597"/>
                <a:gd name="connsiteY75" fmla="*/ 83886 h 283512"/>
                <a:gd name="connsiteX76" fmla="*/ 740273 w 2096597"/>
                <a:gd name="connsiteY76" fmla="*/ 103921 h 283512"/>
                <a:gd name="connsiteX77" fmla="*/ 741426 w 2096597"/>
                <a:gd name="connsiteY77" fmla="*/ 103921 h 283512"/>
                <a:gd name="connsiteX78" fmla="*/ 741426 w 2096597"/>
                <a:gd name="connsiteY78" fmla="*/ 1874 h 283512"/>
                <a:gd name="connsiteX79" fmla="*/ 803404 w 2096597"/>
                <a:gd name="connsiteY79" fmla="*/ 1874 h 283512"/>
                <a:gd name="connsiteX80" fmla="*/ 803404 w 2096597"/>
                <a:gd name="connsiteY80" fmla="*/ 276738 h 283512"/>
                <a:gd name="connsiteX81" fmla="*/ 744021 w 2096597"/>
                <a:gd name="connsiteY81" fmla="*/ 276738 h 283512"/>
                <a:gd name="connsiteX82" fmla="*/ 744021 w 2096597"/>
                <a:gd name="connsiteY82" fmla="*/ 250505 h 283512"/>
                <a:gd name="connsiteX83" fmla="*/ 743300 w 2096597"/>
                <a:gd name="connsiteY83" fmla="*/ 250505 h 283512"/>
                <a:gd name="connsiteX84" fmla="*/ 719951 w 2096597"/>
                <a:gd name="connsiteY84" fmla="*/ 274287 h 283512"/>
                <a:gd name="connsiteX85" fmla="*/ 685935 w 2096597"/>
                <a:gd name="connsiteY85" fmla="*/ 282791 h 283512"/>
                <a:gd name="connsiteX86" fmla="*/ 701934 w 2096597"/>
                <a:gd name="connsiteY86" fmla="*/ 233642 h 283512"/>
                <a:gd name="connsiteX87" fmla="*/ 732202 w 2096597"/>
                <a:gd name="connsiteY87" fmla="*/ 218363 h 283512"/>
                <a:gd name="connsiteX88" fmla="*/ 743012 w 2096597"/>
                <a:gd name="connsiteY88" fmla="*/ 179159 h 283512"/>
                <a:gd name="connsiteX89" fmla="*/ 740562 w 2096597"/>
                <a:gd name="connsiteY89" fmla="*/ 156530 h 283512"/>
                <a:gd name="connsiteX90" fmla="*/ 732923 w 2096597"/>
                <a:gd name="connsiteY90" fmla="*/ 138657 h 283512"/>
                <a:gd name="connsiteX91" fmla="*/ 720383 w 2096597"/>
                <a:gd name="connsiteY91" fmla="*/ 126982 h 283512"/>
                <a:gd name="connsiteX92" fmla="*/ 702654 w 2096597"/>
                <a:gd name="connsiteY92" fmla="*/ 122802 h 283512"/>
                <a:gd name="connsiteX93" fmla="*/ 673683 w 2096597"/>
                <a:gd name="connsiteY93" fmla="*/ 138225 h 283512"/>
                <a:gd name="connsiteX94" fmla="*/ 663450 w 2096597"/>
                <a:gd name="connsiteY94" fmla="*/ 178438 h 283512"/>
                <a:gd name="connsiteX95" fmla="*/ 673539 w 2096597"/>
                <a:gd name="connsiteY95" fmla="*/ 218796 h 283512"/>
                <a:gd name="connsiteX96" fmla="*/ 701934 w 2096597"/>
                <a:gd name="connsiteY96" fmla="*/ 233642 h 283512"/>
                <a:gd name="connsiteX97" fmla="*/ 930242 w 2096597"/>
                <a:gd name="connsiteY97" fmla="*/ 282359 h 283512"/>
                <a:gd name="connsiteX98" fmla="*/ 886858 w 2096597"/>
                <a:gd name="connsiteY98" fmla="*/ 274576 h 283512"/>
                <a:gd name="connsiteX99" fmla="*/ 854139 w 2096597"/>
                <a:gd name="connsiteY99" fmla="*/ 252811 h 283512"/>
                <a:gd name="connsiteX100" fmla="*/ 833528 w 2096597"/>
                <a:gd name="connsiteY100" fmla="*/ 219949 h 283512"/>
                <a:gd name="connsiteX101" fmla="*/ 826322 w 2096597"/>
                <a:gd name="connsiteY101" fmla="*/ 178871 h 283512"/>
                <a:gd name="connsiteX102" fmla="*/ 833528 w 2096597"/>
                <a:gd name="connsiteY102" fmla="*/ 138369 h 283512"/>
                <a:gd name="connsiteX103" fmla="*/ 854139 w 2096597"/>
                <a:gd name="connsiteY103" fmla="*/ 105650 h 283512"/>
                <a:gd name="connsiteX104" fmla="*/ 885705 w 2096597"/>
                <a:gd name="connsiteY104" fmla="*/ 84030 h 283512"/>
                <a:gd name="connsiteX105" fmla="*/ 926495 w 2096597"/>
                <a:gd name="connsiteY105" fmla="*/ 76247 h 283512"/>
                <a:gd name="connsiteX106" fmla="*/ 963970 w 2096597"/>
                <a:gd name="connsiteY106" fmla="*/ 82733 h 283512"/>
                <a:gd name="connsiteX107" fmla="*/ 993085 w 2096597"/>
                <a:gd name="connsiteY107" fmla="*/ 100606 h 283512"/>
                <a:gd name="connsiteX108" fmla="*/ 1019173 w 2096597"/>
                <a:gd name="connsiteY108" fmla="*/ 141107 h 283512"/>
                <a:gd name="connsiteX109" fmla="*/ 1027389 w 2096597"/>
                <a:gd name="connsiteY109" fmla="*/ 195302 h 283512"/>
                <a:gd name="connsiteX110" fmla="*/ 887290 w 2096597"/>
                <a:gd name="connsiteY110" fmla="*/ 195302 h 283512"/>
                <a:gd name="connsiteX111" fmla="*/ 900983 w 2096597"/>
                <a:gd name="connsiteY111" fmla="*/ 226579 h 283512"/>
                <a:gd name="connsiteX112" fmla="*/ 931107 w 2096597"/>
                <a:gd name="connsiteY112" fmla="*/ 237966 h 283512"/>
                <a:gd name="connsiteX113" fmla="*/ 951286 w 2096597"/>
                <a:gd name="connsiteY113" fmla="*/ 232777 h 283512"/>
                <a:gd name="connsiteX114" fmla="*/ 963393 w 2096597"/>
                <a:gd name="connsiteY114" fmla="*/ 218508 h 283512"/>
                <a:gd name="connsiteX115" fmla="*/ 1023930 w 2096597"/>
                <a:gd name="connsiteY115" fmla="*/ 218508 h 283512"/>
                <a:gd name="connsiteX116" fmla="*/ 1012543 w 2096597"/>
                <a:gd name="connsiteY116" fmla="*/ 243875 h 283512"/>
                <a:gd name="connsiteX117" fmla="*/ 991211 w 2096597"/>
                <a:gd name="connsiteY117" fmla="*/ 264630 h 283512"/>
                <a:gd name="connsiteX118" fmla="*/ 963970 w 2096597"/>
                <a:gd name="connsiteY118" fmla="*/ 277891 h 283512"/>
                <a:gd name="connsiteX119" fmla="*/ 930242 w 2096597"/>
                <a:gd name="connsiteY119" fmla="*/ 282503 h 283512"/>
                <a:gd name="connsiteX120" fmla="*/ 964546 w 2096597"/>
                <a:gd name="connsiteY120" fmla="*/ 158404 h 283512"/>
                <a:gd name="connsiteX121" fmla="*/ 952727 w 2096597"/>
                <a:gd name="connsiteY121" fmla="*/ 130586 h 283512"/>
                <a:gd name="connsiteX122" fmla="*/ 927648 w 2096597"/>
                <a:gd name="connsiteY122" fmla="*/ 120352 h 283512"/>
                <a:gd name="connsiteX123" fmla="*/ 900262 w 2096597"/>
                <a:gd name="connsiteY123" fmla="*/ 130586 h 283512"/>
                <a:gd name="connsiteX124" fmla="*/ 887723 w 2096597"/>
                <a:gd name="connsiteY124" fmla="*/ 158404 h 283512"/>
                <a:gd name="connsiteX125" fmla="*/ 964546 w 2096597"/>
                <a:gd name="connsiteY125" fmla="*/ 158404 h 283512"/>
                <a:gd name="connsiteX126" fmla="*/ 1050162 w 2096597"/>
                <a:gd name="connsiteY126" fmla="*/ 2018 h 283512"/>
                <a:gd name="connsiteX127" fmla="*/ 1112140 w 2096597"/>
                <a:gd name="connsiteY127" fmla="*/ 2018 h 283512"/>
                <a:gd name="connsiteX128" fmla="*/ 1112140 w 2096597"/>
                <a:gd name="connsiteY128" fmla="*/ 105939 h 283512"/>
                <a:gd name="connsiteX129" fmla="*/ 1113293 w 2096597"/>
                <a:gd name="connsiteY129" fmla="*/ 105939 h 283512"/>
                <a:gd name="connsiteX130" fmla="*/ 1137219 w 2096597"/>
                <a:gd name="connsiteY130" fmla="*/ 84030 h 283512"/>
                <a:gd name="connsiteX131" fmla="*/ 1171091 w 2096597"/>
                <a:gd name="connsiteY131" fmla="*/ 76247 h 283512"/>
                <a:gd name="connsiteX132" fmla="*/ 1199629 w 2096597"/>
                <a:gd name="connsiteY132" fmla="*/ 81724 h 283512"/>
                <a:gd name="connsiteX133" fmla="*/ 1220961 w 2096597"/>
                <a:gd name="connsiteY133" fmla="*/ 97002 h 283512"/>
                <a:gd name="connsiteX134" fmla="*/ 1234366 w 2096597"/>
                <a:gd name="connsiteY134" fmla="*/ 120208 h 283512"/>
                <a:gd name="connsiteX135" fmla="*/ 1238978 w 2096597"/>
                <a:gd name="connsiteY135" fmla="*/ 150044 h 283512"/>
                <a:gd name="connsiteX136" fmla="*/ 1238978 w 2096597"/>
                <a:gd name="connsiteY136" fmla="*/ 276738 h 283512"/>
                <a:gd name="connsiteX137" fmla="*/ 1177000 w 2096597"/>
                <a:gd name="connsiteY137" fmla="*/ 276738 h 283512"/>
                <a:gd name="connsiteX138" fmla="*/ 1177000 w 2096597"/>
                <a:gd name="connsiteY138" fmla="*/ 162583 h 283512"/>
                <a:gd name="connsiteX139" fmla="*/ 1169361 w 2096597"/>
                <a:gd name="connsiteY139" fmla="*/ 137504 h 283512"/>
                <a:gd name="connsiteX140" fmla="*/ 1146588 w 2096597"/>
                <a:gd name="connsiteY140" fmla="*/ 127991 h 283512"/>
                <a:gd name="connsiteX141" fmla="*/ 1121653 w 2096597"/>
                <a:gd name="connsiteY141" fmla="*/ 139378 h 283512"/>
                <a:gd name="connsiteX142" fmla="*/ 1112284 w 2096597"/>
                <a:gd name="connsiteY142" fmla="*/ 169069 h 283512"/>
                <a:gd name="connsiteX143" fmla="*/ 1112284 w 2096597"/>
                <a:gd name="connsiteY143" fmla="*/ 276738 h 283512"/>
                <a:gd name="connsiteX144" fmla="*/ 1050306 w 2096597"/>
                <a:gd name="connsiteY144" fmla="*/ 276738 h 283512"/>
                <a:gd name="connsiteX145" fmla="*/ 1050306 w 2096597"/>
                <a:gd name="connsiteY145" fmla="*/ 1874 h 283512"/>
                <a:gd name="connsiteX146" fmla="*/ 1362645 w 2096597"/>
                <a:gd name="connsiteY146" fmla="*/ 282936 h 283512"/>
                <a:gd name="connsiteX147" fmla="*/ 1319837 w 2096597"/>
                <a:gd name="connsiteY147" fmla="*/ 275152 h 283512"/>
                <a:gd name="connsiteX148" fmla="*/ 1286830 w 2096597"/>
                <a:gd name="connsiteY148" fmla="*/ 253388 h 283512"/>
                <a:gd name="connsiteX149" fmla="*/ 1265787 w 2096597"/>
                <a:gd name="connsiteY149" fmla="*/ 220670 h 283512"/>
                <a:gd name="connsiteX150" fmla="*/ 1258292 w 2096597"/>
                <a:gd name="connsiteY150" fmla="*/ 179735 h 283512"/>
                <a:gd name="connsiteX151" fmla="*/ 1265787 w 2096597"/>
                <a:gd name="connsiteY151" fmla="*/ 138801 h 283512"/>
                <a:gd name="connsiteX152" fmla="*/ 1286830 w 2096597"/>
                <a:gd name="connsiteY152" fmla="*/ 106083 h 283512"/>
                <a:gd name="connsiteX153" fmla="*/ 1319837 w 2096597"/>
                <a:gd name="connsiteY153" fmla="*/ 84463 h 283512"/>
                <a:gd name="connsiteX154" fmla="*/ 1362645 w 2096597"/>
                <a:gd name="connsiteY154" fmla="*/ 76679 h 283512"/>
                <a:gd name="connsiteX155" fmla="*/ 1405453 w 2096597"/>
                <a:gd name="connsiteY155" fmla="*/ 84463 h 283512"/>
                <a:gd name="connsiteX156" fmla="*/ 1438171 w 2096597"/>
                <a:gd name="connsiteY156" fmla="*/ 106083 h 283512"/>
                <a:gd name="connsiteX157" fmla="*/ 1459071 w 2096597"/>
                <a:gd name="connsiteY157" fmla="*/ 138801 h 283512"/>
                <a:gd name="connsiteX158" fmla="*/ 1466422 w 2096597"/>
                <a:gd name="connsiteY158" fmla="*/ 179735 h 283512"/>
                <a:gd name="connsiteX159" fmla="*/ 1459071 w 2096597"/>
                <a:gd name="connsiteY159" fmla="*/ 220670 h 283512"/>
                <a:gd name="connsiteX160" fmla="*/ 1438171 w 2096597"/>
                <a:gd name="connsiteY160" fmla="*/ 253388 h 283512"/>
                <a:gd name="connsiteX161" fmla="*/ 1405453 w 2096597"/>
                <a:gd name="connsiteY161" fmla="*/ 275152 h 283512"/>
                <a:gd name="connsiteX162" fmla="*/ 1362645 w 2096597"/>
                <a:gd name="connsiteY162" fmla="*/ 282936 h 283512"/>
                <a:gd name="connsiteX163" fmla="*/ 1362213 w 2096597"/>
                <a:gd name="connsiteY163" fmla="*/ 238830 h 283512"/>
                <a:gd name="connsiteX164" fmla="*/ 1393201 w 2096597"/>
                <a:gd name="connsiteY164" fmla="*/ 222687 h 283512"/>
                <a:gd name="connsiteX165" fmla="*/ 1403723 w 2096597"/>
                <a:gd name="connsiteY165" fmla="*/ 179880 h 283512"/>
                <a:gd name="connsiteX166" fmla="*/ 1393201 w 2096597"/>
                <a:gd name="connsiteY166" fmla="*/ 136928 h 283512"/>
                <a:gd name="connsiteX167" fmla="*/ 1362213 w 2096597"/>
                <a:gd name="connsiteY167" fmla="*/ 120496 h 283512"/>
                <a:gd name="connsiteX168" fmla="*/ 1331368 w 2096597"/>
                <a:gd name="connsiteY168" fmla="*/ 136928 h 283512"/>
                <a:gd name="connsiteX169" fmla="*/ 1321134 w 2096597"/>
                <a:gd name="connsiteY169" fmla="*/ 179880 h 283512"/>
                <a:gd name="connsiteX170" fmla="*/ 1331368 w 2096597"/>
                <a:gd name="connsiteY170" fmla="*/ 222687 h 283512"/>
                <a:gd name="connsiteX171" fmla="*/ 1362213 w 2096597"/>
                <a:gd name="connsiteY171" fmla="*/ 238830 h 283512"/>
                <a:gd name="connsiteX172" fmla="*/ 1554488 w 2096597"/>
                <a:gd name="connsiteY172" fmla="*/ 282647 h 283512"/>
                <a:gd name="connsiteX173" fmla="*/ 1503320 w 2096597"/>
                <a:gd name="connsiteY173" fmla="*/ 262613 h 283512"/>
                <a:gd name="connsiteX174" fmla="*/ 1486024 w 2096597"/>
                <a:gd name="connsiteY174" fmla="*/ 209859 h 283512"/>
                <a:gd name="connsiteX175" fmla="*/ 1486024 w 2096597"/>
                <a:gd name="connsiteY175" fmla="*/ 82012 h 283512"/>
                <a:gd name="connsiteX176" fmla="*/ 1547713 w 2096597"/>
                <a:gd name="connsiteY176" fmla="*/ 82012 h 283512"/>
                <a:gd name="connsiteX177" fmla="*/ 1547713 w 2096597"/>
                <a:gd name="connsiteY177" fmla="*/ 197032 h 283512"/>
                <a:gd name="connsiteX178" fmla="*/ 1554920 w 2096597"/>
                <a:gd name="connsiteY178" fmla="*/ 221534 h 283512"/>
                <a:gd name="connsiteX179" fmla="*/ 1576973 w 2096597"/>
                <a:gd name="connsiteY179" fmla="*/ 230038 h 283512"/>
                <a:gd name="connsiteX180" fmla="*/ 1602052 w 2096597"/>
                <a:gd name="connsiteY180" fmla="*/ 219228 h 283512"/>
                <a:gd name="connsiteX181" fmla="*/ 1611132 w 2096597"/>
                <a:gd name="connsiteY181" fmla="*/ 190834 h 283512"/>
                <a:gd name="connsiteX182" fmla="*/ 1611132 w 2096597"/>
                <a:gd name="connsiteY182" fmla="*/ 82012 h 283512"/>
                <a:gd name="connsiteX183" fmla="*/ 1673110 w 2096597"/>
                <a:gd name="connsiteY183" fmla="*/ 82012 h 283512"/>
                <a:gd name="connsiteX184" fmla="*/ 1673110 w 2096597"/>
                <a:gd name="connsiteY184" fmla="*/ 276882 h 283512"/>
                <a:gd name="connsiteX185" fmla="*/ 1613727 w 2096597"/>
                <a:gd name="connsiteY185" fmla="*/ 276882 h 283512"/>
                <a:gd name="connsiteX186" fmla="*/ 1613727 w 2096597"/>
                <a:gd name="connsiteY186" fmla="*/ 252956 h 283512"/>
                <a:gd name="connsiteX187" fmla="*/ 1612574 w 2096597"/>
                <a:gd name="connsiteY187" fmla="*/ 252956 h 283512"/>
                <a:gd name="connsiteX188" fmla="*/ 1588359 w 2096597"/>
                <a:gd name="connsiteY188" fmla="*/ 275008 h 283512"/>
                <a:gd name="connsiteX189" fmla="*/ 1554344 w 2096597"/>
                <a:gd name="connsiteY189" fmla="*/ 282647 h 283512"/>
                <a:gd name="connsiteX190" fmla="*/ 1789571 w 2096597"/>
                <a:gd name="connsiteY190" fmla="*/ 283080 h 283512"/>
                <a:gd name="connsiteX191" fmla="*/ 1721395 w 2096597"/>
                <a:gd name="connsiteY191" fmla="*/ 264630 h 283512"/>
                <a:gd name="connsiteX192" fmla="*/ 1694730 w 2096597"/>
                <a:gd name="connsiteY192" fmla="*/ 213751 h 283512"/>
                <a:gd name="connsiteX193" fmla="*/ 1753393 w 2096597"/>
                <a:gd name="connsiteY193" fmla="*/ 213751 h 283512"/>
                <a:gd name="connsiteX194" fmla="*/ 1764491 w 2096597"/>
                <a:gd name="connsiteY194" fmla="*/ 235515 h 283512"/>
                <a:gd name="connsiteX195" fmla="*/ 1789282 w 2096597"/>
                <a:gd name="connsiteY195" fmla="*/ 242722 h 283512"/>
                <a:gd name="connsiteX196" fmla="*/ 1811479 w 2096597"/>
                <a:gd name="connsiteY196" fmla="*/ 237821 h 283512"/>
                <a:gd name="connsiteX197" fmla="*/ 1819695 w 2096597"/>
                <a:gd name="connsiteY197" fmla="*/ 223408 h 283512"/>
                <a:gd name="connsiteX198" fmla="*/ 1815515 w 2096597"/>
                <a:gd name="connsiteY198" fmla="*/ 212886 h 283512"/>
                <a:gd name="connsiteX199" fmla="*/ 1804416 w 2096597"/>
                <a:gd name="connsiteY199" fmla="*/ 206400 h 283512"/>
                <a:gd name="connsiteX200" fmla="*/ 1788562 w 2096597"/>
                <a:gd name="connsiteY200" fmla="*/ 202653 h 283512"/>
                <a:gd name="connsiteX201" fmla="*/ 1770112 w 2096597"/>
                <a:gd name="connsiteY201" fmla="*/ 199482 h 283512"/>
                <a:gd name="connsiteX202" fmla="*/ 1745033 w 2096597"/>
                <a:gd name="connsiteY202" fmla="*/ 194005 h 283512"/>
                <a:gd name="connsiteX203" fmla="*/ 1722404 w 2096597"/>
                <a:gd name="connsiteY203" fmla="*/ 184348 h 283512"/>
                <a:gd name="connsiteX204" fmla="*/ 1706261 w 2096597"/>
                <a:gd name="connsiteY204" fmla="*/ 167052 h 283512"/>
                <a:gd name="connsiteX205" fmla="*/ 1700207 w 2096597"/>
                <a:gd name="connsiteY205" fmla="*/ 139090 h 283512"/>
                <a:gd name="connsiteX206" fmla="*/ 1706837 w 2096597"/>
                <a:gd name="connsiteY206" fmla="*/ 111992 h 283512"/>
                <a:gd name="connsiteX207" fmla="*/ 1724999 w 2096597"/>
                <a:gd name="connsiteY207" fmla="*/ 92390 h 283512"/>
                <a:gd name="connsiteX208" fmla="*/ 1751808 w 2096597"/>
                <a:gd name="connsiteY208" fmla="*/ 80571 h 283512"/>
                <a:gd name="connsiteX209" fmla="*/ 1784382 w 2096597"/>
                <a:gd name="connsiteY209" fmla="*/ 76535 h 283512"/>
                <a:gd name="connsiteX210" fmla="*/ 1847945 w 2096597"/>
                <a:gd name="connsiteY210" fmla="*/ 93255 h 283512"/>
                <a:gd name="connsiteX211" fmla="*/ 1872304 w 2096597"/>
                <a:gd name="connsiteY211" fmla="*/ 138945 h 283512"/>
                <a:gd name="connsiteX212" fmla="*/ 1815226 w 2096597"/>
                <a:gd name="connsiteY212" fmla="*/ 138945 h 283512"/>
                <a:gd name="connsiteX213" fmla="*/ 1805137 w 2096597"/>
                <a:gd name="connsiteY213" fmla="*/ 120929 h 283512"/>
                <a:gd name="connsiteX214" fmla="*/ 1783949 w 2096597"/>
                <a:gd name="connsiteY214" fmla="*/ 116172 h 283512"/>
                <a:gd name="connsiteX215" fmla="*/ 1764780 w 2096597"/>
                <a:gd name="connsiteY215" fmla="*/ 120496 h 283512"/>
                <a:gd name="connsiteX216" fmla="*/ 1756996 w 2096597"/>
                <a:gd name="connsiteY216" fmla="*/ 134045 h 283512"/>
                <a:gd name="connsiteX217" fmla="*/ 1760744 w 2096597"/>
                <a:gd name="connsiteY217" fmla="*/ 142405 h 283512"/>
                <a:gd name="connsiteX218" fmla="*/ 1770977 w 2096597"/>
                <a:gd name="connsiteY218" fmla="*/ 147593 h 283512"/>
                <a:gd name="connsiteX219" fmla="*/ 1785967 w 2096597"/>
                <a:gd name="connsiteY219" fmla="*/ 151197 h 283512"/>
                <a:gd name="connsiteX220" fmla="*/ 1803696 w 2096597"/>
                <a:gd name="connsiteY220" fmla="*/ 154224 h 283512"/>
                <a:gd name="connsiteX221" fmla="*/ 1829784 w 2096597"/>
                <a:gd name="connsiteY221" fmla="*/ 159701 h 283512"/>
                <a:gd name="connsiteX222" fmla="*/ 1853710 w 2096597"/>
                <a:gd name="connsiteY222" fmla="*/ 169790 h 283512"/>
                <a:gd name="connsiteX223" fmla="*/ 1871439 w 2096597"/>
                <a:gd name="connsiteY223" fmla="*/ 188239 h 283512"/>
                <a:gd name="connsiteX224" fmla="*/ 1878357 w 2096597"/>
                <a:gd name="connsiteY224" fmla="*/ 218508 h 283512"/>
                <a:gd name="connsiteX225" fmla="*/ 1871727 w 2096597"/>
                <a:gd name="connsiteY225" fmla="*/ 246614 h 283512"/>
                <a:gd name="connsiteX226" fmla="*/ 1853278 w 2096597"/>
                <a:gd name="connsiteY226" fmla="*/ 266792 h 283512"/>
                <a:gd name="connsiteX227" fmla="*/ 1825172 w 2096597"/>
                <a:gd name="connsiteY227" fmla="*/ 279044 h 283512"/>
                <a:gd name="connsiteX228" fmla="*/ 1789715 w 2096597"/>
                <a:gd name="connsiteY228" fmla="*/ 283224 h 283512"/>
                <a:gd name="connsiteX229" fmla="*/ 1999430 w 2096597"/>
                <a:gd name="connsiteY229" fmla="*/ 282791 h 283512"/>
                <a:gd name="connsiteX230" fmla="*/ 1956046 w 2096597"/>
                <a:gd name="connsiteY230" fmla="*/ 275008 h 283512"/>
                <a:gd name="connsiteX231" fmla="*/ 1923327 w 2096597"/>
                <a:gd name="connsiteY231" fmla="*/ 253244 h 283512"/>
                <a:gd name="connsiteX232" fmla="*/ 1902716 w 2096597"/>
                <a:gd name="connsiteY232" fmla="*/ 220381 h 283512"/>
                <a:gd name="connsiteX233" fmla="*/ 1895509 w 2096597"/>
                <a:gd name="connsiteY233" fmla="*/ 179303 h 283512"/>
                <a:gd name="connsiteX234" fmla="*/ 1902716 w 2096597"/>
                <a:gd name="connsiteY234" fmla="*/ 138801 h 283512"/>
                <a:gd name="connsiteX235" fmla="*/ 1923327 w 2096597"/>
                <a:gd name="connsiteY235" fmla="*/ 106083 h 283512"/>
                <a:gd name="connsiteX236" fmla="*/ 1954893 w 2096597"/>
                <a:gd name="connsiteY236" fmla="*/ 84463 h 283512"/>
                <a:gd name="connsiteX237" fmla="*/ 1995683 w 2096597"/>
                <a:gd name="connsiteY237" fmla="*/ 76679 h 283512"/>
                <a:gd name="connsiteX238" fmla="*/ 2033157 w 2096597"/>
                <a:gd name="connsiteY238" fmla="*/ 83165 h 283512"/>
                <a:gd name="connsiteX239" fmla="*/ 2062273 w 2096597"/>
                <a:gd name="connsiteY239" fmla="*/ 101038 h 283512"/>
                <a:gd name="connsiteX240" fmla="*/ 2088361 w 2096597"/>
                <a:gd name="connsiteY240" fmla="*/ 141540 h 283512"/>
                <a:gd name="connsiteX241" fmla="*/ 2096577 w 2096597"/>
                <a:gd name="connsiteY241" fmla="*/ 195734 h 283512"/>
                <a:gd name="connsiteX242" fmla="*/ 1956478 w 2096597"/>
                <a:gd name="connsiteY242" fmla="*/ 195734 h 283512"/>
                <a:gd name="connsiteX243" fmla="*/ 1970171 w 2096597"/>
                <a:gd name="connsiteY243" fmla="*/ 227011 h 283512"/>
                <a:gd name="connsiteX244" fmla="*/ 2000295 w 2096597"/>
                <a:gd name="connsiteY244" fmla="*/ 238398 h 283512"/>
                <a:gd name="connsiteX245" fmla="*/ 2020474 w 2096597"/>
                <a:gd name="connsiteY245" fmla="*/ 233209 h 283512"/>
                <a:gd name="connsiteX246" fmla="*/ 2032725 w 2096597"/>
                <a:gd name="connsiteY246" fmla="*/ 218940 h 283512"/>
                <a:gd name="connsiteX247" fmla="*/ 2093262 w 2096597"/>
                <a:gd name="connsiteY247" fmla="*/ 218940 h 283512"/>
                <a:gd name="connsiteX248" fmla="*/ 2081875 w 2096597"/>
                <a:gd name="connsiteY248" fmla="*/ 244308 h 283512"/>
                <a:gd name="connsiteX249" fmla="*/ 2060543 w 2096597"/>
                <a:gd name="connsiteY249" fmla="*/ 265063 h 283512"/>
                <a:gd name="connsiteX250" fmla="*/ 2033302 w 2096597"/>
                <a:gd name="connsiteY250" fmla="*/ 278323 h 283512"/>
                <a:gd name="connsiteX251" fmla="*/ 1999574 w 2096597"/>
                <a:gd name="connsiteY251" fmla="*/ 282936 h 283512"/>
                <a:gd name="connsiteX252" fmla="*/ 2033878 w 2096597"/>
                <a:gd name="connsiteY252" fmla="*/ 158836 h 283512"/>
                <a:gd name="connsiteX253" fmla="*/ 2022059 w 2096597"/>
                <a:gd name="connsiteY253" fmla="*/ 131018 h 283512"/>
                <a:gd name="connsiteX254" fmla="*/ 1996980 w 2096597"/>
                <a:gd name="connsiteY254" fmla="*/ 120784 h 283512"/>
                <a:gd name="connsiteX255" fmla="*/ 1969594 w 2096597"/>
                <a:gd name="connsiteY255" fmla="*/ 131018 h 283512"/>
                <a:gd name="connsiteX256" fmla="*/ 1957055 w 2096597"/>
                <a:gd name="connsiteY256" fmla="*/ 158836 h 283512"/>
                <a:gd name="connsiteX257" fmla="*/ 2033878 w 2096597"/>
                <a:gd name="connsiteY257" fmla="*/ 158836 h 283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</a:cxnLst>
              <a:rect l="l" t="t" r="r" b="b"/>
              <a:pathLst>
                <a:path w="2096597" h="283512">
                  <a:moveTo>
                    <a:pt x="129433" y="283512"/>
                  </a:moveTo>
                  <a:cubicBezTo>
                    <a:pt x="109830" y="283512"/>
                    <a:pt x="92390" y="280197"/>
                    <a:pt x="76968" y="273567"/>
                  </a:cubicBezTo>
                  <a:cubicBezTo>
                    <a:pt x="61545" y="266937"/>
                    <a:pt x="47997" y="257568"/>
                    <a:pt x="36610" y="245461"/>
                  </a:cubicBezTo>
                  <a:cubicBezTo>
                    <a:pt x="24647" y="232489"/>
                    <a:pt x="15567" y="217354"/>
                    <a:pt x="9369" y="199770"/>
                  </a:cubicBezTo>
                  <a:cubicBezTo>
                    <a:pt x="3171" y="182330"/>
                    <a:pt x="0" y="163160"/>
                    <a:pt x="0" y="142260"/>
                  </a:cubicBezTo>
                  <a:cubicBezTo>
                    <a:pt x="0" y="121361"/>
                    <a:pt x="3459" y="100894"/>
                    <a:pt x="10522" y="82733"/>
                  </a:cubicBezTo>
                  <a:cubicBezTo>
                    <a:pt x="17440" y="64572"/>
                    <a:pt x="27386" y="49006"/>
                    <a:pt x="40358" y="36178"/>
                  </a:cubicBezTo>
                  <a:cubicBezTo>
                    <a:pt x="51744" y="24791"/>
                    <a:pt x="65149" y="15855"/>
                    <a:pt x="80715" y="9513"/>
                  </a:cubicBezTo>
                  <a:cubicBezTo>
                    <a:pt x="96138" y="3171"/>
                    <a:pt x="113866" y="0"/>
                    <a:pt x="133612" y="0"/>
                  </a:cubicBezTo>
                  <a:cubicBezTo>
                    <a:pt x="151053" y="0"/>
                    <a:pt x="166907" y="2162"/>
                    <a:pt x="180744" y="6630"/>
                  </a:cubicBezTo>
                  <a:cubicBezTo>
                    <a:pt x="194725" y="11098"/>
                    <a:pt x="206833" y="17440"/>
                    <a:pt x="216922" y="25656"/>
                  </a:cubicBezTo>
                  <a:cubicBezTo>
                    <a:pt x="227011" y="33872"/>
                    <a:pt x="235227" y="43817"/>
                    <a:pt x="241425" y="55492"/>
                  </a:cubicBezTo>
                  <a:cubicBezTo>
                    <a:pt x="247623" y="67167"/>
                    <a:pt x="251947" y="80139"/>
                    <a:pt x="254109" y="94264"/>
                  </a:cubicBezTo>
                  <a:lnTo>
                    <a:pt x="188672" y="94264"/>
                  </a:lnTo>
                  <a:cubicBezTo>
                    <a:pt x="186077" y="83165"/>
                    <a:pt x="180456" y="73797"/>
                    <a:pt x="171520" y="66446"/>
                  </a:cubicBezTo>
                  <a:cubicBezTo>
                    <a:pt x="162583" y="59095"/>
                    <a:pt x="150764" y="55348"/>
                    <a:pt x="135774" y="55348"/>
                  </a:cubicBezTo>
                  <a:cubicBezTo>
                    <a:pt x="124532" y="55348"/>
                    <a:pt x="114731" y="57654"/>
                    <a:pt x="106227" y="61978"/>
                  </a:cubicBezTo>
                  <a:cubicBezTo>
                    <a:pt x="97723" y="66446"/>
                    <a:pt x="90660" y="72500"/>
                    <a:pt x="85039" y="80283"/>
                  </a:cubicBezTo>
                  <a:cubicBezTo>
                    <a:pt x="79418" y="88066"/>
                    <a:pt x="75238" y="97146"/>
                    <a:pt x="72500" y="107668"/>
                  </a:cubicBezTo>
                  <a:cubicBezTo>
                    <a:pt x="69761" y="118190"/>
                    <a:pt x="68320" y="129721"/>
                    <a:pt x="68320" y="142116"/>
                  </a:cubicBezTo>
                  <a:cubicBezTo>
                    <a:pt x="68320" y="154512"/>
                    <a:pt x="69905" y="166043"/>
                    <a:pt x="73076" y="176709"/>
                  </a:cubicBezTo>
                  <a:cubicBezTo>
                    <a:pt x="76247" y="187375"/>
                    <a:pt x="80715" y="196599"/>
                    <a:pt x="86625" y="204238"/>
                  </a:cubicBezTo>
                  <a:cubicBezTo>
                    <a:pt x="92534" y="212021"/>
                    <a:pt x="99597" y="218075"/>
                    <a:pt x="108101" y="222255"/>
                  </a:cubicBezTo>
                  <a:cubicBezTo>
                    <a:pt x="116605" y="226579"/>
                    <a:pt x="126117" y="228741"/>
                    <a:pt x="136783" y="228741"/>
                  </a:cubicBezTo>
                  <a:cubicBezTo>
                    <a:pt x="145576" y="228741"/>
                    <a:pt x="153647" y="227444"/>
                    <a:pt x="160566" y="224705"/>
                  </a:cubicBezTo>
                  <a:cubicBezTo>
                    <a:pt x="167484" y="222111"/>
                    <a:pt x="173538" y="218508"/>
                    <a:pt x="178438" y="214039"/>
                  </a:cubicBezTo>
                  <a:cubicBezTo>
                    <a:pt x="183339" y="209571"/>
                    <a:pt x="187375" y="204526"/>
                    <a:pt x="190257" y="198761"/>
                  </a:cubicBezTo>
                  <a:cubicBezTo>
                    <a:pt x="193140" y="193140"/>
                    <a:pt x="195014" y="187230"/>
                    <a:pt x="195734" y="181033"/>
                  </a:cubicBezTo>
                  <a:lnTo>
                    <a:pt x="195734" y="180312"/>
                  </a:lnTo>
                  <a:lnTo>
                    <a:pt x="144711" y="180312"/>
                  </a:lnTo>
                  <a:lnTo>
                    <a:pt x="144711" y="130874"/>
                  </a:lnTo>
                  <a:lnTo>
                    <a:pt x="258144" y="130874"/>
                  </a:lnTo>
                  <a:lnTo>
                    <a:pt x="258144" y="277026"/>
                  </a:lnTo>
                  <a:lnTo>
                    <a:pt x="211013" y="277026"/>
                  </a:lnTo>
                  <a:lnTo>
                    <a:pt x="207265" y="244308"/>
                  </a:lnTo>
                  <a:lnTo>
                    <a:pt x="206544" y="244308"/>
                  </a:lnTo>
                  <a:cubicBezTo>
                    <a:pt x="197608" y="258289"/>
                    <a:pt x="186654" y="268234"/>
                    <a:pt x="173682" y="274143"/>
                  </a:cubicBezTo>
                  <a:cubicBezTo>
                    <a:pt x="160566" y="280053"/>
                    <a:pt x="145864" y="283080"/>
                    <a:pt x="129288" y="283080"/>
                  </a:cubicBezTo>
                  <a:moveTo>
                    <a:pt x="358029" y="282647"/>
                  </a:moveTo>
                  <a:cubicBezTo>
                    <a:pt x="335400" y="282647"/>
                    <a:pt x="318393" y="276017"/>
                    <a:pt x="306862" y="262613"/>
                  </a:cubicBezTo>
                  <a:cubicBezTo>
                    <a:pt x="295331" y="249352"/>
                    <a:pt x="289566" y="231768"/>
                    <a:pt x="289566" y="209859"/>
                  </a:cubicBezTo>
                  <a:lnTo>
                    <a:pt x="289566" y="82012"/>
                  </a:lnTo>
                  <a:lnTo>
                    <a:pt x="351255" y="82012"/>
                  </a:lnTo>
                  <a:lnTo>
                    <a:pt x="351255" y="197032"/>
                  </a:lnTo>
                  <a:cubicBezTo>
                    <a:pt x="351255" y="207697"/>
                    <a:pt x="353705" y="215913"/>
                    <a:pt x="358462" y="221534"/>
                  </a:cubicBezTo>
                  <a:cubicBezTo>
                    <a:pt x="363218" y="227300"/>
                    <a:pt x="370713" y="230038"/>
                    <a:pt x="380514" y="230038"/>
                  </a:cubicBezTo>
                  <a:cubicBezTo>
                    <a:pt x="391180" y="230038"/>
                    <a:pt x="399540" y="226435"/>
                    <a:pt x="405594" y="219228"/>
                  </a:cubicBezTo>
                  <a:cubicBezTo>
                    <a:pt x="411647" y="212021"/>
                    <a:pt x="414674" y="202509"/>
                    <a:pt x="414674" y="190834"/>
                  </a:cubicBezTo>
                  <a:lnTo>
                    <a:pt x="414674" y="82012"/>
                  </a:lnTo>
                  <a:lnTo>
                    <a:pt x="476652" y="82012"/>
                  </a:lnTo>
                  <a:lnTo>
                    <a:pt x="476652" y="276882"/>
                  </a:lnTo>
                  <a:lnTo>
                    <a:pt x="417269" y="276882"/>
                  </a:lnTo>
                  <a:lnTo>
                    <a:pt x="417269" y="252956"/>
                  </a:lnTo>
                  <a:lnTo>
                    <a:pt x="416116" y="252956"/>
                  </a:lnTo>
                  <a:cubicBezTo>
                    <a:pt x="409053" y="262613"/>
                    <a:pt x="400981" y="269963"/>
                    <a:pt x="391901" y="275008"/>
                  </a:cubicBezTo>
                  <a:cubicBezTo>
                    <a:pt x="382965" y="280053"/>
                    <a:pt x="371578" y="282647"/>
                    <a:pt x="357885" y="282647"/>
                  </a:cubicBezTo>
                  <a:moveTo>
                    <a:pt x="511965" y="2162"/>
                  </a:moveTo>
                  <a:lnTo>
                    <a:pt x="573943" y="2162"/>
                  </a:lnTo>
                  <a:lnTo>
                    <a:pt x="573943" y="55059"/>
                  </a:lnTo>
                  <a:lnTo>
                    <a:pt x="511965" y="55059"/>
                  </a:lnTo>
                  <a:lnTo>
                    <a:pt x="511965" y="2162"/>
                  </a:lnTo>
                  <a:close/>
                  <a:moveTo>
                    <a:pt x="511965" y="82012"/>
                  </a:moveTo>
                  <a:lnTo>
                    <a:pt x="573943" y="82012"/>
                  </a:lnTo>
                  <a:lnTo>
                    <a:pt x="573943" y="276882"/>
                  </a:lnTo>
                  <a:lnTo>
                    <a:pt x="511965" y="276882"/>
                  </a:lnTo>
                  <a:lnTo>
                    <a:pt x="511965" y="82012"/>
                  </a:lnTo>
                  <a:close/>
                  <a:moveTo>
                    <a:pt x="685935" y="282936"/>
                  </a:moveTo>
                  <a:cubicBezTo>
                    <a:pt x="673539" y="282936"/>
                    <a:pt x="662009" y="280629"/>
                    <a:pt x="651631" y="275873"/>
                  </a:cubicBezTo>
                  <a:cubicBezTo>
                    <a:pt x="641253" y="271117"/>
                    <a:pt x="632173" y="264342"/>
                    <a:pt x="624678" y="255550"/>
                  </a:cubicBezTo>
                  <a:cubicBezTo>
                    <a:pt x="617039" y="246614"/>
                    <a:pt x="611129" y="235804"/>
                    <a:pt x="606949" y="222976"/>
                  </a:cubicBezTo>
                  <a:cubicBezTo>
                    <a:pt x="602769" y="210148"/>
                    <a:pt x="600607" y="195590"/>
                    <a:pt x="600607" y="179447"/>
                  </a:cubicBezTo>
                  <a:cubicBezTo>
                    <a:pt x="600607" y="164169"/>
                    <a:pt x="602769" y="150332"/>
                    <a:pt x="606949" y="137504"/>
                  </a:cubicBezTo>
                  <a:cubicBezTo>
                    <a:pt x="611129" y="124820"/>
                    <a:pt x="617039" y="114010"/>
                    <a:pt x="624390" y="104930"/>
                  </a:cubicBezTo>
                  <a:cubicBezTo>
                    <a:pt x="631884" y="95993"/>
                    <a:pt x="640821" y="88931"/>
                    <a:pt x="651199" y="83742"/>
                  </a:cubicBezTo>
                  <a:cubicBezTo>
                    <a:pt x="661576" y="78697"/>
                    <a:pt x="673107" y="76103"/>
                    <a:pt x="685791" y="76103"/>
                  </a:cubicBezTo>
                  <a:cubicBezTo>
                    <a:pt x="699483" y="76103"/>
                    <a:pt x="710582" y="78697"/>
                    <a:pt x="718942" y="83886"/>
                  </a:cubicBezTo>
                  <a:cubicBezTo>
                    <a:pt x="727301" y="89075"/>
                    <a:pt x="734364" y="95705"/>
                    <a:pt x="740273" y="103921"/>
                  </a:cubicBezTo>
                  <a:lnTo>
                    <a:pt x="741426" y="103921"/>
                  </a:lnTo>
                  <a:lnTo>
                    <a:pt x="741426" y="1874"/>
                  </a:lnTo>
                  <a:lnTo>
                    <a:pt x="803404" y="1874"/>
                  </a:lnTo>
                  <a:lnTo>
                    <a:pt x="803404" y="276738"/>
                  </a:lnTo>
                  <a:lnTo>
                    <a:pt x="744021" y="276738"/>
                  </a:lnTo>
                  <a:lnTo>
                    <a:pt x="744021" y="250505"/>
                  </a:lnTo>
                  <a:lnTo>
                    <a:pt x="743300" y="250505"/>
                  </a:lnTo>
                  <a:cubicBezTo>
                    <a:pt x="737535" y="260595"/>
                    <a:pt x="729607" y="268522"/>
                    <a:pt x="719951" y="274287"/>
                  </a:cubicBezTo>
                  <a:cubicBezTo>
                    <a:pt x="710149" y="280053"/>
                    <a:pt x="698907" y="282791"/>
                    <a:pt x="685935" y="282791"/>
                  </a:cubicBezTo>
                  <a:moveTo>
                    <a:pt x="701934" y="233642"/>
                  </a:moveTo>
                  <a:cubicBezTo>
                    <a:pt x="714906" y="233642"/>
                    <a:pt x="724995" y="228597"/>
                    <a:pt x="732202" y="218363"/>
                  </a:cubicBezTo>
                  <a:cubicBezTo>
                    <a:pt x="739409" y="208274"/>
                    <a:pt x="743012" y="195158"/>
                    <a:pt x="743012" y="179159"/>
                  </a:cubicBezTo>
                  <a:cubicBezTo>
                    <a:pt x="743012" y="171087"/>
                    <a:pt x="742147" y="163448"/>
                    <a:pt x="740562" y="156530"/>
                  </a:cubicBezTo>
                  <a:cubicBezTo>
                    <a:pt x="738976" y="149611"/>
                    <a:pt x="736382" y="143558"/>
                    <a:pt x="732923" y="138657"/>
                  </a:cubicBezTo>
                  <a:cubicBezTo>
                    <a:pt x="729463" y="133757"/>
                    <a:pt x="725284" y="129865"/>
                    <a:pt x="720383" y="126982"/>
                  </a:cubicBezTo>
                  <a:cubicBezTo>
                    <a:pt x="715482" y="124244"/>
                    <a:pt x="709573" y="122802"/>
                    <a:pt x="702654" y="122802"/>
                  </a:cubicBezTo>
                  <a:cubicBezTo>
                    <a:pt x="690259" y="122802"/>
                    <a:pt x="680602" y="127991"/>
                    <a:pt x="673683" y="138225"/>
                  </a:cubicBezTo>
                  <a:cubicBezTo>
                    <a:pt x="666765" y="148458"/>
                    <a:pt x="663450" y="161863"/>
                    <a:pt x="663450" y="178438"/>
                  </a:cubicBezTo>
                  <a:cubicBezTo>
                    <a:pt x="663450" y="195014"/>
                    <a:pt x="666765" y="208851"/>
                    <a:pt x="673539" y="218796"/>
                  </a:cubicBezTo>
                  <a:cubicBezTo>
                    <a:pt x="680314" y="228741"/>
                    <a:pt x="689682" y="233642"/>
                    <a:pt x="701934" y="233642"/>
                  </a:cubicBezTo>
                  <a:moveTo>
                    <a:pt x="930242" y="282359"/>
                  </a:moveTo>
                  <a:cubicBezTo>
                    <a:pt x="914243" y="282359"/>
                    <a:pt x="899830" y="279765"/>
                    <a:pt x="886858" y="274576"/>
                  </a:cubicBezTo>
                  <a:cubicBezTo>
                    <a:pt x="873886" y="269387"/>
                    <a:pt x="862932" y="262180"/>
                    <a:pt x="854139" y="252811"/>
                  </a:cubicBezTo>
                  <a:cubicBezTo>
                    <a:pt x="845203" y="243587"/>
                    <a:pt x="838429" y="232633"/>
                    <a:pt x="833528" y="219949"/>
                  </a:cubicBezTo>
                  <a:cubicBezTo>
                    <a:pt x="828772" y="207265"/>
                    <a:pt x="826322" y="193572"/>
                    <a:pt x="826322" y="178871"/>
                  </a:cubicBezTo>
                  <a:cubicBezTo>
                    <a:pt x="826322" y="164169"/>
                    <a:pt x="828772" y="150909"/>
                    <a:pt x="833528" y="138369"/>
                  </a:cubicBezTo>
                  <a:cubicBezTo>
                    <a:pt x="838285" y="125829"/>
                    <a:pt x="845203" y="114875"/>
                    <a:pt x="854139" y="105650"/>
                  </a:cubicBezTo>
                  <a:cubicBezTo>
                    <a:pt x="863076" y="96426"/>
                    <a:pt x="873598" y="89219"/>
                    <a:pt x="885705" y="84030"/>
                  </a:cubicBezTo>
                  <a:cubicBezTo>
                    <a:pt x="897812" y="78841"/>
                    <a:pt x="911505" y="76247"/>
                    <a:pt x="926495" y="76247"/>
                  </a:cubicBezTo>
                  <a:cubicBezTo>
                    <a:pt x="940476" y="76247"/>
                    <a:pt x="953016" y="78409"/>
                    <a:pt x="963970" y="82733"/>
                  </a:cubicBezTo>
                  <a:cubicBezTo>
                    <a:pt x="975068" y="87057"/>
                    <a:pt x="984725" y="92967"/>
                    <a:pt x="993085" y="100606"/>
                  </a:cubicBezTo>
                  <a:cubicBezTo>
                    <a:pt x="1004760" y="111272"/>
                    <a:pt x="1013408" y="124820"/>
                    <a:pt x="1019173" y="141107"/>
                  </a:cubicBezTo>
                  <a:cubicBezTo>
                    <a:pt x="1024939" y="157539"/>
                    <a:pt x="1027533" y="175556"/>
                    <a:pt x="1027389" y="195302"/>
                  </a:cubicBezTo>
                  <a:lnTo>
                    <a:pt x="887290" y="195302"/>
                  </a:lnTo>
                  <a:cubicBezTo>
                    <a:pt x="889308" y="208562"/>
                    <a:pt x="893921" y="218940"/>
                    <a:pt x="900983" y="226579"/>
                  </a:cubicBezTo>
                  <a:cubicBezTo>
                    <a:pt x="908046" y="234218"/>
                    <a:pt x="918135" y="237966"/>
                    <a:pt x="931107" y="237966"/>
                  </a:cubicBezTo>
                  <a:cubicBezTo>
                    <a:pt x="939179" y="237966"/>
                    <a:pt x="945953" y="236236"/>
                    <a:pt x="951286" y="232777"/>
                  </a:cubicBezTo>
                  <a:cubicBezTo>
                    <a:pt x="956619" y="229318"/>
                    <a:pt x="960655" y="224561"/>
                    <a:pt x="963393" y="218508"/>
                  </a:cubicBezTo>
                  <a:lnTo>
                    <a:pt x="1023930" y="218508"/>
                  </a:lnTo>
                  <a:cubicBezTo>
                    <a:pt x="1021912" y="227444"/>
                    <a:pt x="1018020" y="235804"/>
                    <a:pt x="1012543" y="243875"/>
                  </a:cubicBezTo>
                  <a:cubicBezTo>
                    <a:pt x="1006922" y="251803"/>
                    <a:pt x="999859" y="258721"/>
                    <a:pt x="991211" y="264630"/>
                  </a:cubicBezTo>
                  <a:cubicBezTo>
                    <a:pt x="983140" y="270540"/>
                    <a:pt x="974059" y="274864"/>
                    <a:pt x="963970" y="277891"/>
                  </a:cubicBezTo>
                  <a:cubicBezTo>
                    <a:pt x="954024" y="280918"/>
                    <a:pt x="942782" y="282503"/>
                    <a:pt x="930242" y="282503"/>
                  </a:cubicBezTo>
                  <a:moveTo>
                    <a:pt x="964546" y="158404"/>
                  </a:moveTo>
                  <a:cubicBezTo>
                    <a:pt x="963249" y="146729"/>
                    <a:pt x="959357" y="137504"/>
                    <a:pt x="952727" y="130586"/>
                  </a:cubicBezTo>
                  <a:cubicBezTo>
                    <a:pt x="946097" y="123811"/>
                    <a:pt x="937737" y="120352"/>
                    <a:pt x="927648" y="120352"/>
                  </a:cubicBezTo>
                  <a:cubicBezTo>
                    <a:pt x="915685" y="120352"/>
                    <a:pt x="906604" y="123811"/>
                    <a:pt x="900262" y="130586"/>
                  </a:cubicBezTo>
                  <a:cubicBezTo>
                    <a:pt x="893921" y="137504"/>
                    <a:pt x="889741" y="146729"/>
                    <a:pt x="887723" y="158404"/>
                  </a:cubicBezTo>
                  <a:lnTo>
                    <a:pt x="964546" y="158404"/>
                  </a:lnTo>
                  <a:close/>
                  <a:moveTo>
                    <a:pt x="1050162" y="2018"/>
                  </a:moveTo>
                  <a:lnTo>
                    <a:pt x="1112140" y="2018"/>
                  </a:lnTo>
                  <a:lnTo>
                    <a:pt x="1112140" y="105939"/>
                  </a:lnTo>
                  <a:lnTo>
                    <a:pt x="1113293" y="105939"/>
                  </a:lnTo>
                  <a:cubicBezTo>
                    <a:pt x="1120355" y="96570"/>
                    <a:pt x="1128427" y="89219"/>
                    <a:pt x="1137219" y="84030"/>
                  </a:cubicBezTo>
                  <a:cubicBezTo>
                    <a:pt x="1146155" y="78841"/>
                    <a:pt x="1157398" y="76247"/>
                    <a:pt x="1171091" y="76247"/>
                  </a:cubicBezTo>
                  <a:cubicBezTo>
                    <a:pt x="1181757" y="76247"/>
                    <a:pt x="1191269" y="78121"/>
                    <a:pt x="1199629" y="81724"/>
                  </a:cubicBezTo>
                  <a:cubicBezTo>
                    <a:pt x="1207989" y="85327"/>
                    <a:pt x="1215052" y="90516"/>
                    <a:pt x="1220961" y="97002"/>
                  </a:cubicBezTo>
                  <a:cubicBezTo>
                    <a:pt x="1226871" y="103488"/>
                    <a:pt x="1231195" y="111272"/>
                    <a:pt x="1234366" y="120208"/>
                  </a:cubicBezTo>
                  <a:cubicBezTo>
                    <a:pt x="1237392" y="129144"/>
                    <a:pt x="1238978" y="139234"/>
                    <a:pt x="1238978" y="150044"/>
                  </a:cubicBezTo>
                  <a:lnTo>
                    <a:pt x="1238978" y="276738"/>
                  </a:lnTo>
                  <a:lnTo>
                    <a:pt x="1177000" y="276738"/>
                  </a:lnTo>
                  <a:lnTo>
                    <a:pt x="1177000" y="162583"/>
                  </a:lnTo>
                  <a:cubicBezTo>
                    <a:pt x="1177000" y="152206"/>
                    <a:pt x="1174406" y="143846"/>
                    <a:pt x="1169361" y="137504"/>
                  </a:cubicBezTo>
                  <a:cubicBezTo>
                    <a:pt x="1164316" y="131162"/>
                    <a:pt x="1156677" y="127991"/>
                    <a:pt x="1146588" y="127991"/>
                  </a:cubicBezTo>
                  <a:cubicBezTo>
                    <a:pt x="1136498" y="127991"/>
                    <a:pt x="1127850" y="131739"/>
                    <a:pt x="1121653" y="139378"/>
                  </a:cubicBezTo>
                  <a:cubicBezTo>
                    <a:pt x="1115455" y="147017"/>
                    <a:pt x="1112284" y="156962"/>
                    <a:pt x="1112284" y="169069"/>
                  </a:cubicBezTo>
                  <a:lnTo>
                    <a:pt x="1112284" y="276738"/>
                  </a:lnTo>
                  <a:lnTo>
                    <a:pt x="1050306" y="276738"/>
                  </a:lnTo>
                  <a:lnTo>
                    <a:pt x="1050306" y="1874"/>
                  </a:lnTo>
                  <a:close/>
                  <a:moveTo>
                    <a:pt x="1362645" y="282936"/>
                  </a:moveTo>
                  <a:cubicBezTo>
                    <a:pt x="1346935" y="282936"/>
                    <a:pt x="1332665" y="280341"/>
                    <a:pt x="1319837" y="275152"/>
                  </a:cubicBezTo>
                  <a:cubicBezTo>
                    <a:pt x="1307009" y="269963"/>
                    <a:pt x="1296055" y="262757"/>
                    <a:pt x="1286830" y="253388"/>
                  </a:cubicBezTo>
                  <a:cubicBezTo>
                    <a:pt x="1277750" y="244163"/>
                    <a:pt x="1270687" y="233209"/>
                    <a:pt x="1265787" y="220670"/>
                  </a:cubicBezTo>
                  <a:cubicBezTo>
                    <a:pt x="1260886" y="208130"/>
                    <a:pt x="1258292" y="194437"/>
                    <a:pt x="1258292" y="179735"/>
                  </a:cubicBezTo>
                  <a:cubicBezTo>
                    <a:pt x="1258292" y="165034"/>
                    <a:pt x="1260742" y="151341"/>
                    <a:pt x="1265787" y="138801"/>
                  </a:cubicBezTo>
                  <a:cubicBezTo>
                    <a:pt x="1270687" y="126262"/>
                    <a:pt x="1277750" y="115307"/>
                    <a:pt x="1286830" y="106083"/>
                  </a:cubicBezTo>
                  <a:cubicBezTo>
                    <a:pt x="1295911" y="96858"/>
                    <a:pt x="1307009" y="89651"/>
                    <a:pt x="1319837" y="84463"/>
                  </a:cubicBezTo>
                  <a:cubicBezTo>
                    <a:pt x="1332665" y="79274"/>
                    <a:pt x="1346935" y="76679"/>
                    <a:pt x="1362645" y="76679"/>
                  </a:cubicBezTo>
                  <a:cubicBezTo>
                    <a:pt x="1378356" y="76679"/>
                    <a:pt x="1392625" y="79274"/>
                    <a:pt x="1405453" y="84463"/>
                  </a:cubicBezTo>
                  <a:cubicBezTo>
                    <a:pt x="1418281" y="89651"/>
                    <a:pt x="1429235" y="96858"/>
                    <a:pt x="1438171" y="106083"/>
                  </a:cubicBezTo>
                  <a:cubicBezTo>
                    <a:pt x="1447108" y="115307"/>
                    <a:pt x="1454170" y="126262"/>
                    <a:pt x="1459071" y="138801"/>
                  </a:cubicBezTo>
                  <a:cubicBezTo>
                    <a:pt x="1463971" y="151341"/>
                    <a:pt x="1466422" y="165034"/>
                    <a:pt x="1466422" y="179735"/>
                  </a:cubicBezTo>
                  <a:cubicBezTo>
                    <a:pt x="1466422" y="194437"/>
                    <a:pt x="1463971" y="208130"/>
                    <a:pt x="1459071" y="220670"/>
                  </a:cubicBezTo>
                  <a:cubicBezTo>
                    <a:pt x="1454170" y="233209"/>
                    <a:pt x="1447108" y="244163"/>
                    <a:pt x="1438171" y="253388"/>
                  </a:cubicBezTo>
                  <a:cubicBezTo>
                    <a:pt x="1429235" y="262613"/>
                    <a:pt x="1418281" y="269819"/>
                    <a:pt x="1405453" y="275152"/>
                  </a:cubicBezTo>
                  <a:cubicBezTo>
                    <a:pt x="1392625" y="280341"/>
                    <a:pt x="1378356" y="282936"/>
                    <a:pt x="1362645" y="282936"/>
                  </a:cubicBezTo>
                  <a:moveTo>
                    <a:pt x="1362213" y="238830"/>
                  </a:moveTo>
                  <a:cubicBezTo>
                    <a:pt x="1375905" y="238830"/>
                    <a:pt x="1386283" y="233497"/>
                    <a:pt x="1393201" y="222687"/>
                  </a:cubicBezTo>
                  <a:cubicBezTo>
                    <a:pt x="1400264" y="211877"/>
                    <a:pt x="1403723" y="197608"/>
                    <a:pt x="1403723" y="179880"/>
                  </a:cubicBezTo>
                  <a:cubicBezTo>
                    <a:pt x="1403723" y="162151"/>
                    <a:pt x="1400264" y="147738"/>
                    <a:pt x="1393201" y="136928"/>
                  </a:cubicBezTo>
                  <a:cubicBezTo>
                    <a:pt x="1386283" y="125973"/>
                    <a:pt x="1375905" y="120496"/>
                    <a:pt x="1362213" y="120496"/>
                  </a:cubicBezTo>
                  <a:cubicBezTo>
                    <a:pt x="1348520" y="120496"/>
                    <a:pt x="1338286" y="125973"/>
                    <a:pt x="1331368" y="136928"/>
                  </a:cubicBezTo>
                  <a:cubicBezTo>
                    <a:pt x="1324594" y="147882"/>
                    <a:pt x="1321134" y="162151"/>
                    <a:pt x="1321134" y="179880"/>
                  </a:cubicBezTo>
                  <a:cubicBezTo>
                    <a:pt x="1321134" y="197608"/>
                    <a:pt x="1324594" y="211877"/>
                    <a:pt x="1331368" y="222687"/>
                  </a:cubicBezTo>
                  <a:cubicBezTo>
                    <a:pt x="1338286" y="233497"/>
                    <a:pt x="1348520" y="238830"/>
                    <a:pt x="1362213" y="238830"/>
                  </a:cubicBezTo>
                  <a:moveTo>
                    <a:pt x="1554488" y="282647"/>
                  </a:moveTo>
                  <a:cubicBezTo>
                    <a:pt x="1531859" y="282647"/>
                    <a:pt x="1514851" y="276017"/>
                    <a:pt x="1503320" y="262613"/>
                  </a:cubicBezTo>
                  <a:cubicBezTo>
                    <a:pt x="1491789" y="249352"/>
                    <a:pt x="1486024" y="231768"/>
                    <a:pt x="1486024" y="209859"/>
                  </a:cubicBezTo>
                  <a:lnTo>
                    <a:pt x="1486024" y="82012"/>
                  </a:lnTo>
                  <a:lnTo>
                    <a:pt x="1547713" y="82012"/>
                  </a:lnTo>
                  <a:lnTo>
                    <a:pt x="1547713" y="197032"/>
                  </a:lnTo>
                  <a:cubicBezTo>
                    <a:pt x="1547713" y="207697"/>
                    <a:pt x="1550164" y="215913"/>
                    <a:pt x="1554920" y="221534"/>
                  </a:cubicBezTo>
                  <a:cubicBezTo>
                    <a:pt x="1559677" y="227300"/>
                    <a:pt x="1567172" y="230038"/>
                    <a:pt x="1576973" y="230038"/>
                  </a:cubicBezTo>
                  <a:cubicBezTo>
                    <a:pt x="1587639" y="230038"/>
                    <a:pt x="1595998" y="226435"/>
                    <a:pt x="1602052" y="219228"/>
                  </a:cubicBezTo>
                  <a:cubicBezTo>
                    <a:pt x="1608106" y="212021"/>
                    <a:pt x="1611132" y="202509"/>
                    <a:pt x="1611132" y="190834"/>
                  </a:cubicBezTo>
                  <a:lnTo>
                    <a:pt x="1611132" y="82012"/>
                  </a:lnTo>
                  <a:lnTo>
                    <a:pt x="1673110" y="82012"/>
                  </a:lnTo>
                  <a:lnTo>
                    <a:pt x="1673110" y="276882"/>
                  </a:lnTo>
                  <a:lnTo>
                    <a:pt x="1613727" y="276882"/>
                  </a:lnTo>
                  <a:lnTo>
                    <a:pt x="1613727" y="252956"/>
                  </a:lnTo>
                  <a:lnTo>
                    <a:pt x="1612574" y="252956"/>
                  </a:lnTo>
                  <a:cubicBezTo>
                    <a:pt x="1605511" y="262613"/>
                    <a:pt x="1597440" y="269963"/>
                    <a:pt x="1588359" y="275008"/>
                  </a:cubicBezTo>
                  <a:cubicBezTo>
                    <a:pt x="1579423" y="280053"/>
                    <a:pt x="1568036" y="282647"/>
                    <a:pt x="1554344" y="282647"/>
                  </a:cubicBezTo>
                  <a:moveTo>
                    <a:pt x="1789571" y="283080"/>
                  </a:moveTo>
                  <a:cubicBezTo>
                    <a:pt x="1760888" y="283080"/>
                    <a:pt x="1738259" y="276882"/>
                    <a:pt x="1721395" y="264630"/>
                  </a:cubicBezTo>
                  <a:cubicBezTo>
                    <a:pt x="1704676" y="252379"/>
                    <a:pt x="1695739" y="235371"/>
                    <a:pt x="1694730" y="213751"/>
                  </a:cubicBezTo>
                  <a:lnTo>
                    <a:pt x="1753393" y="213751"/>
                  </a:lnTo>
                  <a:cubicBezTo>
                    <a:pt x="1754690" y="223408"/>
                    <a:pt x="1758294" y="230615"/>
                    <a:pt x="1764491" y="235515"/>
                  </a:cubicBezTo>
                  <a:cubicBezTo>
                    <a:pt x="1770545" y="240272"/>
                    <a:pt x="1778761" y="242722"/>
                    <a:pt x="1789282" y="242722"/>
                  </a:cubicBezTo>
                  <a:cubicBezTo>
                    <a:pt x="1798651" y="242722"/>
                    <a:pt x="1806146" y="241137"/>
                    <a:pt x="1811479" y="237821"/>
                  </a:cubicBezTo>
                  <a:cubicBezTo>
                    <a:pt x="1816956" y="234506"/>
                    <a:pt x="1819695" y="229750"/>
                    <a:pt x="1819695" y="223408"/>
                  </a:cubicBezTo>
                  <a:cubicBezTo>
                    <a:pt x="1819695" y="219084"/>
                    <a:pt x="1818253" y="215625"/>
                    <a:pt x="1815515" y="212886"/>
                  </a:cubicBezTo>
                  <a:cubicBezTo>
                    <a:pt x="1812776" y="210292"/>
                    <a:pt x="1809029" y="208130"/>
                    <a:pt x="1804416" y="206400"/>
                  </a:cubicBezTo>
                  <a:cubicBezTo>
                    <a:pt x="1799804" y="204815"/>
                    <a:pt x="1794615" y="203518"/>
                    <a:pt x="1788562" y="202653"/>
                  </a:cubicBezTo>
                  <a:cubicBezTo>
                    <a:pt x="1782652" y="201788"/>
                    <a:pt x="1776454" y="200635"/>
                    <a:pt x="1770112" y="199482"/>
                  </a:cubicBezTo>
                  <a:cubicBezTo>
                    <a:pt x="1761753" y="197896"/>
                    <a:pt x="1753393" y="196167"/>
                    <a:pt x="1745033" y="194005"/>
                  </a:cubicBezTo>
                  <a:cubicBezTo>
                    <a:pt x="1736673" y="191843"/>
                    <a:pt x="1729178" y="188672"/>
                    <a:pt x="1722404" y="184348"/>
                  </a:cubicBezTo>
                  <a:cubicBezTo>
                    <a:pt x="1715630" y="180024"/>
                    <a:pt x="1710297" y="174258"/>
                    <a:pt x="1706261" y="167052"/>
                  </a:cubicBezTo>
                  <a:cubicBezTo>
                    <a:pt x="1702225" y="159845"/>
                    <a:pt x="1700207" y="150476"/>
                    <a:pt x="1700207" y="139090"/>
                  </a:cubicBezTo>
                  <a:cubicBezTo>
                    <a:pt x="1700207" y="129000"/>
                    <a:pt x="1702369" y="119920"/>
                    <a:pt x="1706837" y="111992"/>
                  </a:cubicBezTo>
                  <a:cubicBezTo>
                    <a:pt x="1711306" y="104209"/>
                    <a:pt x="1717359" y="97579"/>
                    <a:pt x="1724999" y="92390"/>
                  </a:cubicBezTo>
                  <a:cubicBezTo>
                    <a:pt x="1732638" y="87201"/>
                    <a:pt x="1741574" y="83310"/>
                    <a:pt x="1751808" y="80571"/>
                  </a:cubicBezTo>
                  <a:cubicBezTo>
                    <a:pt x="1762041" y="77977"/>
                    <a:pt x="1772995" y="76535"/>
                    <a:pt x="1784382" y="76535"/>
                  </a:cubicBezTo>
                  <a:cubicBezTo>
                    <a:pt x="1812056" y="76535"/>
                    <a:pt x="1833243" y="82157"/>
                    <a:pt x="1847945" y="93255"/>
                  </a:cubicBezTo>
                  <a:cubicBezTo>
                    <a:pt x="1862647" y="104353"/>
                    <a:pt x="1870718" y="119631"/>
                    <a:pt x="1872304" y="138945"/>
                  </a:cubicBezTo>
                  <a:lnTo>
                    <a:pt x="1815226" y="138945"/>
                  </a:lnTo>
                  <a:cubicBezTo>
                    <a:pt x="1813929" y="130009"/>
                    <a:pt x="1810614" y="124100"/>
                    <a:pt x="1805137" y="120929"/>
                  </a:cubicBezTo>
                  <a:cubicBezTo>
                    <a:pt x="1799660" y="117758"/>
                    <a:pt x="1792598" y="116172"/>
                    <a:pt x="1783949" y="116172"/>
                  </a:cubicBezTo>
                  <a:cubicBezTo>
                    <a:pt x="1776310" y="116172"/>
                    <a:pt x="1769968" y="117614"/>
                    <a:pt x="1764780" y="120496"/>
                  </a:cubicBezTo>
                  <a:cubicBezTo>
                    <a:pt x="1759591" y="123379"/>
                    <a:pt x="1756996" y="127847"/>
                    <a:pt x="1756996" y="134045"/>
                  </a:cubicBezTo>
                  <a:cubicBezTo>
                    <a:pt x="1756996" y="137648"/>
                    <a:pt x="1758294" y="140387"/>
                    <a:pt x="1760744" y="142405"/>
                  </a:cubicBezTo>
                  <a:cubicBezTo>
                    <a:pt x="1763338" y="144423"/>
                    <a:pt x="1766653" y="146152"/>
                    <a:pt x="1770977" y="147593"/>
                  </a:cubicBezTo>
                  <a:cubicBezTo>
                    <a:pt x="1775301" y="149035"/>
                    <a:pt x="1780346" y="150188"/>
                    <a:pt x="1785967" y="151197"/>
                  </a:cubicBezTo>
                  <a:cubicBezTo>
                    <a:pt x="1791733" y="152206"/>
                    <a:pt x="1797642" y="153215"/>
                    <a:pt x="1803696" y="154224"/>
                  </a:cubicBezTo>
                  <a:cubicBezTo>
                    <a:pt x="1812344" y="155665"/>
                    <a:pt x="1820992" y="157539"/>
                    <a:pt x="1829784" y="159701"/>
                  </a:cubicBezTo>
                  <a:cubicBezTo>
                    <a:pt x="1838576" y="161863"/>
                    <a:pt x="1846504" y="165178"/>
                    <a:pt x="1853710" y="169790"/>
                  </a:cubicBezTo>
                  <a:cubicBezTo>
                    <a:pt x="1860917" y="174402"/>
                    <a:pt x="1866827" y="180456"/>
                    <a:pt x="1871439" y="188239"/>
                  </a:cubicBezTo>
                  <a:cubicBezTo>
                    <a:pt x="1876051" y="196023"/>
                    <a:pt x="1878357" y="206112"/>
                    <a:pt x="1878357" y="218508"/>
                  </a:cubicBezTo>
                  <a:cubicBezTo>
                    <a:pt x="1878357" y="229173"/>
                    <a:pt x="1876051" y="238542"/>
                    <a:pt x="1871727" y="246614"/>
                  </a:cubicBezTo>
                  <a:cubicBezTo>
                    <a:pt x="1867259" y="254685"/>
                    <a:pt x="1861061" y="261460"/>
                    <a:pt x="1853278" y="266792"/>
                  </a:cubicBezTo>
                  <a:cubicBezTo>
                    <a:pt x="1845350" y="272125"/>
                    <a:pt x="1835982" y="276161"/>
                    <a:pt x="1825172" y="279044"/>
                  </a:cubicBezTo>
                  <a:cubicBezTo>
                    <a:pt x="1814218" y="281782"/>
                    <a:pt x="1802399" y="283224"/>
                    <a:pt x="1789715" y="283224"/>
                  </a:cubicBezTo>
                  <a:moveTo>
                    <a:pt x="1999430" y="282791"/>
                  </a:moveTo>
                  <a:cubicBezTo>
                    <a:pt x="1983431" y="282791"/>
                    <a:pt x="1969018" y="280197"/>
                    <a:pt x="1956046" y="275008"/>
                  </a:cubicBezTo>
                  <a:cubicBezTo>
                    <a:pt x="1943073" y="269819"/>
                    <a:pt x="1932263" y="262613"/>
                    <a:pt x="1923327" y="253244"/>
                  </a:cubicBezTo>
                  <a:cubicBezTo>
                    <a:pt x="1914391" y="244019"/>
                    <a:pt x="1907617" y="233065"/>
                    <a:pt x="1902716" y="220381"/>
                  </a:cubicBezTo>
                  <a:cubicBezTo>
                    <a:pt x="1897960" y="207697"/>
                    <a:pt x="1895509" y="194005"/>
                    <a:pt x="1895509" y="179303"/>
                  </a:cubicBezTo>
                  <a:cubicBezTo>
                    <a:pt x="1895509" y="164601"/>
                    <a:pt x="1897960" y="151341"/>
                    <a:pt x="1902716" y="138801"/>
                  </a:cubicBezTo>
                  <a:cubicBezTo>
                    <a:pt x="1907473" y="126262"/>
                    <a:pt x="1914391" y="115307"/>
                    <a:pt x="1923327" y="106083"/>
                  </a:cubicBezTo>
                  <a:cubicBezTo>
                    <a:pt x="1932263" y="96858"/>
                    <a:pt x="1942785" y="89651"/>
                    <a:pt x="1954893" y="84463"/>
                  </a:cubicBezTo>
                  <a:cubicBezTo>
                    <a:pt x="1967144" y="79274"/>
                    <a:pt x="1980693" y="76679"/>
                    <a:pt x="1995683" y="76679"/>
                  </a:cubicBezTo>
                  <a:cubicBezTo>
                    <a:pt x="2009664" y="76679"/>
                    <a:pt x="2022059" y="78841"/>
                    <a:pt x="2033157" y="83165"/>
                  </a:cubicBezTo>
                  <a:cubicBezTo>
                    <a:pt x="2044256" y="87489"/>
                    <a:pt x="2053913" y="93399"/>
                    <a:pt x="2062273" y="101038"/>
                  </a:cubicBezTo>
                  <a:cubicBezTo>
                    <a:pt x="2073947" y="111704"/>
                    <a:pt x="2082596" y="125253"/>
                    <a:pt x="2088361" y="141540"/>
                  </a:cubicBezTo>
                  <a:cubicBezTo>
                    <a:pt x="2094126" y="157971"/>
                    <a:pt x="2096865" y="175988"/>
                    <a:pt x="2096577" y="195734"/>
                  </a:cubicBezTo>
                  <a:lnTo>
                    <a:pt x="1956478" y="195734"/>
                  </a:lnTo>
                  <a:cubicBezTo>
                    <a:pt x="1958496" y="208995"/>
                    <a:pt x="1963108" y="219372"/>
                    <a:pt x="1970171" y="227011"/>
                  </a:cubicBezTo>
                  <a:cubicBezTo>
                    <a:pt x="1977233" y="234651"/>
                    <a:pt x="1987323" y="238398"/>
                    <a:pt x="2000295" y="238398"/>
                  </a:cubicBezTo>
                  <a:cubicBezTo>
                    <a:pt x="2008366" y="238398"/>
                    <a:pt x="2015141" y="236668"/>
                    <a:pt x="2020474" y="233209"/>
                  </a:cubicBezTo>
                  <a:cubicBezTo>
                    <a:pt x="2025807" y="229750"/>
                    <a:pt x="2029842" y="224994"/>
                    <a:pt x="2032725" y="218940"/>
                  </a:cubicBezTo>
                  <a:lnTo>
                    <a:pt x="2093262" y="218940"/>
                  </a:lnTo>
                  <a:cubicBezTo>
                    <a:pt x="2091244" y="227876"/>
                    <a:pt x="2087496" y="236236"/>
                    <a:pt x="2081875" y="244308"/>
                  </a:cubicBezTo>
                  <a:cubicBezTo>
                    <a:pt x="2076254" y="252379"/>
                    <a:pt x="2069191" y="259153"/>
                    <a:pt x="2060543" y="265063"/>
                  </a:cubicBezTo>
                  <a:cubicBezTo>
                    <a:pt x="2052472" y="270972"/>
                    <a:pt x="2043391" y="275296"/>
                    <a:pt x="2033302" y="278323"/>
                  </a:cubicBezTo>
                  <a:cubicBezTo>
                    <a:pt x="2023212" y="281350"/>
                    <a:pt x="2011970" y="282936"/>
                    <a:pt x="1999574" y="282936"/>
                  </a:cubicBezTo>
                  <a:moveTo>
                    <a:pt x="2033878" y="158836"/>
                  </a:moveTo>
                  <a:cubicBezTo>
                    <a:pt x="2032581" y="147161"/>
                    <a:pt x="2028689" y="137936"/>
                    <a:pt x="2022059" y="131018"/>
                  </a:cubicBezTo>
                  <a:cubicBezTo>
                    <a:pt x="2015429" y="124244"/>
                    <a:pt x="2007069" y="120784"/>
                    <a:pt x="1996980" y="120784"/>
                  </a:cubicBezTo>
                  <a:cubicBezTo>
                    <a:pt x="1985017" y="120784"/>
                    <a:pt x="1975936" y="124244"/>
                    <a:pt x="1969594" y="131018"/>
                  </a:cubicBezTo>
                  <a:cubicBezTo>
                    <a:pt x="1963252" y="137936"/>
                    <a:pt x="1959072" y="147161"/>
                    <a:pt x="1957055" y="158836"/>
                  </a:cubicBezTo>
                  <a:lnTo>
                    <a:pt x="2033878" y="158836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C81B6D3-A66D-8259-C0DD-97A297F4A0B1}"/>
                </a:ext>
              </a:extLst>
            </p:cNvPr>
            <p:cNvSpPr/>
            <p:nvPr/>
          </p:nvSpPr>
          <p:spPr>
            <a:xfrm>
              <a:off x="882878" y="557212"/>
              <a:ext cx="273278" cy="674980"/>
            </a:xfrm>
            <a:custGeom>
              <a:avLst/>
              <a:gdLst>
                <a:gd name="connsiteX0" fmla="*/ 0 w 273278"/>
                <a:gd name="connsiteY0" fmla="*/ 0 h 674980"/>
                <a:gd name="connsiteX1" fmla="*/ 0 w 273278"/>
                <a:gd name="connsiteY1" fmla="*/ 476508 h 674980"/>
                <a:gd name="connsiteX2" fmla="*/ 272558 w 273278"/>
                <a:gd name="connsiteY2" fmla="*/ 674981 h 674980"/>
                <a:gd name="connsiteX3" fmla="*/ 273278 w 273278"/>
                <a:gd name="connsiteY3" fmla="*/ 674260 h 674980"/>
                <a:gd name="connsiteX4" fmla="*/ 0 w 273278"/>
                <a:gd name="connsiteY4" fmla="*/ 0 h 674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278" h="674980">
                  <a:moveTo>
                    <a:pt x="0" y="0"/>
                  </a:moveTo>
                  <a:lnTo>
                    <a:pt x="0" y="476508"/>
                  </a:lnTo>
                  <a:lnTo>
                    <a:pt x="272558" y="674981"/>
                  </a:lnTo>
                  <a:cubicBezTo>
                    <a:pt x="272558" y="674981"/>
                    <a:pt x="273134" y="674404"/>
                    <a:pt x="273278" y="67426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3D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FB5D050-2221-BBA3-9A1D-21B84CC42A4A}"/>
                </a:ext>
              </a:extLst>
            </p:cNvPr>
            <p:cNvSpPr/>
            <p:nvPr/>
          </p:nvSpPr>
          <p:spPr>
            <a:xfrm>
              <a:off x="609600" y="557212"/>
              <a:ext cx="273278" cy="674836"/>
            </a:xfrm>
            <a:custGeom>
              <a:avLst/>
              <a:gdLst>
                <a:gd name="connsiteX0" fmla="*/ 0 w 273278"/>
                <a:gd name="connsiteY0" fmla="*/ 674116 h 674836"/>
                <a:gd name="connsiteX1" fmla="*/ 721 w 273278"/>
                <a:gd name="connsiteY1" fmla="*/ 674837 h 674836"/>
                <a:gd name="connsiteX2" fmla="*/ 273278 w 273278"/>
                <a:gd name="connsiteY2" fmla="*/ 476364 h 674836"/>
                <a:gd name="connsiteX3" fmla="*/ 273278 w 273278"/>
                <a:gd name="connsiteY3" fmla="*/ 0 h 674836"/>
                <a:gd name="connsiteX4" fmla="*/ 0 w 273278"/>
                <a:gd name="connsiteY4" fmla="*/ 674116 h 674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278" h="674836">
                  <a:moveTo>
                    <a:pt x="0" y="674116"/>
                  </a:moveTo>
                  <a:cubicBezTo>
                    <a:pt x="0" y="674116"/>
                    <a:pt x="577" y="674692"/>
                    <a:pt x="721" y="674837"/>
                  </a:cubicBezTo>
                  <a:lnTo>
                    <a:pt x="273278" y="476364"/>
                  </a:lnTo>
                  <a:lnTo>
                    <a:pt x="273278" y="0"/>
                  </a:lnTo>
                  <a:lnTo>
                    <a:pt x="0" y="674116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756855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 with Image - 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CB1E87D-CF80-16E1-E2DA-D366BCB64A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048537"/>
            <a:ext cx="5376672" cy="2244461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ation title extends </a:t>
            </a:r>
            <a:br>
              <a:rPr lang="en-US"/>
            </a:br>
            <a:r>
              <a:rPr lang="en-US"/>
              <a:t>up to 3 line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4CCA385-BADC-9412-0D5E-D86D6665ADB9}"/>
              </a:ext>
            </a:extLst>
          </p:cNvPr>
          <p:cNvCxnSpPr>
            <a:cxnSpLocks/>
          </p:cNvCxnSpPr>
          <p:nvPr/>
        </p:nvCxnSpPr>
        <p:spPr>
          <a:xfrm>
            <a:off x="609600" y="4594548"/>
            <a:ext cx="5376672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aphic 3">
            <a:extLst>
              <a:ext uri="{FF2B5EF4-FFF2-40B4-BE49-F238E27FC236}">
                <a16:creationId xmlns:a16="http://schemas.microsoft.com/office/drawing/2014/main" id="{B3F109DD-32AE-D92D-4621-BF43B58FB4A1}"/>
              </a:ext>
            </a:extLst>
          </p:cNvPr>
          <p:cNvGrpSpPr>
            <a:grpSpLocks noChangeAspect="1"/>
          </p:cNvGrpSpPr>
          <p:nvPr/>
        </p:nvGrpSpPr>
        <p:grpSpPr>
          <a:xfrm>
            <a:off x="609600" y="557212"/>
            <a:ext cx="1734668" cy="438912"/>
            <a:chOff x="609600" y="557212"/>
            <a:chExt cx="2667656" cy="674980"/>
          </a:xfrm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8BF33003-98EC-AC6E-F2E8-D433A9977017}"/>
                </a:ext>
              </a:extLst>
            </p:cNvPr>
            <p:cNvSpPr/>
            <p:nvPr/>
          </p:nvSpPr>
          <p:spPr>
            <a:xfrm>
              <a:off x="1180659" y="790421"/>
              <a:ext cx="2096597" cy="283512"/>
            </a:xfrm>
            <a:custGeom>
              <a:avLst/>
              <a:gdLst>
                <a:gd name="connsiteX0" fmla="*/ 129433 w 2096597"/>
                <a:gd name="connsiteY0" fmla="*/ 283512 h 283512"/>
                <a:gd name="connsiteX1" fmla="*/ 76968 w 2096597"/>
                <a:gd name="connsiteY1" fmla="*/ 273567 h 283512"/>
                <a:gd name="connsiteX2" fmla="*/ 36610 w 2096597"/>
                <a:gd name="connsiteY2" fmla="*/ 245461 h 283512"/>
                <a:gd name="connsiteX3" fmla="*/ 9369 w 2096597"/>
                <a:gd name="connsiteY3" fmla="*/ 199770 h 283512"/>
                <a:gd name="connsiteX4" fmla="*/ 0 w 2096597"/>
                <a:gd name="connsiteY4" fmla="*/ 142260 h 283512"/>
                <a:gd name="connsiteX5" fmla="*/ 10522 w 2096597"/>
                <a:gd name="connsiteY5" fmla="*/ 82733 h 283512"/>
                <a:gd name="connsiteX6" fmla="*/ 40358 w 2096597"/>
                <a:gd name="connsiteY6" fmla="*/ 36178 h 283512"/>
                <a:gd name="connsiteX7" fmla="*/ 80715 w 2096597"/>
                <a:gd name="connsiteY7" fmla="*/ 9513 h 283512"/>
                <a:gd name="connsiteX8" fmla="*/ 133612 w 2096597"/>
                <a:gd name="connsiteY8" fmla="*/ 0 h 283512"/>
                <a:gd name="connsiteX9" fmla="*/ 180744 w 2096597"/>
                <a:gd name="connsiteY9" fmla="*/ 6630 h 283512"/>
                <a:gd name="connsiteX10" fmla="*/ 216922 w 2096597"/>
                <a:gd name="connsiteY10" fmla="*/ 25656 h 283512"/>
                <a:gd name="connsiteX11" fmla="*/ 241425 w 2096597"/>
                <a:gd name="connsiteY11" fmla="*/ 55492 h 283512"/>
                <a:gd name="connsiteX12" fmla="*/ 254109 w 2096597"/>
                <a:gd name="connsiteY12" fmla="*/ 94264 h 283512"/>
                <a:gd name="connsiteX13" fmla="*/ 188672 w 2096597"/>
                <a:gd name="connsiteY13" fmla="*/ 94264 h 283512"/>
                <a:gd name="connsiteX14" fmla="*/ 171520 w 2096597"/>
                <a:gd name="connsiteY14" fmla="*/ 66446 h 283512"/>
                <a:gd name="connsiteX15" fmla="*/ 135774 w 2096597"/>
                <a:gd name="connsiteY15" fmla="*/ 55348 h 283512"/>
                <a:gd name="connsiteX16" fmla="*/ 106227 w 2096597"/>
                <a:gd name="connsiteY16" fmla="*/ 61978 h 283512"/>
                <a:gd name="connsiteX17" fmla="*/ 85039 w 2096597"/>
                <a:gd name="connsiteY17" fmla="*/ 80283 h 283512"/>
                <a:gd name="connsiteX18" fmla="*/ 72500 w 2096597"/>
                <a:gd name="connsiteY18" fmla="*/ 107668 h 283512"/>
                <a:gd name="connsiteX19" fmla="*/ 68320 w 2096597"/>
                <a:gd name="connsiteY19" fmla="*/ 142116 h 283512"/>
                <a:gd name="connsiteX20" fmla="*/ 73076 w 2096597"/>
                <a:gd name="connsiteY20" fmla="*/ 176709 h 283512"/>
                <a:gd name="connsiteX21" fmla="*/ 86625 w 2096597"/>
                <a:gd name="connsiteY21" fmla="*/ 204238 h 283512"/>
                <a:gd name="connsiteX22" fmla="*/ 108101 w 2096597"/>
                <a:gd name="connsiteY22" fmla="*/ 222255 h 283512"/>
                <a:gd name="connsiteX23" fmla="*/ 136783 w 2096597"/>
                <a:gd name="connsiteY23" fmla="*/ 228741 h 283512"/>
                <a:gd name="connsiteX24" fmla="*/ 160566 w 2096597"/>
                <a:gd name="connsiteY24" fmla="*/ 224705 h 283512"/>
                <a:gd name="connsiteX25" fmla="*/ 178438 w 2096597"/>
                <a:gd name="connsiteY25" fmla="*/ 214039 h 283512"/>
                <a:gd name="connsiteX26" fmla="*/ 190257 w 2096597"/>
                <a:gd name="connsiteY26" fmla="*/ 198761 h 283512"/>
                <a:gd name="connsiteX27" fmla="*/ 195734 w 2096597"/>
                <a:gd name="connsiteY27" fmla="*/ 181033 h 283512"/>
                <a:gd name="connsiteX28" fmla="*/ 195734 w 2096597"/>
                <a:gd name="connsiteY28" fmla="*/ 180312 h 283512"/>
                <a:gd name="connsiteX29" fmla="*/ 144711 w 2096597"/>
                <a:gd name="connsiteY29" fmla="*/ 180312 h 283512"/>
                <a:gd name="connsiteX30" fmla="*/ 144711 w 2096597"/>
                <a:gd name="connsiteY30" fmla="*/ 130874 h 283512"/>
                <a:gd name="connsiteX31" fmla="*/ 258144 w 2096597"/>
                <a:gd name="connsiteY31" fmla="*/ 130874 h 283512"/>
                <a:gd name="connsiteX32" fmla="*/ 258144 w 2096597"/>
                <a:gd name="connsiteY32" fmla="*/ 277026 h 283512"/>
                <a:gd name="connsiteX33" fmla="*/ 211013 w 2096597"/>
                <a:gd name="connsiteY33" fmla="*/ 277026 h 283512"/>
                <a:gd name="connsiteX34" fmla="*/ 207265 w 2096597"/>
                <a:gd name="connsiteY34" fmla="*/ 244308 h 283512"/>
                <a:gd name="connsiteX35" fmla="*/ 206544 w 2096597"/>
                <a:gd name="connsiteY35" fmla="*/ 244308 h 283512"/>
                <a:gd name="connsiteX36" fmla="*/ 173682 w 2096597"/>
                <a:gd name="connsiteY36" fmla="*/ 274143 h 283512"/>
                <a:gd name="connsiteX37" fmla="*/ 129288 w 2096597"/>
                <a:gd name="connsiteY37" fmla="*/ 283080 h 283512"/>
                <a:gd name="connsiteX38" fmla="*/ 358029 w 2096597"/>
                <a:gd name="connsiteY38" fmla="*/ 282647 h 283512"/>
                <a:gd name="connsiteX39" fmla="*/ 306862 w 2096597"/>
                <a:gd name="connsiteY39" fmla="*/ 262613 h 283512"/>
                <a:gd name="connsiteX40" fmla="*/ 289566 w 2096597"/>
                <a:gd name="connsiteY40" fmla="*/ 209859 h 283512"/>
                <a:gd name="connsiteX41" fmla="*/ 289566 w 2096597"/>
                <a:gd name="connsiteY41" fmla="*/ 82012 h 283512"/>
                <a:gd name="connsiteX42" fmla="*/ 351255 w 2096597"/>
                <a:gd name="connsiteY42" fmla="*/ 82012 h 283512"/>
                <a:gd name="connsiteX43" fmla="*/ 351255 w 2096597"/>
                <a:gd name="connsiteY43" fmla="*/ 197032 h 283512"/>
                <a:gd name="connsiteX44" fmla="*/ 358462 w 2096597"/>
                <a:gd name="connsiteY44" fmla="*/ 221534 h 283512"/>
                <a:gd name="connsiteX45" fmla="*/ 380514 w 2096597"/>
                <a:gd name="connsiteY45" fmla="*/ 230038 h 283512"/>
                <a:gd name="connsiteX46" fmla="*/ 405594 w 2096597"/>
                <a:gd name="connsiteY46" fmla="*/ 219228 h 283512"/>
                <a:gd name="connsiteX47" fmla="*/ 414674 w 2096597"/>
                <a:gd name="connsiteY47" fmla="*/ 190834 h 283512"/>
                <a:gd name="connsiteX48" fmla="*/ 414674 w 2096597"/>
                <a:gd name="connsiteY48" fmla="*/ 82012 h 283512"/>
                <a:gd name="connsiteX49" fmla="*/ 476652 w 2096597"/>
                <a:gd name="connsiteY49" fmla="*/ 82012 h 283512"/>
                <a:gd name="connsiteX50" fmla="*/ 476652 w 2096597"/>
                <a:gd name="connsiteY50" fmla="*/ 276882 h 283512"/>
                <a:gd name="connsiteX51" fmla="*/ 417269 w 2096597"/>
                <a:gd name="connsiteY51" fmla="*/ 276882 h 283512"/>
                <a:gd name="connsiteX52" fmla="*/ 417269 w 2096597"/>
                <a:gd name="connsiteY52" fmla="*/ 252956 h 283512"/>
                <a:gd name="connsiteX53" fmla="*/ 416116 w 2096597"/>
                <a:gd name="connsiteY53" fmla="*/ 252956 h 283512"/>
                <a:gd name="connsiteX54" fmla="*/ 391901 w 2096597"/>
                <a:gd name="connsiteY54" fmla="*/ 275008 h 283512"/>
                <a:gd name="connsiteX55" fmla="*/ 357885 w 2096597"/>
                <a:gd name="connsiteY55" fmla="*/ 282647 h 283512"/>
                <a:gd name="connsiteX56" fmla="*/ 511965 w 2096597"/>
                <a:gd name="connsiteY56" fmla="*/ 2162 h 283512"/>
                <a:gd name="connsiteX57" fmla="*/ 573943 w 2096597"/>
                <a:gd name="connsiteY57" fmla="*/ 2162 h 283512"/>
                <a:gd name="connsiteX58" fmla="*/ 573943 w 2096597"/>
                <a:gd name="connsiteY58" fmla="*/ 55059 h 283512"/>
                <a:gd name="connsiteX59" fmla="*/ 511965 w 2096597"/>
                <a:gd name="connsiteY59" fmla="*/ 55059 h 283512"/>
                <a:gd name="connsiteX60" fmla="*/ 511965 w 2096597"/>
                <a:gd name="connsiteY60" fmla="*/ 2162 h 283512"/>
                <a:gd name="connsiteX61" fmla="*/ 511965 w 2096597"/>
                <a:gd name="connsiteY61" fmla="*/ 82012 h 283512"/>
                <a:gd name="connsiteX62" fmla="*/ 573943 w 2096597"/>
                <a:gd name="connsiteY62" fmla="*/ 82012 h 283512"/>
                <a:gd name="connsiteX63" fmla="*/ 573943 w 2096597"/>
                <a:gd name="connsiteY63" fmla="*/ 276882 h 283512"/>
                <a:gd name="connsiteX64" fmla="*/ 511965 w 2096597"/>
                <a:gd name="connsiteY64" fmla="*/ 276882 h 283512"/>
                <a:gd name="connsiteX65" fmla="*/ 511965 w 2096597"/>
                <a:gd name="connsiteY65" fmla="*/ 82012 h 283512"/>
                <a:gd name="connsiteX66" fmla="*/ 685935 w 2096597"/>
                <a:gd name="connsiteY66" fmla="*/ 282936 h 283512"/>
                <a:gd name="connsiteX67" fmla="*/ 651631 w 2096597"/>
                <a:gd name="connsiteY67" fmla="*/ 275873 h 283512"/>
                <a:gd name="connsiteX68" fmla="*/ 624678 w 2096597"/>
                <a:gd name="connsiteY68" fmla="*/ 255550 h 283512"/>
                <a:gd name="connsiteX69" fmla="*/ 606949 w 2096597"/>
                <a:gd name="connsiteY69" fmla="*/ 222976 h 283512"/>
                <a:gd name="connsiteX70" fmla="*/ 600607 w 2096597"/>
                <a:gd name="connsiteY70" fmla="*/ 179447 h 283512"/>
                <a:gd name="connsiteX71" fmla="*/ 606949 w 2096597"/>
                <a:gd name="connsiteY71" fmla="*/ 137504 h 283512"/>
                <a:gd name="connsiteX72" fmla="*/ 624390 w 2096597"/>
                <a:gd name="connsiteY72" fmla="*/ 104930 h 283512"/>
                <a:gd name="connsiteX73" fmla="*/ 651199 w 2096597"/>
                <a:gd name="connsiteY73" fmla="*/ 83742 h 283512"/>
                <a:gd name="connsiteX74" fmla="*/ 685791 w 2096597"/>
                <a:gd name="connsiteY74" fmla="*/ 76103 h 283512"/>
                <a:gd name="connsiteX75" fmla="*/ 718942 w 2096597"/>
                <a:gd name="connsiteY75" fmla="*/ 83886 h 283512"/>
                <a:gd name="connsiteX76" fmla="*/ 740273 w 2096597"/>
                <a:gd name="connsiteY76" fmla="*/ 103921 h 283512"/>
                <a:gd name="connsiteX77" fmla="*/ 741426 w 2096597"/>
                <a:gd name="connsiteY77" fmla="*/ 103921 h 283512"/>
                <a:gd name="connsiteX78" fmla="*/ 741426 w 2096597"/>
                <a:gd name="connsiteY78" fmla="*/ 1874 h 283512"/>
                <a:gd name="connsiteX79" fmla="*/ 803404 w 2096597"/>
                <a:gd name="connsiteY79" fmla="*/ 1874 h 283512"/>
                <a:gd name="connsiteX80" fmla="*/ 803404 w 2096597"/>
                <a:gd name="connsiteY80" fmla="*/ 276738 h 283512"/>
                <a:gd name="connsiteX81" fmla="*/ 744021 w 2096597"/>
                <a:gd name="connsiteY81" fmla="*/ 276738 h 283512"/>
                <a:gd name="connsiteX82" fmla="*/ 744021 w 2096597"/>
                <a:gd name="connsiteY82" fmla="*/ 250505 h 283512"/>
                <a:gd name="connsiteX83" fmla="*/ 743300 w 2096597"/>
                <a:gd name="connsiteY83" fmla="*/ 250505 h 283512"/>
                <a:gd name="connsiteX84" fmla="*/ 719951 w 2096597"/>
                <a:gd name="connsiteY84" fmla="*/ 274287 h 283512"/>
                <a:gd name="connsiteX85" fmla="*/ 685935 w 2096597"/>
                <a:gd name="connsiteY85" fmla="*/ 282791 h 283512"/>
                <a:gd name="connsiteX86" fmla="*/ 701934 w 2096597"/>
                <a:gd name="connsiteY86" fmla="*/ 233642 h 283512"/>
                <a:gd name="connsiteX87" fmla="*/ 732202 w 2096597"/>
                <a:gd name="connsiteY87" fmla="*/ 218363 h 283512"/>
                <a:gd name="connsiteX88" fmla="*/ 743012 w 2096597"/>
                <a:gd name="connsiteY88" fmla="*/ 179159 h 283512"/>
                <a:gd name="connsiteX89" fmla="*/ 740562 w 2096597"/>
                <a:gd name="connsiteY89" fmla="*/ 156530 h 283512"/>
                <a:gd name="connsiteX90" fmla="*/ 732923 w 2096597"/>
                <a:gd name="connsiteY90" fmla="*/ 138657 h 283512"/>
                <a:gd name="connsiteX91" fmla="*/ 720383 w 2096597"/>
                <a:gd name="connsiteY91" fmla="*/ 126982 h 283512"/>
                <a:gd name="connsiteX92" fmla="*/ 702654 w 2096597"/>
                <a:gd name="connsiteY92" fmla="*/ 122802 h 283512"/>
                <a:gd name="connsiteX93" fmla="*/ 673683 w 2096597"/>
                <a:gd name="connsiteY93" fmla="*/ 138225 h 283512"/>
                <a:gd name="connsiteX94" fmla="*/ 663450 w 2096597"/>
                <a:gd name="connsiteY94" fmla="*/ 178438 h 283512"/>
                <a:gd name="connsiteX95" fmla="*/ 673539 w 2096597"/>
                <a:gd name="connsiteY95" fmla="*/ 218796 h 283512"/>
                <a:gd name="connsiteX96" fmla="*/ 701934 w 2096597"/>
                <a:gd name="connsiteY96" fmla="*/ 233642 h 283512"/>
                <a:gd name="connsiteX97" fmla="*/ 930242 w 2096597"/>
                <a:gd name="connsiteY97" fmla="*/ 282359 h 283512"/>
                <a:gd name="connsiteX98" fmla="*/ 886858 w 2096597"/>
                <a:gd name="connsiteY98" fmla="*/ 274576 h 283512"/>
                <a:gd name="connsiteX99" fmla="*/ 854139 w 2096597"/>
                <a:gd name="connsiteY99" fmla="*/ 252811 h 283512"/>
                <a:gd name="connsiteX100" fmla="*/ 833528 w 2096597"/>
                <a:gd name="connsiteY100" fmla="*/ 219949 h 283512"/>
                <a:gd name="connsiteX101" fmla="*/ 826322 w 2096597"/>
                <a:gd name="connsiteY101" fmla="*/ 178871 h 283512"/>
                <a:gd name="connsiteX102" fmla="*/ 833528 w 2096597"/>
                <a:gd name="connsiteY102" fmla="*/ 138369 h 283512"/>
                <a:gd name="connsiteX103" fmla="*/ 854139 w 2096597"/>
                <a:gd name="connsiteY103" fmla="*/ 105650 h 283512"/>
                <a:gd name="connsiteX104" fmla="*/ 885705 w 2096597"/>
                <a:gd name="connsiteY104" fmla="*/ 84030 h 283512"/>
                <a:gd name="connsiteX105" fmla="*/ 926495 w 2096597"/>
                <a:gd name="connsiteY105" fmla="*/ 76247 h 283512"/>
                <a:gd name="connsiteX106" fmla="*/ 963970 w 2096597"/>
                <a:gd name="connsiteY106" fmla="*/ 82733 h 283512"/>
                <a:gd name="connsiteX107" fmla="*/ 993085 w 2096597"/>
                <a:gd name="connsiteY107" fmla="*/ 100606 h 283512"/>
                <a:gd name="connsiteX108" fmla="*/ 1019173 w 2096597"/>
                <a:gd name="connsiteY108" fmla="*/ 141107 h 283512"/>
                <a:gd name="connsiteX109" fmla="*/ 1027389 w 2096597"/>
                <a:gd name="connsiteY109" fmla="*/ 195302 h 283512"/>
                <a:gd name="connsiteX110" fmla="*/ 887290 w 2096597"/>
                <a:gd name="connsiteY110" fmla="*/ 195302 h 283512"/>
                <a:gd name="connsiteX111" fmla="*/ 900983 w 2096597"/>
                <a:gd name="connsiteY111" fmla="*/ 226579 h 283512"/>
                <a:gd name="connsiteX112" fmla="*/ 931107 w 2096597"/>
                <a:gd name="connsiteY112" fmla="*/ 237966 h 283512"/>
                <a:gd name="connsiteX113" fmla="*/ 951286 w 2096597"/>
                <a:gd name="connsiteY113" fmla="*/ 232777 h 283512"/>
                <a:gd name="connsiteX114" fmla="*/ 963393 w 2096597"/>
                <a:gd name="connsiteY114" fmla="*/ 218508 h 283512"/>
                <a:gd name="connsiteX115" fmla="*/ 1023930 w 2096597"/>
                <a:gd name="connsiteY115" fmla="*/ 218508 h 283512"/>
                <a:gd name="connsiteX116" fmla="*/ 1012543 w 2096597"/>
                <a:gd name="connsiteY116" fmla="*/ 243875 h 283512"/>
                <a:gd name="connsiteX117" fmla="*/ 991211 w 2096597"/>
                <a:gd name="connsiteY117" fmla="*/ 264630 h 283512"/>
                <a:gd name="connsiteX118" fmla="*/ 963970 w 2096597"/>
                <a:gd name="connsiteY118" fmla="*/ 277891 h 283512"/>
                <a:gd name="connsiteX119" fmla="*/ 930242 w 2096597"/>
                <a:gd name="connsiteY119" fmla="*/ 282503 h 283512"/>
                <a:gd name="connsiteX120" fmla="*/ 964546 w 2096597"/>
                <a:gd name="connsiteY120" fmla="*/ 158404 h 283512"/>
                <a:gd name="connsiteX121" fmla="*/ 952727 w 2096597"/>
                <a:gd name="connsiteY121" fmla="*/ 130586 h 283512"/>
                <a:gd name="connsiteX122" fmla="*/ 927648 w 2096597"/>
                <a:gd name="connsiteY122" fmla="*/ 120352 h 283512"/>
                <a:gd name="connsiteX123" fmla="*/ 900262 w 2096597"/>
                <a:gd name="connsiteY123" fmla="*/ 130586 h 283512"/>
                <a:gd name="connsiteX124" fmla="*/ 887723 w 2096597"/>
                <a:gd name="connsiteY124" fmla="*/ 158404 h 283512"/>
                <a:gd name="connsiteX125" fmla="*/ 964546 w 2096597"/>
                <a:gd name="connsiteY125" fmla="*/ 158404 h 283512"/>
                <a:gd name="connsiteX126" fmla="*/ 1050162 w 2096597"/>
                <a:gd name="connsiteY126" fmla="*/ 2018 h 283512"/>
                <a:gd name="connsiteX127" fmla="*/ 1112140 w 2096597"/>
                <a:gd name="connsiteY127" fmla="*/ 2018 h 283512"/>
                <a:gd name="connsiteX128" fmla="*/ 1112140 w 2096597"/>
                <a:gd name="connsiteY128" fmla="*/ 105939 h 283512"/>
                <a:gd name="connsiteX129" fmla="*/ 1113293 w 2096597"/>
                <a:gd name="connsiteY129" fmla="*/ 105939 h 283512"/>
                <a:gd name="connsiteX130" fmla="*/ 1137219 w 2096597"/>
                <a:gd name="connsiteY130" fmla="*/ 84030 h 283512"/>
                <a:gd name="connsiteX131" fmla="*/ 1171091 w 2096597"/>
                <a:gd name="connsiteY131" fmla="*/ 76247 h 283512"/>
                <a:gd name="connsiteX132" fmla="*/ 1199629 w 2096597"/>
                <a:gd name="connsiteY132" fmla="*/ 81724 h 283512"/>
                <a:gd name="connsiteX133" fmla="*/ 1220961 w 2096597"/>
                <a:gd name="connsiteY133" fmla="*/ 97002 h 283512"/>
                <a:gd name="connsiteX134" fmla="*/ 1234366 w 2096597"/>
                <a:gd name="connsiteY134" fmla="*/ 120208 h 283512"/>
                <a:gd name="connsiteX135" fmla="*/ 1238978 w 2096597"/>
                <a:gd name="connsiteY135" fmla="*/ 150044 h 283512"/>
                <a:gd name="connsiteX136" fmla="*/ 1238978 w 2096597"/>
                <a:gd name="connsiteY136" fmla="*/ 276738 h 283512"/>
                <a:gd name="connsiteX137" fmla="*/ 1177000 w 2096597"/>
                <a:gd name="connsiteY137" fmla="*/ 276738 h 283512"/>
                <a:gd name="connsiteX138" fmla="*/ 1177000 w 2096597"/>
                <a:gd name="connsiteY138" fmla="*/ 162583 h 283512"/>
                <a:gd name="connsiteX139" fmla="*/ 1169361 w 2096597"/>
                <a:gd name="connsiteY139" fmla="*/ 137504 h 283512"/>
                <a:gd name="connsiteX140" fmla="*/ 1146588 w 2096597"/>
                <a:gd name="connsiteY140" fmla="*/ 127991 h 283512"/>
                <a:gd name="connsiteX141" fmla="*/ 1121653 w 2096597"/>
                <a:gd name="connsiteY141" fmla="*/ 139378 h 283512"/>
                <a:gd name="connsiteX142" fmla="*/ 1112284 w 2096597"/>
                <a:gd name="connsiteY142" fmla="*/ 169069 h 283512"/>
                <a:gd name="connsiteX143" fmla="*/ 1112284 w 2096597"/>
                <a:gd name="connsiteY143" fmla="*/ 276738 h 283512"/>
                <a:gd name="connsiteX144" fmla="*/ 1050306 w 2096597"/>
                <a:gd name="connsiteY144" fmla="*/ 276738 h 283512"/>
                <a:gd name="connsiteX145" fmla="*/ 1050306 w 2096597"/>
                <a:gd name="connsiteY145" fmla="*/ 1874 h 283512"/>
                <a:gd name="connsiteX146" fmla="*/ 1362645 w 2096597"/>
                <a:gd name="connsiteY146" fmla="*/ 282936 h 283512"/>
                <a:gd name="connsiteX147" fmla="*/ 1319837 w 2096597"/>
                <a:gd name="connsiteY147" fmla="*/ 275152 h 283512"/>
                <a:gd name="connsiteX148" fmla="*/ 1286830 w 2096597"/>
                <a:gd name="connsiteY148" fmla="*/ 253388 h 283512"/>
                <a:gd name="connsiteX149" fmla="*/ 1265787 w 2096597"/>
                <a:gd name="connsiteY149" fmla="*/ 220670 h 283512"/>
                <a:gd name="connsiteX150" fmla="*/ 1258292 w 2096597"/>
                <a:gd name="connsiteY150" fmla="*/ 179735 h 283512"/>
                <a:gd name="connsiteX151" fmla="*/ 1265787 w 2096597"/>
                <a:gd name="connsiteY151" fmla="*/ 138801 h 283512"/>
                <a:gd name="connsiteX152" fmla="*/ 1286830 w 2096597"/>
                <a:gd name="connsiteY152" fmla="*/ 106083 h 283512"/>
                <a:gd name="connsiteX153" fmla="*/ 1319837 w 2096597"/>
                <a:gd name="connsiteY153" fmla="*/ 84463 h 283512"/>
                <a:gd name="connsiteX154" fmla="*/ 1362645 w 2096597"/>
                <a:gd name="connsiteY154" fmla="*/ 76679 h 283512"/>
                <a:gd name="connsiteX155" fmla="*/ 1405453 w 2096597"/>
                <a:gd name="connsiteY155" fmla="*/ 84463 h 283512"/>
                <a:gd name="connsiteX156" fmla="*/ 1438171 w 2096597"/>
                <a:gd name="connsiteY156" fmla="*/ 106083 h 283512"/>
                <a:gd name="connsiteX157" fmla="*/ 1459071 w 2096597"/>
                <a:gd name="connsiteY157" fmla="*/ 138801 h 283512"/>
                <a:gd name="connsiteX158" fmla="*/ 1466422 w 2096597"/>
                <a:gd name="connsiteY158" fmla="*/ 179735 h 283512"/>
                <a:gd name="connsiteX159" fmla="*/ 1459071 w 2096597"/>
                <a:gd name="connsiteY159" fmla="*/ 220670 h 283512"/>
                <a:gd name="connsiteX160" fmla="*/ 1438171 w 2096597"/>
                <a:gd name="connsiteY160" fmla="*/ 253388 h 283512"/>
                <a:gd name="connsiteX161" fmla="*/ 1405453 w 2096597"/>
                <a:gd name="connsiteY161" fmla="*/ 275152 h 283512"/>
                <a:gd name="connsiteX162" fmla="*/ 1362645 w 2096597"/>
                <a:gd name="connsiteY162" fmla="*/ 282936 h 283512"/>
                <a:gd name="connsiteX163" fmla="*/ 1362213 w 2096597"/>
                <a:gd name="connsiteY163" fmla="*/ 238830 h 283512"/>
                <a:gd name="connsiteX164" fmla="*/ 1393201 w 2096597"/>
                <a:gd name="connsiteY164" fmla="*/ 222687 h 283512"/>
                <a:gd name="connsiteX165" fmla="*/ 1403723 w 2096597"/>
                <a:gd name="connsiteY165" fmla="*/ 179880 h 283512"/>
                <a:gd name="connsiteX166" fmla="*/ 1393201 w 2096597"/>
                <a:gd name="connsiteY166" fmla="*/ 136928 h 283512"/>
                <a:gd name="connsiteX167" fmla="*/ 1362213 w 2096597"/>
                <a:gd name="connsiteY167" fmla="*/ 120496 h 283512"/>
                <a:gd name="connsiteX168" fmla="*/ 1331368 w 2096597"/>
                <a:gd name="connsiteY168" fmla="*/ 136928 h 283512"/>
                <a:gd name="connsiteX169" fmla="*/ 1321134 w 2096597"/>
                <a:gd name="connsiteY169" fmla="*/ 179880 h 283512"/>
                <a:gd name="connsiteX170" fmla="*/ 1331368 w 2096597"/>
                <a:gd name="connsiteY170" fmla="*/ 222687 h 283512"/>
                <a:gd name="connsiteX171" fmla="*/ 1362213 w 2096597"/>
                <a:gd name="connsiteY171" fmla="*/ 238830 h 283512"/>
                <a:gd name="connsiteX172" fmla="*/ 1554488 w 2096597"/>
                <a:gd name="connsiteY172" fmla="*/ 282647 h 283512"/>
                <a:gd name="connsiteX173" fmla="*/ 1503320 w 2096597"/>
                <a:gd name="connsiteY173" fmla="*/ 262613 h 283512"/>
                <a:gd name="connsiteX174" fmla="*/ 1486024 w 2096597"/>
                <a:gd name="connsiteY174" fmla="*/ 209859 h 283512"/>
                <a:gd name="connsiteX175" fmla="*/ 1486024 w 2096597"/>
                <a:gd name="connsiteY175" fmla="*/ 82012 h 283512"/>
                <a:gd name="connsiteX176" fmla="*/ 1547713 w 2096597"/>
                <a:gd name="connsiteY176" fmla="*/ 82012 h 283512"/>
                <a:gd name="connsiteX177" fmla="*/ 1547713 w 2096597"/>
                <a:gd name="connsiteY177" fmla="*/ 197032 h 283512"/>
                <a:gd name="connsiteX178" fmla="*/ 1554920 w 2096597"/>
                <a:gd name="connsiteY178" fmla="*/ 221534 h 283512"/>
                <a:gd name="connsiteX179" fmla="*/ 1576973 w 2096597"/>
                <a:gd name="connsiteY179" fmla="*/ 230038 h 283512"/>
                <a:gd name="connsiteX180" fmla="*/ 1602052 w 2096597"/>
                <a:gd name="connsiteY180" fmla="*/ 219228 h 283512"/>
                <a:gd name="connsiteX181" fmla="*/ 1611132 w 2096597"/>
                <a:gd name="connsiteY181" fmla="*/ 190834 h 283512"/>
                <a:gd name="connsiteX182" fmla="*/ 1611132 w 2096597"/>
                <a:gd name="connsiteY182" fmla="*/ 82012 h 283512"/>
                <a:gd name="connsiteX183" fmla="*/ 1673110 w 2096597"/>
                <a:gd name="connsiteY183" fmla="*/ 82012 h 283512"/>
                <a:gd name="connsiteX184" fmla="*/ 1673110 w 2096597"/>
                <a:gd name="connsiteY184" fmla="*/ 276882 h 283512"/>
                <a:gd name="connsiteX185" fmla="*/ 1613727 w 2096597"/>
                <a:gd name="connsiteY185" fmla="*/ 276882 h 283512"/>
                <a:gd name="connsiteX186" fmla="*/ 1613727 w 2096597"/>
                <a:gd name="connsiteY186" fmla="*/ 252956 h 283512"/>
                <a:gd name="connsiteX187" fmla="*/ 1612574 w 2096597"/>
                <a:gd name="connsiteY187" fmla="*/ 252956 h 283512"/>
                <a:gd name="connsiteX188" fmla="*/ 1588359 w 2096597"/>
                <a:gd name="connsiteY188" fmla="*/ 275008 h 283512"/>
                <a:gd name="connsiteX189" fmla="*/ 1554344 w 2096597"/>
                <a:gd name="connsiteY189" fmla="*/ 282647 h 283512"/>
                <a:gd name="connsiteX190" fmla="*/ 1789571 w 2096597"/>
                <a:gd name="connsiteY190" fmla="*/ 283080 h 283512"/>
                <a:gd name="connsiteX191" fmla="*/ 1721395 w 2096597"/>
                <a:gd name="connsiteY191" fmla="*/ 264630 h 283512"/>
                <a:gd name="connsiteX192" fmla="*/ 1694730 w 2096597"/>
                <a:gd name="connsiteY192" fmla="*/ 213751 h 283512"/>
                <a:gd name="connsiteX193" fmla="*/ 1753393 w 2096597"/>
                <a:gd name="connsiteY193" fmla="*/ 213751 h 283512"/>
                <a:gd name="connsiteX194" fmla="*/ 1764491 w 2096597"/>
                <a:gd name="connsiteY194" fmla="*/ 235515 h 283512"/>
                <a:gd name="connsiteX195" fmla="*/ 1789282 w 2096597"/>
                <a:gd name="connsiteY195" fmla="*/ 242722 h 283512"/>
                <a:gd name="connsiteX196" fmla="*/ 1811479 w 2096597"/>
                <a:gd name="connsiteY196" fmla="*/ 237821 h 283512"/>
                <a:gd name="connsiteX197" fmla="*/ 1819695 w 2096597"/>
                <a:gd name="connsiteY197" fmla="*/ 223408 h 283512"/>
                <a:gd name="connsiteX198" fmla="*/ 1815515 w 2096597"/>
                <a:gd name="connsiteY198" fmla="*/ 212886 h 283512"/>
                <a:gd name="connsiteX199" fmla="*/ 1804416 w 2096597"/>
                <a:gd name="connsiteY199" fmla="*/ 206400 h 283512"/>
                <a:gd name="connsiteX200" fmla="*/ 1788562 w 2096597"/>
                <a:gd name="connsiteY200" fmla="*/ 202653 h 283512"/>
                <a:gd name="connsiteX201" fmla="*/ 1770112 w 2096597"/>
                <a:gd name="connsiteY201" fmla="*/ 199482 h 283512"/>
                <a:gd name="connsiteX202" fmla="*/ 1745033 w 2096597"/>
                <a:gd name="connsiteY202" fmla="*/ 194005 h 283512"/>
                <a:gd name="connsiteX203" fmla="*/ 1722404 w 2096597"/>
                <a:gd name="connsiteY203" fmla="*/ 184348 h 283512"/>
                <a:gd name="connsiteX204" fmla="*/ 1706261 w 2096597"/>
                <a:gd name="connsiteY204" fmla="*/ 167052 h 283512"/>
                <a:gd name="connsiteX205" fmla="*/ 1700207 w 2096597"/>
                <a:gd name="connsiteY205" fmla="*/ 139090 h 283512"/>
                <a:gd name="connsiteX206" fmla="*/ 1706837 w 2096597"/>
                <a:gd name="connsiteY206" fmla="*/ 111992 h 283512"/>
                <a:gd name="connsiteX207" fmla="*/ 1724999 w 2096597"/>
                <a:gd name="connsiteY207" fmla="*/ 92390 h 283512"/>
                <a:gd name="connsiteX208" fmla="*/ 1751808 w 2096597"/>
                <a:gd name="connsiteY208" fmla="*/ 80571 h 283512"/>
                <a:gd name="connsiteX209" fmla="*/ 1784382 w 2096597"/>
                <a:gd name="connsiteY209" fmla="*/ 76535 h 283512"/>
                <a:gd name="connsiteX210" fmla="*/ 1847945 w 2096597"/>
                <a:gd name="connsiteY210" fmla="*/ 93255 h 283512"/>
                <a:gd name="connsiteX211" fmla="*/ 1872304 w 2096597"/>
                <a:gd name="connsiteY211" fmla="*/ 138945 h 283512"/>
                <a:gd name="connsiteX212" fmla="*/ 1815226 w 2096597"/>
                <a:gd name="connsiteY212" fmla="*/ 138945 h 283512"/>
                <a:gd name="connsiteX213" fmla="*/ 1805137 w 2096597"/>
                <a:gd name="connsiteY213" fmla="*/ 120929 h 283512"/>
                <a:gd name="connsiteX214" fmla="*/ 1783949 w 2096597"/>
                <a:gd name="connsiteY214" fmla="*/ 116172 h 283512"/>
                <a:gd name="connsiteX215" fmla="*/ 1764780 w 2096597"/>
                <a:gd name="connsiteY215" fmla="*/ 120496 h 283512"/>
                <a:gd name="connsiteX216" fmla="*/ 1756996 w 2096597"/>
                <a:gd name="connsiteY216" fmla="*/ 134045 h 283512"/>
                <a:gd name="connsiteX217" fmla="*/ 1760744 w 2096597"/>
                <a:gd name="connsiteY217" fmla="*/ 142405 h 283512"/>
                <a:gd name="connsiteX218" fmla="*/ 1770977 w 2096597"/>
                <a:gd name="connsiteY218" fmla="*/ 147593 h 283512"/>
                <a:gd name="connsiteX219" fmla="*/ 1785967 w 2096597"/>
                <a:gd name="connsiteY219" fmla="*/ 151197 h 283512"/>
                <a:gd name="connsiteX220" fmla="*/ 1803696 w 2096597"/>
                <a:gd name="connsiteY220" fmla="*/ 154224 h 283512"/>
                <a:gd name="connsiteX221" fmla="*/ 1829784 w 2096597"/>
                <a:gd name="connsiteY221" fmla="*/ 159701 h 283512"/>
                <a:gd name="connsiteX222" fmla="*/ 1853710 w 2096597"/>
                <a:gd name="connsiteY222" fmla="*/ 169790 h 283512"/>
                <a:gd name="connsiteX223" fmla="*/ 1871439 w 2096597"/>
                <a:gd name="connsiteY223" fmla="*/ 188239 h 283512"/>
                <a:gd name="connsiteX224" fmla="*/ 1878357 w 2096597"/>
                <a:gd name="connsiteY224" fmla="*/ 218508 h 283512"/>
                <a:gd name="connsiteX225" fmla="*/ 1871727 w 2096597"/>
                <a:gd name="connsiteY225" fmla="*/ 246614 h 283512"/>
                <a:gd name="connsiteX226" fmla="*/ 1853278 w 2096597"/>
                <a:gd name="connsiteY226" fmla="*/ 266792 h 283512"/>
                <a:gd name="connsiteX227" fmla="*/ 1825172 w 2096597"/>
                <a:gd name="connsiteY227" fmla="*/ 279044 h 283512"/>
                <a:gd name="connsiteX228" fmla="*/ 1789715 w 2096597"/>
                <a:gd name="connsiteY228" fmla="*/ 283224 h 283512"/>
                <a:gd name="connsiteX229" fmla="*/ 1999430 w 2096597"/>
                <a:gd name="connsiteY229" fmla="*/ 282791 h 283512"/>
                <a:gd name="connsiteX230" fmla="*/ 1956046 w 2096597"/>
                <a:gd name="connsiteY230" fmla="*/ 275008 h 283512"/>
                <a:gd name="connsiteX231" fmla="*/ 1923327 w 2096597"/>
                <a:gd name="connsiteY231" fmla="*/ 253244 h 283512"/>
                <a:gd name="connsiteX232" fmla="*/ 1902716 w 2096597"/>
                <a:gd name="connsiteY232" fmla="*/ 220381 h 283512"/>
                <a:gd name="connsiteX233" fmla="*/ 1895509 w 2096597"/>
                <a:gd name="connsiteY233" fmla="*/ 179303 h 283512"/>
                <a:gd name="connsiteX234" fmla="*/ 1902716 w 2096597"/>
                <a:gd name="connsiteY234" fmla="*/ 138801 h 283512"/>
                <a:gd name="connsiteX235" fmla="*/ 1923327 w 2096597"/>
                <a:gd name="connsiteY235" fmla="*/ 106083 h 283512"/>
                <a:gd name="connsiteX236" fmla="*/ 1954893 w 2096597"/>
                <a:gd name="connsiteY236" fmla="*/ 84463 h 283512"/>
                <a:gd name="connsiteX237" fmla="*/ 1995683 w 2096597"/>
                <a:gd name="connsiteY237" fmla="*/ 76679 h 283512"/>
                <a:gd name="connsiteX238" fmla="*/ 2033157 w 2096597"/>
                <a:gd name="connsiteY238" fmla="*/ 83165 h 283512"/>
                <a:gd name="connsiteX239" fmla="*/ 2062273 w 2096597"/>
                <a:gd name="connsiteY239" fmla="*/ 101038 h 283512"/>
                <a:gd name="connsiteX240" fmla="*/ 2088361 w 2096597"/>
                <a:gd name="connsiteY240" fmla="*/ 141540 h 283512"/>
                <a:gd name="connsiteX241" fmla="*/ 2096577 w 2096597"/>
                <a:gd name="connsiteY241" fmla="*/ 195734 h 283512"/>
                <a:gd name="connsiteX242" fmla="*/ 1956478 w 2096597"/>
                <a:gd name="connsiteY242" fmla="*/ 195734 h 283512"/>
                <a:gd name="connsiteX243" fmla="*/ 1970171 w 2096597"/>
                <a:gd name="connsiteY243" fmla="*/ 227011 h 283512"/>
                <a:gd name="connsiteX244" fmla="*/ 2000295 w 2096597"/>
                <a:gd name="connsiteY244" fmla="*/ 238398 h 283512"/>
                <a:gd name="connsiteX245" fmla="*/ 2020474 w 2096597"/>
                <a:gd name="connsiteY245" fmla="*/ 233209 h 283512"/>
                <a:gd name="connsiteX246" fmla="*/ 2032725 w 2096597"/>
                <a:gd name="connsiteY246" fmla="*/ 218940 h 283512"/>
                <a:gd name="connsiteX247" fmla="*/ 2093262 w 2096597"/>
                <a:gd name="connsiteY247" fmla="*/ 218940 h 283512"/>
                <a:gd name="connsiteX248" fmla="*/ 2081875 w 2096597"/>
                <a:gd name="connsiteY248" fmla="*/ 244308 h 283512"/>
                <a:gd name="connsiteX249" fmla="*/ 2060543 w 2096597"/>
                <a:gd name="connsiteY249" fmla="*/ 265063 h 283512"/>
                <a:gd name="connsiteX250" fmla="*/ 2033302 w 2096597"/>
                <a:gd name="connsiteY250" fmla="*/ 278323 h 283512"/>
                <a:gd name="connsiteX251" fmla="*/ 1999574 w 2096597"/>
                <a:gd name="connsiteY251" fmla="*/ 282936 h 283512"/>
                <a:gd name="connsiteX252" fmla="*/ 2033878 w 2096597"/>
                <a:gd name="connsiteY252" fmla="*/ 158836 h 283512"/>
                <a:gd name="connsiteX253" fmla="*/ 2022059 w 2096597"/>
                <a:gd name="connsiteY253" fmla="*/ 131018 h 283512"/>
                <a:gd name="connsiteX254" fmla="*/ 1996980 w 2096597"/>
                <a:gd name="connsiteY254" fmla="*/ 120784 h 283512"/>
                <a:gd name="connsiteX255" fmla="*/ 1969594 w 2096597"/>
                <a:gd name="connsiteY255" fmla="*/ 131018 h 283512"/>
                <a:gd name="connsiteX256" fmla="*/ 1957055 w 2096597"/>
                <a:gd name="connsiteY256" fmla="*/ 158836 h 283512"/>
                <a:gd name="connsiteX257" fmla="*/ 2033878 w 2096597"/>
                <a:gd name="connsiteY257" fmla="*/ 158836 h 283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</a:cxnLst>
              <a:rect l="l" t="t" r="r" b="b"/>
              <a:pathLst>
                <a:path w="2096597" h="283512">
                  <a:moveTo>
                    <a:pt x="129433" y="283512"/>
                  </a:moveTo>
                  <a:cubicBezTo>
                    <a:pt x="109830" y="283512"/>
                    <a:pt x="92390" y="280197"/>
                    <a:pt x="76968" y="273567"/>
                  </a:cubicBezTo>
                  <a:cubicBezTo>
                    <a:pt x="61545" y="266937"/>
                    <a:pt x="47997" y="257568"/>
                    <a:pt x="36610" y="245461"/>
                  </a:cubicBezTo>
                  <a:cubicBezTo>
                    <a:pt x="24647" y="232489"/>
                    <a:pt x="15567" y="217354"/>
                    <a:pt x="9369" y="199770"/>
                  </a:cubicBezTo>
                  <a:cubicBezTo>
                    <a:pt x="3171" y="182330"/>
                    <a:pt x="0" y="163160"/>
                    <a:pt x="0" y="142260"/>
                  </a:cubicBezTo>
                  <a:cubicBezTo>
                    <a:pt x="0" y="121361"/>
                    <a:pt x="3459" y="100894"/>
                    <a:pt x="10522" y="82733"/>
                  </a:cubicBezTo>
                  <a:cubicBezTo>
                    <a:pt x="17440" y="64572"/>
                    <a:pt x="27386" y="49006"/>
                    <a:pt x="40358" y="36178"/>
                  </a:cubicBezTo>
                  <a:cubicBezTo>
                    <a:pt x="51744" y="24791"/>
                    <a:pt x="65149" y="15855"/>
                    <a:pt x="80715" y="9513"/>
                  </a:cubicBezTo>
                  <a:cubicBezTo>
                    <a:pt x="96138" y="3171"/>
                    <a:pt x="113866" y="0"/>
                    <a:pt x="133612" y="0"/>
                  </a:cubicBezTo>
                  <a:cubicBezTo>
                    <a:pt x="151053" y="0"/>
                    <a:pt x="166907" y="2162"/>
                    <a:pt x="180744" y="6630"/>
                  </a:cubicBezTo>
                  <a:cubicBezTo>
                    <a:pt x="194725" y="11098"/>
                    <a:pt x="206833" y="17440"/>
                    <a:pt x="216922" y="25656"/>
                  </a:cubicBezTo>
                  <a:cubicBezTo>
                    <a:pt x="227011" y="33872"/>
                    <a:pt x="235227" y="43817"/>
                    <a:pt x="241425" y="55492"/>
                  </a:cubicBezTo>
                  <a:cubicBezTo>
                    <a:pt x="247623" y="67167"/>
                    <a:pt x="251947" y="80139"/>
                    <a:pt x="254109" y="94264"/>
                  </a:cubicBezTo>
                  <a:lnTo>
                    <a:pt x="188672" y="94264"/>
                  </a:lnTo>
                  <a:cubicBezTo>
                    <a:pt x="186077" y="83165"/>
                    <a:pt x="180456" y="73797"/>
                    <a:pt x="171520" y="66446"/>
                  </a:cubicBezTo>
                  <a:cubicBezTo>
                    <a:pt x="162583" y="59095"/>
                    <a:pt x="150764" y="55348"/>
                    <a:pt x="135774" y="55348"/>
                  </a:cubicBezTo>
                  <a:cubicBezTo>
                    <a:pt x="124532" y="55348"/>
                    <a:pt x="114731" y="57654"/>
                    <a:pt x="106227" y="61978"/>
                  </a:cubicBezTo>
                  <a:cubicBezTo>
                    <a:pt x="97723" y="66446"/>
                    <a:pt x="90660" y="72500"/>
                    <a:pt x="85039" y="80283"/>
                  </a:cubicBezTo>
                  <a:cubicBezTo>
                    <a:pt x="79418" y="88066"/>
                    <a:pt x="75238" y="97146"/>
                    <a:pt x="72500" y="107668"/>
                  </a:cubicBezTo>
                  <a:cubicBezTo>
                    <a:pt x="69761" y="118190"/>
                    <a:pt x="68320" y="129721"/>
                    <a:pt x="68320" y="142116"/>
                  </a:cubicBezTo>
                  <a:cubicBezTo>
                    <a:pt x="68320" y="154512"/>
                    <a:pt x="69905" y="166043"/>
                    <a:pt x="73076" y="176709"/>
                  </a:cubicBezTo>
                  <a:cubicBezTo>
                    <a:pt x="76247" y="187375"/>
                    <a:pt x="80715" y="196599"/>
                    <a:pt x="86625" y="204238"/>
                  </a:cubicBezTo>
                  <a:cubicBezTo>
                    <a:pt x="92534" y="212021"/>
                    <a:pt x="99597" y="218075"/>
                    <a:pt x="108101" y="222255"/>
                  </a:cubicBezTo>
                  <a:cubicBezTo>
                    <a:pt x="116605" y="226579"/>
                    <a:pt x="126117" y="228741"/>
                    <a:pt x="136783" y="228741"/>
                  </a:cubicBezTo>
                  <a:cubicBezTo>
                    <a:pt x="145576" y="228741"/>
                    <a:pt x="153647" y="227444"/>
                    <a:pt x="160566" y="224705"/>
                  </a:cubicBezTo>
                  <a:cubicBezTo>
                    <a:pt x="167484" y="222111"/>
                    <a:pt x="173538" y="218508"/>
                    <a:pt x="178438" y="214039"/>
                  </a:cubicBezTo>
                  <a:cubicBezTo>
                    <a:pt x="183339" y="209571"/>
                    <a:pt x="187375" y="204526"/>
                    <a:pt x="190257" y="198761"/>
                  </a:cubicBezTo>
                  <a:cubicBezTo>
                    <a:pt x="193140" y="193140"/>
                    <a:pt x="195014" y="187230"/>
                    <a:pt x="195734" y="181033"/>
                  </a:cubicBezTo>
                  <a:lnTo>
                    <a:pt x="195734" y="180312"/>
                  </a:lnTo>
                  <a:lnTo>
                    <a:pt x="144711" y="180312"/>
                  </a:lnTo>
                  <a:lnTo>
                    <a:pt x="144711" y="130874"/>
                  </a:lnTo>
                  <a:lnTo>
                    <a:pt x="258144" y="130874"/>
                  </a:lnTo>
                  <a:lnTo>
                    <a:pt x="258144" y="277026"/>
                  </a:lnTo>
                  <a:lnTo>
                    <a:pt x="211013" y="277026"/>
                  </a:lnTo>
                  <a:lnTo>
                    <a:pt x="207265" y="244308"/>
                  </a:lnTo>
                  <a:lnTo>
                    <a:pt x="206544" y="244308"/>
                  </a:lnTo>
                  <a:cubicBezTo>
                    <a:pt x="197608" y="258289"/>
                    <a:pt x="186654" y="268234"/>
                    <a:pt x="173682" y="274143"/>
                  </a:cubicBezTo>
                  <a:cubicBezTo>
                    <a:pt x="160566" y="280053"/>
                    <a:pt x="145864" y="283080"/>
                    <a:pt x="129288" y="283080"/>
                  </a:cubicBezTo>
                  <a:moveTo>
                    <a:pt x="358029" y="282647"/>
                  </a:moveTo>
                  <a:cubicBezTo>
                    <a:pt x="335400" y="282647"/>
                    <a:pt x="318393" y="276017"/>
                    <a:pt x="306862" y="262613"/>
                  </a:cubicBezTo>
                  <a:cubicBezTo>
                    <a:pt x="295331" y="249352"/>
                    <a:pt x="289566" y="231768"/>
                    <a:pt x="289566" y="209859"/>
                  </a:cubicBezTo>
                  <a:lnTo>
                    <a:pt x="289566" y="82012"/>
                  </a:lnTo>
                  <a:lnTo>
                    <a:pt x="351255" y="82012"/>
                  </a:lnTo>
                  <a:lnTo>
                    <a:pt x="351255" y="197032"/>
                  </a:lnTo>
                  <a:cubicBezTo>
                    <a:pt x="351255" y="207697"/>
                    <a:pt x="353705" y="215913"/>
                    <a:pt x="358462" y="221534"/>
                  </a:cubicBezTo>
                  <a:cubicBezTo>
                    <a:pt x="363218" y="227300"/>
                    <a:pt x="370713" y="230038"/>
                    <a:pt x="380514" y="230038"/>
                  </a:cubicBezTo>
                  <a:cubicBezTo>
                    <a:pt x="391180" y="230038"/>
                    <a:pt x="399540" y="226435"/>
                    <a:pt x="405594" y="219228"/>
                  </a:cubicBezTo>
                  <a:cubicBezTo>
                    <a:pt x="411647" y="212021"/>
                    <a:pt x="414674" y="202509"/>
                    <a:pt x="414674" y="190834"/>
                  </a:cubicBezTo>
                  <a:lnTo>
                    <a:pt x="414674" y="82012"/>
                  </a:lnTo>
                  <a:lnTo>
                    <a:pt x="476652" y="82012"/>
                  </a:lnTo>
                  <a:lnTo>
                    <a:pt x="476652" y="276882"/>
                  </a:lnTo>
                  <a:lnTo>
                    <a:pt x="417269" y="276882"/>
                  </a:lnTo>
                  <a:lnTo>
                    <a:pt x="417269" y="252956"/>
                  </a:lnTo>
                  <a:lnTo>
                    <a:pt x="416116" y="252956"/>
                  </a:lnTo>
                  <a:cubicBezTo>
                    <a:pt x="409053" y="262613"/>
                    <a:pt x="400981" y="269963"/>
                    <a:pt x="391901" y="275008"/>
                  </a:cubicBezTo>
                  <a:cubicBezTo>
                    <a:pt x="382965" y="280053"/>
                    <a:pt x="371578" y="282647"/>
                    <a:pt x="357885" y="282647"/>
                  </a:cubicBezTo>
                  <a:moveTo>
                    <a:pt x="511965" y="2162"/>
                  </a:moveTo>
                  <a:lnTo>
                    <a:pt x="573943" y="2162"/>
                  </a:lnTo>
                  <a:lnTo>
                    <a:pt x="573943" y="55059"/>
                  </a:lnTo>
                  <a:lnTo>
                    <a:pt x="511965" y="55059"/>
                  </a:lnTo>
                  <a:lnTo>
                    <a:pt x="511965" y="2162"/>
                  </a:lnTo>
                  <a:close/>
                  <a:moveTo>
                    <a:pt x="511965" y="82012"/>
                  </a:moveTo>
                  <a:lnTo>
                    <a:pt x="573943" y="82012"/>
                  </a:lnTo>
                  <a:lnTo>
                    <a:pt x="573943" y="276882"/>
                  </a:lnTo>
                  <a:lnTo>
                    <a:pt x="511965" y="276882"/>
                  </a:lnTo>
                  <a:lnTo>
                    <a:pt x="511965" y="82012"/>
                  </a:lnTo>
                  <a:close/>
                  <a:moveTo>
                    <a:pt x="685935" y="282936"/>
                  </a:moveTo>
                  <a:cubicBezTo>
                    <a:pt x="673539" y="282936"/>
                    <a:pt x="662009" y="280629"/>
                    <a:pt x="651631" y="275873"/>
                  </a:cubicBezTo>
                  <a:cubicBezTo>
                    <a:pt x="641253" y="271117"/>
                    <a:pt x="632173" y="264342"/>
                    <a:pt x="624678" y="255550"/>
                  </a:cubicBezTo>
                  <a:cubicBezTo>
                    <a:pt x="617039" y="246614"/>
                    <a:pt x="611129" y="235804"/>
                    <a:pt x="606949" y="222976"/>
                  </a:cubicBezTo>
                  <a:cubicBezTo>
                    <a:pt x="602769" y="210148"/>
                    <a:pt x="600607" y="195590"/>
                    <a:pt x="600607" y="179447"/>
                  </a:cubicBezTo>
                  <a:cubicBezTo>
                    <a:pt x="600607" y="164169"/>
                    <a:pt x="602769" y="150332"/>
                    <a:pt x="606949" y="137504"/>
                  </a:cubicBezTo>
                  <a:cubicBezTo>
                    <a:pt x="611129" y="124820"/>
                    <a:pt x="617039" y="114010"/>
                    <a:pt x="624390" y="104930"/>
                  </a:cubicBezTo>
                  <a:cubicBezTo>
                    <a:pt x="631884" y="95993"/>
                    <a:pt x="640821" y="88931"/>
                    <a:pt x="651199" y="83742"/>
                  </a:cubicBezTo>
                  <a:cubicBezTo>
                    <a:pt x="661576" y="78697"/>
                    <a:pt x="673107" y="76103"/>
                    <a:pt x="685791" y="76103"/>
                  </a:cubicBezTo>
                  <a:cubicBezTo>
                    <a:pt x="699483" y="76103"/>
                    <a:pt x="710582" y="78697"/>
                    <a:pt x="718942" y="83886"/>
                  </a:cubicBezTo>
                  <a:cubicBezTo>
                    <a:pt x="727301" y="89075"/>
                    <a:pt x="734364" y="95705"/>
                    <a:pt x="740273" y="103921"/>
                  </a:cubicBezTo>
                  <a:lnTo>
                    <a:pt x="741426" y="103921"/>
                  </a:lnTo>
                  <a:lnTo>
                    <a:pt x="741426" y="1874"/>
                  </a:lnTo>
                  <a:lnTo>
                    <a:pt x="803404" y="1874"/>
                  </a:lnTo>
                  <a:lnTo>
                    <a:pt x="803404" y="276738"/>
                  </a:lnTo>
                  <a:lnTo>
                    <a:pt x="744021" y="276738"/>
                  </a:lnTo>
                  <a:lnTo>
                    <a:pt x="744021" y="250505"/>
                  </a:lnTo>
                  <a:lnTo>
                    <a:pt x="743300" y="250505"/>
                  </a:lnTo>
                  <a:cubicBezTo>
                    <a:pt x="737535" y="260595"/>
                    <a:pt x="729607" y="268522"/>
                    <a:pt x="719951" y="274287"/>
                  </a:cubicBezTo>
                  <a:cubicBezTo>
                    <a:pt x="710149" y="280053"/>
                    <a:pt x="698907" y="282791"/>
                    <a:pt x="685935" y="282791"/>
                  </a:cubicBezTo>
                  <a:moveTo>
                    <a:pt x="701934" y="233642"/>
                  </a:moveTo>
                  <a:cubicBezTo>
                    <a:pt x="714906" y="233642"/>
                    <a:pt x="724995" y="228597"/>
                    <a:pt x="732202" y="218363"/>
                  </a:cubicBezTo>
                  <a:cubicBezTo>
                    <a:pt x="739409" y="208274"/>
                    <a:pt x="743012" y="195158"/>
                    <a:pt x="743012" y="179159"/>
                  </a:cubicBezTo>
                  <a:cubicBezTo>
                    <a:pt x="743012" y="171087"/>
                    <a:pt x="742147" y="163448"/>
                    <a:pt x="740562" y="156530"/>
                  </a:cubicBezTo>
                  <a:cubicBezTo>
                    <a:pt x="738976" y="149611"/>
                    <a:pt x="736382" y="143558"/>
                    <a:pt x="732923" y="138657"/>
                  </a:cubicBezTo>
                  <a:cubicBezTo>
                    <a:pt x="729463" y="133757"/>
                    <a:pt x="725284" y="129865"/>
                    <a:pt x="720383" y="126982"/>
                  </a:cubicBezTo>
                  <a:cubicBezTo>
                    <a:pt x="715482" y="124244"/>
                    <a:pt x="709573" y="122802"/>
                    <a:pt x="702654" y="122802"/>
                  </a:cubicBezTo>
                  <a:cubicBezTo>
                    <a:pt x="690259" y="122802"/>
                    <a:pt x="680602" y="127991"/>
                    <a:pt x="673683" y="138225"/>
                  </a:cubicBezTo>
                  <a:cubicBezTo>
                    <a:pt x="666765" y="148458"/>
                    <a:pt x="663450" y="161863"/>
                    <a:pt x="663450" y="178438"/>
                  </a:cubicBezTo>
                  <a:cubicBezTo>
                    <a:pt x="663450" y="195014"/>
                    <a:pt x="666765" y="208851"/>
                    <a:pt x="673539" y="218796"/>
                  </a:cubicBezTo>
                  <a:cubicBezTo>
                    <a:pt x="680314" y="228741"/>
                    <a:pt x="689682" y="233642"/>
                    <a:pt x="701934" y="233642"/>
                  </a:cubicBezTo>
                  <a:moveTo>
                    <a:pt x="930242" y="282359"/>
                  </a:moveTo>
                  <a:cubicBezTo>
                    <a:pt x="914243" y="282359"/>
                    <a:pt x="899830" y="279765"/>
                    <a:pt x="886858" y="274576"/>
                  </a:cubicBezTo>
                  <a:cubicBezTo>
                    <a:pt x="873886" y="269387"/>
                    <a:pt x="862932" y="262180"/>
                    <a:pt x="854139" y="252811"/>
                  </a:cubicBezTo>
                  <a:cubicBezTo>
                    <a:pt x="845203" y="243587"/>
                    <a:pt x="838429" y="232633"/>
                    <a:pt x="833528" y="219949"/>
                  </a:cubicBezTo>
                  <a:cubicBezTo>
                    <a:pt x="828772" y="207265"/>
                    <a:pt x="826322" y="193572"/>
                    <a:pt x="826322" y="178871"/>
                  </a:cubicBezTo>
                  <a:cubicBezTo>
                    <a:pt x="826322" y="164169"/>
                    <a:pt x="828772" y="150909"/>
                    <a:pt x="833528" y="138369"/>
                  </a:cubicBezTo>
                  <a:cubicBezTo>
                    <a:pt x="838285" y="125829"/>
                    <a:pt x="845203" y="114875"/>
                    <a:pt x="854139" y="105650"/>
                  </a:cubicBezTo>
                  <a:cubicBezTo>
                    <a:pt x="863076" y="96426"/>
                    <a:pt x="873598" y="89219"/>
                    <a:pt x="885705" y="84030"/>
                  </a:cubicBezTo>
                  <a:cubicBezTo>
                    <a:pt x="897812" y="78841"/>
                    <a:pt x="911505" y="76247"/>
                    <a:pt x="926495" y="76247"/>
                  </a:cubicBezTo>
                  <a:cubicBezTo>
                    <a:pt x="940476" y="76247"/>
                    <a:pt x="953016" y="78409"/>
                    <a:pt x="963970" y="82733"/>
                  </a:cubicBezTo>
                  <a:cubicBezTo>
                    <a:pt x="975068" y="87057"/>
                    <a:pt x="984725" y="92967"/>
                    <a:pt x="993085" y="100606"/>
                  </a:cubicBezTo>
                  <a:cubicBezTo>
                    <a:pt x="1004760" y="111272"/>
                    <a:pt x="1013408" y="124820"/>
                    <a:pt x="1019173" y="141107"/>
                  </a:cubicBezTo>
                  <a:cubicBezTo>
                    <a:pt x="1024939" y="157539"/>
                    <a:pt x="1027533" y="175556"/>
                    <a:pt x="1027389" y="195302"/>
                  </a:cubicBezTo>
                  <a:lnTo>
                    <a:pt x="887290" y="195302"/>
                  </a:lnTo>
                  <a:cubicBezTo>
                    <a:pt x="889308" y="208562"/>
                    <a:pt x="893921" y="218940"/>
                    <a:pt x="900983" y="226579"/>
                  </a:cubicBezTo>
                  <a:cubicBezTo>
                    <a:pt x="908046" y="234218"/>
                    <a:pt x="918135" y="237966"/>
                    <a:pt x="931107" y="237966"/>
                  </a:cubicBezTo>
                  <a:cubicBezTo>
                    <a:pt x="939179" y="237966"/>
                    <a:pt x="945953" y="236236"/>
                    <a:pt x="951286" y="232777"/>
                  </a:cubicBezTo>
                  <a:cubicBezTo>
                    <a:pt x="956619" y="229318"/>
                    <a:pt x="960655" y="224561"/>
                    <a:pt x="963393" y="218508"/>
                  </a:cubicBezTo>
                  <a:lnTo>
                    <a:pt x="1023930" y="218508"/>
                  </a:lnTo>
                  <a:cubicBezTo>
                    <a:pt x="1021912" y="227444"/>
                    <a:pt x="1018020" y="235804"/>
                    <a:pt x="1012543" y="243875"/>
                  </a:cubicBezTo>
                  <a:cubicBezTo>
                    <a:pt x="1006922" y="251803"/>
                    <a:pt x="999859" y="258721"/>
                    <a:pt x="991211" y="264630"/>
                  </a:cubicBezTo>
                  <a:cubicBezTo>
                    <a:pt x="983140" y="270540"/>
                    <a:pt x="974059" y="274864"/>
                    <a:pt x="963970" y="277891"/>
                  </a:cubicBezTo>
                  <a:cubicBezTo>
                    <a:pt x="954024" y="280918"/>
                    <a:pt x="942782" y="282503"/>
                    <a:pt x="930242" y="282503"/>
                  </a:cubicBezTo>
                  <a:moveTo>
                    <a:pt x="964546" y="158404"/>
                  </a:moveTo>
                  <a:cubicBezTo>
                    <a:pt x="963249" y="146729"/>
                    <a:pt x="959357" y="137504"/>
                    <a:pt x="952727" y="130586"/>
                  </a:cubicBezTo>
                  <a:cubicBezTo>
                    <a:pt x="946097" y="123811"/>
                    <a:pt x="937737" y="120352"/>
                    <a:pt x="927648" y="120352"/>
                  </a:cubicBezTo>
                  <a:cubicBezTo>
                    <a:pt x="915685" y="120352"/>
                    <a:pt x="906604" y="123811"/>
                    <a:pt x="900262" y="130586"/>
                  </a:cubicBezTo>
                  <a:cubicBezTo>
                    <a:pt x="893921" y="137504"/>
                    <a:pt x="889741" y="146729"/>
                    <a:pt x="887723" y="158404"/>
                  </a:cubicBezTo>
                  <a:lnTo>
                    <a:pt x="964546" y="158404"/>
                  </a:lnTo>
                  <a:close/>
                  <a:moveTo>
                    <a:pt x="1050162" y="2018"/>
                  </a:moveTo>
                  <a:lnTo>
                    <a:pt x="1112140" y="2018"/>
                  </a:lnTo>
                  <a:lnTo>
                    <a:pt x="1112140" y="105939"/>
                  </a:lnTo>
                  <a:lnTo>
                    <a:pt x="1113293" y="105939"/>
                  </a:lnTo>
                  <a:cubicBezTo>
                    <a:pt x="1120355" y="96570"/>
                    <a:pt x="1128427" y="89219"/>
                    <a:pt x="1137219" y="84030"/>
                  </a:cubicBezTo>
                  <a:cubicBezTo>
                    <a:pt x="1146155" y="78841"/>
                    <a:pt x="1157398" y="76247"/>
                    <a:pt x="1171091" y="76247"/>
                  </a:cubicBezTo>
                  <a:cubicBezTo>
                    <a:pt x="1181757" y="76247"/>
                    <a:pt x="1191269" y="78121"/>
                    <a:pt x="1199629" y="81724"/>
                  </a:cubicBezTo>
                  <a:cubicBezTo>
                    <a:pt x="1207989" y="85327"/>
                    <a:pt x="1215052" y="90516"/>
                    <a:pt x="1220961" y="97002"/>
                  </a:cubicBezTo>
                  <a:cubicBezTo>
                    <a:pt x="1226871" y="103488"/>
                    <a:pt x="1231195" y="111272"/>
                    <a:pt x="1234366" y="120208"/>
                  </a:cubicBezTo>
                  <a:cubicBezTo>
                    <a:pt x="1237392" y="129144"/>
                    <a:pt x="1238978" y="139234"/>
                    <a:pt x="1238978" y="150044"/>
                  </a:cubicBezTo>
                  <a:lnTo>
                    <a:pt x="1238978" y="276738"/>
                  </a:lnTo>
                  <a:lnTo>
                    <a:pt x="1177000" y="276738"/>
                  </a:lnTo>
                  <a:lnTo>
                    <a:pt x="1177000" y="162583"/>
                  </a:lnTo>
                  <a:cubicBezTo>
                    <a:pt x="1177000" y="152206"/>
                    <a:pt x="1174406" y="143846"/>
                    <a:pt x="1169361" y="137504"/>
                  </a:cubicBezTo>
                  <a:cubicBezTo>
                    <a:pt x="1164316" y="131162"/>
                    <a:pt x="1156677" y="127991"/>
                    <a:pt x="1146588" y="127991"/>
                  </a:cubicBezTo>
                  <a:cubicBezTo>
                    <a:pt x="1136498" y="127991"/>
                    <a:pt x="1127850" y="131739"/>
                    <a:pt x="1121653" y="139378"/>
                  </a:cubicBezTo>
                  <a:cubicBezTo>
                    <a:pt x="1115455" y="147017"/>
                    <a:pt x="1112284" y="156962"/>
                    <a:pt x="1112284" y="169069"/>
                  </a:cubicBezTo>
                  <a:lnTo>
                    <a:pt x="1112284" y="276738"/>
                  </a:lnTo>
                  <a:lnTo>
                    <a:pt x="1050306" y="276738"/>
                  </a:lnTo>
                  <a:lnTo>
                    <a:pt x="1050306" y="1874"/>
                  </a:lnTo>
                  <a:close/>
                  <a:moveTo>
                    <a:pt x="1362645" y="282936"/>
                  </a:moveTo>
                  <a:cubicBezTo>
                    <a:pt x="1346935" y="282936"/>
                    <a:pt x="1332665" y="280341"/>
                    <a:pt x="1319837" y="275152"/>
                  </a:cubicBezTo>
                  <a:cubicBezTo>
                    <a:pt x="1307009" y="269963"/>
                    <a:pt x="1296055" y="262757"/>
                    <a:pt x="1286830" y="253388"/>
                  </a:cubicBezTo>
                  <a:cubicBezTo>
                    <a:pt x="1277750" y="244163"/>
                    <a:pt x="1270687" y="233209"/>
                    <a:pt x="1265787" y="220670"/>
                  </a:cubicBezTo>
                  <a:cubicBezTo>
                    <a:pt x="1260886" y="208130"/>
                    <a:pt x="1258292" y="194437"/>
                    <a:pt x="1258292" y="179735"/>
                  </a:cubicBezTo>
                  <a:cubicBezTo>
                    <a:pt x="1258292" y="165034"/>
                    <a:pt x="1260742" y="151341"/>
                    <a:pt x="1265787" y="138801"/>
                  </a:cubicBezTo>
                  <a:cubicBezTo>
                    <a:pt x="1270687" y="126262"/>
                    <a:pt x="1277750" y="115307"/>
                    <a:pt x="1286830" y="106083"/>
                  </a:cubicBezTo>
                  <a:cubicBezTo>
                    <a:pt x="1295911" y="96858"/>
                    <a:pt x="1307009" y="89651"/>
                    <a:pt x="1319837" y="84463"/>
                  </a:cubicBezTo>
                  <a:cubicBezTo>
                    <a:pt x="1332665" y="79274"/>
                    <a:pt x="1346935" y="76679"/>
                    <a:pt x="1362645" y="76679"/>
                  </a:cubicBezTo>
                  <a:cubicBezTo>
                    <a:pt x="1378356" y="76679"/>
                    <a:pt x="1392625" y="79274"/>
                    <a:pt x="1405453" y="84463"/>
                  </a:cubicBezTo>
                  <a:cubicBezTo>
                    <a:pt x="1418281" y="89651"/>
                    <a:pt x="1429235" y="96858"/>
                    <a:pt x="1438171" y="106083"/>
                  </a:cubicBezTo>
                  <a:cubicBezTo>
                    <a:pt x="1447108" y="115307"/>
                    <a:pt x="1454170" y="126262"/>
                    <a:pt x="1459071" y="138801"/>
                  </a:cubicBezTo>
                  <a:cubicBezTo>
                    <a:pt x="1463971" y="151341"/>
                    <a:pt x="1466422" y="165034"/>
                    <a:pt x="1466422" y="179735"/>
                  </a:cubicBezTo>
                  <a:cubicBezTo>
                    <a:pt x="1466422" y="194437"/>
                    <a:pt x="1463971" y="208130"/>
                    <a:pt x="1459071" y="220670"/>
                  </a:cubicBezTo>
                  <a:cubicBezTo>
                    <a:pt x="1454170" y="233209"/>
                    <a:pt x="1447108" y="244163"/>
                    <a:pt x="1438171" y="253388"/>
                  </a:cubicBezTo>
                  <a:cubicBezTo>
                    <a:pt x="1429235" y="262613"/>
                    <a:pt x="1418281" y="269819"/>
                    <a:pt x="1405453" y="275152"/>
                  </a:cubicBezTo>
                  <a:cubicBezTo>
                    <a:pt x="1392625" y="280341"/>
                    <a:pt x="1378356" y="282936"/>
                    <a:pt x="1362645" y="282936"/>
                  </a:cubicBezTo>
                  <a:moveTo>
                    <a:pt x="1362213" y="238830"/>
                  </a:moveTo>
                  <a:cubicBezTo>
                    <a:pt x="1375905" y="238830"/>
                    <a:pt x="1386283" y="233497"/>
                    <a:pt x="1393201" y="222687"/>
                  </a:cubicBezTo>
                  <a:cubicBezTo>
                    <a:pt x="1400264" y="211877"/>
                    <a:pt x="1403723" y="197608"/>
                    <a:pt x="1403723" y="179880"/>
                  </a:cubicBezTo>
                  <a:cubicBezTo>
                    <a:pt x="1403723" y="162151"/>
                    <a:pt x="1400264" y="147738"/>
                    <a:pt x="1393201" y="136928"/>
                  </a:cubicBezTo>
                  <a:cubicBezTo>
                    <a:pt x="1386283" y="125973"/>
                    <a:pt x="1375905" y="120496"/>
                    <a:pt x="1362213" y="120496"/>
                  </a:cubicBezTo>
                  <a:cubicBezTo>
                    <a:pt x="1348520" y="120496"/>
                    <a:pt x="1338286" y="125973"/>
                    <a:pt x="1331368" y="136928"/>
                  </a:cubicBezTo>
                  <a:cubicBezTo>
                    <a:pt x="1324594" y="147882"/>
                    <a:pt x="1321134" y="162151"/>
                    <a:pt x="1321134" y="179880"/>
                  </a:cubicBezTo>
                  <a:cubicBezTo>
                    <a:pt x="1321134" y="197608"/>
                    <a:pt x="1324594" y="211877"/>
                    <a:pt x="1331368" y="222687"/>
                  </a:cubicBezTo>
                  <a:cubicBezTo>
                    <a:pt x="1338286" y="233497"/>
                    <a:pt x="1348520" y="238830"/>
                    <a:pt x="1362213" y="238830"/>
                  </a:cubicBezTo>
                  <a:moveTo>
                    <a:pt x="1554488" y="282647"/>
                  </a:moveTo>
                  <a:cubicBezTo>
                    <a:pt x="1531859" y="282647"/>
                    <a:pt x="1514851" y="276017"/>
                    <a:pt x="1503320" y="262613"/>
                  </a:cubicBezTo>
                  <a:cubicBezTo>
                    <a:pt x="1491789" y="249352"/>
                    <a:pt x="1486024" y="231768"/>
                    <a:pt x="1486024" y="209859"/>
                  </a:cubicBezTo>
                  <a:lnTo>
                    <a:pt x="1486024" y="82012"/>
                  </a:lnTo>
                  <a:lnTo>
                    <a:pt x="1547713" y="82012"/>
                  </a:lnTo>
                  <a:lnTo>
                    <a:pt x="1547713" y="197032"/>
                  </a:lnTo>
                  <a:cubicBezTo>
                    <a:pt x="1547713" y="207697"/>
                    <a:pt x="1550164" y="215913"/>
                    <a:pt x="1554920" y="221534"/>
                  </a:cubicBezTo>
                  <a:cubicBezTo>
                    <a:pt x="1559677" y="227300"/>
                    <a:pt x="1567172" y="230038"/>
                    <a:pt x="1576973" y="230038"/>
                  </a:cubicBezTo>
                  <a:cubicBezTo>
                    <a:pt x="1587639" y="230038"/>
                    <a:pt x="1595998" y="226435"/>
                    <a:pt x="1602052" y="219228"/>
                  </a:cubicBezTo>
                  <a:cubicBezTo>
                    <a:pt x="1608106" y="212021"/>
                    <a:pt x="1611132" y="202509"/>
                    <a:pt x="1611132" y="190834"/>
                  </a:cubicBezTo>
                  <a:lnTo>
                    <a:pt x="1611132" y="82012"/>
                  </a:lnTo>
                  <a:lnTo>
                    <a:pt x="1673110" y="82012"/>
                  </a:lnTo>
                  <a:lnTo>
                    <a:pt x="1673110" y="276882"/>
                  </a:lnTo>
                  <a:lnTo>
                    <a:pt x="1613727" y="276882"/>
                  </a:lnTo>
                  <a:lnTo>
                    <a:pt x="1613727" y="252956"/>
                  </a:lnTo>
                  <a:lnTo>
                    <a:pt x="1612574" y="252956"/>
                  </a:lnTo>
                  <a:cubicBezTo>
                    <a:pt x="1605511" y="262613"/>
                    <a:pt x="1597440" y="269963"/>
                    <a:pt x="1588359" y="275008"/>
                  </a:cubicBezTo>
                  <a:cubicBezTo>
                    <a:pt x="1579423" y="280053"/>
                    <a:pt x="1568036" y="282647"/>
                    <a:pt x="1554344" y="282647"/>
                  </a:cubicBezTo>
                  <a:moveTo>
                    <a:pt x="1789571" y="283080"/>
                  </a:moveTo>
                  <a:cubicBezTo>
                    <a:pt x="1760888" y="283080"/>
                    <a:pt x="1738259" y="276882"/>
                    <a:pt x="1721395" y="264630"/>
                  </a:cubicBezTo>
                  <a:cubicBezTo>
                    <a:pt x="1704676" y="252379"/>
                    <a:pt x="1695739" y="235371"/>
                    <a:pt x="1694730" y="213751"/>
                  </a:cubicBezTo>
                  <a:lnTo>
                    <a:pt x="1753393" y="213751"/>
                  </a:lnTo>
                  <a:cubicBezTo>
                    <a:pt x="1754690" y="223408"/>
                    <a:pt x="1758294" y="230615"/>
                    <a:pt x="1764491" y="235515"/>
                  </a:cubicBezTo>
                  <a:cubicBezTo>
                    <a:pt x="1770545" y="240272"/>
                    <a:pt x="1778761" y="242722"/>
                    <a:pt x="1789282" y="242722"/>
                  </a:cubicBezTo>
                  <a:cubicBezTo>
                    <a:pt x="1798651" y="242722"/>
                    <a:pt x="1806146" y="241137"/>
                    <a:pt x="1811479" y="237821"/>
                  </a:cubicBezTo>
                  <a:cubicBezTo>
                    <a:pt x="1816956" y="234506"/>
                    <a:pt x="1819695" y="229750"/>
                    <a:pt x="1819695" y="223408"/>
                  </a:cubicBezTo>
                  <a:cubicBezTo>
                    <a:pt x="1819695" y="219084"/>
                    <a:pt x="1818253" y="215625"/>
                    <a:pt x="1815515" y="212886"/>
                  </a:cubicBezTo>
                  <a:cubicBezTo>
                    <a:pt x="1812776" y="210292"/>
                    <a:pt x="1809029" y="208130"/>
                    <a:pt x="1804416" y="206400"/>
                  </a:cubicBezTo>
                  <a:cubicBezTo>
                    <a:pt x="1799804" y="204815"/>
                    <a:pt x="1794615" y="203518"/>
                    <a:pt x="1788562" y="202653"/>
                  </a:cubicBezTo>
                  <a:cubicBezTo>
                    <a:pt x="1782652" y="201788"/>
                    <a:pt x="1776454" y="200635"/>
                    <a:pt x="1770112" y="199482"/>
                  </a:cubicBezTo>
                  <a:cubicBezTo>
                    <a:pt x="1761753" y="197896"/>
                    <a:pt x="1753393" y="196167"/>
                    <a:pt x="1745033" y="194005"/>
                  </a:cubicBezTo>
                  <a:cubicBezTo>
                    <a:pt x="1736673" y="191843"/>
                    <a:pt x="1729178" y="188672"/>
                    <a:pt x="1722404" y="184348"/>
                  </a:cubicBezTo>
                  <a:cubicBezTo>
                    <a:pt x="1715630" y="180024"/>
                    <a:pt x="1710297" y="174258"/>
                    <a:pt x="1706261" y="167052"/>
                  </a:cubicBezTo>
                  <a:cubicBezTo>
                    <a:pt x="1702225" y="159845"/>
                    <a:pt x="1700207" y="150476"/>
                    <a:pt x="1700207" y="139090"/>
                  </a:cubicBezTo>
                  <a:cubicBezTo>
                    <a:pt x="1700207" y="129000"/>
                    <a:pt x="1702369" y="119920"/>
                    <a:pt x="1706837" y="111992"/>
                  </a:cubicBezTo>
                  <a:cubicBezTo>
                    <a:pt x="1711306" y="104209"/>
                    <a:pt x="1717359" y="97579"/>
                    <a:pt x="1724999" y="92390"/>
                  </a:cubicBezTo>
                  <a:cubicBezTo>
                    <a:pt x="1732638" y="87201"/>
                    <a:pt x="1741574" y="83310"/>
                    <a:pt x="1751808" y="80571"/>
                  </a:cubicBezTo>
                  <a:cubicBezTo>
                    <a:pt x="1762041" y="77977"/>
                    <a:pt x="1772995" y="76535"/>
                    <a:pt x="1784382" y="76535"/>
                  </a:cubicBezTo>
                  <a:cubicBezTo>
                    <a:pt x="1812056" y="76535"/>
                    <a:pt x="1833243" y="82157"/>
                    <a:pt x="1847945" y="93255"/>
                  </a:cubicBezTo>
                  <a:cubicBezTo>
                    <a:pt x="1862647" y="104353"/>
                    <a:pt x="1870718" y="119631"/>
                    <a:pt x="1872304" y="138945"/>
                  </a:cubicBezTo>
                  <a:lnTo>
                    <a:pt x="1815226" y="138945"/>
                  </a:lnTo>
                  <a:cubicBezTo>
                    <a:pt x="1813929" y="130009"/>
                    <a:pt x="1810614" y="124100"/>
                    <a:pt x="1805137" y="120929"/>
                  </a:cubicBezTo>
                  <a:cubicBezTo>
                    <a:pt x="1799660" y="117758"/>
                    <a:pt x="1792598" y="116172"/>
                    <a:pt x="1783949" y="116172"/>
                  </a:cubicBezTo>
                  <a:cubicBezTo>
                    <a:pt x="1776310" y="116172"/>
                    <a:pt x="1769968" y="117614"/>
                    <a:pt x="1764780" y="120496"/>
                  </a:cubicBezTo>
                  <a:cubicBezTo>
                    <a:pt x="1759591" y="123379"/>
                    <a:pt x="1756996" y="127847"/>
                    <a:pt x="1756996" y="134045"/>
                  </a:cubicBezTo>
                  <a:cubicBezTo>
                    <a:pt x="1756996" y="137648"/>
                    <a:pt x="1758294" y="140387"/>
                    <a:pt x="1760744" y="142405"/>
                  </a:cubicBezTo>
                  <a:cubicBezTo>
                    <a:pt x="1763338" y="144423"/>
                    <a:pt x="1766653" y="146152"/>
                    <a:pt x="1770977" y="147593"/>
                  </a:cubicBezTo>
                  <a:cubicBezTo>
                    <a:pt x="1775301" y="149035"/>
                    <a:pt x="1780346" y="150188"/>
                    <a:pt x="1785967" y="151197"/>
                  </a:cubicBezTo>
                  <a:cubicBezTo>
                    <a:pt x="1791733" y="152206"/>
                    <a:pt x="1797642" y="153215"/>
                    <a:pt x="1803696" y="154224"/>
                  </a:cubicBezTo>
                  <a:cubicBezTo>
                    <a:pt x="1812344" y="155665"/>
                    <a:pt x="1820992" y="157539"/>
                    <a:pt x="1829784" y="159701"/>
                  </a:cubicBezTo>
                  <a:cubicBezTo>
                    <a:pt x="1838576" y="161863"/>
                    <a:pt x="1846504" y="165178"/>
                    <a:pt x="1853710" y="169790"/>
                  </a:cubicBezTo>
                  <a:cubicBezTo>
                    <a:pt x="1860917" y="174402"/>
                    <a:pt x="1866827" y="180456"/>
                    <a:pt x="1871439" y="188239"/>
                  </a:cubicBezTo>
                  <a:cubicBezTo>
                    <a:pt x="1876051" y="196023"/>
                    <a:pt x="1878357" y="206112"/>
                    <a:pt x="1878357" y="218508"/>
                  </a:cubicBezTo>
                  <a:cubicBezTo>
                    <a:pt x="1878357" y="229173"/>
                    <a:pt x="1876051" y="238542"/>
                    <a:pt x="1871727" y="246614"/>
                  </a:cubicBezTo>
                  <a:cubicBezTo>
                    <a:pt x="1867259" y="254685"/>
                    <a:pt x="1861061" y="261460"/>
                    <a:pt x="1853278" y="266792"/>
                  </a:cubicBezTo>
                  <a:cubicBezTo>
                    <a:pt x="1845350" y="272125"/>
                    <a:pt x="1835982" y="276161"/>
                    <a:pt x="1825172" y="279044"/>
                  </a:cubicBezTo>
                  <a:cubicBezTo>
                    <a:pt x="1814218" y="281782"/>
                    <a:pt x="1802399" y="283224"/>
                    <a:pt x="1789715" y="283224"/>
                  </a:cubicBezTo>
                  <a:moveTo>
                    <a:pt x="1999430" y="282791"/>
                  </a:moveTo>
                  <a:cubicBezTo>
                    <a:pt x="1983431" y="282791"/>
                    <a:pt x="1969018" y="280197"/>
                    <a:pt x="1956046" y="275008"/>
                  </a:cubicBezTo>
                  <a:cubicBezTo>
                    <a:pt x="1943073" y="269819"/>
                    <a:pt x="1932263" y="262613"/>
                    <a:pt x="1923327" y="253244"/>
                  </a:cubicBezTo>
                  <a:cubicBezTo>
                    <a:pt x="1914391" y="244019"/>
                    <a:pt x="1907617" y="233065"/>
                    <a:pt x="1902716" y="220381"/>
                  </a:cubicBezTo>
                  <a:cubicBezTo>
                    <a:pt x="1897960" y="207697"/>
                    <a:pt x="1895509" y="194005"/>
                    <a:pt x="1895509" y="179303"/>
                  </a:cubicBezTo>
                  <a:cubicBezTo>
                    <a:pt x="1895509" y="164601"/>
                    <a:pt x="1897960" y="151341"/>
                    <a:pt x="1902716" y="138801"/>
                  </a:cubicBezTo>
                  <a:cubicBezTo>
                    <a:pt x="1907473" y="126262"/>
                    <a:pt x="1914391" y="115307"/>
                    <a:pt x="1923327" y="106083"/>
                  </a:cubicBezTo>
                  <a:cubicBezTo>
                    <a:pt x="1932263" y="96858"/>
                    <a:pt x="1942785" y="89651"/>
                    <a:pt x="1954893" y="84463"/>
                  </a:cubicBezTo>
                  <a:cubicBezTo>
                    <a:pt x="1967144" y="79274"/>
                    <a:pt x="1980693" y="76679"/>
                    <a:pt x="1995683" y="76679"/>
                  </a:cubicBezTo>
                  <a:cubicBezTo>
                    <a:pt x="2009664" y="76679"/>
                    <a:pt x="2022059" y="78841"/>
                    <a:pt x="2033157" y="83165"/>
                  </a:cubicBezTo>
                  <a:cubicBezTo>
                    <a:pt x="2044256" y="87489"/>
                    <a:pt x="2053913" y="93399"/>
                    <a:pt x="2062273" y="101038"/>
                  </a:cubicBezTo>
                  <a:cubicBezTo>
                    <a:pt x="2073947" y="111704"/>
                    <a:pt x="2082596" y="125253"/>
                    <a:pt x="2088361" y="141540"/>
                  </a:cubicBezTo>
                  <a:cubicBezTo>
                    <a:pt x="2094126" y="157971"/>
                    <a:pt x="2096865" y="175988"/>
                    <a:pt x="2096577" y="195734"/>
                  </a:cubicBezTo>
                  <a:lnTo>
                    <a:pt x="1956478" y="195734"/>
                  </a:lnTo>
                  <a:cubicBezTo>
                    <a:pt x="1958496" y="208995"/>
                    <a:pt x="1963108" y="219372"/>
                    <a:pt x="1970171" y="227011"/>
                  </a:cubicBezTo>
                  <a:cubicBezTo>
                    <a:pt x="1977233" y="234651"/>
                    <a:pt x="1987323" y="238398"/>
                    <a:pt x="2000295" y="238398"/>
                  </a:cubicBezTo>
                  <a:cubicBezTo>
                    <a:pt x="2008366" y="238398"/>
                    <a:pt x="2015141" y="236668"/>
                    <a:pt x="2020474" y="233209"/>
                  </a:cubicBezTo>
                  <a:cubicBezTo>
                    <a:pt x="2025807" y="229750"/>
                    <a:pt x="2029842" y="224994"/>
                    <a:pt x="2032725" y="218940"/>
                  </a:cubicBezTo>
                  <a:lnTo>
                    <a:pt x="2093262" y="218940"/>
                  </a:lnTo>
                  <a:cubicBezTo>
                    <a:pt x="2091244" y="227876"/>
                    <a:pt x="2087496" y="236236"/>
                    <a:pt x="2081875" y="244308"/>
                  </a:cubicBezTo>
                  <a:cubicBezTo>
                    <a:pt x="2076254" y="252379"/>
                    <a:pt x="2069191" y="259153"/>
                    <a:pt x="2060543" y="265063"/>
                  </a:cubicBezTo>
                  <a:cubicBezTo>
                    <a:pt x="2052472" y="270972"/>
                    <a:pt x="2043391" y="275296"/>
                    <a:pt x="2033302" y="278323"/>
                  </a:cubicBezTo>
                  <a:cubicBezTo>
                    <a:pt x="2023212" y="281350"/>
                    <a:pt x="2011970" y="282936"/>
                    <a:pt x="1999574" y="282936"/>
                  </a:cubicBezTo>
                  <a:moveTo>
                    <a:pt x="2033878" y="158836"/>
                  </a:moveTo>
                  <a:cubicBezTo>
                    <a:pt x="2032581" y="147161"/>
                    <a:pt x="2028689" y="137936"/>
                    <a:pt x="2022059" y="131018"/>
                  </a:cubicBezTo>
                  <a:cubicBezTo>
                    <a:pt x="2015429" y="124244"/>
                    <a:pt x="2007069" y="120784"/>
                    <a:pt x="1996980" y="120784"/>
                  </a:cubicBezTo>
                  <a:cubicBezTo>
                    <a:pt x="1985017" y="120784"/>
                    <a:pt x="1975936" y="124244"/>
                    <a:pt x="1969594" y="131018"/>
                  </a:cubicBezTo>
                  <a:cubicBezTo>
                    <a:pt x="1963252" y="137936"/>
                    <a:pt x="1959072" y="147161"/>
                    <a:pt x="1957055" y="158836"/>
                  </a:cubicBezTo>
                  <a:lnTo>
                    <a:pt x="2033878" y="158836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15457261-1C34-087B-4575-1B5E779EBBAB}"/>
                </a:ext>
              </a:extLst>
            </p:cNvPr>
            <p:cNvSpPr/>
            <p:nvPr/>
          </p:nvSpPr>
          <p:spPr>
            <a:xfrm>
              <a:off x="882878" y="557212"/>
              <a:ext cx="273278" cy="674980"/>
            </a:xfrm>
            <a:custGeom>
              <a:avLst/>
              <a:gdLst>
                <a:gd name="connsiteX0" fmla="*/ 0 w 273278"/>
                <a:gd name="connsiteY0" fmla="*/ 0 h 674980"/>
                <a:gd name="connsiteX1" fmla="*/ 0 w 273278"/>
                <a:gd name="connsiteY1" fmla="*/ 476508 h 674980"/>
                <a:gd name="connsiteX2" fmla="*/ 272558 w 273278"/>
                <a:gd name="connsiteY2" fmla="*/ 674981 h 674980"/>
                <a:gd name="connsiteX3" fmla="*/ 273278 w 273278"/>
                <a:gd name="connsiteY3" fmla="*/ 674260 h 674980"/>
                <a:gd name="connsiteX4" fmla="*/ 0 w 273278"/>
                <a:gd name="connsiteY4" fmla="*/ 0 h 674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278" h="674980">
                  <a:moveTo>
                    <a:pt x="0" y="0"/>
                  </a:moveTo>
                  <a:lnTo>
                    <a:pt x="0" y="476508"/>
                  </a:lnTo>
                  <a:lnTo>
                    <a:pt x="272558" y="674981"/>
                  </a:lnTo>
                  <a:cubicBezTo>
                    <a:pt x="272558" y="674981"/>
                    <a:pt x="273134" y="674404"/>
                    <a:pt x="273278" y="67426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3D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0CDB77CD-C5E1-9227-DF1A-82C8E96E04A3}"/>
                </a:ext>
              </a:extLst>
            </p:cNvPr>
            <p:cNvSpPr/>
            <p:nvPr/>
          </p:nvSpPr>
          <p:spPr>
            <a:xfrm>
              <a:off x="609600" y="557212"/>
              <a:ext cx="273278" cy="674836"/>
            </a:xfrm>
            <a:custGeom>
              <a:avLst/>
              <a:gdLst>
                <a:gd name="connsiteX0" fmla="*/ 0 w 273278"/>
                <a:gd name="connsiteY0" fmla="*/ 674116 h 674836"/>
                <a:gd name="connsiteX1" fmla="*/ 721 w 273278"/>
                <a:gd name="connsiteY1" fmla="*/ 674837 h 674836"/>
                <a:gd name="connsiteX2" fmla="*/ 273278 w 273278"/>
                <a:gd name="connsiteY2" fmla="*/ 476364 h 674836"/>
                <a:gd name="connsiteX3" fmla="*/ 273278 w 273278"/>
                <a:gd name="connsiteY3" fmla="*/ 0 h 674836"/>
                <a:gd name="connsiteX4" fmla="*/ 0 w 273278"/>
                <a:gd name="connsiteY4" fmla="*/ 674116 h 674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278" h="674836">
                  <a:moveTo>
                    <a:pt x="0" y="674116"/>
                  </a:moveTo>
                  <a:cubicBezTo>
                    <a:pt x="0" y="674116"/>
                    <a:pt x="577" y="674692"/>
                    <a:pt x="721" y="674837"/>
                  </a:cubicBezTo>
                  <a:lnTo>
                    <a:pt x="273278" y="476364"/>
                  </a:lnTo>
                  <a:lnTo>
                    <a:pt x="273278" y="0"/>
                  </a:lnTo>
                  <a:lnTo>
                    <a:pt x="0" y="674116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8" name="Text Placeholder 16">
            <a:extLst>
              <a:ext uri="{FF2B5EF4-FFF2-40B4-BE49-F238E27FC236}">
                <a16:creationId xmlns:a16="http://schemas.microsoft.com/office/drawing/2014/main" id="{2CEC33A9-A637-6C33-525A-AF284749A9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1523079"/>
            <a:ext cx="1333500" cy="223908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400" b="1" cap="all" spc="3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DBEBFD3-3735-BFC8-D7E6-A618637D48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6090476"/>
            <a:ext cx="1834388" cy="210312"/>
          </a:xfrm>
          <a:prstGeom prst="rect">
            <a:avLst/>
          </a:prstGeom>
        </p:spPr>
      </p:pic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53B85769-FCCA-2D63-E7A5-C3FB3AF5264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645285" y="0"/>
            <a:ext cx="5546715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 b="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" name="Text Placeholder 33">
            <a:extLst>
              <a:ext uri="{FF2B5EF4-FFF2-40B4-BE49-F238E27FC236}">
                <a16:creationId xmlns:a16="http://schemas.microsoft.com/office/drawing/2014/main" id="{88AE528E-3459-3BE1-3110-B431E04FF8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4896099"/>
            <a:ext cx="5387082" cy="307777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b="1">
                <a:solidFill>
                  <a:schemeClr val="tx2"/>
                </a:solidFill>
                <a:latin typeface="+mj-lt"/>
              </a:defRPr>
            </a:lvl1pPr>
            <a:lvl2pPr marL="0" indent="0">
              <a:spcAft>
                <a:spcPts val="300"/>
              </a:spcAft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4" name="Text Placeholder 33">
            <a:extLst>
              <a:ext uri="{FF2B5EF4-FFF2-40B4-BE49-F238E27FC236}">
                <a16:creationId xmlns:a16="http://schemas.microsoft.com/office/drawing/2014/main" id="{2D8DD257-F285-9A19-2F10-3B81AA2D213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0348" y="5236388"/>
            <a:ext cx="5387082" cy="276999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</p:spTree>
    <p:extLst>
      <p:ext uri="{BB962C8B-B14F-4D97-AF65-F5344CB8AC3E}">
        <p14:creationId xmlns:p14="http://schemas.microsoft.com/office/powerpoint/2010/main" val="17012858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 -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92AFFFE6-9509-4010-7DBE-B101C66BE8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31095" y="476286"/>
            <a:ext cx="1799617" cy="4572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C115252C-FF39-2E61-6A45-48C699481F4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7579" t="20639" r="1500" b="7525"/>
          <a:stretch/>
        </p:blipFill>
        <p:spPr>
          <a:xfrm>
            <a:off x="0" y="0"/>
            <a:ext cx="5486401" cy="6857999"/>
          </a:xfrm>
          <a:prstGeom prst="rect">
            <a:avLst/>
          </a:prstGeom>
        </p:spPr>
      </p:pic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215BE539-8AC2-9053-6A0F-892165433E6C}"/>
              </a:ext>
            </a:extLst>
          </p:cNvPr>
          <p:cNvCxnSpPr>
            <a:cxnSpLocks/>
          </p:cNvCxnSpPr>
          <p:nvPr/>
        </p:nvCxnSpPr>
        <p:spPr>
          <a:xfrm>
            <a:off x="6022043" y="4317390"/>
            <a:ext cx="5549059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14">
            <a:extLst>
              <a:ext uri="{FF2B5EF4-FFF2-40B4-BE49-F238E27FC236}">
                <a16:creationId xmlns:a16="http://schemas.microsoft.com/office/drawing/2014/main" id="{DF9F4C41-B8FC-527A-5C20-40AFD1C4A1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22042" y="1485900"/>
            <a:ext cx="5549059" cy="2468881"/>
          </a:xfrm>
        </p:spPr>
        <p:txBody>
          <a:bodyPr wrap="square" anchor="b">
            <a:no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ation title extends up to 3 lines</a:t>
            </a:r>
          </a:p>
        </p:txBody>
      </p:sp>
      <p:sp>
        <p:nvSpPr>
          <p:cNvPr id="52" name="Text Placeholder 16">
            <a:extLst>
              <a:ext uri="{FF2B5EF4-FFF2-40B4-BE49-F238E27FC236}">
                <a16:creationId xmlns:a16="http://schemas.microsoft.com/office/drawing/2014/main" id="{9D48456B-E50F-89D0-9198-667795E8F5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22595" y="6266940"/>
            <a:ext cx="2468880" cy="223908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400" b="1" cap="all" spc="300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A7BBF87-F8B7-07C3-057A-BFF9022ABA3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748011" y="6275411"/>
            <a:ext cx="1834388" cy="210312"/>
          </a:xfrm>
          <a:prstGeom prst="rect">
            <a:avLst/>
          </a:prstGeom>
        </p:spPr>
      </p:pic>
      <p:sp>
        <p:nvSpPr>
          <p:cNvPr id="3" name="Text Placeholder 33">
            <a:extLst>
              <a:ext uri="{FF2B5EF4-FFF2-40B4-BE49-F238E27FC236}">
                <a16:creationId xmlns:a16="http://schemas.microsoft.com/office/drawing/2014/main" id="{013984AB-1E83-4B6D-17F1-4FBBA4C4222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12807" y="4726802"/>
            <a:ext cx="5387082" cy="307777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300"/>
              </a:spcAft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4" name="Text Placeholder 33">
            <a:extLst>
              <a:ext uri="{FF2B5EF4-FFF2-40B4-BE49-F238E27FC236}">
                <a16:creationId xmlns:a16="http://schemas.microsoft.com/office/drawing/2014/main" id="{42C6B7E9-FD29-3038-05E7-30F86A25E0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23555" y="5067091"/>
            <a:ext cx="5387082" cy="276999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</p:spTree>
    <p:extLst>
      <p:ext uri="{BB962C8B-B14F-4D97-AF65-F5344CB8AC3E}">
        <p14:creationId xmlns:p14="http://schemas.microsoft.com/office/powerpoint/2010/main" val="258382824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 - Ligh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D1804CB4-5557-9973-F2E2-067CE83E70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40148" y="424766"/>
            <a:ext cx="1783555" cy="453120"/>
          </a:xfrm>
          <a:prstGeom prst="rect">
            <a:avLst/>
          </a:prstGeom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270E44F-1E2D-F8B5-FD8F-60B5E3E8E9C9}"/>
              </a:ext>
            </a:extLst>
          </p:cNvPr>
          <p:cNvCxnSpPr>
            <a:cxnSpLocks/>
          </p:cNvCxnSpPr>
          <p:nvPr/>
        </p:nvCxnSpPr>
        <p:spPr>
          <a:xfrm>
            <a:off x="6022043" y="4317390"/>
            <a:ext cx="5549059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6AB97320-06D6-C577-0ABE-885AFB5AE2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22042" y="1485900"/>
            <a:ext cx="5549059" cy="2468881"/>
          </a:xfrm>
        </p:spPr>
        <p:txBody>
          <a:bodyPr wrap="square" anchor="b">
            <a:no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600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ation title extends up to 3 lines</a:t>
            </a:r>
          </a:p>
        </p:txBody>
      </p:sp>
      <p:sp>
        <p:nvSpPr>
          <p:cNvPr id="29" name="Text Placeholder 16">
            <a:extLst>
              <a:ext uri="{FF2B5EF4-FFF2-40B4-BE49-F238E27FC236}">
                <a16:creationId xmlns:a16="http://schemas.microsoft.com/office/drawing/2014/main" id="{71D30944-DF77-7E86-9FD0-8DBF26C43A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22595" y="6266940"/>
            <a:ext cx="2468880" cy="223908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400" b="1" cap="all" spc="3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8D2E7B1-6DAB-E708-9A1B-7D88594DA1F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48011" y="6275411"/>
            <a:ext cx="1834388" cy="210312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59960BED-8E9E-EA6F-5CAD-39178DD5B8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27579" t="20639" r="1500" b="7525"/>
          <a:stretch/>
        </p:blipFill>
        <p:spPr>
          <a:xfrm>
            <a:off x="0" y="0"/>
            <a:ext cx="5486401" cy="6857999"/>
          </a:xfrm>
          <a:prstGeom prst="rect">
            <a:avLst/>
          </a:prstGeom>
        </p:spPr>
      </p:pic>
      <p:sp>
        <p:nvSpPr>
          <p:cNvPr id="5" name="Text Placeholder 33">
            <a:extLst>
              <a:ext uri="{FF2B5EF4-FFF2-40B4-BE49-F238E27FC236}">
                <a16:creationId xmlns:a16="http://schemas.microsoft.com/office/drawing/2014/main" id="{FF7954BE-2255-0DBC-F7BC-EF11524493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22042" y="4717689"/>
            <a:ext cx="5387082" cy="307777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b="1">
                <a:solidFill>
                  <a:schemeClr val="tx2"/>
                </a:solidFill>
                <a:latin typeface="+mj-lt"/>
              </a:defRPr>
            </a:lvl1pPr>
            <a:lvl2pPr marL="0" indent="0">
              <a:spcAft>
                <a:spcPts val="300"/>
              </a:spcAft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6" name="Text Placeholder 33">
            <a:extLst>
              <a:ext uri="{FF2B5EF4-FFF2-40B4-BE49-F238E27FC236}">
                <a16:creationId xmlns:a16="http://schemas.microsoft.com/office/drawing/2014/main" id="{A395564A-B155-2EB1-E045-5B5D052E7E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32790" y="5057978"/>
            <a:ext cx="5387082" cy="276999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</p:spTree>
    <p:extLst>
      <p:ext uri="{BB962C8B-B14F-4D97-AF65-F5344CB8AC3E}">
        <p14:creationId xmlns:p14="http://schemas.microsoft.com/office/powerpoint/2010/main" val="28910175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 with horizontal image - Dark ">
    <p:bg>
      <p:bgPr>
        <a:solidFill>
          <a:schemeClr val="tx2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106BDF57-DECC-8B8C-6F4A-719D8D26FC2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" y="0"/>
            <a:ext cx="12192000" cy="2882899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 sz="1000" b="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C1A42ED-98C2-0925-4548-9A57C0E8C3BF}"/>
              </a:ext>
            </a:extLst>
          </p:cNvPr>
          <p:cNvSpPr/>
          <p:nvPr/>
        </p:nvSpPr>
        <p:spPr>
          <a:xfrm>
            <a:off x="0" y="2882900"/>
            <a:ext cx="12192000" cy="3975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8DC4B6A-4CBA-E0F1-E91D-A6319EE1FAC8}"/>
              </a:ext>
            </a:extLst>
          </p:cNvPr>
          <p:cNvCxnSpPr>
            <a:cxnSpLocks/>
          </p:cNvCxnSpPr>
          <p:nvPr/>
        </p:nvCxnSpPr>
        <p:spPr>
          <a:xfrm>
            <a:off x="609600" y="5325247"/>
            <a:ext cx="10972800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CB1E87D-CF80-16E1-E2DA-D366BCB64A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517900"/>
            <a:ext cx="8102600" cy="1505797"/>
          </a:xfrm>
        </p:spPr>
        <p:txBody>
          <a:bodyPr wrap="square" anchor="b">
            <a:no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ation title extends up to 2 line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2A9289B-23E0-657B-DF89-7F9B74F766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3520" y="3530600"/>
            <a:ext cx="2468880" cy="223908"/>
          </a:xfrm>
        </p:spPr>
        <p:txBody>
          <a:bodyPr wrap="square">
            <a:noAutofit/>
          </a:bodyPr>
          <a:lstStyle>
            <a:lvl1pPr algn="r">
              <a:spcAft>
                <a:spcPts val="0"/>
              </a:spcAft>
              <a:defRPr sz="1400" b="1" cap="all" spc="300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63BBE4A5-01FB-BD6C-513D-9B06278F44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48012" y="6090476"/>
            <a:ext cx="1834388" cy="210312"/>
          </a:xfrm>
          <a:prstGeom prst="rect">
            <a:avLst/>
          </a:prstGeom>
        </p:spPr>
      </p:pic>
      <p:sp>
        <p:nvSpPr>
          <p:cNvPr id="6" name="Text Placeholder 33">
            <a:extLst>
              <a:ext uri="{FF2B5EF4-FFF2-40B4-BE49-F238E27FC236}">
                <a16:creationId xmlns:a16="http://schemas.microsoft.com/office/drawing/2014/main" id="{475AB097-4F05-F770-F35D-E9419CED53A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0808" y="5617063"/>
            <a:ext cx="5387082" cy="307777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300"/>
              </a:spcAft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7" name="Text Placeholder 33">
            <a:extLst>
              <a:ext uri="{FF2B5EF4-FFF2-40B4-BE49-F238E27FC236}">
                <a16:creationId xmlns:a16="http://schemas.microsoft.com/office/drawing/2014/main" id="{521D3A68-E6AF-97E4-C9F7-23113EEF10B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556" y="5957352"/>
            <a:ext cx="5387082" cy="276999"/>
          </a:xfrm>
        </p:spPr>
        <p:txBody>
          <a:bodyPr wrap="square">
            <a:noAutofit/>
          </a:bodyPr>
          <a:lstStyle>
            <a:lvl1pPr marL="0" indent="0">
              <a:spcAft>
                <a:spcPts val="30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300"/>
              </a:spcAft>
              <a:buNone/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/Position</a:t>
            </a:r>
          </a:p>
        </p:txBody>
      </p:sp>
      <p:grpSp>
        <p:nvGrpSpPr>
          <p:cNvPr id="3" name="Graphic 3">
            <a:extLst>
              <a:ext uri="{FF2B5EF4-FFF2-40B4-BE49-F238E27FC236}">
                <a16:creationId xmlns:a16="http://schemas.microsoft.com/office/drawing/2014/main" id="{E5FB8962-920A-B245-9219-020C4F3680D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09600" y="557212"/>
            <a:ext cx="1734668" cy="438912"/>
            <a:chOff x="609600" y="557212"/>
            <a:chExt cx="2667656" cy="674980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2B4BBB7B-4AD7-5D5E-FE88-2CB32AA35640}"/>
                </a:ext>
              </a:extLst>
            </p:cNvPr>
            <p:cNvSpPr/>
            <p:nvPr/>
          </p:nvSpPr>
          <p:spPr>
            <a:xfrm>
              <a:off x="1180659" y="790421"/>
              <a:ext cx="2096597" cy="283512"/>
            </a:xfrm>
            <a:custGeom>
              <a:avLst/>
              <a:gdLst>
                <a:gd name="connsiteX0" fmla="*/ 129433 w 2096597"/>
                <a:gd name="connsiteY0" fmla="*/ 283512 h 283512"/>
                <a:gd name="connsiteX1" fmla="*/ 76968 w 2096597"/>
                <a:gd name="connsiteY1" fmla="*/ 273567 h 283512"/>
                <a:gd name="connsiteX2" fmla="*/ 36610 w 2096597"/>
                <a:gd name="connsiteY2" fmla="*/ 245461 h 283512"/>
                <a:gd name="connsiteX3" fmla="*/ 9369 w 2096597"/>
                <a:gd name="connsiteY3" fmla="*/ 199770 h 283512"/>
                <a:gd name="connsiteX4" fmla="*/ 0 w 2096597"/>
                <a:gd name="connsiteY4" fmla="*/ 142260 h 283512"/>
                <a:gd name="connsiteX5" fmla="*/ 10522 w 2096597"/>
                <a:gd name="connsiteY5" fmla="*/ 82733 h 283512"/>
                <a:gd name="connsiteX6" fmla="*/ 40358 w 2096597"/>
                <a:gd name="connsiteY6" fmla="*/ 36178 h 283512"/>
                <a:gd name="connsiteX7" fmla="*/ 80715 w 2096597"/>
                <a:gd name="connsiteY7" fmla="*/ 9513 h 283512"/>
                <a:gd name="connsiteX8" fmla="*/ 133612 w 2096597"/>
                <a:gd name="connsiteY8" fmla="*/ 0 h 283512"/>
                <a:gd name="connsiteX9" fmla="*/ 180744 w 2096597"/>
                <a:gd name="connsiteY9" fmla="*/ 6630 h 283512"/>
                <a:gd name="connsiteX10" fmla="*/ 216922 w 2096597"/>
                <a:gd name="connsiteY10" fmla="*/ 25656 h 283512"/>
                <a:gd name="connsiteX11" fmla="*/ 241425 w 2096597"/>
                <a:gd name="connsiteY11" fmla="*/ 55492 h 283512"/>
                <a:gd name="connsiteX12" fmla="*/ 254109 w 2096597"/>
                <a:gd name="connsiteY12" fmla="*/ 94264 h 283512"/>
                <a:gd name="connsiteX13" fmla="*/ 188672 w 2096597"/>
                <a:gd name="connsiteY13" fmla="*/ 94264 h 283512"/>
                <a:gd name="connsiteX14" fmla="*/ 171520 w 2096597"/>
                <a:gd name="connsiteY14" fmla="*/ 66446 h 283512"/>
                <a:gd name="connsiteX15" fmla="*/ 135774 w 2096597"/>
                <a:gd name="connsiteY15" fmla="*/ 55348 h 283512"/>
                <a:gd name="connsiteX16" fmla="*/ 106227 w 2096597"/>
                <a:gd name="connsiteY16" fmla="*/ 61978 h 283512"/>
                <a:gd name="connsiteX17" fmla="*/ 85039 w 2096597"/>
                <a:gd name="connsiteY17" fmla="*/ 80283 h 283512"/>
                <a:gd name="connsiteX18" fmla="*/ 72500 w 2096597"/>
                <a:gd name="connsiteY18" fmla="*/ 107668 h 283512"/>
                <a:gd name="connsiteX19" fmla="*/ 68320 w 2096597"/>
                <a:gd name="connsiteY19" fmla="*/ 142116 h 283512"/>
                <a:gd name="connsiteX20" fmla="*/ 73076 w 2096597"/>
                <a:gd name="connsiteY20" fmla="*/ 176709 h 283512"/>
                <a:gd name="connsiteX21" fmla="*/ 86625 w 2096597"/>
                <a:gd name="connsiteY21" fmla="*/ 204238 h 283512"/>
                <a:gd name="connsiteX22" fmla="*/ 108101 w 2096597"/>
                <a:gd name="connsiteY22" fmla="*/ 222255 h 283512"/>
                <a:gd name="connsiteX23" fmla="*/ 136783 w 2096597"/>
                <a:gd name="connsiteY23" fmla="*/ 228741 h 283512"/>
                <a:gd name="connsiteX24" fmla="*/ 160566 w 2096597"/>
                <a:gd name="connsiteY24" fmla="*/ 224705 h 283512"/>
                <a:gd name="connsiteX25" fmla="*/ 178438 w 2096597"/>
                <a:gd name="connsiteY25" fmla="*/ 214039 h 283512"/>
                <a:gd name="connsiteX26" fmla="*/ 190257 w 2096597"/>
                <a:gd name="connsiteY26" fmla="*/ 198761 h 283512"/>
                <a:gd name="connsiteX27" fmla="*/ 195734 w 2096597"/>
                <a:gd name="connsiteY27" fmla="*/ 181033 h 283512"/>
                <a:gd name="connsiteX28" fmla="*/ 195734 w 2096597"/>
                <a:gd name="connsiteY28" fmla="*/ 180312 h 283512"/>
                <a:gd name="connsiteX29" fmla="*/ 144711 w 2096597"/>
                <a:gd name="connsiteY29" fmla="*/ 180312 h 283512"/>
                <a:gd name="connsiteX30" fmla="*/ 144711 w 2096597"/>
                <a:gd name="connsiteY30" fmla="*/ 130874 h 283512"/>
                <a:gd name="connsiteX31" fmla="*/ 258144 w 2096597"/>
                <a:gd name="connsiteY31" fmla="*/ 130874 h 283512"/>
                <a:gd name="connsiteX32" fmla="*/ 258144 w 2096597"/>
                <a:gd name="connsiteY32" fmla="*/ 277026 h 283512"/>
                <a:gd name="connsiteX33" fmla="*/ 211013 w 2096597"/>
                <a:gd name="connsiteY33" fmla="*/ 277026 h 283512"/>
                <a:gd name="connsiteX34" fmla="*/ 207265 w 2096597"/>
                <a:gd name="connsiteY34" fmla="*/ 244308 h 283512"/>
                <a:gd name="connsiteX35" fmla="*/ 206544 w 2096597"/>
                <a:gd name="connsiteY35" fmla="*/ 244308 h 283512"/>
                <a:gd name="connsiteX36" fmla="*/ 173682 w 2096597"/>
                <a:gd name="connsiteY36" fmla="*/ 274143 h 283512"/>
                <a:gd name="connsiteX37" fmla="*/ 129288 w 2096597"/>
                <a:gd name="connsiteY37" fmla="*/ 283080 h 283512"/>
                <a:gd name="connsiteX38" fmla="*/ 358029 w 2096597"/>
                <a:gd name="connsiteY38" fmla="*/ 282647 h 283512"/>
                <a:gd name="connsiteX39" fmla="*/ 306862 w 2096597"/>
                <a:gd name="connsiteY39" fmla="*/ 262613 h 283512"/>
                <a:gd name="connsiteX40" fmla="*/ 289566 w 2096597"/>
                <a:gd name="connsiteY40" fmla="*/ 209859 h 283512"/>
                <a:gd name="connsiteX41" fmla="*/ 289566 w 2096597"/>
                <a:gd name="connsiteY41" fmla="*/ 82012 h 283512"/>
                <a:gd name="connsiteX42" fmla="*/ 351255 w 2096597"/>
                <a:gd name="connsiteY42" fmla="*/ 82012 h 283512"/>
                <a:gd name="connsiteX43" fmla="*/ 351255 w 2096597"/>
                <a:gd name="connsiteY43" fmla="*/ 197032 h 283512"/>
                <a:gd name="connsiteX44" fmla="*/ 358462 w 2096597"/>
                <a:gd name="connsiteY44" fmla="*/ 221534 h 283512"/>
                <a:gd name="connsiteX45" fmla="*/ 380514 w 2096597"/>
                <a:gd name="connsiteY45" fmla="*/ 230038 h 283512"/>
                <a:gd name="connsiteX46" fmla="*/ 405594 w 2096597"/>
                <a:gd name="connsiteY46" fmla="*/ 219228 h 283512"/>
                <a:gd name="connsiteX47" fmla="*/ 414674 w 2096597"/>
                <a:gd name="connsiteY47" fmla="*/ 190834 h 283512"/>
                <a:gd name="connsiteX48" fmla="*/ 414674 w 2096597"/>
                <a:gd name="connsiteY48" fmla="*/ 82012 h 283512"/>
                <a:gd name="connsiteX49" fmla="*/ 476652 w 2096597"/>
                <a:gd name="connsiteY49" fmla="*/ 82012 h 283512"/>
                <a:gd name="connsiteX50" fmla="*/ 476652 w 2096597"/>
                <a:gd name="connsiteY50" fmla="*/ 276882 h 283512"/>
                <a:gd name="connsiteX51" fmla="*/ 417269 w 2096597"/>
                <a:gd name="connsiteY51" fmla="*/ 276882 h 283512"/>
                <a:gd name="connsiteX52" fmla="*/ 417269 w 2096597"/>
                <a:gd name="connsiteY52" fmla="*/ 252956 h 283512"/>
                <a:gd name="connsiteX53" fmla="*/ 416116 w 2096597"/>
                <a:gd name="connsiteY53" fmla="*/ 252956 h 283512"/>
                <a:gd name="connsiteX54" fmla="*/ 391901 w 2096597"/>
                <a:gd name="connsiteY54" fmla="*/ 275008 h 283512"/>
                <a:gd name="connsiteX55" fmla="*/ 357885 w 2096597"/>
                <a:gd name="connsiteY55" fmla="*/ 282647 h 283512"/>
                <a:gd name="connsiteX56" fmla="*/ 511965 w 2096597"/>
                <a:gd name="connsiteY56" fmla="*/ 2162 h 283512"/>
                <a:gd name="connsiteX57" fmla="*/ 573943 w 2096597"/>
                <a:gd name="connsiteY57" fmla="*/ 2162 h 283512"/>
                <a:gd name="connsiteX58" fmla="*/ 573943 w 2096597"/>
                <a:gd name="connsiteY58" fmla="*/ 55059 h 283512"/>
                <a:gd name="connsiteX59" fmla="*/ 511965 w 2096597"/>
                <a:gd name="connsiteY59" fmla="*/ 55059 h 283512"/>
                <a:gd name="connsiteX60" fmla="*/ 511965 w 2096597"/>
                <a:gd name="connsiteY60" fmla="*/ 2162 h 283512"/>
                <a:gd name="connsiteX61" fmla="*/ 511965 w 2096597"/>
                <a:gd name="connsiteY61" fmla="*/ 82012 h 283512"/>
                <a:gd name="connsiteX62" fmla="*/ 573943 w 2096597"/>
                <a:gd name="connsiteY62" fmla="*/ 82012 h 283512"/>
                <a:gd name="connsiteX63" fmla="*/ 573943 w 2096597"/>
                <a:gd name="connsiteY63" fmla="*/ 276882 h 283512"/>
                <a:gd name="connsiteX64" fmla="*/ 511965 w 2096597"/>
                <a:gd name="connsiteY64" fmla="*/ 276882 h 283512"/>
                <a:gd name="connsiteX65" fmla="*/ 511965 w 2096597"/>
                <a:gd name="connsiteY65" fmla="*/ 82012 h 283512"/>
                <a:gd name="connsiteX66" fmla="*/ 685935 w 2096597"/>
                <a:gd name="connsiteY66" fmla="*/ 282936 h 283512"/>
                <a:gd name="connsiteX67" fmla="*/ 651631 w 2096597"/>
                <a:gd name="connsiteY67" fmla="*/ 275873 h 283512"/>
                <a:gd name="connsiteX68" fmla="*/ 624678 w 2096597"/>
                <a:gd name="connsiteY68" fmla="*/ 255550 h 283512"/>
                <a:gd name="connsiteX69" fmla="*/ 606949 w 2096597"/>
                <a:gd name="connsiteY69" fmla="*/ 222976 h 283512"/>
                <a:gd name="connsiteX70" fmla="*/ 600607 w 2096597"/>
                <a:gd name="connsiteY70" fmla="*/ 179447 h 283512"/>
                <a:gd name="connsiteX71" fmla="*/ 606949 w 2096597"/>
                <a:gd name="connsiteY71" fmla="*/ 137504 h 283512"/>
                <a:gd name="connsiteX72" fmla="*/ 624390 w 2096597"/>
                <a:gd name="connsiteY72" fmla="*/ 104930 h 283512"/>
                <a:gd name="connsiteX73" fmla="*/ 651199 w 2096597"/>
                <a:gd name="connsiteY73" fmla="*/ 83742 h 283512"/>
                <a:gd name="connsiteX74" fmla="*/ 685791 w 2096597"/>
                <a:gd name="connsiteY74" fmla="*/ 76103 h 283512"/>
                <a:gd name="connsiteX75" fmla="*/ 718942 w 2096597"/>
                <a:gd name="connsiteY75" fmla="*/ 83886 h 283512"/>
                <a:gd name="connsiteX76" fmla="*/ 740273 w 2096597"/>
                <a:gd name="connsiteY76" fmla="*/ 103921 h 283512"/>
                <a:gd name="connsiteX77" fmla="*/ 741426 w 2096597"/>
                <a:gd name="connsiteY77" fmla="*/ 103921 h 283512"/>
                <a:gd name="connsiteX78" fmla="*/ 741426 w 2096597"/>
                <a:gd name="connsiteY78" fmla="*/ 1874 h 283512"/>
                <a:gd name="connsiteX79" fmla="*/ 803404 w 2096597"/>
                <a:gd name="connsiteY79" fmla="*/ 1874 h 283512"/>
                <a:gd name="connsiteX80" fmla="*/ 803404 w 2096597"/>
                <a:gd name="connsiteY80" fmla="*/ 276738 h 283512"/>
                <a:gd name="connsiteX81" fmla="*/ 744021 w 2096597"/>
                <a:gd name="connsiteY81" fmla="*/ 276738 h 283512"/>
                <a:gd name="connsiteX82" fmla="*/ 744021 w 2096597"/>
                <a:gd name="connsiteY82" fmla="*/ 250505 h 283512"/>
                <a:gd name="connsiteX83" fmla="*/ 743300 w 2096597"/>
                <a:gd name="connsiteY83" fmla="*/ 250505 h 283512"/>
                <a:gd name="connsiteX84" fmla="*/ 719951 w 2096597"/>
                <a:gd name="connsiteY84" fmla="*/ 274287 h 283512"/>
                <a:gd name="connsiteX85" fmla="*/ 685935 w 2096597"/>
                <a:gd name="connsiteY85" fmla="*/ 282791 h 283512"/>
                <a:gd name="connsiteX86" fmla="*/ 701934 w 2096597"/>
                <a:gd name="connsiteY86" fmla="*/ 233642 h 283512"/>
                <a:gd name="connsiteX87" fmla="*/ 732202 w 2096597"/>
                <a:gd name="connsiteY87" fmla="*/ 218363 h 283512"/>
                <a:gd name="connsiteX88" fmla="*/ 743012 w 2096597"/>
                <a:gd name="connsiteY88" fmla="*/ 179159 h 283512"/>
                <a:gd name="connsiteX89" fmla="*/ 740562 w 2096597"/>
                <a:gd name="connsiteY89" fmla="*/ 156530 h 283512"/>
                <a:gd name="connsiteX90" fmla="*/ 732923 w 2096597"/>
                <a:gd name="connsiteY90" fmla="*/ 138657 h 283512"/>
                <a:gd name="connsiteX91" fmla="*/ 720383 w 2096597"/>
                <a:gd name="connsiteY91" fmla="*/ 126982 h 283512"/>
                <a:gd name="connsiteX92" fmla="*/ 702654 w 2096597"/>
                <a:gd name="connsiteY92" fmla="*/ 122802 h 283512"/>
                <a:gd name="connsiteX93" fmla="*/ 673683 w 2096597"/>
                <a:gd name="connsiteY93" fmla="*/ 138225 h 283512"/>
                <a:gd name="connsiteX94" fmla="*/ 663450 w 2096597"/>
                <a:gd name="connsiteY94" fmla="*/ 178438 h 283512"/>
                <a:gd name="connsiteX95" fmla="*/ 673539 w 2096597"/>
                <a:gd name="connsiteY95" fmla="*/ 218796 h 283512"/>
                <a:gd name="connsiteX96" fmla="*/ 701934 w 2096597"/>
                <a:gd name="connsiteY96" fmla="*/ 233642 h 283512"/>
                <a:gd name="connsiteX97" fmla="*/ 930242 w 2096597"/>
                <a:gd name="connsiteY97" fmla="*/ 282359 h 283512"/>
                <a:gd name="connsiteX98" fmla="*/ 886858 w 2096597"/>
                <a:gd name="connsiteY98" fmla="*/ 274576 h 283512"/>
                <a:gd name="connsiteX99" fmla="*/ 854139 w 2096597"/>
                <a:gd name="connsiteY99" fmla="*/ 252811 h 283512"/>
                <a:gd name="connsiteX100" fmla="*/ 833528 w 2096597"/>
                <a:gd name="connsiteY100" fmla="*/ 219949 h 283512"/>
                <a:gd name="connsiteX101" fmla="*/ 826322 w 2096597"/>
                <a:gd name="connsiteY101" fmla="*/ 178871 h 283512"/>
                <a:gd name="connsiteX102" fmla="*/ 833528 w 2096597"/>
                <a:gd name="connsiteY102" fmla="*/ 138369 h 283512"/>
                <a:gd name="connsiteX103" fmla="*/ 854139 w 2096597"/>
                <a:gd name="connsiteY103" fmla="*/ 105650 h 283512"/>
                <a:gd name="connsiteX104" fmla="*/ 885705 w 2096597"/>
                <a:gd name="connsiteY104" fmla="*/ 84030 h 283512"/>
                <a:gd name="connsiteX105" fmla="*/ 926495 w 2096597"/>
                <a:gd name="connsiteY105" fmla="*/ 76247 h 283512"/>
                <a:gd name="connsiteX106" fmla="*/ 963970 w 2096597"/>
                <a:gd name="connsiteY106" fmla="*/ 82733 h 283512"/>
                <a:gd name="connsiteX107" fmla="*/ 993085 w 2096597"/>
                <a:gd name="connsiteY107" fmla="*/ 100606 h 283512"/>
                <a:gd name="connsiteX108" fmla="*/ 1019173 w 2096597"/>
                <a:gd name="connsiteY108" fmla="*/ 141107 h 283512"/>
                <a:gd name="connsiteX109" fmla="*/ 1027389 w 2096597"/>
                <a:gd name="connsiteY109" fmla="*/ 195302 h 283512"/>
                <a:gd name="connsiteX110" fmla="*/ 887290 w 2096597"/>
                <a:gd name="connsiteY110" fmla="*/ 195302 h 283512"/>
                <a:gd name="connsiteX111" fmla="*/ 900983 w 2096597"/>
                <a:gd name="connsiteY111" fmla="*/ 226579 h 283512"/>
                <a:gd name="connsiteX112" fmla="*/ 931107 w 2096597"/>
                <a:gd name="connsiteY112" fmla="*/ 237966 h 283512"/>
                <a:gd name="connsiteX113" fmla="*/ 951286 w 2096597"/>
                <a:gd name="connsiteY113" fmla="*/ 232777 h 283512"/>
                <a:gd name="connsiteX114" fmla="*/ 963393 w 2096597"/>
                <a:gd name="connsiteY114" fmla="*/ 218508 h 283512"/>
                <a:gd name="connsiteX115" fmla="*/ 1023930 w 2096597"/>
                <a:gd name="connsiteY115" fmla="*/ 218508 h 283512"/>
                <a:gd name="connsiteX116" fmla="*/ 1012543 w 2096597"/>
                <a:gd name="connsiteY116" fmla="*/ 243875 h 283512"/>
                <a:gd name="connsiteX117" fmla="*/ 991211 w 2096597"/>
                <a:gd name="connsiteY117" fmla="*/ 264630 h 283512"/>
                <a:gd name="connsiteX118" fmla="*/ 963970 w 2096597"/>
                <a:gd name="connsiteY118" fmla="*/ 277891 h 283512"/>
                <a:gd name="connsiteX119" fmla="*/ 930242 w 2096597"/>
                <a:gd name="connsiteY119" fmla="*/ 282503 h 283512"/>
                <a:gd name="connsiteX120" fmla="*/ 964546 w 2096597"/>
                <a:gd name="connsiteY120" fmla="*/ 158404 h 283512"/>
                <a:gd name="connsiteX121" fmla="*/ 952727 w 2096597"/>
                <a:gd name="connsiteY121" fmla="*/ 130586 h 283512"/>
                <a:gd name="connsiteX122" fmla="*/ 927648 w 2096597"/>
                <a:gd name="connsiteY122" fmla="*/ 120352 h 283512"/>
                <a:gd name="connsiteX123" fmla="*/ 900262 w 2096597"/>
                <a:gd name="connsiteY123" fmla="*/ 130586 h 283512"/>
                <a:gd name="connsiteX124" fmla="*/ 887723 w 2096597"/>
                <a:gd name="connsiteY124" fmla="*/ 158404 h 283512"/>
                <a:gd name="connsiteX125" fmla="*/ 964546 w 2096597"/>
                <a:gd name="connsiteY125" fmla="*/ 158404 h 283512"/>
                <a:gd name="connsiteX126" fmla="*/ 1050162 w 2096597"/>
                <a:gd name="connsiteY126" fmla="*/ 2018 h 283512"/>
                <a:gd name="connsiteX127" fmla="*/ 1112140 w 2096597"/>
                <a:gd name="connsiteY127" fmla="*/ 2018 h 283512"/>
                <a:gd name="connsiteX128" fmla="*/ 1112140 w 2096597"/>
                <a:gd name="connsiteY128" fmla="*/ 105939 h 283512"/>
                <a:gd name="connsiteX129" fmla="*/ 1113293 w 2096597"/>
                <a:gd name="connsiteY129" fmla="*/ 105939 h 283512"/>
                <a:gd name="connsiteX130" fmla="*/ 1137219 w 2096597"/>
                <a:gd name="connsiteY130" fmla="*/ 84030 h 283512"/>
                <a:gd name="connsiteX131" fmla="*/ 1171091 w 2096597"/>
                <a:gd name="connsiteY131" fmla="*/ 76247 h 283512"/>
                <a:gd name="connsiteX132" fmla="*/ 1199629 w 2096597"/>
                <a:gd name="connsiteY132" fmla="*/ 81724 h 283512"/>
                <a:gd name="connsiteX133" fmla="*/ 1220961 w 2096597"/>
                <a:gd name="connsiteY133" fmla="*/ 97002 h 283512"/>
                <a:gd name="connsiteX134" fmla="*/ 1234366 w 2096597"/>
                <a:gd name="connsiteY134" fmla="*/ 120208 h 283512"/>
                <a:gd name="connsiteX135" fmla="*/ 1238978 w 2096597"/>
                <a:gd name="connsiteY135" fmla="*/ 150044 h 283512"/>
                <a:gd name="connsiteX136" fmla="*/ 1238978 w 2096597"/>
                <a:gd name="connsiteY136" fmla="*/ 276738 h 283512"/>
                <a:gd name="connsiteX137" fmla="*/ 1177000 w 2096597"/>
                <a:gd name="connsiteY137" fmla="*/ 276738 h 283512"/>
                <a:gd name="connsiteX138" fmla="*/ 1177000 w 2096597"/>
                <a:gd name="connsiteY138" fmla="*/ 162583 h 283512"/>
                <a:gd name="connsiteX139" fmla="*/ 1169361 w 2096597"/>
                <a:gd name="connsiteY139" fmla="*/ 137504 h 283512"/>
                <a:gd name="connsiteX140" fmla="*/ 1146588 w 2096597"/>
                <a:gd name="connsiteY140" fmla="*/ 127991 h 283512"/>
                <a:gd name="connsiteX141" fmla="*/ 1121653 w 2096597"/>
                <a:gd name="connsiteY141" fmla="*/ 139378 h 283512"/>
                <a:gd name="connsiteX142" fmla="*/ 1112284 w 2096597"/>
                <a:gd name="connsiteY142" fmla="*/ 169069 h 283512"/>
                <a:gd name="connsiteX143" fmla="*/ 1112284 w 2096597"/>
                <a:gd name="connsiteY143" fmla="*/ 276738 h 283512"/>
                <a:gd name="connsiteX144" fmla="*/ 1050306 w 2096597"/>
                <a:gd name="connsiteY144" fmla="*/ 276738 h 283512"/>
                <a:gd name="connsiteX145" fmla="*/ 1050306 w 2096597"/>
                <a:gd name="connsiteY145" fmla="*/ 1874 h 283512"/>
                <a:gd name="connsiteX146" fmla="*/ 1362645 w 2096597"/>
                <a:gd name="connsiteY146" fmla="*/ 282936 h 283512"/>
                <a:gd name="connsiteX147" fmla="*/ 1319837 w 2096597"/>
                <a:gd name="connsiteY147" fmla="*/ 275152 h 283512"/>
                <a:gd name="connsiteX148" fmla="*/ 1286830 w 2096597"/>
                <a:gd name="connsiteY148" fmla="*/ 253388 h 283512"/>
                <a:gd name="connsiteX149" fmla="*/ 1265787 w 2096597"/>
                <a:gd name="connsiteY149" fmla="*/ 220670 h 283512"/>
                <a:gd name="connsiteX150" fmla="*/ 1258292 w 2096597"/>
                <a:gd name="connsiteY150" fmla="*/ 179735 h 283512"/>
                <a:gd name="connsiteX151" fmla="*/ 1265787 w 2096597"/>
                <a:gd name="connsiteY151" fmla="*/ 138801 h 283512"/>
                <a:gd name="connsiteX152" fmla="*/ 1286830 w 2096597"/>
                <a:gd name="connsiteY152" fmla="*/ 106083 h 283512"/>
                <a:gd name="connsiteX153" fmla="*/ 1319837 w 2096597"/>
                <a:gd name="connsiteY153" fmla="*/ 84463 h 283512"/>
                <a:gd name="connsiteX154" fmla="*/ 1362645 w 2096597"/>
                <a:gd name="connsiteY154" fmla="*/ 76679 h 283512"/>
                <a:gd name="connsiteX155" fmla="*/ 1405453 w 2096597"/>
                <a:gd name="connsiteY155" fmla="*/ 84463 h 283512"/>
                <a:gd name="connsiteX156" fmla="*/ 1438171 w 2096597"/>
                <a:gd name="connsiteY156" fmla="*/ 106083 h 283512"/>
                <a:gd name="connsiteX157" fmla="*/ 1459071 w 2096597"/>
                <a:gd name="connsiteY157" fmla="*/ 138801 h 283512"/>
                <a:gd name="connsiteX158" fmla="*/ 1466422 w 2096597"/>
                <a:gd name="connsiteY158" fmla="*/ 179735 h 283512"/>
                <a:gd name="connsiteX159" fmla="*/ 1459071 w 2096597"/>
                <a:gd name="connsiteY159" fmla="*/ 220670 h 283512"/>
                <a:gd name="connsiteX160" fmla="*/ 1438171 w 2096597"/>
                <a:gd name="connsiteY160" fmla="*/ 253388 h 283512"/>
                <a:gd name="connsiteX161" fmla="*/ 1405453 w 2096597"/>
                <a:gd name="connsiteY161" fmla="*/ 275152 h 283512"/>
                <a:gd name="connsiteX162" fmla="*/ 1362645 w 2096597"/>
                <a:gd name="connsiteY162" fmla="*/ 282936 h 283512"/>
                <a:gd name="connsiteX163" fmla="*/ 1362213 w 2096597"/>
                <a:gd name="connsiteY163" fmla="*/ 238830 h 283512"/>
                <a:gd name="connsiteX164" fmla="*/ 1393201 w 2096597"/>
                <a:gd name="connsiteY164" fmla="*/ 222687 h 283512"/>
                <a:gd name="connsiteX165" fmla="*/ 1403723 w 2096597"/>
                <a:gd name="connsiteY165" fmla="*/ 179880 h 283512"/>
                <a:gd name="connsiteX166" fmla="*/ 1393201 w 2096597"/>
                <a:gd name="connsiteY166" fmla="*/ 136928 h 283512"/>
                <a:gd name="connsiteX167" fmla="*/ 1362213 w 2096597"/>
                <a:gd name="connsiteY167" fmla="*/ 120496 h 283512"/>
                <a:gd name="connsiteX168" fmla="*/ 1331368 w 2096597"/>
                <a:gd name="connsiteY168" fmla="*/ 136928 h 283512"/>
                <a:gd name="connsiteX169" fmla="*/ 1321134 w 2096597"/>
                <a:gd name="connsiteY169" fmla="*/ 179880 h 283512"/>
                <a:gd name="connsiteX170" fmla="*/ 1331368 w 2096597"/>
                <a:gd name="connsiteY170" fmla="*/ 222687 h 283512"/>
                <a:gd name="connsiteX171" fmla="*/ 1362213 w 2096597"/>
                <a:gd name="connsiteY171" fmla="*/ 238830 h 283512"/>
                <a:gd name="connsiteX172" fmla="*/ 1554488 w 2096597"/>
                <a:gd name="connsiteY172" fmla="*/ 282647 h 283512"/>
                <a:gd name="connsiteX173" fmla="*/ 1503320 w 2096597"/>
                <a:gd name="connsiteY173" fmla="*/ 262613 h 283512"/>
                <a:gd name="connsiteX174" fmla="*/ 1486024 w 2096597"/>
                <a:gd name="connsiteY174" fmla="*/ 209859 h 283512"/>
                <a:gd name="connsiteX175" fmla="*/ 1486024 w 2096597"/>
                <a:gd name="connsiteY175" fmla="*/ 82012 h 283512"/>
                <a:gd name="connsiteX176" fmla="*/ 1547713 w 2096597"/>
                <a:gd name="connsiteY176" fmla="*/ 82012 h 283512"/>
                <a:gd name="connsiteX177" fmla="*/ 1547713 w 2096597"/>
                <a:gd name="connsiteY177" fmla="*/ 197032 h 283512"/>
                <a:gd name="connsiteX178" fmla="*/ 1554920 w 2096597"/>
                <a:gd name="connsiteY178" fmla="*/ 221534 h 283512"/>
                <a:gd name="connsiteX179" fmla="*/ 1576973 w 2096597"/>
                <a:gd name="connsiteY179" fmla="*/ 230038 h 283512"/>
                <a:gd name="connsiteX180" fmla="*/ 1602052 w 2096597"/>
                <a:gd name="connsiteY180" fmla="*/ 219228 h 283512"/>
                <a:gd name="connsiteX181" fmla="*/ 1611132 w 2096597"/>
                <a:gd name="connsiteY181" fmla="*/ 190834 h 283512"/>
                <a:gd name="connsiteX182" fmla="*/ 1611132 w 2096597"/>
                <a:gd name="connsiteY182" fmla="*/ 82012 h 283512"/>
                <a:gd name="connsiteX183" fmla="*/ 1673110 w 2096597"/>
                <a:gd name="connsiteY183" fmla="*/ 82012 h 283512"/>
                <a:gd name="connsiteX184" fmla="*/ 1673110 w 2096597"/>
                <a:gd name="connsiteY184" fmla="*/ 276882 h 283512"/>
                <a:gd name="connsiteX185" fmla="*/ 1613727 w 2096597"/>
                <a:gd name="connsiteY185" fmla="*/ 276882 h 283512"/>
                <a:gd name="connsiteX186" fmla="*/ 1613727 w 2096597"/>
                <a:gd name="connsiteY186" fmla="*/ 252956 h 283512"/>
                <a:gd name="connsiteX187" fmla="*/ 1612574 w 2096597"/>
                <a:gd name="connsiteY187" fmla="*/ 252956 h 283512"/>
                <a:gd name="connsiteX188" fmla="*/ 1588359 w 2096597"/>
                <a:gd name="connsiteY188" fmla="*/ 275008 h 283512"/>
                <a:gd name="connsiteX189" fmla="*/ 1554344 w 2096597"/>
                <a:gd name="connsiteY189" fmla="*/ 282647 h 283512"/>
                <a:gd name="connsiteX190" fmla="*/ 1789571 w 2096597"/>
                <a:gd name="connsiteY190" fmla="*/ 283080 h 283512"/>
                <a:gd name="connsiteX191" fmla="*/ 1721395 w 2096597"/>
                <a:gd name="connsiteY191" fmla="*/ 264630 h 283512"/>
                <a:gd name="connsiteX192" fmla="*/ 1694730 w 2096597"/>
                <a:gd name="connsiteY192" fmla="*/ 213751 h 283512"/>
                <a:gd name="connsiteX193" fmla="*/ 1753393 w 2096597"/>
                <a:gd name="connsiteY193" fmla="*/ 213751 h 283512"/>
                <a:gd name="connsiteX194" fmla="*/ 1764491 w 2096597"/>
                <a:gd name="connsiteY194" fmla="*/ 235515 h 283512"/>
                <a:gd name="connsiteX195" fmla="*/ 1789282 w 2096597"/>
                <a:gd name="connsiteY195" fmla="*/ 242722 h 283512"/>
                <a:gd name="connsiteX196" fmla="*/ 1811479 w 2096597"/>
                <a:gd name="connsiteY196" fmla="*/ 237821 h 283512"/>
                <a:gd name="connsiteX197" fmla="*/ 1819695 w 2096597"/>
                <a:gd name="connsiteY197" fmla="*/ 223408 h 283512"/>
                <a:gd name="connsiteX198" fmla="*/ 1815515 w 2096597"/>
                <a:gd name="connsiteY198" fmla="*/ 212886 h 283512"/>
                <a:gd name="connsiteX199" fmla="*/ 1804416 w 2096597"/>
                <a:gd name="connsiteY199" fmla="*/ 206400 h 283512"/>
                <a:gd name="connsiteX200" fmla="*/ 1788562 w 2096597"/>
                <a:gd name="connsiteY200" fmla="*/ 202653 h 283512"/>
                <a:gd name="connsiteX201" fmla="*/ 1770112 w 2096597"/>
                <a:gd name="connsiteY201" fmla="*/ 199482 h 283512"/>
                <a:gd name="connsiteX202" fmla="*/ 1745033 w 2096597"/>
                <a:gd name="connsiteY202" fmla="*/ 194005 h 283512"/>
                <a:gd name="connsiteX203" fmla="*/ 1722404 w 2096597"/>
                <a:gd name="connsiteY203" fmla="*/ 184348 h 283512"/>
                <a:gd name="connsiteX204" fmla="*/ 1706261 w 2096597"/>
                <a:gd name="connsiteY204" fmla="*/ 167052 h 283512"/>
                <a:gd name="connsiteX205" fmla="*/ 1700207 w 2096597"/>
                <a:gd name="connsiteY205" fmla="*/ 139090 h 283512"/>
                <a:gd name="connsiteX206" fmla="*/ 1706837 w 2096597"/>
                <a:gd name="connsiteY206" fmla="*/ 111992 h 283512"/>
                <a:gd name="connsiteX207" fmla="*/ 1724999 w 2096597"/>
                <a:gd name="connsiteY207" fmla="*/ 92390 h 283512"/>
                <a:gd name="connsiteX208" fmla="*/ 1751808 w 2096597"/>
                <a:gd name="connsiteY208" fmla="*/ 80571 h 283512"/>
                <a:gd name="connsiteX209" fmla="*/ 1784382 w 2096597"/>
                <a:gd name="connsiteY209" fmla="*/ 76535 h 283512"/>
                <a:gd name="connsiteX210" fmla="*/ 1847945 w 2096597"/>
                <a:gd name="connsiteY210" fmla="*/ 93255 h 283512"/>
                <a:gd name="connsiteX211" fmla="*/ 1872304 w 2096597"/>
                <a:gd name="connsiteY211" fmla="*/ 138945 h 283512"/>
                <a:gd name="connsiteX212" fmla="*/ 1815226 w 2096597"/>
                <a:gd name="connsiteY212" fmla="*/ 138945 h 283512"/>
                <a:gd name="connsiteX213" fmla="*/ 1805137 w 2096597"/>
                <a:gd name="connsiteY213" fmla="*/ 120929 h 283512"/>
                <a:gd name="connsiteX214" fmla="*/ 1783949 w 2096597"/>
                <a:gd name="connsiteY214" fmla="*/ 116172 h 283512"/>
                <a:gd name="connsiteX215" fmla="*/ 1764780 w 2096597"/>
                <a:gd name="connsiteY215" fmla="*/ 120496 h 283512"/>
                <a:gd name="connsiteX216" fmla="*/ 1756996 w 2096597"/>
                <a:gd name="connsiteY216" fmla="*/ 134045 h 283512"/>
                <a:gd name="connsiteX217" fmla="*/ 1760744 w 2096597"/>
                <a:gd name="connsiteY217" fmla="*/ 142405 h 283512"/>
                <a:gd name="connsiteX218" fmla="*/ 1770977 w 2096597"/>
                <a:gd name="connsiteY218" fmla="*/ 147593 h 283512"/>
                <a:gd name="connsiteX219" fmla="*/ 1785967 w 2096597"/>
                <a:gd name="connsiteY219" fmla="*/ 151197 h 283512"/>
                <a:gd name="connsiteX220" fmla="*/ 1803696 w 2096597"/>
                <a:gd name="connsiteY220" fmla="*/ 154224 h 283512"/>
                <a:gd name="connsiteX221" fmla="*/ 1829784 w 2096597"/>
                <a:gd name="connsiteY221" fmla="*/ 159701 h 283512"/>
                <a:gd name="connsiteX222" fmla="*/ 1853710 w 2096597"/>
                <a:gd name="connsiteY222" fmla="*/ 169790 h 283512"/>
                <a:gd name="connsiteX223" fmla="*/ 1871439 w 2096597"/>
                <a:gd name="connsiteY223" fmla="*/ 188239 h 283512"/>
                <a:gd name="connsiteX224" fmla="*/ 1878357 w 2096597"/>
                <a:gd name="connsiteY224" fmla="*/ 218508 h 283512"/>
                <a:gd name="connsiteX225" fmla="*/ 1871727 w 2096597"/>
                <a:gd name="connsiteY225" fmla="*/ 246614 h 283512"/>
                <a:gd name="connsiteX226" fmla="*/ 1853278 w 2096597"/>
                <a:gd name="connsiteY226" fmla="*/ 266792 h 283512"/>
                <a:gd name="connsiteX227" fmla="*/ 1825172 w 2096597"/>
                <a:gd name="connsiteY227" fmla="*/ 279044 h 283512"/>
                <a:gd name="connsiteX228" fmla="*/ 1789715 w 2096597"/>
                <a:gd name="connsiteY228" fmla="*/ 283224 h 283512"/>
                <a:gd name="connsiteX229" fmla="*/ 1999430 w 2096597"/>
                <a:gd name="connsiteY229" fmla="*/ 282791 h 283512"/>
                <a:gd name="connsiteX230" fmla="*/ 1956046 w 2096597"/>
                <a:gd name="connsiteY230" fmla="*/ 275008 h 283512"/>
                <a:gd name="connsiteX231" fmla="*/ 1923327 w 2096597"/>
                <a:gd name="connsiteY231" fmla="*/ 253244 h 283512"/>
                <a:gd name="connsiteX232" fmla="*/ 1902716 w 2096597"/>
                <a:gd name="connsiteY232" fmla="*/ 220381 h 283512"/>
                <a:gd name="connsiteX233" fmla="*/ 1895509 w 2096597"/>
                <a:gd name="connsiteY233" fmla="*/ 179303 h 283512"/>
                <a:gd name="connsiteX234" fmla="*/ 1902716 w 2096597"/>
                <a:gd name="connsiteY234" fmla="*/ 138801 h 283512"/>
                <a:gd name="connsiteX235" fmla="*/ 1923327 w 2096597"/>
                <a:gd name="connsiteY235" fmla="*/ 106083 h 283512"/>
                <a:gd name="connsiteX236" fmla="*/ 1954893 w 2096597"/>
                <a:gd name="connsiteY236" fmla="*/ 84463 h 283512"/>
                <a:gd name="connsiteX237" fmla="*/ 1995683 w 2096597"/>
                <a:gd name="connsiteY237" fmla="*/ 76679 h 283512"/>
                <a:gd name="connsiteX238" fmla="*/ 2033157 w 2096597"/>
                <a:gd name="connsiteY238" fmla="*/ 83165 h 283512"/>
                <a:gd name="connsiteX239" fmla="*/ 2062273 w 2096597"/>
                <a:gd name="connsiteY239" fmla="*/ 101038 h 283512"/>
                <a:gd name="connsiteX240" fmla="*/ 2088361 w 2096597"/>
                <a:gd name="connsiteY240" fmla="*/ 141540 h 283512"/>
                <a:gd name="connsiteX241" fmla="*/ 2096577 w 2096597"/>
                <a:gd name="connsiteY241" fmla="*/ 195734 h 283512"/>
                <a:gd name="connsiteX242" fmla="*/ 1956478 w 2096597"/>
                <a:gd name="connsiteY242" fmla="*/ 195734 h 283512"/>
                <a:gd name="connsiteX243" fmla="*/ 1970171 w 2096597"/>
                <a:gd name="connsiteY243" fmla="*/ 227011 h 283512"/>
                <a:gd name="connsiteX244" fmla="*/ 2000295 w 2096597"/>
                <a:gd name="connsiteY244" fmla="*/ 238398 h 283512"/>
                <a:gd name="connsiteX245" fmla="*/ 2020474 w 2096597"/>
                <a:gd name="connsiteY245" fmla="*/ 233209 h 283512"/>
                <a:gd name="connsiteX246" fmla="*/ 2032725 w 2096597"/>
                <a:gd name="connsiteY246" fmla="*/ 218940 h 283512"/>
                <a:gd name="connsiteX247" fmla="*/ 2093262 w 2096597"/>
                <a:gd name="connsiteY247" fmla="*/ 218940 h 283512"/>
                <a:gd name="connsiteX248" fmla="*/ 2081875 w 2096597"/>
                <a:gd name="connsiteY248" fmla="*/ 244308 h 283512"/>
                <a:gd name="connsiteX249" fmla="*/ 2060543 w 2096597"/>
                <a:gd name="connsiteY249" fmla="*/ 265063 h 283512"/>
                <a:gd name="connsiteX250" fmla="*/ 2033302 w 2096597"/>
                <a:gd name="connsiteY250" fmla="*/ 278323 h 283512"/>
                <a:gd name="connsiteX251" fmla="*/ 1999574 w 2096597"/>
                <a:gd name="connsiteY251" fmla="*/ 282936 h 283512"/>
                <a:gd name="connsiteX252" fmla="*/ 2033878 w 2096597"/>
                <a:gd name="connsiteY252" fmla="*/ 158836 h 283512"/>
                <a:gd name="connsiteX253" fmla="*/ 2022059 w 2096597"/>
                <a:gd name="connsiteY253" fmla="*/ 131018 h 283512"/>
                <a:gd name="connsiteX254" fmla="*/ 1996980 w 2096597"/>
                <a:gd name="connsiteY254" fmla="*/ 120784 h 283512"/>
                <a:gd name="connsiteX255" fmla="*/ 1969594 w 2096597"/>
                <a:gd name="connsiteY255" fmla="*/ 131018 h 283512"/>
                <a:gd name="connsiteX256" fmla="*/ 1957055 w 2096597"/>
                <a:gd name="connsiteY256" fmla="*/ 158836 h 283512"/>
                <a:gd name="connsiteX257" fmla="*/ 2033878 w 2096597"/>
                <a:gd name="connsiteY257" fmla="*/ 158836 h 283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</a:cxnLst>
              <a:rect l="l" t="t" r="r" b="b"/>
              <a:pathLst>
                <a:path w="2096597" h="283512">
                  <a:moveTo>
                    <a:pt x="129433" y="283512"/>
                  </a:moveTo>
                  <a:cubicBezTo>
                    <a:pt x="109830" y="283512"/>
                    <a:pt x="92390" y="280197"/>
                    <a:pt x="76968" y="273567"/>
                  </a:cubicBezTo>
                  <a:cubicBezTo>
                    <a:pt x="61545" y="266937"/>
                    <a:pt x="47997" y="257568"/>
                    <a:pt x="36610" y="245461"/>
                  </a:cubicBezTo>
                  <a:cubicBezTo>
                    <a:pt x="24647" y="232489"/>
                    <a:pt x="15567" y="217354"/>
                    <a:pt x="9369" y="199770"/>
                  </a:cubicBezTo>
                  <a:cubicBezTo>
                    <a:pt x="3171" y="182330"/>
                    <a:pt x="0" y="163160"/>
                    <a:pt x="0" y="142260"/>
                  </a:cubicBezTo>
                  <a:cubicBezTo>
                    <a:pt x="0" y="121361"/>
                    <a:pt x="3459" y="100894"/>
                    <a:pt x="10522" y="82733"/>
                  </a:cubicBezTo>
                  <a:cubicBezTo>
                    <a:pt x="17440" y="64572"/>
                    <a:pt x="27386" y="49006"/>
                    <a:pt x="40358" y="36178"/>
                  </a:cubicBezTo>
                  <a:cubicBezTo>
                    <a:pt x="51744" y="24791"/>
                    <a:pt x="65149" y="15855"/>
                    <a:pt x="80715" y="9513"/>
                  </a:cubicBezTo>
                  <a:cubicBezTo>
                    <a:pt x="96138" y="3171"/>
                    <a:pt x="113866" y="0"/>
                    <a:pt x="133612" y="0"/>
                  </a:cubicBezTo>
                  <a:cubicBezTo>
                    <a:pt x="151053" y="0"/>
                    <a:pt x="166907" y="2162"/>
                    <a:pt x="180744" y="6630"/>
                  </a:cubicBezTo>
                  <a:cubicBezTo>
                    <a:pt x="194725" y="11098"/>
                    <a:pt x="206833" y="17440"/>
                    <a:pt x="216922" y="25656"/>
                  </a:cubicBezTo>
                  <a:cubicBezTo>
                    <a:pt x="227011" y="33872"/>
                    <a:pt x="235227" y="43817"/>
                    <a:pt x="241425" y="55492"/>
                  </a:cubicBezTo>
                  <a:cubicBezTo>
                    <a:pt x="247623" y="67167"/>
                    <a:pt x="251947" y="80139"/>
                    <a:pt x="254109" y="94264"/>
                  </a:cubicBezTo>
                  <a:lnTo>
                    <a:pt x="188672" y="94264"/>
                  </a:lnTo>
                  <a:cubicBezTo>
                    <a:pt x="186077" y="83165"/>
                    <a:pt x="180456" y="73797"/>
                    <a:pt x="171520" y="66446"/>
                  </a:cubicBezTo>
                  <a:cubicBezTo>
                    <a:pt x="162583" y="59095"/>
                    <a:pt x="150764" y="55348"/>
                    <a:pt x="135774" y="55348"/>
                  </a:cubicBezTo>
                  <a:cubicBezTo>
                    <a:pt x="124532" y="55348"/>
                    <a:pt x="114731" y="57654"/>
                    <a:pt x="106227" y="61978"/>
                  </a:cubicBezTo>
                  <a:cubicBezTo>
                    <a:pt x="97723" y="66446"/>
                    <a:pt x="90660" y="72500"/>
                    <a:pt x="85039" y="80283"/>
                  </a:cubicBezTo>
                  <a:cubicBezTo>
                    <a:pt x="79418" y="88066"/>
                    <a:pt x="75238" y="97146"/>
                    <a:pt x="72500" y="107668"/>
                  </a:cubicBezTo>
                  <a:cubicBezTo>
                    <a:pt x="69761" y="118190"/>
                    <a:pt x="68320" y="129721"/>
                    <a:pt x="68320" y="142116"/>
                  </a:cubicBezTo>
                  <a:cubicBezTo>
                    <a:pt x="68320" y="154512"/>
                    <a:pt x="69905" y="166043"/>
                    <a:pt x="73076" y="176709"/>
                  </a:cubicBezTo>
                  <a:cubicBezTo>
                    <a:pt x="76247" y="187375"/>
                    <a:pt x="80715" y="196599"/>
                    <a:pt x="86625" y="204238"/>
                  </a:cubicBezTo>
                  <a:cubicBezTo>
                    <a:pt x="92534" y="212021"/>
                    <a:pt x="99597" y="218075"/>
                    <a:pt x="108101" y="222255"/>
                  </a:cubicBezTo>
                  <a:cubicBezTo>
                    <a:pt x="116605" y="226579"/>
                    <a:pt x="126117" y="228741"/>
                    <a:pt x="136783" y="228741"/>
                  </a:cubicBezTo>
                  <a:cubicBezTo>
                    <a:pt x="145576" y="228741"/>
                    <a:pt x="153647" y="227444"/>
                    <a:pt x="160566" y="224705"/>
                  </a:cubicBezTo>
                  <a:cubicBezTo>
                    <a:pt x="167484" y="222111"/>
                    <a:pt x="173538" y="218508"/>
                    <a:pt x="178438" y="214039"/>
                  </a:cubicBezTo>
                  <a:cubicBezTo>
                    <a:pt x="183339" y="209571"/>
                    <a:pt x="187375" y="204526"/>
                    <a:pt x="190257" y="198761"/>
                  </a:cubicBezTo>
                  <a:cubicBezTo>
                    <a:pt x="193140" y="193140"/>
                    <a:pt x="195014" y="187230"/>
                    <a:pt x="195734" y="181033"/>
                  </a:cubicBezTo>
                  <a:lnTo>
                    <a:pt x="195734" y="180312"/>
                  </a:lnTo>
                  <a:lnTo>
                    <a:pt x="144711" y="180312"/>
                  </a:lnTo>
                  <a:lnTo>
                    <a:pt x="144711" y="130874"/>
                  </a:lnTo>
                  <a:lnTo>
                    <a:pt x="258144" y="130874"/>
                  </a:lnTo>
                  <a:lnTo>
                    <a:pt x="258144" y="277026"/>
                  </a:lnTo>
                  <a:lnTo>
                    <a:pt x="211013" y="277026"/>
                  </a:lnTo>
                  <a:lnTo>
                    <a:pt x="207265" y="244308"/>
                  </a:lnTo>
                  <a:lnTo>
                    <a:pt x="206544" y="244308"/>
                  </a:lnTo>
                  <a:cubicBezTo>
                    <a:pt x="197608" y="258289"/>
                    <a:pt x="186654" y="268234"/>
                    <a:pt x="173682" y="274143"/>
                  </a:cubicBezTo>
                  <a:cubicBezTo>
                    <a:pt x="160566" y="280053"/>
                    <a:pt x="145864" y="283080"/>
                    <a:pt x="129288" y="283080"/>
                  </a:cubicBezTo>
                  <a:moveTo>
                    <a:pt x="358029" y="282647"/>
                  </a:moveTo>
                  <a:cubicBezTo>
                    <a:pt x="335400" y="282647"/>
                    <a:pt x="318393" y="276017"/>
                    <a:pt x="306862" y="262613"/>
                  </a:cubicBezTo>
                  <a:cubicBezTo>
                    <a:pt x="295331" y="249352"/>
                    <a:pt x="289566" y="231768"/>
                    <a:pt x="289566" y="209859"/>
                  </a:cubicBezTo>
                  <a:lnTo>
                    <a:pt x="289566" y="82012"/>
                  </a:lnTo>
                  <a:lnTo>
                    <a:pt x="351255" y="82012"/>
                  </a:lnTo>
                  <a:lnTo>
                    <a:pt x="351255" y="197032"/>
                  </a:lnTo>
                  <a:cubicBezTo>
                    <a:pt x="351255" y="207697"/>
                    <a:pt x="353705" y="215913"/>
                    <a:pt x="358462" y="221534"/>
                  </a:cubicBezTo>
                  <a:cubicBezTo>
                    <a:pt x="363218" y="227300"/>
                    <a:pt x="370713" y="230038"/>
                    <a:pt x="380514" y="230038"/>
                  </a:cubicBezTo>
                  <a:cubicBezTo>
                    <a:pt x="391180" y="230038"/>
                    <a:pt x="399540" y="226435"/>
                    <a:pt x="405594" y="219228"/>
                  </a:cubicBezTo>
                  <a:cubicBezTo>
                    <a:pt x="411647" y="212021"/>
                    <a:pt x="414674" y="202509"/>
                    <a:pt x="414674" y="190834"/>
                  </a:cubicBezTo>
                  <a:lnTo>
                    <a:pt x="414674" y="82012"/>
                  </a:lnTo>
                  <a:lnTo>
                    <a:pt x="476652" y="82012"/>
                  </a:lnTo>
                  <a:lnTo>
                    <a:pt x="476652" y="276882"/>
                  </a:lnTo>
                  <a:lnTo>
                    <a:pt x="417269" y="276882"/>
                  </a:lnTo>
                  <a:lnTo>
                    <a:pt x="417269" y="252956"/>
                  </a:lnTo>
                  <a:lnTo>
                    <a:pt x="416116" y="252956"/>
                  </a:lnTo>
                  <a:cubicBezTo>
                    <a:pt x="409053" y="262613"/>
                    <a:pt x="400981" y="269963"/>
                    <a:pt x="391901" y="275008"/>
                  </a:cubicBezTo>
                  <a:cubicBezTo>
                    <a:pt x="382965" y="280053"/>
                    <a:pt x="371578" y="282647"/>
                    <a:pt x="357885" y="282647"/>
                  </a:cubicBezTo>
                  <a:moveTo>
                    <a:pt x="511965" y="2162"/>
                  </a:moveTo>
                  <a:lnTo>
                    <a:pt x="573943" y="2162"/>
                  </a:lnTo>
                  <a:lnTo>
                    <a:pt x="573943" y="55059"/>
                  </a:lnTo>
                  <a:lnTo>
                    <a:pt x="511965" y="55059"/>
                  </a:lnTo>
                  <a:lnTo>
                    <a:pt x="511965" y="2162"/>
                  </a:lnTo>
                  <a:close/>
                  <a:moveTo>
                    <a:pt x="511965" y="82012"/>
                  </a:moveTo>
                  <a:lnTo>
                    <a:pt x="573943" y="82012"/>
                  </a:lnTo>
                  <a:lnTo>
                    <a:pt x="573943" y="276882"/>
                  </a:lnTo>
                  <a:lnTo>
                    <a:pt x="511965" y="276882"/>
                  </a:lnTo>
                  <a:lnTo>
                    <a:pt x="511965" y="82012"/>
                  </a:lnTo>
                  <a:close/>
                  <a:moveTo>
                    <a:pt x="685935" y="282936"/>
                  </a:moveTo>
                  <a:cubicBezTo>
                    <a:pt x="673539" y="282936"/>
                    <a:pt x="662009" y="280629"/>
                    <a:pt x="651631" y="275873"/>
                  </a:cubicBezTo>
                  <a:cubicBezTo>
                    <a:pt x="641253" y="271117"/>
                    <a:pt x="632173" y="264342"/>
                    <a:pt x="624678" y="255550"/>
                  </a:cubicBezTo>
                  <a:cubicBezTo>
                    <a:pt x="617039" y="246614"/>
                    <a:pt x="611129" y="235804"/>
                    <a:pt x="606949" y="222976"/>
                  </a:cubicBezTo>
                  <a:cubicBezTo>
                    <a:pt x="602769" y="210148"/>
                    <a:pt x="600607" y="195590"/>
                    <a:pt x="600607" y="179447"/>
                  </a:cubicBezTo>
                  <a:cubicBezTo>
                    <a:pt x="600607" y="164169"/>
                    <a:pt x="602769" y="150332"/>
                    <a:pt x="606949" y="137504"/>
                  </a:cubicBezTo>
                  <a:cubicBezTo>
                    <a:pt x="611129" y="124820"/>
                    <a:pt x="617039" y="114010"/>
                    <a:pt x="624390" y="104930"/>
                  </a:cubicBezTo>
                  <a:cubicBezTo>
                    <a:pt x="631884" y="95993"/>
                    <a:pt x="640821" y="88931"/>
                    <a:pt x="651199" y="83742"/>
                  </a:cubicBezTo>
                  <a:cubicBezTo>
                    <a:pt x="661576" y="78697"/>
                    <a:pt x="673107" y="76103"/>
                    <a:pt x="685791" y="76103"/>
                  </a:cubicBezTo>
                  <a:cubicBezTo>
                    <a:pt x="699483" y="76103"/>
                    <a:pt x="710582" y="78697"/>
                    <a:pt x="718942" y="83886"/>
                  </a:cubicBezTo>
                  <a:cubicBezTo>
                    <a:pt x="727301" y="89075"/>
                    <a:pt x="734364" y="95705"/>
                    <a:pt x="740273" y="103921"/>
                  </a:cubicBezTo>
                  <a:lnTo>
                    <a:pt x="741426" y="103921"/>
                  </a:lnTo>
                  <a:lnTo>
                    <a:pt x="741426" y="1874"/>
                  </a:lnTo>
                  <a:lnTo>
                    <a:pt x="803404" y="1874"/>
                  </a:lnTo>
                  <a:lnTo>
                    <a:pt x="803404" y="276738"/>
                  </a:lnTo>
                  <a:lnTo>
                    <a:pt x="744021" y="276738"/>
                  </a:lnTo>
                  <a:lnTo>
                    <a:pt x="744021" y="250505"/>
                  </a:lnTo>
                  <a:lnTo>
                    <a:pt x="743300" y="250505"/>
                  </a:lnTo>
                  <a:cubicBezTo>
                    <a:pt x="737535" y="260595"/>
                    <a:pt x="729607" y="268522"/>
                    <a:pt x="719951" y="274287"/>
                  </a:cubicBezTo>
                  <a:cubicBezTo>
                    <a:pt x="710149" y="280053"/>
                    <a:pt x="698907" y="282791"/>
                    <a:pt x="685935" y="282791"/>
                  </a:cubicBezTo>
                  <a:moveTo>
                    <a:pt x="701934" y="233642"/>
                  </a:moveTo>
                  <a:cubicBezTo>
                    <a:pt x="714906" y="233642"/>
                    <a:pt x="724995" y="228597"/>
                    <a:pt x="732202" y="218363"/>
                  </a:cubicBezTo>
                  <a:cubicBezTo>
                    <a:pt x="739409" y="208274"/>
                    <a:pt x="743012" y="195158"/>
                    <a:pt x="743012" y="179159"/>
                  </a:cubicBezTo>
                  <a:cubicBezTo>
                    <a:pt x="743012" y="171087"/>
                    <a:pt x="742147" y="163448"/>
                    <a:pt x="740562" y="156530"/>
                  </a:cubicBezTo>
                  <a:cubicBezTo>
                    <a:pt x="738976" y="149611"/>
                    <a:pt x="736382" y="143558"/>
                    <a:pt x="732923" y="138657"/>
                  </a:cubicBezTo>
                  <a:cubicBezTo>
                    <a:pt x="729463" y="133757"/>
                    <a:pt x="725284" y="129865"/>
                    <a:pt x="720383" y="126982"/>
                  </a:cubicBezTo>
                  <a:cubicBezTo>
                    <a:pt x="715482" y="124244"/>
                    <a:pt x="709573" y="122802"/>
                    <a:pt x="702654" y="122802"/>
                  </a:cubicBezTo>
                  <a:cubicBezTo>
                    <a:pt x="690259" y="122802"/>
                    <a:pt x="680602" y="127991"/>
                    <a:pt x="673683" y="138225"/>
                  </a:cubicBezTo>
                  <a:cubicBezTo>
                    <a:pt x="666765" y="148458"/>
                    <a:pt x="663450" y="161863"/>
                    <a:pt x="663450" y="178438"/>
                  </a:cubicBezTo>
                  <a:cubicBezTo>
                    <a:pt x="663450" y="195014"/>
                    <a:pt x="666765" y="208851"/>
                    <a:pt x="673539" y="218796"/>
                  </a:cubicBezTo>
                  <a:cubicBezTo>
                    <a:pt x="680314" y="228741"/>
                    <a:pt x="689682" y="233642"/>
                    <a:pt x="701934" y="233642"/>
                  </a:cubicBezTo>
                  <a:moveTo>
                    <a:pt x="930242" y="282359"/>
                  </a:moveTo>
                  <a:cubicBezTo>
                    <a:pt x="914243" y="282359"/>
                    <a:pt x="899830" y="279765"/>
                    <a:pt x="886858" y="274576"/>
                  </a:cubicBezTo>
                  <a:cubicBezTo>
                    <a:pt x="873886" y="269387"/>
                    <a:pt x="862932" y="262180"/>
                    <a:pt x="854139" y="252811"/>
                  </a:cubicBezTo>
                  <a:cubicBezTo>
                    <a:pt x="845203" y="243587"/>
                    <a:pt x="838429" y="232633"/>
                    <a:pt x="833528" y="219949"/>
                  </a:cubicBezTo>
                  <a:cubicBezTo>
                    <a:pt x="828772" y="207265"/>
                    <a:pt x="826322" y="193572"/>
                    <a:pt x="826322" y="178871"/>
                  </a:cubicBezTo>
                  <a:cubicBezTo>
                    <a:pt x="826322" y="164169"/>
                    <a:pt x="828772" y="150909"/>
                    <a:pt x="833528" y="138369"/>
                  </a:cubicBezTo>
                  <a:cubicBezTo>
                    <a:pt x="838285" y="125829"/>
                    <a:pt x="845203" y="114875"/>
                    <a:pt x="854139" y="105650"/>
                  </a:cubicBezTo>
                  <a:cubicBezTo>
                    <a:pt x="863076" y="96426"/>
                    <a:pt x="873598" y="89219"/>
                    <a:pt x="885705" y="84030"/>
                  </a:cubicBezTo>
                  <a:cubicBezTo>
                    <a:pt x="897812" y="78841"/>
                    <a:pt x="911505" y="76247"/>
                    <a:pt x="926495" y="76247"/>
                  </a:cubicBezTo>
                  <a:cubicBezTo>
                    <a:pt x="940476" y="76247"/>
                    <a:pt x="953016" y="78409"/>
                    <a:pt x="963970" y="82733"/>
                  </a:cubicBezTo>
                  <a:cubicBezTo>
                    <a:pt x="975068" y="87057"/>
                    <a:pt x="984725" y="92967"/>
                    <a:pt x="993085" y="100606"/>
                  </a:cubicBezTo>
                  <a:cubicBezTo>
                    <a:pt x="1004760" y="111272"/>
                    <a:pt x="1013408" y="124820"/>
                    <a:pt x="1019173" y="141107"/>
                  </a:cubicBezTo>
                  <a:cubicBezTo>
                    <a:pt x="1024939" y="157539"/>
                    <a:pt x="1027533" y="175556"/>
                    <a:pt x="1027389" y="195302"/>
                  </a:cubicBezTo>
                  <a:lnTo>
                    <a:pt x="887290" y="195302"/>
                  </a:lnTo>
                  <a:cubicBezTo>
                    <a:pt x="889308" y="208562"/>
                    <a:pt x="893921" y="218940"/>
                    <a:pt x="900983" y="226579"/>
                  </a:cubicBezTo>
                  <a:cubicBezTo>
                    <a:pt x="908046" y="234218"/>
                    <a:pt x="918135" y="237966"/>
                    <a:pt x="931107" y="237966"/>
                  </a:cubicBezTo>
                  <a:cubicBezTo>
                    <a:pt x="939179" y="237966"/>
                    <a:pt x="945953" y="236236"/>
                    <a:pt x="951286" y="232777"/>
                  </a:cubicBezTo>
                  <a:cubicBezTo>
                    <a:pt x="956619" y="229318"/>
                    <a:pt x="960655" y="224561"/>
                    <a:pt x="963393" y="218508"/>
                  </a:cubicBezTo>
                  <a:lnTo>
                    <a:pt x="1023930" y="218508"/>
                  </a:lnTo>
                  <a:cubicBezTo>
                    <a:pt x="1021912" y="227444"/>
                    <a:pt x="1018020" y="235804"/>
                    <a:pt x="1012543" y="243875"/>
                  </a:cubicBezTo>
                  <a:cubicBezTo>
                    <a:pt x="1006922" y="251803"/>
                    <a:pt x="999859" y="258721"/>
                    <a:pt x="991211" y="264630"/>
                  </a:cubicBezTo>
                  <a:cubicBezTo>
                    <a:pt x="983140" y="270540"/>
                    <a:pt x="974059" y="274864"/>
                    <a:pt x="963970" y="277891"/>
                  </a:cubicBezTo>
                  <a:cubicBezTo>
                    <a:pt x="954024" y="280918"/>
                    <a:pt x="942782" y="282503"/>
                    <a:pt x="930242" y="282503"/>
                  </a:cubicBezTo>
                  <a:moveTo>
                    <a:pt x="964546" y="158404"/>
                  </a:moveTo>
                  <a:cubicBezTo>
                    <a:pt x="963249" y="146729"/>
                    <a:pt x="959357" y="137504"/>
                    <a:pt x="952727" y="130586"/>
                  </a:cubicBezTo>
                  <a:cubicBezTo>
                    <a:pt x="946097" y="123811"/>
                    <a:pt x="937737" y="120352"/>
                    <a:pt x="927648" y="120352"/>
                  </a:cubicBezTo>
                  <a:cubicBezTo>
                    <a:pt x="915685" y="120352"/>
                    <a:pt x="906604" y="123811"/>
                    <a:pt x="900262" y="130586"/>
                  </a:cubicBezTo>
                  <a:cubicBezTo>
                    <a:pt x="893921" y="137504"/>
                    <a:pt x="889741" y="146729"/>
                    <a:pt x="887723" y="158404"/>
                  </a:cubicBezTo>
                  <a:lnTo>
                    <a:pt x="964546" y="158404"/>
                  </a:lnTo>
                  <a:close/>
                  <a:moveTo>
                    <a:pt x="1050162" y="2018"/>
                  </a:moveTo>
                  <a:lnTo>
                    <a:pt x="1112140" y="2018"/>
                  </a:lnTo>
                  <a:lnTo>
                    <a:pt x="1112140" y="105939"/>
                  </a:lnTo>
                  <a:lnTo>
                    <a:pt x="1113293" y="105939"/>
                  </a:lnTo>
                  <a:cubicBezTo>
                    <a:pt x="1120355" y="96570"/>
                    <a:pt x="1128427" y="89219"/>
                    <a:pt x="1137219" y="84030"/>
                  </a:cubicBezTo>
                  <a:cubicBezTo>
                    <a:pt x="1146155" y="78841"/>
                    <a:pt x="1157398" y="76247"/>
                    <a:pt x="1171091" y="76247"/>
                  </a:cubicBezTo>
                  <a:cubicBezTo>
                    <a:pt x="1181757" y="76247"/>
                    <a:pt x="1191269" y="78121"/>
                    <a:pt x="1199629" y="81724"/>
                  </a:cubicBezTo>
                  <a:cubicBezTo>
                    <a:pt x="1207989" y="85327"/>
                    <a:pt x="1215052" y="90516"/>
                    <a:pt x="1220961" y="97002"/>
                  </a:cubicBezTo>
                  <a:cubicBezTo>
                    <a:pt x="1226871" y="103488"/>
                    <a:pt x="1231195" y="111272"/>
                    <a:pt x="1234366" y="120208"/>
                  </a:cubicBezTo>
                  <a:cubicBezTo>
                    <a:pt x="1237392" y="129144"/>
                    <a:pt x="1238978" y="139234"/>
                    <a:pt x="1238978" y="150044"/>
                  </a:cubicBezTo>
                  <a:lnTo>
                    <a:pt x="1238978" y="276738"/>
                  </a:lnTo>
                  <a:lnTo>
                    <a:pt x="1177000" y="276738"/>
                  </a:lnTo>
                  <a:lnTo>
                    <a:pt x="1177000" y="162583"/>
                  </a:lnTo>
                  <a:cubicBezTo>
                    <a:pt x="1177000" y="152206"/>
                    <a:pt x="1174406" y="143846"/>
                    <a:pt x="1169361" y="137504"/>
                  </a:cubicBezTo>
                  <a:cubicBezTo>
                    <a:pt x="1164316" y="131162"/>
                    <a:pt x="1156677" y="127991"/>
                    <a:pt x="1146588" y="127991"/>
                  </a:cubicBezTo>
                  <a:cubicBezTo>
                    <a:pt x="1136498" y="127991"/>
                    <a:pt x="1127850" y="131739"/>
                    <a:pt x="1121653" y="139378"/>
                  </a:cubicBezTo>
                  <a:cubicBezTo>
                    <a:pt x="1115455" y="147017"/>
                    <a:pt x="1112284" y="156962"/>
                    <a:pt x="1112284" y="169069"/>
                  </a:cubicBezTo>
                  <a:lnTo>
                    <a:pt x="1112284" y="276738"/>
                  </a:lnTo>
                  <a:lnTo>
                    <a:pt x="1050306" y="276738"/>
                  </a:lnTo>
                  <a:lnTo>
                    <a:pt x="1050306" y="1874"/>
                  </a:lnTo>
                  <a:close/>
                  <a:moveTo>
                    <a:pt x="1362645" y="282936"/>
                  </a:moveTo>
                  <a:cubicBezTo>
                    <a:pt x="1346935" y="282936"/>
                    <a:pt x="1332665" y="280341"/>
                    <a:pt x="1319837" y="275152"/>
                  </a:cubicBezTo>
                  <a:cubicBezTo>
                    <a:pt x="1307009" y="269963"/>
                    <a:pt x="1296055" y="262757"/>
                    <a:pt x="1286830" y="253388"/>
                  </a:cubicBezTo>
                  <a:cubicBezTo>
                    <a:pt x="1277750" y="244163"/>
                    <a:pt x="1270687" y="233209"/>
                    <a:pt x="1265787" y="220670"/>
                  </a:cubicBezTo>
                  <a:cubicBezTo>
                    <a:pt x="1260886" y="208130"/>
                    <a:pt x="1258292" y="194437"/>
                    <a:pt x="1258292" y="179735"/>
                  </a:cubicBezTo>
                  <a:cubicBezTo>
                    <a:pt x="1258292" y="165034"/>
                    <a:pt x="1260742" y="151341"/>
                    <a:pt x="1265787" y="138801"/>
                  </a:cubicBezTo>
                  <a:cubicBezTo>
                    <a:pt x="1270687" y="126262"/>
                    <a:pt x="1277750" y="115307"/>
                    <a:pt x="1286830" y="106083"/>
                  </a:cubicBezTo>
                  <a:cubicBezTo>
                    <a:pt x="1295911" y="96858"/>
                    <a:pt x="1307009" y="89651"/>
                    <a:pt x="1319837" y="84463"/>
                  </a:cubicBezTo>
                  <a:cubicBezTo>
                    <a:pt x="1332665" y="79274"/>
                    <a:pt x="1346935" y="76679"/>
                    <a:pt x="1362645" y="76679"/>
                  </a:cubicBezTo>
                  <a:cubicBezTo>
                    <a:pt x="1378356" y="76679"/>
                    <a:pt x="1392625" y="79274"/>
                    <a:pt x="1405453" y="84463"/>
                  </a:cubicBezTo>
                  <a:cubicBezTo>
                    <a:pt x="1418281" y="89651"/>
                    <a:pt x="1429235" y="96858"/>
                    <a:pt x="1438171" y="106083"/>
                  </a:cubicBezTo>
                  <a:cubicBezTo>
                    <a:pt x="1447108" y="115307"/>
                    <a:pt x="1454170" y="126262"/>
                    <a:pt x="1459071" y="138801"/>
                  </a:cubicBezTo>
                  <a:cubicBezTo>
                    <a:pt x="1463971" y="151341"/>
                    <a:pt x="1466422" y="165034"/>
                    <a:pt x="1466422" y="179735"/>
                  </a:cubicBezTo>
                  <a:cubicBezTo>
                    <a:pt x="1466422" y="194437"/>
                    <a:pt x="1463971" y="208130"/>
                    <a:pt x="1459071" y="220670"/>
                  </a:cubicBezTo>
                  <a:cubicBezTo>
                    <a:pt x="1454170" y="233209"/>
                    <a:pt x="1447108" y="244163"/>
                    <a:pt x="1438171" y="253388"/>
                  </a:cubicBezTo>
                  <a:cubicBezTo>
                    <a:pt x="1429235" y="262613"/>
                    <a:pt x="1418281" y="269819"/>
                    <a:pt x="1405453" y="275152"/>
                  </a:cubicBezTo>
                  <a:cubicBezTo>
                    <a:pt x="1392625" y="280341"/>
                    <a:pt x="1378356" y="282936"/>
                    <a:pt x="1362645" y="282936"/>
                  </a:cubicBezTo>
                  <a:moveTo>
                    <a:pt x="1362213" y="238830"/>
                  </a:moveTo>
                  <a:cubicBezTo>
                    <a:pt x="1375905" y="238830"/>
                    <a:pt x="1386283" y="233497"/>
                    <a:pt x="1393201" y="222687"/>
                  </a:cubicBezTo>
                  <a:cubicBezTo>
                    <a:pt x="1400264" y="211877"/>
                    <a:pt x="1403723" y="197608"/>
                    <a:pt x="1403723" y="179880"/>
                  </a:cubicBezTo>
                  <a:cubicBezTo>
                    <a:pt x="1403723" y="162151"/>
                    <a:pt x="1400264" y="147738"/>
                    <a:pt x="1393201" y="136928"/>
                  </a:cubicBezTo>
                  <a:cubicBezTo>
                    <a:pt x="1386283" y="125973"/>
                    <a:pt x="1375905" y="120496"/>
                    <a:pt x="1362213" y="120496"/>
                  </a:cubicBezTo>
                  <a:cubicBezTo>
                    <a:pt x="1348520" y="120496"/>
                    <a:pt x="1338286" y="125973"/>
                    <a:pt x="1331368" y="136928"/>
                  </a:cubicBezTo>
                  <a:cubicBezTo>
                    <a:pt x="1324594" y="147882"/>
                    <a:pt x="1321134" y="162151"/>
                    <a:pt x="1321134" y="179880"/>
                  </a:cubicBezTo>
                  <a:cubicBezTo>
                    <a:pt x="1321134" y="197608"/>
                    <a:pt x="1324594" y="211877"/>
                    <a:pt x="1331368" y="222687"/>
                  </a:cubicBezTo>
                  <a:cubicBezTo>
                    <a:pt x="1338286" y="233497"/>
                    <a:pt x="1348520" y="238830"/>
                    <a:pt x="1362213" y="238830"/>
                  </a:cubicBezTo>
                  <a:moveTo>
                    <a:pt x="1554488" y="282647"/>
                  </a:moveTo>
                  <a:cubicBezTo>
                    <a:pt x="1531859" y="282647"/>
                    <a:pt x="1514851" y="276017"/>
                    <a:pt x="1503320" y="262613"/>
                  </a:cubicBezTo>
                  <a:cubicBezTo>
                    <a:pt x="1491789" y="249352"/>
                    <a:pt x="1486024" y="231768"/>
                    <a:pt x="1486024" y="209859"/>
                  </a:cubicBezTo>
                  <a:lnTo>
                    <a:pt x="1486024" y="82012"/>
                  </a:lnTo>
                  <a:lnTo>
                    <a:pt x="1547713" y="82012"/>
                  </a:lnTo>
                  <a:lnTo>
                    <a:pt x="1547713" y="197032"/>
                  </a:lnTo>
                  <a:cubicBezTo>
                    <a:pt x="1547713" y="207697"/>
                    <a:pt x="1550164" y="215913"/>
                    <a:pt x="1554920" y="221534"/>
                  </a:cubicBezTo>
                  <a:cubicBezTo>
                    <a:pt x="1559677" y="227300"/>
                    <a:pt x="1567172" y="230038"/>
                    <a:pt x="1576973" y="230038"/>
                  </a:cubicBezTo>
                  <a:cubicBezTo>
                    <a:pt x="1587639" y="230038"/>
                    <a:pt x="1595998" y="226435"/>
                    <a:pt x="1602052" y="219228"/>
                  </a:cubicBezTo>
                  <a:cubicBezTo>
                    <a:pt x="1608106" y="212021"/>
                    <a:pt x="1611132" y="202509"/>
                    <a:pt x="1611132" y="190834"/>
                  </a:cubicBezTo>
                  <a:lnTo>
                    <a:pt x="1611132" y="82012"/>
                  </a:lnTo>
                  <a:lnTo>
                    <a:pt x="1673110" y="82012"/>
                  </a:lnTo>
                  <a:lnTo>
                    <a:pt x="1673110" y="276882"/>
                  </a:lnTo>
                  <a:lnTo>
                    <a:pt x="1613727" y="276882"/>
                  </a:lnTo>
                  <a:lnTo>
                    <a:pt x="1613727" y="252956"/>
                  </a:lnTo>
                  <a:lnTo>
                    <a:pt x="1612574" y="252956"/>
                  </a:lnTo>
                  <a:cubicBezTo>
                    <a:pt x="1605511" y="262613"/>
                    <a:pt x="1597440" y="269963"/>
                    <a:pt x="1588359" y="275008"/>
                  </a:cubicBezTo>
                  <a:cubicBezTo>
                    <a:pt x="1579423" y="280053"/>
                    <a:pt x="1568036" y="282647"/>
                    <a:pt x="1554344" y="282647"/>
                  </a:cubicBezTo>
                  <a:moveTo>
                    <a:pt x="1789571" y="283080"/>
                  </a:moveTo>
                  <a:cubicBezTo>
                    <a:pt x="1760888" y="283080"/>
                    <a:pt x="1738259" y="276882"/>
                    <a:pt x="1721395" y="264630"/>
                  </a:cubicBezTo>
                  <a:cubicBezTo>
                    <a:pt x="1704676" y="252379"/>
                    <a:pt x="1695739" y="235371"/>
                    <a:pt x="1694730" y="213751"/>
                  </a:cubicBezTo>
                  <a:lnTo>
                    <a:pt x="1753393" y="213751"/>
                  </a:lnTo>
                  <a:cubicBezTo>
                    <a:pt x="1754690" y="223408"/>
                    <a:pt x="1758294" y="230615"/>
                    <a:pt x="1764491" y="235515"/>
                  </a:cubicBezTo>
                  <a:cubicBezTo>
                    <a:pt x="1770545" y="240272"/>
                    <a:pt x="1778761" y="242722"/>
                    <a:pt x="1789282" y="242722"/>
                  </a:cubicBezTo>
                  <a:cubicBezTo>
                    <a:pt x="1798651" y="242722"/>
                    <a:pt x="1806146" y="241137"/>
                    <a:pt x="1811479" y="237821"/>
                  </a:cubicBezTo>
                  <a:cubicBezTo>
                    <a:pt x="1816956" y="234506"/>
                    <a:pt x="1819695" y="229750"/>
                    <a:pt x="1819695" y="223408"/>
                  </a:cubicBezTo>
                  <a:cubicBezTo>
                    <a:pt x="1819695" y="219084"/>
                    <a:pt x="1818253" y="215625"/>
                    <a:pt x="1815515" y="212886"/>
                  </a:cubicBezTo>
                  <a:cubicBezTo>
                    <a:pt x="1812776" y="210292"/>
                    <a:pt x="1809029" y="208130"/>
                    <a:pt x="1804416" y="206400"/>
                  </a:cubicBezTo>
                  <a:cubicBezTo>
                    <a:pt x="1799804" y="204815"/>
                    <a:pt x="1794615" y="203518"/>
                    <a:pt x="1788562" y="202653"/>
                  </a:cubicBezTo>
                  <a:cubicBezTo>
                    <a:pt x="1782652" y="201788"/>
                    <a:pt x="1776454" y="200635"/>
                    <a:pt x="1770112" y="199482"/>
                  </a:cubicBezTo>
                  <a:cubicBezTo>
                    <a:pt x="1761753" y="197896"/>
                    <a:pt x="1753393" y="196167"/>
                    <a:pt x="1745033" y="194005"/>
                  </a:cubicBezTo>
                  <a:cubicBezTo>
                    <a:pt x="1736673" y="191843"/>
                    <a:pt x="1729178" y="188672"/>
                    <a:pt x="1722404" y="184348"/>
                  </a:cubicBezTo>
                  <a:cubicBezTo>
                    <a:pt x="1715630" y="180024"/>
                    <a:pt x="1710297" y="174258"/>
                    <a:pt x="1706261" y="167052"/>
                  </a:cubicBezTo>
                  <a:cubicBezTo>
                    <a:pt x="1702225" y="159845"/>
                    <a:pt x="1700207" y="150476"/>
                    <a:pt x="1700207" y="139090"/>
                  </a:cubicBezTo>
                  <a:cubicBezTo>
                    <a:pt x="1700207" y="129000"/>
                    <a:pt x="1702369" y="119920"/>
                    <a:pt x="1706837" y="111992"/>
                  </a:cubicBezTo>
                  <a:cubicBezTo>
                    <a:pt x="1711306" y="104209"/>
                    <a:pt x="1717359" y="97579"/>
                    <a:pt x="1724999" y="92390"/>
                  </a:cubicBezTo>
                  <a:cubicBezTo>
                    <a:pt x="1732638" y="87201"/>
                    <a:pt x="1741574" y="83310"/>
                    <a:pt x="1751808" y="80571"/>
                  </a:cubicBezTo>
                  <a:cubicBezTo>
                    <a:pt x="1762041" y="77977"/>
                    <a:pt x="1772995" y="76535"/>
                    <a:pt x="1784382" y="76535"/>
                  </a:cubicBezTo>
                  <a:cubicBezTo>
                    <a:pt x="1812056" y="76535"/>
                    <a:pt x="1833243" y="82157"/>
                    <a:pt x="1847945" y="93255"/>
                  </a:cubicBezTo>
                  <a:cubicBezTo>
                    <a:pt x="1862647" y="104353"/>
                    <a:pt x="1870718" y="119631"/>
                    <a:pt x="1872304" y="138945"/>
                  </a:cubicBezTo>
                  <a:lnTo>
                    <a:pt x="1815226" y="138945"/>
                  </a:lnTo>
                  <a:cubicBezTo>
                    <a:pt x="1813929" y="130009"/>
                    <a:pt x="1810614" y="124100"/>
                    <a:pt x="1805137" y="120929"/>
                  </a:cubicBezTo>
                  <a:cubicBezTo>
                    <a:pt x="1799660" y="117758"/>
                    <a:pt x="1792598" y="116172"/>
                    <a:pt x="1783949" y="116172"/>
                  </a:cubicBezTo>
                  <a:cubicBezTo>
                    <a:pt x="1776310" y="116172"/>
                    <a:pt x="1769968" y="117614"/>
                    <a:pt x="1764780" y="120496"/>
                  </a:cubicBezTo>
                  <a:cubicBezTo>
                    <a:pt x="1759591" y="123379"/>
                    <a:pt x="1756996" y="127847"/>
                    <a:pt x="1756996" y="134045"/>
                  </a:cubicBezTo>
                  <a:cubicBezTo>
                    <a:pt x="1756996" y="137648"/>
                    <a:pt x="1758294" y="140387"/>
                    <a:pt x="1760744" y="142405"/>
                  </a:cubicBezTo>
                  <a:cubicBezTo>
                    <a:pt x="1763338" y="144423"/>
                    <a:pt x="1766653" y="146152"/>
                    <a:pt x="1770977" y="147593"/>
                  </a:cubicBezTo>
                  <a:cubicBezTo>
                    <a:pt x="1775301" y="149035"/>
                    <a:pt x="1780346" y="150188"/>
                    <a:pt x="1785967" y="151197"/>
                  </a:cubicBezTo>
                  <a:cubicBezTo>
                    <a:pt x="1791733" y="152206"/>
                    <a:pt x="1797642" y="153215"/>
                    <a:pt x="1803696" y="154224"/>
                  </a:cubicBezTo>
                  <a:cubicBezTo>
                    <a:pt x="1812344" y="155665"/>
                    <a:pt x="1820992" y="157539"/>
                    <a:pt x="1829784" y="159701"/>
                  </a:cubicBezTo>
                  <a:cubicBezTo>
                    <a:pt x="1838576" y="161863"/>
                    <a:pt x="1846504" y="165178"/>
                    <a:pt x="1853710" y="169790"/>
                  </a:cubicBezTo>
                  <a:cubicBezTo>
                    <a:pt x="1860917" y="174402"/>
                    <a:pt x="1866827" y="180456"/>
                    <a:pt x="1871439" y="188239"/>
                  </a:cubicBezTo>
                  <a:cubicBezTo>
                    <a:pt x="1876051" y="196023"/>
                    <a:pt x="1878357" y="206112"/>
                    <a:pt x="1878357" y="218508"/>
                  </a:cubicBezTo>
                  <a:cubicBezTo>
                    <a:pt x="1878357" y="229173"/>
                    <a:pt x="1876051" y="238542"/>
                    <a:pt x="1871727" y="246614"/>
                  </a:cubicBezTo>
                  <a:cubicBezTo>
                    <a:pt x="1867259" y="254685"/>
                    <a:pt x="1861061" y="261460"/>
                    <a:pt x="1853278" y="266792"/>
                  </a:cubicBezTo>
                  <a:cubicBezTo>
                    <a:pt x="1845350" y="272125"/>
                    <a:pt x="1835982" y="276161"/>
                    <a:pt x="1825172" y="279044"/>
                  </a:cubicBezTo>
                  <a:cubicBezTo>
                    <a:pt x="1814218" y="281782"/>
                    <a:pt x="1802399" y="283224"/>
                    <a:pt x="1789715" y="283224"/>
                  </a:cubicBezTo>
                  <a:moveTo>
                    <a:pt x="1999430" y="282791"/>
                  </a:moveTo>
                  <a:cubicBezTo>
                    <a:pt x="1983431" y="282791"/>
                    <a:pt x="1969018" y="280197"/>
                    <a:pt x="1956046" y="275008"/>
                  </a:cubicBezTo>
                  <a:cubicBezTo>
                    <a:pt x="1943073" y="269819"/>
                    <a:pt x="1932263" y="262613"/>
                    <a:pt x="1923327" y="253244"/>
                  </a:cubicBezTo>
                  <a:cubicBezTo>
                    <a:pt x="1914391" y="244019"/>
                    <a:pt x="1907617" y="233065"/>
                    <a:pt x="1902716" y="220381"/>
                  </a:cubicBezTo>
                  <a:cubicBezTo>
                    <a:pt x="1897960" y="207697"/>
                    <a:pt x="1895509" y="194005"/>
                    <a:pt x="1895509" y="179303"/>
                  </a:cubicBezTo>
                  <a:cubicBezTo>
                    <a:pt x="1895509" y="164601"/>
                    <a:pt x="1897960" y="151341"/>
                    <a:pt x="1902716" y="138801"/>
                  </a:cubicBezTo>
                  <a:cubicBezTo>
                    <a:pt x="1907473" y="126262"/>
                    <a:pt x="1914391" y="115307"/>
                    <a:pt x="1923327" y="106083"/>
                  </a:cubicBezTo>
                  <a:cubicBezTo>
                    <a:pt x="1932263" y="96858"/>
                    <a:pt x="1942785" y="89651"/>
                    <a:pt x="1954893" y="84463"/>
                  </a:cubicBezTo>
                  <a:cubicBezTo>
                    <a:pt x="1967144" y="79274"/>
                    <a:pt x="1980693" y="76679"/>
                    <a:pt x="1995683" y="76679"/>
                  </a:cubicBezTo>
                  <a:cubicBezTo>
                    <a:pt x="2009664" y="76679"/>
                    <a:pt x="2022059" y="78841"/>
                    <a:pt x="2033157" y="83165"/>
                  </a:cubicBezTo>
                  <a:cubicBezTo>
                    <a:pt x="2044256" y="87489"/>
                    <a:pt x="2053913" y="93399"/>
                    <a:pt x="2062273" y="101038"/>
                  </a:cubicBezTo>
                  <a:cubicBezTo>
                    <a:pt x="2073947" y="111704"/>
                    <a:pt x="2082596" y="125253"/>
                    <a:pt x="2088361" y="141540"/>
                  </a:cubicBezTo>
                  <a:cubicBezTo>
                    <a:pt x="2094126" y="157971"/>
                    <a:pt x="2096865" y="175988"/>
                    <a:pt x="2096577" y="195734"/>
                  </a:cubicBezTo>
                  <a:lnTo>
                    <a:pt x="1956478" y="195734"/>
                  </a:lnTo>
                  <a:cubicBezTo>
                    <a:pt x="1958496" y="208995"/>
                    <a:pt x="1963108" y="219372"/>
                    <a:pt x="1970171" y="227011"/>
                  </a:cubicBezTo>
                  <a:cubicBezTo>
                    <a:pt x="1977233" y="234651"/>
                    <a:pt x="1987323" y="238398"/>
                    <a:pt x="2000295" y="238398"/>
                  </a:cubicBezTo>
                  <a:cubicBezTo>
                    <a:pt x="2008366" y="238398"/>
                    <a:pt x="2015141" y="236668"/>
                    <a:pt x="2020474" y="233209"/>
                  </a:cubicBezTo>
                  <a:cubicBezTo>
                    <a:pt x="2025807" y="229750"/>
                    <a:pt x="2029842" y="224994"/>
                    <a:pt x="2032725" y="218940"/>
                  </a:cubicBezTo>
                  <a:lnTo>
                    <a:pt x="2093262" y="218940"/>
                  </a:lnTo>
                  <a:cubicBezTo>
                    <a:pt x="2091244" y="227876"/>
                    <a:pt x="2087496" y="236236"/>
                    <a:pt x="2081875" y="244308"/>
                  </a:cubicBezTo>
                  <a:cubicBezTo>
                    <a:pt x="2076254" y="252379"/>
                    <a:pt x="2069191" y="259153"/>
                    <a:pt x="2060543" y="265063"/>
                  </a:cubicBezTo>
                  <a:cubicBezTo>
                    <a:pt x="2052472" y="270972"/>
                    <a:pt x="2043391" y="275296"/>
                    <a:pt x="2033302" y="278323"/>
                  </a:cubicBezTo>
                  <a:cubicBezTo>
                    <a:pt x="2023212" y="281350"/>
                    <a:pt x="2011970" y="282936"/>
                    <a:pt x="1999574" y="282936"/>
                  </a:cubicBezTo>
                  <a:moveTo>
                    <a:pt x="2033878" y="158836"/>
                  </a:moveTo>
                  <a:cubicBezTo>
                    <a:pt x="2032581" y="147161"/>
                    <a:pt x="2028689" y="137936"/>
                    <a:pt x="2022059" y="131018"/>
                  </a:cubicBezTo>
                  <a:cubicBezTo>
                    <a:pt x="2015429" y="124244"/>
                    <a:pt x="2007069" y="120784"/>
                    <a:pt x="1996980" y="120784"/>
                  </a:cubicBezTo>
                  <a:cubicBezTo>
                    <a:pt x="1985017" y="120784"/>
                    <a:pt x="1975936" y="124244"/>
                    <a:pt x="1969594" y="131018"/>
                  </a:cubicBezTo>
                  <a:cubicBezTo>
                    <a:pt x="1963252" y="137936"/>
                    <a:pt x="1959072" y="147161"/>
                    <a:pt x="1957055" y="158836"/>
                  </a:cubicBezTo>
                  <a:lnTo>
                    <a:pt x="2033878" y="158836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C81B6D3-A66D-8259-C0DD-97A297F4A0B1}"/>
                </a:ext>
              </a:extLst>
            </p:cNvPr>
            <p:cNvSpPr/>
            <p:nvPr/>
          </p:nvSpPr>
          <p:spPr>
            <a:xfrm>
              <a:off x="882878" y="557212"/>
              <a:ext cx="273278" cy="674980"/>
            </a:xfrm>
            <a:custGeom>
              <a:avLst/>
              <a:gdLst>
                <a:gd name="connsiteX0" fmla="*/ 0 w 273278"/>
                <a:gd name="connsiteY0" fmla="*/ 0 h 674980"/>
                <a:gd name="connsiteX1" fmla="*/ 0 w 273278"/>
                <a:gd name="connsiteY1" fmla="*/ 476508 h 674980"/>
                <a:gd name="connsiteX2" fmla="*/ 272558 w 273278"/>
                <a:gd name="connsiteY2" fmla="*/ 674981 h 674980"/>
                <a:gd name="connsiteX3" fmla="*/ 273278 w 273278"/>
                <a:gd name="connsiteY3" fmla="*/ 674260 h 674980"/>
                <a:gd name="connsiteX4" fmla="*/ 0 w 273278"/>
                <a:gd name="connsiteY4" fmla="*/ 0 h 674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278" h="674980">
                  <a:moveTo>
                    <a:pt x="0" y="0"/>
                  </a:moveTo>
                  <a:lnTo>
                    <a:pt x="0" y="476508"/>
                  </a:lnTo>
                  <a:lnTo>
                    <a:pt x="272558" y="674981"/>
                  </a:lnTo>
                  <a:cubicBezTo>
                    <a:pt x="272558" y="674981"/>
                    <a:pt x="273134" y="674404"/>
                    <a:pt x="273278" y="67426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3D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FB5D050-2221-BBA3-9A1D-21B84CC42A4A}"/>
                </a:ext>
              </a:extLst>
            </p:cNvPr>
            <p:cNvSpPr/>
            <p:nvPr/>
          </p:nvSpPr>
          <p:spPr>
            <a:xfrm>
              <a:off x="609600" y="557212"/>
              <a:ext cx="273278" cy="674836"/>
            </a:xfrm>
            <a:custGeom>
              <a:avLst/>
              <a:gdLst>
                <a:gd name="connsiteX0" fmla="*/ 0 w 273278"/>
                <a:gd name="connsiteY0" fmla="*/ 674116 h 674836"/>
                <a:gd name="connsiteX1" fmla="*/ 721 w 273278"/>
                <a:gd name="connsiteY1" fmla="*/ 674837 h 674836"/>
                <a:gd name="connsiteX2" fmla="*/ 273278 w 273278"/>
                <a:gd name="connsiteY2" fmla="*/ 476364 h 674836"/>
                <a:gd name="connsiteX3" fmla="*/ 273278 w 273278"/>
                <a:gd name="connsiteY3" fmla="*/ 0 h 674836"/>
                <a:gd name="connsiteX4" fmla="*/ 0 w 273278"/>
                <a:gd name="connsiteY4" fmla="*/ 674116 h 674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278" h="674836">
                  <a:moveTo>
                    <a:pt x="0" y="674116"/>
                  </a:moveTo>
                  <a:cubicBezTo>
                    <a:pt x="0" y="674116"/>
                    <a:pt x="577" y="674692"/>
                    <a:pt x="721" y="674837"/>
                  </a:cubicBezTo>
                  <a:lnTo>
                    <a:pt x="273278" y="476364"/>
                  </a:lnTo>
                  <a:lnTo>
                    <a:pt x="273278" y="0"/>
                  </a:lnTo>
                  <a:lnTo>
                    <a:pt x="0" y="674116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756855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1 - Ligh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FA731013-3954-C9C9-32E2-63B13C8EAF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95482" y="4755606"/>
            <a:ext cx="7790688" cy="1207008"/>
          </a:xfrm>
        </p:spPr>
        <p:txBody>
          <a:bodyPr anchor="ctr">
            <a:noAutofit/>
          </a:bodyPr>
          <a:lstStyle>
            <a:lvl1pPr algn="l">
              <a:spcAft>
                <a:spcPts val="0"/>
              </a:spcAft>
              <a:defRPr sz="2400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BFBD9314-78CE-52F9-6CE1-69A6E9DDF3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4755606"/>
            <a:ext cx="2176272" cy="1207008"/>
          </a:xfrm>
        </p:spPr>
        <p:txBody>
          <a:bodyPr anchor="ctr">
            <a:noAutofit/>
          </a:bodyPr>
          <a:lstStyle>
            <a:lvl1pPr algn="r">
              <a:spcAft>
                <a:spcPts val="0"/>
              </a:spcAft>
              <a:defRPr sz="1600" b="1" cap="all" spc="3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dustry 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47CFD3F-F102-2C11-67CC-0D8863F13C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95482" y="1270996"/>
            <a:ext cx="7786913" cy="2000804"/>
          </a:xfrm>
        </p:spPr>
        <p:txBody>
          <a:bodyPr wrap="square" anchor="b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7200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Title He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83D5ED6-566E-DC79-78F5-A84FD30D9FA0}"/>
              </a:ext>
            </a:extLst>
          </p:cNvPr>
          <p:cNvGrpSpPr/>
          <p:nvPr userDrawn="1"/>
        </p:nvGrpSpPr>
        <p:grpSpPr>
          <a:xfrm>
            <a:off x="3273878" y="0"/>
            <a:ext cx="0" cy="6857999"/>
            <a:chOff x="3273878" y="0"/>
            <a:chExt cx="0" cy="6857999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D303FAEB-3595-8000-D9D3-5E92B90EE65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273878" y="0"/>
              <a:ext cx="0" cy="685799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C813D6E3-FFCE-E4BE-FBF9-E9F4E6CDB54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273878" y="4649994"/>
              <a:ext cx="0" cy="1329892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aphic 15">
            <a:extLst>
              <a:ext uri="{FF2B5EF4-FFF2-40B4-BE49-F238E27FC236}">
                <a16:creationId xmlns:a16="http://schemas.microsoft.com/office/drawing/2014/main" id="{31E03152-3A58-A3F6-C41A-3EC11A8EB5AC}"/>
              </a:ext>
            </a:extLst>
          </p:cNvPr>
          <p:cNvGrpSpPr/>
          <p:nvPr/>
        </p:nvGrpSpPr>
        <p:grpSpPr>
          <a:xfrm>
            <a:off x="720590" y="1270996"/>
            <a:ext cx="2065282" cy="522565"/>
            <a:chOff x="616497" y="1270996"/>
            <a:chExt cx="2065282" cy="522565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6EEAFA5E-3D91-35E2-346D-C532C5A0D22F}"/>
                </a:ext>
              </a:extLst>
            </p:cNvPr>
            <p:cNvSpPr/>
            <p:nvPr/>
          </p:nvSpPr>
          <p:spPr>
            <a:xfrm>
              <a:off x="1058607" y="1451545"/>
              <a:ext cx="1623171" cy="219493"/>
            </a:xfrm>
            <a:custGeom>
              <a:avLst/>
              <a:gdLst>
                <a:gd name="connsiteX0" fmla="*/ 100206 w 1623171"/>
                <a:gd name="connsiteY0" fmla="*/ 219493 h 219493"/>
                <a:gd name="connsiteX1" fmla="*/ 59588 w 1623171"/>
                <a:gd name="connsiteY1" fmla="*/ 211794 h 219493"/>
                <a:gd name="connsiteX2" fmla="*/ 28343 w 1623171"/>
                <a:gd name="connsiteY2" fmla="*/ 190034 h 219493"/>
                <a:gd name="connsiteX3" fmla="*/ 7253 w 1623171"/>
                <a:gd name="connsiteY3" fmla="*/ 154661 h 219493"/>
                <a:gd name="connsiteX4" fmla="*/ 0 w 1623171"/>
                <a:gd name="connsiteY4" fmla="*/ 110137 h 219493"/>
                <a:gd name="connsiteX5" fmla="*/ 8146 w 1623171"/>
                <a:gd name="connsiteY5" fmla="*/ 64051 h 219493"/>
                <a:gd name="connsiteX6" fmla="*/ 31245 w 1623171"/>
                <a:gd name="connsiteY6" fmla="*/ 28009 h 219493"/>
                <a:gd name="connsiteX7" fmla="*/ 62489 w 1623171"/>
                <a:gd name="connsiteY7" fmla="*/ 7365 h 219493"/>
                <a:gd name="connsiteX8" fmla="*/ 103442 w 1623171"/>
                <a:gd name="connsiteY8" fmla="*/ 0 h 219493"/>
                <a:gd name="connsiteX9" fmla="*/ 139931 w 1623171"/>
                <a:gd name="connsiteY9" fmla="*/ 5133 h 219493"/>
                <a:gd name="connsiteX10" fmla="*/ 167940 w 1623171"/>
                <a:gd name="connsiteY10" fmla="*/ 19863 h 219493"/>
                <a:gd name="connsiteX11" fmla="*/ 186910 w 1623171"/>
                <a:gd name="connsiteY11" fmla="*/ 42961 h 219493"/>
                <a:gd name="connsiteX12" fmla="*/ 196729 w 1623171"/>
                <a:gd name="connsiteY12" fmla="*/ 72978 h 219493"/>
                <a:gd name="connsiteX13" fmla="*/ 146068 w 1623171"/>
                <a:gd name="connsiteY13" fmla="*/ 72978 h 219493"/>
                <a:gd name="connsiteX14" fmla="*/ 132789 w 1623171"/>
                <a:gd name="connsiteY14" fmla="*/ 51442 h 219493"/>
                <a:gd name="connsiteX15" fmla="*/ 105116 w 1623171"/>
                <a:gd name="connsiteY15" fmla="*/ 42850 h 219493"/>
                <a:gd name="connsiteX16" fmla="*/ 82240 w 1623171"/>
                <a:gd name="connsiteY16" fmla="*/ 47983 h 219493"/>
                <a:gd name="connsiteX17" fmla="*/ 65837 w 1623171"/>
                <a:gd name="connsiteY17" fmla="*/ 62154 h 219493"/>
                <a:gd name="connsiteX18" fmla="*/ 56129 w 1623171"/>
                <a:gd name="connsiteY18" fmla="*/ 83356 h 219493"/>
                <a:gd name="connsiteX19" fmla="*/ 52893 w 1623171"/>
                <a:gd name="connsiteY19" fmla="*/ 110026 h 219493"/>
                <a:gd name="connsiteX20" fmla="*/ 56575 w 1623171"/>
                <a:gd name="connsiteY20" fmla="*/ 136807 h 219493"/>
                <a:gd name="connsiteX21" fmla="*/ 67064 w 1623171"/>
                <a:gd name="connsiteY21" fmla="*/ 158120 h 219493"/>
                <a:gd name="connsiteX22" fmla="*/ 83691 w 1623171"/>
                <a:gd name="connsiteY22" fmla="*/ 172068 h 219493"/>
                <a:gd name="connsiteX23" fmla="*/ 105897 w 1623171"/>
                <a:gd name="connsiteY23" fmla="*/ 177090 h 219493"/>
                <a:gd name="connsiteX24" fmla="*/ 124309 w 1623171"/>
                <a:gd name="connsiteY24" fmla="*/ 173965 h 219493"/>
                <a:gd name="connsiteX25" fmla="*/ 138146 w 1623171"/>
                <a:gd name="connsiteY25" fmla="*/ 165708 h 219493"/>
                <a:gd name="connsiteX26" fmla="*/ 147296 w 1623171"/>
                <a:gd name="connsiteY26" fmla="*/ 153880 h 219493"/>
                <a:gd name="connsiteX27" fmla="*/ 151536 w 1623171"/>
                <a:gd name="connsiteY27" fmla="*/ 140154 h 219493"/>
                <a:gd name="connsiteX28" fmla="*/ 151536 w 1623171"/>
                <a:gd name="connsiteY28" fmla="*/ 139596 h 219493"/>
                <a:gd name="connsiteX29" fmla="*/ 112034 w 1623171"/>
                <a:gd name="connsiteY29" fmla="*/ 139596 h 219493"/>
                <a:gd name="connsiteX30" fmla="*/ 112034 w 1623171"/>
                <a:gd name="connsiteY30" fmla="*/ 101322 h 219493"/>
                <a:gd name="connsiteX31" fmla="*/ 199854 w 1623171"/>
                <a:gd name="connsiteY31" fmla="*/ 101322 h 219493"/>
                <a:gd name="connsiteX32" fmla="*/ 199854 w 1623171"/>
                <a:gd name="connsiteY32" fmla="*/ 214472 h 219493"/>
                <a:gd name="connsiteX33" fmla="*/ 163365 w 1623171"/>
                <a:gd name="connsiteY33" fmla="*/ 214472 h 219493"/>
                <a:gd name="connsiteX34" fmla="*/ 160463 w 1623171"/>
                <a:gd name="connsiteY34" fmla="*/ 189141 h 219493"/>
                <a:gd name="connsiteX35" fmla="*/ 159905 w 1623171"/>
                <a:gd name="connsiteY35" fmla="*/ 189141 h 219493"/>
                <a:gd name="connsiteX36" fmla="*/ 134463 w 1623171"/>
                <a:gd name="connsiteY36" fmla="*/ 212240 h 219493"/>
                <a:gd name="connsiteX37" fmla="*/ 100094 w 1623171"/>
                <a:gd name="connsiteY37" fmla="*/ 219158 h 219493"/>
                <a:gd name="connsiteX38" fmla="*/ 277184 w 1623171"/>
                <a:gd name="connsiteY38" fmla="*/ 218824 h 219493"/>
                <a:gd name="connsiteX39" fmla="*/ 237570 w 1623171"/>
                <a:gd name="connsiteY39" fmla="*/ 203313 h 219493"/>
                <a:gd name="connsiteX40" fmla="*/ 224180 w 1623171"/>
                <a:gd name="connsiteY40" fmla="*/ 162472 h 219493"/>
                <a:gd name="connsiteX41" fmla="*/ 224180 w 1623171"/>
                <a:gd name="connsiteY41" fmla="*/ 63493 h 219493"/>
                <a:gd name="connsiteX42" fmla="*/ 271939 w 1623171"/>
                <a:gd name="connsiteY42" fmla="*/ 63493 h 219493"/>
                <a:gd name="connsiteX43" fmla="*/ 271939 w 1623171"/>
                <a:gd name="connsiteY43" fmla="*/ 152541 h 219493"/>
                <a:gd name="connsiteX44" fmla="*/ 277519 w 1623171"/>
                <a:gd name="connsiteY44" fmla="*/ 171510 h 219493"/>
                <a:gd name="connsiteX45" fmla="*/ 294592 w 1623171"/>
                <a:gd name="connsiteY45" fmla="*/ 178094 h 219493"/>
                <a:gd name="connsiteX46" fmla="*/ 314008 w 1623171"/>
                <a:gd name="connsiteY46" fmla="*/ 169725 h 219493"/>
                <a:gd name="connsiteX47" fmla="*/ 321038 w 1623171"/>
                <a:gd name="connsiteY47" fmla="*/ 147742 h 219493"/>
                <a:gd name="connsiteX48" fmla="*/ 321038 w 1623171"/>
                <a:gd name="connsiteY48" fmla="*/ 63493 h 219493"/>
                <a:gd name="connsiteX49" fmla="*/ 369021 w 1623171"/>
                <a:gd name="connsiteY49" fmla="*/ 63493 h 219493"/>
                <a:gd name="connsiteX50" fmla="*/ 369021 w 1623171"/>
                <a:gd name="connsiteY50" fmla="*/ 214360 h 219493"/>
                <a:gd name="connsiteX51" fmla="*/ 323047 w 1623171"/>
                <a:gd name="connsiteY51" fmla="*/ 214360 h 219493"/>
                <a:gd name="connsiteX52" fmla="*/ 323047 w 1623171"/>
                <a:gd name="connsiteY52" fmla="*/ 195837 h 219493"/>
                <a:gd name="connsiteX53" fmla="*/ 322154 w 1623171"/>
                <a:gd name="connsiteY53" fmla="*/ 195837 h 219493"/>
                <a:gd name="connsiteX54" fmla="*/ 303407 w 1623171"/>
                <a:gd name="connsiteY54" fmla="*/ 212910 h 219493"/>
                <a:gd name="connsiteX55" fmla="*/ 277072 w 1623171"/>
                <a:gd name="connsiteY55" fmla="*/ 218824 h 219493"/>
                <a:gd name="connsiteX56" fmla="*/ 396360 w 1623171"/>
                <a:gd name="connsiteY56" fmla="*/ 1674 h 219493"/>
                <a:gd name="connsiteX57" fmla="*/ 444343 w 1623171"/>
                <a:gd name="connsiteY57" fmla="*/ 1674 h 219493"/>
                <a:gd name="connsiteX58" fmla="*/ 444343 w 1623171"/>
                <a:gd name="connsiteY58" fmla="*/ 42627 h 219493"/>
                <a:gd name="connsiteX59" fmla="*/ 396360 w 1623171"/>
                <a:gd name="connsiteY59" fmla="*/ 42627 h 219493"/>
                <a:gd name="connsiteX60" fmla="*/ 396360 w 1623171"/>
                <a:gd name="connsiteY60" fmla="*/ 1674 h 219493"/>
                <a:gd name="connsiteX61" fmla="*/ 396360 w 1623171"/>
                <a:gd name="connsiteY61" fmla="*/ 63493 h 219493"/>
                <a:gd name="connsiteX62" fmla="*/ 444343 w 1623171"/>
                <a:gd name="connsiteY62" fmla="*/ 63493 h 219493"/>
                <a:gd name="connsiteX63" fmla="*/ 444343 w 1623171"/>
                <a:gd name="connsiteY63" fmla="*/ 214360 h 219493"/>
                <a:gd name="connsiteX64" fmla="*/ 396360 w 1623171"/>
                <a:gd name="connsiteY64" fmla="*/ 214360 h 219493"/>
                <a:gd name="connsiteX65" fmla="*/ 396360 w 1623171"/>
                <a:gd name="connsiteY65" fmla="*/ 63493 h 219493"/>
                <a:gd name="connsiteX66" fmla="*/ 531046 w 1623171"/>
                <a:gd name="connsiteY66" fmla="*/ 219047 h 219493"/>
                <a:gd name="connsiteX67" fmla="*/ 504488 w 1623171"/>
                <a:gd name="connsiteY67" fmla="*/ 213579 h 219493"/>
                <a:gd name="connsiteX68" fmla="*/ 483621 w 1623171"/>
                <a:gd name="connsiteY68" fmla="*/ 197845 h 219493"/>
                <a:gd name="connsiteX69" fmla="*/ 469896 w 1623171"/>
                <a:gd name="connsiteY69" fmla="*/ 172626 h 219493"/>
                <a:gd name="connsiteX70" fmla="*/ 464986 w 1623171"/>
                <a:gd name="connsiteY70" fmla="*/ 138927 h 219493"/>
                <a:gd name="connsiteX71" fmla="*/ 469896 w 1623171"/>
                <a:gd name="connsiteY71" fmla="*/ 106455 h 219493"/>
                <a:gd name="connsiteX72" fmla="*/ 483398 w 1623171"/>
                <a:gd name="connsiteY72" fmla="*/ 81236 h 219493"/>
                <a:gd name="connsiteX73" fmla="*/ 504154 w 1623171"/>
                <a:gd name="connsiteY73" fmla="*/ 64833 h 219493"/>
                <a:gd name="connsiteX74" fmla="*/ 530935 w 1623171"/>
                <a:gd name="connsiteY74" fmla="*/ 58918 h 219493"/>
                <a:gd name="connsiteX75" fmla="*/ 556600 w 1623171"/>
                <a:gd name="connsiteY75" fmla="*/ 64944 h 219493"/>
                <a:gd name="connsiteX76" fmla="*/ 573115 w 1623171"/>
                <a:gd name="connsiteY76" fmla="*/ 80455 h 219493"/>
                <a:gd name="connsiteX77" fmla="*/ 574008 w 1623171"/>
                <a:gd name="connsiteY77" fmla="*/ 80455 h 219493"/>
                <a:gd name="connsiteX78" fmla="*/ 574008 w 1623171"/>
                <a:gd name="connsiteY78" fmla="*/ 1451 h 219493"/>
                <a:gd name="connsiteX79" fmla="*/ 621990 w 1623171"/>
                <a:gd name="connsiteY79" fmla="*/ 1451 h 219493"/>
                <a:gd name="connsiteX80" fmla="*/ 621990 w 1623171"/>
                <a:gd name="connsiteY80" fmla="*/ 214249 h 219493"/>
                <a:gd name="connsiteX81" fmla="*/ 576016 w 1623171"/>
                <a:gd name="connsiteY81" fmla="*/ 214249 h 219493"/>
                <a:gd name="connsiteX82" fmla="*/ 576016 w 1623171"/>
                <a:gd name="connsiteY82" fmla="*/ 193940 h 219493"/>
                <a:gd name="connsiteX83" fmla="*/ 575458 w 1623171"/>
                <a:gd name="connsiteY83" fmla="*/ 193940 h 219493"/>
                <a:gd name="connsiteX84" fmla="*/ 557381 w 1623171"/>
                <a:gd name="connsiteY84" fmla="*/ 212352 h 219493"/>
                <a:gd name="connsiteX85" fmla="*/ 531046 w 1623171"/>
                <a:gd name="connsiteY85" fmla="*/ 218935 h 219493"/>
                <a:gd name="connsiteX86" fmla="*/ 543433 w 1623171"/>
                <a:gd name="connsiteY86" fmla="*/ 180884 h 219493"/>
                <a:gd name="connsiteX87" fmla="*/ 566866 w 1623171"/>
                <a:gd name="connsiteY87" fmla="*/ 169056 h 219493"/>
                <a:gd name="connsiteX88" fmla="*/ 575235 w 1623171"/>
                <a:gd name="connsiteY88" fmla="*/ 138704 h 219493"/>
                <a:gd name="connsiteX89" fmla="*/ 573338 w 1623171"/>
                <a:gd name="connsiteY89" fmla="*/ 121184 h 219493"/>
                <a:gd name="connsiteX90" fmla="*/ 567424 w 1623171"/>
                <a:gd name="connsiteY90" fmla="*/ 107347 h 219493"/>
                <a:gd name="connsiteX91" fmla="*/ 557716 w 1623171"/>
                <a:gd name="connsiteY91" fmla="*/ 98309 h 219493"/>
                <a:gd name="connsiteX92" fmla="*/ 543991 w 1623171"/>
                <a:gd name="connsiteY92" fmla="*/ 95073 h 219493"/>
                <a:gd name="connsiteX93" fmla="*/ 521561 w 1623171"/>
                <a:gd name="connsiteY93" fmla="*/ 107013 h 219493"/>
                <a:gd name="connsiteX94" fmla="*/ 513639 w 1623171"/>
                <a:gd name="connsiteY94" fmla="*/ 138146 h 219493"/>
                <a:gd name="connsiteX95" fmla="*/ 521450 w 1623171"/>
                <a:gd name="connsiteY95" fmla="*/ 169390 h 219493"/>
                <a:gd name="connsiteX96" fmla="*/ 543433 w 1623171"/>
                <a:gd name="connsiteY96" fmla="*/ 180884 h 219493"/>
                <a:gd name="connsiteX97" fmla="*/ 720188 w 1623171"/>
                <a:gd name="connsiteY97" fmla="*/ 218601 h 219493"/>
                <a:gd name="connsiteX98" fmla="*/ 686600 w 1623171"/>
                <a:gd name="connsiteY98" fmla="*/ 212575 h 219493"/>
                <a:gd name="connsiteX99" fmla="*/ 661269 w 1623171"/>
                <a:gd name="connsiteY99" fmla="*/ 195725 h 219493"/>
                <a:gd name="connsiteX100" fmla="*/ 645312 w 1623171"/>
                <a:gd name="connsiteY100" fmla="*/ 170283 h 219493"/>
                <a:gd name="connsiteX101" fmla="*/ 639733 w 1623171"/>
                <a:gd name="connsiteY101" fmla="*/ 138480 h 219493"/>
                <a:gd name="connsiteX102" fmla="*/ 645312 w 1623171"/>
                <a:gd name="connsiteY102" fmla="*/ 107124 h 219493"/>
                <a:gd name="connsiteX103" fmla="*/ 661269 w 1623171"/>
                <a:gd name="connsiteY103" fmla="*/ 81794 h 219493"/>
                <a:gd name="connsiteX104" fmla="*/ 685707 w 1623171"/>
                <a:gd name="connsiteY104" fmla="*/ 65056 h 219493"/>
                <a:gd name="connsiteX105" fmla="*/ 717286 w 1623171"/>
                <a:gd name="connsiteY105" fmla="*/ 59030 h 219493"/>
                <a:gd name="connsiteX106" fmla="*/ 746299 w 1623171"/>
                <a:gd name="connsiteY106" fmla="*/ 64051 h 219493"/>
                <a:gd name="connsiteX107" fmla="*/ 768840 w 1623171"/>
                <a:gd name="connsiteY107" fmla="*/ 77888 h 219493"/>
                <a:gd name="connsiteX108" fmla="*/ 789037 w 1623171"/>
                <a:gd name="connsiteY108" fmla="*/ 109244 h 219493"/>
                <a:gd name="connsiteX109" fmla="*/ 795398 w 1623171"/>
                <a:gd name="connsiteY109" fmla="*/ 151201 h 219493"/>
                <a:gd name="connsiteX110" fmla="*/ 686934 w 1623171"/>
                <a:gd name="connsiteY110" fmla="*/ 151201 h 219493"/>
                <a:gd name="connsiteX111" fmla="*/ 697535 w 1623171"/>
                <a:gd name="connsiteY111" fmla="*/ 175416 h 219493"/>
                <a:gd name="connsiteX112" fmla="*/ 720857 w 1623171"/>
                <a:gd name="connsiteY112" fmla="*/ 184231 h 219493"/>
                <a:gd name="connsiteX113" fmla="*/ 736479 w 1623171"/>
                <a:gd name="connsiteY113" fmla="*/ 180214 h 219493"/>
                <a:gd name="connsiteX114" fmla="*/ 745853 w 1623171"/>
                <a:gd name="connsiteY114" fmla="*/ 169167 h 219493"/>
                <a:gd name="connsiteX115" fmla="*/ 792720 w 1623171"/>
                <a:gd name="connsiteY115" fmla="*/ 169167 h 219493"/>
                <a:gd name="connsiteX116" fmla="*/ 783904 w 1623171"/>
                <a:gd name="connsiteY116" fmla="*/ 188807 h 219493"/>
                <a:gd name="connsiteX117" fmla="*/ 767389 w 1623171"/>
                <a:gd name="connsiteY117" fmla="*/ 204875 h 219493"/>
                <a:gd name="connsiteX118" fmla="*/ 746299 w 1623171"/>
                <a:gd name="connsiteY118" fmla="*/ 215141 h 219493"/>
                <a:gd name="connsiteX119" fmla="*/ 720188 w 1623171"/>
                <a:gd name="connsiteY119" fmla="*/ 218712 h 219493"/>
                <a:gd name="connsiteX120" fmla="*/ 746746 w 1623171"/>
                <a:gd name="connsiteY120" fmla="*/ 122635 h 219493"/>
                <a:gd name="connsiteX121" fmla="*/ 737595 w 1623171"/>
                <a:gd name="connsiteY121" fmla="*/ 101099 h 219493"/>
                <a:gd name="connsiteX122" fmla="*/ 718179 w 1623171"/>
                <a:gd name="connsiteY122" fmla="*/ 93176 h 219493"/>
                <a:gd name="connsiteX123" fmla="*/ 696977 w 1623171"/>
                <a:gd name="connsiteY123" fmla="*/ 101099 h 219493"/>
                <a:gd name="connsiteX124" fmla="*/ 687269 w 1623171"/>
                <a:gd name="connsiteY124" fmla="*/ 122635 h 219493"/>
                <a:gd name="connsiteX125" fmla="*/ 746746 w 1623171"/>
                <a:gd name="connsiteY125" fmla="*/ 122635 h 219493"/>
                <a:gd name="connsiteX126" fmla="*/ 813029 w 1623171"/>
                <a:gd name="connsiteY126" fmla="*/ 1562 h 219493"/>
                <a:gd name="connsiteX127" fmla="*/ 861011 w 1623171"/>
                <a:gd name="connsiteY127" fmla="*/ 1562 h 219493"/>
                <a:gd name="connsiteX128" fmla="*/ 861011 w 1623171"/>
                <a:gd name="connsiteY128" fmla="*/ 82017 h 219493"/>
                <a:gd name="connsiteX129" fmla="*/ 861904 w 1623171"/>
                <a:gd name="connsiteY129" fmla="*/ 82017 h 219493"/>
                <a:gd name="connsiteX130" fmla="*/ 880428 w 1623171"/>
                <a:gd name="connsiteY130" fmla="*/ 65056 h 219493"/>
                <a:gd name="connsiteX131" fmla="*/ 906651 w 1623171"/>
                <a:gd name="connsiteY131" fmla="*/ 59030 h 219493"/>
                <a:gd name="connsiteX132" fmla="*/ 928745 w 1623171"/>
                <a:gd name="connsiteY132" fmla="*/ 63270 h 219493"/>
                <a:gd name="connsiteX133" fmla="*/ 945260 w 1623171"/>
                <a:gd name="connsiteY133" fmla="*/ 75099 h 219493"/>
                <a:gd name="connsiteX134" fmla="*/ 955638 w 1623171"/>
                <a:gd name="connsiteY134" fmla="*/ 93064 h 219493"/>
                <a:gd name="connsiteX135" fmla="*/ 959209 w 1623171"/>
                <a:gd name="connsiteY135" fmla="*/ 116163 h 219493"/>
                <a:gd name="connsiteX136" fmla="*/ 959209 w 1623171"/>
                <a:gd name="connsiteY136" fmla="*/ 214249 h 219493"/>
                <a:gd name="connsiteX137" fmla="*/ 911226 w 1623171"/>
                <a:gd name="connsiteY137" fmla="*/ 214249 h 219493"/>
                <a:gd name="connsiteX138" fmla="*/ 911226 w 1623171"/>
                <a:gd name="connsiteY138" fmla="*/ 125871 h 219493"/>
                <a:gd name="connsiteX139" fmla="*/ 905312 w 1623171"/>
                <a:gd name="connsiteY139" fmla="*/ 106455 h 219493"/>
                <a:gd name="connsiteX140" fmla="*/ 887681 w 1623171"/>
                <a:gd name="connsiteY140" fmla="*/ 99090 h 219493"/>
                <a:gd name="connsiteX141" fmla="*/ 868376 w 1623171"/>
                <a:gd name="connsiteY141" fmla="*/ 107905 h 219493"/>
                <a:gd name="connsiteX142" fmla="*/ 861123 w 1623171"/>
                <a:gd name="connsiteY142" fmla="*/ 130892 h 219493"/>
                <a:gd name="connsiteX143" fmla="*/ 861123 w 1623171"/>
                <a:gd name="connsiteY143" fmla="*/ 214249 h 219493"/>
                <a:gd name="connsiteX144" fmla="*/ 813140 w 1623171"/>
                <a:gd name="connsiteY144" fmla="*/ 214249 h 219493"/>
                <a:gd name="connsiteX145" fmla="*/ 813140 w 1623171"/>
                <a:gd name="connsiteY145" fmla="*/ 1451 h 219493"/>
                <a:gd name="connsiteX146" fmla="*/ 1054951 w 1623171"/>
                <a:gd name="connsiteY146" fmla="*/ 219047 h 219493"/>
                <a:gd name="connsiteX147" fmla="*/ 1021809 w 1623171"/>
                <a:gd name="connsiteY147" fmla="*/ 213021 h 219493"/>
                <a:gd name="connsiteX148" fmla="*/ 996256 w 1623171"/>
                <a:gd name="connsiteY148" fmla="*/ 196171 h 219493"/>
                <a:gd name="connsiteX149" fmla="*/ 979964 w 1623171"/>
                <a:gd name="connsiteY149" fmla="*/ 170841 h 219493"/>
                <a:gd name="connsiteX150" fmla="*/ 974161 w 1623171"/>
                <a:gd name="connsiteY150" fmla="*/ 139150 h 219493"/>
                <a:gd name="connsiteX151" fmla="*/ 979964 w 1623171"/>
                <a:gd name="connsiteY151" fmla="*/ 107459 h 219493"/>
                <a:gd name="connsiteX152" fmla="*/ 996256 w 1623171"/>
                <a:gd name="connsiteY152" fmla="*/ 82129 h 219493"/>
                <a:gd name="connsiteX153" fmla="*/ 1021809 w 1623171"/>
                <a:gd name="connsiteY153" fmla="*/ 65390 h 219493"/>
                <a:gd name="connsiteX154" fmla="*/ 1054951 w 1623171"/>
                <a:gd name="connsiteY154" fmla="*/ 59365 h 219493"/>
                <a:gd name="connsiteX155" fmla="*/ 1088093 w 1623171"/>
                <a:gd name="connsiteY155" fmla="*/ 65390 h 219493"/>
                <a:gd name="connsiteX156" fmla="*/ 1113423 w 1623171"/>
                <a:gd name="connsiteY156" fmla="*/ 82129 h 219493"/>
                <a:gd name="connsiteX157" fmla="*/ 1129603 w 1623171"/>
                <a:gd name="connsiteY157" fmla="*/ 107459 h 219493"/>
                <a:gd name="connsiteX158" fmla="*/ 1135294 w 1623171"/>
                <a:gd name="connsiteY158" fmla="*/ 139150 h 219493"/>
                <a:gd name="connsiteX159" fmla="*/ 1129603 w 1623171"/>
                <a:gd name="connsiteY159" fmla="*/ 170841 h 219493"/>
                <a:gd name="connsiteX160" fmla="*/ 1113423 w 1623171"/>
                <a:gd name="connsiteY160" fmla="*/ 196171 h 219493"/>
                <a:gd name="connsiteX161" fmla="*/ 1088093 w 1623171"/>
                <a:gd name="connsiteY161" fmla="*/ 213021 h 219493"/>
                <a:gd name="connsiteX162" fmla="*/ 1054951 w 1623171"/>
                <a:gd name="connsiteY162" fmla="*/ 219047 h 219493"/>
                <a:gd name="connsiteX163" fmla="*/ 1054616 w 1623171"/>
                <a:gd name="connsiteY163" fmla="*/ 184901 h 219493"/>
                <a:gd name="connsiteX164" fmla="*/ 1078608 w 1623171"/>
                <a:gd name="connsiteY164" fmla="*/ 172403 h 219493"/>
                <a:gd name="connsiteX165" fmla="*/ 1086753 w 1623171"/>
                <a:gd name="connsiteY165" fmla="*/ 139262 h 219493"/>
                <a:gd name="connsiteX166" fmla="*/ 1078608 w 1623171"/>
                <a:gd name="connsiteY166" fmla="*/ 106008 h 219493"/>
                <a:gd name="connsiteX167" fmla="*/ 1054616 w 1623171"/>
                <a:gd name="connsiteY167" fmla="*/ 93287 h 219493"/>
                <a:gd name="connsiteX168" fmla="*/ 1030736 w 1623171"/>
                <a:gd name="connsiteY168" fmla="*/ 106008 h 219493"/>
                <a:gd name="connsiteX169" fmla="*/ 1022814 w 1623171"/>
                <a:gd name="connsiteY169" fmla="*/ 139262 h 219493"/>
                <a:gd name="connsiteX170" fmla="*/ 1030736 w 1623171"/>
                <a:gd name="connsiteY170" fmla="*/ 172403 h 219493"/>
                <a:gd name="connsiteX171" fmla="*/ 1054616 w 1623171"/>
                <a:gd name="connsiteY171" fmla="*/ 184901 h 219493"/>
                <a:gd name="connsiteX172" fmla="*/ 1203474 w 1623171"/>
                <a:gd name="connsiteY172" fmla="*/ 218824 h 219493"/>
                <a:gd name="connsiteX173" fmla="*/ 1163861 w 1623171"/>
                <a:gd name="connsiteY173" fmla="*/ 203313 h 219493"/>
                <a:gd name="connsiteX174" fmla="*/ 1150470 w 1623171"/>
                <a:gd name="connsiteY174" fmla="*/ 162472 h 219493"/>
                <a:gd name="connsiteX175" fmla="*/ 1150470 w 1623171"/>
                <a:gd name="connsiteY175" fmla="*/ 63493 h 219493"/>
                <a:gd name="connsiteX176" fmla="*/ 1198230 w 1623171"/>
                <a:gd name="connsiteY176" fmla="*/ 63493 h 219493"/>
                <a:gd name="connsiteX177" fmla="*/ 1198230 w 1623171"/>
                <a:gd name="connsiteY177" fmla="*/ 152541 h 219493"/>
                <a:gd name="connsiteX178" fmla="*/ 1203809 w 1623171"/>
                <a:gd name="connsiteY178" fmla="*/ 171510 h 219493"/>
                <a:gd name="connsiteX179" fmla="*/ 1220882 w 1623171"/>
                <a:gd name="connsiteY179" fmla="*/ 178094 h 219493"/>
                <a:gd name="connsiteX180" fmla="*/ 1240298 w 1623171"/>
                <a:gd name="connsiteY180" fmla="*/ 169725 h 219493"/>
                <a:gd name="connsiteX181" fmla="*/ 1247328 w 1623171"/>
                <a:gd name="connsiteY181" fmla="*/ 147742 h 219493"/>
                <a:gd name="connsiteX182" fmla="*/ 1247328 w 1623171"/>
                <a:gd name="connsiteY182" fmla="*/ 63493 h 219493"/>
                <a:gd name="connsiteX183" fmla="*/ 1295311 w 1623171"/>
                <a:gd name="connsiteY183" fmla="*/ 63493 h 219493"/>
                <a:gd name="connsiteX184" fmla="*/ 1295311 w 1623171"/>
                <a:gd name="connsiteY184" fmla="*/ 214360 h 219493"/>
                <a:gd name="connsiteX185" fmla="*/ 1249337 w 1623171"/>
                <a:gd name="connsiteY185" fmla="*/ 214360 h 219493"/>
                <a:gd name="connsiteX186" fmla="*/ 1249337 w 1623171"/>
                <a:gd name="connsiteY186" fmla="*/ 195837 h 219493"/>
                <a:gd name="connsiteX187" fmla="*/ 1248444 w 1623171"/>
                <a:gd name="connsiteY187" fmla="*/ 195837 h 219493"/>
                <a:gd name="connsiteX188" fmla="*/ 1229698 w 1623171"/>
                <a:gd name="connsiteY188" fmla="*/ 212910 h 219493"/>
                <a:gd name="connsiteX189" fmla="*/ 1203363 w 1623171"/>
                <a:gd name="connsiteY189" fmla="*/ 218824 h 219493"/>
                <a:gd name="connsiteX190" fmla="*/ 1385474 w 1623171"/>
                <a:gd name="connsiteY190" fmla="*/ 219158 h 219493"/>
                <a:gd name="connsiteX191" fmla="*/ 1332693 w 1623171"/>
                <a:gd name="connsiteY191" fmla="*/ 204875 h 219493"/>
                <a:gd name="connsiteX192" fmla="*/ 1312049 w 1623171"/>
                <a:gd name="connsiteY192" fmla="*/ 165485 h 219493"/>
                <a:gd name="connsiteX193" fmla="*/ 1357466 w 1623171"/>
                <a:gd name="connsiteY193" fmla="*/ 165485 h 219493"/>
                <a:gd name="connsiteX194" fmla="*/ 1366058 w 1623171"/>
                <a:gd name="connsiteY194" fmla="*/ 182334 h 219493"/>
                <a:gd name="connsiteX195" fmla="*/ 1385251 w 1623171"/>
                <a:gd name="connsiteY195" fmla="*/ 187914 h 219493"/>
                <a:gd name="connsiteX196" fmla="*/ 1402435 w 1623171"/>
                <a:gd name="connsiteY196" fmla="*/ 184120 h 219493"/>
                <a:gd name="connsiteX197" fmla="*/ 1408796 w 1623171"/>
                <a:gd name="connsiteY197" fmla="*/ 172961 h 219493"/>
                <a:gd name="connsiteX198" fmla="*/ 1405560 w 1623171"/>
                <a:gd name="connsiteY198" fmla="*/ 164815 h 219493"/>
                <a:gd name="connsiteX199" fmla="*/ 1396968 w 1623171"/>
                <a:gd name="connsiteY199" fmla="*/ 159794 h 219493"/>
                <a:gd name="connsiteX200" fmla="*/ 1384693 w 1623171"/>
                <a:gd name="connsiteY200" fmla="*/ 156892 h 219493"/>
                <a:gd name="connsiteX201" fmla="*/ 1370410 w 1623171"/>
                <a:gd name="connsiteY201" fmla="*/ 154438 h 219493"/>
                <a:gd name="connsiteX202" fmla="*/ 1350993 w 1623171"/>
                <a:gd name="connsiteY202" fmla="*/ 150197 h 219493"/>
                <a:gd name="connsiteX203" fmla="*/ 1333474 w 1623171"/>
                <a:gd name="connsiteY203" fmla="*/ 142721 h 219493"/>
                <a:gd name="connsiteX204" fmla="*/ 1320976 w 1623171"/>
                <a:gd name="connsiteY204" fmla="*/ 129330 h 219493"/>
                <a:gd name="connsiteX205" fmla="*/ 1316290 w 1623171"/>
                <a:gd name="connsiteY205" fmla="*/ 107682 h 219493"/>
                <a:gd name="connsiteX206" fmla="*/ 1321423 w 1623171"/>
                <a:gd name="connsiteY206" fmla="*/ 86704 h 219493"/>
                <a:gd name="connsiteX207" fmla="*/ 1335483 w 1623171"/>
                <a:gd name="connsiteY207" fmla="*/ 71528 h 219493"/>
                <a:gd name="connsiteX208" fmla="*/ 1356238 w 1623171"/>
                <a:gd name="connsiteY208" fmla="*/ 62378 h 219493"/>
                <a:gd name="connsiteX209" fmla="*/ 1381457 w 1623171"/>
                <a:gd name="connsiteY209" fmla="*/ 59253 h 219493"/>
                <a:gd name="connsiteX210" fmla="*/ 1430667 w 1623171"/>
                <a:gd name="connsiteY210" fmla="*/ 72197 h 219493"/>
                <a:gd name="connsiteX211" fmla="*/ 1449525 w 1623171"/>
                <a:gd name="connsiteY211" fmla="*/ 107571 h 219493"/>
                <a:gd name="connsiteX212" fmla="*/ 1405337 w 1623171"/>
                <a:gd name="connsiteY212" fmla="*/ 107571 h 219493"/>
                <a:gd name="connsiteX213" fmla="*/ 1397525 w 1623171"/>
                <a:gd name="connsiteY213" fmla="*/ 93622 h 219493"/>
                <a:gd name="connsiteX214" fmla="*/ 1381122 w 1623171"/>
                <a:gd name="connsiteY214" fmla="*/ 89940 h 219493"/>
                <a:gd name="connsiteX215" fmla="*/ 1366281 w 1623171"/>
                <a:gd name="connsiteY215" fmla="*/ 93287 h 219493"/>
                <a:gd name="connsiteX216" fmla="*/ 1360255 w 1623171"/>
                <a:gd name="connsiteY216" fmla="*/ 103777 h 219493"/>
                <a:gd name="connsiteX217" fmla="*/ 1363156 w 1623171"/>
                <a:gd name="connsiteY217" fmla="*/ 110249 h 219493"/>
                <a:gd name="connsiteX218" fmla="*/ 1371079 w 1623171"/>
                <a:gd name="connsiteY218" fmla="*/ 114266 h 219493"/>
                <a:gd name="connsiteX219" fmla="*/ 1382684 w 1623171"/>
                <a:gd name="connsiteY219" fmla="*/ 117056 h 219493"/>
                <a:gd name="connsiteX220" fmla="*/ 1396410 w 1623171"/>
                <a:gd name="connsiteY220" fmla="*/ 119399 h 219493"/>
                <a:gd name="connsiteX221" fmla="*/ 1416607 w 1623171"/>
                <a:gd name="connsiteY221" fmla="*/ 123639 h 219493"/>
                <a:gd name="connsiteX222" fmla="*/ 1435131 w 1623171"/>
                <a:gd name="connsiteY222" fmla="*/ 131450 h 219493"/>
                <a:gd name="connsiteX223" fmla="*/ 1448856 w 1623171"/>
                <a:gd name="connsiteY223" fmla="*/ 145734 h 219493"/>
                <a:gd name="connsiteX224" fmla="*/ 1454212 w 1623171"/>
                <a:gd name="connsiteY224" fmla="*/ 169167 h 219493"/>
                <a:gd name="connsiteX225" fmla="*/ 1449079 w 1623171"/>
                <a:gd name="connsiteY225" fmla="*/ 190927 h 219493"/>
                <a:gd name="connsiteX226" fmla="*/ 1434796 w 1623171"/>
                <a:gd name="connsiteY226" fmla="*/ 206549 h 219493"/>
                <a:gd name="connsiteX227" fmla="*/ 1413036 w 1623171"/>
                <a:gd name="connsiteY227" fmla="*/ 216034 h 219493"/>
                <a:gd name="connsiteX228" fmla="*/ 1385586 w 1623171"/>
                <a:gd name="connsiteY228" fmla="*/ 219270 h 219493"/>
                <a:gd name="connsiteX229" fmla="*/ 1547946 w 1623171"/>
                <a:gd name="connsiteY229" fmla="*/ 218935 h 219493"/>
                <a:gd name="connsiteX230" fmla="*/ 1514358 w 1623171"/>
                <a:gd name="connsiteY230" fmla="*/ 212910 h 219493"/>
                <a:gd name="connsiteX231" fmla="*/ 1489027 w 1623171"/>
                <a:gd name="connsiteY231" fmla="*/ 196060 h 219493"/>
                <a:gd name="connsiteX232" fmla="*/ 1473070 w 1623171"/>
                <a:gd name="connsiteY232" fmla="*/ 170618 h 219493"/>
                <a:gd name="connsiteX233" fmla="*/ 1467491 w 1623171"/>
                <a:gd name="connsiteY233" fmla="*/ 138815 h 219493"/>
                <a:gd name="connsiteX234" fmla="*/ 1473070 w 1623171"/>
                <a:gd name="connsiteY234" fmla="*/ 107459 h 219493"/>
                <a:gd name="connsiteX235" fmla="*/ 1489027 w 1623171"/>
                <a:gd name="connsiteY235" fmla="*/ 82129 h 219493"/>
                <a:gd name="connsiteX236" fmla="*/ 1513465 w 1623171"/>
                <a:gd name="connsiteY236" fmla="*/ 65390 h 219493"/>
                <a:gd name="connsiteX237" fmla="*/ 1545045 w 1623171"/>
                <a:gd name="connsiteY237" fmla="*/ 59365 h 219493"/>
                <a:gd name="connsiteX238" fmla="*/ 1574057 w 1623171"/>
                <a:gd name="connsiteY238" fmla="*/ 64386 h 219493"/>
                <a:gd name="connsiteX239" fmla="*/ 1596598 w 1623171"/>
                <a:gd name="connsiteY239" fmla="*/ 78223 h 219493"/>
                <a:gd name="connsiteX240" fmla="*/ 1616795 w 1623171"/>
                <a:gd name="connsiteY240" fmla="*/ 109579 h 219493"/>
                <a:gd name="connsiteX241" fmla="*/ 1623156 w 1623171"/>
                <a:gd name="connsiteY241" fmla="*/ 151536 h 219493"/>
                <a:gd name="connsiteX242" fmla="*/ 1514693 w 1623171"/>
                <a:gd name="connsiteY242" fmla="*/ 151536 h 219493"/>
                <a:gd name="connsiteX243" fmla="*/ 1525293 w 1623171"/>
                <a:gd name="connsiteY243" fmla="*/ 175751 h 219493"/>
                <a:gd name="connsiteX244" fmla="*/ 1548615 w 1623171"/>
                <a:gd name="connsiteY244" fmla="*/ 184566 h 219493"/>
                <a:gd name="connsiteX245" fmla="*/ 1564238 w 1623171"/>
                <a:gd name="connsiteY245" fmla="*/ 180549 h 219493"/>
                <a:gd name="connsiteX246" fmla="*/ 1573723 w 1623171"/>
                <a:gd name="connsiteY246" fmla="*/ 169502 h 219493"/>
                <a:gd name="connsiteX247" fmla="*/ 1620590 w 1623171"/>
                <a:gd name="connsiteY247" fmla="*/ 169502 h 219493"/>
                <a:gd name="connsiteX248" fmla="*/ 1611774 w 1623171"/>
                <a:gd name="connsiteY248" fmla="*/ 189141 h 219493"/>
                <a:gd name="connsiteX249" fmla="*/ 1595259 w 1623171"/>
                <a:gd name="connsiteY249" fmla="*/ 205210 h 219493"/>
                <a:gd name="connsiteX250" fmla="*/ 1574169 w 1623171"/>
                <a:gd name="connsiteY250" fmla="*/ 215476 h 219493"/>
                <a:gd name="connsiteX251" fmla="*/ 1548057 w 1623171"/>
                <a:gd name="connsiteY251" fmla="*/ 219047 h 219493"/>
                <a:gd name="connsiteX252" fmla="*/ 1574615 w 1623171"/>
                <a:gd name="connsiteY252" fmla="*/ 122970 h 219493"/>
                <a:gd name="connsiteX253" fmla="*/ 1565465 w 1623171"/>
                <a:gd name="connsiteY253" fmla="*/ 101433 h 219493"/>
                <a:gd name="connsiteX254" fmla="*/ 1546049 w 1623171"/>
                <a:gd name="connsiteY254" fmla="*/ 93511 h 219493"/>
                <a:gd name="connsiteX255" fmla="*/ 1524847 w 1623171"/>
                <a:gd name="connsiteY255" fmla="*/ 101433 h 219493"/>
                <a:gd name="connsiteX256" fmla="*/ 1515139 w 1623171"/>
                <a:gd name="connsiteY256" fmla="*/ 122970 h 219493"/>
                <a:gd name="connsiteX257" fmla="*/ 1574615 w 1623171"/>
                <a:gd name="connsiteY257" fmla="*/ 122970 h 219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</a:cxnLst>
              <a:rect l="l" t="t" r="r" b="b"/>
              <a:pathLst>
                <a:path w="1623171" h="219493">
                  <a:moveTo>
                    <a:pt x="100206" y="219493"/>
                  </a:moveTo>
                  <a:cubicBezTo>
                    <a:pt x="85030" y="219493"/>
                    <a:pt x="71528" y="216927"/>
                    <a:pt x="59588" y="211794"/>
                  </a:cubicBezTo>
                  <a:cubicBezTo>
                    <a:pt x="47648" y="206661"/>
                    <a:pt x="37159" y="199407"/>
                    <a:pt x="28343" y="190034"/>
                  </a:cubicBezTo>
                  <a:cubicBezTo>
                    <a:pt x="19082" y="179991"/>
                    <a:pt x="12052" y="168274"/>
                    <a:pt x="7253" y="154661"/>
                  </a:cubicBezTo>
                  <a:cubicBezTo>
                    <a:pt x="2455" y="141159"/>
                    <a:pt x="0" y="126317"/>
                    <a:pt x="0" y="110137"/>
                  </a:cubicBezTo>
                  <a:cubicBezTo>
                    <a:pt x="0" y="93957"/>
                    <a:pt x="2678" y="78111"/>
                    <a:pt x="8146" y="64051"/>
                  </a:cubicBezTo>
                  <a:cubicBezTo>
                    <a:pt x="13502" y="49991"/>
                    <a:pt x="21202" y="37940"/>
                    <a:pt x="31245" y="28009"/>
                  </a:cubicBezTo>
                  <a:cubicBezTo>
                    <a:pt x="40060" y="19193"/>
                    <a:pt x="50438" y="12275"/>
                    <a:pt x="62489" y="7365"/>
                  </a:cubicBezTo>
                  <a:cubicBezTo>
                    <a:pt x="74429" y="2455"/>
                    <a:pt x="88154" y="0"/>
                    <a:pt x="103442" y="0"/>
                  </a:cubicBezTo>
                  <a:cubicBezTo>
                    <a:pt x="116944" y="0"/>
                    <a:pt x="129219" y="1674"/>
                    <a:pt x="139931" y="5133"/>
                  </a:cubicBezTo>
                  <a:cubicBezTo>
                    <a:pt x="150755" y="8592"/>
                    <a:pt x="160129" y="13502"/>
                    <a:pt x="167940" y="19863"/>
                  </a:cubicBezTo>
                  <a:cubicBezTo>
                    <a:pt x="175751" y="26223"/>
                    <a:pt x="182111" y="33923"/>
                    <a:pt x="186910" y="42961"/>
                  </a:cubicBezTo>
                  <a:cubicBezTo>
                    <a:pt x="191708" y="52000"/>
                    <a:pt x="195055" y="62043"/>
                    <a:pt x="196729" y="72978"/>
                  </a:cubicBezTo>
                  <a:lnTo>
                    <a:pt x="146068" y="72978"/>
                  </a:lnTo>
                  <a:cubicBezTo>
                    <a:pt x="144060" y="64386"/>
                    <a:pt x="139708" y="57133"/>
                    <a:pt x="132789" y="51442"/>
                  </a:cubicBezTo>
                  <a:cubicBezTo>
                    <a:pt x="125871" y="45751"/>
                    <a:pt x="116721" y="42850"/>
                    <a:pt x="105116" y="42850"/>
                  </a:cubicBezTo>
                  <a:cubicBezTo>
                    <a:pt x="96412" y="42850"/>
                    <a:pt x="88824" y="44635"/>
                    <a:pt x="82240" y="47983"/>
                  </a:cubicBezTo>
                  <a:cubicBezTo>
                    <a:pt x="75657" y="51442"/>
                    <a:pt x="70189" y="56129"/>
                    <a:pt x="65837" y="62154"/>
                  </a:cubicBezTo>
                  <a:cubicBezTo>
                    <a:pt x="61485" y="68180"/>
                    <a:pt x="58249" y="75210"/>
                    <a:pt x="56129" y="83356"/>
                  </a:cubicBezTo>
                  <a:cubicBezTo>
                    <a:pt x="54008" y="91502"/>
                    <a:pt x="52893" y="100429"/>
                    <a:pt x="52893" y="110026"/>
                  </a:cubicBezTo>
                  <a:cubicBezTo>
                    <a:pt x="52893" y="119622"/>
                    <a:pt x="54120" y="128549"/>
                    <a:pt x="56575" y="136807"/>
                  </a:cubicBezTo>
                  <a:cubicBezTo>
                    <a:pt x="59030" y="145064"/>
                    <a:pt x="62489" y="152206"/>
                    <a:pt x="67064" y="158120"/>
                  </a:cubicBezTo>
                  <a:cubicBezTo>
                    <a:pt x="71639" y="164146"/>
                    <a:pt x="77107" y="168832"/>
                    <a:pt x="83691" y="172068"/>
                  </a:cubicBezTo>
                  <a:cubicBezTo>
                    <a:pt x="90275" y="175416"/>
                    <a:pt x="97639" y="177090"/>
                    <a:pt x="105897" y="177090"/>
                  </a:cubicBezTo>
                  <a:cubicBezTo>
                    <a:pt x="112704" y="177090"/>
                    <a:pt x="118953" y="176086"/>
                    <a:pt x="124309" y="173965"/>
                  </a:cubicBezTo>
                  <a:cubicBezTo>
                    <a:pt x="129665" y="171957"/>
                    <a:pt x="134352" y="169167"/>
                    <a:pt x="138146" y="165708"/>
                  </a:cubicBezTo>
                  <a:cubicBezTo>
                    <a:pt x="141940" y="162249"/>
                    <a:pt x="145064" y="158343"/>
                    <a:pt x="147296" y="153880"/>
                  </a:cubicBezTo>
                  <a:cubicBezTo>
                    <a:pt x="149528" y="149528"/>
                    <a:pt x="150978" y="144953"/>
                    <a:pt x="151536" y="140154"/>
                  </a:cubicBezTo>
                  <a:lnTo>
                    <a:pt x="151536" y="139596"/>
                  </a:lnTo>
                  <a:lnTo>
                    <a:pt x="112034" y="139596"/>
                  </a:lnTo>
                  <a:lnTo>
                    <a:pt x="112034" y="101322"/>
                  </a:lnTo>
                  <a:lnTo>
                    <a:pt x="199854" y="101322"/>
                  </a:lnTo>
                  <a:lnTo>
                    <a:pt x="199854" y="214472"/>
                  </a:lnTo>
                  <a:lnTo>
                    <a:pt x="163365" y="214472"/>
                  </a:lnTo>
                  <a:lnTo>
                    <a:pt x="160463" y="189141"/>
                  </a:lnTo>
                  <a:lnTo>
                    <a:pt x="159905" y="189141"/>
                  </a:lnTo>
                  <a:cubicBezTo>
                    <a:pt x="152987" y="199965"/>
                    <a:pt x="144506" y="207665"/>
                    <a:pt x="134463" y="212240"/>
                  </a:cubicBezTo>
                  <a:cubicBezTo>
                    <a:pt x="124309" y="216815"/>
                    <a:pt x="112927" y="219158"/>
                    <a:pt x="100094" y="219158"/>
                  </a:cubicBezTo>
                  <a:moveTo>
                    <a:pt x="277184" y="218824"/>
                  </a:moveTo>
                  <a:cubicBezTo>
                    <a:pt x="259665" y="218824"/>
                    <a:pt x="246497" y="213691"/>
                    <a:pt x="237570" y="203313"/>
                  </a:cubicBezTo>
                  <a:cubicBezTo>
                    <a:pt x="228643" y="193047"/>
                    <a:pt x="224180" y="179433"/>
                    <a:pt x="224180" y="162472"/>
                  </a:cubicBezTo>
                  <a:lnTo>
                    <a:pt x="224180" y="63493"/>
                  </a:lnTo>
                  <a:lnTo>
                    <a:pt x="271939" y="63493"/>
                  </a:lnTo>
                  <a:lnTo>
                    <a:pt x="271939" y="152541"/>
                  </a:lnTo>
                  <a:cubicBezTo>
                    <a:pt x="271939" y="160798"/>
                    <a:pt x="273836" y="167159"/>
                    <a:pt x="277519" y="171510"/>
                  </a:cubicBezTo>
                  <a:cubicBezTo>
                    <a:pt x="281201" y="175974"/>
                    <a:pt x="287004" y="178094"/>
                    <a:pt x="294592" y="178094"/>
                  </a:cubicBezTo>
                  <a:cubicBezTo>
                    <a:pt x="302849" y="178094"/>
                    <a:pt x="309321" y="175304"/>
                    <a:pt x="314008" y="169725"/>
                  </a:cubicBezTo>
                  <a:cubicBezTo>
                    <a:pt x="318695" y="164146"/>
                    <a:pt x="321038" y="156781"/>
                    <a:pt x="321038" y="147742"/>
                  </a:cubicBezTo>
                  <a:lnTo>
                    <a:pt x="321038" y="63493"/>
                  </a:lnTo>
                  <a:lnTo>
                    <a:pt x="369021" y="63493"/>
                  </a:lnTo>
                  <a:lnTo>
                    <a:pt x="369021" y="214360"/>
                  </a:lnTo>
                  <a:lnTo>
                    <a:pt x="323047" y="214360"/>
                  </a:lnTo>
                  <a:lnTo>
                    <a:pt x="323047" y="195837"/>
                  </a:lnTo>
                  <a:lnTo>
                    <a:pt x="322154" y="195837"/>
                  </a:lnTo>
                  <a:cubicBezTo>
                    <a:pt x="316686" y="203313"/>
                    <a:pt x="310437" y="209004"/>
                    <a:pt x="303407" y="212910"/>
                  </a:cubicBezTo>
                  <a:cubicBezTo>
                    <a:pt x="296489" y="216815"/>
                    <a:pt x="287673" y="218824"/>
                    <a:pt x="277072" y="218824"/>
                  </a:cubicBezTo>
                  <a:moveTo>
                    <a:pt x="396360" y="1674"/>
                  </a:moveTo>
                  <a:lnTo>
                    <a:pt x="444343" y="1674"/>
                  </a:lnTo>
                  <a:lnTo>
                    <a:pt x="444343" y="42627"/>
                  </a:lnTo>
                  <a:lnTo>
                    <a:pt x="396360" y="42627"/>
                  </a:lnTo>
                  <a:lnTo>
                    <a:pt x="396360" y="1674"/>
                  </a:lnTo>
                  <a:close/>
                  <a:moveTo>
                    <a:pt x="396360" y="63493"/>
                  </a:moveTo>
                  <a:lnTo>
                    <a:pt x="444343" y="63493"/>
                  </a:lnTo>
                  <a:lnTo>
                    <a:pt x="444343" y="214360"/>
                  </a:lnTo>
                  <a:lnTo>
                    <a:pt x="396360" y="214360"/>
                  </a:lnTo>
                  <a:lnTo>
                    <a:pt x="396360" y="63493"/>
                  </a:lnTo>
                  <a:close/>
                  <a:moveTo>
                    <a:pt x="531046" y="219047"/>
                  </a:moveTo>
                  <a:cubicBezTo>
                    <a:pt x="521450" y="219047"/>
                    <a:pt x="512523" y="217261"/>
                    <a:pt x="504488" y="213579"/>
                  </a:cubicBezTo>
                  <a:cubicBezTo>
                    <a:pt x="496454" y="209897"/>
                    <a:pt x="489424" y="204652"/>
                    <a:pt x="483621" y="197845"/>
                  </a:cubicBezTo>
                  <a:cubicBezTo>
                    <a:pt x="477707" y="190927"/>
                    <a:pt x="473132" y="182558"/>
                    <a:pt x="469896" y="172626"/>
                  </a:cubicBezTo>
                  <a:cubicBezTo>
                    <a:pt x="466660" y="162695"/>
                    <a:pt x="464986" y="151425"/>
                    <a:pt x="464986" y="138927"/>
                  </a:cubicBezTo>
                  <a:cubicBezTo>
                    <a:pt x="464986" y="127098"/>
                    <a:pt x="466660" y="116386"/>
                    <a:pt x="469896" y="106455"/>
                  </a:cubicBezTo>
                  <a:cubicBezTo>
                    <a:pt x="473132" y="96635"/>
                    <a:pt x="477707" y="88266"/>
                    <a:pt x="483398" y="81236"/>
                  </a:cubicBezTo>
                  <a:cubicBezTo>
                    <a:pt x="489201" y="74317"/>
                    <a:pt x="496119" y="68850"/>
                    <a:pt x="504154" y="64833"/>
                  </a:cubicBezTo>
                  <a:cubicBezTo>
                    <a:pt x="512188" y="60927"/>
                    <a:pt x="521115" y="58918"/>
                    <a:pt x="530935" y="58918"/>
                  </a:cubicBezTo>
                  <a:cubicBezTo>
                    <a:pt x="541536" y="58918"/>
                    <a:pt x="550128" y="60927"/>
                    <a:pt x="556600" y="64944"/>
                  </a:cubicBezTo>
                  <a:cubicBezTo>
                    <a:pt x="563072" y="68961"/>
                    <a:pt x="568540" y="74094"/>
                    <a:pt x="573115" y="80455"/>
                  </a:cubicBezTo>
                  <a:lnTo>
                    <a:pt x="574008" y="80455"/>
                  </a:lnTo>
                  <a:lnTo>
                    <a:pt x="574008" y="1451"/>
                  </a:lnTo>
                  <a:lnTo>
                    <a:pt x="621990" y="1451"/>
                  </a:lnTo>
                  <a:lnTo>
                    <a:pt x="621990" y="214249"/>
                  </a:lnTo>
                  <a:lnTo>
                    <a:pt x="576016" y="214249"/>
                  </a:lnTo>
                  <a:lnTo>
                    <a:pt x="576016" y="193940"/>
                  </a:lnTo>
                  <a:lnTo>
                    <a:pt x="575458" y="193940"/>
                  </a:lnTo>
                  <a:cubicBezTo>
                    <a:pt x="570995" y="201751"/>
                    <a:pt x="564857" y="207888"/>
                    <a:pt x="557381" y="212352"/>
                  </a:cubicBezTo>
                  <a:cubicBezTo>
                    <a:pt x="549793" y="216815"/>
                    <a:pt x="541089" y="218935"/>
                    <a:pt x="531046" y="218935"/>
                  </a:cubicBezTo>
                  <a:moveTo>
                    <a:pt x="543433" y="180884"/>
                  </a:moveTo>
                  <a:cubicBezTo>
                    <a:pt x="553475" y="180884"/>
                    <a:pt x="561287" y="176978"/>
                    <a:pt x="566866" y="169056"/>
                  </a:cubicBezTo>
                  <a:cubicBezTo>
                    <a:pt x="572445" y="161244"/>
                    <a:pt x="575235" y="151090"/>
                    <a:pt x="575235" y="138704"/>
                  </a:cubicBezTo>
                  <a:cubicBezTo>
                    <a:pt x="575235" y="132455"/>
                    <a:pt x="574566" y="126541"/>
                    <a:pt x="573338" y="121184"/>
                  </a:cubicBezTo>
                  <a:cubicBezTo>
                    <a:pt x="572111" y="115828"/>
                    <a:pt x="570102" y="111141"/>
                    <a:pt x="567424" y="107347"/>
                  </a:cubicBezTo>
                  <a:cubicBezTo>
                    <a:pt x="564746" y="103553"/>
                    <a:pt x="561510" y="100541"/>
                    <a:pt x="557716" y="98309"/>
                  </a:cubicBezTo>
                  <a:cubicBezTo>
                    <a:pt x="553922" y="96189"/>
                    <a:pt x="549347" y="95073"/>
                    <a:pt x="543991" y="95073"/>
                  </a:cubicBezTo>
                  <a:cubicBezTo>
                    <a:pt x="534394" y="95073"/>
                    <a:pt x="526918" y="99090"/>
                    <a:pt x="521561" y="107013"/>
                  </a:cubicBezTo>
                  <a:cubicBezTo>
                    <a:pt x="516205" y="114935"/>
                    <a:pt x="513639" y="125313"/>
                    <a:pt x="513639" y="138146"/>
                  </a:cubicBezTo>
                  <a:cubicBezTo>
                    <a:pt x="513639" y="150978"/>
                    <a:pt x="516205" y="161691"/>
                    <a:pt x="521450" y="169390"/>
                  </a:cubicBezTo>
                  <a:cubicBezTo>
                    <a:pt x="526694" y="177090"/>
                    <a:pt x="533948" y="180884"/>
                    <a:pt x="543433" y="180884"/>
                  </a:cubicBezTo>
                  <a:moveTo>
                    <a:pt x="720188" y="218601"/>
                  </a:moveTo>
                  <a:cubicBezTo>
                    <a:pt x="707801" y="218601"/>
                    <a:pt x="696643" y="216592"/>
                    <a:pt x="686600" y="212575"/>
                  </a:cubicBezTo>
                  <a:cubicBezTo>
                    <a:pt x="676557" y="208558"/>
                    <a:pt x="668076" y="202978"/>
                    <a:pt x="661269" y="195725"/>
                  </a:cubicBezTo>
                  <a:cubicBezTo>
                    <a:pt x="654351" y="188583"/>
                    <a:pt x="649106" y="180103"/>
                    <a:pt x="645312" y="170283"/>
                  </a:cubicBezTo>
                  <a:cubicBezTo>
                    <a:pt x="641630" y="160463"/>
                    <a:pt x="639733" y="149862"/>
                    <a:pt x="639733" y="138480"/>
                  </a:cubicBezTo>
                  <a:cubicBezTo>
                    <a:pt x="639733" y="127098"/>
                    <a:pt x="641630" y="116832"/>
                    <a:pt x="645312" y="107124"/>
                  </a:cubicBezTo>
                  <a:cubicBezTo>
                    <a:pt x="648995" y="97416"/>
                    <a:pt x="654351" y="88935"/>
                    <a:pt x="661269" y="81794"/>
                  </a:cubicBezTo>
                  <a:cubicBezTo>
                    <a:pt x="668188" y="74652"/>
                    <a:pt x="676334" y="69073"/>
                    <a:pt x="685707" y="65056"/>
                  </a:cubicBezTo>
                  <a:cubicBezTo>
                    <a:pt x="695080" y="61039"/>
                    <a:pt x="705681" y="59030"/>
                    <a:pt x="717286" y="59030"/>
                  </a:cubicBezTo>
                  <a:cubicBezTo>
                    <a:pt x="728110" y="59030"/>
                    <a:pt x="737818" y="60704"/>
                    <a:pt x="746299" y="64051"/>
                  </a:cubicBezTo>
                  <a:cubicBezTo>
                    <a:pt x="754891" y="67399"/>
                    <a:pt x="762368" y="71974"/>
                    <a:pt x="768840" y="77888"/>
                  </a:cubicBezTo>
                  <a:cubicBezTo>
                    <a:pt x="777879" y="86146"/>
                    <a:pt x="784574" y="96635"/>
                    <a:pt x="789037" y="109244"/>
                  </a:cubicBezTo>
                  <a:cubicBezTo>
                    <a:pt x="793501" y="121965"/>
                    <a:pt x="795509" y="135914"/>
                    <a:pt x="795398" y="151201"/>
                  </a:cubicBezTo>
                  <a:lnTo>
                    <a:pt x="686934" y="151201"/>
                  </a:lnTo>
                  <a:cubicBezTo>
                    <a:pt x="688497" y="161468"/>
                    <a:pt x="692067" y="169502"/>
                    <a:pt x="697535" y="175416"/>
                  </a:cubicBezTo>
                  <a:cubicBezTo>
                    <a:pt x="703003" y="181330"/>
                    <a:pt x="710814" y="184231"/>
                    <a:pt x="720857" y="184231"/>
                  </a:cubicBezTo>
                  <a:cubicBezTo>
                    <a:pt x="727106" y="184231"/>
                    <a:pt x="732351" y="182892"/>
                    <a:pt x="736479" y="180214"/>
                  </a:cubicBezTo>
                  <a:cubicBezTo>
                    <a:pt x="740608" y="177536"/>
                    <a:pt x="743733" y="173854"/>
                    <a:pt x="745853" y="169167"/>
                  </a:cubicBezTo>
                  <a:lnTo>
                    <a:pt x="792720" y="169167"/>
                  </a:lnTo>
                  <a:cubicBezTo>
                    <a:pt x="791157" y="176086"/>
                    <a:pt x="788145" y="182558"/>
                    <a:pt x="783904" y="188807"/>
                  </a:cubicBezTo>
                  <a:cubicBezTo>
                    <a:pt x="779552" y="194944"/>
                    <a:pt x="774084" y="200300"/>
                    <a:pt x="767389" y="204875"/>
                  </a:cubicBezTo>
                  <a:cubicBezTo>
                    <a:pt x="761140" y="209450"/>
                    <a:pt x="754110" y="212798"/>
                    <a:pt x="746299" y="215141"/>
                  </a:cubicBezTo>
                  <a:cubicBezTo>
                    <a:pt x="738600" y="217485"/>
                    <a:pt x="729896" y="218712"/>
                    <a:pt x="720188" y="218712"/>
                  </a:cubicBezTo>
                  <a:moveTo>
                    <a:pt x="746746" y="122635"/>
                  </a:moveTo>
                  <a:cubicBezTo>
                    <a:pt x="745741" y="113596"/>
                    <a:pt x="742728" y="106455"/>
                    <a:pt x="737595" y="101099"/>
                  </a:cubicBezTo>
                  <a:cubicBezTo>
                    <a:pt x="732462" y="95854"/>
                    <a:pt x="725990" y="93176"/>
                    <a:pt x="718179" y="93176"/>
                  </a:cubicBezTo>
                  <a:cubicBezTo>
                    <a:pt x="708917" y="93176"/>
                    <a:pt x="701887" y="95854"/>
                    <a:pt x="696977" y="101099"/>
                  </a:cubicBezTo>
                  <a:cubicBezTo>
                    <a:pt x="692067" y="106455"/>
                    <a:pt x="688831" y="113596"/>
                    <a:pt x="687269" y="122635"/>
                  </a:cubicBezTo>
                  <a:lnTo>
                    <a:pt x="746746" y="122635"/>
                  </a:lnTo>
                  <a:close/>
                  <a:moveTo>
                    <a:pt x="813029" y="1562"/>
                  </a:moveTo>
                  <a:lnTo>
                    <a:pt x="861011" y="1562"/>
                  </a:lnTo>
                  <a:lnTo>
                    <a:pt x="861011" y="82017"/>
                  </a:lnTo>
                  <a:lnTo>
                    <a:pt x="861904" y="82017"/>
                  </a:lnTo>
                  <a:cubicBezTo>
                    <a:pt x="867372" y="74764"/>
                    <a:pt x="873621" y="69073"/>
                    <a:pt x="880428" y="65056"/>
                  </a:cubicBezTo>
                  <a:cubicBezTo>
                    <a:pt x="887346" y="61039"/>
                    <a:pt x="896050" y="59030"/>
                    <a:pt x="906651" y="59030"/>
                  </a:cubicBezTo>
                  <a:cubicBezTo>
                    <a:pt x="914908" y="59030"/>
                    <a:pt x="922273" y="60481"/>
                    <a:pt x="928745" y="63270"/>
                  </a:cubicBezTo>
                  <a:cubicBezTo>
                    <a:pt x="935217" y="66060"/>
                    <a:pt x="940685" y="70077"/>
                    <a:pt x="945260" y="75099"/>
                  </a:cubicBezTo>
                  <a:cubicBezTo>
                    <a:pt x="949835" y="80120"/>
                    <a:pt x="953183" y="86146"/>
                    <a:pt x="955638" y="93064"/>
                  </a:cubicBezTo>
                  <a:cubicBezTo>
                    <a:pt x="957981" y="99983"/>
                    <a:pt x="959209" y="107794"/>
                    <a:pt x="959209" y="116163"/>
                  </a:cubicBezTo>
                  <a:lnTo>
                    <a:pt x="959209" y="214249"/>
                  </a:lnTo>
                  <a:lnTo>
                    <a:pt x="911226" y="214249"/>
                  </a:lnTo>
                  <a:lnTo>
                    <a:pt x="911226" y="125871"/>
                  </a:lnTo>
                  <a:cubicBezTo>
                    <a:pt x="911226" y="117837"/>
                    <a:pt x="909217" y="111365"/>
                    <a:pt x="905312" y="106455"/>
                  </a:cubicBezTo>
                  <a:cubicBezTo>
                    <a:pt x="901406" y="101545"/>
                    <a:pt x="895492" y="99090"/>
                    <a:pt x="887681" y="99090"/>
                  </a:cubicBezTo>
                  <a:cubicBezTo>
                    <a:pt x="879870" y="99090"/>
                    <a:pt x="873174" y="101991"/>
                    <a:pt x="868376" y="107905"/>
                  </a:cubicBezTo>
                  <a:cubicBezTo>
                    <a:pt x="863578" y="113820"/>
                    <a:pt x="861123" y="121519"/>
                    <a:pt x="861123" y="130892"/>
                  </a:cubicBezTo>
                  <a:lnTo>
                    <a:pt x="861123" y="214249"/>
                  </a:lnTo>
                  <a:lnTo>
                    <a:pt x="813140" y="214249"/>
                  </a:lnTo>
                  <a:lnTo>
                    <a:pt x="813140" y="1451"/>
                  </a:lnTo>
                  <a:close/>
                  <a:moveTo>
                    <a:pt x="1054951" y="219047"/>
                  </a:moveTo>
                  <a:cubicBezTo>
                    <a:pt x="1042788" y="219047"/>
                    <a:pt x="1031741" y="217038"/>
                    <a:pt x="1021809" y="213021"/>
                  </a:cubicBezTo>
                  <a:cubicBezTo>
                    <a:pt x="1011878" y="209004"/>
                    <a:pt x="1003397" y="203425"/>
                    <a:pt x="996256" y="196171"/>
                  </a:cubicBezTo>
                  <a:cubicBezTo>
                    <a:pt x="989226" y="189030"/>
                    <a:pt x="983758" y="180549"/>
                    <a:pt x="979964" y="170841"/>
                  </a:cubicBezTo>
                  <a:cubicBezTo>
                    <a:pt x="976170" y="161133"/>
                    <a:pt x="974161" y="150532"/>
                    <a:pt x="974161" y="139150"/>
                  </a:cubicBezTo>
                  <a:cubicBezTo>
                    <a:pt x="974161" y="127768"/>
                    <a:pt x="976058" y="117167"/>
                    <a:pt x="979964" y="107459"/>
                  </a:cubicBezTo>
                  <a:cubicBezTo>
                    <a:pt x="983758" y="97751"/>
                    <a:pt x="989226" y="89270"/>
                    <a:pt x="996256" y="82129"/>
                  </a:cubicBezTo>
                  <a:cubicBezTo>
                    <a:pt x="1003286" y="74987"/>
                    <a:pt x="1011878" y="69408"/>
                    <a:pt x="1021809" y="65390"/>
                  </a:cubicBezTo>
                  <a:cubicBezTo>
                    <a:pt x="1031741" y="61373"/>
                    <a:pt x="1042788" y="59365"/>
                    <a:pt x="1054951" y="59365"/>
                  </a:cubicBezTo>
                  <a:cubicBezTo>
                    <a:pt x="1067114" y="59365"/>
                    <a:pt x="1078161" y="61373"/>
                    <a:pt x="1088093" y="65390"/>
                  </a:cubicBezTo>
                  <a:cubicBezTo>
                    <a:pt x="1098024" y="69408"/>
                    <a:pt x="1106505" y="74987"/>
                    <a:pt x="1113423" y="82129"/>
                  </a:cubicBezTo>
                  <a:cubicBezTo>
                    <a:pt x="1120341" y="89270"/>
                    <a:pt x="1125809" y="97751"/>
                    <a:pt x="1129603" y="107459"/>
                  </a:cubicBezTo>
                  <a:cubicBezTo>
                    <a:pt x="1133397" y="117167"/>
                    <a:pt x="1135294" y="127768"/>
                    <a:pt x="1135294" y="139150"/>
                  </a:cubicBezTo>
                  <a:cubicBezTo>
                    <a:pt x="1135294" y="150532"/>
                    <a:pt x="1133397" y="161133"/>
                    <a:pt x="1129603" y="170841"/>
                  </a:cubicBezTo>
                  <a:cubicBezTo>
                    <a:pt x="1125809" y="180549"/>
                    <a:pt x="1120341" y="189030"/>
                    <a:pt x="1113423" y="196171"/>
                  </a:cubicBezTo>
                  <a:cubicBezTo>
                    <a:pt x="1106505" y="203313"/>
                    <a:pt x="1098024" y="208892"/>
                    <a:pt x="1088093" y="213021"/>
                  </a:cubicBezTo>
                  <a:cubicBezTo>
                    <a:pt x="1078161" y="217038"/>
                    <a:pt x="1067114" y="219047"/>
                    <a:pt x="1054951" y="219047"/>
                  </a:cubicBezTo>
                  <a:moveTo>
                    <a:pt x="1054616" y="184901"/>
                  </a:moveTo>
                  <a:cubicBezTo>
                    <a:pt x="1065217" y="184901"/>
                    <a:pt x="1073251" y="180772"/>
                    <a:pt x="1078608" y="172403"/>
                  </a:cubicBezTo>
                  <a:cubicBezTo>
                    <a:pt x="1084075" y="164034"/>
                    <a:pt x="1086753" y="152987"/>
                    <a:pt x="1086753" y="139262"/>
                  </a:cubicBezTo>
                  <a:cubicBezTo>
                    <a:pt x="1086753" y="125536"/>
                    <a:pt x="1084075" y="114377"/>
                    <a:pt x="1078608" y="106008"/>
                  </a:cubicBezTo>
                  <a:cubicBezTo>
                    <a:pt x="1073251" y="97528"/>
                    <a:pt x="1065217" y="93287"/>
                    <a:pt x="1054616" y="93287"/>
                  </a:cubicBezTo>
                  <a:cubicBezTo>
                    <a:pt x="1044015" y="93287"/>
                    <a:pt x="1036093" y="97528"/>
                    <a:pt x="1030736" y="106008"/>
                  </a:cubicBezTo>
                  <a:cubicBezTo>
                    <a:pt x="1025492" y="114489"/>
                    <a:pt x="1022814" y="125536"/>
                    <a:pt x="1022814" y="139262"/>
                  </a:cubicBezTo>
                  <a:cubicBezTo>
                    <a:pt x="1022814" y="152987"/>
                    <a:pt x="1025492" y="164034"/>
                    <a:pt x="1030736" y="172403"/>
                  </a:cubicBezTo>
                  <a:cubicBezTo>
                    <a:pt x="1036093" y="180772"/>
                    <a:pt x="1044015" y="184901"/>
                    <a:pt x="1054616" y="184901"/>
                  </a:cubicBezTo>
                  <a:moveTo>
                    <a:pt x="1203474" y="218824"/>
                  </a:moveTo>
                  <a:cubicBezTo>
                    <a:pt x="1185955" y="218824"/>
                    <a:pt x="1172788" y="213691"/>
                    <a:pt x="1163861" y="203313"/>
                  </a:cubicBezTo>
                  <a:cubicBezTo>
                    <a:pt x="1154934" y="193047"/>
                    <a:pt x="1150470" y="179433"/>
                    <a:pt x="1150470" y="162472"/>
                  </a:cubicBezTo>
                  <a:lnTo>
                    <a:pt x="1150470" y="63493"/>
                  </a:lnTo>
                  <a:lnTo>
                    <a:pt x="1198230" y="63493"/>
                  </a:lnTo>
                  <a:lnTo>
                    <a:pt x="1198230" y="152541"/>
                  </a:lnTo>
                  <a:cubicBezTo>
                    <a:pt x="1198230" y="160798"/>
                    <a:pt x="1200127" y="167159"/>
                    <a:pt x="1203809" y="171510"/>
                  </a:cubicBezTo>
                  <a:cubicBezTo>
                    <a:pt x="1207492" y="175974"/>
                    <a:pt x="1213294" y="178094"/>
                    <a:pt x="1220882" y="178094"/>
                  </a:cubicBezTo>
                  <a:cubicBezTo>
                    <a:pt x="1229140" y="178094"/>
                    <a:pt x="1235612" y="175304"/>
                    <a:pt x="1240298" y="169725"/>
                  </a:cubicBezTo>
                  <a:cubicBezTo>
                    <a:pt x="1244985" y="164146"/>
                    <a:pt x="1247328" y="156781"/>
                    <a:pt x="1247328" y="147742"/>
                  </a:cubicBezTo>
                  <a:lnTo>
                    <a:pt x="1247328" y="63493"/>
                  </a:lnTo>
                  <a:lnTo>
                    <a:pt x="1295311" y="63493"/>
                  </a:lnTo>
                  <a:lnTo>
                    <a:pt x="1295311" y="214360"/>
                  </a:lnTo>
                  <a:lnTo>
                    <a:pt x="1249337" y="214360"/>
                  </a:lnTo>
                  <a:lnTo>
                    <a:pt x="1249337" y="195837"/>
                  </a:lnTo>
                  <a:lnTo>
                    <a:pt x="1248444" y="195837"/>
                  </a:lnTo>
                  <a:cubicBezTo>
                    <a:pt x="1242976" y="203313"/>
                    <a:pt x="1236727" y="209004"/>
                    <a:pt x="1229698" y="212910"/>
                  </a:cubicBezTo>
                  <a:cubicBezTo>
                    <a:pt x="1222779" y="216815"/>
                    <a:pt x="1213964" y="218824"/>
                    <a:pt x="1203363" y="218824"/>
                  </a:cubicBezTo>
                  <a:moveTo>
                    <a:pt x="1385474" y="219158"/>
                  </a:moveTo>
                  <a:cubicBezTo>
                    <a:pt x="1363268" y="219158"/>
                    <a:pt x="1345749" y="214360"/>
                    <a:pt x="1332693" y="204875"/>
                  </a:cubicBezTo>
                  <a:cubicBezTo>
                    <a:pt x="1319749" y="195390"/>
                    <a:pt x="1312830" y="182223"/>
                    <a:pt x="1312049" y="165485"/>
                  </a:cubicBezTo>
                  <a:lnTo>
                    <a:pt x="1357466" y="165485"/>
                  </a:lnTo>
                  <a:cubicBezTo>
                    <a:pt x="1358470" y="172961"/>
                    <a:pt x="1361259" y="178540"/>
                    <a:pt x="1366058" y="182334"/>
                  </a:cubicBezTo>
                  <a:cubicBezTo>
                    <a:pt x="1370744" y="186017"/>
                    <a:pt x="1377105" y="187914"/>
                    <a:pt x="1385251" y="187914"/>
                  </a:cubicBezTo>
                  <a:cubicBezTo>
                    <a:pt x="1392504" y="187914"/>
                    <a:pt x="1398307" y="186686"/>
                    <a:pt x="1402435" y="184120"/>
                  </a:cubicBezTo>
                  <a:cubicBezTo>
                    <a:pt x="1406676" y="181553"/>
                    <a:pt x="1408796" y="177871"/>
                    <a:pt x="1408796" y="172961"/>
                  </a:cubicBezTo>
                  <a:cubicBezTo>
                    <a:pt x="1408796" y="169613"/>
                    <a:pt x="1407680" y="166935"/>
                    <a:pt x="1405560" y="164815"/>
                  </a:cubicBezTo>
                  <a:cubicBezTo>
                    <a:pt x="1403440" y="162807"/>
                    <a:pt x="1400538" y="161133"/>
                    <a:pt x="1396968" y="159794"/>
                  </a:cubicBezTo>
                  <a:cubicBezTo>
                    <a:pt x="1393397" y="158566"/>
                    <a:pt x="1389380" y="157562"/>
                    <a:pt x="1384693" y="156892"/>
                  </a:cubicBezTo>
                  <a:cubicBezTo>
                    <a:pt x="1380118" y="156223"/>
                    <a:pt x="1375319" y="155330"/>
                    <a:pt x="1370410" y="154438"/>
                  </a:cubicBezTo>
                  <a:cubicBezTo>
                    <a:pt x="1363938" y="153210"/>
                    <a:pt x="1357466" y="151871"/>
                    <a:pt x="1350993" y="150197"/>
                  </a:cubicBezTo>
                  <a:cubicBezTo>
                    <a:pt x="1344521" y="148523"/>
                    <a:pt x="1338719" y="146068"/>
                    <a:pt x="1333474" y="142721"/>
                  </a:cubicBezTo>
                  <a:cubicBezTo>
                    <a:pt x="1328229" y="139373"/>
                    <a:pt x="1324101" y="134910"/>
                    <a:pt x="1320976" y="129330"/>
                  </a:cubicBezTo>
                  <a:cubicBezTo>
                    <a:pt x="1317852" y="123751"/>
                    <a:pt x="1316290" y="116498"/>
                    <a:pt x="1316290" y="107682"/>
                  </a:cubicBezTo>
                  <a:cubicBezTo>
                    <a:pt x="1316290" y="99871"/>
                    <a:pt x="1317963" y="92841"/>
                    <a:pt x="1321423" y="86704"/>
                  </a:cubicBezTo>
                  <a:cubicBezTo>
                    <a:pt x="1324882" y="80678"/>
                    <a:pt x="1329569" y="75545"/>
                    <a:pt x="1335483" y="71528"/>
                  </a:cubicBezTo>
                  <a:cubicBezTo>
                    <a:pt x="1341397" y="67511"/>
                    <a:pt x="1348315" y="64498"/>
                    <a:pt x="1356238" y="62378"/>
                  </a:cubicBezTo>
                  <a:cubicBezTo>
                    <a:pt x="1364161" y="60369"/>
                    <a:pt x="1372641" y="59253"/>
                    <a:pt x="1381457" y="59253"/>
                  </a:cubicBezTo>
                  <a:cubicBezTo>
                    <a:pt x="1402882" y="59253"/>
                    <a:pt x="1419285" y="63605"/>
                    <a:pt x="1430667" y="72197"/>
                  </a:cubicBezTo>
                  <a:cubicBezTo>
                    <a:pt x="1442049" y="80790"/>
                    <a:pt x="1448298" y="92618"/>
                    <a:pt x="1449525" y="107571"/>
                  </a:cubicBezTo>
                  <a:lnTo>
                    <a:pt x="1405337" y="107571"/>
                  </a:lnTo>
                  <a:cubicBezTo>
                    <a:pt x="1404332" y="100652"/>
                    <a:pt x="1401766" y="96077"/>
                    <a:pt x="1397525" y="93622"/>
                  </a:cubicBezTo>
                  <a:cubicBezTo>
                    <a:pt x="1393285" y="91167"/>
                    <a:pt x="1387817" y="89940"/>
                    <a:pt x="1381122" y="89940"/>
                  </a:cubicBezTo>
                  <a:cubicBezTo>
                    <a:pt x="1375208" y="89940"/>
                    <a:pt x="1370298" y="91056"/>
                    <a:pt x="1366281" y="93287"/>
                  </a:cubicBezTo>
                  <a:cubicBezTo>
                    <a:pt x="1362264" y="95519"/>
                    <a:pt x="1360255" y="98978"/>
                    <a:pt x="1360255" y="103777"/>
                  </a:cubicBezTo>
                  <a:cubicBezTo>
                    <a:pt x="1360255" y="106566"/>
                    <a:pt x="1361259" y="108687"/>
                    <a:pt x="1363156" y="110249"/>
                  </a:cubicBezTo>
                  <a:cubicBezTo>
                    <a:pt x="1365165" y="111811"/>
                    <a:pt x="1367732" y="113150"/>
                    <a:pt x="1371079" y="114266"/>
                  </a:cubicBezTo>
                  <a:cubicBezTo>
                    <a:pt x="1374427" y="115382"/>
                    <a:pt x="1378332" y="116274"/>
                    <a:pt x="1382684" y="117056"/>
                  </a:cubicBezTo>
                  <a:cubicBezTo>
                    <a:pt x="1387148" y="117837"/>
                    <a:pt x="1391723" y="118618"/>
                    <a:pt x="1396410" y="119399"/>
                  </a:cubicBezTo>
                  <a:cubicBezTo>
                    <a:pt x="1403105" y="120515"/>
                    <a:pt x="1409800" y="121965"/>
                    <a:pt x="1416607" y="123639"/>
                  </a:cubicBezTo>
                  <a:cubicBezTo>
                    <a:pt x="1423414" y="125313"/>
                    <a:pt x="1429551" y="127880"/>
                    <a:pt x="1435131" y="131450"/>
                  </a:cubicBezTo>
                  <a:cubicBezTo>
                    <a:pt x="1440710" y="135021"/>
                    <a:pt x="1445285" y="139708"/>
                    <a:pt x="1448856" y="145734"/>
                  </a:cubicBezTo>
                  <a:cubicBezTo>
                    <a:pt x="1452427" y="151759"/>
                    <a:pt x="1454212" y="159571"/>
                    <a:pt x="1454212" y="169167"/>
                  </a:cubicBezTo>
                  <a:cubicBezTo>
                    <a:pt x="1454212" y="177425"/>
                    <a:pt x="1452427" y="184678"/>
                    <a:pt x="1449079" y="190927"/>
                  </a:cubicBezTo>
                  <a:cubicBezTo>
                    <a:pt x="1445620" y="197176"/>
                    <a:pt x="1440822" y="202420"/>
                    <a:pt x="1434796" y="206549"/>
                  </a:cubicBezTo>
                  <a:cubicBezTo>
                    <a:pt x="1428658" y="210678"/>
                    <a:pt x="1421405" y="213802"/>
                    <a:pt x="1413036" y="216034"/>
                  </a:cubicBezTo>
                  <a:cubicBezTo>
                    <a:pt x="1404556" y="218154"/>
                    <a:pt x="1395405" y="219270"/>
                    <a:pt x="1385586" y="219270"/>
                  </a:cubicBezTo>
                  <a:moveTo>
                    <a:pt x="1547946" y="218935"/>
                  </a:moveTo>
                  <a:cubicBezTo>
                    <a:pt x="1535560" y="218935"/>
                    <a:pt x="1524401" y="216927"/>
                    <a:pt x="1514358" y="212910"/>
                  </a:cubicBezTo>
                  <a:cubicBezTo>
                    <a:pt x="1504315" y="208892"/>
                    <a:pt x="1495946" y="203313"/>
                    <a:pt x="1489027" y="196060"/>
                  </a:cubicBezTo>
                  <a:cubicBezTo>
                    <a:pt x="1482109" y="188918"/>
                    <a:pt x="1476864" y="180437"/>
                    <a:pt x="1473070" y="170618"/>
                  </a:cubicBezTo>
                  <a:cubicBezTo>
                    <a:pt x="1469388" y="160798"/>
                    <a:pt x="1467491" y="150197"/>
                    <a:pt x="1467491" y="138815"/>
                  </a:cubicBezTo>
                  <a:cubicBezTo>
                    <a:pt x="1467491" y="127433"/>
                    <a:pt x="1469388" y="117167"/>
                    <a:pt x="1473070" y="107459"/>
                  </a:cubicBezTo>
                  <a:cubicBezTo>
                    <a:pt x="1476753" y="97751"/>
                    <a:pt x="1482109" y="89270"/>
                    <a:pt x="1489027" y="82129"/>
                  </a:cubicBezTo>
                  <a:cubicBezTo>
                    <a:pt x="1495946" y="74987"/>
                    <a:pt x="1504092" y="69408"/>
                    <a:pt x="1513465" y="65390"/>
                  </a:cubicBezTo>
                  <a:cubicBezTo>
                    <a:pt x="1522950" y="61373"/>
                    <a:pt x="1533439" y="59365"/>
                    <a:pt x="1545045" y="59365"/>
                  </a:cubicBezTo>
                  <a:cubicBezTo>
                    <a:pt x="1555869" y="59365"/>
                    <a:pt x="1565465" y="61039"/>
                    <a:pt x="1574057" y="64386"/>
                  </a:cubicBezTo>
                  <a:cubicBezTo>
                    <a:pt x="1582650" y="67734"/>
                    <a:pt x="1590126" y="72309"/>
                    <a:pt x="1596598" y="78223"/>
                  </a:cubicBezTo>
                  <a:cubicBezTo>
                    <a:pt x="1605637" y="86481"/>
                    <a:pt x="1612332" y="96970"/>
                    <a:pt x="1616795" y="109579"/>
                  </a:cubicBezTo>
                  <a:cubicBezTo>
                    <a:pt x="1621259" y="122300"/>
                    <a:pt x="1623379" y="136249"/>
                    <a:pt x="1623156" y="151536"/>
                  </a:cubicBezTo>
                  <a:lnTo>
                    <a:pt x="1514693" y="151536"/>
                  </a:lnTo>
                  <a:cubicBezTo>
                    <a:pt x="1516255" y="161802"/>
                    <a:pt x="1519826" y="169837"/>
                    <a:pt x="1525293" y="175751"/>
                  </a:cubicBezTo>
                  <a:cubicBezTo>
                    <a:pt x="1530761" y="181665"/>
                    <a:pt x="1538572" y="184566"/>
                    <a:pt x="1548615" y="184566"/>
                  </a:cubicBezTo>
                  <a:cubicBezTo>
                    <a:pt x="1554864" y="184566"/>
                    <a:pt x="1560109" y="183227"/>
                    <a:pt x="1564238" y="180549"/>
                  </a:cubicBezTo>
                  <a:cubicBezTo>
                    <a:pt x="1568366" y="177871"/>
                    <a:pt x="1571491" y="174189"/>
                    <a:pt x="1573723" y="169502"/>
                  </a:cubicBezTo>
                  <a:lnTo>
                    <a:pt x="1620590" y="169502"/>
                  </a:lnTo>
                  <a:cubicBezTo>
                    <a:pt x="1619027" y="176420"/>
                    <a:pt x="1616126" y="182892"/>
                    <a:pt x="1611774" y="189141"/>
                  </a:cubicBezTo>
                  <a:cubicBezTo>
                    <a:pt x="1607422" y="195390"/>
                    <a:pt x="1601954" y="200635"/>
                    <a:pt x="1595259" y="205210"/>
                  </a:cubicBezTo>
                  <a:cubicBezTo>
                    <a:pt x="1589010" y="209785"/>
                    <a:pt x="1581980" y="213133"/>
                    <a:pt x="1574169" y="215476"/>
                  </a:cubicBezTo>
                  <a:cubicBezTo>
                    <a:pt x="1566358" y="217819"/>
                    <a:pt x="1557654" y="219047"/>
                    <a:pt x="1548057" y="219047"/>
                  </a:cubicBezTo>
                  <a:moveTo>
                    <a:pt x="1574615" y="122970"/>
                  </a:moveTo>
                  <a:cubicBezTo>
                    <a:pt x="1573611" y="113931"/>
                    <a:pt x="1570598" y="106790"/>
                    <a:pt x="1565465" y="101433"/>
                  </a:cubicBezTo>
                  <a:cubicBezTo>
                    <a:pt x="1560332" y="96189"/>
                    <a:pt x="1553860" y="93511"/>
                    <a:pt x="1546049" y="93511"/>
                  </a:cubicBezTo>
                  <a:cubicBezTo>
                    <a:pt x="1536787" y="93511"/>
                    <a:pt x="1529757" y="96189"/>
                    <a:pt x="1524847" y="101433"/>
                  </a:cubicBezTo>
                  <a:cubicBezTo>
                    <a:pt x="1519937" y="106790"/>
                    <a:pt x="1516701" y="113931"/>
                    <a:pt x="1515139" y="122970"/>
                  </a:cubicBezTo>
                  <a:lnTo>
                    <a:pt x="1574615" y="122970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B8BE45A8-7D4A-2619-F500-657F89EDC4C3}"/>
                </a:ext>
              </a:extLst>
            </p:cNvPr>
            <p:cNvSpPr/>
            <p:nvPr/>
          </p:nvSpPr>
          <p:spPr>
            <a:xfrm>
              <a:off x="828067" y="1270996"/>
              <a:ext cx="211570" cy="522565"/>
            </a:xfrm>
            <a:custGeom>
              <a:avLst/>
              <a:gdLst>
                <a:gd name="connsiteX0" fmla="*/ 0 w 211570"/>
                <a:gd name="connsiteY0" fmla="*/ 0 h 522565"/>
                <a:gd name="connsiteX1" fmla="*/ 0 w 211570"/>
                <a:gd name="connsiteY1" fmla="*/ 368909 h 522565"/>
                <a:gd name="connsiteX2" fmla="*/ 211013 w 211570"/>
                <a:gd name="connsiteY2" fmla="*/ 522566 h 522565"/>
                <a:gd name="connsiteX3" fmla="*/ 211570 w 211570"/>
                <a:gd name="connsiteY3" fmla="*/ 522008 h 522565"/>
                <a:gd name="connsiteX4" fmla="*/ 0 w 211570"/>
                <a:gd name="connsiteY4" fmla="*/ 0 h 522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1570" h="522565">
                  <a:moveTo>
                    <a:pt x="0" y="0"/>
                  </a:moveTo>
                  <a:lnTo>
                    <a:pt x="0" y="368909"/>
                  </a:lnTo>
                  <a:lnTo>
                    <a:pt x="211013" y="522566"/>
                  </a:lnTo>
                  <a:cubicBezTo>
                    <a:pt x="211013" y="522566"/>
                    <a:pt x="211459" y="522119"/>
                    <a:pt x="211570" y="52200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3D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BCAA6B34-39D1-54FF-1A5D-0509D410AD3D}"/>
                </a:ext>
              </a:extLst>
            </p:cNvPr>
            <p:cNvSpPr/>
            <p:nvPr/>
          </p:nvSpPr>
          <p:spPr>
            <a:xfrm>
              <a:off x="616497" y="1270996"/>
              <a:ext cx="211570" cy="522454"/>
            </a:xfrm>
            <a:custGeom>
              <a:avLst/>
              <a:gdLst>
                <a:gd name="connsiteX0" fmla="*/ 0 w 211570"/>
                <a:gd name="connsiteY0" fmla="*/ 521896 h 522454"/>
                <a:gd name="connsiteX1" fmla="*/ 558 w 211570"/>
                <a:gd name="connsiteY1" fmla="*/ 522454 h 522454"/>
                <a:gd name="connsiteX2" fmla="*/ 211570 w 211570"/>
                <a:gd name="connsiteY2" fmla="*/ 368798 h 522454"/>
                <a:gd name="connsiteX3" fmla="*/ 211570 w 211570"/>
                <a:gd name="connsiteY3" fmla="*/ 0 h 522454"/>
                <a:gd name="connsiteX4" fmla="*/ 0 w 211570"/>
                <a:gd name="connsiteY4" fmla="*/ 521896 h 522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1570" h="522454">
                  <a:moveTo>
                    <a:pt x="0" y="521896"/>
                  </a:moveTo>
                  <a:cubicBezTo>
                    <a:pt x="0" y="521896"/>
                    <a:pt x="446" y="522343"/>
                    <a:pt x="558" y="522454"/>
                  </a:cubicBezTo>
                  <a:lnTo>
                    <a:pt x="211570" y="368798"/>
                  </a:lnTo>
                  <a:lnTo>
                    <a:pt x="211570" y="0"/>
                  </a:lnTo>
                  <a:lnTo>
                    <a:pt x="0" y="521896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1413007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 -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DE3CA1B0-623A-9E3F-9B2B-5EFA479D7D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38562" y="2453998"/>
            <a:ext cx="7552295" cy="2000804"/>
          </a:xfrm>
        </p:spPr>
        <p:txBody>
          <a:bodyPr wrap="square" anchor="t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7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Title Here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353296DA-3EB1-2F89-5D2A-CD471FFD68D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8562" y="5956756"/>
            <a:ext cx="7552345" cy="215444"/>
          </a:xfrm>
        </p:spPr>
        <p:txBody>
          <a:bodyPr wrap="square" anchor="b">
            <a:noAutofit/>
          </a:bodyPr>
          <a:lstStyle>
            <a:lvl1pPr>
              <a:spcAft>
                <a:spcPts val="0"/>
              </a:spcAft>
              <a:defRPr sz="1400" b="1" cap="all" spc="300"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dustry Nam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AB37842-EC51-8631-1C75-0B1DCCBB60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8562" y="1062569"/>
            <a:ext cx="1799617" cy="457200"/>
          </a:xfrm>
          <a:prstGeom prst="rect">
            <a:avLst/>
          </a:prstGeom>
        </p:spPr>
      </p:pic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73ECA860-D36F-D1ED-E741-2F6625B97D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8562" y="4942006"/>
            <a:ext cx="7552295" cy="738664"/>
          </a:xfrm>
        </p:spPr>
        <p:txBody>
          <a:bodyPr anchor="b">
            <a:noAutofit/>
          </a:bodyPr>
          <a:lstStyle>
            <a:lvl1pPr algn="l"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1D1B2D9-69D8-BCE4-17C2-3031E4E8385D}"/>
              </a:ext>
            </a:extLst>
          </p:cNvPr>
          <p:cNvGrpSpPr/>
          <p:nvPr userDrawn="1"/>
        </p:nvGrpSpPr>
        <p:grpSpPr>
          <a:xfrm>
            <a:off x="938562" y="1983579"/>
            <a:ext cx="7552295" cy="0"/>
            <a:chOff x="938562" y="1983579"/>
            <a:chExt cx="7552295" cy="0"/>
          </a:xfrm>
        </p:grpSpPr>
        <p:cxnSp>
          <p:nvCxnSpPr>
            <p:cNvPr id="2" name="Straight Connector 1">
              <a:extLst>
                <a:ext uri="{FF2B5EF4-FFF2-40B4-BE49-F238E27FC236}">
                  <a16:creationId xmlns:a16="http://schemas.microsoft.com/office/drawing/2014/main" id="{0E4290B1-C5D4-50D5-BCF3-3E59301DBD7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38562" y="1983579"/>
              <a:ext cx="7552295" cy="0"/>
            </a:xfrm>
            <a:prstGeom prst="line">
              <a:avLst/>
            </a:prstGeom>
            <a:ln>
              <a:solidFill>
                <a:schemeClr val="bg1"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67537F7F-A3FD-E47E-4415-2126205ED623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1543059" y="1379082"/>
              <a:ext cx="0" cy="1208993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Graphic 5">
            <a:extLst>
              <a:ext uri="{FF2B5EF4-FFF2-40B4-BE49-F238E27FC236}">
                <a16:creationId xmlns:a16="http://schemas.microsoft.com/office/drawing/2014/main" id="{5A739C11-B85C-1E6D-6FEF-0C04AE381823}"/>
              </a:ext>
            </a:extLst>
          </p:cNvPr>
          <p:cNvPicPr/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2988" b="2988"/>
          <a:stretch/>
        </p:blipFill>
        <p:spPr>
          <a:xfrm>
            <a:off x="9566275" y="0"/>
            <a:ext cx="226038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335587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 - Ligh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EA392F83-2467-8DF1-A072-47811A39DF5F}"/>
              </a:ext>
            </a:extLst>
          </p:cNvPr>
          <p:cNvGrpSpPr/>
          <p:nvPr/>
        </p:nvGrpSpPr>
        <p:grpSpPr>
          <a:xfrm>
            <a:off x="938562" y="1983578"/>
            <a:ext cx="7556215" cy="1"/>
            <a:chOff x="938562" y="1983578"/>
            <a:chExt cx="7556215" cy="1"/>
          </a:xfrm>
        </p:grpSpPr>
        <p:cxnSp>
          <p:nvCxnSpPr>
            <p:cNvPr id="2" name="Straight Connector 1">
              <a:extLst>
                <a:ext uri="{FF2B5EF4-FFF2-40B4-BE49-F238E27FC236}">
                  <a16:creationId xmlns:a16="http://schemas.microsoft.com/office/drawing/2014/main" id="{0E4290B1-C5D4-50D5-BCF3-3E59301DBD7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38562" y="1983578"/>
              <a:ext cx="7556215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67537F7F-A3FD-E47E-4415-2126205ED623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1543059" y="1379082"/>
              <a:ext cx="0" cy="1208993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" name="Graphic 3">
            <a:extLst>
              <a:ext uri="{FF2B5EF4-FFF2-40B4-BE49-F238E27FC236}">
                <a16:creationId xmlns:a16="http://schemas.microsoft.com/office/drawing/2014/main" id="{F6EA8AA0-F903-6C8E-6D87-56CECC2A2D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8562" y="1066649"/>
            <a:ext cx="1783555" cy="453120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CA173CA-8280-BC75-9ADA-A758945C9B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38562" y="2453998"/>
            <a:ext cx="7552944" cy="2000804"/>
          </a:xfrm>
        </p:spPr>
        <p:txBody>
          <a:bodyPr wrap="square" anchor="t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7200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Title Here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0A035E54-E921-86F2-0D4B-5D1D8B09F8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8562" y="5956756"/>
            <a:ext cx="7552944" cy="215444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 cap="all" spc="3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dustry nam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319FCB8-4E4F-F7FC-F575-05569591DC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8562" y="4942006"/>
            <a:ext cx="7552295" cy="738664"/>
          </a:xfrm>
        </p:spPr>
        <p:txBody>
          <a:bodyPr anchor="b">
            <a:noAutofit/>
          </a:bodyPr>
          <a:lstStyle>
            <a:lvl1pPr algn="l">
              <a:spcAft>
                <a:spcPts val="0"/>
              </a:spcAft>
              <a:defRPr sz="2400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05D1414-51F8-1738-37D9-17673BA327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2950" b="2950"/>
          <a:stretch/>
        </p:blipFill>
        <p:spPr>
          <a:xfrm>
            <a:off x="9568093" y="1"/>
            <a:ext cx="225856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52452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Ligh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0C8FFF-896B-C00B-0DB5-47AE19F7A2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4968733-400C-5979-E644-B56A408FA4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2D4DD51-735A-7535-A95D-705BC060EA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799F83DB-AA7E-BB5E-7B33-972A27C7753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3BBCB4A-96EC-42F1-B069-CFD71CA20D1D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2" name="Footer Placeholder 13">
            <a:extLst>
              <a:ext uri="{FF2B5EF4-FFF2-40B4-BE49-F238E27FC236}">
                <a16:creationId xmlns:a16="http://schemas.microsoft.com/office/drawing/2014/main" id="{1359ABA9-E719-0B1D-942C-C6EA5B5666D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5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5" name="Slide Number Placeholder 14">
            <a:extLst>
              <a:ext uri="{FF2B5EF4-FFF2-40B4-BE49-F238E27FC236}">
                <a16:creationId xmlns:a16="http://schemas.microsoft.com/office/drawing/2014/main" id="{C05DBC64-9732-7E1D-33A5-8C08DBE34CE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6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13863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 -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0C8FFF-896B-C00B-0DB5-47AE19F7A2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4968733-400C-5979-E644-B56A408FA4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2D4DD51-735A-7535-A95D-705BC060EA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802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799F83DB-AA7E-BB5E-7B33-972A27C7753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0236555" y="13802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8C57FC58-AF68-4D48-A6BA-854FC596FD33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1359ABA9-E719-0B1D-942C-C6EA5B5666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09600" y="656608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C05DBC64-9732-7E1D-33A5-8C08DBE34CE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8008" y="656608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33F4F06-5D7C-327A-7908-6DE931CA6E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03876" y="88565"/>
            <a:ext cx="995110" cy="252812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E5B9F64-B66D-E6EB-C8EC-A9824DAB4E8D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44C0331-4583-5CCE-84B1-9859951C2CDF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545092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- Light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644F2F-8058-0037-6983-DD53BBDAE6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E6CDED-3690-C823-89B5-50C27CBFD3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985037-0DF6-C09A-FF7F-5A35AE79B3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80152"/>
            <a:ext cx="109728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8FE771C-AF3B-746F-8A25-2C5C4A4812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CED7064-E79D-96CC-BCD5-91C093F5AB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12" name="Date Placeholder 12">
            <a:extLst>
              <a:ext uri="{FF2B5EF4-FFF2-40B4-BE49-F238E27FC236}">
                <a16:creationId xmlns:a16="http://schemas.microsoft.com/office/drawing/2014/main" id="{59D8E57A-19A4-8130-A78B-E7988B8DA91F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78FAA32-B910-4033-ACC0-2DF9C585C3FB}" type="datetime4">
              <a:rPr lang="en-US" smtClean="0"/>
              <a:t>October 23, 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91303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644F2F-8058-0037-6983-DD53BBDAE6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985037-0DF6-C09A-FF7F-5A35AE79B3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80152"/>
            <a:ext cx="6705600" cy="30777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8FE771C-AF3B-746F-8A25-2C5C4A4812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6705600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CED7064-E79D-96CC-BCD5-91C093F5AB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2" name="Date Placeholder 12">
            <a:extLst>
              <a:ext uri="{FF2B5EF4-FFF2-40B4-BE49-F238E27FC236}">
                <a16:creationId xmlns:a16="http://schemas.microsoft.com/office/drawing/2014/main" id="{3BB0FB85-B250-7191-C62E-FCBF4D35D49F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0A4C574-FC99-4BD6-93EA-66C88A52739F}" type="datetime4">
              <a:rPr lang="en-US" smtClean="0"/>
              <a:t>October 23, 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743533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+ Subtitle -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4968733-400C-5979-E644-B56A408FA4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D73F8FF-87F8-5777-F2B8-54C34E74CB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802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5" name="Date Placeholder 12">
            <a:extLst>
              <a:ext uri="{FF2B5EF4-FFF2-40B4-BE49-F238E27FC236}">
                <a16:creationId xmlns:a16="http://schemas.microsoft.com/office/drawing/2014/main" id="{16B6FA5E-4B4C-6913-F7A2-06F9B28C342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0236555" y="13802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E4C89DD-A233-483F-952B-953E38B66C25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9" name="Footer Placeholder 13">
            <a:extLst>
              <a:ext uri="{FF2B5EF4-FFF2-40B4-BE49-F238E27FC236}">
                <a16:creationId xmlns:a16="http://schemas.microsoft.com/office/drawing/2014/main" id="{4869AC9E-3246-DF81-8D19-B4FBEF99B35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09600" y="656608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10" name="Slide Number Placeholder 14">
            <a:extLst>
              <a:ext uri="{FF2B5EF4-FFF2-40B4-BE49-F238E27FC236}">
                <a16:creationId xmlns:a16="http://schemas.microsoft.com/office/drawing/2014/main" id="{92633B27-C072-D47F-D637-89DAFCE736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8008" y="656608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7CCD9F6-7E28-EE74-1488-42ADF692A9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03876" y="88565"/>
            <a:ext cx="995110" cy="252812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0592E0A-6277-7467-2818-E2E769654D97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59520B4-734E-FCA4-984F-7727B42D3211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185396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24B2B4B-82F9-1536-578C-43BD5CE8AF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4B2B4B-82F9-1536-578C-43BD5CE8AF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Title 44">
            <a:extLst>
              <a:ext uri="{FF2B5EF4-FFF2-40B4-BE49-F238E27FC236}">
                <a16:creationId xmlns:a16="http://schemas.microsoft.com/office/drawing/2014/main" id="{8C8DBED3-A629-FC99-1B8F-BE074A307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800754"/>
            <a:ext cx="5486400" cy="553998"/>
          </a:xfrm>
        </p:spPr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  <p:sp>
        <p:nvSpPr>
          <p:cNvPr id="50" name="Date Placeholder 49">
            <a:extLst>
              <a:ext uri="{FF2B5EF4-FFF2-40B4-BE49-F238E27FC236}">
                <a16:creationId xmlns:a16="http://schemas.microsoft.com/office/drawing/2014/main" id="{EA0F5283-5BB3-BAFD-B526-21B425D9219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390B173-6391-41DD-B68F-04C7E2E107FB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51" name="Footer Placeholder 50">
            <a:extLst>
              <a:ext uri="{FF2B5EF4-FFF2-40B4-BE49-F238E27FC236}">
                <a16:creationId xmlns:a16="http://schemas.microsoft.com/office/drawing/2014/main" id="{E6307089-0337-1E41-2413-B773C7DDA35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52" name="Slide Number Placeholder 51">
            <a:extLst>
              <a:ext uri="{FF2B5EF4-FFF2-40B4-BE49-F238E27FC236}">
                <a16:creationId xmlns:a16="http://schemas.microsoft.com/office/drawing/2014/main" id="{0B037B46-B41D-26FD-DD47-435EFB15F5A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835ECE48-5FE3-A1E7-D32C-C2F6ADBC4A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47FA0D2-F8F7-895F-2FBF-67E102F5B1D5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9BC655C-7979-A16B-0182-2803B04DF645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B7035D9-E229-7717-77FC-A94230A289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7035D9-E229-7717-77FC-A94230A289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09011-87C2-6782-3CBF-F646B77AF1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" y="1609344"/>
            <a:ext cx="5486400" cy="475485"/>
          </a:xfrm>
        </p:spPr>
        <p:txBody>
          <a:bodyPr anchor="ctr">
            <a:noAutofit/>
          </a:bodyPr>
          <a:lstStyle>
            <a:lvl1pPr>
              <a:defRPr b="1" baseline="0">
                <a:latin typeface="+mj-lt"/>
              </a:defRPr>
            </a:lvl1pPr>
          </a:lstStyle>
          <a:p>
            <a:pPr lvl="0"/>
            <a:r>
              <a:rPr lang="en-US"/>
              <a:t>Insert header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8D5FB3A-753A-A01D-9A42-264E2905FBF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9808" y="2198053"/>
            <a:ext cx="4359614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Topic nam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F6C7AD8-EBB1-B2EC-D16B-83CEE2FE0A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9808" y="2675705"/>
            <a:ext cx="4359614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Topic nam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C65026CD-CCD9-594F-B624-278B0B50C1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49808" y="3153357"/>
            <a:ext cx="4359614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Topic nam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4686BDC-013B-6FB4-AE77-F2E70CEA8BF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9808" y="3631009"/>
            <a:ext cx="4359614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Topic nam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41FF509A-1B91-E966-15BC-77B3C666E4E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9808" y="4108523"/>
            <a:ext cx="4359614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Topic nam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37FC06F9-E814-94E2-56AC-6B1D1023C5E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49808" y="4586175"/>
            <a:ext cx="4359614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Topic nam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928F26A-7879-11DE-CD3A-CC8DF5E2E44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49808" y="5063827"/>
            <a:ext cx="4359614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Topic nam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36A63A15-7117-48B6-EB15-6BDB415E273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9808" y="5541479"/>
            <a:ext cx="4359614" cy="349250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Topic nam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8CABE08C-5097-0E3B-630D-DB4908CABB5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5351" y="2198053"/>
            <a:ext cx="386079" cy="349250"/>
          </a:xfrm>
        </p:spPr>
        <p:txBody>
          <a:bodyPr>
            <a:noAutofit/>
          </a:bodyPr>
          <a:lstStyle>
            <a:lvl1pPr algn="r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FFCE9D85-E295-E133-C5E9-55DC5E703E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35351" y="2675705"/>
            <a:ext cx="386079" cy="349250"/>
          </a:xfrm>
        </p:spPr>
        <p:txBody>
          <a:bodyPr>
            <a:noAutofit/>
          </a:bodyPr>
          <a:lstStyle>
            <a:lvl1pPr algn="r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30580CFE-3066-D52F-BF0C-607962B640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35351" y="3153357"/>
            <a:ext cx="386079" cy="349250"/>
          </a:xfrm>
        </p:spPr>
        <p:txBody>
          <a:bodyPr>
            <a:noAutofit/>
          </a:bodyPr>
          <a:lstStyle>
            <a:lvl1pPr algn="r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83A8285B-9771-221E-276E-38A0469F96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35351" y="3631009"/>
            <a:ext cx="386079" cy="349250"/>
          </a:xfrm>
        </p:spPr>
        <p:txBody>
          <a:bodyPr>
            <a:noAutofit/>
          </a:bodyPr>
          <a:lstStyle>
            <a:lvl1pPr algn="r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CD292018-47A5-F28E-E40D-02ED0EBF3D3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35351" y="4108523"/>
            <a:ext cx="386079" cy="349250"/>
          </a:xfrm>
        </p:spPr>
        <p:txBody>
          <a:bodyPr>
            <a:noAutofit/>
          </a:bodyPr>
          <a:lstStyle>
            <a:lvl1pPr algn="r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375D8AE7-3E52-ADD1-F076-54A550F88EA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35351" y="4586175"/>
            <a:ext cx="386079" cy="349250"/>
          </a:xfrm>
        </p:spPr>
        <p:txBody>
          <a:bodyPr>
            <a:noAutofit/>
          </a:bodyPr>
          <a:lstStyle>
            <a:lvl1pPr algn="r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4DE56228-A543-6045-7006-DDA45A0F317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35351" y="5063827"/>
            <a:ext cx="386079" cy="349250"/>
          </a:xfrm>
        </p:spPr>
        <p:txBody>
          <a:bodyPr>
            <a:noAutofit/>
          </a:bodyPr>
          <a:lstStyle>
            <a:lvl1pPr algn="r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F326C1AA-B979-78CD-10CB-A2845ED8BA0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35351" y="5541479"/>
            <a:ext cx="386079" cy="349250"/>
          </a:xfrm>
        </p:spPr>
        <p:txBody>
          <a:bodyPr>
            <a:noAutofit/>
          </a:bodyPr>
          <a:lstStyle>
            <a:lvl1pPr algn="r">
              <a:defRPr sz="1600"/>
            </a:lvl1pPr>
          </a:lstStyle>
          <a:p>
            <a:pPr lvl="0"/>
            <a:r>
              <a:rPr lang="en-US"/>
              <a:t>00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59E8D3A-F0D2-3CC8-1EAC-4F5617758398}"/>
              </a:ext>
            </a:extLst>
          </p:cNvPr>
          <p:cNvCxnSpPr/>
          <p:nvPr userDrawn="1"/>
        </p:nvCxnSpPr>
        <p:spPr>
          <a:xfrm>
            <a:off x="609600" y="2081019"/>
            <a:ext cx="504748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8CF153A-3D7B-20C6-4A3D-209764A6B679}"/>
              </a:ext>
            </a:extLst>
          </p:cNvPr>
          <p:cNvCxnSpPr>
            <a:cxnSpLocks/>
          </p:cNvCxnSpPr>
          <p:nvPr userDrawn="1"/>
        </p:nvCxnSpPr>
        <p:spPr>
          <a:xfrm>
            <a:off x="609600" y="2561778"/>
            <a:ext cx="504748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97CBDAA-D266-433C-1CA0-290F687AF69C}"/>
              </a:ext>
            </a:extLst>
          </p:cNvPr>
          <p:cNvCxnSpPr>
            <a:cxnSpLocks/>
          </p:cNvCxnSpPr>
          <p:nvPr userDrawn="1"/>
        </p:nvCxnSpPr>
        <p:spPr>
          <a:xfrm>
            <a:off x="609600" y="3037147"/>
            <a:ext cx="504748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AD345FC-2496-C23E-1596-9409AF73FC00}"/>
              </a:ext>
            </a:extLst>
          </p:cNvPr>
          <p:cNvCxnSpPr/>
          <p:nvPr userDrawn="1"/>
        </p:nvCxnSpPr>
        <p:spPr>
          <a:xfrm>
            <a:off x="609600" y="3512826"/>
            <a:ext cx="504748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B5F1207-492B-078B-5E56-1803A6966A29}"/>
              </a:ext>
            </a:extLst>
          </p:cNvPr>
          <p:cNvCxnSpPr/>
          <p:nvPr userDrawn="1"/>
        </p:nvCxnSpPr>
        <p:spPr>
          <a:xfrm>
            <a:off x="609600" y="3993790"/>
            <a:ext cx="504748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7494232-D572-42CC-9E23-F0D11C88EB15}"/>
              </a:ext>
            </a:extLst>
          </p:cNvPr>
          <p:cNvCxnSpPr/>
          <p:nvPr userDrawn="1"/>
        </p:nvCxnSpPr>
        <p:spPr>
          <a:xfrm>
            <a:off x="609600" y="4469469"/>
            <a:ext cx="504748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93BD674-3947-6D81-5787-1E2DC3FA1DC2}"/>
              </a:ext>
            </a:extLst>
          </p:cNvPr>
          <p:cNvCxnSpPr/>
          <p:nvPr userDrawn="1"/>
        </p:nvCxnSpPr>
        <p:spPr>
          <a:xfrm>
            <a:off x="609600" y="4947558"/>
            <a:ext cx="504748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7B0C53B9-671E-80F3-76FB-49AC9F85B77F}"/>
              </a:ext>
            </a:extLst>
          </p:cNvPr>
          <p:cNvCxnSpPr/>
          <p:nvPr userDrawn="1"/>
        </p:nvCxnSpPr>
        <p:spPr>
          <a:xfrm>
            <a:off x="609600" y="5423237"/>
            <a:ext cx="504748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15B64B03-F7F4-FFAE-B082-BD2304593826}"/>
              </a:ext>
            </a:extLst>
          </p:cNvPr>
          <p:cNvCxnSpPr/>
          <p:nvPr userDrawn="1"/>
        </p:nvCxnSpPr>
        <p:spPr>
          <a:xfrm>
            <a:off x="609600" y="5905500"/>
            <a:ext cx="504748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Graphic 16">
            <a:extLst>
              <a:ext uri="{FF2B5EF4-FFF2-40B4-BE49-F238E27FC236}">
                <a16:creationId xmlns:a16="http://schemas.microsoft.com/office/drawing/2014/main" id="{B61D6326-F6C2-B0AC-49E3-BBDCC4BEAC09}"/>
              </a:ext>
            </a:extLst>
          </p:cNvPr>
          <p:cNvPicPr/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143751" y="1388452"/>
            <a:ext cx="4114798" cy="4114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76269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-column - Dark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09D163-6DF6-9BE0-6173-D594B244B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5486400" cy="5539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4C4FB5F-2777-A396-392E-B3E9DAA8798E}"/>
              </a:ext>
            </a:extLst>
          </p:cNvPr>
          <p:cNvGrpSpPr/>
          <p:nvPr/>
        </p:nvGrpSpPr>
        <p:grpSpPr>
          <a:xfrm>
            <a:off x="609601" y="3909255"/>
            <a:ext cx="5486400" cy="0"/>
            <a:chOff x="609601" y="3820887"/>
            <a:chExt cx="5486400" cy="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255DCA8-F14C-04CA-3EA7-7EA803486E9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9601" y="3820887"/>
              <a:ext cx="54864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6455279C-DE5C-A0A2-0FEF-CA7EEA14EEF6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1274547" y="3155941"/>
              <a:ext cx="0" cy="1329892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420A254F-BDD5-C9AF-1DD7-05ACB129B577}"/>
              </a:ext>
            </a:extLst>
          </p:cNvPr>
          <p:cNvSpPr/>
          <p:nvPr/>
        </p:nvSpPr>
        <p:spPr>
          <a:xfrm>
            <a:off x="7019925" y="431800"/>
            <a:ext cx="5172075" cy="599670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F8511C82-C1B8-2B85-F38D-ACDB893239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71912"/>
            <a:ext cx="5486400" cy="307777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2" name="Text Placeholder 37">
            <a:extLst>
              <a:ext uri="{FF2B5EF4-FFF2-40B4-BE49-F238E27FC236}">
                <a16:creationId xmlns:a16="http://schemas.microsoft.com/office/drawing/2014/main" id="{F4AE42DD-CBC4-0669-9A85-81A01695BC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1" y="4225518"/>
            <a:ext cx="5486400" cy="1389888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2AAAC208-B9A3-AB8D-8A3F-5267EA42C80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9601" y="2111664"/>
            <a:ext cx="5486400" cy="1481328"/>
          </a:xfrm>
        </p:spPr>
        <p:txBody>
          <a:bodyPr anchor="b">
            <a:noAutofit/>
          </a:bodyPr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49">
            <a:extLst>
              <a:ext uri="{FF2B5EF4-FFF2-40B4-BE49-F238E27FC236}">
                <a16:creationId xmlns:a16="http://schemas.microsoft.com/office/drawing/2014/main" id="{5F217281-3A4E-E1DA-0ABE-80B7AC4FF1B8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236555" y="136647"/>
            <a:ext cx="1345845" cy="153888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916DF86A-30B1-4B44-A04E-9B307D9D54ED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CFB9608-E818-D2BF-8BF7-6E839B8050D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136647"/>
            <a:ext cx="4076700" cy="153888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000" b="0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ndustry Name / Section Tit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C85335B-FAF2-9208-41C9-63068D2F64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4B1F0BD-22AE-6975-1D8F-0E77C97E26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15BECC8-7D1B-6FCC-F690-CE812AE63D4C}"/>
              </a:ext>
            </a:extLst>
          </p:cNvPr>
          <p:cNvPicPr/>
          <p:nvPr userDrawn="1"/>
        </p:nvPicPr>
        <p:blipFill>
          <a:blip r:embed="rId2"/>
          <a:stretch>
            <a:fillRect/>
          </a:stretch>
        </p:blipFill>
        <p:spPr>
          <a:xfrm>
            <a:off x="7630516" y="1377621"/>
            <a:ext cx="3950550" cy="4121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3306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image" Target="../media/image2.png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tags" Target="../tags/tag2.xml"/><Relationship Id="rId85" Type="http://schemas.openxmlformats.org/officeDocument/2006/relationships/image" Target="../media/image3.sv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61" Type="http://schemas.openxmlformats.org/officeDocument/2006/relationships/slideLayout" Target="../slideLayouts/slideLayout61.xml"/><Relationship Id="rId8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04.xml"/><Relationship Id="rId21" Type="http://schemas.openxmlformats.org/officeDocument/2006/relationships/slideLayout" Target="../slideLayouts/slideLayout99.xml"/><Relationship Id="rId42" Type="http://schemas.openxmlformats.org/officeDocument/2006/relationships/slideLayout" Target="../slideLayouts/slideLayout120.xml"/><Relationship Id="rId47" Type="http://schemas.openxmlformats.org/officeDocument/2006/relationships/slideLayout" Target="../slideLayouts/slideLayout125.xml"/><Relationship Id="rId63" Type="http://schemas.openxmlformats.org/officeDocument/2006/relationships/slideLayout" Target="../slideLayouts/slideLayout141.xml"/><Relationship Id="rId68" Type="http://schemas.openxmlformats.org/officeDocument/2006/relationships/slideLayout" Target="../slideLayouts/slideLayout146.xml"/><Relationship Id="rId1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89.xml"/><Relationship Id="rId32" Type="http://schemas.openxmlformats.org/officeDocument/2006/relationships/slideLayout" Target="../slideLayouts/slideLayout110.xml"/><Relationship Id="rId37" Type="http://schemas.openxmlformats.org/officeDocument/2006/relationships/slideLayout" Target="../slideLayouts/slideLayout115.xml"/><Relationship Id="rId53" Type="http://schemas.openxmlformats.org/officeDocument/2006/relationships/slideLayout" Target="../slideLayouts/slideLayout131.xml"/><Relationship Id="rId58" Type="http://schemas.openxmlformats.org/officeDocument/2006/relationships/slideLayout" Target="../slideLayouts/slideLayout136.xml"/><Relationship Id="rId74" Type="http://schemas.openxmlformats.org/officeDocument/2006/relationships/slideLayout" Target="../slideLayouts/slideLayout152.xml"/><Relationship Id="rId79" Type="http://schemas.openxmlformats.org/officeDocument/2006/relationships/oleObject" Target="../embeddings/oleObject1.bin"/><Relationship Id="rId5" Type="http://schemas.openxmlformats.org/officeDocument/2006/relationships/slideLayout" Target="../slideLayouts/slideLayout83.xml"/><Relationship Id="rId61" Type="http://schemas.openxmlformats.org/officeDocument/2006/relationships/slideLayout" Target="../slideLayouts/slideLayout139.xml"/><Relationship Id="rId82" Type="http://schemas.openxmlformats.org/officeDocument/2006/relationships/image" Target="../media/image3.svg"/><Relationship Id="rId19" Type="http://schemas.openxmlformats.org/officeDocument/2006/relationships/slideLayout" Target="../slideLayouts/slideLayout97.xml"/><Relationship Id="rId14" Type="http://schemas.openxmlformats.org/officeDocument/2006/relationships/slideLayout" Target="../slideLayouts/slideLayout92.xml"/><Relationship Id="rId22" Type="http://schemas.openxmlformats.org/officeDocument/2006/relationships/slideLayout" Target="../slideLayouts/slideLayout100.xml"/><Relationship Id="rId27" Type="http://schemas.openxmlformats.org/officeDocument/2006/relationships/slideLayout" Target="../slideLayouts/slideLayout105.xml"/><Relationship Id="rId30" Type="http://schemas.openxmlformats.org/officeDocument/2006/relationships/slideLayout" Target="../slideLayouts/slideLayout108.xml"/><Relationship Id="rId35" Type="http://schemas.openxmlformats.org/officeDocument/2006/relationships/slideLayout" Target="../slideLayouts/slideLayout113.xml"/><Relationship Id="rId43" Type="http://schemas.openxmlformats.org/officeDocument/2006/relationships/slideLayout" Target="../slideLayouts/slideLayout121.xml"/><Relationship Id="rId48" Type="http://schemas.openxmlformats.org/officeDocument/2006/relationships/slideLayout" Target="../slideLayouts/slideLayout126.xml"/><Relationship Id="rId56" Type="http://schemas.openxmlformats.org/officeDocument/2006/relationships/slideLayout" Target="../slideLayouts/slideLayout134.xml"/><Relationship Id="rId64" Type="http://schemas.openxmlformats.org/officeDocument/2006/relationships/slideLayout" Target="../slideLayouts/slideLayout142.xml"/><Relationship Id="rId69" Type="http://schemas.openxmlformats.org/officeDocument/2006/relationships/slideLayout" Target="../slideLayouts/slideLayout147.xml"/><Relationship Id="rId77" Type="http://schemas.openxmlformats.org/officeDocument/2006/relationships/tags" Target="../tags/tag12.xml"/><Relationship Id="rId8" Type="http://schemas.openxmlformats.org/officeDocument/2006/relationships/slideLayout" Target="../slideLayouts/slideLayout86.xml"/><Relationship Id="rId51" Type="http://schemas.openxmlformats.org/officeDocument/2006/relationships/slideLayout" Target="../slideLayouts/slideLayout129.xml"/><Relationship Id="rId72" Type="http://schemas.openxmlformats.org/officeDocument/2006/relationships/slideLayout" Target="../slideLayouts/slideLayout150.xml"/><Relationship Id="rId80" Type="http://schemas.openxmlformats.org/officeDocument/2006/relationships/image" Target="../media/image1.emf"/><Relationship Id="rId3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90.xml"/><Relationship Id="rId17" Type="http://schemas.openxmlformats.org/officeDocument/2006/relationships/slideLayout" Target="../slideLayouts/slideLayout95.xml"/><Relationship Id="rId25" Type="http://schemas.openxmlformats.org/officeDocument/2006/relationships/slideLayout" Target="../slideLayouts/slideLayout103.xml"/><Relationship Id="rId33" Type="http://schemas.openxmlformats.org/officeDocument/2006/relationships/slideLayout" Target="../slideLayouts/slideLayout111.xml"/><Relationship Id="rId38" Type="http://schemas.openxmlformats.org/officeDocument/2006/relationships/slideLayout" Target="../slideLayouts/slideLayout116.xml"/><Relationship Id="rId46" Type="http://schemas.openxmlformats.org/officeDocument/2006/relationships/slideLayout" Target="../slideLayouts/slideLayout124.xml"/><Relationship Id="rId59" Type="http://schemas.openxmlformats.org/officeDocument/2006/relationships/slideLayout" Target="../slideLayouts/slideLayout137.xml"/><Relationship Id="rId67" Type="http://schemas.openxmlformats.org/officeDocument/2006/relationships/slideLayout" Target="../slideLayouts/slideLayout145.xml"/><Relationship Id="rId20" Type="http://schemas.openxmlformats.org/officeDocument/2006/relationships/slideLayout" Target="../slideLayouts/slideLayout98.xml"/><Relationship Id="rId41" Type="http://schemas.openxmlformats.org/officeDocument/2006/relationships/slideLayout" Target="../slideLayouts/slideLayout119.xml"/><Relationship Id="rId54" Type="http://schemas.openxmlformats.org/officeDocument/2006/relationships/slideLayout" Target="../slideLayouts/slideLayout132.xml"/><Relationship Id="rId62" Type="http://schemas.openxmlformats.org/officeDocument/2006/relationships/slideLayout" Target="../slideLayouts/slideLayout140.xml"/><Relationship Id="rId70" Type="http://schemas.openxmlformats.org/officeDocument/2006/relationships/slideLayout" Target="../slideLayouts/slideLayout148.xml"/><Relationship Id="rId75" Type="http://schemas.openxmlformats.org/officeDocument/2006/relationships/slideLayout" Target="../slideLayouts/slideLayout153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3.xml"/><Relationship Id="rId23" Type="http://schemas.openxmlformats.org/officeDocument/2006/relationships/slideLayout" Target="../slideLayouts/slideLayout101.xml"/><Relationship Id="rId28" Type="http://schemas.openxmlformats.org/officeDocument/2006/relationships/slideLayout" Target="../slideLayouts/slideLayout106.xml"/><Relationship Id="rId36" Type="http://schemas.openxmlformats.org/officeDocument/2006/relationships/slideLayout" Target="../slideLayouts/slideLayout114.xml"/><Relationship Id="rId49" Type="http://schemas.openxmlformats.org/officeDocument/2006/relationships/slideLayout" Target="../slideLayouts/slideLayout127.xml"/><Relationship Id="rId57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88.xml"/><Relationship Id="rId31" Type="http://schemas.openxmlformats.org/officeDocument/2006/relationships/slideLayout" Target="../slideLayouts/slideLayout109.xml"/><Relationship Id="rId44" Type="http://schemas.openxmlformats.org/officeDocument/2006/relationships/slideLayout" Target="../slideLayouts/slideLayout122.xml"/><Relationship Id="rId52" Type="http://schemas.openxmlformats.org/officeDocument/2006/relationships/slideLayout" Target="../slideLayouts/slideLayout130.xml"/><Relationship Id="rId60" Type="http://schemas.openxmlformats.org/officeDocument/2006/relationships/slideLayout" Target="../slideLayouts/slideLayout138.xml"/><Relationship Id="rId65" Type="http://schemas.openxmlformats.org/officeDocument/2006/relationships/slideLayout" Target="../slideLayouts/slideLayout143.xml"/><Relationship Id="rId73" Type="http://schemas.openxmlformats.org/officeDocument/2006/relationships/slideLayout" Target="../slideLayouts/slideLayout151.xml"/><Relationship Id="rId78" Type="http://schemas.openxmlformats.org/officeDocument/2006/relationships/tags" Target="../tags/tag13.xml"/><Relationship Id="rId81" Type="http://schemas.openxmlformats.org/officeDocument/2006/relationships/image" Target="../media/image2.png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1.xml"/><Relationship Id="rId18" Type="http://schemas.openxmlformats.org/officeDocument/2006/relationships/slideLayout" Target="../slideLayouts/slideLayout96.xml"/><Relationship Id="rId39" Type="http://schemas.openxmlformats.org/officeDocument/2006/relationships/slideLayout" Target="../slideLayouts/slideLayout117.xml"/><Relationship Id="rId34" Type="http://schemas.openxmlformats.org/officeDocument/2006/relationships/slideLayout" Target="../slideLayouts/slideLayout112.xml"/><Relationship Id="rId50" Type="http://schemas.openxmlformats.org/officeDocument/2006/relationships/slideLayout" Target="../slideLayouts/slideLayout128.xml"/><Relationship Id="rId55" Type="http://schemas.openxmlformats.org/officeDocument/2006/relationships/slideLayout" Target="../slideLayouts/slideLayout133.xml"/><Relationship Id="rId76" Type="http://schemas.openxmlformats.org/officeDocument/2006/relationships/theme" Target="../theme/theme2.xml"/><Relationship Id="rId7" Type="http://schemas.openxmlformats.org/officeDocument/2006/relationships/slideLayout" Target="../slideLayouts/slideLayout85.xml"/><Relationship Id="rId71" Type="http://schemas.openxmlformats.org/officeDocument/2006/relationships/slideLayout" Target="../slideLayouts/slideLayout149.xml"/><Relationship Id="rId2" Type="http://schemas.openxmlformats.org/officeDocument/2006/relationships/slideLayout" Target="../slideLayouts/slideLayout80.xml"/><Relationship Id="rId29" Type="http://schemas.openxmlformats.org/officeDocument/2006/relationships/slideLayout" Target="../slideLayouts/slideLayout107.xml"/><Relationship Id="rId24" Type="http://schemas.openxmlformats.org/officeDocument/2006/relationships/slideLayout" Target="../slideLayouts/slideLayout102.xml"/><Relationship Id="rId40" Type="http://schemas.openxmlformats.org/officeDocument/2006/relationships/slideLayout" Target="../slideLayouts/slideLayout118.xml"/><Relationship Id="rId45" Type="http://schemas.openxmlformats.org/officeDocument/2006/relationships/slideLayout" Target="../slideLayouts/slideLayout123.xml"/><Relationship Id="rId66" Type="http://schemas.openxmlformats.org/officeDocument/2006/relationships/slideLayout" Target="../slideLayouts/slideLayout1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93970CB-009E-24ED-DBF0-1C8611498F78}"/>
              </a:ext>
            </a:extLst>
          </p:cNvPr>
          <p:cNvGraphicFramePr>
            <a:graphicFrameLocks noChangeAspect="1"/>
          </p:cNvGraphicFramePr>
          <p:nvPr>
            <p:custDataLst>
              <p:tags r:id="rId80"/>
            </p:custDataLst>
            <p:extLst>
              <p:ext uri="{D42A27DB-BD31-4B8C-83A1-F6EECF244321}">
                <p14:modId xmlns:p14="http://schemas.microsoft.com/office/powerpoint/2010/main" val="1460988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2" imgW="306" imgH="306" progId="TCLayout.ActiveDocument.1">
                  <p:embed/>
                </p:oleObj>
              </mc:Choice>
              <mc:Fallback>
                <p:oleObj name="think-cell Slide" r:id="rId82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3970CB-009E-24ED-DBF0-1C8611498F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E69BA9C-C343-76FE-1DFE-0DE98E5A42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10972800" cy="5539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488554-CC3A-3EDC-8F8F-16C0347465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1508"/>
            <a:ext cx="10972800" cy="43039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81D06C-E167-C466-0BF2-FB8ED36E5A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5 Guidehouse Inc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CF4F93-4B1C-BE2B-83D7-3F5C0AE0EC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13D4A40A-9148-84EB-235B-CC1C305BB22B}"/>
              </a:ext>
            </a:extLst>
          </p:cNvPr>
          <p:cNvPicPr>
            <a:picLocks noChangeAspect="1"/>
          </p:cNvPicPr>
          <p:nvPr/>
        </p:nvPicPr>
        <p:blipFill>
          <a:blip r:embed="rId84">
            <a:extLst>
              <a:ext uri="{96DAC541-7B7A-43D3-8B79-37D633B846F1}">
                <asvg:svgBlip xmlns:asvg="http://schemas.microsoft.com/office/drawing/2016/SVG/main" r:embed="rId85"/>
              </a:ext>
            </a:extLst>
          </a:blip>
          <a:stretch>
            <a:fillRect/>
          </a:stretch>
        </p:blipFill>
        <p:spPr>
          <a:xfrm>
            <a:off x="5603875" y="88565"/>
            <a:ext cx="984250" cy="250052"/>
          </a:xfrm>
          <a:prstGeom prst="rect">
            <a:avLst/>
          </a:prstGeom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72F260A-BFCF-46E5-1B90-30801439C4FD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6AF56F6D-4496-92DF-7B04-1F1C9BC50E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236555" y="136647"/>
            <a:ext cx="134584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5B253CDA-6F8A-4CA3-B117-63EC848649A3}" type="datetime4">
              <a:rPr lang="en-US" smtClean="0"/>
              <a:t>October 23, 2025</a:t>
            </a:fld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8B98087-2E61-FB62-C920-FE7883A47F91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2357FF7-CBD8-157E-6C26-248827D6A8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1"/>
            </p:custDataLst>
            <p:extLst>
              <p:ext uri="{D42A27DB-BD31-4B8C-83A1-F6EECF244321}">
                <p14:modId xmlns:p14="http://schemas.microsoft.com/office/powerpoint/2010/main" val="1460988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2" imgW="306" imgH="306" progId="TCLayout.ActiveDocument.1">
                  <p:embed/>
                </p:oleObj>
              </mc:Choice>
              <mc:Fallback>
                <p:oleObj name="think-cell Slide" r:id="rId82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357FF7-CBD8-157E-6C26-248827D6A8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8B962F9-F873-E602-D121-20F67CB65E84}"/>
              </a:ext>
            </a:extLst>
          </p:cNvPr>
          <p:cNvCxnSpPr>
            <a:cxnSpLocks/>
          </p:cNvCxnSpPr>
          <p:nvPr userDrawn="1"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21BA28A-620D-1DFD-A6DA-C01DED117BD0}"/>
              </a:ext>
            </a:extLst>
          </p:cNvPr>
          <p:cNvCxnSpPr>
            <a:cxnSpLocks/>
          </p:cNvCxnSpPr>
          <p:nvPr userDrawn="1"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5646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65" r:id="rId2"/>
    <p:sldLayoutId id="2147483787" r:id="rId3"/>
    <p:sldLayoutId id="2147483789" r:id="rId4"/>
    <p:sldLayoutId id="2147483853" r:id="rId5"/>
    <p:sldLayoutId id="2147483862" r:id="rId6"/>
    <p:sldLayoutId id="2147483870" r:id="rId7"/>
    <p:sldLayoutId id="2147483788" r:id="rId8"/>
    <p:sldLayoutId id="2147483854" r:id="rId9"/>
    <p:sldLayoutId id="2147483790" r:id="rId10"/>
    <p:sldLayoutId id="2147483791" r:id="rId11"/>
    <p:sldLayoutId id="2147483792" r:id="rId12"/>
    <p:sldLayoutId id="2147483794" r:id="rId13"/>
    <p:sldLayoutId id="2147483795" r:id="rId14"/>
    <p:sldLayoutId id="2147483796" r:id="rId15"/>
    <p:sldLayoutId id="2147483797" r:id="rId16"/>
    <p:sldLayoutId id="2147483800" r:id="rId17"/>
    <p:sldLayoutId id="2147483798" r:id="rId18"/>
    <p:sldLayoutId id="2147483799" r:id="rId19"/>
    <p:sldLayoutId id="2147483801" r:id="rId20"/>
    <p:sldLayoutId id="2147483802" r:id="rId21"/>
    <p:sldLayoutId id="2147483867" r:id="rId22"/>
    <p:sldLayoutId id="2147483803" r:id="rId23"/>
    <p:sldLayoutId id="2147483860" r:id="rId24"/>
    <p:sldLayoutId id="2147483868" r:id="rId25"/>
    <p:sldLayoutId id="2147483804" r:id="rId26"/>
    <p:sldLayoutId id="2147483805" r:id="rId27"/>
    <p:sldLayoutId id="2147483806" r:id="rId28"/>
    <p:sldLayoutId id="2147483855" r:id="rId29"/>
    <p:sldLayoutId id="2147483807" r:id="rId30"/>
    <p:sldLayoutId id="2147483808" r:id="rId31"/>
    <p:sldLayoutId id="2147483861" r:id="rId32"/>
    <p:sldLayoutId id="2147483811" r:id="rId33"/>
    <p:sldLayoutId id="2147483812" r:id="rId34"/>
    <p:sldLayoutId id="2147483813" r:id="rId35"/>
    <p:sldLayoutId id="2147483814" r:id="rId36"/>
    <p:sldLayoutId id="2147483815" r:id="rId37"/>
    <p:sldLayoutId id="2147483817" r:id="rId38"/>
    <p:sldLayoutId id="2147483816" r:id="rId39"/>
    <p:sldLayoutId id="2147483857" r:id="rId40"/>
    <p:sldLayoutId id="2147483856" r:id="rId41"/>
    <p:sldLayoutId id="2147483858" r:id="rId42"/>
    <p:sldLayoutId id="2147483818" r:id="rId43"/>
    <p:sldLayoutId id="2147483819" r:id="rId44"/>
    <p:sldLayoutId id="2147483820" r:id="rId45"/>
    <p:sldLayoutId id="2147483809" r:id="rId46"/>
    <p:sldLayoutId id="2147483810" r:id="rId47"/>
    <p:sldLayoutId id="2147483847" r:id="rId48"/>
    <p:sldLayoutId id="2147483848" r:id="rId49"/>
    <p:sldLayoutId id="2147483822" r:id="rId50"/>
    <p:sldLayoutId id="2147483849" r:id="rId51"/>
    <p:sldLayoutId id="2147483823" r:id="rId52"/>
    <p:sldLayoutId id="2147483824" r:id="rId53"/>
    <p:sldLayoutId id="2147483825" r:id="rId54"/>
    <p:sldLayoutId id="2147483826" r:id="rId55"/>
    <p:sldLayoutId id="2147483827" r:id="rId56"/>
    <p:sldLayoutId id="2147483828" r:id="rId57"/>
    <p:sldLayoutId id="2147483829" r:id="rId58"/>
    <p:sldLayoutId id="2147483830" r:id="rId59"/>
    <p:sldLayoutId id="2147483831" r:id="rId60"/>
    <p:sldLayoutId id="2147483866" r:id="rId61"/>
    <p:sldLayoutId id="2147483832" r:id="rId62"/>
    <p:sldLayoutId id="2147483833" r:id="rId63"/>
    <p:sldLayoutId id="2147483834" r:id="rId64"/>
    <p:sldLayoutId id="2147483835" r:id="rId65"/>
    <p:sldLayoutId id="2147483836" r:id="rId66"/>
    <p:sldLayoutId id="2147483837" r:id="rId67"/>
    <p:sldLayoutId id="2147483851" r:id="rId68"/>
    <p:sldLayoutId id="2147483838" r:id="rId69"/>
    <p:sldLayoutId id="2147483839" r:id="rId70"/>
    <p:sldLayoutId id="2147483840" r:id="rId71"/>
    <p:sldLayoutId id="2147483841" r:id="rId72"/>
    <p:sldLayoutId id="2147483842" r:id="rId73"/>
    <p:sldLayoutId id="2147483843" r:id="rId74"/>
    <p:sldLayoutId id="2147483859" r:id="rId75"/>
    <p:sldLayoutId id="2147483852" r:id="rId76"/>
    <p:sldLayoutId id="2147483947" r:id="rId77"/>
    <p:sldLayoutId id="2147483948" r:id="rId78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0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1" pos="384" userDrawn="1">
          <p15:clr>
            <a:srgbClr val="A4A3A4"/>
          </p15:clr>
        </p15:guide>
        <p15:guide id="12" pos="7296" userDrawn="1">
          <p15:clr>
            <a:srgbClr val="A4A3A4"/>
          </p15:clr>
        </p15:guide>
        <p15:guide id="13" orient="horz" pos="3936" userDrawn="1">
          <p15:clr>
            <a:srgbClr val="A4A3A4"/>
          </p15:clr>
        </p15:guide>
        <p15:guide id="14" orient="horz" pos="1008" userDrawn="1">
          <p15:clr>
            <a:srgbClr val="A4A3A4"/>
          </p15:clr>
        </p15:guide>
        <p15:guide id="15" orient="horz" pos="3720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93970CB-009E-24ED-DBF0-1C8611498F78}"/>
              </a:ext>
            </a:extLst>
          </p:cNvPr>
          <p:cNvGraphicFramePr>
            <a:graphicFrameLocks noChangeAspect="1"/>
          </p:cNvGraphicFramePr>
          <p:nvPr>
            <p:custDataLst>
              <p:tags r:id="rId7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9" imgW="306" imgH="306" progId="TCLayout.ActiveDocument.1">
                  <p:embed/>
                </p:oleObj>
              </mc:Choice>
              <mc:Fallback>
                <p:oleObj name="think-cell Slide" r:id="rId79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3970CB-009E-24ED-DBF0-1C8611498F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E69BA9C-C343-76FE-1DFE-0DE98E5A42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00754"/>
            <a:ext cx="10972800" cy="5539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488554-CC3A-3EDC-8F8F-16C0347465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1508"/>
            <a:ext cx="10972800" cy="43039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81D06C-E167-C466-0BF2-FB8ED36E5A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© 2024 Guidehous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CF4F93-4B1C-BE2B-83D7-3F5C0AE0EC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8008" y="6567465"/>
            <a:ext cx="334392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D814145-5B10-4F3F-A6BF-3641B91211C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13D4A40A-9148-84EB-235B-CC1C305BB22B}"/>
              </a:ext>
            </a:extLst>
          </p:cNvPr>
          <p:cNvPicPr>
            <a:picLocks noChangeAspect="1"/>
          </p:cNvPicPr>
          <p:nvPr/>
        </p:nvPicPr>
        <p:blipFill>
          <a:blip r:embed="rId81">
            <a:extLst>
              <a:ext uri="{96DAC541-7B7A-43D3-8B79-37D633B846F1}">
                <asvg:svgBlip xmlns:asvg="http://schemas.microsoft.com/office/drawing/2016/SVG/main" r:embed="rId82"/>
              </a:ext>
            </a:extLst>
          </a:blip>
          <a:stretch>
            <a:fillRect/>
          </a:stretch>
        </p:blipFill>
        <p:spPr>
          <a:xfrm>
            <a:off x="5603875" y="88565"/>
            <a:ext cx="984250" cy="250052"/>
          </a:xfrm>
          <a:prstGeom prst="rect">
            <a:avLst/>
          </a:prstGeom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72F260A-BFCF-46E5-1B90-30801439C4FD}"/>
              </a:ext>
            </a:extLst>
          </p:cNvPr>
          <p:cNvCxnSpPr>
            <a:cxnSpLocks/>
          </p:cNvCxnSpPr>
          <p:nvPr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6AF56F6D-4496-92DF-7B04-1F1C9BC50E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236555" y="136647"/>
            <a:ext cx="134584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5B253CDA-6F8A-4CA3-B117-63EC848649A3}" type="datetime4">
              <a:rPr lang="en-US" smtClean="0"/>
              <a:t>October 23, 2025</a:t>
            </a:fld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8B98087-2E61-FB62-C920-FE7883A47F91}"/>
              </a:ext>
            </a:extLst>
          </p:cNvPr>
          <p:cNvCxnSpPr>
            <a:cxnSpLocks/>
          </p:cNvCxnSpPr>
          <p:nvPr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2357FF7-CBD8-157E-6C26-248827D6A8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9" imgW="306" imgH="306" progId="TCLayout.ActiveDocument.1">
                  <p:embed/>
                </p:oleObj>
              </mc:Choice>
              <mc:Fallback>
                <p:oleObj name="think-cell Slide" r:id="rId79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357FF7-CBD8-157E-6C26-248827D6A8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8B962F9-F873-E602-D121-20F67CB65E84}"/>
              </a:ext>
            </a:extLst>
          </p:cNvPr>
          <p:cNvCxnSpPr>
            <a:cxnSpLocks/>
          </p:cNvCxnSpPr>
          <p:nvPr userDrawn="1"/>
        </p:nvCxnSpPr>
        <p:spPr>
          <a:xfrm>
            <a:off x="0" y="426998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21BA28A-620D-1DFD-A6DA-C01DED117BD0}"/>
              </a:ext>
            </a:extLst>
          </p:cNvPr>
          <p:cNvCxnSpPr>
            <a:cxnSpLocks/>
          </p:cNvCxnSpPr>
          <p:nvPr userDrawn="1"/>
        </p:nvCxnSpPr>
        <p:spPr>
          <a:xfrm>
            <a:off x="0" y="6431003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5646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  <p:sldLayoutId id="2147483880" r:id="rId9"/>
    <p:sldLayoutId id="2147483881" r:id="rId10"/>
    <p:sldLayoutId id="2147483882" r:id="rId11"/>
    <p:sldLayoutId id="2147483883" r:id="rId12"/>
    <p:sldLayoutId id="2147483884" r:id="rId13"/>
    <p:sldLayoutId id="2147483885" r:id="rId14"/>
    <p:sldLayoutId id="2147483886" r:id="rId15"/>
    <p:sldLayoutId id="2147483887" r:id="rId16"/>
    <p:sldLayoutId id="2147483888" r:id="rId17"/>
    <p:sldLayoutId id="2147483889" r:id="rId18"/>
    <p:sldLayoutId id="2147483890" r:id="rId19"/>
    <p:sldLayoutId id="2147483891" r:id="rId20"/>
    <p:sldLayoutId id="2147483892" r:id="rId21"/>
    <p:sldLayoutId id="2147483893" r:id="rId22"/>
    <p:sldLayoutId id="2147483894" r:id="rId23"/>
    <p:sldLayoutId id="2147483895" r:id="rId24"/>
    <p:sldLayoutId id="2147483896" r:id="rId25"/>
    <p:sldLayoutId id="2147483897" r:id="rId26"/>
    <p:sldLayoutId id="2147483898" r:id="rId27"/>
    <p:sldLayoutId id="2147483899" r:id="rId28"/>
    <p:sldLayoutId id="2147483900" r:id="rId29"/>
    <p:sldLayoutId id="2147483901" r:id="rId30"/>
    <p:sldLayoutId id="2147483902" r:id="rId31"/>
    <p:sldLayoutId id="2147483903" r:id="rId32"/>
    <p:sldLayoutId id="2147483904" r:id="rId33"/>
    <p:sldLayoutId id="2147483905" r:id="rId34"/>
    <p:sldLayoutId id="2147483906" r:id="rId35"/>
    <p:sldLayoutId id="2147483907" r:id="rId36"/>
    <p:sldLayoutId id="2147483908" r:id="rId37"/>
    <p:sldLayoutId id="2147483909" r:id="rId38"/>
    <p:sldLayoutId id="2147483910" r:id="rId39"/>
    <p:sldLayoutId id="2147483911" r:id="rId40"/>
    <p:sldLayoutId id="2147483912" r:id="rId41"/>
    <p:sldLayoutId id="2147483913" r:id="rId42"/>
    <p:sldLayoutId id="2147483914" r:id="rId43"/>
    <p:sldLayoutId id="2147483915" r:id="rId44"/>
    <p:sldLayoutId id="2147483916" r:id="rId45"/>
    <p:sldLayoutId id="2147483917" r:id="rId46"/>
    <p:sldLayoutId id="2147483918" r:id="rId47"/>
    <p:sldLayoutId id="2147483919" r:id="rId48"/>
    <p:sldLayoutId id="2147483920" r:id="rId49"/>
    <p:sldLayoutId id="2147483921" r:id="rId50"/>
    <p:sldLayoutId id="2147483922" r:id="rId51"/>
    <p:sldLayoutId id="2147483923" r:id="rId52"/>
    <p:sldLayoutId id="2147483924" r:id="rId53"/>
    <p:sldLayoutId id="2147483925" r:id="rId54"/>
    <p:sldLayoutId id="2147483926" r:id="rId55"/>
    <p:sldLayoutId id="2147483927" r:id="rId56"/>
    <p:sldLayoutId id="2147483928" r:id="rId57"/>
    <p:sldLayoutId id="2147483929" r:id="rId58"/>
    <p:sldLayoutId id="2147483930" r:id="rId59"/>
    <p:sldLayoutId id="2147483931" r:id="rId60"/>
    <p:sldLayoutId id="2147483932" r:id="rId61"/>
    <p:sldLayoutId id="2147483933" r:id="rId62"/>
    <p:sldLayoutId id="2147483934" r:id="rId63"/>
    <p:sldLayoutId id="2147483935" r:id="rId64"/>
    <p:sldLayoutId id="2147483936" r:id="rId65"/>
    <p:sldLayoutId id="2147483937" r:id="rId66"/>
    <p:sldLayoutId id="2147483938" r:id="rId67"/>
    <p:sldLayoutId id="2147483939" r:id="rId68"/>
    <p:sldLayoutId id="2147483940" r:id="rId69"/>
    <p:sldLayoutId id="2147483941" r:id="rId70"/>
    <p:sldLayoutId id="2147483942" r:id="rId71"/>
    <p:sldLayoutId id="2147483943" r:id="rId72"/>
    <p:sldLayoutId id="2147483944" r:id="rId73"/>
    <p:sldLayoutId id="2147483945" r:id="rId74"/>
    <p:sldLayoutId id="2147483946" r:id="rId75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0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1" pos="384" userDrawn="1">
          <p15:clr>
            <a:srgbClr val="A4A3A4"/>
          </p15:clr>
        </p15:guide>
        <p15:guide id="12" pos="7296" userDrawn="1">
          <p15:clr>
            <a:srgbClr val="A4A3A4"/>
          </p15:clr>
        </p15:guide>
        <p15:guide id="13" orient="horz" pos="3936" userDrawn="1">
          <p15:clr>
            <a:srgbClr val="A4A3A4"/>
          </p15:clr>
        </p15:guide>
        <p15:guide id="14" orient="horz" pos="1008" userDrawn="1">
          <p15:clr>
            <a:srgbClr val="A4A3A4"/>
          </p15:clr>
        </p15:guide>
        <p15:guide id="15" orient="horz" pos="372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7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7.xml"/><Relationship Id="rId1" Type="http://schemas.openxmlformats.org/officeDocument/2006/relationships/tags" Target="../tags/tag24.xml"/><Relationship Id="rId6" Type="http://schemas.openxmlformats.org/officeDocument/2006/relationships/image" Target="../media/image62.png"/><Relationship Id="rId5" Type="http://schemas.openxmlformats.org/officeDocument/2006/relationships/image" Target="../media/image56.emf"/><Relationship Id="rId4" Type="http://schemas.openxmlformats.org/officeDocument/2006/relationships/oleObject" Target="../embeddings/oleObject5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77.xml"/><Relationship Id="rId1" Type="http://schemas.openxmlformats.org/officeDocument/2006/relationships/tags" Target="../tags/tag25.xml"/><Relationship Id="rId6" Type="http://schemas.openxmlformats.org/officeDocument/2006/relationships/image" Target="../media/image63.png"/><Relationship Id="rId5" Type="http://schemas.openxmlformats.org/officeDocument/2006/relationships/image" Target="../media/image56.emf"/><Relationship Id="rId4" Type="http://schemas.openxmlformats.org/officeDocument/2006/relationships/oleObject" Target="../embeddings/oleObject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7.xml"/><Relationship Id="rId1" Type="http://schemas.openxmlformats.org/officeDocument/2006/relationships/tags" Target="../tags/tag26.xml"/><Relationship Id="rId6" Type="http://schemas.openxmlformats.org/officeDocument/2006/relationships/image" Target="../media/image64.png"/><Relationship Id="rId5" Type="http://schemas.openxmlformats.org/officeDocument/2006/relationships/image" Target="../media/image56.emf"/><Relationship Id="rId4" Type="http://schemas.openxmlformats.org/officeDocument/2006/relationships/oleObject" Target="../embeddings/oleObject7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77.xml"/><Relationship Id="rId1" Type="http://schemas.openxmlformats.org/officeDocument/2006/relationships/tags" Target="../tags/tag27.xml"/><Relationship Id="rId6" Type="http://schemas.openxmlformats.org/officeDocument/2006/relationships/image" Target="../media/image65.png"/><Relationship Id="rId5" Type="http://schemas.openxmlformats.org/officeDocument/2006/relationships/image" Target="../media/image56.emf"/><Relationship Id="rId4" Type="http://schemas.openxmlformats.org/officeDocument/2006/relationships/oleObject" Target="../embeddings/oleObject8.bin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5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5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Relationship Id="rId5" Type="http://schemas.openxmlformats.org/officeDocument/2006/relationships/hyperlink" Target="https://catc.ca.gov/programs/sb671#:~:text=SB%20671%20requires%20that%20the,medium%20and%20heavy%2Dduty%20vehicles." TargetMode="External"/><Relationship Id="rId4" Type="http://schemas.openxmlformats.org/officeDocument/2006/relationships/hyperlink" Target="https://ops.fhwa.dot.gov/freight/freight_analysis/faf/" TargetMode="Externa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7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7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58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55.xml"/></Relationships>
</file>

<file path=ppt/slides/_rels/slide2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5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mailto:Emily.Clayton@cpuc.ca.gov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7.xml"/><Relationship Id="rId4" Type="http://schemas.openxmlformats.org/officeDocument/2006/relationships/hyperlink" Target="mailto:Emmanuelle.Truax@cpuc.ca.gov" TargetMode="Externa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svg"/><Relationship Id="rId3" Type="http://schemas.openxmlformats.org/officeDocument/2006/relationships/image" Target="../media/image74.png"/><Relationship Id="rId7" Type="http://schemas.openxmlformats.org/officeDocument/2006/relationships/image" Target="../media/image78.png"/><Relationship Id="rId12" Type="http://schemas.openxmlformats.org/officeDocument/2006/relationships/image" Target="../media/image83.sv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77.svg"/><Relationship Id="rId11" Type="http://schemas.openxmlformats.org/officeDocument/2006/relationships/image" Target="../media/image82.png"/><Relationship Id="rId5" Type="http://schemas.openxmlformats.org/officeDocument/2006/relationships/image" Target="../media/image76.png"/><Relationship Id="rId10" Type="http://schemas.openxmlformats.org/officeDocument/2006/relationships/image" Target="../media/image81.svg"/><Relationship Id="rId4" Type="http://schemas.openxmlformats.org/officeDocument/2006/relationships/image" Target="../media/image75.svg"/><Relationship Id="rId9" Type="http://schemas.openxmlformats.org/officeDocument/2006/relationships/image" Target="../media/image8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7.xml"/><Relationship Id="rId4" Type="http://schemas.openxmlformats.org/officeDocument/2006/relationships/image" Target="../media/image8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1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emf"/><Relationship Id="rId1" Type="http://schemas.openxmlformats.org/officeDocument/2006/relationships/slideLayout" Target="../slideLayouts/slideLayout7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emf"/><Relationship Id="rId1" Type="http://schemas.openxmlformats.org/officeDocument/2006/relationships/slideLayout" Target="../slideLayouts/slideLayout7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emf"/><Relationship Id="rId1" Type="http://schemas.openxmlformats.org/officeDocument/2006/relationships/slideLayout" Target="../slideLayouts/slideLayout7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emf"/><Relationship Id="rId1" Type="http://schemas.openxmlformats.org/officeDocument/2006/relationships/slideLayout" Target="../slideLayouts/slideLayout7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emf"/><Relationship Id="rId1" Type="http://schemas.openxmlformats.org/officeDocument/2006/relationships/slideLayout" Target="../slideLayouts/slideLayout7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emf"/><Relationship Id="rId1" Type="http://schemas.openxmlformats.org/officeDocument/2006/relationships/slideLayout" Target="../slideLayouts/slideLayout7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92.png"/><Relationship Id="rId5" Type="http://schemas.openxmlformats.org/officeDocument/2006/relationships/image" Target="../media/image91.jpeg"/><Relationship Id="rId4" Type="http://schemas.openxmlformats.org/officeDocument/2006/relationships/image" Target="../media/image90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jpeg"/><Relationship Id="rId2" Type="http://schemas.openxmlformats.org/officeDocument/2006/relationships/image" Target="../media/image93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92.png"/><Relationship Id="rId5" Type="http://schemas.openxmlformats.org/officeDocument/2006/relationships/image" Target="../media/image96.jpeg"/><Relationship Id="rId4" Type="http://schemas.openxmlformats.org/officeDocument/2006/relationships/image" Target="../media/image95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image" Target="../media/image97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92.png"/><Relationship Id="rId5" Type="http://schemas.openxmlformats.org/officeDocument/2006/relationships/image" Target="../media/image100.jpeg"/><Relationship Id="rId4" Type="http://schemas.openxmlformats.org/officeDocument/2006/relationships/image" Target="../media/image99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jpeg"/><Relationship Id="rId2" Type="http://schemas.openxmlformats.org/officeDocument/2006/relationships/image" Target="../media/image101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92.png"/><Relationship Id="rId5" Type="http://schemas.openxmlformats.org/officeDocument/2006/relationships/image" Target="../media/image104.jpeg"/><Relationship Id="rId4" Type="http://schemas.openxmlformats.org/officeDocument/2006/relationships/image" Target="../media/image103.jpeg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5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eg"/><Relationship Id="rId2" Type="http://schemas.openxmlformats.org/officeDocument/2006/relationships/image" Target="../media/image105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92.png"/><Relationship Id="rId5" Type="http://schemas.openxmlformats.org/officeDocument/2006/relationships/image" Target="../media/image108.jpeg"/><Relationship Id="rId4" Type="http://schemas.openxmlformats.org/officeDocument/2006/relationships/image" Target="../media/image107.jpe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jpeg"/><Relationship Id="rId2" Type="http://schemas.openxmlformats.org/officeDocument/2006/relationships/image" Target="../media/image109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92.png"/><Relationship Id="rId5" Type="http://schemas.openxmlformats.org/officeDocument/2006/relationships/image" Target="../media/image112.jpeg"/><Relationship Id="rId4" Type="http://schemas.openxmlformats.org/officeDocument/2006/relationships/image" Target="../media/image111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jpeg"/><Relationship Id="rId2" Type="http://schemas.openxmlformats.org/officeDocument/2006/relationships/image" Target="../media/image113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92.png"/><Relationship Id="rId5" Type="http://schemas.openxmlformats.org/officeDocument/2006/relationships/image" Target="../media/image116.jpeg"/><Relationship Id="rId4" Type="http://schemas.openxmlformats.org/officeDocument/2006/relationships/image" Target="../media/image115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17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18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hyperlink" Target="mailto:Vivek.nath@guidehouse.com" TargetMode="External"/><Relationship Id="rId3" Type="http://schemas.openxmlformats.org/officeDocument/2006/relationships/hyperlink" Target="mailto:avas@guidehouse.com" TargetMode="External"/><Relationship Id="rId7" Type="http://schemas.openxmlformats.org/officeDocument/2006/relationships/image" Target="../media/image120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69.xml"/><Relationship Id="rId6" Type="http://schemas.openxmlformats.org/officeDocument/2006/relationships/hyperlink" Target="mailto:taardemae@guidehouse.com" TargetMode="External"/><Relationship Id="rId5" Type="http://schemas.openxmlformats.org/officeDocument/2006/relationships/hyperlink" Target="mailto:karen.maoz@guidehouse.com" TargetMode="External"/><Relationship Id="rId10" Type="http://schemas.openxmlformats.org/officeDocument/2006/relationships/hyperlink" Target="mailto:will.sierzchulda@guidehouse.com" TargetMode="External"/><Relationship Id="rId4" Type="http://schemas.openxmlformats.org/officeDocument/2006/relationships/hyperlink" Target="mailto:erek.jones@guidehouse.com" TargetMode="External"/><Relationship Id="rId9" Type="http://schemas.openxmlformats.org/officeDocument/2006/relationships/hyperlink" Target="mailto:gaiello.@guidehouse.com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7" Type="http://schemas.openxmlformats.org/officeDocument/2006/relationships/image" Target="../media/image55.jpe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107.xml"/><Relationship Id="rId6" Type="http://schemas.openxmlformats.org/officeDocument/2006/relationships/image" Target="../media/image54.jpeg"/><Relationship Id="rId5" Type="http://schemas.openxmlformats.org/officeDocument/2006/relationships/image" Target="../media/image53.png"/><Relationship Id="rId4" Type="http://schemas.openxmlformats.org/officeDocument/2006/relationships/image" Target="../media/image52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58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3.xml"/><Relationship Id="rId6" Type="http://schemas.openxmlformats.org/officeDocument/2006/relationships/image" Target="../media/image57.png"/><Relationship Id="rId5" Type="http://schemas.openxmlformats.org/officeDocument/2006/relationships/image" Target="../media/image56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5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E2DE7C51-FF28-CC1A-407A-7713A0601E2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3592125"/>
            <a:ext cx="11295974" cy="767133"/>
          </a:xfrm>
        </p:spPr>
        <p:txBody>
          <a:bodyPr/>
          <a:lstStyle/>
          <a:p>
            <a:r>
              <a:rPr lang="en-US"/>
              <a:t>Transportation Electrification Proactive Planning Webinar</a:t>
            </a:r>
          </a:p>
          <a:p>
            <a:r>
              <a:rPr lang="en-US" sz="4000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B0EC025-C1CC-573B-4964-71ADCEB7E7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523079"/>
            <a:ext cx="1333500" cy="223908"/>
          </a:xfr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/>
              <a:t>10/22/25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52063B9-C733-2F3C-E6FA-07D83144AE0B}"/>
              </a:ext>
            </a:extLst>
          </p:cNvPr>
          <p:cNvSpPr txBox="1"/>
          <p:nvPr/>
        </p:nvSpPr>
        <p:spPr>
          <a:xfrm>
            <a:off x="605183" y="4481443"/>
            <a:ext cx="9623286" cy="132343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4000">
                <a:solidFill>
                  <a:srgbClr val="FFFFFF"/>
                </a:solidFill>
              </a:rPr>
              <a:t>Inputs &amp; Assumptions and </a:t>
            </a:r>
            <a:endParaRPr lang="en-US">
              <a:solidFill>
                <a:srgbClr val="1B1B1B"/>
              </a:solidFill>
            </a:endParaRPr>
          </a:p>
          <a:p>
            <a:r>
              <a:rPr lang="en-US" sz="4000">
                <a:solidFill>
                  <a:srgbClr val="FFFFFF"/>
                </a:solidFill>
              </a:rPr>
              <a:t>Corridor Disaggregation Methodolog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03680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2CD543-D095-96E0-F950-BC9DF19B9E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8F7E553-1C50-A1AE-EAE9-1BAFB825FD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2451F5-E904-C01F-57F2-1E631FE29E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5CA8C8A-1D9B-9F54-7878-5BFF102BD1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/>
              <a:t>How</a:t>
            </a:r>
            <a:r>
              <a:rPr lang="en-US"/>
              <a:t> I&amp;A will be used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90C13A6-5B87-429C-299D-1E44D37722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PP Modeling I&amp;A Overview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8647AE71-20A5-EA01-B1C4-DECFC864BDEC}"/>
              </a:ext>
            </a:extLst>
          </p:cNvPr>
          <p:cNvSpPr txBox="1">
            <a:spLocks/>
          </p:cNvSpPr>
          <p:nvPr/>
        </p:nvSpPr>
        <p:spPr>
          <a:xfrm>
            <a:off x="522292" y="2052084"/>
            <a:ext cx="11060108" cy="2037316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Identify </a:t>
            </a:r>
            <a:r>
              <a:rPr lang="en-US" b="1">
                <a:solidFill>
                  <a:schemeClr val="accent4"/>
                </a:solidFill>
              </a:rPr>
              <a:t>TE load associated with public LD and MDHD battery electric vehicle (BEV) charging and MDHD BEV depot charging </a:t>
            </a:r>
            <a:r>
              <a:rPr lang="en-US">
                <a:solidFill>
                  <a:schemeClr val="tx1"/>
                </a:solidFill>
              </a:rPr>
              <a:t>along major California highway corrido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Aligns with IEPR energy demand forecast, providing</a:t>
            </a:r>
            <a:r>
              <a:rPr lang="en-US">
                <a:solidFill>
                  <a:schemeClr val="accent4"/>
                </a:solidFill>
              </a:rPr>
              <a:t> </a:t>
            </a:r>
            <a:r>
              <a:rPr lang="en-US" b="1">
                <a:solidFill>
                  <a:schemeClr val="accent4"/>
                </a:solidFill>
              </a:rPr>
              <a:t>localized planning insight </a:t>
            </a:r>
            <a:r>
              <a:rPr lang="en-US"/>
              <a:t>for use in existing planning and cost recovery processes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42170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CC4E63-92D9-A34D-B1DB-E19B424F8B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3EF60DE-AA06-E13C-5879-5E9537A575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CCD6501-A671-14B7-4021-129CE11180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A51C0A-7ECD-A087-383B-E11D8273BC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 </a:t>
            </a:r>
            <a:r>
              <a:rPr lang="en-US" b="1"/>
              <a:t>What</a:t>
            </a:r>
            <a:r>
              <a:rPr lang="en-US"/>
              <a:t> are the input sourc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52D48D9-856E-E4A9-E99B-C54D207F7F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PP Modeling I&amp;A Overview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EC6F745-7A49-F779-4279-16C504CDAB4F}"/>
              </a:ext>
            </a:extLst>
          </p:cNvPr>
          <p:cNvSpPr txBox="1">
            <a:spLocks/>
          </p:cNvSpPr>
          <p:nvPr/>
        </p:nvSpPr>
        <p:spPr>
          <a:xfrm>
            <a:off x="609599" y="1847472"/>
            <a:ext cx="6136397" cy="438681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/>
              <a:t>Real-world data</a:t>
            </a:r>
          </a:p>
          <a:p>
            <a:pPr marL="742950" lvl="1" indent="-285750"/>
            <a:r>
              <a:rPr lang="en-US" sz="1600"/>
              <a:t>Vehicle domicile data from Geotab (third-party data vendor)</a:t>
            </a:r>
          </a:p>
          <a:p>
            <a:pPr marL="742950" lvl="1" indent="-285750"/>
            <a:r>
              <a:rPr lang="en-US" sz="1600"/>
              <a:t>Trip data from Geotab provides public/private charging and route paths</a:t>
            </a:r>
          </a:p>
          <a:p>
            <a:pPr marL="742950" lvl="1" indent="-285750"/>
            <a:r>
              <a:rPr lang="en-US" sz="1600"/>
              <a:t>Vehicle registration data sourced from DMV</a:t>
            </a:r>
          </a:p>
          <a:p>
            <a:pPr marL="742950" lvl="1" indent="-285750"/>
            <a:r>
              <a:rPr lang="en-US" sz="1600"/>
              <a:t>Recent fleet electrification pilot proje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/>
              <a:t>Studies</a:t>
            </a:r>
          </a:p>
          <a:p>
            <a:pPr marL="742950" lvl="1" indent="-285750"/>
            <a:r>
              <a:rPr lang="en-US" sz="1600"/>
              <a:t>National labs and government agencies</a:t>
            </a:r>
          </a:p>
          <a:p>
            <a:pPr marL="742950" lvl="1" indent="-285750"/>
            <a:r>
              <a:rPr lang="en-US" sz="1600"/>
              <a:t>Academic studies for state of charge estimat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/>
              <a:t>Geospatial layers</a:t>
            </a:r>
          </a:p>
          <a:p>
            <a:pPr marL="742950" lvl="1" indent="-285750"/>
            <a:r>
              <a:rPr lang="en-US" sz="1600"/>
              <a:t>Disadvantaged communities</a:t>
            </a:r>
          </a:p>
          <a:p>
            <a:pPr marL="742950" lvl="1" indent="-285750"/>
            <a:r>
              <a:rPr lang="en-US" sz="1600"/>
              <a:t>Air pollution shape files</a:t>
            </a:r>
            <a:endParaRPr lang="en-US" sz="18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EFB52F4-2C1F-8150-1130-9D25D48609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45997" y="4131117"/>
            <a:ext cx="3281173" cy="185083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8F1F3FB-945B-56F5-6C3C-BF50CABF81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10585" y="625110"/>
            <a:ext cx="2127451" cy="280389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AA657DD-D68C-DE7B-F438-F962868F013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70525" y="2567024"/>
            <a:ext cx="1851383" cy="24260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373891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85EB4EC7-C0F0-2165-AC29-4E3CD9A9E3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4221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12" imgH="511" progId="TCLayout.ActiveDocument.1">
                  <p:embed/>
                </p:oleObj>
              </mc:Choice>
              <mc:Fallback>
                <p:oleObj name="think-cell Slide" r:id="rId4" imgW="512" imgH="51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5EB4EC7-C0F0-2165-AC29-4E3CD9A9E3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CAD0A3F-C565-B20D-F0C7-8C5B3A176A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FB3E2C-5F86-B4DA-34DE-B763AAB06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20BBEE-FA92-8071-78C2-91842A33E0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Vehicle input categories used in TEPP I&amp;A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F50DED9-77AF-3F87-1A37-6246EE516C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&amp;A Inputs Walkthrough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5BB419DC-F583-56B9-25CB-0AC534160876}"/>
              </a:ext>
            </a:extLst>
          </p:cNvPr>
          <p:cNvSpPr txBox="1">
            <a:spLocks/>
          </p:cNvSpPr>
          <p:nvPr/>
        </p:nvSpPr>
        <p:spPr>
          <a:xfrm>
            <a:off x="506896" y="1848264"/>
            <a:ext cx="5459413" cy="395287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200"/>
              </a:spcBef>
            </a:pPr>
            <a:r>
              <a:rPr lang="en-US" sz="1600" b="1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INPUTS</a:t>
            </a:r>
          </a:p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IEPR vehicle forecast</a:t>
            </a:r>
            <a:endParaRPr lang="en-US" sz="160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ea typeface="Times New Roman" panose="02020603050405020304" pitchFamily="18" charset="0"/>
              </a:rPr>
              <a:t>IEPR vehicle classes </a:t>
            </a:r>
          </a:p>
          <a:p>
            <a:pPr>
              <a:spcBef>
                <a:spcPts val="200"/>
              </a:spcBef>
            </a:pPr>
            <a:endParaRPr lang="en-US" sz="1600">
              <a:solidFill>
                <a:srgbClr val="000000"/>
              </a:solidFill>
              <a:ea typeface="Times New Roman" panose="02020603050405020304" pitchFamily="18" charset="0"/>
            </a:endParaRPr>
          </a:p>
          <a:p>
            <a:pPr>
              <a:spcBef>
                <a:spcPts val="200"/>
              </a:spcBef>
            </a:pPr>
            <a:r>
              <a:rPr lang="en-US" sz="1600" b="1">
                <a:solidFill>
                  <a:srgbClr val="000000"/>
                </a:solidFill>
                <a:ea typeface="Times New Roman" panose="02020603050405020304" pitchFamily="18" charset="0"/>
              </a:rPr>
              <a:t>APPROA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IEPR provides BEV forecasts at the IOU-lev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These are translated into vehicle use cases (e.g., long-haul, short-haul, and delivery truck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Guidehouse-proposed approach uses private sector data to disaggregate the BEV forecast down to vehicle domicile location at the ZCTA or census tract level</a:t>
            </a:r>
          </a:p>
          <a:p>
            <a:endParaRPr lang="en-US" sz="1600"/>
          </a:p>
        </p:txBody>
      </p:sp>
      <p:sp>
        <p:nvSpPr>
          <p:cNvPr id="8" name="Content Placeholder 11">
            <a:extLst>
              <a:ext uri="{FF2B5EF4-FFF2-40B4-BE49-F238E27FC236}">
                <a16:creationId xmlns:a16="http://schemas.microsoft.com/office/drawing/2014/main" id="{DE7A9E83-BFB8-E451-9BF4-1DE99DBBCC20}"/>
              </a:ext>
            </a:extLst>
          </p:cNvPr>
          <p:cNvSpPr txBox="1">
            <a:spLocks/>
          </p:cNvSpPr>
          <p:nvPr/>
        </p:nvSpPr>
        <p:spPr>
          <a:xfrm>
            <a:off x="6325085" y="1848264"/>
            <a:ext cx="5459413" cy="395287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/>
              <a:t>SOUR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ea typeface="Times New Roman" panose="02020603050405020304" pitchFamily="18" charset="0"/>
              </a:rPr>
              <a:t>CEC (IEPR’s AATE 3 vehicle forecast scenario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ea typeface="Times New Roman" panose="02020603050405020304" pitchFamily="18" charset="0"/>
              </a:rPr>
              <a:t>Private sector vendor</a:t>
            </a:r>
            <a:endParaRPr lang="en-US" sz="1100" b="1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19B33B1-2E24-7543-28EF-2D7436BFD311}"/>
              </a:ext>
            </a:extLst>
          </p:cNvPr>
          <p:cNvSpPr/>
          <p:nvPr/>
        </p:nvSpPr>
        <p:spPr>
          <a:xfrm>
            <a:off x="8319935" y="414087"/>
            <a:ext cx="3464561" cy="1251025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u="sng"/>
              <a:t>Takeaway:</a:t>
            </a:r>
            <a:br>
              <a:rPr lang="en-US" sz="1400"/>
            </a:br>
            <a:r>
              <a:rPr lang="en-US" sz="1400"/>
              <a:t>Vehicle disaggregation is an important extension of the IEPR forecast to allow bottom-up analys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AE680D8-CACE-7B16-C09C-480970D231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59421" y="3110912"/>
            <a:ext cx="3598979" cy="24923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044ED7C-7C8B-3AA0-BFA2-F439E4BF6EBA}"/>
              </a:ext>
            </a:extLst>
          </p:cNvPr>
          <p:cNvSpPr txBox="1"/>
          <p:nvPr/>
        </p:nvSpPr>
        <p:spPr>
          <a:xfrm>
            <a:off x="6459421" y="5699864"/>
            <a:ext cx="23470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 i="1"/>
              <a:t>I&amp;A Workbook</a:t>
            </a:r>
          </a:p>
        </p:txBody>
      </p:sp>
    </p:spTree>
    <p:extLst>
      <p:ext uri="{BB962C8B-B14F-4D97-AF65-F5344CB8AC3E}">
        <p14:creationId xmlns:p14="http://schemas.microsoft.com/office/powerpoint/2010/main" val="23403211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1FD8B417-D5B9-3FCE-5FBE-7BD837C9C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3396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12" imgH="511" progId="TCLayout.ActiveDocument.1">
                  <p:embed/>
                </p:oleObj>
              </mc:Choice>
              <mc:Fallback>
                <p:oleObj name="think-cell Slide" r:id="rId4" imgW="512" imgH="51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D8B417-D5B9-3FCE-5FBE-7BD837C9C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8ADCF27-EEE4-D6E9-906A-23EEB7F49B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C5E07CD-074E-C4C9-B0B8-152FFE18A9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790C0B-4FE7-1689-3AC1-75C12E9248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Charging infrastructure input categories used in TEPP I&amp;A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D20E284-D781-1257-C3CB-5EF4398E01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&amp;A Inputs Walkthrough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FD8BADB1-7569-B4BF-1491-99ED97CC8C10}"/>
              </a:ext>
            </a:extLst>
          </p:cNvPr>
          <p:cNvSpPr/>
          <p:nvPr/>
        </p:nvSpPr>
        <p:spPr>
          <a:xfrm>
            <a:off x="8339813" y="354452"/>
            <a:ext cx="3464561" cy="1251025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u="sng"/>
              <a:t>Takeaway:</a:t>
            </a:r>
            <a:br>
              <a:rPr lang="en-US" sz="1400"/>
            </a:br>
            <a:r>
              <a:rPr lang="en-US" sz="1400"/>
              <a:t>Using real-world EV fleet case studies enables more precise grid impacts estimation on a per-use case basi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C30B936-CDB7-A021-4B26-9EE2143C0DDC}"/>
              </a:ext>
            </a:extLst>
          </p:cNvPr>
          <p:cNvSpPr txBox="1">
            <a:spLocks/>
          </p:cNvSpPr>
          <p:nvPr/>
        </p:nvSpPr>
        <p:spPr>
          <a:xfrm>
            <a:off x="526774" y="1788629"/>
            <a:ext cx="5459413" cy="43434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600" b="1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INPUTS</a:t>
            </a:r>
          </a:p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1600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L2-DCFC split</a:t>
            </a:r>
            <a:endParaRPr lang="en-US" sz="160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1600">
                <a:solidFill>
                  <a:srgbClr val="000000"/>
                </a:solidFill>
                <a:ea typeface="Times New Roman" panose="02020603050405020304" pitchFamily="18" charset="0"/>
              </a:rPr>
              <a:t>Vehicles per port</a:t>
            </a:r>
          </a:p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1600">
                <a:solidFill>
                  <a:srgbClr val="000000"/>
                </a:solidFill>
                <a:ea typeface="Times New Roman" panose="02020603050405020304" pitchFamily="18" charset="0"/>
              </a:rPr>
              <a:t>Charger power</a:t>
            </a:r>
          </a:p>
          <a:p>
            <a:pPr marL="0" indent="0"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sz="1600">
              <a:solidFill>
                <a:srgbClr val="000000"/>
              </a:solidFill>
              <a:ea typeface="Times New Roman" panose="02020603050405020304" pitchFamily="18" charset="0"/>
            </a:endParaRPr>
          </a:p>
          <a:p>
            <a:pPr marL="0" indent="0"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600" b="1">
                <a:solidFill>
                  <a:srgbClr val="000000"/>
                </a:solidFill>
                <a:ea typeface="Times New Roman" panose="02020603050405020304" pitchFamily="18" charset="0"/>
              </a:rPr>
              <a:t>APPROACH</a:t>
            </a:r>
          </a:p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1600">
                <a:solidFill>
                  <a:srgbClr val="000000"/>
                </a:solidFill>
                <a:ea typeface="Times New Roman" panose="02020603050405020304" pitchFamily="18" charset="0"/>
              </a:rPr>
              <a:t>These inputs allow analysts to more precisely determine grid impacts which vary by vehicle use case</a:t>
            </a:r>
          </a:p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1600">
                <a:solidFill>
                  <a:srgbClr val="000000"/>
                </a:solidFill>
                <a:ea typeface="Times New Roman" panose="02020603050405020304" pitchFamily="18" charset="0"/>
              </a:rPr>
              <a:t>L2-DCFC split estimates whether vehicle use cases would use L2 or DCFC charging</a:t>
            </a:r>
          </a:p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1600">
                <a:solidFill>
                  <a:srgbClr val="000000"/>
                </a:solidFill>
                <a:ea typeface="Times New Roman" panose="02020603050405020304" pitchFamily="18" charset="0"/>
              </a:rPr>
              <a:t>Vehicles per port refers to the number of ports by power estimated to support identifying TE load at corridors</a:t>
            </a:r>
          </a:p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1600">
                <a:solidFill>
                  <a:srgbClr val="000000"/>
                </a:solidFill>
                <a:ea typeface="Times New Roman" panose="02020603050405020304" pitchFamily="18" charset="0"/>
              </a:rPr>
              <a:t>Charger power refers to rated kW by charging use case (e.g., public corridor or MD depot)</a:t>
            </a:r>
          </a:p>
        </p:txBody>
      </p:sp>
      <p:sp>
        <p:nvSpPr>
          <p:cNvPr id="10" name="Content Placeholder 11">
            <a:extLst>
              <a:ext uri="{FF2B5EF4-FFF2-40B4-BE49-F238E27FC236}">
                <a16:creationId xmlns:a16="http://schemas.microsoft.com/office/drawing/2014/main" id="{619FC529-D5D6-4769-4691-E8A643BD765E}"/>
              </a:ext>
            </a:extLst>
          </p:cNvPr>
          <p:cNvSpPr txBox="1">
            <a:spLocks/>
          </p:cNvSpPr>
          <p:nvPr/>
        </p:nvSpPr>
        <p:spPr>
          <a:xfrm>
            <a:off x="6275389" y="1801054"/>
            <a:ext cx="5459413" cy="376154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b="1"/>
              <a:t>SOURCES</a:t>
            </a:r>
          </a:p>
          <a:p>
            <a:r>
              <a:rPr lang="en-US" sz="1600">
                <a:solidFill>
                  <a:srgbClr val="000000"/>
                </a:solidFill>
                <a:ea typeface="Times New Roman" panose="02020603050405020304" pitchFamily="18" charset="0"/>
              </a:rPr>
              <a:t>Public entities (e.g., AFDC, SFMTA)</a:t>
            </a:r>
          </a:p>
          <a:p>
            <a:r>
              <a:rPr lang="en-US" sz="1600">
                <a:solidFill>
                  <a:srgbClr val="000000"/>
                </a:solidFill>
                <a:ea typeface="Times New Roman" panose="02020603050405020304" pitchFamily="18" charset="0"/>
              </a:rPr>
              <a:t>Commercial entities (e.g., Amazon, ChargePoint)</a:t>
            </a:r>
          </a:p>
          <a:p>
            <a:r>
              <a:rPr lang="en-US" sz="1600">
                <a:solidFill>
                  <a:srgbClr val="000000"/>
                </a:solidFill>
                <a:ea typeface="Times New Roman" panose="02020603050405020304" pitchFamily="18" charset="0"/>
              </a:rPr>
              <a:t>Research entities (e.g., NREL, Run On Less/NACFE)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F01B62E-EB24-94B3-1695-506E3E9750D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34368" y="3248227"/>
            <a:ext cx="4473357" cy="27498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890CA36-F899-3C32-0DC2-58EB0F484544}"/>
              </a:ext>
            </a:extLst>
          </p:cNvPr>
          <p:cNvSpPr txBox="1"/>
          <p:nvPr/>
        </p:nvSpPr>
        <p:spPr>
          <a:xfrm>
            <a:off x="6658014" y="6021140"/>
            <a:ext cx="23470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 i="1"/>
              <a:t>I&amp;A Workbook</a:t>
            </a:r>
          </a:p>
        </p:txBody>
      </p:sp>
    </p:spTree>
    <p:extLst>
      <p:ext uri="{BB962C8B-B14F-4D97-AF65-F5344CB8AC3E}">
        <p14:creationId xmlns:p14="http://schemas.microsoft.com/office/powerpoint/2010/main" val="37551822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6B0771-38DD-D4D8-289D-97B300C605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44BBAD0-930F-D19D-F96E-60D4D9AE67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483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12" imgH="511" progId="TCLayout.ActiveDocument.1">
                  <p:embed/>
                </p:oleObj>
              </mc:Choice>
              <mc:Fallback>
                <p:oleObj name="think-cell Slide" r:id="rId4" imgW="512" imgH="51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4BBAD0-930F-D19D-F96E-60D4D9AE67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7C403D-C1FC-B320-4A91-8ADE1B7C49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1D2C8A7-2CC9-302E-5BD3-C633309790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C00DF9-7A92-66D9-38E1-33E23D0C44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Grid impacts input categories used in TEPP I&amp;A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49A8484-F94F-6D5B-C3DC-58164E26ED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&amp;A Inputs Walkthrough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956D6EBC-85B6-5823-946E-A392F6228658}"/>
              </a:ext>
            </a:extLst>
          </p:cNvPr>
          <p:cNvSpPr/>
          <p:nvPr/>
        </p:nvSpPr>
        <p:spPr>
          <a:xfrm>
            <a:off x="8270239" y="175548"/>
            <a:ext cx="3464561" cy="1251025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u="sng"/>
              <a:t>Takeaway:</a:t>
            </a:r>
            <a:br>
              <a:rPr lang="en-US" sz="1400"/>
            </a:br>
            <a:r>
              <a:rPr lang="en-US" sz="1400"/>
              <a:t>Most charging is expected to happen at private depots, and these inputs allow more accurate estimation of public charging impacts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090FA846-9C8D-B611-7D5D-5D3B8D738220}"/>
              </a:ext>
            </a:extLst>
          </p:cNvPr>
          <p:cNvSpPr txBox="1">
            <a:spLocks/>
          </p:cNvSpPr>
          <p:nvPr/>
        </p:nvSpPr>
        <p:spPr>
          <a:xfrm>
            <a:off x="457198" y="1768815"/>
            <a:ext cx="5991225" cy="450699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600" b="1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INPUTS</a:t>
            </a:r>
          </a:p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1600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Vehicle fuel efficiency</a:t>
            </a:r>
            <a:endParaRPr lang="en-US" sz="160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1600">
                <a:solidFill>
                  <a:srgbClr val="000000"/>
                </a:solidFill>
                <a:ea typeface="Times New Roman" panose="02020603050405020304" pitchFamily="18" charset="0"/>
              </a:rPr>
              <a:t>Vehicle miles traveled (VMT)</a:t>
            </a:r>
          </a:p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1600">
                <a:solidFill>
                  <a:srgbClr val="000000"/>
                </a:solidFill>
                <a:ea typeface="Times New Roman" panose="02020603050405020304" pitchFamily="18" charset="0"/>
              </a:rPr>
              <a:t>Driving range</a:t>
            </a:r>
          </a:p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1600">
                <a:solidFill>
                  <a:srgbClr val="000000"/>
                </a:solidFill>
                <a:ea typeface="Times New Roman" panose="02020603050405020304" pitchFamily="18" charset="0"/>
              </a:rPr>
              <a:t>Trip data</a:t>
            </a:r>
          </a:p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1600">
                <a:solidFill>
                  <a:srgbClr val="000000"/>
                </a:solidFill>
                <a:ea typeface="Times New Roman" panose="02020603050405020304" pitchFamily="18" charset="0"/>
              </a:rPr>
              <a:t>Public vs private charging allocation</a:t>
            </a:r>
          </a:p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1600">
                <a:solidFill>
                  <a:srgbClr val="000000"/>
                </a:solidFill>
                <a:ea typeface="Times New Roman" panose="02020603050405020304" pitchFamily="18" charset="0"/>
              </a:rPr>
              <a:t>Load shapes</a:t>
            </a:r>
          </a:p>
          <a:p>
            <a:pPr marL="0" indent="0"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600" b="1">
                <a:solidFill>
                  <a:srgbClr val="000000"/>
                </a:solidFill>
                <a:ea typeface="Times New Roman" panose="02020603050405020304" pitchFamily="18" charset="0"/>
              </a:rPr>
              <a:t>APPROACH</a:t>
            </a:r>
          </a:p>
          <a:p>
            <a:r>
              <a:rPr lang="en-US" sz="1600">
                <a:solidFill>
                  <a:srgbClr val="000000"/>
                </a:solidFill>
                <a:cs typeface="Arial" panose="020B0604020202020204" pitchFamily="34" charset="0"/>
              </a:rPr>
              <a:t>Energy impacts from charging derived from:</a:t>
            </a:r>
          </a:p>
          <a:p>
            <a:pPr lvl="1"/>
            <a:r>
              <a:rPr lang="en-US" sz="1600">
                <a:solidFill>
                  <a:srgbClr val="000000"/>
                </a:solidFill>
                <a:cs typeface="Arial" panose="020B0604020202020204" pitchFamily="34" charset="0"/>
              </a:rPr>
              <a:t>Vehicle energy impacts: Fuel efficiency x VMT</a:t>
            </a:r>
          </a:p>
          <a:p>
            <a:pPr lvl="1"/>
            <a:r>
              <a:rPr lang="en-US" sz="1600">
                <a:solidFill>
                  <a:srgbClr val="000000"/>
                </a:solidFill>
                <a:cs typeface="Arial" panose="020B0604020202020204" pitchFamily="34" charset="0"/>
              </a:rPr>
              <a:t>Percentage of charging away from depots (public vs. private charging allocation), determined from driving range and trip data</a:t>
            </a:r>
          </a:p>
          <a:p>
            <a:r>
              <a:rPr lang="en-US" sz="1600">
                <a:solidFill>
                  <a:srgbClr val="000000"/>
                </a:solidFill>
                <a:cs typeface="Arial" panose="020B0604020202020204" pitchFamily="34" charset="0"/>
              </a:rPr>
              <a:t>Load shapes take energy impacts from charging and estimate charging power demand by use case and hour of day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0EBE34F2-CCDC-DC94-4BAC-E9C9B72C292F}"/>
              </a:ext>
            </a:extLst>
          </p:cNvPr>
          <p:cNvSpPr txBox="1">
            <a:spLocks/>
          </p:cNvSpPr>
          <p:nvPr/>
        </p:nvSpPr>
        <p:spPr>
          <a:xfrm>
            <a:off x="6275387" y="1768815"/>
            <a:ext cx="5459413" cy="395287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b="1"/>
              <a:t>SOURCES</a:t>
            </a:r>
          </a:p>
          <a:p>
            <a:r>
              <a:rPr lang="en-US" sz="1600">
                <a:solidFill>
                  <a:srgbClr val="000000"/>
                </a:solidFill>
                <a:ea typeface="Times New Roman" panose="02020603050405020304" pitchFamily="18" charset="0"/>
              </a:rPr>
              <a:t>Public entities (e.g., DOE, EPA, AFDC, CARB, CA HVIP, ORNL, NREL, FHWA, DOT)</a:t>
            </a:r>
          </a:p>
          <a:p>
            <a:r>
              <a:rPr lang="en-US" sz="1600">
                <a:solidFill>
                  <a:srgbClr val="000000"/>
                </a:solidFill>
                <a:ea typeface="Times New Roman" panose="02020603050405020304" pitchFamily="18" charset="0"/>
              </a:rPr>
              <a:t>Commercial entities (e.g., ChargePoint)</a:t>
            </a:r>
          </a:p>
          <a:p>
            <a:r>
              <a:rPr lang="en-US" sz="1600">
                <a:solidFill>
                  <a:srgbClr val="000000"/>
                </a:solidFill>
                <a:ea typeface="Times New Roman" panose="02020603050405020304" pitchFamily="18" charset="0"/>
              </a:rPr>
              <a:t>Research entities (e.g., ICCT, The Fuels Institute)</a:t>
            </a:r>
          </a:p>
          <a:p>
            <a:r>
              <a:rPr lang="en-US" sz="1600">
                <a:solidFill>
                  <a:srgbClr val="000000"/>
                </a:solidFill>
              </a:rPr>
              <a:t>Advocacy group (EDF)</a:t>
            </a:r>
          </a:p>
          <a:p>
            <a:r>
              <a:rPr lang="en-US" sz="1600">
                <a:solidFill>
                  <a:srgbClr val="000000"/>
                </a:solidFill>
              </a:rPr>
              <a:t>Private sector vendor</a:t>
            </a:r>
            <a:endParaRPr lang="en-US" sz="2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162C91-D8FA-FC91-5187-A0618909556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27956" y="3845112"/>
            <a:ext cx="3330419" cy="20224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C774A64-D4AD-60DD-9953-2D6F3353B4F2}"/>
              </a:ext>
            </a:extLst>
          </p:cNvPr>
          <p:cNvSpPr txBox="1"/>
          <p:nvPr/>
        </p:nvSpPr>
        <p:spPr>
          <a:xfrm>
            <a:off x="6448423" y="5867520"/>
            <a:ext cx="23470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 i="1"/>
              <a:t>I&amp;A Workbook</a:t>
            </a:r>
          </a:p>
        </p:txBody>
      </p:sp>
    </p:spTree>
    <p:extLst>
      <p:ext uri="{BB962C8B-B14F-4D97-AF65-F5344CB8AC3E}">
        <p14:creationId xmlns:p14="http://schemas.microsoft.com/office/powerpoint/2010/main" val="7639648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F0ECAD-E164-8CFC-1AC9-56777BD720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D766C578-FBA0-8981-85C3-B337093729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6942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12" imgH="511" progId="TCLayout.ActiveDocument.1">
                  <p:embed/>
                </p:oleObj>
              </mc:Choice>
              <mc:Fallback>
                <p:oleObj name="think-cell Slide" r:id="rId4" imgW="512" imgH="51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66C578-FBA0-8981-85C3-B337093729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6290767-E0B8-0EBF-F490-89C23A1457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6DA8C6-BC83-2E1A-6115-B49720AB48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A6E13CC-4EBA-31D6-6EA2-E6F55F45F3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Geospatial layers used in TEPP I&amp;A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908331C-E097-EA61-8082-4942F4E343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&amp;A Inputs Walkthrough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1056718-A31B-4379-252B-3B04E0E42701}"/>
              </a:ext>
            </a:extLst>
          </p:cNvPr>
          <p:cNvSpPr/>
          <p:nvPr/>
        </p:nvSpPr>
        <p:spPr>
          <a:xfrm>
            <a:off x="8309995" y="354453"/>
            <a:ext cx="3464561" cy="1251025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u="sng"/>
              <a:t>Takeaway</a:t>
            </a:r>
            <a:r>
              <a:rPr lang="en-US" sz="1400"/>
              <a:t>: </a:t>
            </a:r>
            <a:br>
              <a:rPr lang="en-US" sz="1400"/>
            </a:br>
            <a:r>
              <a:rPr lang="en-US" sz="1400"/>
              <a:t>These layers can support planning by identifying potential grid impacts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B0481461-5BA3-C482-7E8D-3FDD571FD3FB}"/>
              </a:ext>
            </a:extLst>
          </p:cNvPr>
          <p:cNvSpPr txBox="1">
            <a:spLocks/>
          </p:cNvSpPr>
          <p:nvPr/>
        </p:nvSpPr>
        <p:spPr>
          <a:xfrm>
            <a:off x="496956" y="1788630"/>
            <a:ext cx="5459413" cy="450699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600" b="1">
                <a:solidFill>
                  <a:srgbClr val="000000"/>
                </a:solidFill>
                <a:ea typeface="Times New Roman" panose="02020603050405020304" pitchFamily="18" charset="0"/>
                <a:cs typeface="Arial"/>
              </a:rPr>
              <a:t>INPUTS</a:t>
            </a:r>
          </a:p>
          <a:p>
            <a:pPr marR="0" lvl="0">
              <a:spcBef>
                <a:spcPts val="200"/>
              </a:spcBef>
              <a:spcAft>
                <a:spcPts val="600"/>
              </a:spcAft>
            </a:pPr>
            <a:r>
              <a:rPr lang="en-US" sz="1600">
                <a:solidFill>
                  <a:srgbClr val="000000"/>
                </a:solidFill>
                <a:cs typeface="Arial"/>
              </a:rPr>
              <a:t>California Counties</a:t>
            </a:r>
          </a:p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1600">
                <a:solidFill>
                  <a:srgbClr val="000000"/>
                </a:solidFill>
                <a:cs typeface="Arial"/>
              </a:rPr>
              <a:t>Investor-Owned Utility (IOU) / Publicly Owned Utility (POU) Service Territories</a:t>
            </a:r>
          </a:p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1600">
                <a:solidFill>
                  <a:srgbClr val="000000"/>
                </a:solidFill>
                <a:cs typeface="Arial"/>
              </a:rPr>
              <a:t>Environmental and Social Justice (ESJ) / Disadvantaged Community (DAC)</a:t>
            </a:r>
          </a:p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1600">
                <a:solidFill>
                  <a:srgbClr val="000000"/>
                </a:solidFill>
                <a:cs typeface="Arial"/>
              </a:rPr>
              <a:t>PM2.5 and Ozone Nonattainment areas (NAA)</a:t>
            </a:r>
          </a:p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1600">
                <a:solidFill>
                  <a:srgbClr val="000000"/>
                </a:solidFill>
                <a:cs typeface="Arial"/>
              </a:rPr>
              <a:t>Planned &amp; Existing Public Infrastructure</a:t>
            </a:r>
          </a:p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1600">
                <a:solidFill>
                  <a:srgbClr val="000000"/>
                </a:solidFill>
                <a:cs typeface="Arial"/>
              </a:rPr>
              <a:t>Truck Stops</a:t>
            </a:r>
          </a:p>
        </p:txBody>
      </p:sp>
      <p:sp>
        <p:nvSpPr>
          <p:cNvPr id="8" name="Content Placeholder 11">
            <a:extLst>
              <a:ext uri="{FF2B5EF4-FFF2-40B4-BE49-F238E27FC236}">
                <a16:creationId xmlns:a16="http://schemas.microsoft.com/office/drawing/2014/main" id="{BCFAEACE-5005-AC5A-9D49-9CAACE569DC1}"/>
              </a:ext>
            </a:extLst>
          </p:cNvPr>
          <p:cNvSpPr txBox="1">
            <a:spLocks/>
          </p:cNvSpPr>
          <p:nvPr/>
        </p:nvSpPr>
        <p:spPr>
          <a:xfrm>
            <a:off x="6315145" y="1788630"/>
            <a:ext cx="5459413" cy="395287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b="1"/>
              <a:t>SOURCES</a:t>
            </a:r>
          </a:p>
          <a:p>
            <a:r>
              <a:rPr lang="en-US" sz="1600">
                <a:solidFill>
                  <a:srgbClr val="000000"/>
                </a:solidFill>
                <a:ea typeface="Times New Roman" panose="02020603050405020304" pitchFamily="18" charset="0"/>
              </a:rPr>
              <a:t>Public agencies (Census.gov, FHWA, CEC, COEH,  EPA, AFDC)</a:t>
            </a:r>
          </a:p>
          <a:p>
            <a:r>
              <a:rPr lang="en-US" sz="1600">
                <a:solidFill>
                  <a:srgbClr val="000000"/>
                </a:solidFill>
                <a:ea typeface="Times New Roman" panose="02020603050405020304" pitchFamily="18" charset="0"/>
              </a:rPr>
              <a:t>IOU data</a:t>
            </a:r>
          </a:p>
          <a:p>
            <a:r>
              <a:rPr lang="en-US" sz="1600">
                <a:solidFill>
                  <a:srgbClr val="000000"/>
                </a:solidFill>
                <a:ea typeface="Times New Roman" panose="02020603050405020304" pitchFamily="18" charset="0"/>
              </a:rPr>
              <a:t>Commercial (Find Fuel Stops)</a:t>
            </a:r>
            <a:endParaRPr lang="en-US" sz="2400" b="1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EDD5399-8120-0307-7DCC-41846291A11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10841" y="3452635"/>
            <a:ext cx="4737167" cy="240934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5B37CB0E-D3E2-8EF8-8F1E-A50CB6F23B85}"/>
              </a:ext>
            </a:extLst>
          </p:cNvPr>
          <p:cNvSpPr txBox="1"/>
          <p:nvPr/>
        </p:nvSpPr>
        <p:spPr>
          <a:xfrm>
            <a:off x="6448423" y="5867520"/>
            <a:ext cx="23470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 i="1"/>
              <a:t>I&amp;A Workbook</a:t>
            </a:r>
          </a:p>
        </p:txBody>
      </p:sp>
    </p:spTree>
    <p:extLst>
      <p:ext uri="{BB962C8B-B14F-4D97-AF65-F5344CB8AC3E}">
        <p14:creationId xmlns:p14="http://schemas.microsoft.com/office/powerpoint/2010/main" val="7717232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99420F-60D6-5322-2345-20D6E89E84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1C1E022-3365-EF40-66C1-1C12BDEDF3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A5A88B-DEE0-DDDE-A0C3-F092073643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Q&amp;A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F6999F0C-5C28-FD7F-CB91-4D775877AAB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/>
              <a:t>Inputs and Assumption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668C6B8-C022-DF7C-323F-4E2B5D653E5C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pic>
        <p:nvPicPr>
          <p:cNvPr id="4" name="Picture 3" descr="A question mark in a green circle&#10;&#10;AI-generated content may be incorrect.">
            <a:extLst>
              <a:ext uri="{FF2B5EF4-FFF2-40B4-BE49-F238E27FC236}">
                <a16:creationId xmlns:a16="http://schemas.microsoft.com/office/drawing/2014/main" id="{319DAE84-5650-D743-8A14-3E5893FB350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2716" y="1492299"/>
            <a:ext cx="3502727" cy="3502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91385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46F663-C3F6-42F5-6F3E-E3EC7DC91E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7A3E63E-3360-DEE3-45D1-750521F63F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61B5F3D-F8D7-F315-CAEA-002EE6AB9CB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Overview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DAB39F8-9D37-C8F4-A8F7-5989076EFEC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/>
              <a:t>Corridor Designation Methodology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3645B55-A86A-F9AC-40A1-491741F5254F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pic>
        <p:nvPicPr>
          <p:cNvPr id="6" name="Picture 5" descr="A yellow rectangle on a black background&#10;&#10;AI-generated content may be incorrect.">
            <a:extLst>
              <a:ext uri="{FF2B5EF4-FFF2-40B4-BE49-F238E27FC236}">
                <a16:creationId xmlns:a16="http://schemas.microsoft.com/office/drawing/2014/main" id="{8EDF76B0-3242-904F-9945-DB73D0FEEF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0141" y="629642"/>
            <a:ext cx="1460482" cy="1460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9187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EC01315-0555-8080-0462-BFF414352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9BDF0CD-CF2E-CD9D-378D-7A77B29D9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C50541D-F2D9-0C98-F886-15C5B9CE8B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/>
              <a:t>Purpose</a:t>
            </a:r>
            <a:r>
              <a:rPr lang="en-US"/>
              <a:t> of Corridor Designation Methodology (CDM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C54F25B-61BD-51F1-7EDF-2919887EF5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DM Overview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04AD983-ADD5-0715-D381-78180A54BAD1}"/>
              </a:ext>
            </a:extLst>
          </p:cNvPr>
          <p:cNvSpPr txBox="1">
            <a:spLocks/>
          </p:cNvSpPr>
          <p:nvPr/>
        </p:nvSpPr>
        <p:spPr>
          <a:xfrm>
            <a:off x="447261" y="2159000"/>
            <a:ext cx="7477539" cy="3622258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>
                <a:solidFill>
                  <a:schemeClr val="accent4"/>
                </a:solidFill>
              </a:rPr>
              <a:t>Inform targeted grid planning</a:t>
            </a:r>
            <a:r>
              <a:rPr lang="en-US"/>
              <a:t> by providing a methodology to estimate public charging demand for LD and MDHD BEVs, and depot charging demand for MDHD BEVs within one mile of major CA highway corridors*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>
                <a:solidFill>
                  <a:schemeClr val="accent4"/>
                </a:solidFill>
              </a:rPr>
              <a:t>Provide disaggregation of IEPR load </a:t>
            </a:r>
            <a:r>
              <a:rPr lang="en-US">
                <a:solidFill>
                  <a:schemeClr val="tx1"/>
                </a:solidFill>
              </a:rPr>
              <a:t>that can</a:t>
            </a:r>
            <a:r>
              <a:rPr lang="en-US" b="1">
                <a:solidFill>
                  <a:schemeClr val="accent4"/>
                </a:solidFill>
              </a:rPr>
              <a:t> inform existing planning processes </a:t>
            </a:r>
            <a:endParaRPr lang="en-US">
              <a:solidFill>
                <a:schemeClr val="accent4"/>
              </a:solidFill>
              <a:highlight>
                <a:srgbClr val="FFFF00"/>
              </a:highlight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AD038FB-C638-4B83-A1CC-4B5EAA1D8D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47790" y="2272532"/>
            <a:ext cx="2400714" cy="308367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6372BC5-9819-1157-6D9D-446D189556DB}"/>
              </a:ext>
            </a:extLst>
          </p:cNvPr>
          <p:cNvSpPr txBox="1"/>
          <p:nvPr/>
        </p:nvSpPr>
        <p:spPr>
          <a:xfrm>
            <a:off x="447261" y="5254493"/>
            <a:ext cx="811264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/>
              <a:t>*CA highway corridors consist of 150 roads and highways that represent all major arterial and collector roads, interstate highways, collector/distributor lanes and controlled access highways across California identified in the </a:t>
            </a:r>
            <a:r>
              <a:rPr lang="en-US" sz="1400" u="sng">
                <a:hlinkClick r:id="rId4"/>
              </a:rPr>
              <a:t>FAF 5</a:t>
            </a:r>
            <a:r>
              <a:rPr lang="en-US" sz="1400"/>
              <a:t> data. The roads and highways are either 50 miles or more in length, included as part of the 34 priority corridors defined by CTC’s </a:t>
            </a:r>
            <a:r>
              <a:rPr lang="en-US" sz="1400" u="sng">
                <a:hlinkClick r:id="rId5"/>
              </a:rPr>
              <a:t>SB 671</a:t>
            </a:r>
            <a:r>
              <a:rPr lang="en-US" sz="1400"/>
              <a:t> Clean Freight Corridor Assessment, or included in the National Zero-Emission Freight Corridor Strategy that was released in March 2024.</a:t>
            </a:r>
          </a:p>
        </p:txBody>
      </p:sp>
    </p:spTree>
    <p:extLst>
      <p:ext uri="{BB962C8B-B14F-4D97-AF65-F5344CB8AC3E}">
        <p14:creationId xmlns:p14="http://schemas.microsoft.com/office/powerpoint/2010/main" val="41531654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412564-6F7D-88BC-8531-62AE774F69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FB8CA12-6835-714B-08F0-AEDCEC31A3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9482B81-F80B-E7DD-2FBA-6BA57AEC86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05C5654-9036-0CC7-98F5-5F434739F2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/>
              <a:t>What </a:t>
            </a:r>
            <a:r>
              <a:rPr lang="en-US"/>
              <a:t>is the TE load identification methodology for California highway corridors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24854FC-2E98-6721-6509-19AC0DD135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DM Overview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3DAEBAE-B4A0-B807-330A-4C67632BCEF4}"/>
              </a:ext>
            </a:extLst>
          </p:cNvPr>
          <p:cNvSpPr txBox="1">
            <a:spLocks/>
          </p:cNvSpPr>
          <p:nvPr/>
        </p:nvSpPr>
        <p:spPr>
          <a:xfrm>
            <a:off x="447261" y="2159000"/>
            <a:ext cx="10972800" cy="3622258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>
                <a:solidFill>
                  <a:schemeClr val="accent4"/>
                </a:solidFill>
              </a:rPr>
              <a:t>Provides a bottom-up granular disaggregation methodology</a:t>
            </a:r>
            <a:r>
              <a:rPr lang="en-US">
                <a:solidFill>
                  <a:schemeClr val="accent4"/>
                </a:solidFill>
              </a:rPr>
              <a:t> </a:t>
            </a:r>
            <a:r>
              <a:rPr lang="en-US"/>
              <a:t>along California highway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>
                <a:solidFill>
                  <a:schemeClr val="accent4"/>
                </a:solidFill>
              </a:rPr>
              <a:t>Disaggregates to highway corridor segments </a:t>
            </a:r>
            <a:r>
              <a:rPr lang="en-US"/>
              <a:t>using telematics data</a:t>
            </a:r>
          </a:p>
          <a:p>
            <a:pPr marL="742950" lvl="1" indent="-285750"/>
            <a:r>
              <a:rPr lang="en-US"/>
              <a:t>Uses vehicle movement data to predict highway charging nee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>
                <a:solidFill>
                  <a:schemeClr val="accent4"/>
                </a:solidFill>
              </a:rPr>
              <a:t>Aligns with IEPR </a:t>
            </a:r>
            <a:r>
              <a:rPr lang="en-US"/>
              <a:t>state-level load expectations</a:t>
            </a:r>
          </a:p>
          <a:p>
            <a:pPr marL="742950" lvl="1" indent="-285750"/>
            <a:r>
              <a:rPr lang="en-US"/>
              <a:t>Disaggregates IEPR forecasts by providing a methodology to identify granular load expectation along corridors</a:t>
            </a:r>
          </a:p>
          <a:p>
            <a:pPr marL="742950" lvl="1" indent="-285750"/>
            <a:r>
              <a:rPr lang="en-US"/>
              <a:t>Provides planners information for pro-active distribution planning</a:t>
            </a:r>
          </a:p>
        </p:txBody>
      </p:sp>
    </p:spTree>
    <p:extLst>
      <p:ext uri="{BB962C8B-B14F-4D97-AF65-F5344CB8AC3E}">
        <p14:creationId xmlns:p14="http://schemas.microsoft.com/office/powerpoint/2010/main" val="34735946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3EFA80A-BECF-C096-C3B5-80985C92AA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7272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EFA80A-BECF-C096-C3B5-80985C92AA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21">
            <a:extLst>
              <a:ext uri="{FF2B5EF4-FFF2-40B4-BE49-F238E27FC236}">
                <a16:creationId xmlns:a16="http://schemas.microsoft.com/office/drawing/2014/main" id="{DDDC4AE3-C12E-E628-8A88-46A6FABBA3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27" name="Footer Placeholder 50">
            <a:extLst>
              <a:ext uri="{FF2B5EF4-FFF2-40B4-BE49-F238E27FC236}">
                <a16:creationId xmlns:a16="http://schemas.microsoft.com/office/drawing/2014/main" id="{517ABB1E-4374-EAEA-FF09-09A5EAF5DE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09600" y="6567465"/>
            <a:ext cx="10083800" cy="153888"/>
          </a:xfrm>
        </p:spPr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7D96D1-EA30-43A6-03D1-697A5D65BC9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8008" y="6567465"/>
            <a:ext cx="334392" cy="153888"/>
          </a:xfrm>
        </p:spPr>
        <p:txBody>
          <a:bodyPr/>
          <a:lstStyle/>
          <a:p>
            <a:fld id="{FD814145-5B10-4F3F-A6BF-3641B91211CF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8E25E0EE-EE98-73D8-C501-2E8F063C8DB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/>
              <a:t>Background and Objective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3E4ED88E-9363-FEB9-3ABC-77DD576BCBB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/>
              <a:t>Introductions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8469588-A0C5-6BD8-7A13-1D6E6F6E6B2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/>
              <a:t>Inputs and Assumptions (I&amp;A)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58A2E9-B630-12AF-E167-E7AF6E9EFED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49807" y="3631009"/>
            <a:ext cx="4559611" cy="34925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orridor Disaggregation Methodology (CDM)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382D2541-52C7-4C94-6D31-96C91400835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/>
              <a:t>Open Q&amp;A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1B3E5396-014C-2AEF-D4F0-6A621BA373C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/>
              <a:t>Wrap Up and Next Steps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BC5A4801-74EF-A242-B839-58820950E9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US"/>
              <a:t>Topic nam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AB16C48A-D64D-AFB8-E4C1-B97D02D0E33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/>
              <a:t>Topic nam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1663AD4F-DA0E-EA13-ACC8-414979D6375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857446" y="2198053"/>
            <a:ext cx="663984" cy="358214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10 min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E56AB81A-2FEF-21A8-6676-2C2831E9E69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938128" y="2657776"/>
            <a:ext cx="583302" cy="376143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5 min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9CEF36EF-976B-C56F-8704-071E32E34DA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938128" y="3126463"/>
            <a:ext cx="583302" cy="385108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30 min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927D2B52-C145-8197-AA15-2DC2ED77088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938128" y="3604115"/>
            <a:ext cx="583302" cy="385108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30 min</a:t>
            </a:r>
            <a:endParaRPr lang="en-US">
              <a:solidFill>
                <a:srgbClr val="000000"/>
              </a:solidFill>
            </a:endParaRPr>
          </a:p>
          <a:p>
            <a:endParaRPr lang="en-US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EF1EB91B-86C6-A3A1-ED7E-8AC3200B845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938128" y="4090594"/>
            <a:ext cx="583302" cy="376143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35 min</a:t>
            </a:r>
            <a:endParaRPr lang="en-US">
              <a:solidFill>
                <a:srgbClr val="000000"/>
              </a:solidFill>
            </a:endParaRPr>
          </a:p>
          <a:p>
            <a:endParaRPr lang="en-US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05FDDEDA-362D-A1B4-E91A-40D28AAFD73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938128" y="4559281"/>
            <a:ext cx="583302" cy="385108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10 min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015187BA-C7C2-A2EA-8A86-8F7C1C0A916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en-US"/>
              <a:t>07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E3A12EFF-CC96-168A-0A36-52F8B86DCD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r>
              <a:rPr lang="en-US"/>
              <a:t>08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8CF153A-3D7B-20C6-4A3D-209764A6B679}"/>
              </a:ext>
            </a:extLst>
          </p:cNvPr>
          <p:cNvCxnSpPr>
            <a:cxnSpLocks/>
          </p:cNvCxnSpPr>
          <p:nvPr/>
        </p:nvCxnSpPr>
        <p:spPr>
          <a:xfrm>
            <a:off x="609600" y="2561778"/>
            <a:ext cx="504748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B97CBDAA-D266-433C-1CA0-290F687AF69C}"/>
              </a:ext>
            </a:extLst>
          </p:cNvPr>
          <p:cNvCxnSpPr>
            <a:cxnSpLocks/>
          </p:cNvCxnSpPr>
          <p:nvPr/>
        </p:nvCxnSpPr>
        <p:spPr>
          <a:xfrm>
            <a:off x="609600" y="3037147"/>
            <a:ext cx="504748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AD345FC-2496-C23E-1596-9409AF73FC00}"/>
              </a:ext>
            </a:extLst>
          </p:cNvPr>
          <p:cNvCxnSpPr/>
          <p:nvPr/>
        </p:nvCxnSpPr>
        <p:spPr>
          <a:xfrm>
            <a:off x="609600" y="3512826"/>
            <a:ext cx="504748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B5F1207-492B-078B-5E56-1803A6966A29}"/>
              </a:ext>
            </a:extLst>
          </p:cNvPr>
          <p:cNvCxnSpPr/>
          <p:nvPr/>
        </p:nvCxnSpPr>
        <p:spPr>
          <a:xfrm>
            <a:off x="609600" y="3993790"/>
            <a:ext cx="504748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7494232-D572-42CC-9E23-F0D11C88EB15}"/>
              </a:ext>
            </a:extLst>
          </p:cNvPr>
          <p:cNvCxnSpPr/>
          <p:nvPr/>
        </p:nvCxnSpPr>
        <p:spPr>
          <a:xfrm>
            <a:off x="609600" y="4469469"/>
            <a:ext cx="504748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93BD674-3947-6D81-5787-1E2DC3FA1DC2}"/>
              </a:ext>
            </a:extLst>
          </p:cNvPr>
          <p:cNvCxnSpPr/>
          <p:nvPr/>
        </p:nvCxnSpPr>
        <p:spPr>
          <a:xfrm>
            <a:off x="609600" y="4947558"/>
            <a:ext cx="504748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B0C53B9-671E-80F3-76FB-49AC9F85B77F}"/>
              </a:ext>
            </a:extLst>
          </p:cNvPr>
          <p:cNvCxnSpPr/>
          <p:nvPr/>
        </p:nvCxnSpPr>
        <p:spPr>
          <a:xfrm>
            <a:off x="609600" y="5423237"/>
            <a:ext cx="504748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5B64B03-F7F4-FFAE-B082-BD2304593826}"/>
              </a:ext>
            </a:extLst>
          </p:cNvPr>
          <p:cNvCxnSpPr/>
          <p:nvPr/>
        </p:nvCxnSpPr>
        <p:spPr>
          <a:xfrm>
            <a:off x="609600" y="5905500"/>
            <a:ext cx="504748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173AAEB2-A5D0-6273-9B23-85BFDBE9E560}"/>
              </a:ext>
            </a:extLst>
          </p:cNvPr>
          <p:cNvSpPr/>
          <p:nvPr/>
        </p:nvSpPr>
        <p:spPr>
          <a:xfrm>
            <a:off x="425302" y="5052130"/>
            <a:ext cx="5390707" cy="100511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9508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F9B60D-490B-3BC1-24E8-CBCBAA091C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60040AB-E41F-FEA4-ACE0-056153FECA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AFEBCCD-ED57-4499-63F2-9B9816A389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9016A7-FB44-039E-44EC-21E8DD55D3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/>
              <a:t>How</a:t>
            </a:r>
            <a:r>
              <a:rPr lang="en-US"/>
              <a:t> CDM will be used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32825DF-303F-BEE4-F809-A801DB2B3F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DM Overview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0EEC6F1-AD76-F34D-2B35-03C35D5E7C91}"/>
              </a:ext>
            </a:extLst>
          </p:cNvPr>
          <p:cNvSpPr txBox="1">
            <a:spLocks/>
          </p:cNvSpPr>
          <p:nvPr/>
        </p:nvSpPr>
        <p:spPr>
          <a:xfrm>
            <a:off x="447261" y="1783522"/>
            <a:ext cx="10972800" cy="3622258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>
                <a:solidFill>
                  <a:schemeClr val="accent4"/>
                </a:solidFill>
              </a:rPr>
              <a:t>Disaggregate load from IEPR energy demand forecast </a:t>
            </a:r>
            <a:r>
              <a:rPr lang="en-US">
                <a:solidFill>
                  <a:schemeClr val="tx1"/>
                </a:solidFill>
              </a:rPr>
              <a:t>by bringing together I&amp;A included in charging assumptions and geospatial input data for various corridors within California </a:t>
            </a:r>
            <a:r>
              <a:rPr lang="en-US" b="1">
                <a:solidFill>
                  <a:schemeClr val="accent4"/>
                </a:solidFill>
              </a:rPr>
              <a:t>to identify demand for charging on a corridor segment* basis</a:t>
            </a: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406D7E70-5697-B891-BE47-784322217C0B}"/>
              </a:ext>
            </a:extLst>
          </p:cNvPr>
          <p:cNvSpPr/>
          <p:nvPr/>
        </p:nvSpPr>
        <p:spPr>
          <a:xfrm>
            <a:off x="5632395" y="3865295"/>
            <a:ext cx="1216025" cy="485775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72DDFFD-5288-3541-1AE9-23434E2BEED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72289" y="2729850"/>
            <a:ext cx="2902828" cy="25375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4E02AD9-42FD-55EF-BA71-0551268DB9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" y="3004836"/>
            <a:ext cx="4298927" cy="22625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7EE42D8-1D5B-8F81-E70E-5578457E8A33}"/>
              </a:ext>
            </a:extLst>
          </p:cNvPr>
          <p:cNvSpPr txBox="1"/>
          <p:nvPr/>
        </p:nvSpPr>
        <p:spPr>
          <a:xfrm>
            <a:off x="519216" y="5510593"/>
            <a:ext cx="10257009" cy="738664"/>
          </a:xfrm>
          <a:prstGeom prst="rect">
            <a:avLst/>
          </a:prstGeom>
          <a:solidFill>
            <a:schemeClr val="accent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400" b="1"/>
              <a:t>* Corridor segment</a:t>
            </a:r>
            <a:r>
              <a:rPr lang="en-US" sz="1400"/>
              <a:t>:  section of a major arterial and collector road, interstate highway, collector/distributor lane or controlled access highway that varies in traffic volume from adjacent sections of the same major arterial and collector road, interstate highway, collector/distributor lane or controlled access highway and exists in a single utility territory.</a:t>
            </a:r>
          </a:p>
        </p:txBody>
      </p:sp>
    </p:spTree>
    <p:extLst>
      <p:ext uri="{BB962C8B-B14F-4D97-AF65-F5344CB8AC3E}">
        <p14:creationId xmlns:p14="http://schemas.microsoft.com/office/powerpoint/2010/main" val="275898617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D5EB51-C91F-DFF7-4760-170B898DE0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32D0B-3412-B9C7-D4A4-BFC411E8D6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CCE50B4-CB4B-5A26-31F8-4D6AF7CC74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429304-B1D5-C275-AA84-B59920C4456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CDM brings together I&amp;A to identify highway segment-level EV charging demand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384F5A5-44EC-37EA-2EE1-1D8B15D51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ottom-up Disaggregation Methodology</a:t>
            </a:r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4D0CDFBF-FC34-DBB3-C085-2482BCE99B51}"/>
              </a:ext>
            </a:extLst>
          </p:cNvPr>
          <p:cNvSpPr txBox="1">
            <a:spLocks/>
          </p:cNvSpPr>
          <p:nvPr/>
        </p:nvSpPr>
        <p:spPr>
          <a:xfrm>
            <a:off x="4678565" y="338600"/>
            <a:ext cx="2916035" cy="11424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82C24B2C-065A-C37E-7B69-852DD0764C53}"/>
              </a:ext>
            </a:extLst>
          </p:cNvPr>
          <p:cNvGrpSpPr/>
          <p:nvPr/>
        </p:nvGrpSpPr>
        <p:grpSpPr>
          <a:xfrm>
            <a:off x="9470278" y="556832"/>
            <a:ext cx="2709022" cy="1344000"/>
            <a:chOff x="9347912" y="277259"/>
            <a:chExt cx="2709022" cy="1344000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23E04C70-DA53-8115-07F5-32EBC184A87B}"/>
                </a:ext>
              </a:extLst>
            </p:cNvPr>
            <p:cNvSpPr/>
            <p:nvPr/>
          </p:nvSpPr>
          <p:spPr>
            <a:xfrm>
              <a:off x="9347912" y="478852"/>
              <a:ext cx="2141724" cy="114240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Rectangle: Rounded Corners 49">
              <a:extLst>
                <a:ext uri="{FF2B5EF4-FFF2-40B4-BE49-F238E27FC236}">
                  <a16:creationId xmlns:a16="http://schemas.microsoft.com/office/drawing/2014/main" id="{07391412-0325-7F68-348E-F4CFBA358620}"/>
                </a:ext>
              </a:extLst>
            </p:cNvPr>
            <p:cNvSpPr/>
            <p:nvPr/>
          </p:nvSpPr>
          <p:spPr>
            <a:xfrm>
              <a:off x="9539961" y="622006"/>
              <a:ext cx="208190" cy="221096"/>
            </a:xfrm>
            <a:prstGeom prst="roundRect">
              <a:avLst/>
            </a:prstGeom>
            <a:solidFill>
              <a:srgbClr val="03647A"/>
            </a:solidFill>
            <a:ln w="6350">
              <a:noFill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b="1"/>
            </a:p>
          </p:txBody>
        </p:sp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D997F895-B5D9-93CB-3251-2A8A0C89C7A7}"/>
                </a:ext>
              </a:extLst>
            </p:cNvPr>
            <p:cNvSpPr/>
            <p:nvPr/>
          </p:nvSpPr>
          <p:spPr>
            <a:xfrm>
              <a:off x="9536657" y="953552"/>
              <a:ext cx="208190" cy="196402"/>
            </a:xfrm>
            <a:prstGeom prst="roundRect">
              <a:avLst/>
            </a:prstGeom>
            <a:solidFill>
              <a:srgbClr val="FDE8B9"/>
            </a:solidFill>
            <a:ln w="12700">
              <a:solidFill>
                <a:srgbClr val="F37620"/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b="1"/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F8DD0CA3-A6A6-3B2D-7126-3EE699B6D823}"/>
                </a:ext>
              </a:extLst>
            </p:cNvPr>
            <p:cNvSpPr txBox="1"/>
            <p:nvPr/>
          </p:nvSpPr>
          <p:spPr>
            <a:xfrm>
              <a:off x="9744847" y="604901"/>
              <a:ext cx="231208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/>
                <a:t>Estimators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1413EA89-3690-0D95-2BE9-81EE34713CEB}"/>
                </a:ext>
              </a:extLst>
            </p:cNvPr>
            <p:cNvSpPr txBox="1"/>
            <p:nvPr/>
          </p:nvSpPr>
          <p:spPr>
            <a:xfrm>
              <a:off x="9738603" y="922977"/>
              <a:ext cx="231208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/>
                <a:t>Forecast Input and Source</a:t>
              </a:r>
            </a:p>
          </p:txBody>
        </p:sp>
        <p:sp>
          <p:nvSpPr>
            <p:cNvPr id="54" name="Rectangle: Rounded Corners 53">
              <a:extLst>
                <a:ext uri="{FF2B5EF4-FFF2-40B4-BE49-F238E27FC236}">
                  <a16:creationId xmlns:a16="http://schemas.microsoft.com/office/drawing/2014/main" id="{2F4B42EC-2DC6-89BE-AD3C-88FE52E18AF9}"/>
                </a:ext>
              </a:extLst>
            </p:cNvPr>
            <p:cNvSpPr/>
            <p:nvPr/>
          </p:nvSpPr>
          <p:spPr>
            <a:xfrm>
              <a:off x="9539961" y="1258869"/>
              <a:ext cx="208190" cy="196402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solidFill>
                <a:schemeClr val="accent5"/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b="1"/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E704770E-2003-383C-F530-C823ABA9026E}"/>
                </a:ext>
              </a:extLst>
            </p:cNvPr>
            <p:cNvSpPr txBox="1"/>
            <p:nvPr/>
          </p:nvSpPr>
          <p:spPr>
            <a:xfrm>
              <a:off x="9738602" y="1244623"/>
              <a:ext cx="231208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/>
                <a:t>Calculation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D3D1CB67-507A-6F1A-3B86-867B293E5BBB}"/>
                </a:ext>
              </a:extLst>
            </p:cNvPr>
            <p:cNvSpPr/>
            <p:nvPr/>
          </p:nvSpPr>
          <p:spPr>
            <a:xfrm>
              <a:off x="9347912" y="277259"/>
              <a:ext cx="2141724" cy="240451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/>
                <a:t>Legend</a:t>
              </a:r>
            </a:p>
          </p:txBody>
        </p:sp>
      </p:grpSp>
      <p:pic>
        <p:nvPicPr>
          <p:cNvPr id="96" name="Picture 95">
            <a:extLst>
              <a:ext uri="{FF2B5EF4-FFF2-40B4-BE49-F238E27FC236}">
                <a16:creationId xmlns:a16="http://schemas.microsoft.com/office/drawing/2014/main" id="{1A19F4A2-1577-3ED6-AA83-E7690A4649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3553" y="1779798"/>
            <a:ext cx="9225388" cy="4666279"/>
          </a:xfrm>
          <a:prstGeom prst="rect">
            <a:avLst/>
          </a:prstGeom>
        </p:spPr>
      </p:pic>
      <p:sp>
        <p:nvSpPr>
          <p:cNvPr id="97" name="TextBox 96">
            <a:extLst>
              <a:ext uri="{FF2B5EF4-FFF2-40B4-BE49-F238E27FC236}">
                <a16:creationId xmlns:a16="http://schemas.microsoft.com/office/drawing/2014/main" id="{D4B0AA17-5B8E-3D6E-1F68-2EBF3E5B9869}"/>
              </a:ext>
            </a:extLst>
          </p:cNvPr>
          <p:cNvSpPr txBox="1"/>
          <p:nvPr/>
        </p:nvSpPr>
        <p:spPr>
          <a:xfrm>
            <a:off x="549518" y="6184467"/>
            <a:ext cx="23470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/>
              <a:t>See CDM Workplan for more details</a:t>
            </a:r>
          </a:p>
        </p:txBody>
      </p:sp>
    </p:spTree>
    <p:extLst>
      <p:ext uri="{BB962C8B-B14F-4D97-AF65-F5344CB8AC3E}">
        <p14:creationId xmlns:p14="http://schemas.microsoft.com/office/powerpoint/2010/main" val="319727760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04921C-B544-41FB-5FF8-C035C4FD89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941D79-CA2A-C69E-B826-5B9127DA84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BB3107-6CE8-B78C-6BC4-1B608BB7E9C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Example CDM outputs around SR-99, I-5, I-10 and I-15 using 2023 IEP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028BA95-4561-99EE-E31A-A09028C389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ed TE Load for CA Corridor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C1988BE-B00E-9BC9-AE7A-102645FB46E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5921" y="1994669"/>
            <a:ext cx="5182796" cy="4530670"/>
          </a:xfrm>
          <a:prstGeom prst="rect">
            <a:avLst/>
          </a:prstGeom>
          <a:ln>
            <a:solidFill>
              <a:schemeClr val="tx2">
                <a:lumMod val="50000"/>
                <a:lumOff val="50000"/>
              </a:schemeClr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D19DA3F-74E8-1B02-E429-72CEE477DF9B}"/>
              </a:ext>
            </a:extLst>
          </p:cNvPr>
          <p:cNvSpPr/>
          <p:nvPr/>
        </p:nvSpPr>
        <p:spPr>
          <a:xfrm>
            <a:off x="609600" y="1763850"/>
            <a:ext cx="5219117" cy="230819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2024 California Highway Corridors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AEB5BED-F6CA-64C6-0C2C-A098A3644616}"/>
              </a:ext>
            </a:extLst>
          </p:cNvPr>
          <p:cNvSpPr/>
          <p:nvPr/>
        </p:nvSpPr>
        <p:spPr>
          <a:xfrm rot="19328729">
            <a:off x="2183902" y="4328233"/>
            <a:ext cx="404213" cy="474191"/>
          </a:xfrm>
          <a:prstGeom prst="ellipse">
            <a:avLst/>
          </a:prstGeom>
          <a:noFill/>
          <a:ln w="19050">
            <a:solidFill>
              <a:srgbClr val="D3276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5DFEA473-E08B-D760-AF85-F21449F6BE92}"/>
              </a:ext>
            </a:extLst>
          </p:cNvPr>
          <p:cNvSpPr/>
          <p:nvPr/>
        </p:nvSpPr>
        <p:spPr>
          <a:xfrm rot="19328729">
            <a:off x="3172183" y="5895002"/>
            <a:ext cx="324626" cy="570811"/>
          </a:xfrm>
          <a:prstGeom prst="ellipse">
            <a:avLst/>
          </a:prstGeom>
          <a:noFill/>
          <a:ln w="19050">
            <a:solidFill>
              <a:srgbClr val="D3276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782B57BC-16EF-981D-CA87-41735522B1C0}"/>
              </a:ext>
            </a:extLst>
          </p:cNvPr>
          <p:cNvSpPr/>
          <p:nvPr/>
        </p:nvSpPr>
        <p:spPr>
          <a:xfrm rot="19328729">
            <a:off x="3078318" y="5321436"/>
            <a:ext cx="1069142" cy="474191"/>
          </a:xfrm>
          <a:prstGeom prst="ellipse">
            <a:avLst/>
          </a:prstGeom>
          <a:noFill/>
          <a:ln w="19050">
            <a:solidFill>
              <a:srgbClr val="D3276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74BBB2D-3B30-D514-DC6A-445B69014C53}"/>
              </a:ext>
            </a:extLst>
          </p:cNvPr>
          <p:cNvSpPr/>
          <p:nvPr/>
        </p:nvSpPr>
        <p:spPr>
          <a:xfrm rot="595406">
            <a:off x="3458348" y="5763426"/>
            <a:ext cx="1069142" cy="474191"/>
          </a:xfrm>
          <a:prstGeom prst="ellipse">
            <a:avLst/>
          </a:prstGeom>
          <a:noFill/>
          <a:ln w="19050">
            <a:solidFill>
              <a:srgbClr val="D3276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9F53D03-9C78-1DD3-CC6D-D93DED856713}"/>
              </a:ext>
            </a:extLst>
          </p:cNvPr>
          <p:cNvGrpSpPr/>
          <p:nvPr/>
        </p:nvGrpSpPr>
        <p:grpSpPr>
          <a:xfrm>
            <a:off x="6150042" y="1778382"/>
            <a:ext cx="5265162" cy="4789083"/>
            <a:chOff x="591843" y="1594422"/>
            <a:chExt cx="5265162" cy="4789083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74991831-2C88-C135-C50F-E5FF9A49E395}"/>
                </a:ext>
              </a:extLst>
            </p:cNvPr>
            <p:cNvGrpSpPr/>
            <p:nvPr/>
          </p:nvGrpSpPr>
          <p:grpSpPr>
            <a:xfrm>
              <a:off x="609600" y="1799025"/>
              <a:ext cx="5247405" cy="4584480"/>
              <a:chOff x="609600" y="1799025"/>
              <a:chExt cx="5247405" cy="4584480"/>
            </a:xfrm>
          </p:grpSpPr>
          <p:pic>
            <p:nvPicPr>
              <p:cNvPr id="26" name="Picture 25">
                <a:extLst>
                  <a:ext uri="{FF2B5EF4-FFF2-40B4-BE49-F238E27FC236}">
                    <a16:creationId xmlns:a16="http://schemas.microsoft.com/office/drawing/2014/main" id="{314EE81F-0A11-8366-D6C3-24814D7467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09600" y="1799025"/>
                <a:ext cx="5247405" cy="4584480"/>
              </a:xfrm>
              <a:prstGeom prst="rect">
                <a:avLst/>
              </a:prstGeom>
              <a:ln>
                <a:solidFill>
                  <a:schemeClr val="tx2">
                    <a:lumMod val="50000"/>
                    <a:lumOff val="50000"/>
                  </a:schemeClr>
                </a:solidFill>
              </a:ln>
            </p:spPr>
          </p:pic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7018B827-76F0-4762-51F6-55CA0F593B5C}"/>
                  </a:ext>
                </a:extLst>
              </p:cNvPr>
              <p:cNvSpPr/>
              <p:nvPr/>
            </p:nvSpPr>
            <p:spPr>
              <a:xfrm rot="20238801">
                <a:off x="1955446" y="4156108"/>
                <a:ext cx="651553" cy="777755"/>
              </a:xfrm>
              <a:prstGeom prst="ellipse">
                <a:avLst/>
              </a:prstGeom>
              <a:noFill/>
              <a:ln w="19050">
                <a:solidFill>
                  <a:srgbClr val="D3276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1400FAA3-1F13-C8DD-9B17-99D18760F36D}"/>
                  </a:ext>
                </a:extLst>
              </p:cNvPr>
              <p:cNvSpPr/>
              <p:nvPr/>
            </p:nvSpPr>
            <p:spPr>
              <a:xfrm rot="19576834">
                <a:off x="3087109" y="5095974"/>
                <a:ext cx="1263236" cy="385538"/>
              </a:xfrm>
              <a:prstGeom prst="ellipse">
                <a:avLst/>
              </a:prstGeom>
              <a:noFill/>
              <a:ln w="19050">
                <a:solidFill>
                  <a:srgbClr val="D3276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0E7CEF3A-C513-439C-15F6-723E01AF69EC}"/>
                  </a:ext>
                </a:extLst>
              </p:cNvPr>
              <p:cNvSpPr/>
              <p:nvPr/>
            </p:nvSpPr>
            <p:spPr>
              <a:xfrm rot="826508">
                <a:off x="3209917" y="5661708"/>
                <a:ext cx="1263236" cy="385538"/>
              </a:xfrm>
              <a:prstGeom prst="ellipse">
                <a:avLst/>
              </a:prstGeom>
              <a:noFill/>
              <a:ln w="19050">
                <a:solidFill>
                  <a:srgbClr val="D3276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55B34B0-3134-2A49-90F3-E78D3A1D726B}"/>
                </a:ext>
              </a:extLst>
            </p:cNvPr>
            <p:cNvSpPr/>
            <p:nvPr/>
          </p:nvSpPr>
          <p:spPr>
            <a:xfrm>
              <a:off x="591843" y="1594422"/>
              <a:ext cx="5265162" cy="230819"/>
            </a:xfrm>
            <a:prstGeom prst="rect">
              <a:avLst/>
            </a:prstGeom>
            <a:solidFill>
              <a:schemeClr val="tx2">
                <a:lumMod val="90000"/>
                <a:lumOff val="1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2045 California Highway Corridors</a:t>
              </a:r>
            </a:p>
          </p:txBody>
        </p:sp>
      </p:grp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5AB65D07-E1CD-010E-8786-3846C9586A07}"/>
              </a:ext>
            </a:extLst>
          </p:cNvPr>
          <p:cNvSpPr/>
          <p:nvPr/>
        </p:nvSpPr>
        <p:spPr>
          <a:xfrm>
            <a:off x="8644556" y="84794"/>
            <a:ext cx="3454778" cy="2480605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u="sng"/>
              <a:t>Takeaway</a:t>
            </a:r>
            <a:r>
              <a:rPr lang="en-US" sz="1400"/>
              <a:t>: </a:t>
            </a:r>
            <a:br>
              <a:rPr lang="en-US" sz="1400"/>
            </a:br>
            <a:r>
              <a:rPr lang="en-US" sz="1400"/>
              <a:t>Load is driven by a </a:t>
            </a:r>
            <a:r>
              <a:rPr lang="en-US" sz="1400" b="1"/>
              <a:t>high traffic volume</a:t>
            </a:r>
            <a:r>
              <a:rPr lang="en-US" sz="1400"/>
              <a:t>, and relatively </a:t>
            </a:r>
            <a:r>
              <a:rPr lang="en-US" sz="1400" b="1"/>
              <a:t>lower states of charge</a:t>
            </a:r>
            <a:r>
              <a:rPr lang="en-US" sz="1400"/>
              <a:t> for vehicles, leading to concentrations along major corridors that connect cities.  I-5 and SR-99, connecting LA and San Diego to San Francisco and Sacramento, see the highest load, along with I-10 and I-15, connecting LA and San Diego with Nevada and Arizona</a:t>
            </a:r>
          </a:p>
          <a:p>
            <a:pPr algn="ctr"/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12473701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0DBB9E-DAD4-4B62-E6F8-30D216AE46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05E0102-781C-4C70-45A5-0FFF4B7147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EA92E4-8687-59C5-A22C-A5E06C71AB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FE7F888-6453-64C1-54EF-AD6259DEAA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W"/>
              <a:t>Key Takeaways</a:t>
            </a:r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D860179-D9F4-F72C-F46A-30F0B2D7DA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TEPP Modeling I&amp;A provides foundational data to inform CDM’s bottom-up load disaggregation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E42B389-765C-EBFF-444C-74655DF8CD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2056" y="4141514"/>
            <a:ext cx="3314658" cy="173249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B341528-8119-956C-636A-5F1A5F99C992}"/>
              </a:ext>
            </a:extLst>
          </p:cNvPr>
          <p:cNvSpPr txBox="1"/>
          <p:nvPr/>
        </p:nvSpPr>
        <p:spPr>
          <a:xfrm>
            <a:off x="533400" y="1943684"/>
            <a:ext cx="5638800" cy="286232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/>
              <a:t>The</a:t>
            </a:r>
            <a:r>
              <a:rPr lang="en-US" b="1"/>
              <a:t> </a:t>
            </a:r>
            <a:r>
              <a:rPr lang="en-US"/>
              <a:t>I&amp;A leverages 2023* IEPR and real-world data, recent studies from national laboratories and government agencies, and geospatial layers to provide a </a:t>
            </a:r>
            <a:r>
              <a:rPr lang="en-US" b="1"/>
              <a:t>granular dataset to calculate charging needs </a:t>
            </a:r>
            <a:r>
              <a:rPr lang="en-US"/>
              <a:t>along public highway corridor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The CDM provides a methodology for identifying the </a:t>
            </a:r>
            <a:r>
              <a:rPr lang="en-US" b="1"/>
              <a:t>probabilistic outcomes to</a:t>
            </a:r>
            <a:r>
              <a:rPr lang="en-US"/>
              <a:t> </a:t>
            </a:r>
            <a:r>
              <a:rPr lang="en-US" b="1"/>
              <a:t>identify public charging demand </a:t>
            </a:r>
            <a:r>
              <a:rPr lang="en-US"/>
              <a:t>along public highway corridor segmen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DE72E9C-9D29-CE1F-BB66-65EF2AC862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62056" y="1943684"/>
            <a:ext cx="3281173" cy="185083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CE75040-63D7-82A6-BED1-D1A0D36906F4}"/>
              </a:ext>
            </a:extLst>
          </p:cNvPr>
          <p:cNvSpPr txBox="1"/>
          <p:nvPr/>
        </p:nvSpPr>
        <p:spPr>
          <a:xfrm>
            <a:off x="563390" y="5744314"/>
            <a:ext cx="647471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/>
              <a:t>* The TEPP will use the most recent IEPR vintage available. This version of the TEPP includes 2023 IEPR report values adopted on February 14, 2024, for illustrative purposes only.</a:t>
            </a:r>
          </a:p>
        </p:txBody>
      </p:sp>
    </p:spTree>
    <p:extLst>
      <p:ext uri="{BB962C8B-B14F-4D97-AF65-F5344CB8AC3E}">
        <p14:creationId xmlns:p14="http://schemas.microsoft.com/office/powerpoint/2010/main" val="212569572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9451DF-6FA3-5A79-F848-91D86ED0C4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4B7606D-C31A-0588-5338-3802917EAA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021729D-3BAC-656A-DE50-0C9F5307B4C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Q&amp;A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F2AC236-D241-555B-3599-B01EB6E19E1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/>
              <a:t>Corridor Designation Methodology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267FFF-613A-0024-F051-217F941B7B96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pic>
        <p:nvPicPr>
          <p:cNvPr id="4" name="Picture 3" descr="A question mark in a green circle&#10;&#10;AI-generated content may be incorrect.">
            <a:extLst>
              <a:ext uri="{FF2B5EF4-FFF2-40B4-BE49-F238E27FC236}">
                <a16:creationId xmlns:a16="http://schemas.microsoft.com/office/drawing/2014/main" id="{C5085A5B-9427-51EE-1894-CA9E66BE47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2716" y="1492299"/>
            <a:ext cx="3502727" cy="3502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92791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B369F7-B9D8-A2F0-9606-5A4D3362E8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4B05935-F818-1F8D-CD35-44F294D592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68A143F-3A30-9DF2-6DE3-A462E0C2672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/>
              <a:t>Wrap Up and Next Step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CBDE72B-8357-0889-AB50-C664C9026B8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pic>
        <p:nvPicPr>
          <p:cNvPr id="17" name="Picture 2" descr="California Public Utilities Commission (CPUC) - California Emerging  Technology Fund">
            <a:extLst>
              <a:ext uri="{FF2B5EF4-FFF2-40B4-BE49-F238E27FC236}">
                <a16:creationId xmlns:a16="http://schemas.microsoft.com/office/drawing/2014/main" id="{91CE2138-D8A9-B0FE-1161-927CC770BD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4500" b="95250" l="6750" r="97500">
                        <a14:foregroundMark x1="19250" y1="13500" x2="30000" y2="8000"/>
                        <a14:foregroundMark x1="30000" y1="8000" x2="53000" y2="7500"/>
                        <a14:foregroundMark x1="53000" y1="7500" x2="73750" y2="22000"/>
                        <a14:foregroundMark x1="73750" y1="22000" x2="69750" y2="45000"/>
                        <a14:foregroundMark x1="69750" y1="45000" x2="39000" y2="47000"/>
                        <a14:foregroundMark x1="39000" y1="47000" x2="20750" y2="27750"/>
                        <a14:foregroundMark x1="20750" y1="27750" x2="18000" y2="19500"/>
                        <a14:foregroundMark x1="18000" y1="19500" x2="18750" y2="14000"/>
                        <a14:foregroundMark x1="16250" y1="16750" x2="15750" y2="39000"/>
                        <a14:foregroundMark x1="15750" y1="39000" x2="18750" y2="49750"/>
                        <a14:foregroundMark x1="18750" y1="49750" x2="29000" y2="64500"/>
                        <a14:foregroundMark x1="29000" y1="64500" x2="50500" y2="79250"/>
                        <a14:foregroundMark x1="50500" y1="79250" x2="68750" y2="83250"/>
                        <a14:foregroundMark x1="68750" y1="83250" x2="84000" y2="67500"/>
                        <a14:foregroundMark x1="84000" y1="67500" x2="88250" y2="58250"/>
                        <a14:foregroundMark x1="88250" y1="58250" x2="89250" y2="34750"/>
                        <a14:foregroundMark x1="89250" y1="34750" x2="86250" y2="26500"/>
                        <a14:foregroundMark x1="86250" y1="26500" x2="77750" y2="17500"/>
                        <a14:foregroundMark x1="77750" y1="17500" x2="56000" y2="8000"/>
                        <a14:foregroundMark x1="56000" y1="8000" x2="53250" y2="7250"/>
                        <a14:foregroundMark x1="12500" y1="21250" x2="9000" y2="28750"/>
                        <a14:foregroundMark x1="9000" y1="28750" x2="7250" y2="54000"/>
                        <a14:foregroundMark x1="7250" y1="54000" x2="9750" y2="63500"/>
                        <a14:foregroundMark x1="9750" y1="63500" x2="16750" y2="73500"/>
                        <a14:foregroundMark x1="16750" y1="73500" x2="51750" y2="93000"/>
                        <a14:foregroundMark x1="51750" y1="93000" x2="77750" y2="85750"/>
                        <a14:foregroundMark x1="77750" y1="85750" x2="87000" y2="72250"/>
                        <a14:foregroundMark x1="87000" y1="72250" x2="93500" y2="48000"/>
                        <a14:foregroundMark x1="93500" y1="48000" x2="89000" y2="27750"/>
                        <a14:foregroundMark x1="89000" y1="27750" x2="86000" y2="21000"/>
                        <a14:foregroundMark x1="86000" y1="21000" x2="80000" y2="14500"/>
                        <a14:foregroundMark x1="80000" y1="14500" x2="57250" y2="4750"/>
                        <a14:foregroundMark x1="42344" y1="4559" x2="37750" y2="4500"/>
                        <a14:foregroundMark x1="57250" y1="4750" x2="44233" y2="4583"/>
                        <a14:foregroundMark x1="37750" y1="4500" x2="37250" y2="5000"/>
                        <a14:foregroundMark x1="89000" y1="23250" x2="97250" y2="49000"/>
                        <a14:foregroundMark x1="97250" y1="49000" x2="92500" y2="69500"/>
                        <a14:foregroundMark x1="92500" y1="69500" x2="90000" y2="74250"/>
                        <a14:foregroundMark x1="93000" y1="30750" x2="96500" y2="37750"/>
                        <a14:foregroundMark x1="96500" y1="37750" x2="97500" y2="55500"/>
                        <a14:foregroundMark x1="97500" y1="55500" x2="94750" y2="63500"/>
                        <a14:foregroundMark x1="68000" y1="92000" x2="37750" y2="92250"/>
                        <a14:foregroundMark x1="37750" y1="92250" x2="34000" y2="91500"/>
                        <a14:foregroundMark x1="40750" y1="94250" x2="50250" y2="96000"/>
                        <a14:foregroundMark x1="50250" y1="96000" x2="58500" y2="95250"/>
                        <a14:foregroundMark x1="58500" y1="95250" x2="62250" y2="93750"/>
                        <a14:foregroundMark x1="7500" y1="64750" x2="5000" y2="49000"/>
                        <a14:foregroundMark x1="5000" y1="49000" x2="6750" y2="39000"/>
                        <a14:foregroundMark x1="6750" y1="39000" x2="8000" y2="36750"/>
                        <a14:backgroundMark x1="61000" y1="1000" x2="54750" y2="750"/>
                        <a14:backgroundMark x1="54250" y1="500" x2="56500" y2="1000"/>
                        <a14:backgroundMark x1="57750" y1="1250" x2="54750" y2="750"/>
                        <a14:backgroundMark x1="44250" y1="1250" x2="48750" y2="5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71242" y="923421"/>
            <a:ext cx="5011157" cy="50111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30870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4FB60C-92F2-08B5-DF5E-0724EAE6AA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F8FE9CC-B9DC-83BB-34BF-FD02D7627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454FBC8-45B4-9A6D-90DB-9E4DB84A9A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591907"/>
            <a:ext cx="10184295" cy="2831006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W">
                <a:solidFill>
                  <a:schemeClr val="tx1"/>
                </a:solidFill>
                <a:cs typeface="Calibri"/>
              </a:rPr>
              <a:t>Ruling Opening Comments are due on 11/14/2025, reply comments are due 12/5. </a:t>
            </a:r>
            <a:endParaRPr lang="en-US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W">
                <a:solidFill>
                  <a:schemeClr val="tx1"/>
                </a:solidFill>
                <a:latin typeface="Aptos Light"/>
                <a:cs typeface="Calibri"/>
              </a:rPr>
              <a:t>Please reach out to </a:t>
            </a:r>
            <a:r>
              <a:rPr lang="en-ZW">
                <a:solidFill>
                  <a:schemeClr val="tx1"/>
                </a:solidFill>
                <a:latin typeface="Aptos Light"/>
                <a:cs typeface="Calibr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mily.Clayton@cpuc.ca.gov</a:t>
            </a:r>
            <a:r>
              <a:rPr lang="en-ZW">
                <a:solidFill>
                  <a:schemeClr val="tx1"/>
                </a:solidFill>
                <a:latin typeface="Aptos Light"/>
                <a:cs typeface="Calibri"/>
              </a:rPr>
              <a:t> and </a:t>
            </a:r>
            <a:r>
              <a:rPr lang="en-ZW">
                <a:solidFill>
                  <a:schemeClr val="tx1"/>
                </a:solidFill>
                <a:latin typeface="Aptos Light"/>
                <a:cs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mmanuelle.Truax@cpuc.ca.gov</a:t>
            </a:r>
            <a:r>
              <a:rPr lang="en-ZW">
                <a:solidFill>
                  <a:schemeClr val="tx1"/>
                </a:solidFill>
                <a:latin typeface="Aptos Light"/>
                <a:cs typeface="Calibri"/>
              </a:rPr>
              <a:t>  with any questions. </a:t>
            </a:r>
          </a:p>
          <a:p>
            <a:pPr>
              <a:lnSpc>
                <a:spcPct val="120000"/>
              </a:lnSpc>
              <a:spcAft>
                <a:spcPts val="700"/>
              </a:spcAft>
            </a:pPr>
            <a:endParaRPr lang="en-US" sz="800" b="1">
              <a:solidFill>
                <a:srgbClr val="2A3C50"/>
              </a:solidFill>
              <a:latin typeface="Arial"/>
              <a:cs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83AAF55-F359-EE55-075D-6335746DAF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W"/>
              <a:t>Wrap Up and Next Step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700012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CCC6AC-A2ED-2735-92B1-BE7218CDB7C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AA685FA-DA81-C549-EE90-5A69DB2A324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39265586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TextBox 187">
            <a:extLst>
              <a:ext uri="{FF2B5EF4-FFF2-40B4-BE49-F238E27FC236}">
                <a16:creationId xmlns:a16="http://schemas.microsoft.com/office/drawing/2014/main" id="{9D931FB5-3375-FA56-1781-12869FCF306C}"/>
              </a:ext>
            </a:extLst>
          </p:cNvPr>
          <p:cNvSpPr txBox="1"/>
          <p:nvPr/>
        </p:nvSpPr>
        <p:spPr>
          <a:xfrm>
            <a:off x="-76920" y="6112983"/>
            <a:ext cx="19819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solidFill>
                  <a:schemeClr val="tx2"/>
                </a:solidFill>
              </a:rPr>
              <a:t>Normalized Averag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2155E4B-4A5F-6A52-93B0-D8FD76AFDBAA}"/>
              </a:ext>
            </a:extLst>
          </p:cNvPr>
          <p:cNvGrpSpPr/>
          <p:nvPr/>
        </p:nvGrpSpPr>
        <p:grpSpPr>
          <a:xfrm>
            <a:off x="226478" y="1980653"/>
            <a:ext cx="11651670" cy="4114807"/>
            <a:chOff x="109957" y="1509596"/>
            <a:chExt cx="11651670" cy="4749099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A74E166-66CE-9766-07BC-BF137B463B7B}"/>
                </a:ext>
              </a:extLst>
            </p:cNvPr>
            <p:cNvSpPr/>
            <p:nvPr/>
          </p:nvSpPr>
          <p:spPr>
            <a:xfrm>
              <a:off x="703033" y="5509565"/>
              <a:ext cx="3911133" cy="181335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B2E5B1F-D85A-187F-6CF9-6EE6450C61CB}"/>
                </a:ext>
              </a:extLst>
            </p:cNvPr>
            <p:cNvSpPr/>
            <p:nvPr/>
          </p:nvSpPr>
          <p:spPr>
            <a:xfrm>
              <a:off x="4577259" y="5509565"/>
              <a:ext cx="3660290" cy="181335"/>
            </a:xfrm>
            <a:prstGeom prst="rect">
              <a:avLst/>
            </a:prstGeom>
            <a:solidFill>
              <a:srgbClr val="FDE8B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F6F6301-52FC-0546-317F-302716D566C7}"/>
                </a:ext>
              </a:extLst>
            </p:cNvPr>
            <p:cNvSpPr/>
            <p:nvPr/>
          </p:nvSpPr>
          <p:spPr>
            <a:xfrm>
              <a:off x="8237548" y="5509565"/>
              <a:ext cx="3524079" cy="181334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pic>
          <p:nvPicPr>
            <p:cNvPr id="137" name="Graphic 136" descr="Fuel with solid fill">
              <a:extLst>
                <a:ext uri="{FF2B5EF4-FFF2-40B4-BE49-F238E27FC236}">
                  <a16:creationId xmlns:a16="http://schemas.microsoft.com/office/drawing/2014/main" id="{8F0C4109-0F3E-AB16-643D-6B942B23A5D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805338" y="5103427"/>
              <a:ext cx="457200" cy="457200"/>
            </a:xfrm>
            <a:prstGeom prst="rect">
              <a:avLst/>
            </a:prstGeom>
          </p:spPr>
        </p:pic>
        <p:pic>
          <p:nvPicPr>
            <p:cNvPr id="144" name="Graphic 143" descr="Fuel with solid fill">
              <a:extLst>
                <a:ext uri="{FF2B5EF4-FFF2-40B4-BE49-F238E27FC236}">
                  <a16:creationId xmlns:a16="http://schemas.microsoft.com/office/drawing/2014/main" id="{A5C4ABED-F346-A861-00EE-BCC9229F4EC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402782" y="5090018"/>
              <a:ext cx="457200" cy="457200"/>
            </a:xfrm>
            <a:prstGeom prst="rect">
              <a:avLst/>
            </a:prstGeom>
          </p:spPr>
        </p:pic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2D361468-C6E0-34F6-F072-A93F84F8A9F8}"/>
                </a:ext>
              </a:extLst>
            </p:cNvPr>
            <p:cNvCxnSpPr>
              <a:cxnSpLocks/>
            </p:cNvCxnSpPr>
            <p:nvPr/>
          </p:nvCxnSpPr>
          <p:spPr>
            <a:xfrm>
              <a:off x="835994" y="5601393"/>
              <a:ext cx="10781524" cy="0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113" name="Graphic 112" descr="Fuel with solid fill">
              <a:extLst>
                <a:ext uri="{FF2B5EF4-FFF2-40B4-BE49-F238E27FC236}">
                  <a16:creationId xmlns:a16="http://schemas.microsoft.com/office/drawing/2014/main" id="{CC40B6FD-D5AC-1C2B-C5C4-D8B5D93B234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039122" y="2567566"/>
              <a:ext cx="457200" cy="457200"/>
            </a:xfrm>
            <a:prstGeom prst="rect">
              <a:avLst/>
            </a:prstGeom>
          </p:spPr>
        </p:pic>
        <p:pic>
          <p:nvPicPr>
            <p:cNvPr id="139" name="Graphic 138" descr="Fuel with solid fill">
              <a:extLst>
                <a:ext uri="{FF2B5EF4-FFF2-40B4-BE49-F238E27FC236}">
                  <a16:creationId xmlns:a16="http://schemas.microsoft.com/office/drawing/2014/main" id="{7D439AED-CBDB-B753-3372-D9677301720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275473" y="5090018"/>
              <a:ext cx="457200" cy="457200"/>
            </a:xfrm>
            <a:prstGeom prst="rect">
              <a:avLst/>
            </a:prstGeom>
          </p:spPr>
        </p:pic>
        <p:pic>
          <p:nvPicPr>
            <p:cNvPr id="140" name="Graphic 139" descr="Fuel with solid fill">
              <a:extLst>
                <a:ext uri="{FF2B5EF4-FFF2-40B4-BE49-F238E27FC236}">
                  <a16:creationId xmlns:a16="http://schemas.microsoft.com/office/drawing/2014/main" id="{987101A8-C58E-310F-1311-7A3AC6EDE37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569743" y="5102326"/>
              <a:ext cx="457200" cy="457200"/>
            </a:xfrm>
            <a:prstGeom prst="rect">
              <a:avLst/>
            </a:prstGeom>
          </p:spPr>
        </p:pic>
        <p:pic>
          <p:nvPicPr>
            <p:cNvPr id="141" name="Graphic 140" descr="Fuel with solid fill">
              <a:extLst>
                <a:ext uri="{FF2B5EF4-FFF2-40B4-BE49-F238E27FC236}">
                  <a16:creationId xmlns:a16="http://schemas.microsoft.com/office/drawing/2014/main" id="{5B2F883E-E3D0-82B4-99A2-448F77DFD9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345123" y="5090018"/>
              <a:ext cx="457200" cy="457200"/>
            </a:xfrm>
            <a:prstGeom prst="rect">
              <a:avLst/>
            </a:prstGeom>
          </p:spPr>
        </p:pic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9A44273D-C0C3-9A59-A800-E0BF8D020A05}"/>
                </a:ext>
              </a:extLst>
            </p:cNvPr>
            <p:cNvSpPr txBox="1"/>
            <p:nvPr/>
          </p:nvSpPr>
          <p:spPr>
            <a:xfrm>
              <a:off x="4881412" y="2133229"/>
              <a:ext cx="2886461" cy="2930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>
                  <a:solidFill>
                    <a:schemeClr val="tx2"/>
                  </a:solidFill>
                </a:rPr>
                <a:t>2025 Max hourly projected demand: </a:t>
              </a:r>
              <a:r>
                <a:rPr lang="en-US" sz="1050" b="1">
                  <a:solidFill>
                    <a:schemeClr val="tx2"/>
                  </a:solidFill>
                </a:rPr>
                <a:t>40 kW</a:t>
              </a:r>
            </a:p>
          </p:txBody>
        </p:sp>
        <p:sp>
          <p:nvSpPr>
            <p:cNvPr id="186" name="Arrow: Up-Down 185">
              <a:extLst>
                <a:ext uri="{FF2B5EF4-FFF2-40B4-BE49-F238E27FC236}">
                  <a16:creationId xmlns:a16="http://schemas.microsoft.com/office/drawing/2014/main" id="{4DEEB572-2B49-9410-E04E-AD8369A00E18}"/>
                </a:ext>
              </a:extLst>
            </p:cNvPr>
            <p:cNvSpPr/>
            <p:nvPr/>
          </p:nvSpPr>
          <p:spPr>
            <a:xfrm>
              <a:off x="336472" y="1801642"/>
              <a:ext cx="353969" cy="4457053"/>
            </a:xfrm>
            <a:prstGeom prst="upDown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0BB2B18A-7E99-1499-FEEF-9B4C45F7CC83}"/>
                </a:ext>
              </a:extLst>
            </p:cNvPr>
            <p:cNvSpPr txBox="1"/>
            <p:nvPr/>
          </p:nvSpPr>
          <p:spPr>
            <a:xfrm>
              <a:off x="109957" y="1509596"/>
              <a:ext cx="781491" cy="355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solidFill>
                    <a:schemeClr val="tx2"/>
                  </a:solidFill>
                </a:rPr>
                <a:t>Reality</a:t>
              </a:r>
            </a:p>
          </p:txBody>
        </p:sp>
        <p:pic>
          <p:nvPicPr>
            <p:cNvPr id="5" name="Graphic 4" descr="Fuel with solid fill">
              <a:extLst>
                <a:ext uri="{FF2B5EF4-FFF2-40B4-BE49-F238E27FC236}">
                  <a16:creationId xmlns:a16="http://schemas.microsoft.com/office/drawing/2014/main" id="{9E6D14F3-E958-CCEA-DCB5-A6CD7FC327C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182586" y="5063601"/>
              <a:ext cx="457200" cy="457200"/>
            </a:xfrm>
            <a:prstGeom prst="rect">
              <a:avLst/>
            </a:prstGeom>
          </p:spPr>
        </p:pic>
        <p:pic>
          <p:nvPicPr>
            <p:cNvPr id="6" name="Graphic 5" descr="Fuel with solid fill">
              <a:extLst>
                <a:ext uri="{FF2B5EF4-FFF2-40B4-BE49-F238E27FC236}">
                  <a16:creationId xmlns:a16="http://schemas.microsoft.com/office/drawing/2014/main" id="{DD0CB412-25A8-D79E-8C4F-03EFB15DE0E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096292" y="5061609"/>
              <a:ext cx="457200" cy="457200"/>
            </a:xfrm>
            <a:prstGeom prst="rect">
              <a:avLst/>
            </a:prstGeom>
          </p:spPr>
        </p:pic>
        <p:pic>
          <p:nvPicPr>
            <p:cNvPr id="7" name="Graphic 6" descr="Fuel with solid fill">
              <a:extLst>
                <a:ext uri="{FF2B5EF4-FFF2-40B4-BE49-F238E27FC236}">
                  <a16:creationId xmlns:a16="http://schemas.microsoft.com/office/drawing/2014/main" id="{99429291-E493-28CC-5F1F-A7D8C7C8225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717096" y="5097998"/>
              <a:ext cx="457200" cy="457200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BA37BB6-E769-19F3-91F6-2B7BA48F46C8}"/>
                </a:ext>
              </a:extLst>
            </p:cNvPr>
            <p:cNvSpPr/>
            <p:nvPr/>
          </p:nvSpPr>
          <p:spPr>
            <a:xfrm>
              <a:off x="678910" y="3054767"/>
              <a:ext cx="3911133" cy="181335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56F57E2-DB0D-DEB8-442B-0AE59D6A3967}"/>
                </a:ext>
              </a:extLst>
            </p:cNvPr>
            <p:cNvSpPr/>
            <p:nvPr/>
          </p:nvSpPr>
          <p:spPr>
            <a:xfrm>
              <a:off x="4553136" y="3054767"/>
              <a:ext cx="3660290" cy="181335"/>
            </a:xfrm>
            <a:prstGeom prst="rect">
              <a:avLst/>
            </a:prstGeom>
            <a:solidFill>
              <a:srgbClr val="FDE8B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AA266A7-BA76-FD5E-B546-A7152E571BB6}"/>
                </a:ext>
              </a:extLst>
            </p:cNvPr>
            <p:cNvSpPr/>
            <p:nvPr/>
          </p:nvSpPr>
          <p:spPr>
            <a:xfrm>
              <a:off x="8213425" y="3054767"/>
              <a:ext cx="3524079" cy="181334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D68F4A5A-0EF1-9FD1-7E8C-C73D7899C51A}"/>
                </a:ext>
              </a:extLst>
            </p:cNvPr>
            <p:cNvCxnSpPr>
              <a:cxnSpLocks/>
            </p:cNvCxnSpPr>
            <p:nvPr/>
          </p:nvCxnSpPr>
          <p:spPr>
            <a:xfrm>
              <a:off x="811871" y="3146595"/>
              <a:ext cx="10781524" cy="0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7321460-6D59-2410-96E8-55849BF6C38C}"/>
                </a:ext>
              </a:extLst>
            </p:cNvPr>
            <p:cNvSpPr txBox="1"/>
            <p:nvPr/>
          </p:nvSpPr>
          <p:spPr>
            <a:xfrm>
              <a:off x="1895502" y="4421795"/>
              <a:ext cx="2789766" cy="2930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>
                  <a:solidFill>
                    <a:schemeClr val="tx2"/>
                  </a:solidFill>
                </a:rPr>
                <a:t>2025 Max hourly projected demand: </a:t>
              </a:r>
              <a:r>
                <a:rPr lang="en-US" sz="1050" b="1">
                  <a:solidFill>
                    <a:schemeClr val="tx2"/>
                  </a:solidFill>
                </a:rPr>
                <a:t>5 kW</a:t>
              </a:r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6254599B-136D-2D89-02F6-2F016A745C27}"/>
                </a:ext>
              </a:extLst>
            </p:cNvPr>
            <p:cNvGrpSpPr/>
            <p:nvPr/>
          </p:nvGrpSpPr>
          <p:grpSpPr>
            <a:xfrm>
              <a:off x="797527" y="4922033"/>
              <a:ext cx="1019556" cy="496114"/>
              <a:chOff x="4219690" y="2293838"/>
              <a:chExt cx="679551" cy="342699"/>
            </a:xfrm>
          </p:grpSpPr>
          <p:pic>
            <p:nvPicPr>
              <p:cNvPr id="66" name="Graphic 65">
                <a:extLst>
                  <a:ext uri="{FF2B5EF4-FFF2-40B4-BE49-F238E27FC236}">
                    <a16:creationId xmlns:a16="http://schemas.microsoft.com/office/drawing/2014/main" id="{D65CDDF1-13E1-FF1C-1F9A-108BCF4183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4359704" y="2327035"/>
                <a:ext cx="539537" cy="309502"/>
              </a:xfrm>
              <a:prstGeom prst="rect">
                <a:avLst/>
              </a:prstGeom>
            </p:spPr>
          </p:pic>
          <p:pic>
            <p:nvPicPr>
              <p:cNvPr id="67" name="Graphic 66">
                <a:extLst>
                  <a:ext uri="{FF2B5EF4-FFF2-40B4-BE49-F238E27FC236}">
                    <a16:creationId xmlns:a16="http://schemas.microsoft.com/office/drawing/2014/main" id="{DF77FE90-C4A2-B58D-4391-93F6BE48FB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4219690" y="2293838"/>
                <a:ext cx="171420" cy="307777"/>
              </a:xfrm>
              <a:prstGeom prst="rect">
                <a:avLst/>
              </a:prstGeom>
            </p:spPr>
          </p:pic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700786C0-69A5-EF6D-9D4B-579D4B682F4F}"/>
                </a:ext>
              </a:extLst>
            </p:cNvPr>
            <p:cNvGrpSpPr/>
            <p:nvPr/>
          </p:nvGrpSpPr>
          <p:grpSpPr>
            <a:xfrm>
              <a:off x="834551" y="2411363"/>
              <a:ext cx="1019556" cy="496114"/>
              <a:chOff x="4219690" y="2293838"/>
              <a:chExt cx="679551" cy="342699"/>
            </a:xfrm>
          </p:grpSpPr>
          <p:pic>
            <p:nvPicPr>
              <p:cNvPr id="69" name="Graphic 68">
                <a:extLst>
                  <a:ext uri="{FF2B5EF4-FFF2-40B4-BE49-F238E27FC236}">
                    <a16:creationId xmlns:a16="http://schemas.microsoft.com/office/drawing/2014/main" id="{BC547263-64E5-302D-F1AB-E90C987FB2F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4359704" y="2327035"/>
                <a:ext cx="539537" cy="309502"/>
              </a:xfrm>
              <a:prstGeom prst="rect">
                <a:avLst/>
              </a:prstGeom>
            </p:spPr>
          </p:pic>
          <p:pic>
            <p:nvPicPr>
              <p:cNvPr id="70" name="Graphic 69">
                <a:extLst>
                  <a:ext uri="{FF2B5EF4-FFF2-40B4-BE49-F238E27FC236}">
                    <a16:creationId xmlns:a16="http://schemas.microsoft.com/office/drawing/2014/main" id="{D3F42BFD-B556-ECD8-5377-E2E7E11C500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4219690" y="2293838"/>
                <a:ext cx="171420" cy="307777"/>
              </a:xfrm>
              <a:prstGeom prst="rect">
                <a:avLst/>
              </a:prstGeom>
            </p:spPr>
          </p:pic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32515E3-9EA2-A2F2-13ED-28F325F99604}"/>
                </a:ext>
              </a:extLst>
            </p:cNvPr>
            <p:cNvSpPr txBox="1"/>
            <p:nvPr/>
          </p:nvSpPr>
          <p:spPr>
            <a:xfrm>
              <a:off x="5024682" y="4373537"/>
              <a:ext cx="2824671" cy="2930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>
                  <a:solidFill>
                    <a:schemeClr val="tx2"/>
                  </a:solidFill>
                </a:rPr>
                <a:t>2025 Max hourly projected demand: </a:t>
              </a:r>
              <a:r>
                <a:rPr lang="en-US" sz="1050" b="1">
                  <a:solidFill>
                    <a:schemeClr val="tx2"/>
                  </a:solidFill>
                </a:rPr>
                <a:t>15 kW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622FF48-91B5-65EE-BBB5-7563F495A7DE}"/>
                </a:ext>
              </a:extLst>
            </p:cNvPr>
            <p:cNvSpPr txBox="1"/>
            <p:nvPr/>
          </p:nvSpPr>
          <p:spPr>
            <a:xfrm>
              <a:off x="8432912" y="4345072"/>
              <a:ext cx="2789766" cy="2930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>
                  <a:solidFill>
                    <a:schemeClr val="tx2"/>
                  </a:solidFill>
                </a:rPr>
                <a:t>2025 Max hourly projected demand: </a:t>
              </a:r>
              <a:r>
                <a:rPr lang="en-US" sz="1050" b="1">
                  <a:solidFill>
                    <a:schemeClr val="tx2"/>
                  </a:solidFill>
                </a:rPr>
                <a:t>20 kW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6AE01B9-A9D8-D283-A02A-78508F545CE2}"/>
                </a:ext>
              </a:extLst>
            </p:cNvPr>
            <p:cNvSpPr txBox="1"/>
            <p:nvPr/>
          </p:nvSpPr>
          <p:spPr>
            <a:xfrm>
              <a:off x="1895502" y="3248788"/>
              <a:ext cx="1179255" cy="2841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i="1">
                  <a:solidFill>
                    <a:schemeClr val="tx2"/>
                  </a:solidFill>
                </a:rPr>
                <a:t>CDM Segment A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9F736E3-1832-DA14-D15F-B075DE1F329F}"/>
                </a:ext>
              </a:extLst>
            </p:cNvPr>
            <p:cNvSpPr txBox="1"/>
            <p:nvPr/>
          </p:nvSpPr>
          <p:spPr>
            <a:xfrm>
              <a:off x="5658038" y="3248788"/>
              <a:ext cx="1179255" cy="2841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i="1">
                  <a:solidFill>
                    <a:schemeClr val="tx2"/>
                  </a:solidFill>
                </a:rPr>
                <a:t>CDM Segment B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766B8D6-2688-DA10-4B35-41E2CC9775A0}"/>
                </a:ext>
              </a:extLst>
            </p:cNvPr>
            <p:cNvSpPr txBox="1"/>
            <p:nvPr/>
          </p:nvSpPr>
          <p:spPr>
            <a:xfrm>
              <a:off x="9447728" y="3248788"/>
              <a:ext cx="1179255" cy="2841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i="1">
                  <a:solidFill>
                    <a:schemeClr val="tx2"/>
                  </a:solidFill>
                </a:rPr>
                <a:t>CDM Segment C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5DD63A8-3953-59E5-1A06-E76C2A3AEC24}"/>
                </a:ext>
              </a:extLst>
            </p:cNvPr>
            <p:cNvSpPr txBox="1"/>
            <p:nvPr/>
          </p:nvSpPr>
          <p:spPr>
            <a:xfrm>
              <a:off x="1826255" y="5709646"/>
              <a:ext cx="1179255" cy="2841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i="1">
                  <a:solidFill>
                    <a:schemeClr val="tx2"/>
                  </a:solidFill>
                </a:rPr>
                <a:t>CDM Segment A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81B3D3AB-6EBB-061D-472C-EA541C9F7CB9}"/>
                </a:ext>
              </a:extLst>
            </p:cNvPr>
            <p:cNvSpPr txBox="1"/>
            <p:nvPr/>
          </p:nvSpPr>
          <p:spPr>
            <a:xfrm>
              <a:off x="5588791" y="5709646"/>
              <a:ext cx="1179255" cy="2841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i="1">
                  <a:solidFill>
                    <a:schemeClr val="tx2"/>
                  </a:solidFill>
                </a:rPr>
                <a:t>CDM Segment B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8394A1A2-EA25-40EC-56DF-CEA5B5BF27A2}"/>
                </a:ext>
              </a:extLst>
            </p:cNvPr>
            <p:cNvSpPr txBox="1"/>
            <p:nvPr/>
          </p:nvSpPr>
          <p:spPr>
            <a:xfrm>
              <a:off x="9378481" y="5709646"/>
              <a:ext cx="1179255" cy="2841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i="1">
                  <a:solidFill>
                    <a:schemeClr val="tx2"/>
                  </a:solidFill>
                </a:rPr>
                <a:t>CDM Segment C</a:t>
              </a:r>
            </a:p>
          </p:txBody>
        </p:sp>
      </p:grp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3D8E9F9C-616E-89BF-C32C-C5E0D5C3A6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/>
              <a:t>CDM Segment Load Estimates:</a:t>
            </a:r>
            <a:r>
              <a:rPr lang="en-US"/>
              <a:t> Given uncertainty in </a:t>
            </a:r>
            <a:r>
              <a:rPr lang="en-US" b="1"/>
              <a:t>where</a:t>
            </a:r>
            <a:r>
              <a:rPr lang="en-US"/>
              <a:t> future charging sites will be located, the CDM estimates an </a:t>
            </a:r>
            <a:r>
              <a:rPr lang="en-US" b="1"/>
              <a:t>expected load value</a:t>
            </a:r>
            <a:r>
              <a:rPr lang="en-US"/>
              <a:t> for each corridor segment to avoid false precision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2159DA6-F974-00E0-A09B-72D94B8812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Results Interpretation Example: Expected Load Value</a:t>
            </a:r>
          </a:p>
        </p:txBody>
      </p:sp>
      <p:sp>
        <p:nvSpPr>
          <p:cNvPr id="29" name="Footer Placeholder 50">
            <a:extLst>
              <a:ext uri="{FF2B5EF4-FFF2-40B4-BE49-F238E27FC236}">
                <a16:creationId xmlns:a16="http://schemas.microsoft.com/office/drawing/2014/main" id="{E535F529-5ED6-9A9A-F696-F6DB3F6617A6}"/>
              </a:ext>
            </a:extLst>
          </p:cNvPr>
          <p:cNvSpPr txBox="1">
            <a:spLocks/>
          </p:cNvSpPr>
          <p:nvPr/>
        </p:nvSpPr>
        <p:spPr>
          <a:xfrm>
            <a:off x="609600" y="6567465"/>
            <a:ext cx="1008380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 cap="all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cap="none">
                <a:solidFill>
                  <a:srgbClr val="1B1B1B">
                    <a:lumMod val="75000"/>
                    <a:lumOff val="25000"/>
                  </a:srgbClr>
                </a:solidFill>
                <a:latin typeface="Aptos Light"/>
              </a:rPr>
              <a:t>© 2025 Guidehouse Inc.</a:t>
            </a: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34E8E650-F4C6-37B2-31BE-1FADCDDF9B65}"/>
              </a:ext>
            </a:extLst>
          </p:cNvPr>
          <p:cNvSpPr txBox="1">
            <a:spLocks/>
          </p:cNvSpPr>
          <p:nvPr/>
        </p:nvSpPr>
        <p:spPr>
          <a:xfrm>
            <a:off x="11337459" y="6527709"/>
            <a:ext cx="334392" cy="15388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FD814145-5B10-4F3F-A6BF-3641B91211CF}" type="slidenum">
              <a:rPr lang="en-US" sz="1000" smtClean="0">
                <a:solidFill>
                  <a:srgbClr val="1B1B1B">
                    <a:lumMod val="75000"/>
                    <a:lumOff val="25000"/>
                  </a:srgbClr>
                </a:solidFill>
                <a:latin typeface="Aptos Light"/>
              </a:rPr>
              <a:pPr algn="r">
                <a:defRPr/>
              </a:pPr>
              <a:t>27</a:t>
            </a:fld>
            <a:endParaRPr lang="en-US" sz="1000">
              <a:solidFill>
                <a:srgbClr val="1B1B1B">
                  <a:lumMod val="75000"/>
                  <a:lumOff val="25000"/>
                </a:srgbClr>
              </a:solidFill>
              <a:latin typeface="Aptos Light"/>
            </a:endParaRPr>
          </a:p>
        </p:txBody>
      </p:sp>
    </p:spTree>
    <p:extLst>
      <p:ext uri="{BB962C8B-B14F-4D97-AF65-F5344CB8AC3E}">
        <p14:creationId xmlns:p14="http://schemas.microsoft.com/office/powerpoint/2010/main" val="350587938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85A9864-EBB5-6A05-992D-6768ED9D6F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217DB4A-7122-24B7-C477-F4104B47B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D5E59C-0DF5-9F90-C346-3CCF4D38D2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tate of charge, driving behavior, and charging behavior influence vehicle demand for charging and load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220FFC7-E3BE-D591-AD9D-69A5343A31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Energy Calculation: SOC, Journey Counts, Load shape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B519A46C-7098-076A-31CA-E91E70AD36F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1159" y="3381228"/>
            <a:ext cx="1254035" cy="952469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5108B9C2-64BC-A1A6-2390-14562020B2BB}"/>
              </a:ext>
            </a:extLst>
          </p:cNvPr>
          <p:cNvSpPr/>
          <p:nvPr/>
        </p:nvSpPr>
        <p:spPr>
          <a:xfrm>
            <a:off x="859152" y="3046562"/>
            <a:ext cx="1441449" cy="5677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Initial SOC </a:t>
            </a:r>
            <a:r>
              <a:rPr lang="en-US" sz="1200">
                <a:solidFill>
                  <a:schemeClr val="tx1"/>
                </a:solidFill>
              </a:rPr>
              <a:t>for trips ending or passing through segmen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F53C12D-415A-EC52-5050-13903AB75CCB}"/>
              </a:ext>
            </a:extLst>
          </p:cNvPr>
          <p:cNvSpPr/>
          <p:nvPr/>
        </p:nvSpPr>
        <p:spPr>
          <a:xfrm>
            <a:off x="3984080" y="3044056"/>
            <a:ext cx="1441449" cy="5677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Expected SOC </a:t>
            </a:r>
            <a:r>
              <a:rPr lang="en-US" sz="1200">
                <a:solidFill>
                  <a:schemeClr val="tx1"/>
                </a:solidFill>
              </a:rPr>
              <a:t>at segment</a:t>
            </a:r>
          </a:p>
        </p:txBody>
      </p:sp>
      <p:cxnSp>
        <p:nvCxnSpPr>
          <p:cNvPr id="29" name="Straight Arrow Connector 19">
            <a:extLst>
              <a:ext uri="{FF2B5EF4-FFF2-40B4-BE49-F238E27FC236}">
                <a16:creationId xmlns:a16="http://schemas.microsoft.com/office/drawing/2014/main" id="{8F493895-24CF-6688-5B4F-CF008CA5226F}"/>
              </a:ext>
            </a:extLst>
          </p:cNvPr>
          <p:cNvCxnSpPr>
            <a:cxnSpLocks/>
            <a:stCxn id="25" idx="3"/>
            <a:endCxn id="28" idx="1"/>
          </p:cNvCxnSpPr>
          <p:nvPr/>
        </p:nvCxnSpPr>
        <p:spPr>
          <a:xfrm flipV="1">
            <a:off x="2300601" y="3327925"/>
            <a:ext cx="1683479" cy="2506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C317B863-D203-E053-9511-A07561B5AC6E}"/>
              </a:ext>
            </a:extLst>
          </p:cNvPr>
          <p:cNvSpPr/>
          <p:nvPr/>
        </p:nvSpPr>
        <p:spPr>
          <a:xfrm>
            <a:off x="7069289" y="3047232"/>
            <a:ext cx="1441449" cy="5677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Probability of charging</a:t>
            </a:r>
            <a:endParaRPr lang="en-US" sz="1200">
              <a:solidFill>
                <a:schemeClr val="tx1"/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EA07FD19-875A-33A9-CB48-5CA029F9396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1023" y="5087024"/>
            <a:ext cx="1177980" cy="94996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F71FFC6B-BD37-27E8-8267-7B1CAA253118}"/>
              </a:ext>
            </a:extLst>
          </p:cNvPr>
          <p:cNvSpPr/>
          <p:nvPr/>
        </p:nvSpPr>
        <p:spPr>
          <a:xfrm>
            <a:off x="7069289" y="4381545"/>
            <a:ext cx="1441449" cy="5677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Average hourly </a:t>
            </a:r>
            <a:r>
              <a:rPr lang="en-US" sz="1200" b="1">
                <a:solidFill>
                  <a:schemeClr val="tx1"/>
                </a:solidFill>
              </a:rPr>
              <a:t>load shape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3805A27-788B-F3A5-0F23-16D194CF8981}"/>
              </a:ext>
            </a:extLst>
          </p:cNvPr>
          <p:cNvSpPr txBox="1"/>
          <p:nvPr/>
        </p:nvSpPr>
        <p:spPr>
          <a:xfrm>
            <a:off x="2456900" y="2918113"/>
            <a:ext cx="14414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/>
              <a:t>Estimate energy expended by vehicles along trip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172CDBA-5050-398D-5A86-BA6F39D2B059}"/>
              </a:ext>
            </a:extLst>
          </p:cNvPr>
          <p:cNvSpPr/>
          <p:nvPr/>
        </p:nvSpPr>
        <p:spPr>
          <a:xfrm>
            <a:off x="7069289" y="1918983"/>
            <a:ext cx="1441449" cy="32790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BEV</a:t>
            </a:r>
            <a:r>
              <a:rPr lang="en-US" sz="1200">
                <a:solidFill>
                  <a:schemeClr val="tx1"/>
                </a:solidFill>
              </a:rPr>
              <a:t> adoption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E124623-D662-D35E-46C5-C1E373B5CB18}"/>
              </a:ext>
            </a:extLst>
          </p:cNvPr>
          <p:cNvSpPr/>
          <p:nvPr/>
        </p:nvSpPr>
        <p:spPr>
          <a:xfrm>
            <a:off x="9088673" y="3047412"/>
            <a:ext cx="1441449" cy="5677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kWh, kW </a:t>
            </a:r>
            <a:r>
              <a:rPr lang="en-US" sz="1200">
                <a:solidFill>
                  <a:schemeClr val="tx1"/>
                </a:solidFill>
              </a:rPr>
              <a:t>TE load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D19EDC0-A6E0-2C36-A270-9F8BB3F7080D}"/>
              </a:ext>
            </a:extLst>
          </p:cNvPr>
          <p:cNvSpPr/>
          <p:nvPr/>
        </p:nvSpPr>
        <p:spPr>
          <a:xfrm>
            <a:off x="7069289" y="2470370"/>
            <a:ext cx="1441449" cy="3871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Journey Counts</a:t>
            </a:r>
            <a:r>
              <a:rPr lang="en-US" sz="1200" b="1" i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at segment</a:t>
            </a:r>
          </a:p>
        </p:txBody>
      </p:sp>
      <p:cxnSp>
        <p:nvCxnSpPr>
          <p:cNvPr id="39" name="Straight Arrow Connector 19">
            <a:extLst>
              <a:ext uri="{FF2B5EF4-FFF2-40B4-BE49-F238E27FC236}">
                <a16:creationId xmlns:a16="http://schemas.microsoft.com/office/drawing/2014/main" id="{D641A019-F310-A466-64B1-D8C3247895E2}"/>
              </a:ext>
            </a:extLst>
          </p:cNvPr>
          <p:cNvCxnSpPr>
            <a:cxnSpLocks/>
            <a:stCxn id="28" idx="3"/>
            <a:endCxn id="32" idx="1"/>
          </p:cNvCxnSpPr>
          <p:nvPr/>
        </p:nvCxnSpPr>
        <p:spPr>
          <a:xfrm>
            <a:off x="5425529" y="3327925"/>
            <a:ext cx="1643760" cy="3176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7862F13F-77E8-7430-417B-03FCF6015E88}"/>
              </a:ext>
            </a:extLst>
          </p:cNvPr>
          <p:cNvSpPr txBox="1"/>
          <p:nvPr/>
        </p:nvSpPr>
        <p:spPr>
          <a:xfrm>
            <a:off x="5455023" y="2888233"/>
            <a:ext cx="15087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/>
              <a:t>Apply probability of charging distribution</a:t>
            </a:r>
          </a:p>
        </p:txBody>
      </p:sp>
      <p:cxnSp>
        <p:nvCxnSpPr>
          <p:cNvPr id="44" name="Straight Arrow Connector 19">
            <a:extLst>
              <a:ext uri="{FF2B5EF4-FFF2-40B4-BE49-F238E27FC236}">
                <a16:creationId xmlns:a16="http://schemas.microsoft.com/office/drawing/2014/main" id="{C96241F8-6939-42EF-8D66-ED1B48E264F2}"/>
              </a:ext>
            </a:extLst>
          </p:cNvPr>
          <p:cNvCxnSpPr>
            <a:cxnSpLocks/>
            <a:stCxn id="36" idx="3"/>
            <a:endCxn id="37" idx="1"/>
          </p:cNvCxnSpPr>
          <p:nvPr/>
        </p:nvCxnSpPr>
        <p:spPr>
          <a:xfrm>
            <a:off x="8510738" y="2082936"/>
            <a:ext cx="577935" cy="1248345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47" name="Straight Arrow Connector 19">
            <a:extLst>
              <a:ext uri="{FF2B5EF4-FFF2-40B4-BE49-F238E27FC236}">
                <a16:creationId xmlns:a16="http://schemas.microsoft.com/office/drawing/2014/main" id="{72C477DF-2930-BA6C-E1AF-117CCE1C1D7D}"/>
              </a:ext>
            </a:extLst>
          </p:cNvPr>
          <p:cNvCxnSpPr>
            <a:cxnSpLocks/>
            <a:stCxn id="38" idx="3"/>
            <a:endCxn id="37" idx="1"/>
          </p:cNvCxnSpPr>
          <p:nvPr/>
        </p:nvCxnSpPr>
        <p:spPr>
          <a:xfrm>
            <a:off x="8510738" y="2663945"/>
            <a:ext cx="577935" cy="667336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50" name="Straight Arrow Connector 19">
            <a:extLst>
              <a:ext uri="{FF2B5EF4-FFF2-40B4-BE49-F238E27FC236}">
                <a16:creationId xmlns:a16="http://schemas.microsoft.com/office/drawing/2014/main" id="{1388CDF4-024A-3BEA-5737-5EE32D2E5710}"/>
              </a:ext>
            </a:extLst>
          </p:cNvPr>
          <p:cNvCxnSpPr>
            <a:cxnSpLocks/>
            <a:stCxn id="32" idx="3"/>
            <a:endCxn id="37" idx="1"/>
          </p:cNvCxnSpPr>
          <p:nvPr/>
        </p:nvCxnSpPr>
        <p:spPr>
          <a:xfrm>
            <a:off x="8510738" y="3331101"/>
            <a:ext cx="577935" cy="180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53" name="Straight Arrow Connector 19">
            <a:extLst>
              <a:ext uri="{FF2B5EF4-FFF2-40B4-BE49-F238E27FC236}">
                <a16:creationId xmlns:a16="http://schemas.microsoft.com/office/drawing/2014/main" id="{BC6021ED-C2DC-2331-DCCD-7C13C8805D08}"/>
              </a:ext>
            </a:extLst>
          </p:cNvPr>
          <p:cNvCxnSpPr>
            <a:cxnSpLocks/>
            <a:stCxn id="34" idx="3"/>
            <a:endCxn id="37" idx="1"/>
          </p:cNvCxnSpPr>
          <p:nvPr/>
        </p:nvCxnSpPr>
        <p:spPr>
          <a:xfrm flipV="1">
            <a:off x="8510738" y="3331281"/>
            <a:ext cx="577935" cy="1334133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60374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F935A03-7BA4-24A2-E0CB-117A37471D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1508"/>
            <a:ext cx="5250612" cy="4303992"/>
          </a:xfrm>
        </p:spPr>
        <p:txBody>
          <a:bodyPr vert="horz" lIns="0" tIns="0" rIns="0" bIns="0" rtlCol="0" anchor="t">
            <a:noAutofit/>
          </a:bodyPr>
          <a:lstStyle/>
          <a:p>
            <a:pPr>
              <a:spcAft>
                <a:spcPts val="0"/>
              </a:spcAft>
            </a:pPr>
            <a:r>
              <a:rPr lang="en-US" sz="1600" b="1">
                <a:solidFill>
                  <a:srgbClr val="000000"/>
                </a:solidFill>
                <a:latin typeface="Century Gothic"/>
              </a:rPr>
              <a:t>Questions will be addressed during Q&amp;A periods.</a:t>
            </a:r>
            <a:endParaRPr lang="en-US" sz="1600">
              <a:solidFill>
                <a:srgbClr val="000000"/>
              </a:solidFill>
              <a:latin typeface="Century Gothic"/>
            </a:endParaRPr>
          </a:p>
          <a:p>
            <a:pPr marL="285750" indent="-285750">
              <a:spcAft>
                <a:spcPts val="0"/>
              </a:spcAft>
              <a:buFont typeface="Arial"/>
              <a:buChar char="•"/>
            </a:pPr>
            <a:endParaRPr lang="en-US" sz="1600">
              <a:solidFill>
                <a:srgbClr val="000000"/>
              </a:solidFill>
              <a:latin typeface="Century Gothic"/>
            </a:endParaRPr>
          </a:p>
          <a:p>
            <a:pPr>
              <a:spcAft>
                <a:spcPts val="0"/>
              </a:spcAft>
            </a:pPr>
            <a:r>
              <a:rPr lang="en-US" sz="1600" b="1">
                <a:solidFill>
                  <a:srgbClr val="000000"/>
                </a:solidFill>
                <a:latin typeface="Century Gothic"/>
              </a:rPr>
              <a:t>Please share your name and organization before providing comments to assist with notetaking. </a:t>
            </a:r>
            <a:endParaRPr lang="en-US" sz="1600">
              <a:solidFill>
                <a:srgbClr val="000000"/>
              </a:solidFill>
              <a:latin typeface="Century Gothic"/>
            </a:endParaRPr>
          </a:p>
          <a:p>
            <a:pPr>
              <a:spcAft>
                <a:spcPts val="0"/>
              </a:spcAft>
            </a:pPr>
            <a:endParaRPr lang="en-US" sz="1600">
              <a:solidFill>
                <a:srgbClr val="000000"/>
              </a:solidFill>
              <a:latin typeface="Century Gothic"/>
            </a:endParaRPr>
          </a:p>
          <a:p>
            <a:pPr>
              <a:spcAft>
                <a:spcPts val="0"/>
              </a:spcAft>
            </a:pPr>
            <a:r>
              <a:rPr lang="en-US" sz="1600" b="1">
                <a:solidFill>
                  <a:srgbClr val="000000"/>
                </a:solidFill>
                <a:latin typeface="Century Gothic"/>
              </a:rPr>
              <a:t>Virtual Participants </a:t>
            </a:r>
            <a:endParaRPr lang="en-US" sz="1600">
              <a:solidFill>
                <a:srgbClr val="000000"/>
              </a:solidFill>
              <a:latin typeface="Century Gothic"/>
            </a:endParaRPr>
          </a:p>
          <a:p>
            <a:pPr marL="285750" indent="-285750">
              <a:spcAft>
                <a:spcPts val="0"/>
              </a:spcAft>
              <a:buFont typeface="Arial"/>
              <a:buChar char="•"/>
            </a:pPr>
            <a:r>
              <a:rPr lang="en-US" sz="1600">
                <a:solidFill>
                  <a:srgbClr val="000000"/>
                </a:solidFill>
                <a:latin typeface="Century Gothic"/>
              </a:rPr>
              <a:t>All attendees are muted on entry by default.</a:t>
            </a:r>
          </a:p>
          <a:p>
            <a:pPr marL="285750" indent="-285750">
              <a:spcAft>
                <a:spcPts val="0"/>
              </a:spcAft>
              <a:buFont typeface="Arial"/>
              <a:buChar char="•"/>
            </a:pPr>
            <a:r>
              <a:rPr lang="en-US" sz="1600">
                <a:solidFill>
                  <a:srgbClr val="000000"/>
                </a:solidFill>
                <a:latin typeface="Century Gothic"/>
              </a:rPr>
              <a:t>Please write your questions in the chat.</a:t>
            </a:r>
          </a:p>
          <a:p>
            <a:pPr marL="285750" indent="-285750">
              <a:spcAft>
                <a:spcPts val="0"/>
              </a:spcAft>
              <a:buFont typeface="Arial"/>
              <a:buChar char="•"/>
            </a:pPr>
            <a:r>
              <a:rPr lang="en-US" sz="1600">
                <a:solidFill>
                  <a:srgbClr val="000000"/>
                </a:solidFill>
                <a:latin typeface="Century Gothic"/>
              </a:rPr>
              <a:t>Alternatively, comments or questions can be provided verbally using the “raise hand” function. </a:t>
            </a:r>
          </a:p>
          <a:p>
            <a:pPr marL="742950" lvl="1" indent="-285750">
              <a:spcAft>
                <a:spcPts val="0"/>
              </a:spcAft>
              <a:buFont typeface="Arial,Sans-Serif"/>
              <a:buChar char="•"/>
            </a:pPr>
            <a:r>
              <a:rPr lang="en-US" sz="1600">
                <a:solidFill>
                  <a:srgbClr val="000000"/>
                </a:solidFill>
                <a:latin typeface="Century Gothic"/>
              </a:rPr>
              <a:t>The host will unmute you to ask your question. </a:t>
            </a:r>
          </a:p>
          <a:p>
            <a:pPr marL="742950" lvl="1" indent="-285750">
              <a:spcAft>
                <a:spcPts val="0"/>
              </a:spcAft>
              <a:buFont typeface="Arial,Sans-Serif"/>
              <a:buChar char="•"/>
            </a:pPr>
            <a:r>
              <a:rPr lang="en-US" sz="1600">
                <a:solidFill>
                  <a:srgbClr val="000000"/>
                </a:solidFill>
                <a:latin typeface="Century Gothic"/>
              </a:rPr>
              <a:t>Please lower your hand after asking your question by clicking on “raise hand” again. </a:t>
            </a:r>
          </a:p>
          <a:p>
            <a:pPr marL="285750" indent="-285750">
              <a:spcAft>
                <a:spcPts val="0"/>
              </a:spcAft>
              <a:buFont typeface="Arial"/>
              <a:buChar char="•"/>
            </a:pPr>
            <a:endParaRPr lang="en-US" sz="700">
              <a:solidFill>
                <a:srgbClr val="000000"/>
              </a:solidFill>
              <a:latin typeface="Century Gothic"/>
            </a:endParaRPr>
          </a:p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337D9A-3469-DAC0-0663-3AB4B3A64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ebex Participation Logistic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2A8F9F-1A47-6F92-1249-6DE38A40E0C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390B173-6391-41DD-B68F-04C7E2E107FB}" type="datetime4">
              <a:rPr lang="en-US" smtClean="0"/>
              <a:t>October 23,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24DBD39-10E0-4165-6A36-134DDA748DE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B4158D-1A54-940C-8A8D-553F3DCF9A9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24" name="Picture 23" descr="A screenshot of a webcam&#10;&#10;AI-generated content may be incorrect.">
            <a:extLst>
              <a:ext uri="{FF2B5EF4-FFF2-40B4-BE49-F238E27FC236}">
                <a16:creationId xmlns:a16="http://schemas.microsoft.com/office/drawing/2014/main" id="{CDDA122C-FC1D-BC75-717B-FA24973989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9197" y="1599302"/>
            <a:ext cx="5097493" cy="4450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756529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CB3E03-FB17-BD22-E46B-D5C5CCF0B1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B442575-06CB-BE62-80A2-825D338B67F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2307" y="2171698"/>
            <a:ext cx="7121743" cy="3890328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3B493A6-599F-3EFD-EFD8-E667B23388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BE631BB-39F0-CCA4-40DE-E57E1B3B4C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13B3CB-32C3-135E-D61B-D4738325CF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Overview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1C8E8C8-2258-FE9A-F9B1-A443119AFB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DM High Level Methodology Mod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ED7253-3B37-D23E-92F0-8D5DC6811740}"/>
              </a:ext>
            </a:extLst>
          </p:cNvPr>
          <p:cNvSpPr txBox="1"/>
          <p:nvPr/>
        </p:nvSpPr>
        <p:spPr>
          <a:xfrm>
            <a:off x="2284474" y="2934948"/>
            <a:ext cx="1812897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1">
                <a:solidFill>
                  <a:schemeClr val="accent4"/>
                </a:solidFill>
              </a:rPr>
              <a:t>Corridor Segmentation and Characteristic Assignment (Section 2.1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7B02051-6E0F-FD74-33DF-0D3688EAA564}"/>
              </a:ext>
            </a:extLst>
          </p:cNvPr>
          <p:cNvSpPr txBox="1"/>
          <p:nvPr/>
        </p:nvSpPr>
        <p:spPr>
          <a:xfrm>
            <a:off x="4230655" y="1782901"/>
            <a:ext cx="185447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1">
                <a:solidFill>
                  <a:schemeClr val="accent4"/>
                </a:solidFill>
              </a:rPr>
              <a:t>Corridor Energy Requirement Calculation (Section 2.2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74A4F73-F12B-1828-3834-F4C329B6162F}"/>
              </a:ext>
            </a:extLst>
          </p:cNvPr>
          <p:cNvSpPr txBox="1"/>
          <p:nvPr/>
        </p:nvSpPr>
        <p:spPr>
          <a:xfrm>
            <a:off x="6116638" y="1617700"/>
            <a:ext cx="185447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1">
                <a:solidFill>
                  <a:schemeClr val="accent4"/>
                </a:solidFill>
              </a:rPr>
              <a:t>Integration of Trip Data and Cumulative EV Energy Requirement (Section 2.3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12DC211-89C7-93E6-7636-9835FDB774B3}"/>
              </a:ext>
            </a:extLst>
          </p:cNvPr>
          <p:cNvSpPr txBox="1"/>
          <p:nvPr/>
        </p:nvSpPr>
        <p:spPr>
          <a:xfrm>
            <a:off x="8002621" y="1771588"/>
            <a:ext cx="211181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1">
                <a:solidFill>
                  <a:schemeClr val="accent4"/>
                </a:solidFill>
              </a:rPr>
              <a:t>Integration of Charging Behavior: Where (Section 2.4.1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214C0F6-7DF2-7208-F26E-EB053828616C}"/>
              </a:ext>
            </a:extLst>
          </p:cNvPr>
          <p:cNvSpPr txBox="1"/>
          <p:nvPr/>
        </p:nvSpPr>
        <p:spPr>
          <a:xfrm>
            <a:off x="6661525" y="4486248"/>
            <a:ext cx="211181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1">
                <a:solidFill>
                  <a:schemeClr val="accent4"/>
                </a:solidFill>
              </a:rPr>
              <a:t>Integration of Charging Behavior: When (Section 2.4.2)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BADEBA1-D744-5F17-7F10-43E39468E91A}"/>
              </a:ext>
            </a:extLst>
          </p:cNvPr>
          <p:cNvSpPr/>
          <p:nvPr/>
        </p:nvSpPr>
        <p:spPr>
          <a:xfrm>
            <a:off x="8432164" y="534325"/>
            <a:ext cx="3464561" cy="884767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u="sng"/>
              <a:t>Takeaway:</a:t>
            </a:r>
            <a:br>
              <a:rPr lang="en-US" sz="1400"/>
            </a:br>
            <a:r>
              <a:rPr lang="en-US" sz="1100"/>
              <a:t>CDM identifies corridor segments, then integrates trip data &amp; charging behavior</a:t>
            </a: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404335535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6E35A55-F07F-EC2D-E85B-39E1FF28C0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1F47A3-7188-DB51-A9BC-1529FC52DF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FF6146-67F6-97FD-065C-80C44BB740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Overview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FFD9716-014B-F933-30E3-D9F5E7128D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DM Logic Model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4EDBB16-5E3B-476E-10D8-D3A7D6912013}"/>
              </a:ext>
            </a:extLst>
          </p:cNvPr>
          <p:cNvSpPr/>
          <p:nvPr/>
        </p:nvSpPr>
        <p:spPr>
          <a:xfrm>
            <a:off x="8270239" y="175548"/>
            <a:ext cx="3464561" cy="1251025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u="sng"/>
              <a:t>Takeaway:</a:t>
            </a:r>
            <a:br>
              <a:rPr lang="en-US" sz="1400"/>
            </a:br>
            <a:r>
              <a:rPr lang="en-US" sz="1400"/>
              <a:t>CDM leverages all its inputs (both geospatial and non-geospatial) from the TEPP Modeling I&amp;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DA51199-27E6-6381-F71F-3D359069FE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4144" y="1560261"/>
            <a:ext cx="7267856" cy="47458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0240387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7C1304-4BA5-4E93-18ED-762E20B787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E3E1856-788E-B8A2-BA77-8031FED702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FACFD17-151B-3B04-390F-0662CA2863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AE9131-12B9-238A-81CF-E7D399BEBBC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Corridor Segmentation and Characteristic Assignment </a:t>
            </a:r>
            <a:br>
              <a:rPr lang="en-US"/>
            </a:br>
            <a:r>
              <a:rPr lang="en-US"/>
              <a:t>(Section 2.1)</a:t>
            </a:r>
          </a:p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6B953A1-7305-4695-F883-438F39B288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DM Logic Mod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3846440-72AD-8F50-E77B-5629F7DD58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2072" y="1821617"/>
            <a:ext cx="7267856" cy="474584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895B44F0-74F9-CA38-C4CA-A0BEFFB42555}"/>
              </a:ext>
            </a:extLst>
          </p:cNvPr>
          <p:cNvSpPr/>
          <p:nvPr/>
        </p:nvSpPr>
        <p:spPr>
          <a:xfrm>
            <a:off x="8270239" y="175548"/>
            <a:ext cx="3464561" cy="1251025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u="sng"/>
              <a:t>Takeaway:</a:t>
            </a:r>
            <a:br>
              <a:rPr lang="en-US" sz="1400"/>
            </a:br>
            <a:r>
              <a:rPr lang="en-US" sz="1400"/>
              <a:t>Geospatial data informs key characteristics that will be used for designing priority corridor screening criteria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A21012-D3E9-4594-5C63-2D08266E0EE6}"/>
              </a:ext>
            </a:extLst>
          </p:cNvPr>
          <p:cNvSpPr/>
          <p:nvPr/>
        </p:nvSpPr>
        <p:spPr>
          <a:xfrm>
            <a:off x="3070668" y="1779677"/>
            <a:ext cx="5903610" cy="117725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253698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2673CE-17C6-12EE-8AAB-29C030B587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A83B25-1207-26DE-5801-8ABD51882E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F53EB1B-04E3-E295-0B7F-104543F5E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BE13A0F-76C6-F68F-19A8-A76B546722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Corridor Energy Requirement Calculation </a:t>
            </a:r>
            <a:br>
              <a:rPr lang="en-US"/>
            </a:br>
            <a:r>
              <a:rPr lang="en-US"/>
              <a:t>(Section 2.2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22B2175-F08E-B77F-7CD6-BFFA103534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DM Logic Mod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7B80894-5E74-F10F-AE0E-2B8203DDF5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2072" y="1821617"/>
            <a:ext cx="7267856" cy="474584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86F85DA-AD01-3927-03E3-5FE3F3EB8FF8}"/>
              </a:ext>
            </a:extLst>
          </p:cNvPr>
          <p:cNvSpPr/>
          <p:nvPr/>
        </p:nvSpPr>
        <p:spPr>
          <a:xfrm>
            <a:off x="8270239" y="175548"/>
            <a:ext cx="3464561" cy="1251025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u="sng"/>
              <a:t>Takeaway:</a:t>
            </a:r>
            <a:br>
              <a:rPr lang="en-US" sz="1400"/>
            </a:br>
            <a:r>
              <a:rPr lang="en-US" sz="1400"/>
              <a:t>Calculating energy vehicles expend while traversing a corridor segment is first step in identifying total charging load and port capacity for a corrido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63BE86F-7F03-334C-D74C-FBE2DE74E78B}"/>
              </a:ext>
            </a:extLst>
          </p:cNvPr>
          <p:cNvSpPr/>
          <p:nvPr/>
        </p:nvSpPr>
        <p:spPr>
          <a:xfrm>
            <a:off x="5363592" y="3053408"/>
            <a:ext cx="1464815" cy="108044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487757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F0A91D-F0DA-6DE8-5EBF-9381074FB7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733C318-6F57-16E2-A2C1-511C5073E8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CBC4AC-72B9-B37F-8C67-CC8EA1867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33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412115-C557-FA7E-D168-243F7D14C0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Integration of Trip Data &amp; Cumulative EV Energy Requirement </a:t>
            </a:r>
            <a:br>
              <a:rPr lang="en-US"/>
            </a:br>
            <a:r>
              <a:rPr lang="en-US"/>
              <a:t>(Section 2.3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1214C0-FBFC-FE20-D156-5C6BEBF76B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DM Logic Mod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52E7E58-F834-49FF-9EB2-0AF02C7B7B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2072" y="1821617"/>
            <a:ext cx="7267856" cy="474584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989E0CF-E585-8C4C-6D3C-0E9DD3785451}"/>
              </a:ext>
            </a:extLst>
          </p:cNvPr>
          <p:cNvSpPr/>
          <p:nvPr/>
        </p:nvSpPr>
        <p:spPr>
          <a:xfrm>
            <a:off x="8270239" y="175548"/>
            <a:ext cx="3464561" cy="1251025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u="sng"/>
              <a:t>Takeaway:</a:t>
            </a:r>
            <a:br>
              <a:rPr lang="en-US" sz="1400"/>
            </a:br>
            <a:r>
              <a:rPr lang="en-US" sz="1400"/>
              <a:t>Trip data paired with corridor energy requirements informs EV energy charging needs during a trip through a corridor segmen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C7CE5D3-ED57-E043-E8C7-62FC6B2CA201}"/>
              </a:ext>
            </a:extLst>
          </p:cNvPr>
          <p:cNvSpPr/>
          <p:nvPr/>
        </p:nvSpPr>
        <p:spPr>
          <a:xfrm>
            <a:off x="2295593" y="2925918"/>
            <a:ext cx="2905057" cy="176038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9260A28-6B6E-471A-EAAB-68A64B956DCB}"/>
              </a:ext>
            </a:extLst>
          </p:cNvPr>
          <p:cNvSpPr/>
          <p:nvPr/>
        </p:nvSpPr>
        <p:spPr>
          <a:xfrm>
            <a:off x="5431191" y="4261216"/>
            <a:ext cx="1424867" cy="40686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91774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B56A26-CE31-FBBD-1E11-09ABC0C281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237A030-41B0-D589-D032-3F7039A13B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2EB3C54-46C4-5714-D3CD-7CF80884B3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34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234050-9059-95A9-30EB-DA84C201E66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Integration of Charging Behavior </a:t>
            </a:r>
            <a:br>
              <a:rPr lang="en-US"/>
            </a:br>
            <a:r>
              <a:rPr lang="en-US"/>
              <a:t>(Section 2.4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E5F06AA-1C1C-C5AC-A6AA-C23B590C72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DM Logic Mod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AC650B-B02C-872A-1B05-AE16982FAB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2072" y="1821617"/>
            <a:ext cx="7267856" cy="474584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A45B80C5-87F3-BF41-8B89-C2563F3C6607}"/>
              </a:ext>
            </a:extLst>
          </p:cNvPr>
          <p:cNvSpPr/>
          <p:nvPr/>
        </p:nvSpPr>
        <p:spPr>
          <a:xfrm>
            <a:off x="8270239" y="175548"/>
            <a:ext cx="3464561" cy="1251025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u="sng"/>
              <a:t>Takeaway:</a:t>
            </a:r>
            <a:br>
              <a:rPr lang="en-US" sz="1400"/>
            </a:br>
            <a:r>
              <a:rPr lang="en-US" sz="1400"/>
              <a:t>Charging behavior establishes preferred locations and times of day of EV charging along corridor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928E90-A6F9-E129-5113-878C64D34FA8}"/>
              </a:ext>
            </a:extLst>
          </p:cNvPr>
          <p:cNvSpPr/>
          <p:nvPr/>
        </p:nvSpPr>
        <p:spPr>
          <a:xfrm>
            <a:off x="6906840" y="2644871"/>
            <a:ext cx="2942010" cy="292725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CD9CB95-53DB-3B10-BE29-54BC6CA0E0FD}"/>
              </a:ext>
            </a:extLst>
          </p:cNvPr>
          <p:cNvSpPr/>
          <p:nvPr/>
        </p:nvSpPr>
        <p:spPr>
          <a:xfrm>
            <a:off x="5443873" y="4278924"/>
            <a:ext cx="1424867" cy="40686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191803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28511B1E-9E4E-C77E-9692-E2C9DCA20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5DFBE7-6A0D-F91E-ACD2-5CE214C07D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3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7640A9B-7F20-3DBC-F49B-547150270D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Example CDM outputs using 2023 IEP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C73CD6-A412-EEB9-4CD3-DDEEA31842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-5 &amp; SR 99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EE49A81-A5B4-606C-E09C-F2959B7D1F29}"/>
              </a:ext>
            </a:extLst>
          </p:cNvPr>
          <p:cNvGrpSpPr/>
          <p:nvPr/>
        </p:nvGrpSpPr>
        <p:grpSpPr>
          <a:xfrm>
            <a:off x="979897" y="2064411"/>
            <a:ext cx="10104279" cy="2653571"/>
            <a:chOff x="979897" y="2064411"/>
            <a:chExt cx="10104279" cy="2653571"/>
          </a:xfrm>
        </p:grpSpPr>
        <p:pic>
          <p:nvPicPr>
            <p:cNvPr id="15" name="Picture 14" descr="A map of the united states&#10;&#10;AI-generated content may be incorrect.">
              <a:extLst>
                <a:ext uri="{FF2B5EF4-FFF2-40B4-BE49-F238E27FC236}">
                  <a16:creationId xmlns:a16="http://schemas.microsoft.com/office/drawing/2014/main" id="{BB8ACAE3-9C6E-C068-DD2E-32D00F7DB78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676" b="18280"/>
            <a:stretch/>
          </p:blipFill>
          <p:spPr>
            <a:xfrm>
              <a:off x="8536398" y="2433755"/>
              <a:ext cx="2510247" cy="2275413"/>
            </a:xfrm>
            <a:prstGeom prst="rect">
              <a:avLst/>
            </a:prstGeom>
          </p:spPr>
        </p:pic>
        <p:pic>
          <p:nvPicPr>
            <p:cNvPr id="14" name="Picture 13" descr="A map of the california route&#10;&#10;AI-generated content may be incorrect.">
              <a:extLst>
                <a:ext uri="{FF2B5EF4-FFF2-40B4-BE49-F238E27FC236}">
                  <a16:creationId xmlns:a16="http://schemas.microsoft.com/office/drawing/2014/main" id="{79F3B623-CC73-9633-D0D6-698025FD104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091" b="18438"/>
            <a:stretch/>
          </p:blipFill>
          <p:spPr>
            <a:xfrm>
              <a:off x="6017913" y="2461187"/>
              <a:ext cx="2510247" cy="2256795"/>
            </a:xfrm>
            <a:prstGeom prst="rect">
              <a:avLst/>
            </a:prstGeom>
          </p:spPr>
        </p:pic>
        <p:pic>
          <p:nvPicPr>
            <p:cNvPr id="13" name="Picture 12" descr="A map of the california route&#10;&#10;AI-generated content may be incorrect.">
              <a:extLst>
                <a:ext uri="{FF2B5EF4-FFF2-40B4-BE49-F238E27FC236}">
                  <a16:creationId xmlns:a16="http://schemas.microsoft.com/office/drawing/2014/main" id="{6DE2D509-091D-D9A1-73D4-F15D243FFB4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676" b="18280"/>
            <a:stretch/>
          </p:blipFill>
          <p:spPr>
            <a:xfrm>
              <a:off x="3506291" y="2442569"/>
              <a:ext cx="2510247" cy="2275413"/>
            </a:xfrm>
            <a:prstGeom prst="rect">
              <a:avLst/>
            </a:prstGeom>
          </p:spPr>
        </p:pic>
        <p:pic>
          <p:nvPicPr>
            <p:cNvPr id="3" name="Picture 2" descr="A map of the united states&#10;&#10;AI-generated content may be incorrect.">
              <a:extLst>
                <a:ext uri="{FF2B5EF4-FFF2-40B4-BE49-F238E27FC236}">
                  <a16:creationId xmlns:a16="http://schemas.microsoft.com/office/drawing/2014/main" id="{9C8AEAFA-8DC4-63CE-9E78-A0C8A45FBFD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676" b="18280"/>
            <a:stretch/>
          </p:blipFill>
          <p:spPr>
            <a:xfrm>
              <a:off x="979897" y="2433742"/>
              <a:ext cx="2510261" cy="2275426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4CAC9EB6-C962-3289-68EE-5CBFE63755F1}"/>
                </a:ext>
              </a:extLst>
            </p:cNvPr>
            <p:cNvSpPr txBox="1"/>
            <p:nvPr/>
          </p:nvSpPr>
          <p:spPr>
            <a:xfrm>
              <a:off x="993058" y="2064411"/>
              <a:ext cx="1219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/>
                <a:t>2025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F9E24B44-C768-DF2B-017C-F2CC6193D1F4}"/>
                </a:ext>
              </a:extLst>
            </p:cNvPr>
            <p:cNvSpPr txBox="1"/>
            <p:nvPr/>
          </p:nvSpPr>
          <p:spPr>
            <a:xfrm>
              <a:off x="3503305" y="2064411"/>
              <a:ext cx="1219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/>
                <a:t>2030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ECDD659-BB7B-89C9-58A8-9A6E54BBDAAD}"/>
                </a:ext>
              </a:extLst>
            </p:cNvPr>
            <p:cNvSpPr txBox="1"/>
            <p:nvPr/>
          </p:nvSpPr>
          <p:spPr>
            <a:xfrm>
              <a:off x="6013552" y="2064411"/>
              <a:ext cx="1219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/>
                <a:t>2035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061B82B-715C-C385-26FB-3099AD325214}"/>
                </a:ext>
              </a:extLst>
            </p:cNvPr>
            <p:cNvSpPr txBox="1"/>
            <p:nvPr/>
          </p:nvSpPr>
          <p:spPr>
            <a:xfrm>
              <a:off x="8523799" y="2064411"/>
              <a:ext cx="1219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/>
                <a:t>2040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727D1F61-6D44-773E-954B-E0BBD54F79DA}"/>
                </a:ext>
              </a:extLst>
            </p:cNvPr>
            <p:cNvGrpSpPr/>
            <p:nvPr/>
          </p:nvGrpSpPr>
          <p:grpSpPr>
            <a:xfrm>
              <a:off x="9461262" y="2444433"/>
              <a:ext cx="1622914" cy="717283"/>
              <a:chOff x="4680157" y="3500284"/>
              <a:chExt cx="3038762" cy="835743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A63D44C7-1428-814A-F3C3-4B249504C899}"/>
                  </a:ext>
                </a:extLst>
              </p:cNvPr>
              <p:cNvSpPr/>
              <p:nvPr/>
            </p:nvSpPr>
            <p:spPr>
              <a:xfrm>
                <a:off x="4739148" y="3500284"/>
                <a:ext cx="2841523" cy="835743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0A0A0A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en-US" sz="1100">
                    <a:solidFill>
                      <a:schemeClr val="tx1"/>
                    </a:solidFill>
                  </a:rPr>
                  <a:t>Average Daily Peak (kW)</a:t>
                </a:r>
              </a:p>
            </p:txBody>
          </p:sp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BC0F539A-3212-2AF2-5CA6-C3473CC9E2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886156" y="4061323"/>
                <a:ext cx="2527367" cy="199006"/>
              </a:xfrm>
              <a:prstGeom prst="rect">
                <a:avLst/>
              </a:prstGeom>
            </p:spPr>
          </p:pic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A1CA3240-082F-24A0-C879-AF98FA110090}"/>
                  </a:ext>
                </a:extLst>
              </p:cNvPr>
              <p:cNvSpPr txBox="1"/>
              <p:nvPr/>
            </p:nvSpPr>
            <p:spPr>
              <a:xfrm>
                <a:off x="4680157" y="3842920"/>
                <a:ext cx="957537" cy="2868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sz="1000"/>
                  <a:t>0 kW</a:t>
                </a: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EC9F0482-06A7-FAE7-97F1-06588B00434E}"/>
                  </a:ext>
                </a:extLst>
              </p:cNvPr>
              <p:cNvSpPr txBox="1"/>
              <p:nvPr/>
            </p:nvSpPr>
            <p:spPr>
              <a:xfrm>
                <a:off x="6503864" y="3815559"/>
                <a:ext cx="1215055" cy="2868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sz="1000"/>
                  <a:t>400 kW</a:t>
                </a: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7578383B-7B96-3346-EAB8-21E3FE7392BC}"/>
                </a:ext>
              </a:extLst>
            </p:cNvPr>
            <p:cNvGrpSpPr/>
            <p:nvPr/>
          </p:nvGrpSpPr>
          <p:grpSpPr>
            <a:xfrm>
              <a:off x="6967539" y="2442570"/>
              <a:ext cx="1622914" cy="717283"/>
              <a:chOff x="4680157" y="3500284"/>
              <a:chExt cx="3038762" cy="835743"/>
            </a:xfrm>
          </p:grpSpPr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6BF76777-7E03-7A2E-BBE8-71681572F290}"/>
                  </a:ext>
                </a:extLst>
              </p:cNvPr>
              <p:cNvSpPr/>
              <p:nvPr/>
            </p:nvSpPr>
            <p:spPr>
              <a:xfrm>
                <a:off x="4739148" y="3500284"/>
                <a:ext cx="2841523" cy="835743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0A0A0A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en-US" sz="1100">
                    <a:solidFill>
                      <a:schemeClr val="tx1"/>
                    </a:solidFill>
                  </a:rPr>
                  <a:t>Average Daily Peak (kW)</a:t>
                </a:r>
              </a:p>
            </p:txBody>
          </p:sp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DD5A2AB9-7C55-1724-4114-16828929CB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886156" y="4061323"/>
                <a:ext cx="2527367" cy="199006"/>
              </a:xfrm>
              <a:prstGeom prst="rect">
                <a:avLst/>
              </a:prstGeom>
            </p:spPr>
          </p:pic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E3099E30-FF51-DDE2-6A04-8F44E8C225B4}"/>
                  </a:ext>
                </a:extLst>
              </p:cNvPr>
              <p:cNvSpPr txBox="1"/>
              <p:nvPr/>
            </p:nvSpPr>
            <p:spPr>
              <a:xfrm>
                <a:off x="4680157" y="3842920"/>
                <a:ext cx="957537" cy="2868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sz="1000"/>
                  <a:t>0 kW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7EDBB183-A461-441C-8F60-7C586B462449}"/>
                  </a:ext>
                </a:extLst>
              </p:cNvPr>
              <p:cNvSpPr txBox="1"/>
              <p:nvPr/>
            </p:nvSpPr>
            <p:spPr>
              <a:xfrm>
                <a:off x="6503864" y="3815559"/>
                <a:ext cx="1215055" cy="2868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sz="1000"/>
                  <a:t>250 kW</a:t>
                </a: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008E0EB9-B187-DD93-CEEF-263493E770F5}"/>
                </a:ext>
              </a:extLst>
            </p:cNvPr>
            <p:cNvGrpSpPr/>
            <p:nvPr/>
          </p:nvGrpSpPr>
          <p:grpSpPr>
            <a:xfrm>
              <a:off x="4461167" y="2442569"/>
              <a:ext cx="1622914" cy="717283"/>
              <a:chOff x="4680157" y="3500284"/>
              <a:chExt cx="3038762" cy="835743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E27BA29E-BFCA-6055-F290-38358BEBA4E6}"/>
                  </a:ext>
                </a:extLst>
              </p:cNvPr>
              <p:cNvSpPr/>
              <p:nvPr/>
            </p:nvSpPr>
            <p:spPr>
              <a:xfrm>
                <a:off x="4739148" y="3500284"/>
                <a:ext cx="2841523" cy="835743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0A0A0A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en-US" sz="1100">
                    <a:solidFill>
                      <a:schemeClr val="tx1"/>
                    </a:solidFill>
                  </a:rPr>
                  <a:t>Average Daily Peak (kW)</a:t>
                </a:r>
              </a:p>
            </p:txBody>
          </p:sp>
          <p:pic>
            <p:nvPicPr>
              <p:cNvPr id="38" name="Picture 37">
                <a:extLst>
                  <a:ext uri="{FF2B5EF4-FFF2-40B4-BE49-F238E27FC236}">
                    <a16:creationId xmlns:a16="http://schemas.microsoft.com/office/drawing/2014/main" id="{D214BCEA-4593-E4C8-E049-4A533A5940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886156" y="4061323"/>
                <a:ext cx="2527367" cy="199006"/>
              </a:xfrm>
              <a:prstGeom prst="rect">
                <a:avLst/>
              </a:prstGeom>
            </p:spPr>
          </p:pic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13DD6A95-9548-066C-FBFF-A4D10FB40321}"/>
                  </a:ext>
                </a:extLst>
              </p:cNvPr>
              <p:cNvSpPr txBox="1"/>
              <p:nvPr/>
            </p:nvSpPr>
            <p:spPr>
              <a:xfrm>
                <a:off x="4680157" y="3842920"/>
                <a:ext cx="957537" cy="2868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sz="1000"/>
                  <a:t>0 kW</a:t>
                </a: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FE27BC93-3C32-5267-0D1E-830E0FCD6ECF}"/>
                  </a:ext>
                </a:extLst>
              </p:cNvPr>
              <p:cNvSpPr txBox="1"/>
              <p:nvPr/>
            </p:nvSpPr>
            <p:spPr>
              <a:xfrm>
                <a:off x="6503864" y="3815559"/>
                <a:ext cx="1215055" cy="2868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sz="1000"/>
                  <a:t>100 kW</a:t>
                </a: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E2A58673-B862-F9C4-0D5E-6CEDAAB58165}"/>
                </a:ext>
              </a:extLst>
            </p:cNvPr>
            <p:cNvGrpSpPr/>
            <p:nvPr/>
          </p:nvGrpSpPr>
          <p:grpSpPr>
            <a:xfrm>
              <a:off x="1954795" y="2442569"/>
              <a:ext cx="1622914" cy="717283"/>
              <a:chOff x="4680157" y="3500284"/>
              <a:chExt cx="3038762" cy="835743"/>
            </a:xfrm>
          </p:grpSpPr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B93516C7-85BD-2F7E-09FF-2A035F1AAD0C}"/>
                  </a:ext>
                </a:extLst>
              </p:cNvPr>
              <p:cNvSpPr/>
              <p:nvPr/>
            </p:nvSpPr>
            <p:spPr>
              <a:xfrm>
                <a:off x="4739148" y="3500284"/>
                <a:ext cx="2841523" cy="835743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0A0A0A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en-US" sz="1100">
                    <a:solidFill>
                      <a:schemeClr val="tx1"/>
                    </a:solidFill>
                  </a:rPr>
                  <a:t>Average Daily Peak (kW)</a:t>
                </a:r>
              </a:p>
            </p:txBody>
          </p:sp>
          <p:pic>
            <p:nvPicPr>
              <p:cNvPr id="43" name="Picture 42">
                <a:extLst>
                  <a:ext uri="{FF2B5EF4-FFF2-40B4-BE49-F238E27FC236}">
                    <a16:creationId xmlns:a16="http://schemas.microsoft.com/office/drawing/2014/main" id="{44D1D842-D2E3-96D9-C6A4-DD3C98E4964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886156" y="4061323"/>
                <a:ext cx="2527367" cy="199006"/>
              </a:xfrm>
              <a:prstGeom prst="rect">
                <a:avLst/>
              </a:prstGeom>
            </p:spPr>
          </p:pic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7CFD6282-9E0A-4277-13BC-5E0C65797AC1}"/>
                  </a:ext>
                </a:extLst>
              </p:cNvPr>
              <p:cNvSpPr txBox="1"/>
              <p:nvPr/>
            </p:nvSpPr>
            <p:spPr>
              <a:xfrm>
                <a:off x="4680157" y="3842920"/>
                <a:ext cx="957537" cy="2868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sz="1000"/>
                  <a:t>0 kW</a:t>
                </a: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E8C7DF80-344B-D3BD-AB0A-D19B9C898282}"/>
                  </a:ext>
                </a:extLst>
              </p:cNvPr>
              <p:cNvSpPr txBox="1"/>
              <p:nvPr/>
            </p:nvSpPr>
            <p:spPr>
              <a:xfrm>
                <a:off x="6503864" y="3815559"/>
                <a:ext cx="1215055" cy="2868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sz="1000"/>
                  <a:t>30 kW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3890135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918862-54C0-C9AA-32B6-1AB40D2BD7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A map of the united states&#10;&#10;AI-generated content may be incorrect.">
            <a:extLst>
              <a:ext uri="{FF2B5EF4-FFF2-40B4-BE49-F238E27FC236}">
                <a16:creationId xmlns:a16="http://schemas.microsoft.com/office/drawing/2014/main" id="{229F7CA7-311F-E853-A22F-7F2C19391C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76" b="18280"/>
          <a:stretch/>
        </p:blipFill>
        <p:spPr>
          <a:xfrm>
            <a:off x="8529315" y="2442582"/>
            <a:ext cx="2510247" cy="2275413"/>
          </a:xfrm>
          <a:prstGeom prst="rect">
            <a:avLst/>
          </a:prstGeom>
        </p:spPr>
      </p:pic>
      <p:pic>
        <p:nvPicPr>
          <p:cNvPr id="17" name="Picture 16" descr="A map of the united states&#10;&#10;AI-generated content may be incorrect.">
            <a:extLst>
              <a:ext uri="{FF2B5EF4-FFF2-40B4-BE49-F238E27FC236}">
                <a16:creationId xmlns:a16="http://schemas.microsoft.com/office/drawing/2014/main" id="{4CECAEE0-EAC3-15C3-8461-3DA6056B1E8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76" b="18280"/>
          <a:stretch/>
        </p:blipFill>
        <p:spPr>
          <a:xfrm>
            <a:off x="6026454" y="2442582"/>
            <a:ext cx="2510247" cy="2275413"/>
          </a:xfrm>
          <a:prstGeom prst="rect">
            <a:avLst/>
          </a:prstGeom>
        </p:spPr>
      </p:pic>
      <p:pic>
        <p:nvPicPr>
          <p:cNvPr id="16" name="Picture 15" descr="A map of the united states&#10;&#10;AI-generated content may be incorrect.">
            <a:extLst>
              <a:ext uri="{FF2B5EF4-FFF2-40B4-BE49-F238E27FC236}">
                <a16:creationId xmlns:a16="http://schemas.microsoft.com/office/drawing/2014/main" id="{11570592-D4C0-8CEC-49D2-5EECA3F17B5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76" b="18280"/>
          <a:stretch/>
        </p:blipFill>
        <p:spPr>
          <a:xfrm>
            <a:off x="3533425" y="2433755"/>
            <a:ext cx="2510247" cy="2275413"/>
          </a:xfrm>
          <a:prstGeom prst="rect">
            <a:avLst/>
          </a:prstGeom>
        </p:spPr>
      </p:pic>
      <p:pic>
        <p:nvPicPr>
          <p:cNvPr id="6" name="Picture 5" descr="A map of the united states&#10;&#10;AI-generated content may be incorrect.">
            <a:extLst>
              <a:ext uri="{FF2B5EF4-FFF2-40B4-BE49-F238E27FC236}">
                <a16:creationId xmlns:a16="http://schemas.microsoft.com/office/drawing/2014/main" id="{3B83D560-29ED-8D5E-43EB-D907878DA2F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77" b="18566"/>
          <a:stretch/>
        </p:blipFill>
        <p:spPr>
          <a:xfrm>
            <a:off x="1000183" y="2428731"/>
            <a:ext cx="2526117" cy="2280437"/>
          </a:xfrm>
          <a:prstGeom prst="rect">
            <a:avLst/>
          </a:prstGeom>
        </p:spPr>
      </p:pic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2AAC6804-AEFD-2461-3D05-FB76E927A4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FEA854-EAE4-533A-C91B-753455BFC8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36</a:t>
            </a:fld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124C26C-5590-B96C-1AAF-DF989A45B6A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Example CDM outputs using 2023 IEP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2B4EB4-EF53-6574-EF7E-CA73047524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-10, I-15, I-4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7236D6-F0C9-057E-DF4F-8FF2E5C06946}"/>
              </a:ext>
            </a:extLst>
          </p:cNvPr>
          <p:cNvSpPr txBox="1"/>
          <p:nvPr/>
        </p:nvSpPr>
        <p:spPr>
          <a:xfrm>
            <a:off x="993058" y="2064411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/>
              <a:t>202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2E76D7C-A1AC-0039-7547-661BB427FDF6}"/>
              </a:ext>
            </a:extLst>
          </p:cNvPr>
          <p:cNvSpPr txBox="1"/>
          <p:nvPr/>
        </p:nvSpPr>
        <p:spPr>
          <a:xfrm>
            <a:off x="3503305" y="2064411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/>
              <a:t>2030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4623195-776F-0AEE-EE36-D95025874E1C}"/>
              </a:ext>
            </a:extLst>
          </p:cNvPr>
          <p:cNvSpPr txBox="1"/>
          <p:nvPr/>
        </p:nvSpPr>
        <p:spPr>
          <a:xfrm>
            <a:off x="6013552" y="2064411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/>
              <a:t>203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06745F3-29E7-1EA4-E7AC-2C64E5856299}"/>
              </a:ext>
            </a:extLst>
          </p:cNvPr>
          <p:cNvSpPr txBox="1"/>
          <p:nvPr/>
        </p:nvSpPr>
        <p:spPr>
          <a:xfrm>
            <a:off x="8523799" y="2064411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/>
              <a:t>2040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717C108-8A3C-1DDA-7CD5-A5617F7352F0}"/>
              </a:ext>
            </a:extLst>
          </p:cNvPr>
          <p:cNvGrpSpPr/>
          <p:nvPr/>
        </p:nvGrpSpPr>
        <p:grpSpPr>
          <a:xfrm>
            <a:off x="9461262" y="2444433"/>
            <a:ext cx="1622914" cy="717283"/>
            <a:chOff x="4680157" y="3500284"/>
            <a:chExt cx="3038762" cy="835743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0B6E6CF-A924-95A7-83FB-C5B0F3504A08}"/>
                </a:ext>
              </a:extLst>
            </p:cNvPr>
            <p:cNvSpPr/>
            <p:nvPr/>
          </p:nvSpPr>
          <p:spPr>
            <a:xfrm>
              <a:off x="4739148" y="3500284"/>
              <a:ext cx="2841523" cy="8357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A0A0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>
                  <a:solidFill>
                    <a:schemeClr val="tx1"/>
                  </a:solidFill>
                </a:rPr>
                <a:t>Average Daily Peak (kW)</a:t>
              </a: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E298431F-43A8-2869-9CFC-13980EE1671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86156" y="4061323"/>
              <a:ext cx="2527367" cy="199006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5EE0187-321E-38BC-0212-4134ED60B2B0}"/>
                </a:ext>
              </a:extLst>
            </p:cNvPr>
            <p:cNvSpPr txBox="1"/>
            <p:nvPr/>
          </p:nvSpPr>
          <p:spPr>
            <a:xfrm>
              <a:off x="4680157" y="3842920"/>
              <a:ext cx="957537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0 kW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F40960F-01E2-3C20-D478-E87FFB25BF78}"/>
                </a:ext>
              </a:extLst>
            </p:cNvPr>
            <p:cNvSpPr txBox="1"/>
            <p:nvPr/>
          </p:nvSpPr>
          <p:spPr>
            <a:xfrm>
              <a:off x="6503864" y="3815559"/>
              <a:ext cx="1215055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700 kW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CF7800A-A7A8-81F4-D076-10AD67541ACF}"/>
              </a:ext>
            </a:extLst>
          </p:cNvPr>
          <p:cNvGrpSpPr/>
          <p:nvPr/>
        </p:nvGrpSpPr>
        <p:grpSpPr>
          <a:xfrm>
            <a:off x="6967539" y="2442570"/>
            <a:ext cx="1622914" cy="717283"/>
            <a:chOff x="4680157" y="3500284"/>
            <a:chExt cx="3038762" cy="835743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5176B1FF-CE9E-8785-CFAA-C2B4869F48D3}"/>
                </a:ext>
              </a:extLst>
            </p:cNvPr>
            <p:cNvSpPr/>
            <p:nvPr/>
          </p:nvSpPr>
          <p:spPr>
            <a:xfrm>
              <a:off x="4739148" y="3500284"/>
              <a:ext cx="2841523" cy="8357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A0A0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>
                  <a:solidFill>
                    <a:schemeClr val="tx1"/>
                  </a:solidFill>
                </a:rPr>
                <a:t>Average Daily Peak (kW)</a:t>
              </a: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2F1307B7-0C6D-0192-86B5-DB650E46903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86156" y="4061323"/>
              <a:ext cx="2527367" cy="199006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0BF3ECD-8C94-4C6B-0D18-F8B80BFFFC69}"/>
                </a:ext>
              </a:extLst>
            </p:cNvPr>
            <p:cNvSpPr txBox="1"/>
            <p:nvPr/>
          </p:nvSpPr>
          <p:spPr>
            <a:xfrm>
              <a:off x="4680157" y="3842920"/>
              <a:ext cx="957537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0 kW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43934BBB-B56E-7262-D232-FCAD349630BA}"/>
                </a:ext>
              </a:extLst>
            </p:cNvPr>
            <p:cNvSpPr txBox="1"/>
            <p:nvPr/>
          </p:nvSpPr>
          <p:spPr>
            <a:xfrm>
              <a:off x="6503864" y="3815559"/>
              <a:ext cx="1215055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400 kW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C6EC824-960C-2390-BAA0-8C676506D0DD}"/>
              </a:ext>
            </a:extLst>
          </p:cNvPr>
          <p:cNvGrpSpPr/>
          <p:nvPr/>
        </p:nvGrpSpPr>
        <p:grpSpPr>
          <a:xfrm>
            <a:off x="4461167" y="2442569"/>
            <a:ext cx="1622914" cy="717283"/>
            <a:chOff x="4680157" y="3500284"/>
            <a:chExt cx="3038762" cy="835743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97F322FD-BD34-3D83-5166-35AFE2759631}"/>
                </a:ext>
              </a:extLst>
            </p:cNvPr>
            <p:cNvSpPr/>
            <p:nvPr/>
          </p:nvSpPr>
          <p:spPr>
            <a:xfrm>
              <a:off x="4739148" y="3500284"/>
              <a:ext cx="2841523" cy="8357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A0A0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>
                  <a:solidFill>
                    <a:schemeClr val="tx1"/>
                  </a:solidFill>
                </a:rPr>
                <a:t>Average Daily Peak (kW)</a:t>
              </a: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3D077ABD-8A79-D588-20FE-9BCAABED582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86156" y="4061323"/>
              <a:ext cx="2527367" cy="199006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9F29F275-C08E-7373-594D-2FD7BDC99C2E}"/>
                </a:ext>
              </a:extLst>
            </p:cNvPr>
            <p:cNvSpPr txBox="1"/>
            <p:nvPr/>
          </p:nvSpPr>
          <p:spPr>
            <a:xfrm>
              <a:off x="4680157" y="3842920"/>
              <a:ext cx="957537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0 kW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BDD36C2-82D0-3009-ACE4-96BD93576EDB}"/>
                </a:ext>
              </a:extLst>
            </p:cNvPr>
            <p:cNvSpPr txBox="1"/>
            <p:nvPr/>
          </p:nvSpPr>
          <p:spPr>
            <a:xfrm>
              <a:off x="6503864" y="3815559"/>
              <a:ext cx="1215055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65 kW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3B7DF3DD-DEE5-CEB7-9E90-57A001560C8E}"/>
              </a:ext>
            </a:extLst>
          </p:cNvPr>
          <p:cNvGrpSpPr/>
          <p:nvPr/>
        </p:nvGrpSpPr>
        <p:grpSpPr>
          <a:xfrm>
            <a:off x="1954795" y="2442569"/>
            <a:ext cx="1622914" cy="717283"/>
            <a:chOff x="4680157" y="3500284"/>
            <a:chExt cx="3038762" cy="835743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21AFC2DF-D7AC-62B0-DB90-AED8EB9BBD6B}"/>
                </a:ext>
              </a:extLst>
            </p:cNvPr>
            <p:cNvSpPr/>
            <p:nvPr/>
          </p:nvSpPr>
          <p:spPr>
            <a:xfrm>
              <a:off x="4739148" y="3500284"/>
              <a:ext cx="2841523" cy="8357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A0A0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>
                  <a:solidFill>
                    <a:schemeClr val="tx1"/>
                  </a:solidFill>
                </a:rPr>
                <a:t>Average Daily Peak (kW)</a:t>
              </a:r>
            </a:p>
          </p:txBody>
        </p:sp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5584A364-D5A1-BED3-0063-8C0B67EA5B9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86156" y="4061323"/>
              <a:ext cx="2527367" cy="199006"/>
            </a:xfrm>
            <a:prstGeom prst="rect">
              <a:avLst/>
            </a:prstGeom>
          </p:spPr>
        </p:pic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8A304635-C01C-D557-E76E-98BD882FF4ED}"/>
                </a:ext>
              </a:extLst>
            </p:cNvPr>
            <p:cNvSpPr txBox="1"/>
            <p:nvPr/>
          </p:nvSpPr>
          <p:spPr>
            <a:xfrm>
              <a:off x="4680157" y="3842920"/>
              <a:ext cx="957537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0 kW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D5F26DAA-4EC9-2B57-5AA0-DD93BDBC7441}"/>
                </a:ext>
              </a:extLst>
            </p:cNvPr>
            <p:cNvSpPr txBox="1"/>
            <p:nvPr/>
          </p:nvSpPr>
          <p:spPr>
            <a:xfrm>
              <a:off x="6503864" y="3815559"/>
              <a:ext cx="1215055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20 k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4702356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90EA4D-243B-FA43-9066-7927D4131D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A map of the united states&#10;&#10;AI-generated content may be incorrect.">
            <a:extLst>
              <a:ext uri="{FF2B5EF4-FFF2-40B4-BE49-F238E27FC236}">
                <a16:creationId xmlns:a16="http://schemas.microsoft.com/office/drawing/2014/main" id="{A2C52A27-6A06-CDCA-AC7F-05726FF1AE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76" b="18280"/>
          <a:stretch/>
        </p:blipFill>
        <p:spPr>
          <a:xfrm>
            <a:off x="8575045" y="2427239"/>
            <a:ext cx="2520566" cy="2284766"/>
          </a:xfrm>
          <a:prstGeom prst="rect">
            <a:avLst/>
          </a:prstGeom>
        </p:spPr>
      </p:pic>
      <p:pic>
        <p:nvPicPr>
          <p:cNvPr id="17" name="Picture 16" descr="A map of the united states&#10;&#10;AI-generated content may be incorrect.">
            <a:extLst>
              <a:ext uri="{FF2B5EF4-FFF2-40B4-BE49-F238E27FC236}">
                <a16:creationId xmlns:a16="http://schemas.microsoft.com/office/drawing/2014/main" id="{C5E3ABD1-4318-372B-15AB-56BE2B4650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76" b="18280"/>
          <a:stretch/>
        </p:blipFill>
        <p:spPr>
          <a:xfrm>
            <a:off x="6043180" y="2426760"/>
            <a:ext cx="2510247" cy="2275413"/>
          </a:xfrm>
          <a:prstGeom prst="rect">
            <a:avLst/>
          </a:prstGeom>
        </p:spPr>
      </p:pic>
      <p:pic>
        <p:nvPicPr>
          <p:cNvPr id="16" name="Picture 15" descr="A map of the united states&#10;&#10;AI-generated content may be incorrect.">
            <a:extLst>
              <a:ext uri="{FF2B5EF4-FFF2-40B4-BE49-F238E27FC236}">
                <a16:creationId xmlns:a16="http://schemas.microsoft.com/office/drawing/2014/main" id="{01504D2E-A94F-EE5C-5F7C-757B94D26CC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76" b="18423"/>
          <a:stretch/>
        </p:blipFill>
        <p:spPr>
          <a:xfrm>
            <a:off x="3522615" y="2431405"/>
            <a:ext cx="2510247" cy="2270768"/>
          </a:xfrm>
          <a:prstGeom prst="rect">
            <a:avLst/>
          </a:prstGeom>
        </p:spPr>
      </p:pic>
      <p:pic>
        <p:nvPicPr>
          <p:cNvPr id="13" name="Picture 12" descr="A map of the united states&#10;&#10;AI-generated content may be incorrect.">
            <a:extLst>
              <a:ext uri="{FF2B5EF4-FFF2-40B4-BE49-F238E27FC236}">
                <a16:creationId xmlns:a16="http://schemas.microsoft.com/office/drawing/2014/main" id="{72237301-59A1-B88C-10FD-95F022E127A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76" b="18280"/>
          <a:stretch/>
        </p:blipFill>
        <p:spPr>
          <a:xfrm>
            <a:off x="1002016" y="2437782"/>
            <a:ext cx="2520565" cy="2284766"/>
          </a:xfrm>
          <a:prstGeom prst="rect">
            <a:avLst/>
          </a:prstGeom>
        </p:spPr>
      </p:pic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A22045BD-EBFE-8FB6-4B23-DFF6EF6648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CEF381-9CFD-20E7-EE95-0E829F14BB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37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AD05C7D-E0C7-3BFB-F7D5-91BDBB8CD1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Example CDM outputs using 2023 IEP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A9C763-6B5D-DAD4-E693-F3491F6C71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-8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9E0ECA-1D65-6AB5-5D9D-B5CB4CDF7FEA}"/>
              </a:ext>
            </a:extLst>
          </p:cNvPr>
          <p:cNvSpPr txBox="1"/>
          <p:nvPr/>
        </p:nvSpPr>
        <p:spPr>
          <a:xfrm>
            <a:off x="993058" y="2064411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/>
              <a:t>202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5A1CB5E-58EE-5F7D-4315-E9651CDB1A96}"/>
              </a:ext>
            </a:extLst>
          </p:cNvPr>
          <p:cNvSpPr txBox="1"/>
          <p:nvPr/>
        </p:nvSpPr>
        <p:spPr>
          <a:xfrm>
            <a:off x="3503305" y="2064411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/>
              <a:t>2030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D4BE2E3-511A-3AB9-8988-74CB9CF2BF0B}"/>
              </a:ext>
            </a:extLst>
          </p:cNvPr>
          <p:cNvSpPr txBox="1"/>
          <p:nvPr/>
        </p:nvSpPr>
        <p:spPr>
          <a:xfrm>
            <a:off x="6013552" y="2064411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/>
              <a:t>203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4DF4985-0C02-702D-4ECC-89459CAAF6CE}"/>
              </a:ext>
            </a:extLst>
          </p:cNvPr>
          <p:cNvSpPr txBox="1"/>
          <p:nvPr/>
        </p:nvSpPr>
        <p:spPr>
          <a:xfrm>
            <a:off x="8523799" y="2064411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/>
              <a:t>2040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61242F6-B1F2-B4C9-454B-4BB6F7BFCEB7}"/>
              </a:ext>
            </a:extLst>
          </p:cNvPr>
          <p:cNvGrpSpPr/>
          <p:nvPr/>
        </p:nvGrpSpPr>
        <p:grpSpPr>
          <a:xfrm>
            <a:off x="9461262" y="2444433"/>
            <a:ext cx="1622914" cy="717283"/>
            <a:chOff x="4680157" y="3500284"/>
            <a:chExt cx="3038762" cy="835743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643C674-D98A-0FD5-D680-CEEFE9FF6F3C}"/>
                </a:ext>
              </a:extLst>
            </p:cNvPr>
            <p:cNvSpPr/>
            <p:nvPr/>
          </p:nvSpPr>
          <p:spPr>
            <a:xfrm>
              <a:off x="4739148" y="3500284"/>
              <a:ext cx="2841523" cy="8357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A0A0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>
                  <a:solidFill>
                    <a:schemeClr val="tx1"/>
                  </a:solidFill>
                </a:rPr>
                <a:t>Average Daily Peak (kW)</a:t>
              </a: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39065380-58CF-B8D9-8E1E-CA90603207C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86156" y="4061323"/>
              <a:ext cx="2527367" cy="199006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C8FFA7C-B51B-34AB-2552-3935B017540B}"/>
                </a:ext>
              </a:extLst>
            </p:cNvPr>
            <p:cNvSpPr txBox="1"/>
            <p:nvPr/>
          </p:nvSpPr>
          <p:spPr>
            <a:xfrm>
              <a:off x="4680157" y="3842920"/>
              <a:ext cx="957537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0 kW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43C3642-8EA9-2D86-20A5-69964AA8C7BB}"/>
                </a:ext>
              </a:extLst>
            </p:cNvPr>
            <p:cNvSpPr txBox="1"/>
            <p:nvPr/>
          </p:nvSpPr>
          <p:spPr>
            <a:xfrm>
              <a:off x="6503864" y="3815559"/>
              <a:ext cx="1215055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600 kW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661DF38-F85F-9FDE-547F-D979DFDA2597}"/>
              </a:ext>
            </a:extLst>
          </p:cNvPr>
          <p:cNvGrpSpPr/>
          <p:nvPr/>
        </p:nvGrpSpPr>
        <p:grpSpPr>
          <a:xfrm>
            <a:off x="6967539" y="2442570"/>
            <a:ext cx="1622914" cy="717283"/>
            <a:chOff x="4680157" y="3500284"/>
            <a:chExt cx="3038762" cy="835743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3137AA2-3549-A36E-CBCA-87BAEEB56E07}"/>
                </a:ext>
              </a:extLst>
            </p:cNvPr>
            <p:cNvSpPr/>
            <p:nvPr/>
          </p:nvSpPr>
          <p:spPr>
            <a:xfrm>
              <a:off x="4739148" y="3500284"/>
              <a:ext cx="2841523" cy="8357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A0A0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>
                  <a:solidFill>
                    <a:schemeClr val="tx1"/>
                  </a:solidFill>
                </a:rPr>
                <a:t>Average Daily Peak (kW)</a:t>
              </a: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C5A35152-3D4B-BD01-E9BE-B3BFD0F267E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86156" y="4061323"/>
              <a:ext cx="2527367" cy="199006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A684E12D-30F6-4839-2730-DAB3315675A1}"/>
                </a:ext>
              </a:extLst>
            </p:cNvPr>
            <p:cNvSpPr txBox="1"/>
            <p:nvPr/>
          </p:nvSpPr>
          <p:spPr>
            <a:xfrm>
              <a:off x="4680157" y="3842920"/>
              <a:ext cx="957537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0 kW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20547678-F96A-94A5-A822-2DF05FD32B31}"/>
                </a:ext>
              </a:extLst>
            </p:cNvPr>
            <p:cNvSpPr txBox="1"/>
            <p:nvPr/>
          </p:nvSpPr>
          <p:spPr>
            <a:xfrm>
              <a:off x="6503864" y="3815559"/>
              <a:ext cx="1215055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350 kW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9921BCB-1BB7-1286-93EE-A78668984FC5}"/>
              </a:ext>
            </a:extLst>
          </p:cNvPr>
          <p:cNvGrpSpPr/>
          <p:nvPr/>
        </p:nvGrpSpPr>
        <p:grpSpPr>
          <a:xfrm>
            <a:off x="4461167" y="2442569"/>
            <a:ext cx="1622914" cy="717283"/>
            <a:chOff x="4680157" y="3500284"/>
            <a:chExt cx="3038762" cy="835743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A62C7B5D-7380-3AF4-5275-F644E63BDFEA}"/>
                </a:ext>
              </a:extLst>
            </p:cNvPr>
            <p:cNvSpPr/>
            <p:nvPr/>
          </p:nvSpPr>
          <p:spPr>
            <a:xfrm>
              <a:off x="4739148" y="3500284"/>
              <a:ext cx="2841523" cy="8357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A0A0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>
                  <a:solidFill>
                    <a:schemeClr val="tx1"/>
                  </a:solidFill>
                </a:rPr>
                <a:t>Average Daily Peak (kW)</a:t>
              </a:r>
            </a:p>
          </p:txBody>
        </p: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81A87D7A-1661-27BE-564D-B219520001F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86156" y="4061323"/>
              <a:ext cx="2527367" cy="199006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4B6EA75E-909B-DC49-E6B5-274A6866154D}"/>
                </a:ext>
              </a:extLst>
            </p:cNvPr>
            <p:cNvSpPr txBox="1"/>
            <p:nvPr/>
          </p:nvSpPr>
          <p:spPr>
            <a:xfrm>
              <a:off x="4680157" y="3842920"/>
              <a:ext cx="957537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0 kW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8505DCC-4625-5683-FB69-42AB9CBCA8BD}"/>
                </a:ext>
              </a:extLst>
            </p:cNvPr>
            <p:cNvSpPr txBox="1"/>
            <p:nvPr/>
          </p:nvSpPr>
          <p:spPr>
            <a:xfrm>
              <a:off x="6503864" y="3815559"/>
              <a:ext cx="1215055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50 kW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DD6D566-2853-3D9A-E8F9-B40B55FCFE73}"/>
              </a:ext>
            </a:extLst>
          </p:cNvPr>
          <p:cNvGrpSpPr/>
          <p:nvPr/>
        </p:nvGrpSpPr>
        <p:grpSpPr>
          <a:xfrm>
            <a:off x="1954795" y="2442569"/>
            <a:ext cx="1622914" cy="717283"/>
            <a:chOff x="4680157" y="3500284"/>
            <a:chExt cx="3038762" cy="835743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C5C07874-F559-F07E-19B7-E9B49F80D61C}"/>
                </a:ext>
              </a:extLst>
            </p:cNvPr>
            <p:cNvSpPr/>
            <p:nvPr/>
          </p:nvSpPr>
          <p:spPr>
            <a:xfrm>
              <a:off x="4739148" y="3500284"/>
              <a:ext cx="2841523" cy="8357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A0A0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>
                  <a:solidFill>
                    <a:schemeClr val="tx1"/>
                  </a:solidFill>
                </a:rPr>
                <a:t>Average Daily Peak (kW)</a:t>
              </a:r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18CA639B-F20B-642D-A061-ACB35DB574B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86156" y="4061323"/>
              <a:ext cx="2527367" cy="199006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6F155E61-A740-E040-C569-28680D428E2D}"/>
                </a:ext>
              </a:extLst>
            </p:cNvPr>
            <p:cNvSpPr txBox="1"/>
            <p:nvPr/>
          </p:nvSpPr>
          <p:spPr>
            <a:xfrm>
              <a:off x="4680157" y="3842920"/>
              <a:ext cx="957537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0 kW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91F73D2A-3FB8-84E0-03E9-0995CE0CA6A3}"/>
                </a:ext>
              </a:extLst>
            </p:cNvPr>
            <p:cNvSpPr txBox="1"/>
            <p:nvPr/>
          </p:nvSpPr>
          <p:spPr>
            <a:xfrm>
              <a:off x="6503864" y="3815559"/>
              <a:ext cx="1215055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15 k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6742661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BFDB22-CA9B-8D67-1733-38BD22FA8E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 descr="A map of the united states&#10;&#10;AI-generated content may be incorrect.">
            <a:extLst>
              <a:ext uri="{FF2B5EF4-FFF2-40B4-BE49-F238E27FC236}">
                <a16:creationId xmlns:a16="http://schemas.microsoft.com/office/drawing/2014/main" id="{EE50FF15-1A53-F32F-0F74-965B74BAE9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76" b="18280"/>
          <a:stretch/>
        </p:blipFill>
        <p:spPr>
          <a:xfrm>
            <a:off x="8602455" y="2442569"/>
            <a:ext cx="2518122" cy="2282551"/>
          </a:xfrm>
          <a:prstGeom prst="rect">
            <a:avLst/>
          </a:prstGeom>
        </p:spPr>
      </p:pic>
      <p:pic>
        <p:nvPicPr>
          <p:cNvPr id="38" name="Picture 37" descr="A map of the united states&#10;&#10;AI-generated content may be incorrect.">
            <a:extLst>
              <a:ext uri="{FF2B5EF4-FFF2-40B4-BE49-F238E27FC236}">
                <a16:creationId xmlns:a16="http://schemas.microsoft.com/office/drawing/2014/main" id="{607AB12D-8E60-69AA-3086-7ECF2186F5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76" b="18280"/>
          <a:stretch/>
        </p:blipFill>
        <p:spPr>
          <a:xfrm>
            <a:off x="6078129" y="2423694"/>
            <a:ext cx="2518122" cy="2282551"/>
          </a:xfrm>
          <a:prstGeom prst="rect">
            <a:avLst/>
          </a:prstGeom>
        </p:spPr>
      </p:pic>
      <p:pic>
        <p:nvPicPr>
          <p:cNvPr id="37" name="Picture 36" descr="A map of the united states&#10;&#10;AI-generated content may be incorrect.">
            <a:extLst>
              <a:ext uri="{FF2B5EF4-FFF2-40B4-BE49-F238E27FC236}">
                <a16:creationId xmlns:a16="http://schemas.microsoft.com/office/drawing/2014/main" id="{E47C66FF-9818-1569-B27E-F5EDDFDF43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76" b="18280"/>
          <a:stretch/>
        </p:blipFill>
        <p:spPr>
          <a:xfrm>
            <a:off x="3515663" y="2423694"/>
            <a:ext cx="2518122" cy="2282551"/>
          </a:xfrm>
          <a:prstGeom prst="rect">
            <a:avLst/>
          </a:prstGeom>
        </p:spPr>
      </p:pic>
      <p:pic>
        <p:nvPicPr>
          <p:cNvPr id="36" name="Picture 35" descr="A map of the united states&#10;&#10;AI-generated content may be incorrect.">
            <a:extLst>
              <a:ext uri="{FF2B5EF4-FFF2-40B4-BE49-F238E27FC236}">
                <a16:creationId xmlns:a16="http://schemas.microsoft.com/office/drawing/2014/main" id="{B69A40AB-0BF1-2CD5-109B-A3D078EDD52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76" b="18280"/>
          <a:stretch/>
        </p:blipFill>
        <p:spPr>
          <a:xfrm>
            <a:off x="990974" y="2442569"/>
            <a:ext cx="2518122" cy="2282551"/>
          </a:xfrm>
          <a:prstGeom prst="rect">
            <a:avLst/>
          </a:prstGeom>
        </p:spPr>
      </p:pic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8AB34389-058D-4C17-D961-CE874117B0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167CD0-DBE5-E1B0-7805-CA07436BF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38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E0457CC-036E-F13F-BA4B-8A7D0F9C65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Example CDM outputs using 2023 IEP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63391F-AFF9-A88B-E7B3-9E17E80E3F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n Francisco Bay Are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4CA630A-EC40-F64F-996D-D97EFB802E4A}"/>
              </a:ext>
            </a:extLst>
          </p:cNvPr>
          <p:cNvSpPr txBox="1"/>
          <p:nvPr/>
        </p:nvSpPr>
        <p:spPr>
          <a:xfrm>
            <a:off x="993058" y="2064411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/>
              <a:t>202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2E2971-0DF8-FD84-D6EC-D7DCA074520B}"/>
              </a:ext>
            </a:extLst>
          </p:cNvPr>
          <p:cNvSpPr txBox="1"/>
          <p:nvPr/>
        </p:nvSpPr>
        <p:spPr>
          <a:xfrm>
            <a:off x="3503305" y="2064411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/>
              <a:t>2030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30EB8F2-C229-0297-22C7-B4DFC1C09352}"/>
              </a:ext>
            </a:extLst>
          </p:cNvPr>
          <p:cNvSpPr txBox="1"/>
          <p:nvPr/>
        </p:nvSpPr>
        <p:spPr>
          <a:xfrm>
            <a:off x="6013552" y="2064411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/>
              <a:t>203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0CB93DB-6BB7-5863-411D-A2823D4820DD}"/>
              </a:ext>
            </a:extLst>
          </p:cNvPr>
          <p:cNvSpPr txBox="1"/>
          <p:nvPr/>
        </p:nvSpPr>
        <p:spPr>
          <a:xfrm>
            <a:off x="8523799" y="2064411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/>
              <a:t>2040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983DE92-D5E6-5FA9-F334-1B15F4206EC0}"/>
              </a:ext>
            </a:extLst>
          </p:cNvPr>
          <p:cNvGrpSpPr/>
          <p:nvPr/>
        </p:nvGrpSpPr>
        <p:grpSpPr>
          <a:xfrm>
            <a:off x="9559582" y="2434601"/>
            <a:ext cx="1622914" cy="717283"/>
            <a:chOff x="4680157" y="3500284"/>
            <a:chExt cx="3038762" cy="835743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D99132F-57C0-B509-A896-E22D15937D2E}"/>
                </a:ext>
              </a:extLst>
            </p:cNvPr>
            <p:cNvSpPr/>
            <p:nvPr/>
          </p:nvSpPr>
          <p:spPr>
            <a:xfrm>
              <a:off x="4739148" y="3500284"/>
              <a:ext cx="2841523" cy="8357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A0A0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>
                  <a:solidFill>
                    <a:schemeClr val="tx1"/>
                  </a:solidFill>
                </a:rPr>
                <a:t>Average Daily Peak (kW)</a:t>
              </a: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60BB3E9C-98CB-BA1A-153F-681A42EACF7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86156" y="4061323"/>
              <a:ext cx="2527367" cy="199006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532C3B4-0215-B400-D3C5-3B26A3859B8A}"/>
                </a:ext>
              </a:extLst>
            </p:cNvPr>
            <p:cNvSpPr txBox="1"/>
            <p:nvPr/>
          </p:nvSpPr>
          <p:spPr>
            <a:xfrm>
              <a:off x="4680157" y="3842920"/>
              <a:ext cx="957537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0 kW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A4956DFC-6DFB-CFC5-C7F7-054D50009120}"/>
                </a:ext>
              </a:extLst>
            </p:cNvPr>
            <p:cNvSpPr txBox="1"/>
            <p:nvPr/>
          </p:nvSpPr>
          <p:spPr>
            <a:xfrm>
              <a:off x="6503864" y="3815559"/>
              <a:ext cx="1215055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700 kW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A8B2E7A-088B-3727-BF35-CC4762E8DB14}"/>
              </a:ext>
            </a:extLst>
          </p:cNvPr>
          <p:cNvGrpSpPr/>
          <p:nvPr/>
        </p:nvGrpSpPr>
        <p:grpSpPr>
          <a:xfrm>
            <a:off x="7026531" y="2442570"/>
            <a:ext cx="1622914" cy="717283"/>
            <a:chOff x="4680157" y="3500284"/>
            <a:chExt cx="3038762" cy="835743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0EC3958-E43C-3B34-1848-596B63826264}"/>
                </a:ext>
              </a:extLst>
            </p:cNvPr>
            <p:cNvSpPr/>
            <p:nvPr/>
          </p:nvSpPr>
          <p:spPr>
            <a:xfrm>
              <a:off x="4739148" y="3500284"/>
              <a:ext cx="2841523" cy="8357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A0A0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>
                  <a:solidFill>
                    <a:schemeClr val="tx1"/>
                  </a:solidFill>
                </a:rPr>
                <a:t>Average Daily Peak (kW)</a:t>
              </a: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79F7C25D-F02E-7575-3CFE-8E8C4DEEF17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86156" y="4061323"/>
              <a:ext cx="2527367" cy="199006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DBA02B2-17E4-4BED-507E-F69F28FCAAAF}"/>
                </a:ext>
              </a:extLst>
            </p:cNvPr>
            <p:cNvSpPr txBox="1"/>
            <p:nvPr/>
          </p:nvSpPr>
          <p:spPr>
            <a:xfrm>
              <a:off x="4680157" y="3842920"/>
              <a:ext cx="957537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0 kW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C3C5E45F-322A-66DC-DBD1-CE15FEFDCDDD}"/>
                </a:ext>
              </a:extLst>
            </p:cNvPr>
            <p:cNvSpPr txBox="1"/>
            <p:nvPr/>
          </p:nvSpPr>
          <p:spPr>
            <a:xfrm>
              <a:off x="6503864" y="3815559"/>
              <a:ext cx="1215055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500 kW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4778877-39CA-3DF9-B9C9-9ADE9DD20A30}"/>
              </a:ext>
            </a:extLst>
          </p:cNvPr>
          <p:cNvGrpSpPr/>
          <p:nvPr/>
        </p:nvGrpSpPr>
        <p:grpSpPr>
          <a:xfrm>
            <a:off x="4490663" y="2442569"/>
            <a:ext cx="1622914" cy="717283"/>
            <a:chOff x="4680157" y="3500284"/>
            <a:chExt cx="3038762" cy="835743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A2C62CC3-8A83-2011-0FC4-46E7316FC8F1}"/>
                </a:ext>
              </a:extLst>
            </p:cNvPr>
            <p:cNvSpPr/>
            <p:nvPr/>
          </p:nvSpPr>
          <p:spPr>
            <a:xfrm>
              <a:off x="4739148" y="3500284"/>
              <a:ext cx="2841523" cy="8357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A0A0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>
                  <a:solidFill>
                    <a:schemeClr val="tx1"/>
                  </a:solidFill>
                </a:rPr>
                <a:t>Average Daily Peak (kW)</a:t>
              </a:r>
            </a:p>
          </p:txBody>
        </p: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752AB448-7BD0-6792-810D-600581204DE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86156" y="4061323"/>
              <a:ext cx="2527367" cy="199006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18C80108-4910-D373-4AC4-195456B7818D}"/>
                </a:ext>
              </a:extLst>
            </p:cNvPr>
            <p:cNvSpPr txBox="1"/>
            <p:nvPr/>
          </p:nvSpPr>
          <p:spPr>
            <a:xfrm>
              <a:off x="4680157" y="3842920"/>
              <a:ext cx="957537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0 kW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B17E104B-D1EA-C259-A202-850BB7F37C69}"/>
                </a:ext>
              </a:extLst>
            </p:cNvPr>
            <p:cNvSpPr txBox="1"/>
            <p:nvPr/>
          </p:nvSpPr>
          <p:spPr>
            <a:xfrm>
              <a:off x="6503864" y="3815559"/>
              <a:ext cx="1215055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200 kW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AF019823-763D-09A7-BBBA-E8E45806C9C4}"/>
              </a:ext>
            </a:extLst>
          </p:cNvPr>
          <p:cNvGrpSpPr/>
          <p:nvPr/>
        </p:nvGrpSpPr>
        <p:grpSpPr>
          <a:xfrm>
            <a:off x="1954795" y="2442569"/>
            <a:ext cx="1622914" cy="717283"/>
            <a:chOff x="4680157" y="3500284"/>
            <a:chExt cx="3038762" cy="835743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988FF811-E24C-7027-8101-67C063EEB779}"/>
                </a:ext>
              </a:extLst>
            </p:cNvPr>
            <p:cNvSpPr/>
            <p:nvPr/>
          </p:nvSpPr>
          <p:spPr>
            <a:xfrm>
              <a:off x="4739148" y="3500284"/>
              <a:ext cx="2841523" cy="8357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A0A0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>
                  <a:solidFill>
                    <a:schemeClr val="tx1"/>
                  </a:solidFill>
                </a:rPr>
                <a:t>Average Daily Peak (kW)</a:t>
              </a:r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830B4977-AFFD-D6DD-DEFE-CD37785655D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86156" y="4061323"/>
              <a:ext cx="2527367" cy="199006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DDC29295-5C63-AAD7-06B6-E0F4843B0D0F}"/>
                </a:ext>
              </a:extLst>
            </p:cNvPr>
            <p:cNvSpPr txBox="1"/>
            <p:nvPr/>
          </p:nvSpPr>
          <p:spPr>
            <a:xfrm>
              <a:off x="4680157" y="3842920"/>
              <a:ext cx="957537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0 kW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7714999E-4F7C-B36C-9952-ACF11DDE501C}"/>
                </a:ext>
              </a:extLst>
            </p:cNvPr>
            <p:cNvSpPr txBox="1"/>
            <p:nvPr/>
          </p:nvSpPr>
          <p:spPr>
            <a:xfrm>
              <a:off x="6503864" y="3815559"/>
              <a:ext cx="1215055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60 k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584439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C5A8FB3-23C1-84FD-8E1A-1366C8B8446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86BE2C-002D-E2B6-6F87-1682223AC66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/>
              <a:t>Background &amp; Objective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BC29068-AC45-24AC-9A78-D252E83C3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pic>
        <p:nvPicPr>
          <p:cNvPr id="17" name="Picture 2" descr="California Public Utilities Commission (CPUC) - California Emerging  Technology Fund">
            <a:extLst>
              <a:ext uri="{FF2B5EF4-FFF2-40B4-BE49-F238E27FC236}">
                <a16:creationId xmlns:a16="http://schemas.microsoft.com/office/drawing/2014/main" id="{78F7EA5E-A6A1-4FC3-6F7C-0665928841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4500" b="95250" l="6750" r="97500">
                        <a14:foregroundMark x1="19250" y1="13500" x2="30000" y2="8000"/>
                        <a14:foregroundMark x1="30000" y1="8000" x2="53000" y2="7500"/>
                        <a14:foregroundMark x1="53000" y1="7500" x2="73750" y2="22000"/>
                        <a14:foregroundMark x1="73750" y1="22000" x2="69750" y2="45000"/>
                        <a14:foregroundMark x1="69750" y1="45000" x2="39000" y2="47000"/>
                        <a14:foregroundMark x1="39000" y1="47000" x2="20750" y2="27750"/>
                        <a14:foregroundMark x1="20750" y1="27750" x2="18000" y2="19500"/>
                        <a14:foregroundMark x1="18000" y1="19500" x2="18750" y2="14000"/>
                        <a14:foregroundMark x1="16250" y1="16750" x2="15750" y2="39000"/>
                        <a14:foregroundMark x1="15750" y1="39000" x2="18750" y2="49750"/>
                        <a14:foregroundMark x1="18750" y1="49750" x2="29000" y2="64500"/>
                        <a14:foregroundMark x1="29000" y1="64500" x2="50500" y2="79250"/>
                        <a14:foregroundMark x1="50500" y1="79250" x2="68750" y2="83250"/>
                        <a14:foregroundMark x1="68750" y1="83250" x2="84000" y2="67500"/>
                        <a14:foregroundMark x1="84000" y1="67500" x2="88250" y2="58250"/>
                        <a14:foregroundMark x1="88250" y1="58250" x2="89250" y2="34750"/>
                        <a14:foregroundMark x1="89250" y1="34750" x2="86250" y2="26500"/>
                        <a14:foregroundMark x1="86250" y1="26500" x2="77750" y2="17500"/>
                        <a14:foregroundMark x1="77750" y1="17500" x2="56000" y2="8000"/>
                        <a14:foregroundMark x1="56000" y1="8000" x2="53250" y2="7250"/>
                        <a14:foregroundMark x1="12500" y1="21250" x2="9000" y2="28750"/>
                        <a14:foregroundMark x1="9000" y1="28750" x2="7250" y2="54000"/>
                        <a14:foregroundMark x1="7250" y1="54000" x2="9750" y2="63500"/>
                        <a14:foregroundMark x1="9750" y1="63500" x2="16750" y2="73500"/>
                        <a14:foregroundMark x1="16750" y1="73500" x2="51750" y2="93000"/>
                        <a14:foregroundMark x1="51750" y1="93000" x2="77750" y2="85750"/>
                        <a14:foregroundMark x1="77750" y1="85750" x2="87000" y2="72250"/>
                        <a14:foregroundMark x1="87000" y1="72250" x2="93500" y2="48000"/>
                        <a14:foregroundMark x1="93500" y1="48000" x2="89000" y2="27750"/>
                        <a14:foregroundMark x1="89000" y1="27750" x2="86000" y2="21000"/>
                        <a14:foregroundMark x1="86000" y1="21000" x2="80000" y2="14500"/>
                        <a14:foregroundMark x1="80000" y1="14500" x2="57250" y2="4750"/>
                        <a14:foregroundMark x1="42344" y1="4559" x2="37750" y2="4500"/>
                        <a14:foregroundMark x1="57250" y1="4750" x2="44233" y2="4583"/>
                        <a14:foregroundMark x1="37750" y1="4500" x2="37250" y2="5000"/>
                        <a14:foregroundMark x1="89000" y1="23250" x2="97250" y2="49000"/>
                        <a14:foregroundMark x1="97250" y1="49000" x2="92500" y2="69500"/>
                        <a14:foregroundMark x1="92500" y1="69500" x2="90000" y2="74250"/>
                        <a14:foregroundMark x1="93000" y1="30750" x2="96500" y2="37750"/>
                        <a14:foregroundMark x1="96500" y1="37750" x2="97500" y2="55500"/>
                        <a14:foregroundMark x1="97500" y1="55500" x2="94750" y2="63500"/>
                        <a14:foregroundMark x1="68000" y1="92000" x2="37750" y2="92250"/>
                        <a14:foregroundMark x1="37750" y1="92250" x2="34000" y2="91500"/>
                        <a14:foregroundMark x1="40750" y1="94250" x2="50250" y2="96000"/>
                        <a14:foregroundMark x1="50250" y1="96000" x2="58500" y2="95250"/>
                        <a14:foregroundMark x1="58500" y1="95250" x2="62250" y2="93750"/>
                        <a14:foregroundMark x1="7500" y1="64750" x2="5000" y2="49000"/>
                        <a14:foregroundMark x1="5000" y1="49000" x2="6750" y2="39000"/>
                        <a14:foregroundMark x1="6750" y1="39000" x2="8000" y2="36750"/>
                        <a14:backgroundMark x1="61000" y1="1000" x2="54750" y2="750"/>
                        <a14:backgroundMark x1="54250" y1="500" x2="56500" y2="1000"/>
                        <a14:backgroundMark x1="57750" y1="1250" x2="54750" y2="750"/>
                        <a14:backgroundMark x1="44250" y1="1250" x2="48750" y2="5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71242" y="923421"/>
            <a:ext cx="5011157" cy="50111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890214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080128-D0F4-8973-07B8-37B0AC1E7D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A map of a city&#10;&#10;AI-generated content may be incorrect.">
            <a:extLst>
              <a:ext uri="{FF2B5EF4-FFF2-40B4-BE49-F238E27FC236}">
                <a16:creationId xmlns:a16="http://schemas.microsoft.com/office/drawing/2014/main" id="{C3842769-B4AB-D6ED-07CB-4806C1ECBA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76" b="18280"/>
          <a:stretch/>
        </p:blipFill>
        <p:spPr>
          <a:xfrm>
            <a:off x="8608754" y="2442569"/>
            <a:ext cx="2518122" cy="2282551"/>
          </a:xfrm>
          <a:prstGeom prst="rect">
            <a:avLst/>
          </a:prstGeom>
        </p:spPr>
      </p:pic>
      <p:pic>
        <p:nvPicPr>
          <p:cNvPr id="17" name="Picture 16" descr="A map of a city&#10;&#10;AI-generated content may be incorrect.">
            <a:extLst>
              <a:ext uri="{FF2B5EF4-FFF2-40B4-BE49-F238E27FC236}">
                <a16:creationId xmlns:a16="http://schemas.microsoft.com/office/drawing/2014/main" id="{8C50A44D-2454-0574-915B-759A52B526A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76" b="18280"/>
          <a:stretch/>
        </p:blipFill>
        <p:spPr>
          <a:xfrm>
            <a:off x="6071889" y="2423694"/>
            <a:ext cx="2518122" cy="2282551"/>
          </a:xfrm>
          <a:prstGeom prst="rect">
            <a:avLst/>
          </a:prstGeom>
        </p:spPr>
      </p:pic>
      <p:pic>
        <p:nvPicPr>
          <p:cNvPr id="16" name="Picture 15" descr="A map of a city&#10;&#10;AI-generated content may be incorrect.">
            <a:extLst>
              <a:ext uri="{FF2B5EF4-FFF2-40B4-BE49-F238E27FC236}">
                <a16:creationId xmlns:a16="http://schemas.microsoft.com/office/drawing/2014/main" id="{1ACCF169-142F-0651-BE79-ABBAE291CCC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76" b="18280"/>
          <a:stretch/>
        </p:blipFill>
        <p:spPr>
          <a:xfrm>
            <a:off x="3535413" y="2423694"/>
            <a:ext cx="2518122" cy="2282551"/>
          </a:xfrm>
          <a:prstGeom prst="rect">
            <a:avLst/>
          </a:prstGeom>
        </p:spPr>
      </p:pic>
      <p:pic>
        <p:nvPicPr>
          <p:cNvPr id="13" name="Picture 12" descr="A screenshot of a map&#10;&#10;AI-generated content may be incorrect.">
            <a:extLst>
              <a:ext uri="{FF2B5EF4-FFF2-40B4-BE49-F238E27FC236}">
                <a16:creationId xmlns:a16="http://schemas.microsoft.com/office/drawing/2014/main" id="{7279D797-E332-93FE-E5EE-F4239A4BBF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76" b="18280"/>
          <a:stretch/>
        </p:blipFill>
        <p:spPr>
          <a:xfrm>
            <a:off x="991225" y="2442569"/>
            <a:ext cx="2518122" cy="2282551"/>
          </a:xfrm>
          <a:prstGeom prst="rect">
            <a:avLst/>
          </a:prstGeom>
        </p:spPr>
      </p:pic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34BB0E9E-B60F-F4DD-887F-A0DEE46EA4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66D82A-BD53-62B3-DBF2-7DC1909A63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39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2CA5E54-5A61-9490-C501-8ED9762F9C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Example CDM outputs using 2023 IEP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2DCAA0-07C0-50D5-46F1-E378F9D1C6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cramento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7C0D7BD-D961-E007-2B54-1AE55BB89F07}"/>
              </a:ext>
            </a:extLst>
          </p:cNvPr>
          <p:cNvSpPr txBox="1"/>
          <p:nvPr/>
        </p:nvSpPr>
        <p:spPr>
          <a:xfrm>
            <a:off x="993058" y="2064411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/>
              <a:t>202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AD7EE98-E23E-DE4F-2DEC-C47A315DE088}"/>
              </a:ext>
            </a:extLst>
          </p:cNvPr>
          <p:cNvSpPr txBox="1"/>
          <p:nvPr/>
        </p:nvSpPr>
        <p:spPr>
          <a:xfrm>
            <a:off x="3503305" y="2064411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/>
              <a:t>2030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191FAC8-288D-B89B-369F-FA3866E2EE35}"/>
              </a:ext>
            </a:extLst>
          </p:cNvPr>
          <p:cNvSpPr txBox="1"/>
          <p:nvPr/>
        </p:nvSpPr>
        <p:spPr>
          <a:xfrm>
            <a:off x="6013552" y="2064411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/>
              <a:t>203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8A4892C-AC1C-CAE2-FBA9-1AB65F406D77}"/>
              </a:ext>
            </a:extLst>
          </p:cNvPr>
          <p:cNvSpPr txBox="1"/>
          <p:nvPr/>
        </p:nvSpPr>
        <p:spPr>
          <a:xfrm>
            <a:off x="8523799" y="2064411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/>
              <a:t>2040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670D246-E2EB-D02D-12A4-477EA61C89E8}"/>
              </a:ext>
            </a:extLst>
          </p:cNvPr>
          <p:cNvGrpSpPr/>
          <p:nvPr/>
        </p:nvGrpSpPr>
        <p:grpSpPr>
          <a:xfrm>
            <a:off x="9559582" y="2434601"/>
            <a:ext cx="1622914" cy="717283"/>
            <a:chOff x="4680157" y="3500284"/>
            <a:chExt cx="3038762" cy="835743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485119D-B47A-18DC-0C46-B786D2DACA34}"/>
                </a:ext>
              </a:extLst>
            </p:cNvPr>
            <p:cNvSpPr/>
            <p:nvPr/>
          </p:nvSpPr>
          <p:spPr>
            <a:xfrm>
              <a:off x="4739148" y="3500284"/>
              <a:ext cx="2841523" cy="8357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A0A0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>
                  <a:solidFill>
                    <a:schemeClr val="tx1"/>
                  </a:solidFill>
                </a:rPr>
                <a:t>Average Daily Peak (kW)</a:t>
              </a: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CA94742B-54F1-7978-2455-2320772AF83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86156" y="4061323"/>
              <a:ext cx="2527367" cy="199006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C3F5CE0F-5B10-6D62-209A-EFAAB3D14D10}"/>
                </a:ext>
              </a:extLst>
            </p:cNvPr>
            <p:cNvSpPr txBox="1"/>
            <p:nvPr/>
          </p:nvSpPr>
          <p:spPr>
            <a:xfrm>
              <a:off x="4680157" y="3842920"/>
              <a:ext cx="957537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0 kW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8C7E7D65-3FA9-E5A4-BE6E-3A5F0261F1D1}"/>
                </a:ext>
              </a:extLst>
            </p:cNvPr>
            <p:cNvSpPr txBox="1"/>
            <p:nvPr/>
          </p:nvSpPr>
          <p:spPr>
            <a:xfrm>
              <a:off x="6503864" y="3815559"/>
              <a:ext cx="1215055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700 kW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861279D-4106-D854-CD33-3EA5FE2F5DE3}"/>
              </a:ext>
            </a:extLst>
          </p:cNvPr>
          <p:cNvGrpSpPr/>
          <p:nvPr/>
        </p:nvGrpSpPr>
        <p:grpSpPr>
          <a:xfrm>
            <a:off x="7026531" y="2442570"/>
            <a:ext cx="1622914" cy="717283"/>
            <a:chOff x="4680157" y="3500284"/>
            <a:chExt cx="3038762" cy="835743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2A9D1B5-FF8A-DA5D-18B1-048ABBB8C0AE}"/>
                </a:ext>
              </a:extLst>
            </p:cNvPr>
            <p:cNvSpPr/>
            <p:nvPr/>
          </p:nvSpPr>
          <p:spPr>
            <a:xfrm>
              <a:off x="4739148" y="3500284"/>
              <a:ext cx="2841523" cy="8357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A0A0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>
                  <a:solidFill>
                    <a:schemeClr val="tx1"/>
                  </a:solidFill>
                </a:rPr>
                <a:t>Average Daily Peak (kW)</a:t>
              </a: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F0CF0E98-B3FB-47D5-ACC6-5EEB98033E5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86156" y="4061323"/>
              <a:ext cx="2527367" cy="199006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2C315C7-7622-74AE-7106-D8CEF06AA57F}"/>
                </a:ext>
              </a:extLst>
            </p:cNvPr>
            <p:cNvSpPr txBox="1"/>
            <p:nvPr/>
          </p:nvSpPr>
          <p:spPr>
            <a:xfrm>
              <a:off x="4680157" y="3842920"/>
              <a:ext cx="957537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0 kW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CE75BAB-0CE3-3845-3A0D-4880308B62D7}"/>
                </a:ext>
              </a:extLst>
            </p:cNvPr>
            <p:cNvSpPr txBox="1"/>
            <p:nvPr/>
          </p:nvSpPr>
          <p:spPr>
            <a:xfrm>
              <a:off x="6503864" y="3815559"/>
              <a:ext cx="1215055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500 kW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951EECC-82E8-FD84-5AD2-44FC56A94DA2}"/>
              </a:ext>
            </a:extLst>
          </p:cNvPr>
          <p:cNvGrpSpPr/>
          <p:nvPr/>
        </p:nvGrpSpPr>
        <p:grpSpPr>
          <a:xfrm>
            <a:off x="4490663" y="2442569"/>
            <a:ext cx="1622914" cy="717283"/>
            <a:chOff x="4680157" y="3500284"/>
            <a:chExt cx="3038762" cy="835743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C4F3D400-B62B-C8FA-CF30-7B2F10718FD8}"/>
                </a:ext>
              </a:extLst>
            </p:cNvPr>
            <p:cNvSpPr/>
            <p:nvPr/>
          </p:nvSpPr>
          <p:spPr>
            <a:xfrm>
              <a:off x="4739148" y="3500284"/>
              <a:ext cx="2841523" cy="8357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A0A0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>
                  <a:solidFill>
                    <a:schemeClr val="tx1"/>
                  </a:solidFill>
                </a:rPr>
                <a:t>Average Daily Peak (kW)</a:t>
              </a:r>
            </a:p>
          </p:txBody>
        </p: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6C01C139-DD03-8A06-8A9C-E2545363EC0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86156" y="4061323"/>
              <a:ext cx="2527367" cy="199006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B6390A6A-FE8D-4553-8F34-EA5EE4A2A6C8}"/>
                </a:ext>
              </a:extLst>
            </p:cNvPr>
            <p:cNvSpPr txBox="1"/>
            <p:nvPr/>
          </p:nvSpPr>
          <p:spPr>
            <a:xfrm>
              <a:off x="4680157" y="3842920"/>
              <a:ext cx="957537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0 kW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DCBEEBE-61C0-6B86-58BE-79BD9A8E18E3}"/>
                </a:ext>
              </a:extLst>
            </p:cNvPr>
            <p:cNvSpPr txBox="1"/>
            <p:nvPr/>
          </p:nvSpPr>
          <p:spPr>
            <a:xfrm>
              <a:off x="6503864" y="3815559"/>
              <a:ext cx="1215055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200 kW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D0563A2-4106-E3AB-FEF6-28608672F487}"/>
              </a:ext>
            </a:extLst>
          </p:cNvPr>
          <p:cNvGrpSpPr/>
          <p:nvPr/>
        </p:nvGrpSpPr>
        <p:grpSpPr>
          <a:xfrm>
            <a:off x="1954795" y="2442569"/>
            <a:ext cx="1622914" cy="717283"/>
            <a:chOff x="4680157" y="3500284"/>
            <a:chExt cx="3038762" cy="835743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0C6E55C4-6A75-E910-CC9B-04788A0AA12D}"/>
                </a:ext>
              </a:extLst>
            </p:cNvPr>
            <p:cNvSpPr/>
            <p:nvPr/>
          </p:nvSpPr>
          <p:spPr>
            <a:xfrm>
              <a:off x="4739148" y="3500284"/>
              <a:ext cx="2841523" cy="8357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A0A0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>
                  <a:solidFill>
                    <a:schemeClr val="tx1"/>
                  </a:solidFill>
                </a:rPr>
                <a:t>Average Daily Peak (kW)</a:t>
              </a:r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7BA490F5-964F-02B7-19E6-CDC437D0F25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86156" y="4061323"/>
              <a:ext cx="2527367" cy="199006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FE685A0-BE4F-A1B2-757E-376B28577A5D}"/>
                </a:ext>
              </a:extLst>
            </p:cNvPr>
            <p:cNvSpPr txBox="1"/>
            <p:nvPr/>
          </p:nvSpPr>
          <p:spPr>
            <a:xfrm>
              <a:off x="4680157" y="3842920"/>
              <a:ext cx="957537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0 kW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E69566A3-C451-F9EE-200F-051864FE3BB0}"/>
                </a:ext>
              </a:extLst>
            </p:cNvPr>
            <p:cNvSpPr txBox="1"/>
            <p:nvPr/>
          </p:nvSpPr>
          <p:spPr>
            <a:xfrm>
              <a:off x="6503864" y="3815559"/>
              <a:ext cx="1215055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60 k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9941493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0BE08F-058C-52FE-90EB-9EF19132A4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A map of the united states&#10;&#10;AI-generated content may be incorrect.">
            <a:extLst>
              <a:ext uri="{FF2B5EF4-FFF2-40B4-BE49-F238E27FC236}">
                <a16:creationId xmlns:a16="http://schemas.microsoft.com/office/drawing/2014/main" id="{648F8C7C-5DE2-83B9-0358-2B75B77B89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76" b="18280"/>
          <a:stretch/>
        </p:blipFill>
        <p:spPr>
          <a:xfrm>
            <a:off x="8602455" y="2433743"/>
            <a:ext cx="2518122" cy="2282551"/>
          </a:xfrm>
          <a:prstGeom prst="rect">
            <a:avLst/>
          </a:prstGeom>
        </p:spPr>
      </p:pic>
      <p:pic>
        <p:nvPicPr>
          <p:cNvPr id="17" name="Picture 16" descr="A map of the united states&#10;&#10;AI-generated content may be incorrect.">
            <a:extLst>
              <a:ext uri="{FF2B5EF4-FFF2-40B4-BE49-F238E27FC236}">
                <a16:creationId xmlns:a16="http://schemas.microsoft.com/office/drawing/2014/main" id="{D14023E0-1882-29CB-53A8-9D83C24E49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76" b="18280"/>
          <a:stretch/>
        </p:blipFill>
        <p:spPr>
          <a:xfrm>
            <a:off x="6076471" y="2439721"/>
            <a:ext cx="2518122" cy="2282551"/>
          </a:xfrm>
          <a:prstGeom prst="rect">
            <a:avLst/>
          </a:prstGeom>
        </p:spPr>
      </p:pic>
      <p:pic>
        <p:nvPicPr>
          <p:cNvPr id="16" name="Picture 15" descr="A map of the united states&#10;&#10;AI-generated content may be incorrect.">
            <a:extLst>
              <a:ext uri="{FF2B5EF4-FFF2-40B4-BE49-F238E27FC236}">
                <a16:creationId xmlns:a16="http://schemas.microsoft.com/office/drawing/2014/main" id="{60AF5C6D-40A6-53D5-778B-F260E5F0903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76" b="18280"/>
          <a:stretch/>
        </p:blipFill>
        <p:spPr>
          <a:xfrm>
            <a:off x="3535379" y="2442569"/>
            <a:ext cx="2518122" cy="2282551"/>
          </a:xfrm>
          <a:prstGeom prst="rect">
            <a:avLst/>
          </a:prstGeom>
        </p:spPr>
      </p:pic>
      <p:pic>
        <p:nvPicPr>
          <p:cNvPr id="13" name="Picture 12" descr="A map of the united states&#10;&#10;AI-generated content may be incorrect.">
            <a:extLst>
              <a:ext uri="{FF2B5EF4-FFF2-40B4-BE49-F238E27FC236}">
                <a16:creationId xmlns:a16="http://schemas.microsoft.com/office/drawing/2014/main" id="{B0A5B52F-C408-200D-C1D7-232E6229F5B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76" b="18280"/>
          <a:stretch/>
        </p:blipFill>
        <p:spPr>
          <a:xfrm>
            <a:off x="993058" y="2442569"/>
            <a:ext cx="2518122" cy="2282551"/>
          </a:xfrm>
          <a:prstGeom prst="rect">
            <a:avLst/>
          </a:prstGeom>
        </p:spPr>
      </p:pic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87D2A4F-B98C-9EE3-9108-7BDA375CC8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E9D3B3-A762-ADD2-1D51-FBB000716D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40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21B8227-A3CC-626A-F0A3-F133DC18CB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Example CDM outputs using 2023 IEP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7D3131-57A2-EE56-0291-C83A551D4D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os Angeles Count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75D6A5C-BB3B-F7E7-026F-C8FD0D88629F}"/>
              </a:ext>
            </a:extLst>
          </p:cNvPr>
          <p:cNvSpPr txBox="1"/>
          <p:nvPr/>
        </p:nvSpPr>
        <p:spPr>
          <a:xfrm>
            <a:off x="993058" y="2064411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/>
              <a:t>202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915EFBA-047D-215B-6155-CE8702F8B7F4}"/>
              </a:ext>
            </a:extLst>
          </p:cNvPr>
          <p:cNvSpPr txBox="1"/>
          <p:nvPr/>
        </p:nvSpPr>
        <p:spPr>
          <a:xfrm>
            <a:off x="3503305" y="2064411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/>
              <a:t>2030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E7BCA4B-FAD5-54AE-7F0F-DBAF144B48E6}"/>
              </a:ext>
            </a:extLst>
          </p:cNvPr>
          <p:cNvSpPr txBox="1"/>
          <p:nvPr/>
        </p:nvSpPr>
        <p:spPr>
          <a:xfrm>
            <a:off x="6013552" y="2064411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/>
              <a:t>203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1793EA2-FD40-0F00-FE17-40976F5E7D71}"/>
              </a:ext>
            </a:extLst>
          </p:cNvPr>
          <p:cNvSpPr txBox="1"/>
          <p:nvPr/>
        </p:nvSpPr>
        <p:spPr>
          <a:xfrm>
            <a:off x="8523799" y="2064411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/>
              <a:t>2040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15BCC13-AAD7-3652-68DD-E3B2B8545248}"/>
              </a:ext>
            </a:extLst>
          </p:cNvPr>
          <p:cNvGrpSpPr/>
          <p:nvPr/>
        </p:nvGrpSpPr>
        <p:grpSpPr>
          <a:xfrm>
            <a:off x="9559582" y="2434601"/>
            <a:ext cx="1622914" cy="717283"/>
            <a:chOff x="4680157" y="3500284"/>
            <a:chExt cx="3038762" cy="835743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44F598F-D45D-7E38-4151-E1681F0C6E10}"/>
                </a:ext>
              </a:extLst>
            </p:cNvPr>
            <p:cNvSpPr/>
            <p:nvPr/>
          </p:nvSpPr>
          <p:spPr>
            <a:xfrm>
              <a:off x="4739148" y="3500284"/>
              <a:ext cx="2841523" cy="8357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A0A0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>
                  <a:solidFill>
                    <a:schemeClr val="tx1"/>
                  </a:solidFill>
                </a:rPr>
                <a:t>Average Daily Peak (kW)</a:t>
              </a: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D43C560C-DB60-09B0-110A-736FD43D890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86156" y="4061323"/>
              <a:ext cx="2527367" cy="199006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81BBD7D-3761-0E16-B9F0-4D9E660909EC}"/>
                </a:ext>
              </a:extLst>
            </p:cNvPr>
            <p:cNvSpPr txBox="1"/>
            <p:nvPr/>
          </p:nvSpPr>
          <p:spPr>
            <a:xfrm>
              <a:off x="4680157" y="3842920"/>
              <a:ext cx="957537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0 kW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7D17ED1-069A-6BBB-6481-1E16B0DD8A08}"/>
                </a:ext>
              </a:extLst>
            </p:cNvPr>
            <p:cNvSpPr txBox="1"/>
            <p:nvPr/>
          </p:nvSpPr>
          <p:spPr>
            <a:xfrm>
              <a:off x="6503864" y="3815559"/>
              <a:ext cx="1215055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700 kW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CA82F36-7B3B-5492-0509-3F80C80BCAA4}"/>
              </a:ext>
            </a:extLst>
          </p:cNvPr>
          <p:cNvGrpSpPr/>
          <p:nvPr/>
        </p:nvGrpSpPr>
        <p:grpSpPr>
          <a:xfrm>
            <a:off x="7026531" y="2442570"/>
            <a:ext cx="1622914" cy="717283"/>
            <a:chOff x="4680157" y="3500284"/>
            <a:chExt cx="3038762" cy="835743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6F753F37-2755-869F-668B-07BE67F74E77}"/>
                </a:ext>
              </a:extLst>
            </p:cNvPr>
            <p:cNvSpPr/>
            <p:nvPr/>
          </p:nvSpPr>
          <p:spPr>
            <a:xfrm>
              <a:off x="4739148" y="3500284"/>
              <a:ext cx="2841523" cy="8357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A0A0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>
                  <a:solidFill>
                    <a:schemeClr val="tx1"/>
                  </a:solidFill>
                </a:rPr>
                <a:t>Average Daily Peak (kW)</a:t>
              </a: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E5B51EFB-5CDB-A8E0-3268-9A911905D0C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86156" y="4061323"/>
              <a:ext cx="2527367" cy="199006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9F4DDCDB-966D-164D-A5C5-A763E8396A9A}"/>
                </a:ext>
              </a:extLst>
            </p:cNvPr>
            <p:cNvSpPr txBox="1"/>
            <p:nvPr/>
          </p:nvSpPr>
          <p:spPr>
            <a:xfrm>
              <a:off x="4680157" y="3842920"/>
              <a:ext cx="957537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0 kW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219424DD-58D2-4B76-E88D-D208B9A56A57}"/>
                </a:ext>
              </a:extLst>
            </p:cNvPr>
            <p:cNvSpPr txBox="1"/>
            <p:nvPr/>
          </p:nvSpPr>
          <p:spPr>
            <a:xfrm>
              <a:off x="6503864" y="3815559"/>
              <a:ext cx="1215055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500 kW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77D079AA-1274-A5CB-C357-E042DA04E515}"/>
              </a:ext>
            </a:extLst>
          </p:cNvPr>
          <p:cNvGrpSpPr/>
          <p:nvPr/>
        </p:nvGrpSpPr>
        <p:grpSpPr>
          <a:xfrm>
            <a:off x="4490663" y="2442569"/>
            <a:ext cx="1622914" cy="717283"/>
            <a:chOff x="4680157" y="3500284"/>
            <a:chExt cx="3038762" cy="835743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156C5533-B012-ED7F-D198-5E1D9CE1BA17}"/>
                </a:ext>
              </a:extLst>
            </p:cNvPr>
            <p:cNvSpPr/>
            <p:nvPr/>
          </p:nvSpPr>
          <p:spPr>
            <a:xfrm>
              <a:off x="4739148" y="3500284"/>
              <a:ext cx="2841523" cy="8357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A0A0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>
                  <a:solidFill>
                    <a:schemeClr val="tx1"/>
                  </a:solidFill>
                </a:rPr>
                <a:t>Average Daily Peak (kW)</a:t>
              </a:r>
            </a:p>
          </p:txBody>
        </p: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8AB4C84E-332D-48B1-A4B3-ABF41D9D1B2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86156" y="4061323"/>
              <a:ext cx="2527367" cy="199006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9946C2BD-B0FB-2BE6-D9C6-2231CE203B64}"/>
                </a:ext>
              </a:extLst>
            </p:cNvPr>
            <p:cNvSpPr txBox="1"/>
            <p:nvPr/>
          </p:nvSpPr>
          <p:spPr>
            <a:xfrm>
              <a:off x="4680157" y="3842920"/>
              <a:ext cx="957537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0 kW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CD8B6FEF-3CE0-3EEB-3D64-C4C0A7D11A79}"/>
                </a:ext>
              </a:extLst>
            </p:cNvPr>
            <p:cNvSpPr txBox="1"/>
            <p:nvPr/>
          </p:nvSpPr>
          <p:spPr>
            <a:xfrm>
              <a:off x="6503864" y="3815559"/>
              <a:ext cx="1215055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200 kW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66212F2-F435-72EC-376E-56E0B107EA92}"/>
              </a:ext>
            </a:extLst>
          </p:cNvPr>
          <p:cNvGrpSpPr/>
          <p:nvPr/>
        </p:nvGrpSpPr>
        <p:grpSpPr>
          <a:xfrm>
            <a:off x="1954795" y="2442569"/>
            <a:ext cx="1622914" cy="717283"/>
            <a:chOff x="4680157" y="3500284"/>
            <a:chExt cx="3038762" cy="835743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7DA17B9-0FF3-4AEE-2F27-FDCB04E1A80C}"/>
                </a:ext>
              </a:extLst>
            </p:cNvPr>
            <p:cNvSpPr/>
            <p:nvPr/>
          </p:nvSpPr>
          <p:spPr>
            <a:xfrm>
              <a:off x="4739148" y="3500284"/>
              <a:ext cx="2841523" cy="8357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A0A0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>
                  <a:solidFill>
                    <a:schemeClr val="tx1"/>
                  </a:solidFill>
                </a:rPr>
                <a:t>Average Daily Peak (kW)</a:t>
              </a:r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4B78FE86-FA0B-4D18-EF8B-455B56B6758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86156" y="4061323"/>
              <a:ext cx="2527367" cy="199006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3BEFF8F8-F4FA-EB2C-942E-8553CF7D6126}"/>
                </a:ext>
              </a:extLst>
            </p:cNvPr>
            <p:cNvSpPr txBox="1"/>
            <p:nvPr/>
          </p:nvSpPr>
          <p:spPr>
            <a:xfrm>
              <a:off x="4680157" y="3842920"/>
              <a:ext cx="957537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0 kW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3990C727-88A1-FEDD-B0DE-CDE50237606E}"/>
                </a:ext>
              </a:extLst>
            </p:cNvPr>
            <p:cNvSpPr txBox="1"/>
            <p:nvPr/>
          </p:nvSpPr>
          <p:spPr>
            <a:xfrm>
              <a:off x="6503864" y="3815559"/>
              <a:ext cx="1215055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60 k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1665001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7DDE1E-923B-9B90-5A69-04DCB87BA9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A map of the city&#10;&#10;AI-generated content may be incorrect.">
            <a:extLst>
              <a:ext uri="{FF2B5EF4-FFF2-40B4-BE49-F238E27FC236}">
                <a16:creationId xmlns:a16="http://schemas.microsoft.com/office/drawing/2014/main" id="{BFFAA348-0A3E-BF9E-5094-03F4F0B4B1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76" b="18280"/>
          <a:stretch/>
        </p:blipFill>
        <p:spPr>
          <a:xfrm>
            <a:off x="8615060" y="2442569"/>
            <a:ext cx="2518122" cy="2282551"/>
          </a:xfrm>
          <a:prstGeom prst="rect">
            <a:avLst/>
          </a:prstGeom>
        </p:spPr>
      </p:pic>
      <p:pic>
        <p:nvPicPr>
          <p:cNvPr id="17" name="Picture 16" descr="A map of a city&#10;&#10;AI-generated content may be incorrect.">
            <a:extLst>
              <a:ext uri="{FF2B5EF4-FFF2-40B4-BE49-F238E27FC236}">
                <a16:creationId xmlns:a16="http://schemas.microsoft.com/office/drawing/2014/main" id="{9D3603ED-CC8A-A068-AD63-E3989AF915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76" b="18280"/>
          <a:stretch/>
        </p:blipFill>
        <p:spPr>
          <a:xfrm>
            <a:off x="6071728" y="2433743"/>
            <a:ext cx="2518122" cy="2282551"/>
          </a:xfrm>
          <a:prstGeom prst="rect">
            <a:avLst/>
          </a:prstGeom>
        </p:spPr>
      </p:pic>
      <p:pic>
        <p:nvPicPr>
          <p:cNvPr id="16" name="Picture 15" descr="A map of a city&#10;&#10;AI-generated content may be incorrect.">
            <a:extLst>
              <a:ext uri="{FF2B5EF4-FFF2-40B4-BE49-F238E27FC236}">
                <a16:creationId xmlns:a16="http://schemas.microsoft.com/office/drawing/2014/main" id="{12216913-B9B5-6FA8-348E-9D1F91D51EC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76" b="18280"/>
          <a:stretch/>
        </p:blipFill>
        <p:spPr>
          <a:xfrm>
            <a:off x="3542506" y="2442569"/>
            <a:ext cx="2518122" cy="2282551"/>
          </a:xfrm>
          <a:prstGeom prst="rect">
            <a:avLst/>
          </a:prstGeom>
        </p:spPr>
      </p:pic>
      <p:pic>
        <p:nvPicPr>
          <p:cNvPr id="13" name="Picture 12" descr="A map of a city&#10;&#10;AI-generated content may be incorrect.">
            <a:extLst>
              <a:ext uri="{FF2B5EF4-FFF2-40B4-BE49-F238E27FC236}">
                <a16:creationId xmlns:a16="http://schemas.microsoft.com/office/drawing/2014/main" id="{E01166E3-E447-3D6A-B020-A9A4E412E2C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76" b="18280"/>
          <a:stretch/>
        </p:blipFill>
        <p:spPr>
          <a:xfrm>
            <a:off x="1002763" y="2442569"/>
            <a:ext cx="2518122" cy="2282551"/>
          </a:xfrm>
          <a:prstGeom prst="rect">
            <a:avLst/>
          </a:prstGeom>
        </p:spPr>
      </p:pic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E12DF2BB-9D53-F4FC-9A02-7695A38A2D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DAAFF7-831C-39CE-F55F-56FF6F41A2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41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F50ABF8-8D70-1091-9574-1208D1B822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Example CDM outputs using 2023 IEP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905C27-865B-4D9E-D5CF-4269B8A2F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n Diego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DDFAAC0-95EC-F984-DE19-396FAD46E20B}"/>
              </a:ext>
            </a:extLst>
          </p:cNvPr>
          <p:cNvSpPr txBox="1"/>
          <p:nvPr/>
        </p:nvSpPr>
        <p:spPr>
          <a:xfrm>
            <a:off x="993058" y="2064411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/>
              <a:t>202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0593AB-A5A1-F5D9-F4E1-268031124EEC}"/>
              </a:ext>
            </a:extLst>
          </p:cNvPr>
          <p:cNvSpPr txBox="1"/>
          <p:nvPr/>
        </p:nvSpPr>
        <p:spPr>
          <a:xfrm>
            <a:off x="3503305" y="2064411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/>
              <a:t>2030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D2108B-D68D-C408-F015-9C17D705BB02}"/>
              </a:ext>
            </a:extLst>
          </p:cNvPr>
          <p:cNvSpPr txBox="1"/>
          <p:nvPr/>
        </p:nvSpPr>
        <p:spPr>
          <a:xfrm>
            <a:off x="6013552" y="2064411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/>
              <a:t>203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C8BC558-6FCC-D7DD-124F-B2EA5E6D0642}"/>
              </a:ext>
            </a:extLst>
          </p:cNvPr>
          <p:cNvSpPr txBox="1"/>
          <p:nvPr/>
        </p:nvSpPr>
        <p:spPr>
          <a:xfrm>
            <a:off x="8523799" y="2064411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/>
              <a:t>2040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1FA985A-26EC-0B73-4852-E8A4EC85951B}"/>
              </a:ext>
            </a:extLst>
          </p:cNvPr>
          <p:cNvGrpSpPr/>
          <p:nvPr/>
        </p:nvGrpSpPr>
        <p:grpSpPr>
          <a:xfrm>
            <a:off x="9559582" y="2434601"/>
            <a:ext cx="1622914" cy="717283"/>
            <a:chOff x="4680157" y="3500284"/>
            <a:chExt cx="3038762" cy="835743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9E15B3B-90AF-E54E-BF8D-8A57A33C1759}"/>
                </a:ext>
              </a:extLst>
            </p:cNvPr>
            <p:cNvSpPr/>
            <p:nvPr/>
          </p:nvSpPr>
          <p:spPr>
            <a:xfrm>
              <a:off x="4739148" y="3500284"/>
              <a:ext cx="2841523" cy="8357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A0A0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>
                  <a:solidFill>
                    <a:schemeClr val="tx1"/>
                  </a:solidFill>
                </a:rPr>
                <a:t>Average Daily Peak (kW)</a:t>
              </a: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BD883F30-58C0-60A4-4CBC-361C43753E1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86156" y="4061323"/>
              <a:ext cx="2527367" cy="199006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6F51919-859F-982D-3AAF-936A35760866}"/>
                </a:ext>
              </a:extLst>
            </p:cNvPr>
            <p:cNvSpPr txBox="1"/>
            <p:nvPr/>
          </p:nvSpPr>
          <p:spPr>
            <a:xfrm>
              <a:off x="4680157" y="3842920"/>
              <a:ext cx="957537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0 kW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CA84779-CCD7-6AE2-8926-CB2340DB1EEB}"/>
                </a:ext>
              </a:extLst>
            </p:cNvPr>
            <p:cNvSpPr txBox="1"/>
            <p:nvPr/>
          </p:nvSpPr>
          <p:spPr>
            <a:xfrm>
              <a:off x="6503864" y="3815559"/>
              <a:ext cx="1215055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700 kW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BC5A2E33-69AD-0FB8-69CE-7CC0669B7ED4}"/>
              </a:ext>
            </a:extLst>
          </p:cNvPr>
          <p:cNvGrpSpPr/>
          <p:nvPr/>
        </p:nvGrpSpPr>
        <p:grpSpPr>
          <a:xfrm>
            <a:off x="7026531" y="2442570"/>
            <a:ext cx="1622914" cy="717283"/>
            <a:chOff x="4680157" y="3500284"/>
            <a:chExt cx="3038762" cy="835743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62275767-7AC9-937F-4979-6E7E84ADF784}"/>
                </a:ext>
              </a:extLst>
            </p:cNvPr>
            <p:cNvSpPr/>
            <p:nvPr/>
          </p:nvSpPr>
          <p:spPr>
            <a:xfrm>
              <a:off x="4739148" y="3500284"/>
              <a:ext cx="2841523" cy="8357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A0A0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>
                  <a:solidFill>
                    <a:schemeClr val="tx1"/>
                  </a:solidFill>
                </a:rPr>
                <a:t>Average Daily Peak (kW)</a:t>
              </a: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238C2BD5-00C9-CD6B-F472-CBBFFFB54E7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86156" y="4061323"/>
              <a:ext cx="2527367" cy="199006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91D1ADD-EFC5-B394-66FD-8CBCBDA98409}"/>
                </a:ext>
              </a:extLst>
            </p:cNvPr>
            <p:cNvSpPr txBox="1"/>
            <p:nvPr/>
          </p:nvSpPr>
          <p:spPr>
            <a:xfrm>
              <a:off x="4680157" y="3842920"/>
              <a:ext cx="957537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0 kW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41917D4D-440E-59CC-B7E9-F71E8B97B1B3}"/>
                </a:ext>
              </a:extLst>
            </p:cNvPr>
            <p:cNvSpPr txBox="1"/>
            <p:nvPr/>
          </p:nvSpPr>
          <p:spPr>
            <a:xfrm>
              <a:off x="6503864" y="3815559"/>
              <a:ext cx="1215055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500 kW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0757F6A9-BD0C-71EF-D319-AF9F378EE1BE}"/>
              </a:ext>
            </a:extLst>
          </p:cNvPr>
          <p:cNvGrpSpPr/>
          <p:nvPr/>
        </p:nvGrpSpPr>
        <p:grpSpPr>
          <a:xfrm>
            <a:off x="4490663" y="2442569"/>
            <a:ext cx="1622914" cy="717283"/>
            <a:chOff x="4680157" y="3500284"/>
            <a:chExt cx="3038762" cy="835743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8F3D2D62-B732-4796-C4AE-BEDE4128D495}"/>
                </a:ext>
              </a:extLst>
            </p:cNvPr>
            <p:cNvSpPr/>
            <p:nvPr/>
          </p:nvSpPr>
          <p:spPr>
            <a:xfrm>
              <a:off x="4739148" y="3500284"/>
              <a:ext cx="2841523" cy="8357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A0A0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>
                  <a:solidFill>
                    <a:schemeClr val="tx1"/>
                  </a:solidFill>
                </a:rPr>
                <a:t>Average Daily Peak (kW)</a:t>
              </a:r>
            </a:p>
          </p:txBody>
        </p: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D89DD4E7-990B-CCDB-1E99-65F05D1DD2F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86156" y="4061323"/>
              <a:ext cx="2527367" cy="199006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92ECF5F0-CA0D-B2B1-823C-F5B74D1DB976}"/>
                </a:ext>
              </a:extLst>
            </p:cNvPr>
            <p:cNvSpPr txBox="1"/>
            <p:nvPr/>
          </p:nvSpPr>
          <p:spPr>
            <a:xfrm>
              <a:off x="4680157" y="3842920"/>
              <a:ext cx="957537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0 kW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6516544-8C4B-27C6-8F2A-524B1305892F}"/>
                </a:ext>
              </a:extLst>
            </p:cNvPr>
            <p:cNvSpPr txBox="1"/>
            <p:nvPr/>
          </p:nvSpPr>
          <p:spPr>
            <a:xfrm>
              <a:off x="6503864" y="3815559"/>
              <a:ext cx="1215055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200 kW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30AFB52-8984-9F20-1595-D094375D1EBB}"/>
              </a:ext>
            </a:extLst>
          </p:cNvPr>
          <p:cNvGrpSpPr/>
          <p:nvPr/>
        </p:nvGrpSpPr>
        <p:grpSpPr>
          <a:xfrm>
            <a:off x="1954795" y="2442569"/>
            <a:ext cx="1622914" cy="717283"/>
            <a:chOff x="4680157" y="3500284"/>
            <a:chExt cx="3038762" cy="835743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DDA0E133-AED3-C35E-9B0D-E5EFF22AFC69}"/>
                </a:ext>
              </a:extLst>
            </p:cNvPr>
            <p:cNvSpPr/>
            <p:nvPr/>
          </p:nvSpPr>
          <p:spPr>
            <a:xfrm>
              <a:off x="4739148" y="3500284"/>
              <a:ext cx="2841523" cy="8357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A0A0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>
                  <a:solidFill>
                    <a:schemeClr val="tx1"/>
                  </a:solidFill>
                </a:rPr>
                <a:t>Average Daily Peak (kW)</a:t>
              </a:r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C4DECCAD-7874-7017-9626-54D10795DCE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86156" y="4061323"/>
              <a:ext cx="2527367" cy="199006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DCAA0EFC-8FB4-3EFC-C9E1-F5D756947F15}"/>
                </a:ext>
              </a:extLst>
            </p:cNvPr>
            <p:cNvSpPr txBox="1"/>
            <p:nvPr/>
          </p:nvSpPr>
          <p:spPr>
            <a:xfrm>
              <a:off x="4680157" y="3842920"/>
              <a:ext cx="957537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0 kW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2F6CBFB3-7897-31BB-F67E-168CB888DDD8}"/>
                </a:ext>
              </a:extLst>
            </p:cNvPr>
            <p:cNvSpPr txBox="1"/>
            <p:nvPr/>
          </p:nvSpPr>
          <p:spPr>
            <a:xfrm>
              <a:off x="6503864" y="3815559"/>
              <a:ext cx="1215055" cy="286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00"/>
                <a:t>60 k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6131043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04921C-B544-41FB-5FF8-C035C4FD89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941D79-CA2A-C69E-B826-5B9127DA84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42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136806-6258-17B8-584B-89B89B45E5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Example CDM outputs using 2023 IEP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028BA95-4561-99EE-E31A-A09028C389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2024 Daily Peak Load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C4BE13A-98E8-B3C2-6532-E40CC63810F4}"/>
              </a:ext>
            </a:extLst>
          </p:cNvPr>
          <p:cNvGrpSpPr/>
          <p:nvPr/>
        </p:nvGrpSpPr>
        <p:grpSpPr>
          <a:xfrm>
            <a:off x="609600" y="1757288"/>
            <a:ext cx="5219117" cy="4761489"/>
            <a:chOff x="609600" y="1630288"/>
            <a:chExt cx="5219117" cy="4761489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5C1988BE-B00E-9BC9-AE7A-102645FB46E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45921" y="1861107"/>
              <a:ext cx="5182796" cy="4530670"/>
            </a:xfrm>
            <a:prstGeom prst="rect">
              <a:avLst/>
            </a:prstGeom>
            <a:ln>
              <a:solidFill>
                <a:schemeClr val="tx2">
                  <a:lumMod val="50000"/>
                  <a:lumOff val="50000"/>
                </a:schemeClr>
              </a:solidFill>
            </a:ln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D19DA3F-74E8-1B02-E429-72CEE477DF9B}"/>
                </a:ext>
              </a:extLst>
            </p:cNvPr>
            <p:cNvSpPr/>
            <p:nvPr/>
          </p:nvSpPr>
          <p:spPr>
            <a:xfrm>
              <a:off x="609600" y="1630288"/>
              <a:ext cx="5219117" cy="230819"/>
            </a:xfrm>
            <a:prstGeom prst="rect">
              <a:avLst/>
            </a:prstGeom>
            <a:solidFill>
              <a:schemeClr val="tx2">
                <a:lumMod val="90000"/>
                <a:lumOff val="1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California Highway Corridors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67F1DB4E-3856-549F-4D22-601F129EFAE4}"/>
              </a:ext>
            </a:extLst>
          </p:cNvPr>
          <p:cNvSpPr txBox="1"/>
          <p:nvPr/>
        </p:nvSpPr>
        <p:spPr>
          <a:xfrm>
            <a:off x="5236023" y="719965"/>
            <a:ext cx="6310055" cy="64633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l"/>
            <a:r>
              <a:rPr lang="en-US" sz="1200"/>
              <a:t>Load from Drayage vehicles concentrated in metro areas like LA and San Francisco.  Transit Buses and LD vehicles contribute to load along routes connecting cities, such as </a:t>
            </a:r>
            <a:r>
              <a:rPr lang="en-US" sz="1200" b="1"/>
              <a:t>SR-99, I-5, I-10 and I-15 </a:t>
            </a:r>
            <a:r>
              <a:rPr lang="en-US" sz="1200"/>
              <a:t>into Las Vegas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AEB5BED-F6CA-64C6-0C2C-A098A3644616}"/>
              </a:ext>
            </a:extLst>
          </p:cNvPr>
          <p:cNvSpPr/>
          <p:nvPr/>
        </p:nvSpPr>
        <p:spPr>
          <a:xfrm rot="19328729">
            <a:off x="2183902" y="4194671"/>
            <a:ext cx="404213" cy="474191"/>
          </a:xfrm>
          <a:prstGeom prst="ellipse">
            <a:avLst/>
          </a:prstGeom>
          <a:noFill/>
          <a:ln w="19050">
            <a:solidFill>
              <a:srgbClr val="D3276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5DFEA473-E08B-D760-AF85-F21449F6BE92}"/>
              </a:ext>
            </a:extLst>
          </p:cNvPr>
          <p:cNvSpPr/>
          <p:nvPr/>
        </p:nvSpPr>
        <p:spPr>
          <a:xfrm rot="19328729">
            <a:off x="3172183" y="5761440"/>
            <a:ext cx="324626" cy="570811"/>
          </a:xfrm>
          <a:prstGeom prst="ellipse">
            <a:avLst/>
          </a:prstGeom>
          <a:noFill/>
          <a:ln w="19050">
            <a:solidFill>
              <a:srgbClr val="D3276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782B57BC-16EF-981D-CA87-41735522B1C0}"/>
              </a:ext>
            </a:extLst>
          </p:cNvPr>
          <p:cNvSpPr/>
          <p:nvPr/>
        </p:nvSpPr>
        <p:spPr>
          <a:xfrm rot="19328729">
            <a:off x="3078318" y="5187874"/>
            <a:ext cx="1069142" cy="474191"/>
          </a:xfrm>
          <a:prstGeom prst="ellipse">
            <a:avLst/>
          </a:prstGeom>
          <a:noFill/>
          <a:ln w="19050">
            <a:solidFill>
              <a:srgbClr val="D3276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74BBB2D-3B30-D514-DC6A-445B69014C53}"/>
              </a:ext>
            </a:extLst>
          </p:cNvPr>
          <p:cNvSpPr/>
          <p:nvPr/>
        </p:nvSpPr>
        <p:spPr>
          <a:xfrm rot="595406">
            <a:off x="3458348" y="5629864"/>
            <a:ext cx="1069142" cy="474191"/>
          </a:xfrm>
          <a:prstGeom prst="ellipse">
            <a:avLst/>
          </a:prstGeom>
          <a:noFill/>
          <a:ln w="19050">
            <a:solidFill>
              <a:srgbClr val="D3276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898338E-13F7-9554-EF8A-DB02E500812A}"/>
              </a:ext>
            </a:extLst>
          </p:cNvPr>
          <p:cNvGrpSpPr/>
          <p:nvPr/>
        </p:nvGrpSpPr>
        <p:grpSpPr>
          <a:xfrm>
            <a:off x="6360343" y="1757288"/>
            <a:ext cx="5188675" cy="4797761"/>
            <a:chOff x="6360343" y="1630288"/>
            <a:chExt cx="5188675" cy="4797761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6A1D02A-6878-9A59-59A7-18E797B0D2DE}"/>
                </a:ext>
              </a:extLst>
            </p:cNvPr>
            <p:cNvSpPr/>
            <p:nvPr/>
          </p:nvSpPr>
          <p:spPr>
            <a:xfrm>
              <a:off x="6360343" y="1630288"/>
              <a:ext cx="5185736" cy="230819"/>
            </a:xfrm>
            <a:prstGeom prst="rect">
              <a:avLst/>
            </a:prstGeom>
            <a:solidFill>
              <a:schemeClr val="tx2">
                <a:lumMod val="90000"/>
                <a:lumOff val="1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SB 671 Corridors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4E041452-7AB8-B2C2-510B-5586A834CE00}"/>
                </a:ext>
              </a:extLst>
            </p:cNvPr>
            <p:cNvGrpSpPr/>
            <p:nvPr/>
          </p:nvGrpSpPr>
          <p:grpSpPr>
            <a:xfrm>
              <a:off x="6360343" y="1861107"/>
              <a:ext cx="5188675" cy="4566942"/>
              <a:chOff x="6360343" y="1861107"/>
              <a:chExt cx="5188675" cy="4566942"/>
            </a:xfrm>
          </p:grpSpPr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F0D7DEEE-EFE3-67CE-18FD-32B5AC5731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360343" y="1861107"/>
                <a:ext cx="5188675" cy="4522111"/>
              </a:xfrm>
              <a:prstGeom prst="rect">
                <a:avLst/>
              </a:prstGeom>
              <a:ln>
                <a:solidFill>
                  <a:schemeClr val="tx2">
                    <a:lumMod val="50000"/>
                    <a:lumOff val="50000"/>
                  </a:schemeClr>
                </a:solidFill>
              </a:ln>
            </p:spPr>
          </p:pic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4B72144D-1832-279A-723D-A5D5F3763950}"/>
                  </a:ext>
                </a:extLst>
              </p:cNvPr>
              <p:cNvSpPr/>
              <p:nvPr/>
            </p:nvSpPr>
            <p:spPr>
              <a:xfrm rot="19328729">
                <a:off x="8723439" y="5656803"/>
                <a:ext cx="472425" cy="771246"/>
              </a:xfrm>
              <a:prstGeom prst="ellipse">
                <a:avLst/>
              </a:prstGeom>
              <a:noFill/>
              <a:ln w="19050">
                <a:solidFill>
                  <a:srgbClr val="D3276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" name="Oval 3">
                <a:extLst>
                  <a:ext uri="{FF2B5EF4-FFF2-40B4-BE49-F238E27FC236}">
                    <a16:creationId xmlns:a16="http://schemas.microsoft.com/office/drawing/2014/main" id="{CE2E1B34-267A-4E46-58B8-5DC3B3DC7666}"/>
                  </a:ext>
                </a:extLst>
              </p:cNvPr>
              <p:cNvSpPr/>
              <p:nvPr/>
            </p:nvSpPr>
            <p:spPr>
              <a:xfrm rot="19328729">
                <a:off x="8865408" y="5138973"/>
                <a:ext cx="1003204" cy="474191"/>
              </a:xfrm>
              <a:prstGeom prst="ellipse">
                <a:avLst/>
              </a:prstGeom>
              <a:noFill/>
              <a:ln w="19050">
                <a:solidFill>
                  <a:srgbClr val="D3276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B69EC3B5-92FC-F923-74C4-EE76D27FA9EB}"/>
                  </a:ext>
                </a:extLst>
              </p:cNvPr>
              <p:cNvSpPr/>
              <p:nvPr/>
            </p:nvSpPr>
            <p:spPr>
              <a:xfrm rot="19328729">
                <a:off x="7917971" y="4182787"/>
                <a:ext cx="407981" cy="474191"/>
              </a:xfrm>
              <a:prstGeom prst="ellipse">
                <a:avLst/>
              </a:prstGeom>
              <a:noFill/>
              <a:ln w="19050">
                <a:solidFill>
                  <a:srgbClr val="D3276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D47584DE-69F4-269A-56E8-C01A3E9BEB36}"/>
                  </a:ext>
                </a:extLst>
              </p:cNvPr>
              <p:cNvSpPr/>
              <p:nvPr/>
            </p:nvSpPr>
            <p:spPr>
              <a:xfrm rot="1274029">
                <a:off x="9198506" y="5605308"/>
                <a:ext cx="1003204" cy="474191"/>
              </a:xfrm>
              <a:prstGeom prst="ellipse">
                <a:avLst/>
              </a:prstGeom>
              <a:noFill/>
              <a:ln w="19050">
                <a:solidFill>
                  <a:srgbClr val="D3276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7348259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04921C-B544-41FB-5FF8-C035C4FD89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941D79-CA2A-C69E-B826-5B9127DA84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43</a:t>
            </a:fld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C9F2B7F-4B48-B495-7B94-75FC4F23A5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Example CDM outputs using 2023 IEP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028BA95-4561-99EE-E31A-A09028C389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2045 Daily Peak Load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DF3EF03-140D-B907-545C-2F713E5B7BA2}"/>
              </a:ext>
            </a:extLst>
          </p:cNvPr>
          <p:cNvSpPr txBox="1"/>
          <p:nvPr/>
        </p:nvSpPr>
        <p:spPr>
          <a:xfrm>
            <a:off x="5295900" y="591969"/>
            <a:ext cx="6147792" cy="83099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l"/>
            <a:r>
              <a:rPr lang="en-US" sz="1200"/>
              <a:t>Load is driven by a </a:t>
            </a:r>
            <a:r>
              <a:rPr lang="en-US" sz="1200" b="1"/>
              <a:t>high traffic volume</a:t>
            </a:r>
            <a:r>
              <a:rPr lang="en-US" sz="1200"/>
              <a:t>, and relatively </a:t>
            </a:r>
            <a:r>
              <a:rPr lang="en-US" sz="1200" b="1"/>
              <a:t>lower states of charge</a:t>
            </a:r>
            <a:r>
              <a:rPr lang="en-US" sz="1200"/>
              <a:t> for vehicles, leading to concentrations along major corridors that connect cities.  I-5 and SR-99, connecting LA and San Diego to San Francisco and Sacramento, see the highest load, along with I-10 and I-15, connecting LA and San Diego with Nevada and Arizona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458C897-7BE5-ECC1-C1CA-4C1CF7FE516C}"/>
              </a:ext>
            </a:extLst>
          </p:cNvPr>
          <p:cNvGrpSpPr/>
          <p:nvPr/>
        </p:nvGrpSpPr>
        <p:grpSpPr>
          <a:xfrm>
            <a:off x="6437956" y="1721421"/>
            <a:ext cx="5005737" cy="4792565"/>
            <a:chOff x="6437956" y="1594421"/>
            <a:chExt cx="5005737" cy="4792565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618650FB-642E-D080-2277-07FB2C4EB27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437956" y="1834577"/>
              <a:ext cx="5005736" cy="4552409"/>
            </a:xfrm>
            <a:prstGeom prst="rect">
              <a:avLst/>
            </a:prstGeom>
            <a:ln>
              <a:solidFill>
                <a:schemeClr val="tx2">
                  <a:lumMod val="50000"/>
                  <a:lumOff val="50000"/>
                </a:schemeClr>
              </a:solidFill>
            </a:ln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3746DD0-7A79-B59F-7F83-6E0D127DF36D}"/>
                </a:ext>
              </a:extLst>
            </p:cNvPr>
            <p:cNvSpPr/>
            <p:nvPr/>
          </p:nvSpPr>
          <p:spPr>
            <a:xfrm>
              <a:off x="6437957" y="1594421"/>
              <a:ext cx="5005736" cy="230819"/>
            </a:xfrm>
            <a:prstGeom prst="rect">
              <a:avLst/>
            </a:prstGeom>
            <a:solidFill>
              <a:schemeClr val="tx2">
                <a:lumMod val="90000"/>
                <a:lumOff val="1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SB 671 Corridors</a:t>
              </a: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356FC1D0-9D39-DD08-EDC5-D3972F5F0537}"/>
                </a:ext>
              </a:extLst>
            </p:cNvPr>
            <p:cNvSpPr/>
            <p:nvPr/>
          </p:nvSpPr>
          <p:spPr>
            <a:xfrm rot="20238801">
              <a:off x="7729455" y="4108482"/>
              <a:ext cx="651553" cy="777755"/>
            </a:xfrm>
            <a:prstGeom prst="ellipse">
              <a:avLst/>
            </a:prstGeom>
            <a:noFill/>
            <a:ln w="19050">
              <a:solidFill>
                <a:srgbClr val="D3276C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BB96744B-C71D-441B-626C-D09225416E71}"/>
                </a:ext>
              </a:extLst>
            </p:cNvPr>
            <p:cNvSpPr/>
            <p:nvPr/>
          </p:nvSpPr>
          <p:spPr>
            <a:xfrm rot="19576834">
              <a:off x="8784918" y="5095973"/>
              <a:ext cx="1263236" cy="385538"/>
            </a:xfrm>
            <a:prstGeom prst="ellipse">
              <a:avLst/>
            </a:prstGeom>
            <a:noFill/>
            <a:ln w="19050">
              <a:solidFill>
                <a:srgbClr val="D3276C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D130F6CD-BE55-9153-9433-514DD243AD61}"/>
                </a:ext>
              </a:extLst>
            </p:cNvPr>
            <p:cNvSpPr/>
            <p:nvPr/>
          </p:nvSpPr>
          <p:spPr>
            <a:xfrm rot="826508">
              <a:off x="8907726" y="5661707"/>
              <a:ext cx="1263236" cy="385538"/>
            </a:xfrm>
            <a:prstGeom prst="ellipse">
              <a:avLst/>
            </a:prstGeom>
            <a:noFill/>
            <a:ln w="19050">
              <a:solidFill>
                <a:srgbClr val="D3276C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4260C7F-7E4A-D66B-157D-94DAAEE69F28}"/>
              </a:ext>
            </a:extLst>
          </p:cNvPr>
          <p:cNvGrpSpPr/>
          <p:nvPr/>
        </p:nvGrpSpPr>
        <p:grpSpPr>
          <a:xfrm>
            <a:off x="591843" y="1721422"/>
            <a:ext cx="5265162" cy="4789083"/>
            <a:chOff x="591843" y="1594422"/>
            <a:chExt cx="5265162" cy="4789083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BF87CA39-129C-F23E-13F1-092B72BE34C9}"/>
                </a:ext>
              </a:extLst>
            </p:cNvPr>
            <p:cNvGrpSpPr/>
            <p:nvPr/>
          </p:nvGrpSpPr>
          <p:grpSpPr>
            <a:xfrm>
              <a:off x="609600" y="1799025"/>
              <a:ext cx="5247405" cy="4584480"/>
              <a:chOff x="609600" y="1799025"/>
              <a:chExt cx="5247405" cy="4584480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69ED64F0-A003-1D50-CD31-796F2E64E8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09600" y="1799025"/>
                <a:ext cx="5247405" cy="4584480"/>
              </a:xfrm>
              <a:prstGeom prst="rect">
                <a:avLst/>
              </a:prstGeom>
              <a:ln>
                <a:solidFill>
                  <a:schemeClr val="tx2">
                    <a:lumMod val="50000"/>
                    <a:lumOff val="50000"/>
                  </a:schemeClr>
                </a:solidFill>
              </a:ln>
            </p:spPr>
          </p:pic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87CCF687-1DBC-0AA5-8871-F306C423DCD4}"/>
                  </a:ext>
                </a:extLst>
              </p:cNvPr>
              <p:cNvSpPr/>
              <p:nvPr/>
            </p:nvSpPr>
            <p:spPr>
              <a:xfrm rot="20238801">
                <a:off x="1955446" y="4156108"/>
                <a:ext cx="651553" cy="777755"/>
              </a:xfrm>
              <a:prstGeom prst="ellipse">
                <a:avLst/>
              </a:prstGeom>
              <a:noFill/>
              <a:ln w="19050">
                <a:solidFill>
                  <a:srgbClr val="D3276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" name="Oval 3">
                <a:extLst>
                  <a:ext uri="{FF2B5EF4-FFF2-40B4-BE49-F238E27FC236}">
                    <a16:creationId xmlns:a16="http://schemas.microsoft.com/office/drawing/2014/main" id="{C9FB6F76-72A6-040B-26D4-8771250EE4D5}"/>
                  </a:ext>
                </a:extLst>
              </p:cNvPr>
              <p:cNvSpPr/>
              <p:nvPr/>
            </p:nvSpPr>
            <p:spPr>
              <a:xfrm rot="19576834">
                <a:off x="3087109" y="5095974"/>
                <a:ext cx="1263236" cy="385538"/>
              </a:xfrm>
              <a:prstGeom prst="ellipse">
                <a:avLst/>
              </a:prstGeom>
              <a:noFill/>
              <a:ln w="19050">
                <a:solidFill>
                  <a:srgbClr val="D3276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E12050FE-012B-6244-7558-DC62F17EA577}"/>
                  </a:ext>
                </a:extLst>
              </p:cNvPr>
              <p:cNvSpPr/>
              <p:nvPr/>
            </p:nvSpPr>
            <p:spPr>
              <a:xfrm rot="826508">
                <a:off x="3209917" y="5661708"/>
                <a:ext cx="1263236" cy="385538"/>
              </a:xfrm>
              <a:prstGeom prst="ellipse">
                <a:avLst/>
              </a:prstGeom>
              <a:noFill/>
              <a:ln w="19050">
                <a:solidFill>
                  <a:srgbClr val="D3276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715983B-731F-A05F-A1D0-661E2B14E751}"/>
                </a:ext>
              </a:extLst>
            </p:cNvPr>
            <p:cNvSpPr/>
            <p:nvPr/>
          </p:nvSpPr>
          <p:spPr>
            <a:xfrm>
              <a:off x="591843" y="1594422"/>
              <a:ext cx="5265162" cy="230819"/>
            </a:xfrm>
            <a:prstGeom prst="rect">
              <a:avLst/>
            </a:prstGeom>
            <a:solidFill>
              <a:schemeClr val="tx2">
                <a:lumMod val="90000"/>
                <a:lumOff val="1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California Highway Corrido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4337896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Picture 48">
            <a:extLst>
              <a:ext uri="{FF2B5EF4-FFF2-40B4-BE49-F238E27FC236}">
                <a16:creationId xmlns:a16="http://schemas.microsoft.com/office/drawing/2014/main" id="{152FFB5F-FA97-76F1-AB7D-11D7B3F12A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184" y="4119548"/>
            <a:ext cx="533474" cy="1924319"/>
          </a:xfrm>
          <a:prstGeom prst="rect">
            <a:avLst/>
          </a:prstGeom>
        </p:spPr>
      </p:pic>
      <p:sp>
        <p:nvSpPr>
          <p:cNvPr id="39" name="Title 38">
            <a:extLst>
              <a:ext uri="{FF2B5EF4-FFF2-40B4-BE49-F238E27FC236}">
                <a16:creationId xmlns:a16="http://schemas.microsoft.com/office/drawing/2014/main" id="{E0B1AB3F-6881-077F-F26F-86A918CAFB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ank You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47FCBBB4-48DF-B6D0-B2F7-FC5B8112B95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599" y="2126206"/>
            <a:ext cx="2641598" cy="4542951"/>
          </a:xfrm>
        </p:spPr>
        <p:txBody>
          <a:bodyPr/>
          <a:lstStyle/>
          <a:p>
            <a:r>
              <a:rPr lang="en-US" sz="1200" b="1" u="none"/>
              <a:t>Derek Jones</a:t>
            </a:r>
          </a:p>
          <a:p>
            <a:r>
              <a:rPr lang="en-US" sz="1050" u="none"/>
              <a:t>Director</a:t>
            </a:r>
          </a:p>
          <a:p>
            <a:r>
              <a:rPr lang="en-US" sz="1050" u="none">
                <a:hlinkClick r:id="rId3"/>
              </a:rPr>
              <a:t>d</a:t>
            </a:r>
            <a:r>
              <a:rPr lang="en-US" sz="1050" u="none">
                <a:hlinkClick r:id="rId4"/>
              </a:rPr>
              <a:t>erek.jones@guidehouse.com</a:t>
            </a:r>
            <a:r>
              <a:rPr lang="en-US" sz="1050" u="none"/>
              <a:t> </a:t>
            </a:r>
          </a:p>
          <a:p>
            <a:r>
              <a:rPr lang="en-US" sz="1200" b="1" u="none"/>
              <a:t>Karen Maoz</a:t>
            </a:r>
          </a:p>
          <a:p>
            <a:r>
              <a:rPr lang="en-US" u="none"/>
              <a:t>Associate Director</a:t>
            </a:r>
          </a:p>
          <a:p>
            <a:r>
              <a:rPr lang="en-US" u="none">
                <a:hlinkClick r:id="rId5"/>
              </a:rPr>
              <a:t>karen.maoz@guidehouse.com</a:t>
            </a:r>
            <a:r>
              <a:rPr lang="en-US" u="none"/>
              <a:t> </a:t>
            </a:r>
          </a:p>
          <a:p>
            <a:r>
              <a:rPr lang="en-US" sz="1200" b="1" u="none"/>
              <a:t>Tiina Aardemae</a:t>
            </a:r>
          </a:p>
          <a:p>
            <a:r>
              <a:rPr lang="en-US" u="none"/>
              <a:t>Associate Director</a:t>
            </a:r>
          </a:p>
          <a:p>
            <a:r>
              <a:rPr lang="en-US" u="none">
                <a:hlinkClick r:id="rId6"/>
              </a:rPr>
              <a:t>taardemae@guidehouse.com</a:t>
            </a:r>
            <a:endParaRPr lang="en-US" u="none"/>
          </a:p>
          <a:p>
            <a:endParaRPr lang="en-US" u="none"/>
          </a:p>
          <a:p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307B46-ABA5-8F42-EFF9-3BB272A5D9FB}"/>
              </a:ext>
            </a:extLst>
          </p:cNvPr>
          <p:cNvSpPr/>
          <p:nvPr/>
        </p:nvSpPr>
        <p:spPr>
          <a:xfrm>
            <a:off x="4045226" y="0"/>
            <a:ext cx="8146774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35FC200-1199-FF98-864F-0DA4328696E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31497" y="0"/>
            <a:ext cx="2960503" cy="6858000"/>
          </a:xfrm>
          <a:prstGeom prst="rect">
            <a:avLst/>
          </a:prstGeom>
        </p:spPr>
      </p:pic>
      <p:sp>
        <p:nvSpPr>
          <p:cNvPr id="18" name="Text Placeholder 40">
            <a:extLst>
              <a:ext uri="{FF2B5EF4-FFF2-40B4-BE49-F238E27FC236}">
                <a16:creationId xmlns:a16="http://schemas.microsoft.com/office/drawing/2014/main" id="{EAE72FD6-1A69-5BB3-A0A7-E6DF27272392}"/>
              </a:ext>
            </a:extLst>
          </p:cNvPr>
          <p:cNvSpPr txBox="1">
            <a:spLocks/>
          </p:cNvSpPr>
          <p:nvPr/>
        </p:nvSpPr>
        <p:spPr>
          <a:xfrm>
            <a:off x="3760304" y="2126206"/>
            <a:ext cx="2641598" cy="26644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u="sng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u="none"/>
              <a:t>Vivek Nath</a:t>
            </a:r>
          </a:p>
          <a:p>
            <a:r>
              <a:rPr lang="en-US" sz="1050" u="none"/>
              <a:t>Associate Director</a:t>
            </a:r>
          </a:p>
          <a:p>
            <a:r>
              <a:rPr lang="en-US" sz="1050" u="none">
                <a:hlinkClick r:id="rId8"/>
              </a:rPr>
              <a:t>vivek.nath@guidehouse.com</a:t>
            </a:r>
            <a:endParaRPr lang="en-US" sz="1050" u="none"/>
          </a:p>
          <a:p>
            <a:r>
              <a:rPr lang="en-US" sz="1200" b="1" u="none"/>
              <a:t>Gavin Aiello </a:t>
            </a:r>
          </a:p>
          <a:p>
            <a:r>
              <a:rPr lang="en-US" u="none"/>
              <a:t>Managing Consultant</a:t>
            </a:r>
          </a:p>
          <a:p>
            <a:r>
              <a:rPr lang="en-US" u="none">
                <a:hlinkClick r:id="rId9"/>
              </a:rPr>
              <a:t>gaiello.@guidehouse.com</a:t>
            </a:r>
            <a:endParaRPr lang="en-US" u="none"/>
          </a:p>
          <a:p>
            <a:r>
              <a:rPr lang="en-US" sz="1200" b="1" u="none"/>
              <a:t>Will Sierzchula</a:t>
            </a:r>
          </a:p>
          <a:p>
            <a:r>
              <a:rPr lang="en-US" sz="1050" u="none"/>
              <a:t>Managing Consultant</a:t>
            </a:r>
          </a:p>
          <a:p>
            <a:r>
              <a:rPr lang="en-US" sz="1050" u="none">
                <a:hlinkClick r:id="rId10"/>
              </a:rPr>
              <a:t>will.sierzchulda@guidehouse.com</a:t>
            </a:r>
            <a:endParaRPr lang="en-US" sz="1050" u="none"/>
          </a:p>
          <a:p>
            <a:endParaRPr lang="en-US" u="none"/>
          </a:p>
          <a:p>
            <a:endParaRPr lang="en-US" u="none"/>
          </a:p>
          <a:p>
            <a:endParaRPr lang="en-US" u="none"/>
          </a:p>
          <a:p>
            <a:endParaRPr lang="en-US" u="none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27478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234476-E85A-FBAC-A988-22ADB84296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5FFF11A-22C9-313F-6297-4BA34BA53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FD9B30-C375-323F-FB57-35633BC94F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405001"/>
            <a:ext cx="10972800" cy="283100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ZW" b="1">
                <a:solidFill>
                  <a:schemeClr val="tx1"/>
                </a:solidFill>
                <a:cs typeface="Calibri"/>
              </a:rPr>
              <a:t>TEPP Background</a:t>
            </a:r>
            <a:r>
              <a:rPr lang="en-ZW">
                <a:solidFill>
                  <a:schemeClr val="tx1"/>
                </a:solidFill>
                <a:cs typeface="Calibri"/>
              </a:rPr>
              <a:t>: </a:t>
            </a:r>
          </a:p>
          <a:p>
            <a:pPr marL="342900" indent="-342900">
              <a:buChar char="•"/>
            </a:pPr>
            <a:r>
              <a:rPr lang="en-ZW">
                <a:solidFill>
                  <a:schemeClr val="tx1"/>
                </a:solidFill>
                <a:cs typeface="Calibri"/>
              </a:rPr>
              <a:t>In May 2023, the CPUC released a Draft Staff proposal on </a:t>
            </a:r>
            <a:r>
              <a:rPr lang="en-ZW" b="1">
                <a:solidFill>
                  <a:schemeClr val="accent4"/>
                </a:solidFill>
                <a:cs typeface="Calibri"/>
              </a:rPr>
              <a:t>Freight Infrastructure Planning (FIP)</a:t>
            </a:r>
            <a:r>
              <a:rPr lang="en-ZW">
                <a:solidFill>
                  <a:schemeClr val="tx1"/>
                </a:solidFill>
                <a:cs typeface="Calibri"/>
              </a:rPr>
              <a:t> </a:t>
            </a:r>
            <a:r>
              <a:rPr lang="en-ZW">
                <a:solidFill>
                  <a:schemeClr val="tx1"/>
                </a:solidFill>
                <a:latin typeface="Aptos Light"/>
                <a:ea typeface="Source Sans Pro"/>
                <a:cs typeface="Calibri"/>
              </a:rPr>
              <a:t>outlining </a:t>
            </a:r>
            <a:r>
              <a:rPr lang="en-ZW">
                <a:solidFill>
                  <a:srgbClr val="000000"/>
                </a:solidFill>
                <a:latin typeface="Aptos Light"/>
                <a:ea typeface="Source Sans Pro"/>
                <a:cs typeface="Calibri"/>
              </a:rPr>
              <a:t>an initial vision for enabling proactive planning of long lead time utility-side electrical infrastructure to support the acceleration of transportation electrification, focused on freight.</a:t>
            </a:r>
          </a:p>
          <a:p>
            <a:pPr marL="342900" indent="-342900">
              <a:buChar char="•"/>
            </a:pPr>
            <a:r>
              <a:rPr lang="en-ZW">
                <a:solidFill>
                  <a:schemeClr val="tx1"/>
                </a:solidFill>
                <a:latin typeface="Aptos Light"/>
                <a:cs typeface="Calibri"/>
              </a:rPr>
              <a:t>Released in April 2024, the Scoping Memo for R.23-12-008 includes a track for </a:t>
            </a:r>
            <a:r>
              <a:rPr lang="en-ZW" b="1">
                <a:solidFill>
                  <a:schemeClr val="accent4"/>
                </a:solidFill>
                <a:latin typeface="Aptos Light"/>
                <a:cs typeface="Calibri"/>
              </a:rPr>
              <a:t>TE Proactive Planning (TEPP)</a:t>
            </a:r>
            <a:r>
              <a:rPr lang="en-ZW">
                <a:solidFill>
                  <a:schemeClr val="tx1"/>
                </a:solidFill>
                <a:latin typeface="Aptos Light"/>
                <a:cs typeface="Calibri"/>
              </a:rPr>
              <a:t> to address the need for </a:t>
            </a:r>
            <a:r>
              <a:rPr lang="en-ZW">
                <a:solidFill>
                  <a:srgbClr val="000000"/>
                </a:solidFill>
                <a:latin typeface="Aptos Light"/>
                <a:ea typeface="Source Sans Pro"/>
                <a:cs typeface="Calibri"/>
              </a:rPr>
              <a:t>zero-emission vehicle planning related to corridor freight charging infrastructure and similar loads such as light-duty charging plazas due to the 1) significant load growth anticipated from this type of charging and 2) its likely impact on electric infrastructure.</a:t>
            </a:r>
            <a:endParaRPr lang="en-ZW">
              <a:solidFill>
                <a:schemeClr val="tx1"/>
              </a:solidFill>
              <a:latin typeface="Aptos Light"/>
              <a:cs typeface="Calibri"/>
            </a:endParaRPr>
          </a:p>
          <a:p>
            <a:pPr marL="342900" indent="-342900">
              <a:buChar char="•"/>
            </a:pPr>
            <a:endParaRPr lang="en-ZW">
              <a:solidFill>
                <a:schemeClr val="tx1"/>
              </a:solidFill>
              <a:cs typeface="Calibri"/>
            </a:endParaRPr>
          </a:p>
          <a:p>
            <a:pPr marR="0"/>
            <a:r>
              <a:rPr lang="en-ZW" b="1">
                <a:solidFill>
                  <a:schemeClr val="tx1"/>
                </a:solidFill>
                <a:cs typeface="Calibri"/>
              </a:rPr>
              <a:t>Webinar Objectives</a:t>
            </a:r>
            <a:r>
              <a:rPr lang="en-ZW">
                <a:solidFill>
                  <a:schemeClr val="tx1"/>
                </a:solidFill>
                <a:cs typeface="Calibri"/>
              </a:rPr>
              <a:t>: </a:t>
            </a:r>
          </a:p>
          <a:p>
            <a:r>
              <a:rPr lang="en-ZW">
                <a:solidFill>
                  <a:schemeClr val="tx1"/>
                </a:solidFill>
                <a:cs typeface="Calibri"/>
              </a:rPr>
              <a:t>1) Familiarize stakeholders with the </a:t>
            </a:r>
            <a:r>
              <a:rPr lang="en-ZW" b="1">
                <a:solidFill>
                  <a:schemeClr val="accent4"/>
                </a:solidFill>
                <a:cs typeface="Calibri"/>
              </a:rPr>
              <a:t>TEPP Inputs and Assumptions (I&amp;A)</a:t>
            </a:r>
            <a:r>
              <a:rPr lang="en-ZW">
                <a:solidFill>
                  <a:schemeClr val="accent4"/>
                </a:solidFill>
                <a:cs typeface="Calibri"/>
              </a:rPr>
              <a:t> </a:t>
            </a:r>
            <a:r>
              <a:rPr lang="en-ZW">
                <a:solidFill>
                  <a:schemeClr val="tx1"/>
                </a:solidFill>
                <a:cs typeface="Calibri"/>
              </a:rPr>
              <a:t>and </a:t>
            </a:r>
            <a:r>
              <a:rPr lang="en-ZW" b="1">
                <a:solidFill>
                  <a:schemeClr val="accent4"/>
                </a:solidFill>
                <a:cs typeface="Calibri"/>
              </a:rPr>
              <a:t>Corridor Disaggregation Methodology (CDM)</a:t>
            </a:r>
            <a:r>
              <a:rPr lang="en-ZW">
                <a:solidFill>
                  <a:schemeClr val="tx1"/>
                </a:solidFill>
                <a:cs typeface="Calibri"/>
              </a:rPr>
              <a:t> released via Ruling on 10/1/25</a:t>
            </a:r>
          </a:p>
          <a:p>
            <a:r>
              <a:rPr lang="en-ZW">
                <a:solidFill>
                  <a:schemeClr val="tx1"/>
                </a:solidFill>
                <a:cs typeface="Calibri"/>
              </a:rPr>
              <a:t>2) Provide opportunity for stakeholders to pose clarifying questions about I&amp;A, CDM or Ruling Questions. 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DB321CE-1438-C418-CBC2-81B503E186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13848"/>
            <a:ext cx="10972800" cy="553998"/>
          </a:xfrm>
        </p:spPr>
        <p:txBody>
          <a:bodyPr/>
          <a:lstStyle/>
          <a:p>
            <a:r>
              <a:rPr lang="en-ZW"/>
              <a:t>Background &amp; Objectiv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73091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6D7CE1-8346-C3BF-82E1-3980A791BA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BA38574-F9C8-1B5A-A05D-2D39B83CC424}"/>
              </a:ext>
            </a:extLst>
          </p:cNvPr>
          <p:cNvSpPr/>
          <p:nvPr/>
        </p:nvSpPr>
        <p:spPr>
          <a:xfrm>
            <a:off x="4176215" y="3739487"/>
            <a:ext cx="7615451" cy="247259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itle 23">
            <a:extLst>
              <a:ext uri="{FF2B5EF4-FFF2-40B4-BE49-F238E27FC236}">
                <a16:creationId xmlns:a16="http://schemas.microsoft.com/office/drawing/2014/main" id="{034E8428-98F3-5AA6-F187-1F4F4952B4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uidehouse Team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7AF38EF-3F07-2FAA-15B4-D25E4463331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Derek Jones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5FB9C4C1-8D54-1788-C1E2-BEF3774F60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2196A0EF-5C1A-FAA5-F626-895DD4C7AA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2007E21F-370F-09D8-4CA0-05276CF525E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en-US"/>
              <a:t>Karen Maoz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801F8D91-C3EC-D606-2FC4-A08D081803D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r>
              <a:rPr lang="en-US"/>
              <a:t>Tiina Aardema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E1876990-2CD6-A48B-F902-B54531F35412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r>
              <a:rPr lang="en-US"/>
              <a:t>Vivek Nath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C07780A6-2385-3E1C-7C79-E3A8E3B145D4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r>
              <a:rPr lang="en-US"/>
              <a:t>Will Sierzchula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A33A226-2B72-5FFA-DE01-EFAE22BDE501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r>
              <a:rPr lang="en-US"/>
              <a:t>Gavin Aiello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53D5AB5A-0FED-82B4-8F49-31473E6CDE7D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5508625" y="2276474"/>
            <a:ext cx="2259013" cy="1328435"/>
          </a:xfrm>
        </p:spPr>
        <p:txBody>
          <a:bodyPr/>
          <a:lstStyle/>
          <a:p>
            <a:r>
              <a:rPr lang="en-US"/>
              <a:t>Associate Director</a:t>
            </a:r>
          </a:p>
          <a:p>
            <a:r>
              <a:rPr lang="en-US" b="1"/>
              <a:t>Project Manager</a:t>
            </a:r>
          </a:p>
          <a:p>
            <a:r>
              <a:rPr lang="en-US"/>
              <a:t>&gt;20 years in California energy sector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D5AD0230-3D5D-0F86-AC08-8A18AF8C9604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1666368" y="2276475"/>
            <a:ext cx="2259013" cy="1328436"/>
          </a:xfrm>
        </p:spPr>
        <p:txBody>
          <a:bodyPr/>
          <a:lstStyle/>
          <a:p>
            <a:r>
              <a:rPr lang="en-US"/>
              <a:t>Director</a:t>
            </a:r>
          </a:p>
          <a:p>
            <a:r>
              <a:rPr lang="en-US" b="1"/>
              <a:t>Project Oversight</a:t>
            </a:r>
          </a:p>
          <a:p>
            <a:r>
              <a:rPr lang="en-US"/>
              <a:t>&gt;15 years in California transportation and energy sectors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FF84312A-2935-34DF-A44F-D886553DA9AE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9327666" y="2276475"/>
            <a:ext cx="2259013" cy="1328434"/>
          </a:xfrm>
        </p:spPr>
        <p:txBody>
          <a:bodyPr/>
          <a:lstStyle/>
          <a:p>
            <a:r>
              <a:rPr lang="en-US"/>
              <a:t>Associate Director</a:t>
            </a:r>
          </a:p>
          <a:p>
            <a:r>
              <a:rPr lang="en-US" b="1"/>
              <a:t>Task Lead</a:t>
            </a:r>
          </a:p>
          <a:p>
            <a:r>
              <a:rPr lang="en-US"/>
              <a:t>&gt;15 years in energy and 5 years in California transportation sectors</a:t>
            </a:r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C0694AB5-7884-2993-8169-6E36DA35C797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508625" y="4526850"/>
            <a:ext cx="2259013" cy="1049744"/>
          </a:xfrm>
        </p:spPr>
        <p:txBody>
          <a:bodyPr/>
          <a:lstStyle/>
          <a:p>
            <a:r>
              <a:rPr lang="en-US"/>
              <a:t>Managing Consultant</a:t>
            </a:r>
          </a:p>
          <a:p>
            <a:r>
              <a:rPr lang="en-US" b="1"/>
              <a:t>I&amp;A Lead</a:t>
            </a:r>
          </a:p>
          <a:p>
            <a:r>
              <a:rPr lang="en-US"/>
              <a:t>&gt;20 years in transportation and energy modeling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0D7B9233-6C76-0DD2-9E90-ECB8E29BE64E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/>
        <p:txBody>
          <a:bodyPr/>
          <a:lstStyle/>
          <a:p>
            <a:r>
              <a:rPr lang="en-US"/>
              <a:t>Managing Consultant</a:t>
            </a:r>
          </a:p>
          <a:p>
            <a:r>
              <a:rPr lang="en-US" b="1"/>
              <a:t>CDM Lead</a:t>
            </a:r>
          </a:p>
          <a:p>
            <a:r>
              <a:rPr lang="en-US"/>
              <a:t>&gt;10 years in transportation and energy modeling</a:t>
            </a:r>
          </a:p>
        </p:txBody>
      </p:sp>
      <p:sp>
        <p:nvSpPr>
          <p:cNvPr id="50" name="Text Placeholder 49">
            <a:extLst>
              <a:ext uri="{FF2B5EF4-FFF2-40B4-BE49-F238E27FC236}">
                <a16:creationId xmlns:a16="http://schemas.microsoft.com/office/drawing/2014/main" id="{1C77B8D1-8C2B-756C-C49A-FCE46FBD3D2F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1666368" y="4526850"/>
            <a:ext cx="2259013" cy="1530396"/>
          </a:xfrm>
        </p:spPr>
        <p:txBody>
          <a:bodyPr/>
          <a:lstStyle/>
          <a:p>
            <a:r>
              <a:rPr lang="en-US"/>
              <a:t>Associate Director</a:t>
            </a:r>
          </a:p>
          <a:p>
            <a:r>
              <a:rPr lang="en-US" b="1"/>
              <a:t>Technical Advisor</a:t>
            </a:r>
          </a:p>
          <a:p>
            <a:r>
              <a:rPr lang="en-US"/>
              <a:t>&gt;15 years in transportation and energy modeling</a:t>
            </a:r>
          </a:p>
        </p:txBody>
      </p:sp>
      <p:pic>
        <p:nvPicPr>
          <p:cNvPr id="54" name="Picture 7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DA5CB625-6CE9-E090-1689-DE8D281FA8E9}"/>
              </a:ext>
            </a:extLst>
          </p:cNvPr>
          <p:cNvPicPr>
            <a:picLocks noGrp="1" noChangeAspect="1"/>
          </p:cNvPicPr>
          <p:nvPr>
            <p:ph type="pic" sz="quarter" idx="32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169" r="14169"/>
          <a:stretch/>
        </p:blipFill>
        <p:spPr>
          <a:xfrm>
            <a:off x="8248650" y="1863725"/>
            <a:ext cx="768350" cy="76835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</p:pic>
      <p:pic>
        <p:nvPicPr>
          <p:cNvPr id="55" name="Picture 3" descr="A picture containing person&#10;&#10;Description automatically generated">
            <a:extLst>
              <a:ext uri="{FF2B5EF4-FFF2-40B4-BE49-F238E27FC236}">
                <a16:creationId xmlns:a16="http://schemas.microsoft.com/office/drawing/2014/main" id="{00DC52B8-EBCF-2BE6-CE80-79E1301A12C2}"/>
              </a:ext>
            </a:extLst>
          </p:cNvPr>
          <p:cNvPicPr>
            <a:picLocks noGrp="1" noChangeAspect="1"/>
          </p:cNvPicPr>
          <p:nvPr>
            <p:ph type="pic" sz="quarter" idx="35"/>
          </p:nvPr>
        </p:nvPicPr>
        <p:blipFill rotWithShape="1">
          <a:blip r:embed="rId3"/>
          <a:srcRect/>
          <a:stretch/>
        </p:blipFill>
        <p:spPr>
          <a:xfrm>
            <a:off x="608013" y="4111625"/>
            <a:ext cx="768350" cy="768350"/>
          </a:xfrm>
          <a:ln>
            <a:noFill/>
          </a:ln>
        </p:spPr>
      </p:pic>
      <p:pic>
        <p:nvPicPr>
          <p:cNvPr id="59" name="Picture Placeholder 24">
            <a:extLst>
              <a:ext uri="{FF2B5EF4-FFF2-40B4-BE49-F238E27FC236}">
                <a16:creationId xmlns:a16="http://schemas.microsoft.com/office/drawing/2014/main" id="{08D3E8BD-00C7-6ACE-81F0-CEEB309A3678}"/>
              </a:ext>
            </a:extLst>
          </p:cNvPr>
          <p:cNvPicPr>
            <a:picLocks noGrp="1" noChangeAspect="1"/>
          </p:cNvPicPr>
          <p:nvPr>
            <p:ph type="pic" sz="quarter" idx="38"/>
          </p:nvPr>
        </p:nvPicPr>
        <p:blipFill>
          <a:blip r:embed="rId4"/>
          <a:srcRect/>
          <a:stretch/>
        </p:blipFill>
        <p:spPr>
          <a:xfrm>
            <a:off x="4429125" y="4111625"/>
            <a:ext cx="768350" cy="768350"/>
          </a:xfrm>
          <a:prstGeom prst="ellipse">
            <a:avLst/>
          </a:prstGeom>
        </p:spPr>
      </p:pic>
      <p:pic>
        <p:nvPicPr>
          <p:cNvPr id="60" name="Picture Placeholder 59">
            <a:extLst>
              <a:ext uri="{FF2B5EF4-FFF2-40B4-BE49-F238E27FC236}">
                <a16:creationId xmlns:a16="http://schemas.microsoft.com/office/drawing/2014/main" id="{1B732823-8C6F-20A1-9332-EF2B24A15949}"/>
              </a:ext>
            </a:extLst>
          </p:cNvPr>
          <p:cNvPicPr>
            <a:picLocks noGrp="1" noChangeAspect="1"/>
          </p:cNvPicPr>
          <p:nvPr>
            <p:ph type="pic" sz="quarter" idx="41"/>
          </p:nvPr>
        </p:nvPicPr>
        <p:blipFill>
          <a:blip r:embed="rId5"/>
          <a:srcRect/>
          <a:stretch>
            <a:fillRect/>
          </a:stretch>
        </p:blipFill>
        <p:spPr>
          <a:xfrm>
            <a:off x="8248650" y="4111625"/>
            <a:ext cx="768350" cy="768350"/>
          </a:xfrm>
          <a:prstGeom prst="flowChartConnector">
            <a:avLst/>
          </a:prstGeom>
        </p:spPr>
      </p:pic>
      <p:pic>
        <p:nvPicPr>
          <p:cNvPr id="5" name="Picture Placeholder 52">
            <a:extLst>
              <a:ext uri="{FF2B5EF4-FFF2-40B4-BE49-F238E27FC236}">
                <a16:creationId xmlns:a16="http://schemas.microsoft.com/office/drawing/2014/main" id="{AE34A69F-5A67-6872-584E-00E8E0066DC3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6"/>
          <a:srcRect t="6835" b="6835"/>
          <a:stretch/>
        </p:blipFill>
        <p:spPr>
          <a:xfrm>
            <a:off x="608013" y="1863725"/>
            <a:ext cx="768350" cy="768350"/>
          </a:xfrm>
          <a:prstGeom prst="flowChartConnector">
            <a:avLst/>
          </a:prstGeom>
        </p:spPr>
      </p:pic>
      <p:pic>
        <p:nvPicPr>
          <p:cNvPr id="9" name="Picture Placeholder 8" descr="A person smiling for a picture&#10;&#10;AI-generated content may be incorrect.">
            <a:extLst>
              <a:ext uri="{FF2B5EF4-FFF2-40B4-BE49-F238E27FC236}">
                <a16:creationId xmlns:a16="http://schemas.microsoft.com/office/drawing/2014/main" id="{CF8B804F-91AA-4CC7-8429-4418710C4952}"/>
              </a:ext>
            </a:extLst>
          </p:cNvPr>
          <p:cNvPicPr>
            <a:picLocks noGrp="1" noChangeAspect="1"/>
          </p:cNvPicPr>
          <p:nvPr>
            <p:ph type="pic" sz="quarter" idx="29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DF67035-3CF8-CEBE-1AEC-F63D86D05181}"/>
              </a:ext>
            </a:extLst>
          </p:cNvPr>
          <p:cNvSpPr txBox="1"/>
          <p:nvPr/>
        </p:nvSpPr>
        <p:spPr>
          <a:xfrm>
            <a:off x="6965762" y="5835775"/>
            <a:ext cx="27295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b="1"/>
              <a:t>Today’s presenters</a:t>
            </a:r>
          </a:p>
        </p:txBody>
      </p:sp>
    </p:spTree>
    <p:extLst>
      <p:ext uri="{BB962C8B-B14F-4D97-AF65-F5344CB8AC3E}">
        <p14:creationId xmlns:p14="http://schemas.microsoft.com/office/powerpoint/2010/main" val="12034876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F427FAB-E96B-0F81-106C-CFDDE2C3D4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12" imgH="511" progId="TCLayout.ActiveDocument.1">
                  <p:embed/>
                </p:oleObj>
              </mc:Choice>
              <mc:Fallback>
                <p:oleObj name="think-cell Slide" r:id="rId4" imgW="512" imgH="51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427FAB-E96B-0F81-106C-CFDDE2C3D4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CB5FE1D4-4246-6153-2359-7B6ECC0382B2}"/>
              </a:ext>
            </a:extLst>
          </p:cNvPr>
          <p:cNvSpPr txBox="1"/>
          <p:nvPr/>
        </p:nvSpPr>
        <p:spPr>
          <a:xfrm>
            <a:off x="6574419" y="2218950"/>
            <a:ext cx="5007982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solidFill>
                  <a:schemeClr val="tx2"/>
                </a:solidFill>
              </a:rPr>
              <a:t>Corridor Disaggregation Methodology (CDM): </a:t>
            </a:r>
          </a:p>
          <a:p>
            <a:r>
              <a:rPr lang="en-US"/>
              <a:t>Methodology by which public DC charging load for light-duty (LD) and medium- and heavy-duty (MDHD) EVs is allocated to specific corridor segments throughout major corridors in California.</a:t>
            </a:r>
            <a:endParaRPr lang="en-US" b="1">
              <a:solidFill>
                <a:schemeClr val="tx2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7B2005-3B0F-0976-CB62-C177C406D0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126A1-9282-4A82-AC02-A59AF4A969C8}" type="slidenum">
              <a:rPr lang="en-US" smtClean="0"/>
              <a:t>6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7BD3D8-AC7C-E3B6-27D2-628466221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439" y="629359"/>
            <a:ext cx="11582401" cy="553998"/>
          </a:xfrm>
        </p:spPr>
        <p:txBody>
          <a:bodyPr vert="horz"/>
          <a:lstStyle/>
          <a:p>
            <a:r>
              <a:rPr lang="en-US"/>
              <a:t>I&amp;A feed the CDM to identify EV load along CA highway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9EB10A5-4C41-2C53-A9C5-FE3C699A8DB3}"/>
              </a:ext>
            </a:extLst>
          </p:cNvPr>
          <p:cNvSpPr txBox="1"/>
          <p:nvPr/>
        </p:nvSpPr>
        <p:spPr>
          <a:xfrm>
            <a:off x="609599" y="2359531"/>
            <a:ext cx="5007982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solidFill>
                  <a:schemeClr val="tx2"/>
                </a:solidFill>
              </a:rPr>
              <a:t>Inputs and Assumptions (I&amp;A): </a:t>
            </a:r>
          </a:p>
          <a:p>
            <a:r>
              <a:rPr lang="en-US">
                <a:solidFill>
                  <a:schemeClr val="tx2"/>
                </a:solidFill>
              </a:rPr>
              <a:t>Key data elements and sources of inputs and assumptions, IEPR aligned where feasible, to be publicly vetted.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4B7FFFD-1D69-888A-6504-402E0DC2DBE6}"/>
              </a:ext>
            </a:extLst>
          </p:cNvPr>
          <p:cNvSpPr txBox="1"/>
          <p:nvPr/>
        </p:nvSpPr>
        <p:spPr>
          <a:xfrm>
            <a:off x="519696" y="6523481"/>
            <a:ext cx="174642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>
                <a:solidFill>
                  <a:schemeClr val="tx1">
                    <a:lumMod val="75000"/>
                    <a:lumOff val="25000"/>
                  </a:schemeClr>
                </a:solidFill>
              </a:rPr>
              <a:t>© 2025 Guidehouse Inc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349DDE8-DFF2-0494-772A-152F0360342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17690" y="4079265"/>
            <a:ext cx="3233239" cy="16521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8" name="Isosceles Triangle 27">
            <a:extLst>
              <a:ext uri="{FF2B5EF4-FFF2-40B4-BE49-F238E27FC236}">
                <a16:creationId xmlns:a16="http://schemas.microsoft.com/office/drawing/2014/main" id="{7A332764-751E-6462-A4DC-3B21B4DD4081}"/>
              </a:ext>
            </a:extLst>
          </p:cNvPr>
          <p:cNvSpPr/>
          <p:nvPr/>
        </p:nvSpPr>
        <p:spPr>
          <a:xfrm rot="5400000">
            <a:off x="4410790" y="4131738"/>
            <a:ext cx="3610718" cy="240297"/>
          </a:xfrm>
          <a:prstGeom prst="triangl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C640074-036F-F5F0-2D81-5073DD1E04B8}"/>
              </a:ext>
            </a:extLst>
          </p:cNvPr>
          <p:cNvSpPr txBox="1"/>
          <p:nvPr/>
        </p:nvSpPr>
        <p:spPr>
          <a:xfrm>
            <a:off x="602749" y="1267613"/>
            <a:ext cx="11088102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solidFill>
                  <a:schemeClr val="tx2"/>
                </a:solidFill>
              </a:rPr>
              <a:t>Together, the I&amp;A and CDM support a bottom-up approach to planning, with the I&amp;A providing the key data elements, and CDM providing the methodology</a:t>
            </a:r>
            <a:r>
              <a:rPr lang="en-US" b="1">
                <a:solidFill>
                  <a:schemeClr val="tx2"/>
                </a:solidFill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ADDC70-4015-C858-78B0-0E07D22C2AB2}"/>
              </a:ext>
            </a:extLst>
          </p:cNvPr>
          <p:cNvSpPr txBox="1"/>
          <p:nvPr/>
        </p:nvSpPr>
        <p:spPr>
          <a:xfrm>
            <a:off x="766509" y="5795636"/>
            <a:ext cx="23470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 i="1"/>
              <a:t>Details in I&amp;A sec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81B9AA4-E776-B3B9-0B16-5B62BC79F082}"/>
              </a:ext>
            </a:extLst>
          </p:cNvPr>
          <p:cNvSpPr txBox="1"/>
          <p:nvPr/>
        </p:nvSpPr>
        <p:spPr>
          <a:xfrm>
            <a:off x="7217690" y="5795636"/>
            <a:ext cx="27637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i="1"/>
              <a:t>Details in CDM section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507D276-7341-6A67-3DA5-E9672231B45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5535" y="3893239"/>
            <a:ext cx="3281173" cy="185083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894688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8416E4D-DAF4-A744-B474-D83071752D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1095A04-EFF2-D856-AE17-0953DCEADA8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Overview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A7A7448-1D08-0109-EAEA-6BA52215E04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/>
              <a:t>Inputs and Assumption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250D71F-9975-8030-B5BE-1DA3FA882238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pic>
        <p:nvPicPr>
          <p:cNvPr id="16" name="Picture 15" descr="A yellow book with black background&#10;&#10;AI-generated content may be incorrect.">
            <a:extLst>
              <a:ext uri="{FF2B5EF4-FFF2-40B4-BE49-F238E27FC236}">
                <a16:creationId xmlns:a16="http://schemas.microsoft.com/office/drawing/2014/main" id="{48D74026-F65D-9101-5F0E-355F20810C9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5603" y="851061"/>
            <a:ext cx="1173123" cy="1173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288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DFC150-19EF-50AC-B769-BC7F8149CF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B656B42-9E97-A95B-A263-1B80E36485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5 Guidehouse Inc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460B830-639B-3061-40A2-48F03D4C0D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14145-5B10-4F3F-A6BF-3641B91211CF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6FF54B-0968-228D-5FCA-778F0CC0AE0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/>
              <a:t>Purpose</a:t>
            </a:r>
            <a:r>
              <a:rPr lang="en-US"/>
              <a:t> of TEPP Modeling Inputs &amp; Assumption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8018A54-B042-7411-F554-F21C76DFEC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PP Modeling I&amp;A Overview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226021EC-60FA-3001-76A8-CAEFE69EB1CF}"/>
              </a:ext>
            </a:extLst>
          </p:cNvPr>
          <p:cNvSpPr txBox="1">
            <a:spLocks/>
          </p:cNvSpPr>
          <p:nvPr/>
        </p:nvSpPr>
        <p:spPr>
          <a:xfrm>
            <a:off x="522292" y="2052084"/>
            <a:ext cx="11060108" cy="2037316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upport</a:t>
            </a:r>
            <a:r>
              <a:rPr lang="en-US" b="1"/>
              <a:t> </a:t>
            </a:r>
            <a:r>
              <a:rPr lang="en-US" b="1">
                <a:solidFill>
                  <a:schemeClr val="accent4"/>
                </a:solidFill>
              </a:rPr>
              <a:t>bottom- up</a:t>
            </a:r>
            <a:r>
              <a:rPr lang="en-US">
                <a:solidFill>
                  <a:schemeClr val="accent4"/>
                </a:solidFill>
              </a:rPr>
              <a:t> </a:t>
            </a:r>
            <a:r>
              <a:rPr lang="en-US" b="1">
                <a:solidFill>
                  <a:schemeClr val="accent4"/>
                </a:solidFill>
              </a:rPr>
              <a:t>modeling of TE public charging loads (LD &amp; MDHD) along highway corrid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>
                <a:solidFill>
                  <a:schemeClr val="accent4"/>
                </a:solidFill>
              </a:rPr>
              <a:t>Identify and vet the best available data</a:t>
            </a:r>
            <a:r>
              <a:rPr lang="en-US">
                <a:solidFill>
                  <a:schemeClr val="accent4"/>
                </a:solidFill>
              </a:rPr>
              <a:t> </a:t>
            </a:r>
            <a:r>
              <a:rPr lang="en-US"/>
              <a:t>relevant to modeling transportation patterns, charging/fueling patterns, and expected ZEV charging technology adoption timelines and loc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upport the </a:t>
            </a:r>
            <a:r>
              <a:rPr lang="en-US" b="1">
                <a:solidFill>
                  <a:schemeClr val="accent4"/>
                </a:solidFill>
              </a:rPr>
              <a:t>identification of the timing/location/size of expected TE load growth </a:t>
            </a:r>
            <a:r>
              <a:rPr lang="en-US"/>
              <a:t>on the electric system</a:t>
            </a:r>
          </a:p>
        </p:txBody>
      </p:sp>
    </p:spTree>
    <p:extLst>
      <p:ext uri="{BB962C8B-B14F-4D97-AF65-F5344CB8AC3E}">
        <p14:creationId xmlns:p14="http://schemas.microsoft.com/office/powerpoint/2010/main" val="33079723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uidehouse PPT Template">
  <a:themeElements>
    <a:clrScheme name="Custom 2">
      <a:dk1>
        <a:srgbClr val="1B1B1B"/>
      </a:dk1>
      <a:lt1>
        <a:sysClr val="window" lastClr="FFFFFF"/>
      </a:lt1>
      <a:dk2>
        <a:srgbClr val="1B1B1B"/>
      </a:dk2>
      <a:lt2>
        <a:srgbClr val="F3F3F3"/>
      </a:lt2>
      <a:accent1>
        <a:srgbClr val="C1FD3B"/>
      </a:accent1>
      <a:accent2>
        <a:srgbClr val="93D500"/>
      </a:accent2>
      <a:accent3>
        <a:srgbClr val="31863E"/>
      </a:accent3>
      <a:accent4>
        <a:srgbClr val="03647A"/>
      </a:accent4>
      <a:accent5>
        <a:srgbClr val="00BAD6"/>
      </a:accent5>
      <a:accent6>
        <a:srgbClr val="80DDEB"/>
      </a:accent6>
      <a:hlink>
        <a:srgbClr val="31863E"/>
      </a:hlink>
      <a:folHlink>
        <a:srgbClr val="1B1B1B"/>
      </a:folHlink>
    </a:clrScheme>
    <a:fontScheme name="Custom 52">
      <a:majorFont>
        <a:latin typeface="Aptos"/>
        <a:ea typeface=""/>
        <a:cs typeface=""/>
      </a:majorFont>
      <a:minorFont>
        <a:latin typeface="Apto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custClrLst>
    <a:custClr name="Blue 1">
      <a:srgbClr val="03647A"/>
    </a:custClr>
    <a:custClr name="Blue 2">
      <a:srgbClr val="60B8CC"/>
    </a:custClr>
    <a:custClr name="Blue 3">
      <a:srgbClr val="00BAD6"/>
    </a:custClr>
    <a:custClr name="Blue 4">
      <a:srgbClr val="80DDEB"/>
    </a:custClr>
    <a:custClr name="Teal 1">
      <a:srgbClr val="019587"/>
    </a:custClr>
    <a:custClr name="Teal 2">
      <a:srgbClr val="99D6CE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Yellow 1">
      <a:srgbClr val="FADC33"/>
    </a:custClr>
    <a:custClr name="Yellow 2">
      <a:srgbClr val="FEEC99"/>
    </a:custClr>
    <a:custClr name="Orange 1">
      <a:srgbClr val="EA5428"/>
    </a:custClr>
    <a:custClr name="Orange 2">
      <a:srgbClr val="FFAA94"/>
    </a:custClr>
    <a:custClr name="Violet 1">
      <a:srgbClr val="9D249B"/>
    </a:custClr>
    <a:custClr name="Violet 2">
      <a:srgbClr val="CE91CD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Yellow 3">
      <a:srgbClr val="FFAB00"/>
    </a:custClr>
    <a:custClr name="Yellow 4">
      <a:srgbClr val="FFD580"/>
    </a:custClr>
    <a:custClr name="Magenta 1">
      <a:srgbClr val="D3276C"/>
    </a:custClr>
    <a:custClr name="Magenta 2">
      <a:srgbClr val="FE80B2"/>
    </a:custClr>
    <a:custClr name="Violet 3">
      <a:srgbClr val="7222C1"/>
    </a:custClr>
    <a:custClr name="Violet 4">
      <a:srgbClr val="AB7FEB"/>
    </a:custClr>
  </a:custClrLst>
  <a:extLst>
    <a:ext uri="{05A4C25C-085E-4340-85A3-A5531E510DB2}">
      <thm15:themeFamily xmlns:thm15="http://schemas.microsoft.com/office/thememl/2012/main" name="Guidehouse PPT Template_widescreen" id="{7A8A05E6-4561-42EA-B87E-3EEECD2C889A}" vid="{B71482C9-1ABB-4837-9C03-9781600EA392}"/>
    </a:ext>
  </a:extLst>
</a:theme>
</file>

<file path=ppt/theme/theme2.xml><?xml version="1.0" encoding="utf-8"?>
<a:theme xmlns:a="http://schemas.openxmlformats.org/drawingml/2006/main" name="Guidehouse PPT Template">
  <a:themeElements>
    <a:clrScheme name="Custom 2">
      <a:dk1>
        <a:srgbClr val="1B1B1B"/>
      </a:dk1>
      <a:lt1>
        <a:sysClr val="window" lastClr="FFFFFF"/>
      </a:lt1>
      <a:dk2>
        <a:srgbClr val="1B1B1B"/>
      </a:dk2>
      <a:lt2>
        <a:srgbClr val="F3F3F3"/>
      </a:lt2>
      <a:accent1>
        <a:srgbClr val="C1FD3B"/>
      </a:accent1>
      <a:accent2>
        <a:srgbClr val="93D500"/>
      </a:accent2>
      <a:accent3>
        <a:srgbClr val="31863E"/>
      </a:accent3>
      <a:accent4>
        <a:srgbClr val="03647A"/>
      </a:accent4>
      <a:accent5>
        <a:srgbClr val="00BAD6"/>
      </a:accent5>
      <a:accent6>
        <a:srgbClr val="80DDEB"/>
      </a:accent6>
      <a:hlink>
        <a:srgbClr val="31863E"/>
      </a:hlink>
      <a:folHlink>
        <a:srgbClr val="1B1B1B"/>
      </a:folHlink>
    </a:clrScheme>
    <a:fontScheme name="Custom 52">
      <a:majorFont>
        <a:latin typeface="Aptos"/>
        <a:ea typeface=""/>
        <a:cs typeface=""/>
      </a:majorFont>
      <a:minorFont>
        <a:latin typeface="Apto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custClrLst>
    <a:custClr name="Blue 1">
      <a:srgbClr val="03647A"/>
    </a:custClr>
    <a:custClr name="Blue 2">
      <a:srgbClr val="60B8CC"/>
    </a:custClr>
    <a:custClr name="Blue 3">
      <a:srgbClr val="00BAD6"/>
    </a:custClr>
    <a:custClr name="Blue 4">
      <a:srgbClr val="80DDEB"/>
    </a:custClr>
    <a:custClr name="Teal 1">
      <a:srgbClr val="019587"/>
    </a:custClr>
    <a:custClr name="Teal 2">
      <a:srgbClr val="99D6CE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Yellow 1">
      <a:srgbClr val="FADC33"/>
    </a:custClr>
    <a:custClr name="Yellow 2">
      <a:srgbClr val="FEEC99"/>
    </a:custClr>
    <a:custClr name="Orange 1">
      <a:srgbClr val="EA5428"/>
    </a:custClr>
    <a:custClr name="Orange 2">
      <a:srgbClr val="FFAA94"/>
    </a:custClr>
    <a:custClr name="Violet 1">
      <a:srgbClr val="9D249B"/>
    </a:custClr>
    <a:custClr name="Violet 2">
      <a:srgbClr val="CE91CD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Yellow 3">
      <a:srgbClr val="FFAB00"/>
    </a:custClr>
    <a:custClr name="Yellow 4">
      <a:srgbClr val="FFD580"/>
    </a:custClr>
    <a:custClr name="Magenta 1">
      <a:srgbClr val="D3276C"/>
    </a:custClr>
    <a:custClr name="Magenta 2">
      <a:srgbClr val="FE80B2"/>
    </a:custClr>
    <a:custClr name="Violet 3">
      <a:srgbClr val="7222C1"/>
    </a:custClr>
    <a:custClr name="Violet 4">
      <a:srgbClr val="AB7FEB"/>
    </a:custClr>
  </a:custClrLst>
  <a:extLst>
    <a:ext uri="{05A4C25C-085E-4340-85A3-A5531E510DB2}">
      <thm15:themeFamily xmlns:thm15="http://schemas.microsoft.com/office/thememl/2012/main" name="Guidehouse PPT Template_widescreen" id="{7A8A05E6-4561-42EA-B87E-3EEECD2C889A}" vid="{77B4AEE6-9D77-40AF-BAEB-2F3DF29595E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2">
    <a:dk1>
      <a:srgbClr val="1B1B1B"/>
    </a:dk1>
    <a:lt1>
      <a:sysClr val="window" lastClr="FFFFFF"/>
    </a:lt1>
    <a:dk2>
      <a:srgbClr val="1B1B1B"/>
    </a:dk2>
    <a:lt2>
      <a:srgbClr val="F3F3F3"/>
    </a:lt2>
    <a:accent1>
      <a:srgbClr val="C1FD3B"/>
    </a:accent1>
    <a:accent2>
      <a:srgbClr val="93D500"/>
    </a:accent2>
    <a:accent3>
      <a:srgbClr val="31863E"/>
    </a:accent3>
    <a:accent4>
      <a:srgbClr val="03647A"/>
    </a:accent4>
    <a:accent5>
      <a:srgbClr val="00BAD6"/>
    </a:accent5>
    <a:accent6>
      <a:srgbClr val="80DDEB"/>
    </a:accent6>
    <a:hlink>
      <a:srgbClr val="31863E"/>
    </a:hlink>
    <a:folHlink>
      <a:srgbClr val="1B1B1B"/>
    </a:folHlink>
  </a:clrScheme>
</a:themeOverride>
</file>

<file path=ppt/theme/themeOverride2.xml><?xml version="1.0" encoding="utf-8"?>
<a:themeOverride xmlns:a="http://schemas.openxmlformats.org/drawingml/2006/main">
  <a:clrScheme name="Custom 2">
    <a:dk1>
      <a:srgbClr val="1B1B1B"/>
    </a:dk1>
    <a:lt1>
      <a:sysClr val="window" lastClr="FFFFFF"/>
    </a:lt1>
    <a:dk2>
      <a:srgbClr val="1B1B1B"/>
    </a:dk2>
    <a:lt2>
      <a:srgbClr val="F3F3F3"/>
    </a:lt2>
    <a:accent1>
      <a:srgbClr val="C1FD3B"/>
    </a:accent1>
    <a:accent2>
      <a:srgbClr val="93D500"/>
    </a:accent2>
    <a:accent3>
      <a:srgbClr val="31863E"/>
    </a:accent3>
    <a:accent4>
      <a:srgbClr val="03647A"/>
    </a:accent4>
    <a:accent5>
      <a:srgbClr val="00BAD6"/>
    </a:accent5>
    <a:accent6>
      <a:srgbClr val="80DDEB"/>
    </a:accent6>
    <a:hlink>
      <a:srgbClr val="31863E"/>
    </a:hlink>
    <a:folHlink>
      <a:srgbClr val="1B1B1B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VariableList UniqueId="9e855a88-8cd3-4882-b370-651bcfbd7d1b" Name="Computed" ContentType="XML" MajorVersion="0" MinorVersion="1" isLocalCopy="False" IsBaseObject="False" DataSourceId="92dd8498-49d4-4acd-a726-ce1738a2bd01" DataSourceMajorVersion="0" DataSourceMinorVersion="1"/>
</file>

<file path=customXml/item10.xml><?xml version="1.0" encoding="utf-8"?>
<AllExternalAdhocVariableMappings/>
</file>

<file path=customXml/item2.xml><?xml version="1.0" encoding="utf-8"?>
<VariableListDefinition name="System" displayName="System" id="b000b220-5c91-4ca5-810b-65db82701794" isdomainofvalue="False" dataSourceId="fcc2c795-31dd-454a-ad2f-66dfcff92b72"/>
</file>

<file path=customXml/item3.xml><?xml version="1.0" encoding="utf-8"?>
<VariableList UniqueId="a49703e7-2c44-4a02-9125-923537e50282" Name="AD_HOC" ContentType="XML" MajorVersion="0" MinorVersion="1" isLocalCopy="False" IsBaseObject="False" DataSourceId="c989004e-a208-4a08-bd4e-9dd73543750e" DataSourceMajorVersion="0" DataSourceMinorVersion="1"/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VariableListDefinition name="Computed" displayName="Computed" id="9e855a88-8cd3-4882-b370-651bcfbd7d1b" isdomainofvalue="False" dataSourceId="92dd8498-49d4-4acd-a726-ce1738a2bd01"/>
</file>

<file path=customXml/item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8E4B8505639D5408CD81E2FCF6E06CB" ma:contentTypeVersion="14" ma:contentTypeDescription="Create a new document." ma:contentTypeScope="" ma:versionID="5c1b7e1b986a5072953eb4135054dc57">
  <xsd:schema xmlns:xsd="http://www.w3.org/2001/XMLSchema" xmlns:xs="http://www.w3.org/2001/XMLSchema" xmlns:p="http://schemas.microsoft.com/office/2006/metadata/properties" xmlns:ns2="94f04d97-87b5-40bc-9b20-a537e43496b7" xmlns:ns3="1e357279-4555-4d60-a56a-fb09d8c418e2" targetNamespace="http://schemas.microsoft.com/office/2006/metadata/properties" ma:root="true" ma:fieldsID="2482628a40ef97536807a439a3fa34e0" ns2:_="" ns3:_="">
    <xsd:import namespace="94f04d97-87b5-40bc-9b20-a537e43496b7"/>
    <xsd:import namespace="1e357279-4555-4d60-a56a-fb09d8c418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f04d97-87b5-40bc-9b20-a537e43496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43fe8d3c-0f3e-402f-8378-068a6b53444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357279-4555-4d60-a56a-fb09d8c418e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fc8f27dc-4fa3-4368-8fb0-f7b7479c9194}" ma:internalName="TaxCatchAll" ma:showField="CatchAllData" ma:web="1e357279-4555-4d60-a56a-fb09d8c418e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.xml><?xml version="1.0" encoding="utf-8"?>
<VariableListDefinition name="AD_HOC" displayName="AD_HOC" id="a49703e7-2c44-4a02-9125-923537e50282" isdomainofvalue="False" dataSourceId="c989004e-a208-4a08-bd4e-9dd73543750e"/>
</file>

<file path=customXml/item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4f04d97-87b5-40bc-9b20-a537e43496b7">
      <Terms xmlns="http://schemas.microsoft.com/office/infopath/2007/PartnerControls"/>
    </lcf76f155ced4ddcb4097134ff3c332f>
    <TaxCatchAll xmlns="1e357279-4555-4d60-a56a-fb09d8c418e2" xsi:nil="true"/>
  </documentManagement>
</p:properties>
</file>

<file path=customXml/item9.xml><?xml version="1.0" encoding="utf-8"?>
<VariableList UniqueId="b000b220-5c91-4ca5-810b-65db82701794" Name="System" ContentType="XML" MajorVersion="0" MinorVersion="1" isLocalCopy="False" IsBaseObject="False" DataSourceId="fcc2c795-31dd-454a-ad2f-66dfcff92b72" DataSourceMajorVersion="0" DataSourceMinorVersion="1"/>
</file>

<file path=customXml/itemProps1.xml><?xml version="1.0" encoding="utf-8"?>
<ds:datastoreItem xmlns:ds="http://schemas.openxmlformats.org/officeDocument/2006/customXml" ds:itemID="{C2CF7F34-68AB-4FD1-BECC-84603B3F5253}">
  <ds:schemaRefs/>
</ds:datastoreItem>
</file>

<file path=customXml/itemProps10.xml><?xml version="1.0" encoding="utf-8"?>
<ds:datastoreItem xmlns:ds="http://schemas.openxmlformats.org/officeDocument/2006/customXml" ds:itemID="{AA6FB78A-47E7-411B-AA65-62B591CC8F07}">
  <ds:schemaRefs/>
</ds:datastoreItem>
</file>

<file path=customXml/itemProps2.xml><?xml version="1.0" encoding="utf-8"?>
<ds:datastoreItem xmlns:ds="http://schemas.openxmlformats.org/officeDocument/2006/customXml" ds:itemID="{4793C3BE-3F41-4974-A861-4368A2350F70}">
  <ds:schemaRefs/>
</ds:datastoreItem>
</file>

<file path=customXml/itemProps3.xml><?xml version="1.0" encoding="utf-8"?>
<ds:datastoreItem xmlns:ds="http://schemas.openxmlformats.org/officeDocument/2006/customXml" ds:itemID="{05B3893C-8E3A-454A-A0C0-30A663B66411}">
  <ds:schemaRefs/>
</ds:datastoreItem>
</file>

<file path=customXml/itemProps4.xml><?xml version="1.0" encoding="utf-8"?>
<ds:datastoreItem xmlns:ds="http://schemas.openxmlformats.org/officeDocument/2006/customXml" ds:itemID="{40BD4C48-9A5D-4312-A53C-543C01111CB0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A67095E3-B2D6-432B-B972-720860E32AE1}">
  <ds:schemaRefs/>
</ds:datastoreItem>
</file>

<file path=customXml/itemProps6.xml><?xml version="1.0" encoding="utf-8"?>
<ds:datastoreItem xmlns:ds="http://schemas.openxmlformats.org/officeDocument/2006/customXml" ds:itemID="{17467974-649D-4F8E-879F-3FDA89268704}">
  <ds:schemaRefs>
    <ds:schemaRef ds:uri="1e357279-4555-4d60-a56a-fb09d8c418e2"/>
    <ds:schemaRef ds:uri="94f04d97-87b5-40bc-9b20-a537e43496b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.xml><?xml version="1.0" encoding="utf-8"?>
<ds:datastoreItem xmlns:ds="http://schemas.openxmlformats.org/officeDocument/2006/customXml" ds:itemID="{6211062B-7D54-4E5D-A750-D5D4642731D7}">
  <ds:schemaRefs/>
</ds:datastoreItem>
</file>

<file path=customXml/itemProps8.xml><?xml version="1.0" encoding="utf-8"?>
<ds:datastoreItem xmlns:ds="http://schemas.openxmlformats.org/officeDocument/2006/customXml" ds:itemID="{9DBF0BDE-5F67-4CC7-A3F8-D2BDC4DA589D}">
  <ds:schemaRefs>
    <ds:schemaRef ds:uri="1e357279-4555-4d60-a56a-fb09d8c418e2"/>
    <ds:schemaRef ds:uri="94f04d97-87b5-40bc-9b20-a537e43496b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.xml><?xml version="1.0" encoding="utf-8"?>
<ds:datastoreItem xmlns:ds="http://schemas.openxmlformats.org/officeDocument/2006/customXml" ds:itemID="{209F77BE-FC51-4093-98FF-EFAEC6B05BC9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uidehouse PPT Template_widescreen</Template>
  <TotalTime>0</TotalTime>
  <Words>3122</Words>
  <Application>Microsoft Office PowerPoint</Application>
  <PresentationFormat>Widescreen</PresentationFormat>
  <Paragraphs>535</Paragraphs>
  <Slides>45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58" baseType="lpstr">
      <vt:lpstr>Aptos</vt:lpstr>
      <vt:lpstr>Aptos Light</vt:lpstr>
      <vt:lpstr>Arial</vt:lpstr>
      <vt:lpstr>Arial,Sans-Serif</vt:lpstr>
      <vt:lpstr>Calibri</vt:lpstr>
      <vt:lpstr>Century Gothic</vt:lpstr>
      <vt:lpstr>Franklin Gothic Medium Cond</vt:lpstr>
      <vt:lpstr>Symbol</vt:lpstr>
      <vt:lpstr>Times New Roman</vt:lpstr>
      <vt:lpstr>Wingdings</vt:lpstr>
      <vt:lpstr>Guidehouse PPT Template</vt:lpstr>
      <vt:lpstr>Guidehouse PPT Template</vt:lpstr>
      <vt:lpstr>think-cell Slide</vt:lpstr>
      <vt:lpstr>PowerPoint Presentation</vt:lpstr>
      <vt:lpstr>Agenda</vt:lpstr>
      <vt:lpstr>Webex Participation Logistics</vt:lpstr>
      <vt:lpstr>PowerPoint Presentation</vt:lpstr>
      <vt:lpstr>Background &amp; Objectives</vt:lpstr>
      <vt:lpstr>Guidehouse Team</vt:lpstr>
      <vt:lpstr>I&amp;A feed the CDM to identify EV load along CA highways</vt:lpstr>
      <vt:lpstr>PowerPoint Presentation</vt:lpstr>
      <vt:lpstr>TEPP Modeling I&amp;A Overview</vt:lpstr>
      <vt:lpstr>TEPP Modeling I&amp;A Overview</vt:lpstr>
      <vt:lpstr>TEPP Modeling I&amp;A Overview</vt:lpstr>
      <vt:lpstr>I&amp;A Inputs Walkthrough</vt:lpstr>
      <vt:lpstr>I&amp;A Inputs Walkthrough</vt:lpstr>
      <vt:lpstr>I&amp;A Inputs Walkthrough</vt:lpstr>
      <vt:lpstr>I&amp;A Inputs Walkthrough</vt:lpstr>
      <vt:lpstr>PowerPoint Presentation</vt:lpstr>
      <vt:lpstr>PowerPoint Presentation</vt:lpstr>
      <vt:lpstr>CDM Overview</vt:lpstr>
      <vt:lpstr>CDM Overview</vt:lpstr>
      <vt:lpstr>CDM Overview</vt:lpstr>
      <vt:lpstr>Bottom-up Disaggregation Methodology</vt:lpstr>
      <vt:lpstr>Projected TE Load for CA Corridors</vt:lpstr>
      <vt:lpstr>Key Takeaways</vt:lpstr>
      <vt:lpstr>PowerPoint Presentation</vt:lpstr>
      <vt:lpstr>PowerPoint Presentation</vt:lpstr>
      <vt:lpstr>Wrap Up and Next Steps</vt:lpstr>
      <vt:lpstr>PowerPoint Presentation</vt:lpstr>
      <vt:lpstr>Results Interpretation Example: Expected Load Value</vt:lpstr>
      <vt:lpstr>Energy Calculation: SOC, Journey Counts, Load shape</vt:lpstr>
      <vt:lpstr>CDM High Level Methodology Model</vt:lpstr>
      <vt:lpstr>CDM Logic Model</vt:lpstr>
      <vt:lpstr>CDM Logic Model</vt:lpstr>
      <vt:lpstr>CDM Logic Model</vt:lpstr>
      <vt:lpstr>CDM Logic Model</vt:lpstr>
      <vt:lpstr>CDM Logic Model</vt:lpstr>
      <vt:lpstr>I-5 &amp; SR 99</vt:lpstr>
      <vt:lpstr>I-10, I-15, I-40</vt:lpstr>
      <vt:lpstr>I-80</vt:lpstr>
      <vt:lpstr>San Francisco Bay Area</vt:lpstr>
      <vt:lpstr>Sacramento</vt:lpstr>
      <vt:lpstr>Los Angeles County</vt:lpstr>
      <vt:lpstr>San Diego</vt:lpstr>
      <vt:lpstr>2024 Daily Peak Load</vt:lpstr>
      <vt:lpstr>2045 Daily Peak Load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iina Aardemae</dc:creator>
  <cp:lastModifiedBy>Clayton, Emily</cp:lastModifiedBy>
  <cp:revision>2</cp:revision>
  <dcterms:created xsi:type="dcterms:W3CDTF">2025-07-29T23:13:41Z</dcterms:created>
  <dcterms:modified xsi:type="dcterms:W3CDTF">2025-10-23T20:28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8E4B8505639D5408CD81E2FCF6E06CB</vt:lpwstr>
  </property>
  <property fmtid="{D5CDD505-2E9C-101B-9397-08002B2CF9AE}" pid="3" name="MediaServiceImageTags">
    <vt:lpwstr/>
  </property>
  <property fmtid="{D5CDD505-2E9C-101B-9397-08002B2CF9AE}" pid="4" name="TaxKeyword">
    <vt:lpwstr/>
  </property>
  <property fmtid="{D5CDD505-2E9C-101B-9397-08002B2CF9AE}" pid="5" name="MSIP_Label_303e25a3-56e7-4f07-9acc-ed14a1e5b460_Enabled">
    <vt:lpwstr>true</vt:lpwstr>
  </property>
  <property fmtid="{D5CDD505-2E9C-101B-9397-08002B2CF9AE}" pid="6" name="MSIP_Label_303e25a3-56e7-4f07-9acc-ed14a1e5b460_SetDate">
    <vt:lpwstr>2024-09-27T02:10:19Z</vt:lpwstr>
  </property>
  <property fmtid="{D5CDD505-2E9C-101B-9397-08002B2CF9AE}" pid="7" name="MSIP_Label_303e25a3-56e7-4f07-9acc-ed14a1e5b460_Method">
    <vt:lpwstr>Privileged</vt:lpwstr>
  </property>
  <property fmtid="{D5CDD505-2E9C-101B-9397-08002B2CF9AE}" pid="8" name="MSIP_Label_303e25a3-56e7-4f07-9acc-ed14a1e5b460_Name">
    <vt:lpwstr>Public External</vt:lpwstr>
  </property>
  <property fmtid="{D5CDD505-2E9C-101B-9397-08002B2CF9AE}" pid="9" name="MSIP_Label_303e25a3-56e7-4f07-9acc-ed14a1e5b460_SiteId">
    <vt:lpwstr>4ee48f43-e15d-4f4a-ad55-d0990aac660e</vt:lpwstr>
  </property>
  <property fmtid="{D5CDD505-2E9C-101B-9397-08002B2CF9AE}" pid="10" name="MSIP_Label_303e25a3-56e7-4f07-9acc-ed14a1e5b460_ActionId">
    <vt:lpwstr>e221207c-5d7e-4611-9070-f9dca4feab53</vt:lpwstr>
  </property>
  <property fmtid="{D5CDD505-2E9C-101B-9397-08002B2CF9AE}" pid="11" name="MSIP_Label_303e25a3-56e7-4f07-9acc-ed14a1e5b460_ContentBits">
    <vt:lpwstr>0</vt:lpwstr>
  </property>
</Properties>
</file>